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  <p:sldMasterId id="2147483719" r:id="rId5"/>
  </p:sldMasterIdLst>
  <p:notesMasterIdLst>
    <p:notesMasterId r:id="rId12"/>
  </p:notesMasterIdLst>
  <p:handoutMasterIdLst>
    <p:handoutMasterId r:id="rId13"/>
  </p:handoutMasterIdLst>
  <p:sldIdLst>
    <p:sldId id="258" r:id="rId6"/>
    <p:sldId id="280" r:id="rId7"/>
    <p:sldId id="259" r:id="rId8"/>
    <p:sldId id="278" r:id="rId9"/>
    <p:sldId id="277" r:id="rId10"/>
    <p:sldId id="281" r:id="rId11"/>
  </p:sldIdLst>
  <p:sldSz cx="12192000" cy="6858000"/>
  <p:notesSz cx="6797675" cy="99266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A3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AA512ED-7262-4C6E-989F-81ACEFD92B99}" v="2" dt="2024-04-22T07:11:32.264"/>
    <p1510:client id="{F8F9AF2C-79DD-4A59-96B6-42D8F2C21974}" v="1" dt="2024-04-22T07:11:50.266"/>
  </p1510:revLst>
</p1510:revInfo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4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fie Ljungberg" userId="S::sofie.ljungberg@coor.com::d73fa912-0a52-4127-b677-5a74f45a9579" providerId="AD" clId="Web-{AAA512ED-7262-4C6E-989F-81ACEFD92B99}"/>
    <pc:docChg chg="delSld modSld">
      <pc:chgData name="Sofie Ljungberg" userId="S::sofie.ljungberg@coor.com::d73fa912-0a52-4127-b677-5a74f45a9579" providerId="AD" clId="Web-{AAA512ED-7262-4C6E-989F-81ACEFD92B99}" dt="2024-04-22T07:11:32.264" v="1"/>
      <pc:docMkLst>
        <pc:docMk/>
      </pc:docMkLst>
      <pc:sldChg chg="del mod modShow">
        <pc:chgData name="Sofie Ljungberg" userId="S::sofie.ljungberg@coor.com::d73fa912-0a52-4127-b677-5a74f45a9579" providerId="AD" clId="Web-{AAA512ED-7262-4C6E-989F-81ACEFD92B99}" dt="2024-04-22T07:11:32.264" v="1"/>
        <pc:sldMkLst>
          <pc:docMk/>
          <pc:sldMk cId="1802790608" sldId="282"/>
        </pc:sldMkLst>
      </pc:sldChg>
    </pc:docChg>
  </pc:docChgLst>
  <pc:docChgLst>
    <pc:chgData name="Christina Karlsson" userId="b20a0ecd-233c-4d9f-9284-0efa20dd4d48" providerId="ADAL" clId="{34B9B6E1-A805-4AE3-8E33-5EEA0790F02A}"/>
    <pc:docChg chg="modNotesMaster modHandout">
      <pc:chgData name="Christina Karlsson" userId="b20a0ecd-233c-4d9f-9284-0efa20dd4d48" providerId="ADAL" clId="{34B9B6E1-A805-4AE3-8E33-5EEA0790F02A}" dt="2024-03-06T06:16:26.133" v="0"/>
      <pc:docMkLst>
        <pc:docMk/>
      </pc:docMkLst>
    </pc:docChg>
  </pc:docChgLst>
  <pc:docChgLst>
    <pc:chgData name="Sofie Ljungberg" userId="S::sofie.ljungberg@coor.com::d73fa912-0a52-4127-b677-5a74f45a9579" providerId="AD" clId="Web-{4A1E083F-0A87-4D50-8FC0-D755C53F236F}"/>
    <pc:docChg chg="modSld">
      <pc:chgData name="Sofie Ljungberg" userId="S::sofie.ljungberg@coor.com::d73fa912-0a52-4127-b677-5a74f45a9579" providerId="AD" clId="Web-{4A1E083F-0A87-4D50-8FC0-D755C53F236F}" dt="2024-03-05T11:50:49.407" v="10" actId="20577"/>
      <pc:docMkLst>
        <pc:docMk/>
      </pc:docMkLst>
      <pc:sldChg chg="modSp">
        <pc:chgData name="Sofie Ljungberg" userId="S::sofie.ljungberg@coor.com::d73fa912-0a52-4127-b677-5a74f45a9579" providerId="AD" clId="Web-{4A1E083F-0A87-4D50-8FC0-D755C53F236F}" dt="2024-03-05T11:50:49.407" v="10" actId="20577"/>
        <pc:sldMkLst>
          <pc:docMk/>
          <pc:sldMk cId="1239852736" sldId="278"/>
        </pc:sldMkLst>
        <pc:spChg chg="mod">
          <ac:chgData name="Sofie Ljungberg" userId="S::sofie.ljungberg@coor.com::d73fa912-0a52-4127-b677-5a74f45a9579" providerId="AD" clId="Web-{4A1E083F-0A87-4D50-8FC0-D755C53F236F}" dt="2024-03-05T11:50:49.407" v="10" actId="20577"/>
          <ac:spMkLst>
            <pc:docMk/>
            <pc:sldMk cId="1239852736" sldId="278"/>
            <ac:spMk id="10" creationId="{49F91C08-E899-8726-30FC-CBAD0EE64F89}"/>
          </ac:spMkLst>
        </pc:spChg>
      </pc:sldChg>
      <pc:sldChg chg="modSp">
        <pc:chgData name="Sofie Ljungberg" userId="S::sofie.ljungberg@coor.com::d73fa912-0a52-4127-b677-5a74f45a9579" providerId="AD" clId="Web-{4A1E083F-0A87-4D50-8FC0-D755C53F236F}" dt="2024-03-05T11:47:21.623" v="2" actId="20577"/>
        <pc:sldMkLst>
          <pc:docMk/>
          <pc:sldMk cId="1100452271" sldId="280"/>
        </pc:sldMkLst>
        <pc:spChg chg="mod">
          <ac:chgData name="Sofie Ljungberg" userId="S::sofie.ljungberg@coor.com::d73fa912-0a52-4127-b677-5a74f45a9579" providerId="AD" clId="Web-{4A1E083F-0A87-4D50-8FC0-D755C53F236F}" dt="2024-03-05T11:47:21.623" v="2" actId="20577"/>
          <ac:spMkLst>
            <pc:docMk/>
            <pc:sldMk cId="1100452271" sldId="280"/>
            <ac:spMk id="10" creationId="{49F91C08-E899-8726-30FC-CBAD0EE64F89}"/>
          </ac:spMkLst>
        </pc:spChg>
      </pc:sldChg>
    </pc:docChg>
  </pc:docChgLst>
  <pc:docChgLst>
    <pc:chgData name="Anette af Geijerstam" userId="S::anette.afgeijerstam_sll.se#ext#@coor365.onmicrosoft.com::2a60d765-a414-4d86-9f05-709ae0f783be" providerId="AD" clId="Web-{937B51EF-4736-48C3-B0EB-F43EAAB5CEC8}"/>
    <pc:docChg chg="addSld delSld modSld">
      <pc:chgData name="Anette af Geijerstam" userId="S::anette.afgeijerstam_sll.se#ext#@coor365.onmicrosoft.com::2a60d765-a414-4d86-9f05-709ae0f783be" providerId="AD" clId="Web-{937B51EF-4736-48C3-B0EB-F43EAAB5CEC8}" dt="2024-03-15T13:37:10.270" v="33" actId="20577"/>
      <pc:docMkLst>
        <pc:docMk/>
      </pc:docMkLst>
      <pc:sldChg chg="modSp">
        <pc:chgData name="Anette af Geijerstam" userId="S::anette.afgeijerstam_sll.se#ext#@coor365.onmicrosoft.com::2a60d765-a414-4d86-9f05-709ae0f783be" providerId="AD" clId="Web-{937B51EF-4736-48C3-B0EB-F43EAAB5CEC8}" dt="2024-03-15T13:37:10.270" v="33" actId="20577"/>
        <pc:sldMkLst>
          <pc:docMk/>
          <pc:sldMk cId="1239852736" sldId="278"/>
        </pc:sldMkLst>
        <pc:spChg chg="mod">
          <ac:chgData name="Anette af Geijerstam" userId="S::anette.afgeijerstam_sll.se#ext#@coor365.onmicrosoft.com::2a60d765-a414-4d86-9f05-709ae0f783be" providerId="AD" clId="Web-{937B51EF-4736-48C3-B0EB-F43EAAB5CEC8}" dt="2024-03-15T13:37:10.270" v="33" actId="20577"/>
          <ac:spMkLst>
            <pc:docMk/>
            <pc:sldMk cId="1239852736" sldId="278"/>
            <ac:spMk id="10" creationId="{49F91C08-E899-8726-30FC-CBAD0EE64F89}"/>
          </ac:spMkLst>
        </pc:spChg>
      </pc:sldChg>
      <pc:sldChg chg="modSp new">
        <pc:chgData name="Anette af Geijerstam" userId="S::anette.afgeijerstam_sll.se#ext#@coor365.onmicrosoft.com::2a60d765-a414-4d86-9f05-709ae0f783be" providerId="AD" clId="Web-{937B51EF-4736-48C3-B0EB-F43EAAB5CEC8}" dt="2024-03-15T13:36:34.302" v="15" actId="20577"/>
        <pc:sldMkLst>
          <pc:docMk/>
          <pc:sldMk cId="1399228448" sldId="281"/>
        </pc:sldMkLst>
        <pc:spChg chg="mod">
          <ac:chgData name="Anette af Geijerstam" userId="S::anette.afgeijerstam_sll.se#ext#@coor365.onmicrosoft.com::2a60d765-a414-4d86-9f05-709ae0f783be" providerId="AD" clId="Web-{937B51EF-4736-48C3-B0EB-F43EAAB5CEC8}" dt="2024-03-15T13:36:34.302" v="15" actId="20577"/>
          <ac:spMkLst>
            <pc:docMk/>
            <pc:sldMk cId="1399228448" sldId="281"/>
            <ac:spMk id="2" creationId="{2941B4F4-89FB-E617-F25E-7214A39F4F2F}"/>
          </ac:spMkLst>
        </pc:spChg>
      </pc:sldChg>
      <pc:sldChg chg="new del">
        <pc:chgData name="Anette af Geijerstam" userId="S::anette.afgeijerstam_sll.se#ext#@coor365.onmicrosoft.com::2a60d765-a414-4d86-9f05-709ae0f783be" providerId="AD" clId="Web-{937B51EF-4736-48C3-B0EB-F43EAAB5CEC8}" dt="2024-03-15T13:35:41.896" v="1"/>
        <pc:sldMkLst>
          <pc:docMk/>
          <pc:sldMk cId="2287556195" sldId="281"/>
        </pc:sldMkLst>
      </pc:sldChg>
    </pc:docChg>
  </pc:docChgLst>
  <pc:docChgLst>
    <pc:chgData name="Karolin Larsson" userId="S::karolin.larsson@coor.com::38eb188a-b492-4d15-bb67-0918f93452fe" providerId="AD" clId="Web-{D02320CC-044A-4F81-A2B4-44481A2CB744}"/>
    <pc:docChg chg="delSld">
      <pc:chgData name="Karolin Larsson" userId="S::karolin.larsson@coor.com::38eb188a-b492-4d15-bb67-0918f93452fe" providerId="AD" clId="Web-{D02320CC-044A-4F81-A2B4-44481A2CB744}" dt="2024-01-16T11:43:49.157" v="0"/>
      <pc:docMkLst>
        <pc:docMk/>
      </pc:docMkLst>
      <pc:sldChg chg="del">
        <pc:chgData name="Karolin Larsson" userId="S::karolin.larsson@coor.com::38eb188a-b492-4d15-bb67-0918f93452fe" providerId="AD" clId="Web-{D02320CC-044A-4F81-A2B4-44481A2CB744}" dt="2024-01-16T11:43:49.157" v="0"/>
        <pc:sldMkLst>
          <pc:docMk/>
          <pc:sldMk cId="2551019318" sldId="279"/>
        </pc:sldMkLst>
      </pc:sldChg>
    </pc:docChg>
  </pc:docChgLst>
  <pc:docChgLst>
    <pc:chgData name="Sofie Ljungberg" userId="S::sofie.ljungberg@coor.com::d73fa912-0a52-4127-b677-5a74f45a9579" providerId="AD" clId="Web-{B42B7DE9-60E1-4146-B62F-40E42580B9E9}"/>
    <pc:docChg chg="addSld delSld modSld">
      <pc:chgData name="Sofie Ljungberg" userId="S::sofie.ljungberg@coor.com::d73fa912-0a52-4127-b677-5a74f45a9579" providerId="AD" clId="Web-{B42B7DE9-60E1-4146-B62F-40E42580B9E9}" dt="2024-04-08T07:28:28.212" v="169"/>
      <pc:docMkLst>
        <pc:docMk/>
      </pc:docMkLst>
      <pc:sldChg chg="delSp modSp">
        <pc:chgData name="Sofie Ljungberg" userId="S::sofie.ljungberg@coor.com::d73fa912-0a52-4127-b677-5a74f45a9579" providerId="AD" clId="Web-{B42B7DE9-60E1-4146-B62F-40E42580B9E9}" dt="2024-04-08T07:20:35.134" v="20"/>
        <pc:sldMkLst>
          <pc:docMk/>
          <pc:sldMk cId="1802790608" sldId="282"/>
        </pc:sldMkLst>
        <pc:spChg chg="del">
          <ac:chgData name="Sofie Ljungberg" userId="S::sofie.ljungberg@coor.com::d73fa912-0a52-4127-b677-5a74f45a9579" providerId="AD" clId="Web-{B42B7DE9-60E1-4146-B62F-40E42580B9E9}" dt="2024-04-08T07:20:35.134" v="20"/>
          <ac:spMkLst>
            <pc:docMk/>
            <pc:sldMk cId="1802790608" sldId="282"/>
            <ac:spMk id="3" creationId="{31536F9E-EF2B-6BA6-1E66-86D2952CAC36}"/>
          </ac:spMkLst>
        </pc:spChg>
        <pc:spChg chg="mod">
          <ac:chgData name="Sofie Ljungberg" userId="S::sofie.ljungberg@coor.com::d73fa912-0a52-4127-b677-5a74f45a9579" providerId="AD" clId="Web-{B42B7DE9-60E1-4146-B62F-40E42580B9E9}" dt="2024-04-08T07:20:30.213" v="19" actId="20577"/>
          <ac:spMkLst>
            <pc:docMk/>
            <pc:sldMk cId="1802790608" sldId="282"/>
            <ac:spMk id="10" creationId="{49F91C08-E899-8726-30FC-CBAD0EE64F89}"/>
          </ac:spMkLst>
        </pc:spChg>
      </pc:sldChg>
      <pc:sldChg chg="modSp add del replId">
        <pc:chgData name="Sofie Ljungberg" userId="S::sofie.ljungberg@coor.com::d73fa912-0a52-4127-b677-5a74f45a9579" providerId="AD" clId="Web-{B42B7DE9-60E1-4146-B62F-40E42580B9E9}" dt="2024-04-08T07:28:28.212" v="169"/>
        <pc:sldMkLst>
          <pc:docMk/>
          <pc:sldMk cId="3793899342" sldId="283"/>
        </pc:sldMkLst>
        <pc:spChg chg="mod">
          <ac:chgData name="Sofie Ljungberg" userId="S::sofie.ljungberg@coor.com::d73fa912-0a52-4127-b677-5a74f45a9579" providerId="AD" clId="Web-{B42B7DE9-60E1-4146-B62F-40E42580B9E9}" dt="2024-04-08T07:25:38.634" v="123" actId="20577"/>
          <ac:spMkLst>
            <pc:docMk/>
            <pc:sldMk cId="3793899342" sldId="283"/>
            <ac:spMk id="4" creationId="{C358068D-E6BC-747F-0DC4-547C018AF677}"/>
          </ac:spMkLst>
        </pc:spChg>
        <pc:spChg chg="mod">
          <ac:chgData name="Sofie Ljungberg" userId="S::sofie.ljungberg@coor.com::d73fa912-0a52-4127-b677-5a74f45a9579" providerId="AD" clId="Web-{B42B7DE9-60E1-4146-B62F-40E42580B9E9}" dt="2024-04-08T07:26:45.322" v="168" actId="20577"/>
          <ac:spMkLst>
            <pc:docMk/>
            <pc:sldMk cId="3793899342" sldId="283"/>
            <ac:spMk id="10" creationId="{49F91C08-E899-8726-30FC-CBAD0EE64F89}"/>
          </ac:spMkLst>
        </pc:spChg>
      </pc:sldChg>
    </pc:docChg>
  </pc:docChgLst>
  <pc:docChgLst>
    <pc:chgData name="Karolin Larsson" userId="S::karolin.larsson@coor.com::38eb188a-b492-4d15-bb67-0918f93452fe" providerId="AD" clId="Web-{B0C0303E-103E-496D-8CC8-60C511B5ED0C}"/>
    <pc:docChg chg="modSld">
      <pc:chgData name="Karolin Larsson" userId="S::karolin.larsson@coor.com::38eb188a-b492-4d15-bb67-0918f93452fe" providerId="AD" clId="Web-{B0C0303E-103E-496D-8CC8-60C511B5ED0C}" dt="2024-02-14T07:16:12.838" v="27" actId="14100"/>
      <pc:docMkLst>
        <pc:docMk/>
      </pc:docMkLst>
      <pc:sldChg chg="modSp">
        <pc:chgData name="Karolin Larsson" userId="S::karolin.larsson@coor.com::38eb188a-b492-4d15-bb67-0918f93452fe" providerId="AD" clId="Web-{B0C0303E-103E-496D-8CC8-60C511B5ED0C}" dt="2024-02-14T07:16:12.838" v="27" actId="14100"/>
        <pc:sldMkLst>
          <pc:docMk/>
          <pc:sldMk cId="1239852736" sldId="278"/>
        </pc:sldMkLst>
        <pc:spChg chg="mod">
          <ac:chgData name="Karolin Larsson" userId="S::karolin.larsson@coor.com::38eb188a-b492-4d15-bb67-0918f93452fe" providerId="AD" clId="Web-{B0C0303E-103E-496D-8CC8-60C511B5ED0C}" dt="2024-02-14T07:16:12.838" v="27" actId="14100"/>
          <ac:spMkLst>
            <pc:docMk/>
            <pc:sldMk cId="1239852736" sldId="278"/>
            <ac:spMk id="10" creationId="{49F91C08-E899-8726-30FC-CBAD0EE64F89}"/>
          </ac:spMkLst>
        </pc:spChg>
      </pc:sldChg>
    </pc:docChg>
  </pc:docChgLst>
  <pc:docChgLst>
    <pc:chgData name="Sofie Ljungberg" userId="S::sofie.ljungberg@coor.com::d73fa912-0a52-4127-b677-5a74f45a9579" providerId="AD" clId="Web-{F8F9AF2C-79DD-4A59-96B6-42D8F2C21974}"/>
    <pc:docChg chg="delSld">
      <pc:chgData name="Sofie Ljungberg" userId="S::sofie.ljungberg@coor.com::d73fa912-0a52-4127-b677-5a74f45a9579" providerId="AD" clId="Web-{F8F9AF2C-79DD-4A59-96B6-42D8F2C21974}" dt="2024-04-22T07:11:50.266" v="0"/>
      <pc:docMkLst>
        <pc:docMk/>
      </pc:docMkLst>
      <pc:sldChg chg="del">
        <pc:chgData name="Sofie Ljungberg" userId="S::sofie.ljungberg@coor.com::d73fa912-0a52-4127-b677-5a74f45a9579" providerId="AD" clId="Web-{F8F9AF2C-79DD-4A59-96B6-42D8F2C21974}" dt="2024-04-22T07:11:50.266" v="0"/>
        <pc:sldMkLst>
          <pc:docMk/>
          <pc:sldMk cId="1802790608" sldId="282"/>
        </pc:sldMkLst>
      </pc:sldChg>
    </pc:docChg>
  </pc:docChgLst>
  <pc:docChgLst>
    <pc:chgData name="Sofie Ljungberg" userId="S::sofie.ljungberg@coor.com::d73fa912-0a52-4127-b677-5a74f45a9579" providerId="AD" clId="Web-{934C0CAA-67C7-4804-9683-BE6F32721CE0}"/>
    <pc:docChg chg="addSld delSld modSld">
      <pc:chgData name="Sofie Ljungberg" userId="S::sofie.ljungberg@coor.com::d73fa912-0a52-4127-b677-5a74f45a9579" providerId="AD" clId="Web-{934C0CAA-67C7-4804-9683-BE6F32721CE0}" dt="2024-04-08T06:32:26.397" v="95" actId="20577"/>
      <pc:docMkLst>
        <pc:docMk/>
      </pc:docMkLst>
      <pc:sldChg chg="modSp">
        <pc:chgData name="Sofie Ljungberg" userId="S::sofie.ljungberg@coor.com::d73fa912-0a52-4127-b677-5a74f45a9579" providerId="AD" clId="Web-{934C0CAA-67C7-4804-9683-BE6F32721CE0}" dt="2024-04-08T06:20:21.527" v="7" actId="20577"/>
        <pc:sldMkLst>
          <pc:docMk/>
          <pc:sldMk cId="1100452271" sldId="280"/>
        </pc:sldMkLst>
        <pc:spChg chg="mod">
          <ac:chgData name="Sofie Ljungberg" userId="S::sofie.ljungberg@coor.com::d73fa912-0a52-4127-b677-5a74f45a9579" providerId="AD" clId="Web-{934C0CAA-67C7-4804-9683-BE6F32721CE0}" dt="2024-04-08T06:20:21.527" v="7" actId="20577"/>
          <ac:spMkLst>
            <pc:docMk/>
            <pc:sldMk cId="1100452271" sldId="280"/>
            <ac:spMk id="10" creationId="{49F91C08-E899-8726-30FC-CBAD0EE64F89}"/>
          </ac:spMkLst>
        </pc:spChg>
      </pc:sldChg>
      <pc:sldChg chg="modSp add replId">
        <pc:chgData name="Sofie Ljungberg" userId="S::sofie.ljungberg@coor.com::d73fa912-0a52-4127-b677-5a74f45a9579" providerId="AD" clId="Web-{934C0CAA-67C7-4804-9683-BE6F32721CE0}" dt="2024-04-08T06:32:26.397" v="95" actId="20577"/>
        <pc:sldMkLst>
          <pc:docMk/>
          <pc:sldMk cId="1802790608" sldId="282"/>
        </pc:sldMkLst>
        <pc:spChg chg="mod">
          <ac:chgData name="Sofie Ljungberg" userId="S::sofie.ljungberg@coor.com::d73fa912-0a52-4127-b677-5a74f45a9579" providerId="AD" clId="Web-{934C0CAA-67C7-4804-9683-BE6F32721CE0}" dt="2024-04-08T06:20:58.496" v="14" actId="20577"/>
          <ac:spMkLst>
            <pc:docMk/>
            <pc:sldMk cId="1802790608" sldId="282"/>
            <ac:spMk id="3" creationId="{31536F9E-EF2B-6BA6-1E66-86D2952CAC36}"/>
          </ac:spMkLst>
        </pc:spChg>
        <pc:spChg chg="mod">
          <ac:chgData name="Sofie Ljungberg" userId="S::sofie.ljungberg@coor.com::d73fa912-0a52-4127-b677-5a74f45a9579" providerId="AD" clId="Web-{934C0CAA-67C7-4804-9683-BE6F32721CE0}" dt="2024-04-08T06:20:53.887" v="12" actId="20577"/>
          <ac:spMkLst>
            <pc:docMk/>
            <pc:sldMk cId="1802790608" sldId="282"/>
            <ac:spMk id="4" creationId="{C358068D-E6BC-747F-0DC4-547C018AF677}"/>
          </ac:spMkLst>
        </pc:spChg>
        <pc:spChg chg="mod">
          <ac:chgData name="Sofie Ljungberg" userId="S::sofie.ljungberg@coor.com::d73fa912-0a52-4127-b677-5a74f45a9579" providerId="AD" clId="Web-{934C0CAA-67C7-4804-9683-BE6F32721CE0}" dt="2024-04-08T06:32:26.397" v="95" actId="20577"/>
          <ac:spMkLst>
            <pc:docMk/>
            <pc:sldMk cId="1802790608" sldId="282"/>
            <ac:spMk id="10" creationId="{49F91C08-E899-8726-30FC-CBAD0EE64F89}"/>
          </ac:spMkLst>
        </pc:spChg>
      </pc:sldChg>
      <pc:sldChg chg="new del">
        <pc:chgData name="Sofie Ljungberg" userId="S::sofie.ljungberg@coor.com::d73fa912-0a52-4127-b677-5a74f45a9579" providerId="AD" clId="Web-{934C0CAA-67C7-4804-9683-BE6F32721CE0}" dt="2024-04-08T06:20:42.543" v="9"/>
        <pc:sldMkLst>
          <pc:docMk/>
          <pc:sldMk cId="3225146374" sldId="28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A6F884A-56B5-1318-D837-1FA57AE104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3E555F-3CF8-4340-59F2-28F0575E59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554B059-746E-45FA-80E2-00BCEDF7FABF}" type="datetimeFigureOut">
              <a:rPr lang="sv-SE" smtClean="0"/>
              <a:t>2024-04-22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3EC923-B0AC-9EAF-B9C7-2FBF48F090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D7972-F9CD-CA24-CDB7-3C46F3370D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E06E639-201D-42D2-9A13-DAD7DCE8BEE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4252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D3735D9-C622-4B5D-97D0-D3B8DD4D43DF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CA3599A-B860-4459-8435-0DA526491C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88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619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8952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377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685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3701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840037"/>
          </a:xfrm>
        </p:spPr>
        <p:txBody>
          <a:bodyPr anchor="b"/>
          <a:lstStyle>
            <a:lvl1pPr algn="l">
              <a:defRPr sz="6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88524"/>
            <a:ext cx="9144000" cy="116927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6639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0995DE45-298C-0CE4-5B26-A8227393A04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89121" y="1918800"/>
            <a:ext cx="3413759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13A37647-73D8-CC13-7F75-38951C1E0D3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40041" y="1918800"/>
            <a:ext cx="3413759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3" name="Content Placeholder 9">
            <a:extLst>
              <a:ext uri="{FF2B5EF4-FFF2-40B4-BE49-F238E27FC236}">
                <a16:creationId xmlns:a16="http://schemas.microsoft.com/office/drawing/2014/main" id="{1A33137B-2169-ACE3-F00F-BA57F840170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918801"/>
            <a:ext cx="3413759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50A9028-A6BF-27ED-AD5C-E959F250DD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8125258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5C56FE-178B-8D44-C084-54FD093E2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A3D20980-5BDB-801F-23D9-8411271BE53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A7F39EB-B018-D3D2-2329-2D00CEE8876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1CD1FC1-832F-FEAE-C494-6451962F261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6653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E08D48D-E14C-5741-3BA1-39EAC85735CB}"/>
              </a:ext>
            </a:extLst>
          </p:cNvPr>
          <p:cNvSpPr/>
          <p:nvPr userDrawn="1"/>
        </p:nvSpPr>
        <p:spPr>
          <a:xfrm rot="16200000">
            <a:off x="6535674" y="1217049"/>
            <a:ext cx="6873375" cy="4439277"/>
          </a:xfrm>
          <a:custGeom>
            <a:avLst/>
            <a:gdLst>
              <a:gd name="connsiteX0" fmla="*/ 165153 w 6873375"/>
              <a:gd name="connsiteY0" fmla="*/ 3056238 h 4439277"/>
              <a:gd name="connsiteX1" fmla="*/ 145296 w 6873375"/>
              <a:gd name="connsiteY1" fmla="*/ 3073602 h 4439277"/>
              <a:gd name="connsiteX2" fmla="*/ 157709 w 6873375"/>
              <a:gd name="connsiteY2" fmla="*/ 3063678 h 4439277"/>
              <a:gd name="connsiteX3" fmla="*/ 157709 w 6873375"/>
              <a:gd name="connsiteY3" fmla="*/ 3066161 h 4439277"/>
              <a:gd name="connsiteX4" fmla="*/ 165153 w 6873375"/>
              <a:gd name="connsiteY4" fmla="*/ 3056238 h 4439277"/>
              <a:gd name="connsiteX5" fmla="*/ 1145581 w 6873375"/>
              <a:gd name="connsiteY5" fmla="*/ 1103918 h 4439277"/>
              <a:gd name="connsiteX6" fmla="*/ 1138137 w 6873375"/>
              <a:gd name="connsiteY6" fmla="*/ 1103918 h 4439277"/>
              <a:gd name="connsiteX7" fmla="*/ 1138137 w 6873375"/>
              <a:gd name="connsiteY7" fmla="*/ 1108879 h 4439277"/>
              <a:gd name="connsiteX8" fmla="*/ 1143101 w 6873375"/>
              <a:gd name="connsiteY8" fmla="*/ 1108879 h 4439277"/>
              <a:gd name="connsiteX9" fmla="*/ 1145581 w 6873375"/>
              <a:gd name="connsiteY9" fmla="*/ 1103918 h 4439277"/>
              <a:gd name="connsiteX10" fmla="*/ 1284580 w 6873375"/>
              <a:gd name="connsiteY10" fmla="*/ 1123764 h 4439277"/>
              <a:gd name="connsiteX11" fmla="*/ 1282097 w 6873375"/>
              <a:gd name="connsiteY11" fmla="*/ 1123764 h 4439277"/>
              <a:gd name="connsiteX12" fmla="*/ 1282097 w 6873375"/>
              <a:gd name="connsiteY12" fmla="*/ 1126244 h 4439277"/>
              <a:gd name="connsiteX13" fmla="*/ 1284580 w 6873375"/>
              <a:gd name="connsiteY13" fmla="*/ 1123764 h 4439277"/>
              <a:gd name="connsiteX14" fmla="*/ 1331739 w 6873375"/>
              <a:gd name="connsiteY14" fmla="*/ 1002208 h 4439277"/>
              <a:gd name="connsiteX15" fmla="*/ 1326775 w 6873375"/>
              <a:gd name="connsiteY15" fmla="*/ 1004687 h 4439277"/>
              <a:gd name="connsiteX16" fmla="*/ 1329256 w 6873375"/>
              <a:gd name="connsiteY16" fmla="*/ 1007171 h 4439277"/>
              <a:gd name="connsiteX17" fmla="*/ 1331739 w 6873375"/>
              <a:gd name="connsiteY17" fmla="*/ 1002208 h 4439277"/>
              <a:gd name="connsiteX18" fmla="*/ 1493076 w 6873375"/>
              <a:gd name="connsiteY18" fmla="*/ 838480 h 4439277"/>
              <a:gd name="connsiteX19" fmla="*/ 1435986 w 6873375"/>
              <a:gd name="connsiteY19" fmla="*/ 858325 h 4439277"/>
              <a:gd name="connsiteX20" fmla="*/ 1493076 w 6873375"/>
              <a:gd name="connsiteY20" fmla="*/ 838480 h 4439277"/>
              <a:gd name="connsiteX21" fmla="*/ 1833123 w 6873375"/>
              <a:gd name="connsiteY21" fmla="*/ 756617 h 4439277"/>
              <a:gd name="connsiteX22" fmla="*/ 1823195 w 6873375"/>
              <a:gd name="connsiteY22" fmla="*/ 744215 h 4439277"/>
              <a:gd name="connsiteX23" fmla="*/ 1785965 w 6873375"/>
              <a:gd name="connsiteY23" fmla="*/ 764061 h 4439277"/>
              <a:gd name="connsiteX24" fmla="*/ 1833123 w 6873375"/>
              <a:gd name="connsiteY24" fmla="*/ 756617 h 4439277"/>
              <a:gd name="connsiteX25" fmla="*/ 1900139 w 6873375"/>
              <a:gd name="connsiteY25" fmla="*/ 771501 h 4439277"/>
              <a:gd name="connsiteX26" fmla="*/ 1897660 w 6873375"/>
              <a:gd name="connsiteY26" fmla="*/ 769022 h 4439277"/>
              <a:gd name="connsiteX27" fmla="*/ 1882763 w 6873375"/>
              <a:gd name="connsiteY27" fmla="*/ 773983 h 4439277"/>
              <a:gd name="connsiteX28" fmla="*/ 1892694 w 6873375"/>
              <a:gd name="connsiteY28" fmla="*/ 776462 h 4439277"/>
              <a:gd name="connsiteX29" fmla="*/ 1895175 w 6873375"/>
              <a:gd name="connsiteY29" fmla="*/ 776462 h 4439277"/>
              <a:gd name="connsiteX30" fmla="*/ 1900139 w 6873375"/>
              <a:gd name="connsiteY30" fmla="*/ 771501 h 4439277"/>
              <a:gd name="connsiteX31" fmla="*/ 1917513 w 6873375"/>
              <a:gd name="connsiteY31" fmla="*/ 721886 h 4439277"/>
              <a:gd name="connsiteX32" fmla="*/ 1877801 w 6873375"/>
              <a:gd name="connsiteY32" fmla="*/ 734291 h 4439277"/>
              <a:gd name="connsiteX33" fmla="*/ 1917513 w 6873375"/>
              <a:gd name="connsiteY33" fmla="*/ 721886 h 4439277"/>
              <a:gd name="connsiteX34" fmla="*/ 2071405 w 6873375"/>
              <a:gd name="connsiteY34" fmla="*/ 689638 h 4439277"/>
              <a:gd name="connsiteX35" fmla="*/ 2058993 w 6873375"/>
              <a:gd name="connsiteY35" fmla="*/ 689638 h 4439277"/>
              <a:gd name="connsiteX36" fmla="*/ 2056512 w 6873375"/>
              <a:gd name="connsiteY36" fmla="*/ 702040 h 4439277"/>
              <a:gd name="connsiteX37" fmla="*/ 2068922 w 6873375"/>
              <a:gd name="connsiteY37" fmla="*/ 699561 h 4439277"/>
              <a:gd name="connsiteX38" fmla="*/ 2071405 w 6873375"/>
              <a:gd name="connsiteY38" fmla="*/ 689638 h 4439277"/>
              <a:gd name="connsiteX39" fmla="*/ 2108636 w 6873375"/>
              <a:gd name="connsiteY39" fmla="*/ 697081 h 4439277"/>
              <a:gd name="connsiteX40" fmla="*/ 2106151 w 6873375"/>
              <a:gd name="connsiteY40" fmla="*/ 692118 h 4439277"/>
              <a:gd name="connsiteX41" fmla="*/ 2101191 w 6873375"/>
              <a:gd name="connsiteY41" fmla="*/ 694599 h 4439277"/>
              <a:gd name="connsiteX42" fmla="*/ 2101191 w 6873375"/>
              <a:gd name="connsiteY42" fmla="*/ 702040 h 4439277"/>
              <a:gd name="connsiteX43" fmla="*/ 2108636 w 6873375"/>
              <a:gd name="connsiteY43" fmla="*/ 697081 h 4439277"/>
              <a:gd name="connsiteX44" fmla="*/ 2205438 w 6873375"/>
              <a:gd name="connsiteY44" fmla="*/ 1046859 h 4439277"/>
              <a:gd name="connsiteX45" fmla="*/ 2153314 w 6873375"/>
              <a:gd name="connsiteY45" fmla="*/ 1071667 h 4439277"/>
              <a:gd name="connsiteX46" fmla="*/ 2205438 w 6873375"/>
              <a:gd name="connsiteY46" fmla="*/ 1046859 h 4439277"/>
              <a:gd name="connsiteX47" fmla="*/ 2215366 w 6873375"/>
              <a:gd name="connsiteY47" fmla="*/ 850885 h 4439277"/>
              <a:gd name="connsiteX48" fmla="*/ 2202957 w 6873375"/>
              <a:gd name="connsiteY48" fmla="*/ 858325 h 4439277"/>
              <a:gd name="connsiteX49" fmla="*/ 2193028 w 6873375"/>
              <a:gd name="connsiteY49" fmla="*/ 870731 h 4439277"/>
              <a:gd name="connsiteX50" fmla="*/ 2195508 w 6873375"/>
              <a:gd name="connsiteY50" fmla="*/ 875692 h 4439277"/>
              <a:gd name="connsiteX51" fmla="*/ 2197992 w 6873375"/>
              <a:gd name="connsiteY51" fmla="*/ 870731 h 4439277"/>
              <a:gd name="connsiteX52" fmla="*/ 2200472 w 6873375"/>
              <a:gd name="connsiteY52" fmla="*/ 868249 h 4439277"/>
              <a:gd name="connsiteX53" fmla="*/ 2215366 w 6873375"/>
              <a:gd name="connsiteY53" fmla="*/ 850885 h 4439277"/>
              <a:gd name="connsiteX54" fmla="*/ 2227778 w 6873375"/>
              <a:gd name="connsiteY54" fmla="*/ 878171 h 4439277"/>
              <a:gd name="connsiteX55" fmla="*/ 2200472 w 6873375"/>
              <a:gd name="connsiteY55" fmla="*/ 880653 h 4439277"/>
              <a:gd name="connsiteX56" fmla="*/ 2205438 w 6873375"/>
              <a:gd name="connsiteY56" fmla="*/ 888095 h 4439277"/>
              <a:gd name="connsiteX57" fmla="*/ 2227778 w 6873375"/>
              <a:gd name="connsiteY57" fmla="*/ 883133 h 4439277"/>
              <a:gd name="connsiteX58" fmla="*/ 2227778 w 6873375"/>
              <a:gd name="connsiteY58" fmla="*/ 878171 h 4439277"/>
              <a:gd name="connsiteX59" fmla="*/ 2289830 w 6873375"/>
              <a:gd name="connsiteY59" fmla="*/ 999726 h 4439277"/>
              <a:gd name="connsiteX60" fmla="*/ 2287349 w 6873375"/>
              <a:gd name="connsiteY60" fmla="*/ 997247 h 4439277"/>
              <a:gd name="connsiteX61" fmla="*/ 2250116 w 6873375"/>
              <a:gd name="connsiteY61" fmla="*/ 1019572 h 4439277"/>
              <a:gd name="connsiteX62" fmla="*/ 2252599 w 6873375"/>
              <a:gd name="connsiteY62" fmla="*/ 1024533 h 4439277"/>
              <a:gd name="connsiteX63" fmla="*/ 2289830 w 6873375"/>
              <a:gd name="connsiteY63" fmla="*/ 999726 h 4439277"/>
              <a:gd name="connsiteX64" fmla="*/ 2336988 w 6873375"/>
              <a:gd name="connsiteY64" fmla="*/ 773983 h 4439277"/>
              <a:gd name="connsiteX65" fmla="*/ 2336245 w 6873375"/>
              <a:gd name="connsiteY65" fmla="*/ 779347 h 4439277"/>
              <a:gd name="connsiteX66" fmla="*/ 2332024 w 6873375"/>
              <a:gd name="connsiteY66" fmla="*/ 781424 h 4439277"/>
              <a:gd name="connsiteX67" fmla="*/ 2331397 w 6873375"/>
              <a:gd name="connsiteY67" fmla="*/ 777975 h 4439277"/>
              <a:gd name="connsiteX68" fmla="*/ 2346917 w 6873375"/>
              <a:gd name="connsiteY68" fmla="*/ 960034 h 4439277"/>
              <a:gd name="connsiteX69" fmla="*/ 2339472 w 6873375"/>
              <a:gd name="connsiteY69" fmla="*/ 962516 h 4439277"/>
              <a:gd name="connsiteX70" fmla="*/ 2341952 w 6873375"/>
              <a:gd name="connsiteY70" fmla="*/ 962516 h 4439277"/>
              <a:gd name="connsiteX71" fmla="*/ 2322095 w 6873375"/>
              <a:gd name="connsiteY71" fmla="*/ 979880 h 4439277"/>
              <a:gd name="connsiteX72" fmla="*/ 2334508 w 6873375"/>
              <a:gd name="connsiteY72" fmla="*/ 984841 h 4439277"/>
              <a:gd name="connsiteX73" fmla="*/ 2339472 w 6873375"/>
              <a:gd name="connsiteY73" fmla="*/ 969958 h 4439277"/>
              <a:gd name="connsiteX74" fmla="*/ 2344437 w 6873375"/>
              <a:gd name="connsiteY74" fmla="*/ 962516 h 4439277"/>
              <a:gd name="connsiteX75" fmla="*/ 2346917 w 6873375"/>
              <a:gd name="connsiteY75" fmla="*/ 960034 h 4439277"/>
              <a:gd name="connsiteX76" fmla="*/ 2356845 w 6873375"/>
              <a:gd name="connsiteY76" fmla="*/ 969958 h 4439277"/>
              <a:gd name="connsiteX77" fmla="*/ 2354362 w 6873375"/>
              <a:gd name="connsiteY77" fmla="*/ 969958 h 4439277"/>
              <a:gd name="connsiteX78" fmla="*/ 2351881 w 6873375"/>
              <a:gd name="connsiteY78" fmla="*/ 972440 h 4439277"/>
              <a:gd name="connsiteX79" fmla="*/ 2356845 w 6873375"/>
              <a:gd name="connsiteY79" fmla="*/ 969958 h 4439277"/>
              <a:gd name="connsiteX80" fmla="*/ 2379183 w 6873375"/>
              <a:gd name="connsiteY80" fmla="*/ 905462 h 4439277"/>
              <a:gd name="connsiteX81" fmla="*/ 2366774 w 6873375"/>
              <a:gd name="connsiteY81" fmla="*/ 907941 h 4439277"/>
              <a:gd name="connsiteX82" fmla="*/ 2356845 w 6873375"/>
              <a:gd name="connsiteY82" fmla="*/ 915384 h 4439277"/>
              <a:gd name="connsiteX83" fmla="*/ 2351881 w 6873375"/>
              <a:gd name="connsiteY83" fmla="*/ 898017 h 4439277"/>
              <a:gd name="connsiteX84" fmla="*/ 2317131 w 6873375"/>
              <a:gd name="connsiteY84" fmla="*/ 907941 h 4439277"/>
              <a:gd name="connsiteX85" fmla="*/ 2327060 w 6873375"/>
              <a:gd name="connsiteY85" fmla="*/ 912902 h 4439277"/>
              <a:gd name="connsiteX86" fmla="*/ 2324580 w 6873375"/>
              <a:gd name="connsiteY86" fmla="*/ 915384 h 4439277"/>
              <a:gd name="connsiteX87" fmla="*/ 2190545 w 6873375"/>
              <a:gd name="connsiteY87" fmla="*/ 969958 h 4439277"/>
              <a:gd name="connsiteX88" fmla="*/ 2185581 w 6873375"/>
              <a:gd name="connsiteY88" fmla="*/ 972440 h 4439277"/>
              <a:gd name="connsiteX89" fmla="*/ 2178135 w 6873375"/>
              <a:gd name="connsiteY89" fmla="*/ 987325 h 4439277"/>
              <a:gd name="connsiteX90" fmla="*/ 2168207 w 6873375"/>
              <a:gd name="connsiteY90" fmla="*/ 1012132 h 4439277"/>
              <a:gd name="connsiteX91" fmla="*/ 2183100 w 6873375"/>
              <a:gd name="connsiteY91" fmla="*/ 1004687 h 4439277"/>
              <a:gd name="connsiteX92" fmla="*/ 2195508 w 6873375"/>
              <a:gd name="connsiteY92" fmla="*/ 997247 h 4439277"/>
              <a:gd name="connsiteX93" fmla="*/ 2200472 w 6873375"/>
              <a:gd name="connsiteY93" fmla="*/ 994765 h 4439277"/>
              <a:gd name="connsiteX94" fmla="*/ 2215366 w 6873375"/>
              <a:gd name="connsiteY94" fmla="*/ 987325 h 4439277"/>
              <a:gd name="connsiteX95" fmla="*/ 2220329 w 6873375"/>
              <a:gd name="connsiteY95" fmla="*/ 984841 h 4439277"/>
              <a:gd name="connsiteX96" fmla="*/ 2235223 w 6873375"/>
              <a:gd name="connsiteY96" fmla="*/ 977401 h 4439277"/>
              <a:gd name="connsiteX97" fmla="*/ 2349401 w 6873375"/>
              <a:gd name="connsiteY97" fmla="*/ 922824 h 4439277"/>
              <a:gd name="connsiteX98" fmla="*/ 2356845 w 6873375"/>
              <a:gd name="connsiteY98" fmla="*/ 917863 h 4439277"/>
              <a:gd name="connsiteX99" fmla="*/ 2379183 w 6873375"/>
              <a:gd name="connsiteY99" fmla="*/ 905462 h 4439277"/>
              <a:gd name="connsiteX100" fmla="*/ 2391595 w 6873375"/>
              <a:gd name="connsiteY100" fmla="*/ 885616 h 4439277"/>
              <a:gd name="connsiteX101" fmla="*/ 2387561 w 6873375"/>
              <a:gd name="connsiteY101" fmla="*/ 878793 h 4439277"/>
              <a:gd name="connsiteX102" fmla="*/ 2374222 w 6873375"/>
              <a:gd name="connsiteY102" fmla="*/ 890577 h 4439277"/>
              <a:gd name="connsiteX103" fmla="*/ 2391595 w 6873375"/>
              <a:gd name="connsiteY103" fmla="*/ 885616 h 4439277"/>
              <a:gd name="connsiteX104" fmla="*/ 2411452 w 6873375"/>
              <a:gd name="connsiteY104" fmla="*/ 1074149 h 4439277"/>
              <a:gd name="connsiteX105" fmla="*/ 2404004 w 6873375"/>
              <a:gd name="connsiteY105" fmla="*/ 1071667 h 4439277"/>
              <a:gd name="connsiteX106" fmla="*/ 2394079 w 6873375"/>
              <a:gd name="connsiteY106" fmla="*/ 1079110 h 4439277"/>
              <a:gd name="connsiteX107" fmla="*/ 2394079 w 6873375"/>
              <a:gd name="connsiteY107" fmla="*/ 1081589 h 4439277"/>
              <a:gd name="connsiteX108" fmla="*/ 2411452 w 6873375"/>
              <a:gd name="connsiteY108" fmla="*/ 1074149 h 4439277"/>
              <a:gd name="connsiteX109" fmla="*/ 2441237 w 6873375"/>
              <a:gd name="connsiteY109" fmla="*/ 1061743 h 4439277"/>
              <a:gd name="connsiteX110" fmla="*/ 2416416 w 6873375"/>
              <a:gd name="connsiteY110" fmla="*/ 1071667 h 4439277"/>
              <a:gd name="connsiteX111" fmla="*/ 2418897 w 6873375"/>
              <a:gd name="connsiteY111" fmla="*/ 1071667 h 4439277"/>
              <a:gd name="connsiteX112" fmla="*/ 2416416 w 6873375"/>
              <a:gd name="connsiteY112" fmla="*/ 1081589 h 4439277"/>
              <a:gd name="connsiteX113" fmla="*/ 2413933 w 6873375"/>
              <a:gd name="connsiteY113" fmla="*/ 1084072 h 4439277"/>
              <a:gd name="connsiteX114" fmla="*/ 2441237 w 6873375"/>
              <a:gd name="connsiteY114" fmla="*/ 1061743 h 4439277"/>
              <a:gd name="connsiteX115" fmla="*/ 2543004 w 6873375"/>
              <a:gd name="connsiteY115" fmla="*/ 885616 h 4439277"/>
              <a:gd name="connsiteX116" fmla="*/ 2505774 w 6873375"/>
              <a:gd name="connsiteY116" fmla="*/ 895538 h 4439277"/>
              <a:gd name="connsiteX117" fmla="*/ 2500806 w 6873375"/>
              <a:gd name="connsiteY117" fmla="*/ 907941 h 4439277"/>
              <a:gd name="connsiteX118" fmla="*/ 2533075 w 6873375"/>
              <a:gd name="connsiteY118" fmla="*/ 895538 h 4439277"/>
              <a:gd name="connsiteX119" fmla="*/ 2543004 w 6873375"/>
              <a:gd name="connsiteY119" fmla="*/ 885616 h 4439277"/>
              <a:gd name="connsiteX120" fmla="*/ 2555413 w 6873375"/>
              <a:gd name="connsiteY120" fmla="*/ 783907 h 4439277"/>
              <a:gd name="connsiteX121" fmla="*/ 2528111 w 6873375"/>
              <a:gd name="connsiteY121" fmla="*/ 791347 h 4439277"/>
              <a:gd name="connsiteX122" fmla="*/ 2530592 w 6873375"/>
              <a:gd name="connsiteY122" fmla="*/ 791347 h 4439277"/>
              <a:gd name="connsiteX123" fmla="*/ 2547968 w 6873375"/>
              <a:gd name="connsiteY123" fmla="*/ 788868 h 4439277"/>
              <a:gd name="connsiteX124" fmla="*/ 2555413 w 6873375"/>
              <a:gd name="connsiteY124" fmla="*/ 783907 h 4439277"/>
              <a:gd name="connsiteX125" fmla="*/ 2557896 w 6873375"/>
              <a:gd name="connsiteY125" fmla="*/ 1017093 h 4439277"/>
              <a:gd name="connsiteX126" fmla="*/ 2555413 w 6873375"/>
              <a:gd name="connsiteY126" fmla="*/ 1017093 h 4439277"/>
              <a:gd name="connsiteX127" fmla="*/ 2540520 w 6873375"/>
              <a:gd name="connsiteY127" fmla="*/ 1029496 h 4439277"/>
              <a:gd name="connsiteX128" fmla="*/ 2552932 w 6873375"/>
              <a:gd name="connsiteY128" fmla="*/ 1027016 h 4439277"/>
              <a:gd name="connsiteX129" fmla="*/ 2557896 w 6873375"/>
              <a:gd name="connsiteY129" fmla="*/ 1017093 h 4439277"/>
              <a:gd name="connsiteX130" fmla="*/ 2667419 w 6873375"/>
              <a:gd name="connsiteY130" fmla="*/ 796309 h 4439277"/>
              <a:gd name="connsiteX131" fmla="*/ 2664627 w 6873375"/>
              <a:gd name="connsiteY131" fmla="*/ 791347 h 4439277"/>
              <a:gd name="connsiteX132" fmla="*/ 2664627 w 6873375"/>
              <a:gd name="connsiteY132" fmla="*/ 801270 h 4439277"/>
              <a:gd name="connsiteX133" fmla="*/ 2667419 w 6873375"/>
              <a:gd name="connsiteY133" fmla="*/ 796309 h 4439277"/>
              <a:gd name="connsiteX134" fmla="*/ 2724198 w 6873375"/>
              <a:gd name="connsiteY134" fmla="*/ 905462 h 4439277"/>
              <a:gd name="connsiteX135" fmla="*/ 2724198 w 6873375"/>
              <a:gd name="connsiteY135" fmla="*/ 910420 h 4439277"/>
              <a:gd name="connsiteX136" fmla="*/ 2722937 w 6873375"/>
              <a:gd name="connsiteY136" fmla="*/ 907902 h 4439277"/>
              <a:gd name="connsiteX137" fmla="*/ 2723535 w 6873375"/>
              <a:gd name="connsiteY137" fmla="*/ 905462 h 4439277"/>
              <a:gd name="connsiteX138" fmla="*/ 2912837 w 6873375"/>
              <a:gd name="connsiteY138" fmla="*/ 719407 h 4439277"/>
              <a:gd name="connsiteX139" fmla="*/ 2910353 w 6873375"/>
              <a:gd name="connsiteY139" fmla="*/ 721886 h 4439277"/>
              <a:gd name="connsiteX140" fmla="*/ 2910353 w 6873375"/>
              <a:gd name="connsiteY140" fmla="*/ 724368 h 4439277"/>
              <a:gd name="connsiteX141" fmla="*/ 2912837 w 6873375"/>
              <a:gd name="connsiteY141" fmla="*/ 724368 h 4439277"/>
              <a:gd name="connsiteX142" fmla="*/ 2912837 w 6873375"/>
              <a:gd name="connsiteY142" fmla="*/ 719407 h 4439277"/>
              <a:gd name="connsiteX143" fmla="*/ 3642573 w 6873375"/>
              <a:gd name="connsiteY143" fmla="*/ 578006 h 4439277"/>
              <a:gd name="connsiteX144" fmla="*/ 3640090 w 6873375"/>
              <a:gd name="connsiteY144" fmla="*/ 575524 h 4439277"/>
              <a:gd name="connsiteX145" fmla="*/ 3635126 w 6873375"/>
              <a:gd name="connsiteY145" fmla="*/ 578006 h 4439277"/>
              <a:gd name="connsiteX146" fmla="*/ 3630161 w 6873375"/>
              <a:gd name="connsiteY146" fmla="*/ 582967 h 4439277"/>
              <a:gd name="connsiteX147" fmla="*/ 3615269 w 6873375"/>
              <a:gd name="connsiteY147" fmla="*/ 587929 h 4439277"/>
              <a:gd name="connsiteX148" fmla="*/ 3617752 w 6873375"/>
              <a:gd name="connsiteY148" fmla="*/ 595370 h 4439277"/>
              <a:gd name="connsiteX149" fmla="*/ 3622716 w 6873375"/>
              <a:gd name="connsiteY149" fmla="*/ 597852 h 4439277"/>
              <a:gd name="connsiteX150" fmla="*/ 3630161 w 6873375"/>
              <a:gd name="connsiteY150" fmla="*/ 592891 h 4439277"/>
              <a:gd name="connsiteX151" fmla="*/ 3640090 w 6873375"/>
              <a:gd name="connsiteY151" fmla="*/ 585450 h 4439277"/>
              <a:gd name="connsiteX152" fmla="*/ 3642573 w 6873375"/>
              <a:gd name="connsiteY152" fmla="*/ 582967 h 4439277"/>
              <a:gd name="connsiteX153" fmla="*/ 3642573 w 6873375"/>
              <a:gd name="connsiteY153" fmla="*/ 578006 h 4439277"/>
              <a:gd name="connsiteX154" fmla="*/ 4464146 w 6873375"/>
              <a:gd name="connsiteY154" fmla="*/ 756617 h 4439277"/>
              <a:gd name="connsiteX155" fmla="*/ 4464146 w 6873375"/>
              <a:gd name="connsiteY155" fmla="*/ 759099 h 4439277"/>
              <a:gd name="connsiteX156" fmla="*/ 4458015 w 6873375"/>
              <a:gd name="connsiteY156" fmla="*/ 757056 h 4439277"/>
              <a:gd name="connsiteX157" fmla="*/ 4457942 w 6873375"/>
              <a:gd name="connsiteY157" fmla="*/ 756617 h 4439277"/>
              <a:gd name="connsiteX158" fmla="*/ 4476558 w 6873375"/>
              <a:gd name="connsiteY158" fmla="*/ 622659 h 4439277"/>
              <a:gd name="connsiteX159" fmla="*/ 4474077 w 6873375"/>
              <a:gd name="connsiteY159" fmla="*/ 625139 h 4439277"/>
              <a:gd name="connsiteX160" fmla="*/ 4466629 w 6873375"/>
              <a:gd name="connsiteY160" fmla="*/ 630101 h 4439277"/>
              <a:gd name="connsiteX161" fmla="*/ 4469109 w 6873375"/>
              <a:gd name="connsiteY161" fmla="*/ 625139 h 4439277"/>
              <a:gd name="connsiteX162" fmla="*/ 4476558 w 6873375"/>
              <a:gd name="connsiteY162" fmla="*/ 622659 h 4439277"/>
              <a:gd name="connsiteX163" fmla="*/ 4482549 w 6873375"/>
              <a:gd name="connsiteY163" fmla="*/ 739239 h 4439277"/>
              <a:gd name="connsiteX164" fmla="*/ 4480900 w 6873375"/>
              <a:gd name="connsiteY164" fmla="*/ 744834 h 4439277"/>
              <a:gd name="connsiteX165" fmla="*/ 4474077 w 6873375"/>
              <a:gd name="connsiteY165" fmla="*/ 744215 h 4439277"/>
              <a:gd name="connsiteX166" fmla="*/ 4476872 w 6873375"/>
              <a:gd name="connsiteY166" fmla="*/ 741421 h 4439277"/>
              <a:gd name="connsiteX167" fmla="*/ 4523717 w 6873375"/>
              <a:gd name="connsiteY167" fmla="*/ 773984 h 4439277"/>
              <a:gd name="connsiteX168" fmla="*/ 4521236 w 6873375"/>
              <a:gd name="connsiteY168" fmla="*/ 771502 h 4439277"/>
              <a:gd name="connsiteX169" fmla="*/ 4516272 w 6873375"/>
              <a:gd name="connsiteY169" fmla="*/ 773984 h 4439277"/>
              <a:gd name="connsiteX170" fmla="*/ 4518752 w 6873375"/>
              <a:gd name="connsiteY170" fmla="*/ 778945 h 4439277"/>
              <a:gd name="connsiteX171" fmla="*/ 4523717 w 6873375"/>
              <a:gd name="connsiteY171" fmla="*/ 773984 h 4439277"/>
              <a:gd name="connsiteX172" fmla="*/ 4543574 w 6873375"/>
              <a:gd name="connsiteY172" fmla="*/ 816155 h 4439277"/>
              <a:gd name="connsiteX173" fmla="*/ 4536129 w 6873375"/>
              <a:gd name="connsiteY173" fmla="*/ 811194 h 4439277"/>
              <a:gd name="connsiteX174" fmla="*/ 4536129 w 6873375"/>
              <a:gd name="connsiteY174" fmla="*/ 816155 h 4439277"/>
              <a:gd name="connsiteX175" fmla="*/ 4541093 w 6873375"/>
              <a:gd name="connsiteY175" fmla="*/ 823595 h 4439277"/>
              <a:gd name="connsiteX176" fmla="*/ 4543574 w 6873375"/>
              <a:gd name="connsiteY176" fmla="*/ 816155 h 4439277"/>
              <a:gd name="connsiteX177" fmla="*/ 4546056 w 6873375"/>
              <a:gd name="connsiteY177" fmla="*/ 831039 h 4439277"/>
              <a:gd name="connsiteX178" fmla="*/ 4531163 w 6873375"/>
              <a:gd name="connsiteY178" fmla="*/ 840962 h 4439277"/>
              <a:gd name="connsiteX179" fmla="*/ 4525770 w 6873375"/>
              <a:gd name="connsiteY179" fmla="*/ 839423 h 4439277"/>
              <a:gd name="connsiteX180" fmla="*/ 4533644 w 6873375"/>
              <a:gd name="connsiteY180" fmla="*/ 833519 h 4439277"/>
              <a:gd name="connsiteX181" fmla="*/ 4542326 w 6873375"/>
              <a:gd name="connsiteY181" fmla="*/ 831039 h 4439277"/>
              <a:gd name="connsiteX182" fmla="*/ 4546056 w 6873375"/>
              <a:gd name="connsiteY182" fmla="*/ 707002 h 4439277"/>
              <a:gd name="connsiteX183" fmla="*/ 4536129 w 6873375"/>
              <a:gd name="connsiteY183" fmla="*/ 711964 h 4439277"/>
              <a:gd name="connsiteX184" fmla="*/ 4533644 w 6873375"/>
              <a:gd name="connsiteY184" fmla="*/ 709485 h 4439277"/>
              <a:gd name="connsiteX185" fmla="*/ 4543574 w 6873375"/>
              <a:gd name="connsiteY185" fmla="*/ 702040 h 4439277"/>
              <a:gd name="connsiteX186" fmla="*/ 4546056 w 6873375"/>
              <a:gd name="connsiteY186" fmla="*/ 707002 h 4439277"/>
              <a:gd name="connsiteX187" fmla="*/ 4555986 w 6873375"/>
              <a:gd name="connsiteY187" fmla="*/ 697082 h 4439277"/>
              <a:gd name="connsiteX188" fmla="*/ 4551018 w 6873375"/>
              <a:gd name="connsiteY188" fmla="*/ 702040 h 4439277"/>
              <a:gd name="connsiteX189" fmla="*/ 4548537 w 6873375"/>
              <a:gd name="connsiteY189" fmla="*/ 699561 h 4439277"/>
              <a:gd name="connsiteX190" fmla="*/ 4553501 w 6873375"/>
              <a:gd name="connsiteY190" fmla="*/ 694600 h 4439277"/>
              <a:gd name="connsiteX191" fmla="*/ 4555986 w 6873375"/>
              <a:gd name="connsiteY191" fmla="*/ 697082 h 4439277"/>
              <a:gd name="connsiteX192" fmla="*/ 4573359 w 6873375"/>
              <a:gd name="connsiteY192" fmla="*/ 813673 h 4439277"/>
              <a:gd name="connsiteX193" fmla="*/ 4573359 w 6873375"/>
              <a:gd name="connsiteY193" fmla="*/ 818634 h 4439277"/>
              <a:gd name="connsiteX194" fmla="*/ 4565914 w 6873375"/>
              <a:gd name="connsiteY194" fmla="*/ 823595 h 4439277"/>
              <a:gd name="connsiteX195" fmla="*/ 4565914 w 6873375"/>
              <a:gd name="connsiteY195" fmla="*/ 821116 h 4439277"/>
              <a:gd name="connsiteX196" fmla="*/ 4573359 w 6873375"/>
              <a:gd name="connsiteY196" fmla="*/ 813673 h 4439277"/>
              <a:gd name="connsiteX197" fmla="*/ 5169063 w 6873375"/>
              <a:gd name="connsiteY197" fmla="*/ 719407 h 4439277"/>
              <a:gd name="connsiteX198" fmla="*/ 5151687 w 6873375"/>
              <a:gd name="connsiteY198" fmla="*/ 726847 h 4439277"/>
              <a:gd name="connsiteX199" fmla="*/ 5144243 w 6873375"/>
              <a:gd name="connsiteY199" fmla="*/ 731810 h 4439277"/>
              <a:gd name="connsiteX200" fmla="*/ 5144243 w 6873375"/>
              <a:gd name="connsiteY200" fmla="*/ 736771 h 4439277"/>
              <a:gd name="connsiteX201" fmla="*/ 5151687 w 6873375"/>
              <a:gd name="connsiteY201" fmla="*/ 734292 h 4439277"/>
              <a:gd name="connsiteX202" fmla="*/ 5169063 w 6873375"/>
              <a:gd name="connsiteY202" fmla="*/ 719407 h 4439277"/>
              <a:gd name="connsiteX203" fmla="*/ 5169063 w 6873375"/>
              <a:gd name="connsiteY203" fmla="*/ 707002 h 4439277"/>
              <a:gd name="connsiteX204" fmla="*/ 5169062 w 6873375"/>
              <a:gd name="connsiteY204" fmla="*/ 707003 h 4439277"/>
              <a:gd name="connsiteX205" fmla="*/ 5169061 w 6873375"/>
              <a:gd name="connsiteY205" fmla="*/ 706999 h 4439277"/>
              <a:gd name="connsiteX206" fmla="*/ 5171544 w 6873375"/>
              <a:gd name="connsiteY206" fmla="*/ 707002 h 4439277"/>
              <a:gd name="connsiteX207" fmla="*/ 5171544 w 6873375"/>
              <a:gd name="connsiteY207" fmla="*/ 711964 h 4439277"/>
              <a:gd name="connsiteX208" fmla="*/ 5169682 w 6873375"/>
              <a:gd name="connsiteY208" fmla="*/ 710103 h 4439277"/>
              <a:gd name="connsiteX209" fmla="*/ 5169475 w 6873375"/>
              <a:gd name="connsiteY209" fmla="*/ 709072 h 4439277"/>
              <a:gd name="connsiteX210" fmla="*/ 5278274 w 6873375"/>
              <a:gd name="connsiteY210" fmla="*/ 664830 h 4439277"/>
              <a:gd name="connsiteX211" fmla="*/ 5268346 w 6873375"/>
              <a:gd name="connsiteY211" fmla="*/ 667314 h 4439277"/>
              <a:gd name="connsiteX212" fmla="*/ 5270827 w 6873375"/>
              <a:gd name="connsiteY212" fmla="*/ 669793 h 4439277"/>
              <a:gd name="connsiteX213" fmla="*/ 5278274 w 6873375"/>
              <a:gd name="connsiteY213" fmla="*/ 664830 h 4439277"/>
              <a:gd name="connsiteX214" fmla="*/ 5298132 w 6873375"/>
              <a:gd name="connsiteY214" fmla="*/ 627622 h 4439277"/>
              <a:gd name="connsiteX215" fmla="*/ 5280758 w 6873375"/>
              <a:gd name="connsiteY215" fmla="*/ 637544 h 4439277"/>
              <a:gd name="connsiteX216" fmla="*/ 5283239 w 6873375"/>
              <a:gd name="connsiteY216" fmla="*/ 640023 h 4439277"/>
              <a:gd name="connsiteX217" fmla="*/ 5298132 w 6873375"/>
              <a:gd name="connsiteY217" fmla="*/ 627622 h 4439277"/>
              <a:gd name="connsiteX218" fmla="*/ 5300612 w 6873375"/>
              <a:gd name="connsiteY218" fmla="*/ 677233 h 4439277"/>
              <a:gd name="connsiteX219" fmla="*/ 5285722 w 6873375"/>
              <a:gd name="connsiteY219" fmla="*/ 687156 h 4439277"/>
              <a:gd name="connsiteX220" fmla="*/ 5300612 w 6873375"/>
              <a:gd name="connsiteY220" fmla="*/ 677233 h 4439277"/>
              <a:gd name="connsiteX221" fmla="*/ 5310543 w 6873375"/>
              <a:gd name="connsiteY221" fmla="*/ 607776 h 4439277"/>
              <a:gd name="connsiteX222" fmla="*/ 5308060 w 6873375"/>
              <a:gd name="connsiteY222" fmla="*/ 605293 h 4439277"/>
              <a:gd name="connsiteX223" fmla="*/ 5298132 w 6873375"/>
              <a:gd name="connsiteY223" fmla="*/ 612737 h 4439277"/>
              <a:gd name="connsiteX224" fmla="*/ 5310543 w 6873375"/>
              <a:gd name="connsiteY224" fmla="*/ 607776 h 4439277"/>
              <a:gd name="connsiteX225" fmla="*/ 5317989 w 6873375"/>
              <a:gd name="connsiteY225" fmla="*/ 627622 h 4439277"/>
              <a:gd name="connsiteX226" fmla="*/ 5308060 w 6873375"/>
              <a:gd name="connsiteY226" fmla="*/ 630101 h 4439277"/>
              <a:gd name="connsiteX227" fmla="*/ 5308060 w 6873375"/>
              <a:gd name="connsiteY227" fmla="*/ 632583 h 4439277"/>
              <a:gd name="connsiteX228" fmla="*/ 5317989 w 6873375"/>
              <a:gd name="connsiteY228" fmla="*/ 630101 h 4439277"/>
              <a:gd name="connsiteX229" fmla="*/ 5317989 w 6873375"/>
              <a:gd name="connsiteY229" fmla="*/ 627622 h 4439277"/>
              <a:gd name="connsiteX230" fmla="*/ 5327917 w 6873375"/>
              <a:gd name="connsiteY230" fmla="*/ 729331 h 4439277"/>
              <a:gd name="connsiteX231" fmla="*/ 5320469 w 6873375"/>
              <a:gd name="connsiteY231" fmla="*/ 721886 h 4439277"/>
              <a:gd name="connsiteX232" fmla="*/ 5310543 w 6873375"/>
              <a:gd name="connsiteY232" fmla="*/ 726847 h 4439277"/>
              <a:gd name="connsiteX233" fmla="*/ 5285722 w 6873375"/>
              <a:gd name="connsiteY233" fmla="*/ 739253 h 4439277"/>
              <a:gd name="connsiteX234" fmla="*/ 5315508 w 6873375"/>
              <a:gd name="connsiteY234" fmla="*/ 736771 h 4439277"/>
              <a:gd name="connsiteX235" fmla="*/ 5325434 w 6873375"/>
              <a:gd name="connsiteY235" fmla="*/ 731810 h 4439277"/>
              <a:gd name="connsiteX236" fmla="*/ 5327917 w 6873375"/>
              <a:gd name="connsiteY236" fmla="*/ 729331 h 4439277"/>
              <a:gd name="connsiteX237" fmla="*/ 5347774 w 6873375"/>
              <a:gd name="connsiteY237" fmla="*/ 707002 h 4439277"/>
              <a:gd name="connsiteX238" fmla="*/ 5342810 w 6873375"/>
              <a:gd name="connsiteY238" fmla="*/ 711964 h 4439277"/>
              <a:gd name="connsiteX239" fmla="*/ 5340329 w 6873375"/>
              <a:gd name="connsiteY239" fmla="*/ 714446 h 4439277"/>
              <a:gd name="connsiteX240" fmla="*/ 5347774 w 6873375"/>
              <a:gd name="connsiteY240" fmla="*/ 707002 h 4439277"/>
              <a:gd name="connsiteX241" fmla="*/ 5380041 w 6873375"/>
              <a:gd name="connsiteY241" fmla="*/ 640023 h 4439277"/>
              <a:gd name="connsiteX242" fmla="*/ 5377560 w 6873375"/>
              <a:gd name="connsiteY242" fmla="*/ 635062 h 4439277"/>
              <a:gd name="connsiteX243" fmla="*/ 5370112 w 6873375"/>
              <a:gd name="connsiteY243" fmla="*/ 635062 h 4439277"/>
              <a:gd name="connsiteX244" fmla="*/ 5362667 w 6873375"/>
              <a:gd name="connsiteY244" fmla="*/ 640023 h 4439277"/>
              <a:gd name="connsiteX245" fmla="*/ 5325434 w 6873375"/>
              <a:gd name="connsiteY245" fmla="*/ 657390 h 4439277"/>
              <a:gd name="connsiteX246" fmla="*/ 5313024 w 6873375"/>
              <a:gd name="connsiteY246" fmla="*/ 672275 h 4439277"/>
              <a:gd name="connsiteX247" fmla="*/ 5317989 w 6873375"/>
              <a:gd name="connsiteY247" fmla="*/ 679715 h 4439277"/>
              <a:gd name="connsiteX248" fmla="*/ 5335362 w 6873375"/>
              <a:gd name="connsiteY248" fmla="*/ 674754 h 4439277"/>
              <a:gd name="connsiteX249" fmla="*/ 5337846 w 6873375"/>
              <a:gd name="connsiteY249" fmla="*/ 674754 h 4439277"/>
              <a:gd name="connsiteX250" fmla="*/ 5337846 w 6873375"/>
              <a:gd name="connsiteY250" fmla="*/ 677233 h 4439277"/>
              <a:gd name="connsiteX251" fmla="*/ 5342810 w 6873375"/>
              <a:gd name="connsiteY251" fmla="*/ 679715 h 4439277"/>
              <a:gd name="connsiteX252" fmla="*/ 5342810 w 6873375"/>
              <a:gd name="connsiteY252" fmla="*/ 674754 h 4439277"/>
              <a:gd name="connsiteX253" fmla="*/ 5350255 w 6873375"/>
              <a:gd name="connsiteY253" fmla="*/ 662351 h 4439277"/>
              <a:gd name="connsiteX254" fmla="*/ 5380041 w 6873375"/>
              <a:gd name="connsiteY254" fmla="*/ 640023 h 4439277"/>
              <a:gd name="connsiteX255" fmla="*/ 5389969 w 6873375"/>
              <a:gd name="connsiteY255" fmla="*/ 667314 h 4439277"/>
              <a:gd name="connsiteX256" fmla="*/ 5360184 w 6873375"/>
              <a:gd name="connsiteY256" fmla="*/ 682197 h 4439277"/>
              <a:gd name="connsiteX257" fmla="*/ 5360184 w 6873375"/>
              <a:gd name="connsiteY257" fmla="*/ 694600 h 4439277"/>
              <a:gd name="connsiteX258" fmla="*/ 5362667 w 6873375"/>
              <a:gd name="connsiteY258" fmla="*/ 694600 h 4439277"/>
              <a:gd name="connsiteX259" fmla="*/ 5360184 w 6873375"/>
              <a:gd name="connsiteY259" fmla="*/ 697082 h 4439277"/>
              <a:gd name="connsiteX260" fmla="*/ 5360184 w 6873375"/>
              <a:gd name="connsiteY260" fmla="*/ 702040 h 4439277"/>
              <a:gd name="connsiteX261" fmla="*/ 5365148 w 6873375"/>
              <a:gd name="connsiteY261" fmla="*/ 704522 h 4439277"/>
              <a:gd name="connsiteX262" fmla="*/ 5389969 w 6873375"/>
              <a:gd name="connsiteY262" fmla="*/ 667314 h 4439277"/>
              <a:gd name="connsiteX263" fmla="*/ 5417274 w 6873375"/>
              <a:gd name="connsiteY263" fmla="*/ 558160 h 4439277"/>
              <a:gd name="connsiteX264" fmla="*/ 5404862 w 6873375"/>
              <a:gd name="connsiteY264" fmla="*/ 568084 h 4439277"/>
              <a:gd name="connsiteX265" fmla="*/ 5417274 w 6873375"/>
              <a:gd name="connsiteY265" fmla="*/ 558160 h 4439277"/>
              <a:gd name="connsiteX266" fmla="*/ 5434647 w 6873375"/>
              <a:gd name="connsiteY266" fmla="*/ 647468 h 4439277"/>
              <a:gd name="connsiteX267" fmla="*/ 5422238 w 6873375"/>
              <a:gd name="connsiteY267" fmla="*/ 657390 h 4439277"/>
              <a:gd name="connsiteX268" fmla="*/ 5434647 w 6873375"/>
              <a:gd name="connsiteY268" fmla="*/ 647468 h 4439277"/>
              <a:gd name="connsiteX269" fmla="*/ 5442093 w 6873375"/>
              <a:gd name="connsiteY269" fmla="*/ 592891 h 4439277"/>
              <a:gd name="connsiteX270" fmla="*/ 5439612 w 6873375"/>
              <a:gd name="connsiteY270" fmla="*/ 587930 h 4439277"/>
              <a:gd name="connsiteX271" fmla="*/ 5432163 w 6873375"/>
              <a:gd name="connsiteY271" fmla="*/ 590409 h 4439277"/>
              <a:gd name="connsiteX272" fmla="*/ 5392452 w 6873375"/>
              <a:gd name="connsiteY272" fmla="*/ 620177 h 4439277"/>
              <a:gd name="connsiteX273" fmla="*/ 5392452 w 6873375"/>
              <a:gd name="connsiteY273" fmla="*/ 622659 h 4439277"/>
              <a:gd name="connsiteX274" fmla="*/ 5389969 w 6873375"/>
              <a:gd name="connsiteY274" fmla="*/ 635062 h 4439277"/>
              <a:gd name="connsiteX275" fmla="*/ 5409826 w 6873375"/>
              <a:gd name="connsiteY275" fmla="*/ 620177 h 4439277"/>
              <a:gd name="connsiteX276" fmla="*/ 5404862 w 6873375"/>
              <a:gd name="connsiteY276" fmla="*/ 622659 h 4439277"/>
              <a:gd name="connsiteX277" fmla="*/ 5402381 w 6873375"/>
              <a:gd name="connsiteY277" fmla="*/ 617698 h 4439277"/>
              <a:gd name="connsiteX278" fmla="*/ 5419755 w 6873375"/>
              <a:gd name="connsiteY278" fmla="*/ 610255 h 4439277"/>
              <a:gd name="connsiteX279" fmla="*/ 5442093 w 6873375"/>
              <a:gd name="connsiteY279" fmla="*/ 592891 h 4439277"/>
              <a:gd name="connsiteX280" fmla="*/ 5456984 w 6873375"/>
              <a:gd name="connsiteY280" fmla="*/ 635062 h 4439277"/>
              <a:gd name="connsiteX281" fmla="*/ 5434647 w 6873375"/>
              <a:gd name="connsiteY281" fmla="*/ 649947 h 4439277"/>
              <a:gd name="connsiteX282" fmla="*/ 5444576 w 6873375"/>
              <a:gd name="connsiteY282" fmla="*/ 652429 h 4439277"/>
              <a:gd name="connsiteX283" fmla="*/ 5456984 w 6873375"/>
              <a:gd name="connsiteY283" fmla="*/ 635062 h 4439277"/>
              <a:gd name="connsiteX284" fmla="*/ 5459469 w 6873375"/>
              <a:gd name="connsiteY284" fmla="*/ 607776 h 4439277"/>
              <a:gd name="connsiteX285" fmla="*/ 5450470 w 6873375"/>
              <a:gd name="connsiteY285" fmla="*/ 601572 h 4439277"/>
              <a:gd name="connsiteX286" fmla="*/ 5447057 w 6873375"/>
              <a:gd name="connsiteY286" fmla="*/ 602813 h 4439277"/>
              <a:gd name="connsiteX287" fmla="*/ 5419755 w 6873375"/>
              <a:gd name="connsiteY287" fmla="*/ 625139 h 4439277"/>
              <a:gd name="connsiteX288" fmla="*/ 5377560 w 6873375"/>
              <a:gd name="connsiteY288" fmla="*/ 647468 h 4439277"/>
              <a:gd name="connsiteX289" fmla="*/ 5372595 w 6873375"/>
              <a:gd name="connsiteY289" fmla="*/ 652429 h 4439277"/>
              <a:gd name="connsiteX290" fmla="*/ 5377560 w 6873375"/>
              <a:gd name="connsiteY290" fmla="*/ 657390 h 4439277"/>
              <a:gd name="connsiteX291" fmla="*/ 5389969 w 6873375"/>
              <a:gd name="connsiteY291" fmla="*/ 654908 h 4439277"/>
              <a:gd name="connsiteX292" fmla="*/ 5432163 w 6873375"/>
              <a:gd name="connsiteY292" fmla="*/ 627622 h 4439277"/>
              <a:gd name="connsiteX293" fmla="*/ 5459469 w 6873375"/>
              <a:gd name="connsiteY293" fmla="*/ 607776 h 4439277"/>
              <a:gd name="connsiteX294" fmla="*/ 5479326 w 6873375"/>
              <a:gd name="connsiteY294" fmla="*/ 530874 h 4439277"/>
              <a:gd name="connsiteX295" fmla="*/ 5471568 w 6873375"/>
              <a:gd name="connsiteY295" fmla="*/ 521570 h 4439277"/>
              <a:gd name="connsiteX296" fmla="*/ 5461950 w 6873375"/>
              <a:gd name="connsiteY296" fmla="*/ 530874 h 4439277"/>
              <a:gd name="connsiteX297" fmla="*/ 5479326 w 6873375"/>
              <a:gd name="connsiteY297" fmla="*/ 530874 h 4439277"/>
              <a:gd name="connsiteX298" fmla="*/ 5524001 w 6873375"/>
              <a:gd name="connsiteY298" fmla="*/ 488700 h 4439277"/>
              <a:gd name="connsiteX299" fmla="*/ 5519036 w 6873375"/>
              <a:gd name="connsiteY299" fmla="*/ 491182 h 4439277"/>
              <a:gd name="connsiteX300" fmla="*/ 5516555 w 6873375"/>
              <a:gd name="connsiteY300" fmla="*/ 498623 h 4439277"/>
              <a:gd name="connsiteX301" fmla="*/ 5524001 w 6873375"/>
              <a:gd name="connsiteY301" fmla="*/ 493661 h 4439277"/>
              <a:gd name="connsiteX302" fmla="*/ 5524001 w 6873375"/>
              <a:gd name="connsiteY302" fmla="*/ 488700 h 4439277"/>
              <a:gd name="connsiteX303" fmla="*/ 5538897 w 6873375"/>
              <a:gd name="connsiteY303" fmla="*/ 533353 h 4439277"/>
              <a:gd name="connsiteX304" fmla="*/ 5514075 w 6873375"/>
              <a:gd name="connsiteY304" fmla="*/ 543276 h 4439277"/>
              <a:gd name="connsiteX305" fmla="*/ 5516555 w 6873375"/>
              <a:gd name="connsiteY305" fmla="*/ 545759 h 4439277"/>
              <a:gd name="connsiteX306" fmla="*/ 5538897 w 6873375"/>
              <a:gd name="connsiteY306" fmla="*/ 533353 h 4439277"/>
              <a:gd name="connsiteX307" fmla="*/ 5541378 w 6873375"/>
              <a:gd name="connsiteY307" fmla="*/ 481258 h 4439277"/>
              <a:gd name="connsiteX308" fmla="*/ 5538897 w 6873375"/>
              <a:gd name="connsiteY308" fmla="*/ 478777 h 4439277"/>
              <a:gd name="connsiteX309" fmla="*/ 5536412 w 6873375"/>
              <a:gd name="connsiteY309" fmla="*/ 486221 h 4439277"/>
              <a:gd name="connsiteX310" fmla="*/ 5541378 w 6873375"/>
              <a:gd name="connsiteY310" fmla="*/ 481258 h 4439277"/>
              <a:gd name="connsiteX311" fmla="*/ 5554407 w 6873375"/>
              <a:gd name="connsiteY311" fmla="*/ 524982 h 4439277"/>
              <a:gd name="connsiteX312" fmla="*/ 5551306 w 6873375"/>
              <a:gd name="connsiteY312" fmla="*/ 520950 h 4439277"/>
              <a:gd name="connsiteX313" fmla="*/ 5543858 w 6873375"/>
              <a:gd name="connsiteY313" fmla="*/ 520950 h 4439277"/>
              <a:gd name="connsiteX314" fmla="*/ 5543858 w 6873375"/>
              <a:gd name="connsiteY314" fmla="*/ 528392 h 4439277"/>
              <a:gd name="connsiteX315" fmla="*/ 5553786 w 6873375"/>
              <a:gd name="connsiteY315" fmla="*/ 530874 h 4439277"/>
              <a:gd name="connsiteX316" fmla="*/ 5554407 w 6873375"/>
              <a:gd name="connsiteY316" fmla="*/ 524982 h 4439277"/>
              <a:gd name="connsiteX317" fmla="*/ 5603429 w 6873375"/>
              <a:gd name="connsiteY317" fmla="*/ 449011 h 4439277"/>
              <a:gd name="connsiteX318" fmla="*/ 5566199 w 6873375"/>
              <a:gd name="connsiteY318" fmla="*/ 473818 h 4439277"/>
              <a:gd name="connsiteX319" fmla="*/ 5603429 w 6873375"/>
              <a:gd name="connsiteY319" fmla="*/ 449011 h 4439277"/>
              <a:gd name="connsiteX320" fmla="*/ 5672928 w 6873375"/>
              <a:gd name="connsiteY320" fmla="*/ 401875 h 4439277"/>
              <a:gd name="connsiteX321" fmla="*/ 5628250 w 6873375"/>
              <a:gd name="connsiteY321" fmla="*/ 419241 h 4439277"/>
              <a:gd name="connsiteX322" fmla="*/ 5608393 w 6873375"/>
              <a:gd name="connsiteY322" fmla="*/ 436605 h 4439277"/>
              <a:gd name="connsiteX323" fmla="*/ 5615841 w 6873375"/>
              <a:gd name="connsiteY323" fmla="*/ 439085 h 4439277"/>
              <a:gd name="connsiteX324" fmla="*/ 5658035 w 6873375"/>
              <a:gd name="connsiteY324" fmla="*/ 416760 h 4439277"/>
              <a:gd name="connsiteX325" fmla="*/ 5672928 w 6873375"/>
              <a:gd name="connsiteY325" fmla="*/ 401875 h 4439277"/>
              <a:gd name="connsiteX326" fmla="*/ 5715123 w 6873375"/>
              <a:gd name="connsiteY326" fmla="*/ 384511 h 4439277"/>
              <a:gd name="connsiteX327" fmla="*/ 5682857 w 6873375"/>
              <a:gd name="connsiteY327" fmla="*/ 401875 h 4439277"/>
              <a:gd name="connsiteX328" fmla="*/ 5685338 w 6873375"/>
              <a:gd name="connsiteY328" fmla="*/ 404358 h 4439277"/>
              <a:gd name="connsiteX329" fmla="*/ 5715123 w 6873375"/>
              <a:gd name="connsiteY329" fmla="*/ 384511 h 4439277"/>
              <a:gd name="connsiteX330" fmla="*/ 5801996 w 6873375"/>
              <a:gd name="connsiteY330" fmla="*/ 362183 h 4439277"/>
              <a:gd name="connsiteX331" fmla="*/ 5797032 w 6873375"/>
              <a:gd name="connsiteY331" fmla="*/ 362183 h 4439277"/>
              <a:gd name="connsiteX332" fmla="*/ 5794551 w 6873375"/>
              <a:gd name="connsiteY332" fmla="*/ 367144 h 4439277"/>
              <a:gd name="connsiteX333" fmla="*/ 5801996 w 6873375"/>
              <a:gd name="connsiteY333" fmla="*/ 369627 h 4439277"/>
              <a:gd name="connsiteX334" fmla="*/ 5801996 w 6873375"/>
              <a:gd name="connsiteY334" fmla="*/ 362183 h 4439277"/>
              <a:gd name="connsiteX335" fmla="*/ 5856603 w 6873375"/>
              <a:gd name="connsiteY335" fmla="*/ 295205 h 4439277"/>
              <a:gd name="connsiteX336" fmla="*/ 5848621 w 6873375"/>
              <a:gd name="connsiteY336" fmla="*/ 301189 h 4439277"/>
              <a:gd name="connsiteX337" fmla="*/ 5846060 w 6873375"/>
              <a:gd name="connsiteY337" fmla="*/ 302033 h 4439277"/>
              <a:gd name="connsiteX338" fmla="*/ 5845683 w 6873375"/>
              <a:gd name="connsiteY338" fmla="*/ 301656 h 4439277"/>
              <a:gd name="connsiteX339" fmla="*/ 5853510 w 6873375"/>
              <a:gd name="connsiteY339" fmla="*/ 296441 h 4439277"/>
              <a:gd name="connsiteX340" fmla="*/ 5861567 w 6873375"/>
              <a:gd name="connsiteY340" fmla="*/ 344819 h 4439277"/>
              <a:gd name="connsiteX341" fmla="*/ 5836746 w 6873375"/>
              <a:gd name="connsiteY341" fmla="*/ 357222 h 4439277"/>
              <a:gd name="connsiteX342" fmla="*/ 5861567 w 6873375"/>
              <a:gd name="connsiteY342" fmla="*/ 344819 h 4439277"/>
              <a:gd name="connsiteX343" fmla="*/ 5881424 w 6873375"/>
              <a:gd name="connsiteY343" fmla="*/ 327452 h 4439277"/>
              <a:gd name="connsiteX344" fmla="*/ 5868393 w 6873375"/>
              <a:gd name="connsiteY344" fmla="*/ 326524 h 4439277"/>
              <a:gd name="connsiteX345" fmla="*/ 5866532 w 6873375"/>
              <a:gd name="connsiteY345" fmla="*/ 334897 h 4439277"/>
              <a:gd name="connsiteX346" fmla="*/ 5881424 w 6873375"/>
              <a:gd name="connsiteY346" fmla="*/ 327452 h 4439277"/>
              <a:gd name="connsiteX347" fmla="*/ 5898801 w 6873375"/>
              <a:gd name="connsiteY347" fmla="*/ 312571 h 4439277"/>
              <a:gd name="connsiteX348" fmla="*/ 5881424 w 6873375"/>
              <a:gd name="connsiteY348" fmla="*/ 320012 h 4439277"/>
              <a:gd name="connsiteX349" fmla="*/ 5898801 w 6873375"/>
              <a:gd name="connsiteY349" fmla="*/ 312571 h 4439277"/>
              <a:gd name="connsiteX350" fmla="*/ 6047726 w 6873375"/>
              <a:gd name="connsiteY350" fmla="*/ 292725 h 4439277"/>
              <a:gd name="connsiteX351" fmla="*/ 6037797 w 6873375"/>
              <a:gd name="connsiteY351" fmla="*/ 305127 h 4439277"/>
              <a:gd name="connsiteX352" fmla="*/ 6047726 w 6873375"/>
              <a:gd name="connsiteY352" fmla="*/ 292725 h 4439277"/>
              <a:gd name="connsiteX353" fmla="*/ 6067583 w 6873375"/>
              <a:gd name="connsiteY353" fmla="*/ 324973 h 4439277"/>
              <a:gd name="connsiteX354" fmla="*/ 6045243 w 6873375"/>
              <a:gd name="connsiteY354" fmla="*/ 342337 h 4439277"/>
              <a:gd name="connsiteX355" fmla="*/ 6067583 w 6873375"/>
              <a:gd name="connsiteY355" fmla="*/ 324973 h 4439277"/>
              <a:gd name="connsiteX356" fmla="*/ 6115982 w 6873375"/>
              <a:gd name="connsiteY356" fmla="*/ 355981 h 4439277"/>
              <a:gd name="connsiteX357" fmla="*/ 6114741 w 6873375"/>
              <a:gd name="connsiteY357" fmla="*/ 357222 h 4439277"/>
              <a:gd name="connsiteX358" fmla="*/ 6113842 w 6873375"/>
              <a:gd name="connsiteY358" fmla="*/ 355552 h 4439277"/>
              <a:gd name="connsiteX359" fmla="*/ 6114741 w 6873375"/>
              <a:gd name="connsiteY359" fmla="*/ 354742 h 4439277"/>
              <a:gd name="connsiteX360" fmla="*/ 6139562 w 6873375"/>
              <a:gd name="connsiteY360" fmla="*/ 419241 h 4439277"/>
              <a:gd name="connsiteX361" fmla="*/ 6134599 w 6873375"/>
              <a:gd name="connsiteY361" fmla="*/ 411798 h 4439277"/>
              <a:gd name="connsiteX362" fmla="*/ 6132115 w 6873375"/>
              <a:gd name="connsiteY362" fmla="*/ 414280 h 4439277"/>
              <a:gd name="connsiteX363" fmla="*/ 6137079 w 6873375"/>
              <a:gd name="connsiteY363" fmla="*/ 421721 h 4439277"/>
              <a:gd name="connsiteX364" fmla="*/ 6139562 w 6873375"/>
              <a:gd name="connsiteY364" fmla="*/ 419241 h 4439277"/>
              <a:gd name="connsiteX365" fmla="*/ 6151974 w 6873375"/>
              <a:gd name="connsiteY365" fmla="*/ 389473 h 4439277"/>
              <a:gd name="connsiteX366" fmla="*/ 6144528 w 6873375"/>
              <a:gd name="connsiteY366" fmla="*/ 379550 h 4439277"/>
              <a:gd name="connsiteX367" fmla="*/ 6144528 w 6873375"/>
              <a:gd name="connsiteY367" fmla="*/ 399395 h 4439277"/>
              <a:gd name="connsiteX368" fmla="*/ 6151974 w 6873375"/>
              <a:gd name="connsiteY368" fmla="*/ 389473 h 4439277"/>
              <a:gd name="connsiteX369" fmla="*/ 6154456 w 6873375"/>
              <a:gd name="connsiteY369" fmla="*/ 406836 h 4439277"/>
              <a:gd name="connsiteX370" fmla="*/ 6154456 w 6873375"/>
              <a:gd name="connsiteY370" fmla="*/ 409319 h 4439277"/>
              <a:gd name="connsiteX371" fmla="*/ 6144528 w 6873375"/>
              <a:gd name="connsiteY371" fmla="*/ 416760 h 4439277"/>
              <a:gd name="connsiteX372" fmla="*/ 6143493 w 6873375"/>
              <a:gd name="connsiteY372" fmla="*/ 414692 h 4439277"/>
              <a:gd name="connsiteX373" fmla="*/ 6143855 w 6873375"/>
              <a:gd name="connsiteY373" fmla="*/ 411075 h 4439277"/>
              <a:gd name="connsiteX374" fmla="*/ 6290971 w 6873375"/>
              <a:gd name="connsiteY374" fmla="*/ 977401 h 4439277"/>
              <a:gd name="connsiteX375" fmla="*/ 6286007 w 6873375"/>
              <a:gd name="connsiteY375" fmla="*/ 982363 h 4439277"/>
              <a:gd name="connsiteX376" fmla="*/ 6286007 w 6873375"/>
              <a:gd name="connsiteY376" fmla="*/ 984842 h 4439277"/>
              <a:gd name="connsiteX377" fmla="*/ 6290971 w 6873375"/>
              <a:gd name="connsiteY377" fmla="*/ 977401 h 4439277"/>
              <a:gd name="connsiteX378" fmla="*/ 6308966 w 6873375"/>
              <a:gd name="connsiteY378" fmla="*/ 994146 h 4439277"/>
              <a:gd name="connsiteX379" fmla="*/ 6303380 w 6873375"/>
              <a:gd name="connsiteY379" fmla="*/ 984842 h 4439277"/>
              <a:gd name="connsiteX380" fmla="*/ 6288488 w 6873375"/>
              <a:gd name="connsiteY380" fmla="*/ 997247 h 4439277"/>
              <a:gd name="connsiteX381" fmla="*/ 6281042 w 6873375"/>
              <a:gd name="connsiteY381" fmla="*/ 1002209 h 4439277"/>
              <a:gd name="connsiteX382" fmla="*/ 6261185 w 6873375"/>
              <a:gd name="connsiteY382" fmla="*/ 1009650 h 4439277"/>
              <a:gd name="connsiteX383" fmla="*/ 6204099 w 6873375"/>
              <a:gd name="connsiteY383" fmla="*/ 1051821 h 4439277"/>
              <a:gd name="connsiteX384" fmla="*/ 6194170 w 6873375"/>
              <a:gd name="connsiteY384" fmla="*/ 1061744 h 4439277"/>
              <a:gd name="connsiteX385" fmla="*/ 6216507 w 6873375"/>
              <a:gd name="connsiteY385" fmla="*/ 1051821 h 4439277"/>
              <a:gd name="connsiteX386" fmla="*/ 6221471 w 6873375"/>
              <a:gd name="connsiteY386" fmla="*/ 1059264 h 4439277"/>
              <a:gd name="connsiteX387" fmla="*/ 6231400 w 6873375"/>
              <a:gd name="connsiteY387" fmla="*/ 1046859 h 4439277"/>
              <a:gd name="connsiteX388" fmla="*/ 6233884 w 6873375"/>
              <a:gd name="connsiteY388" fmla="*/ 1039418 h 4439277"/>
              <a:gd name="connsiteX389" fmla="*/ 6271114 w 6873375"/>
              <a:gd name="connsiteY389" fmla="*/ 1017093 h 4439277"/>
              <a:gd name="connsiteX390" fmla="*/ 6303380 w 6873375"/>
              <a:gd name="connsiteY390" fmla="*/ 999727 h 4439277"/>
              <a:gd name="connsiteX391" fmla="*/ 6308966 w 6873375"/>
              <a:gd name="connsiteY391" fmla="*/ 994146 h 4439277"/>
              <a:gd name="connsiteX392" fmla="*/ 6310391 w 6873375"/>
              <a:gd name="connsiteY392" fmla="*/ 635936 h 4439277"/>
              <a:gd name="connsiteX393" fmla="*/ 6305864 w 6873375"/>
              <a:gd name="connsiteY393" fmla="*/ 644984 h 4439277"/>
              <a:gd name="connsiteX394" fmla="*/ 6303380 w 6873375"/>
              <a:gd name="connsiteY394" fmla="*/ 642505 h 4439277"/>
              <a:gd name="connsiteX395" fmla="*/ 6307112 w 6873375"/>
              <a:gd name="connsiteY395" fmla="*/ 638775 h 4439277"/>
              <a:gd name="connsiteX396" fmla="*/ 6407630 w 6873375"/>
              <a:gd name="connsiteY396" fmla="*/ 1267645 h 4439277"/>
              <a:gd name="connsiteX397" fmla="*/ 6405146 w 6873375"/>
              <a:gd name="connsiteY397" fmla="*/ 1265165 h 4439277"/>
              <a:gd name="connsiteX398" fmla="*/ 6397701 w 6873375"/>
              <a:gd name="connsiteY398" fmla="*/ 1270124 h 4439277"/>
              <a:gd name="connsiteX399" fmla="*/ 6400182 w 6873375"/>
              <a:gd name="connsiteY399" fmla="*/ 1272606 h 4439277"/>
              <a:gd name="connsiteX400" fmla="*/ 6407630 w 6873375"/>
              <a:gd name="connsiteY400" fmla="*/ 1267645 h 4439277"/>
              <a:gd name="connsiteX401" fmla="*/ 6737748 w 6873375"/>
              <a:gd name="connsiteY401" fmla="*/ 803753 h 4439277"/>
              <a:gd name="connsiteX402" fmla="*/ 6730304 w 6873375"/>
              <a:gd name="connsiteY402" fmla="*/ 808714 h 4439277"/>
              <a:gd name="connsiteX403" fmla="*/ 6727821 w 6873375"/>
              <a:gd name="connsiteY403" fmla="*/ 806232 h 4439277"/>
              <a:gd name="connsiteX404" fmla="*/ 6735265 w 6873375"/>
              <a:gd name="connsiteY404" fmla="*/ 801270 h 4439277"/>
              <a:gd name="connsiteX405" fmla="*/ 6737748 w 6873375"/>
              <a:gd name="connsiteY405" fmla="*/ 803753 h 4439277"/>
              <a:gd name="connsiteX406" fmla="*/ 6799800 w 6873375"/>
              <a:gd name="connsiteY406" fmla="*/ 1126244 h 4439277"/>
              <a:gd name="connsiteX407" fmla="*/ 6777463 w 6873375"/>
              <a:gd name="connsiteY407" fmla="*/ 1146090 h 4439277"/>
              <a:gd name="connsiteX408" fmla="*/ 6779943 w 6873375"/>
              <a:gd name="connsiteY408" fmla="*/ 1148568 h 4439277"/>
              <a:gd name="connsiteX409" fmla="*/ 6789872 w 6873375"/>
              <a:gd name="connsiteY409" fmla="*/ 1133684 h 4439277"/>
              <a:gd name="connsiteX410" fmla="*/ 6799800 w 6873375"/>
              <a:gd name="connsiteY410" fmla="*/ 1126244 h 4439277"/>
              <a:gd name="connsiteX411" fmla="*/ 6829586 w 6873375"/>
              <a:gd name="connsiteY411" fmla="*/ 1096474 h 4439277"/>
              <a:gd name="connsiteX412" fmla="*/ 6807249 w 6873375"/>
              <a:gd name="connsiteY412" fmla="*/ 1111359 h 4439277"/>
              <a:gd name="connsiteX413" fmla="*/ 6814693 w 6873375"/>
              <a:gd name="connsiteY413" fmla="*/ 1118802 h 4439277"/>
              <a:gd name="connsiteX414" fmla="*/ 6829586 w 6873375"/>
              <a:gd name="connsiteY414" fmla="*/ 1096474 h 4439277"/>
              <a:gd name="connsiteX415" fmla="*/ 6837034 w 6873375"/>
              <a:gd name="connsiteY415" fmla="*/ 979881 h 4439277"/>
              <a:gd name="connsiteX416" fmla="*/ 6834550 w 6873375"/>
              <a:gd name="connsiteY416" fmla="*/ 977401 h 4439277"/>
              <a:gd name="connsiteX417" fmla="*/ 6829586 w 6873375"/>
              <a:gd name="connsiteY417" fmla="*/ 982363 h 4439277"/>
              <a:gd name="connsiteX418" fmla="*/ 6834550 w 6873375"/>
              <a:gd name="connsiteY418" fmla="*/ 982363 h 4439277"/>
              <a:gd name="connsiteX419" fmla="*/ 6837034 w 6873375"/>
              <a:gd name="connsiteY419" fmla="*/ 979881 h 4439277"/>
              <a:gd name="connsiteX420" fmla="*/ 6873375 w 6873375"/>
              <a:gd name="connsiteY420" fmla="*/ 746555 h 4439277"/>
              <a:gd name="connsiteX421" fmla="*/ 6873375 w 6873375"/>
              <a:gd name="connsiteY421" fmla="*/ 772748 h 4439277"/>
              <a:gd name="connsiteX422" fmla="*/ 6869300 w 6873375"/>
              <a:gd name="connsiteY422" fmla="*/ 776463 h 4439277"/>
              <a:gd name="connsiteX423" fmla="*/ 6873375 w 6873375"/>
              <a:gd name="connsiteY423" fmla="*/ 776463 h 4439277"/>
              <a:gd name="connsiteX424" fmla="*/ 6873375 w 6873375"/>
              <a:gd name="connsiteY424" fmla="*/ 823595 h 4439277"/>
              <a:gd name="connsiteX425" fmla="*/ 6861852 w 6873375"/>
              <a:gd name="connsiteY425" fmla="*/ 823595 h 4439277"/>
              <a:gd name="connsiteX426" fmla="*/ 6866816 w 6873375"/>
              <a:gd name="connsiteY426" fmla="*/ 840962 h 4439277"/>
              <a:gd name="connsiteX427" fmla="*/ 6873375 w 6873375"/>
              <a:gd name="connsiteY427" fmla="*/ 834441 h 4439277"/>
              <a:gd name="connsiteX428" fmla="*/ 6873375 w 6873375"/>
              <a:gd name="connsiteY428" fmla="*/ 863520 h 4439277"/>
              <a:gd name="connsiteX429" fmla="*/ 6866816 w 6873375"/>
              <a:gd name="connsiteY429" fmla="*/ 870731 h 4439277"/>
              <a:gd name="connsiteX430" fmla="*/ 6851924 w 6873375"/>
              <a:gd name="connsiteY430" fmla="*/ 883133 h 4439277"/>
              <a:gd name="connsiteX431" fmla="*/ 6812213 w 6873375"/>
              <a:gd name="connsiteY431" fmla="*/ 932748 h 4439277"/>
              <a:gd name="connsiteX432" fmla="*/ 6834550 w 6873375"/>
              <a:gd name="connsiteY432" fmla="*/ 920346 h 4439277"/>
              <a:gd name="connsiteX433" fmla="*/ 6851924 w 6873375"/>
              <a:gd name="connsiteY433" fmla="*/ 900500 h 4439277"/>
              <a:gd name="connsiteX434" fmla="*/ 6856888 w 6873375"/>
              <a:gd name="connsiteY434" fmla="*/ 902979 h 4439277"/>
              <a:gd name="connsiteX435" fmla="*/ 6854407 w 6873375"/>
              <a:gd name="connsiteY435" fmla="*/ 895538 h 4439277"/>
              <a:gd name="connsiteX436" fmla="*/ 6866816 w 6873375"/>
              <a:gd name="connsiteY436" fmla="*/ 878172 h 4439277"/>
              <a:gd name="connsiteX437" fmla="*/ 6873375 w 6873375"/>
              <a:gd name="connsiteY437" fmla="*/ 873257 h 4439277"/>
              <a:gd name="connsiteX438" fmla="*/ 6873375 w 6873375"/>
              <a:gd name="connsiteY438" fmla="*/ 4439277 h 4439277"/>
              <a:gd name="connsiteX439" fmla="*/ 0 w 6873375"/>
              <a:gd name="connsiteY439" fmla="*/ 4439277 h 4439277"/>
              <a:gd name="connsiteX440" fmla="*/ 0 w 6873375"/>
              <a:gd name="connsiteY440" fmla="*/ 2283995 h 4439277"/>
              <a:gd name="connsiteX441" fmla="*/ 16229 w 6873375"/>
              <a:gd name="connsiteY441" fmla="*/ 2264891 h 4439277"/>
              <a:gd name="connsiteX442" fmla="*/ 0 w 6873375"/>
              <a:gd name="connsiteY442" fmla="*/ 2275766 h 4439277"/>
              <a:gd name="connsiteX443" fmla="*/ 0 w 6873375"/>
              <a:gd name="connsiteY443" fmla="*/ 1652065 h 4439277"/>
              <a:gd name="connsiteX444" fmla="*/ 11574 w 6873375"/>
              <a:gd name="connsiteY444" fmla="*/ 1641921 h 4439277"/>
              <a:gd name="connsiteX445" fmla="*/ 33603 w 6873375"/>
              <a:gd name="connsiteY445" fmla="*/ 1629827 h 4439277"/>
              <a:gd name="connsiteX446" fmla="*/ 43530 w 6873375"/>
              <a:gd name="connsiteY446" fmla="*/ 1622385 h 4439277"/>
              <a:gd name="connsiteX447" fmla="*/ 117995 w 6873375"/>
              <a:gd name="connsiteY447" fmla="*/ 1533079 h 4439277"/>
              <a:gd name="connsiteX448" fmla="*/ 199903 w 6873375"/>
              <a:gd name="connsiteY448" fmla="*/ 1476023 h 4439277"/>
              <a:gd name="connsiteX449" fmla="*/ 224724 w 6873375"/>
              <a:gd name="connsiteY449" fmla="*/ 1453698 h 4439277"/>
              <a:gd name="connsiteX450" fmla="*/ 259474 w 6873375"/>
              <a:gd name="connsiteY450" fmla="*/ 1428891 h 4439277"/>
              <a:gd name="connsiteX451" fmla="*/ 341383 w 6873375"/>
              <a:gd name="connsiteY451" fmla="*/ 1384238 h 4439277"/>
              <a:gd name="connsiteX452" fmla="*/ 408399 w 6873375"/>
              <a:gd name="connsiteY452" fmla="*/ 1342066 h 4439277"/>
              <a:gd name="connsiteX453" fmla="*/ 512645 w 6873375"/>
              <a:gd name="connsiteY453" fmla="*/ 1257721 h 4439277"/>
              <a:gd name="connsiteX454" fmla="*/ 609447 w 6873375"/>
              <a:gd name="connsiteY454" fmla="*/ 1200665 h 4439277"/>
              <a:gd name="connsiteX455" fmla="*/ 639233 w 6873375"/>
              <a:gd name="connsiteY455" fmla="*/ 1183298 h 4439277"/>
              <a:gd name="connsiteX456" fmla="*/ 783196 w 6873375"/>
              <a:gd name="connsiteY456" fmla="*/ 1096474 h 4439277"/>
              <a:gd name="connsiteX457" fmla="*/ 805534 w 6873375"/>
              <a:gd name="connsiteY457" fmla="*/ 1081589 h 4439277"/>
              <a:gd name="connsiteX458" fmla="*/ 865105 w 6873375"/>
              <a:gd name="connsiteY458" fmla="*/ 1046859 h 4439277"/>
              <a:gd name="connsiteX459" fmla="*/ 922193 w 6873375"/>
              <a:gd name="connsiteY459" fmla="*/ 1017093 h 4439277"/>
              <a:gd name="connsiteX460" fmla="*/ 1190259 w 6873375"/>
              <a:gd name="connsiteY460" fmla="*/ 930269 h 4439277"/>
              <a:gd name="connsiteX461" fmla="*/ 1279617 w 6873375"/>
              <a:gd name="connsiteY461" fmla="*/ 890577 h 4439277"/>
              <a:gd name="connsiteX462" fmla="*/ 1371453 w 6873375"/>
              <a:gd name="connsiteY462" fmla="*/ 843441 h 4439277"/>
              <a:gd name="connsiteX463" fmla="*/ 1498041 w 6873375"/>
              <a:gd name="connsiteY463" fmla="*/ 801270 h 4439277"/>
              <a:gd name="connsiteX464" fmla="*/ 1510450 w 6873375"/>
              <a:gd name="connsiteY464" fmla="*/ 798788 h 4439277"/>
              <a:gd name="connsiteX465" fmla="*/ 1560093 w 6873375"/>
              <a:gd name="connsiteY465" fmla="*/ 771501 h 4439277"/>
              <a:gd name="connsiteX466" fmla="*/ 1646966 w 6873375"/>
              <a:gd name="connsiteY466" fmla="*/ 734291 h 4439277"/>
              <a:gd name="connsiteX467" fmla="*/ 1669306 w 6873375"/>
              <a:gd name="connsiteY467" fmla="*/ 729330 h 4439277"/>
              <a:gd name="connsiteX468" fmla="*/ 1743767 w 6873375"/>
              <a:gd name="connsiteY468" fmla="*/ 702040 h 4439277"/>
              <a:gd name="connsiteX469" fmla="*/ 1756179 w 6873375"/>
              <a:gd name="connsiteY469" fmla="*/ 697081 h 4439277"/>
              <a:gd name="connsiteX470" fmla="*/ 1857944 w 6873375"/>
              <a:gd name="connsiteY470" fmla="*/ 674754 h 4439277"/>
              <a:gd name="connsiteX471" fmla="*/ 1957227 w 6873375"/>
              <a:gd name="connsiteY471" fmla="*/ 652428 h 4439277"/>
              <a:gd name="connsiteX472" fmla="*/ 2004389 w 6873375"/>
              <a:gd name="connsiteY472" fmla="*/ 642505 h 4439277"/>
              <a:gd name="connsiteX473" fmla="*/ 2026727 w 6873375"/>
              <a:gd name="connsiteY473" fmla="*/ 637544 h 4439277"/>
              <a:gd name="connsiteX474" fmla="*/ 2113600 w 6873375"/>
              <a:gd name="connsiteY474" fmla="*/ 635062 h 4439277"/>
              <a:gd name="connsiteX475" fmla="*/ 2138421 w 6873375"/>
              <a:gd name="connsiteY475" fmla="*/ 630101 h 4439277"/>
              <a:gd name="connsiteX476" fmla="*/ 2170690 w 6873375"/>
              <a:gd name="connsiteY476" fmla="*/ 642505 h 4439277"/>
              <a:gd name="connsiteX477" fmla="*/ 2170690 w 6873375"/>
              <a:gd name="connsiteY477" fmla="*/ 644984 h 4439277"/>
              <a:gd name="connsiteX478" fmla="*/ 2252599 w 6873375"/>
              <a:gd name="connsiteY478" fmla="*/ 602813 h 4439277"/>
              <a:gd name="connsiteX479" fmla="*/ 2401524 w 6873375"/>
              <a:gd name="connsiteY479" fmla="*/ 535835 h 4439277"/>
              <a:gd name="connsiteX480" fmla="*/ 2431310 w 6873375"/>
              <a:gd name="connsiteY480" fmla="*/ 525912 h 4439277"/>
              <a:gd name="connsiteX481" fmla="*/ 2443718 w 6873375"/>
              <a:gd name="connsiteY481" fmla="*/ 533353 h 4439277"/>
              <a:gd name="connsiteX482" fmla="*/ 2389112 w 6873375"/>
              <a:gd name="connsiteY482" fmla="*/ 560642 h 4439277"/>
              <a:gd name="connsiteX483" fmla="*/ 2334508 w 6873375"/>
              <a:gd name="connsiteY483" fmla="*/ 590409 h 4439277"/>
              <a:gd name="connsiteX484" fmla="*/ 2279900 w 6873375"/>
              <a:gd name="connsiteY484" fmla="*/ 620177 h 4439277"/>
              <a:gd name="connsiteX485" fmla="*/ 2299758 w 6873375"/>
              <a:gd name="connsiteY485" fmla="*/ 620177 h 4439277"/>
              <a:gd name="connsiteX486" fmla="*/ 2381666 w 6873375"/>
              <a:gd name="connsiteY486" fmla="*/ 578006 h 4439277"/>
              <a:gd name="connsiteX487" fmla="*/ 2520663 w 6873375"/>
              <a:gd name="connsiteY487" fmla="*/ 528392 h 4439277"/>
              <a:gd name="connsiteX488" fmla="*/ 2540520 w 6873375"/>
              <a:gd name="connsiteY488" fmla="*/ 525912 h 4439277"/>
              <a:gd name="connsiteX489" fmla="*/ 2557896 w 6873375"/>
              <a:gd name="connsiteY489" fmla="*/ 535835 h 4439277"/>
              <a:gd name="connsiteX490" fmla="*/ 2572789 w 6873375"/>
              <a:gd name="connsiteY490" fmla="*/ 553199 h 4439277"/>
              <a:gd name="connsiteX491" fmla="*/ 2570306 w 6873375"/>
              <a:gd name="connsiteY491" fmla="*/ 573045 h 4439277"/>
              <a:gd name="connsiteX492" fmla="*/ 2612504 w 6873375"/>
              <a:gd name="connsiteY492" fmla="*/ 555681 h 4439277"/>
              <a:gd name="connsiteX493" fmla="*/ 2495842 w 6873375"/>
              <a:gd name="connsiteY493" fmla="*/ 632582 h 4439277"/>
              <a:gd name="connsiteX494" fmla="*/ 2510738 w 6873375"/>
              <a:gd name="connsiteY494" fmla="*/ 647467 h 4439277"/>
              <a:gd name="connsiteX495" fmla="*/ 2518182 w 6873375"/>
              <a:gd name="connsiteY495" fmla="*/ 649946 h 4439277"/>
              <a:gd name="connsiteX496" fmla="*/ 2543004 w 6873375"/>
              <a:gd name="connsiteY496" fmla="*/ 644984 h 4439277"/>
              <a:gd name="connsiteX497" fmla="*/ 2667107 w 6873375"/>
              <a:gd name="connsiteY497" fmla="*/ 610255 h 4439277"/>
              <a:gd name="connsiteX498" fmla="*/ 2716750 w 6873375"/>
              <a:gd name="connsiteY498" fmla="*/ 602813 h 4439277"/>
              <a:gd name="connsiteX499" fmla="*/ 2736607 w 6873375"/>
              <a:gd name="connsiteY499" fmla="*/ 610255 h 4439277"/>
              <a:gd name="connsiteX500" fmla="*/ 2714266 w 6873375"/>
              <a:gd name="connsiteY500" fmla="*/ 620177 h 4439277"/>
              <a:gd name="connsiteX501" fmla="*/ 2508254 w 6873375"/>
              <a:gd name="connsiteY501" fmla="*/ 674754 h 4439277"/>
              <a:gd name="connsiteX502" fmla="*/ 2505774 w 6873375"/>
              <a:gd name="connsiteY502" fmla="*/ 677233 h 4439277"/>
              <a:gd name="connsiteX503" fmla="*/ 2510738 w 6873375"/>
              <a:gd name="connsiteY503" fmla="*/ 684676 h 4439277"/>
              <a:gd name="connsiteX504" fmla="*/ 2468540 w 6873375"/>
              <a:gd name="connsiteY504" fmla="*/ 697081 h 4439277"/>
              <a:gd name="connsiteX505" fmla="*/ 2480953 w 6873375"/>
              <a:gd name="connsiteY505" fmla="*/ 702040 h 4439277"/>
              <a:gd name="connsiteX506" fmla="*/ 2381666 w 6873375"/>
              <a:gd name="connsiteY506" fmla="*/ 736771 h 4439277"/>
              <a:gd name="connsiteX507" fmla="*/ 2438754 w 6873375"/>
              <a:gd name="connsiteY507" fmla="*/ 704522 h 4439277"/>
              <a:gd name="connsiteX508" fmla="*/ 2426346 w 6873375"/>
              <a:gd name="connsiteY508" fmla="*/ 709484 h 4439277"/>
              <a:gd name="connsiteX509" fmla="*/ 2371738 w 6873375"/>
              <a:gd name="connsiteY509" fmla="*/ 731809 h 4439277"/>
              <a:gd name="connsiteX510" fmla="*/ 2327060 w 6873375"/>
              <a:gd name="connsiteY510" fmla="*/ 754137 h 4439277"/>
              <a:gd name="connsiteX511" fmla="*/ 2331397 w 6873375"/>
              <a:gd name="connsiteY511" fmla="*/ 777975 h 4439277"/>
              <a:gd name="connsiteX512" fmla="*/ 2319615 w 6873375"/>
              <a:gd name="connsiteY512" fmla="*/ 786386 h 4439277"/>
              <a:gd name="connsiteX513" fmla="*/ 2284866 w 6873375"/>
              <a:gd name="connsiteY513" fmla="*/ 808714 h 4439277"/>
              <a:gd name="connsiteX514" fmla="*/ 2225295 w 6873375"/>
              <a:gd name="connsiteY514" fmla="*/ 840961 h 4439277"/>
              <a:gd name="connsiteX515" fmla="*/ 2230259 w 6873375"/>
              <a:gd name="connsiteY515" fmla="*/ 853364 h 4439277"/>
              <a:gd name="connsiteX516" fmla="*/ 2324580 w 6873375"/>
              <a:gd name="connsiteY516" fmla="*/ 811193 h 4439277"/>
              <a:gd name="connsiteX517" fmla="*/ 2329544 w 6873375"/>
              <a:gd name="connsiteY517" fmla="*/ 808714 h 4439277"/>
              <a:gd name="connsiteX518" fmla="*/ 2334197 w 6873375"/>
              <a:gd name="connsiteY518" fmla="*/ 794138 h 4439277"/>
              <a:gd name="connsiteX519" fmla="*/ 2336245 w 6873375"/>
              <a:gd name="connsiteY519" fmla="*/ 779347 h 4439277"/>
              <a:gd name="connsiteX520" fmla="*/ 2393146 w 6873375"/>
              <a:gd name="connsiteY520" fmla="*/ 751345 h 4439277"/>
              <a:gd name="connsiteX521" fmla="*/ 2456130 w 6873375"/>
              <a:gd name="connsiteY521" fmla="*/ 726847 h 4439277"/>
              <a:gd name="connsiteX522" fmla="*/ 2473504 w 6873375"/>
              <a:gd name="connsiteY522" fmla="*/ 719407 h 4439277"/>
              <a:gd name="connsiteX523" fmla="*/ 2543004 w 6873375"/>
              <a:gd name="connsiteY523" fmla="*/ 692118 h 4439277"/>
              <a:gd name="connsiteX524" fmla="*/ 2614984 w 6873375"/>
              <a:gd name="connsiteY524" fmla="*/ 674754 h 4439277"/>
              <a:gd name="connsiteX525" fmla="*/ 2664627 w 6873375"/>
              <a:gd name="connsiteY525" fmla="*/ 659869 h 4439277"/>
              <a:gd name="connsiteX526" fmla="*/ 2716750 w 6873375"/>
              <a:gd name="connsiteY526" fmla="*/ 649946 h 4439277"/>
              <a:gd name="connsiteX527" fmla="*/ 2716750 w 6873375"/>
              <a:gd name="connsiteY527" fmla="*/ 664830 h 4439277"/>
              <a:gd name="connsiteX528" fmla="*/ 2736607 w 6873375"/>
              <a:gd name="connsiteY528" fmla="*/ 669792 h 4439277"/>
              <a:gd name="connsiteX529" fmla="*/ 2763908 w 6873375"/>
              <a:gd name="connsiteY529" fmla="*/ 662351 h 4439277"/>
              <a:gd name="connsiteX530" fmla="*/ 2786250 w 6873375"/>
              <a:gd name="connsiteY530" fmla="*/ 672274 h 4439277"/>
              <a:gd name="connsiteX531" fmla="*/ 2773838 w 6873375"/>
              <a:gd name="connsiteY531" fmla="*/ 684676 h 4439277"/>
              <a:gd name="connsiteX532" fmla="*/ 2647253 w 6873375"/>
              <a:gd name="connsiteY532" fmla="*/ 741732 h 4439277"/>
              <a:gd name="connsiteX533" fmla="*/ 2614984 w 6873375"/>
              <a:gd name="connsiteY533" fmla="*/ 761578 h 4439277"/>
              <a:gd name="connsiteX534" fmla="*/ 2605055 w 6873375"/>
              <a:gd name="connsiteY534" fmla="*/ 766539 h 4439277"/>
              <a:gd name="connsiteX535" fmla="*/ 2624913 w 6873375"/>
              <a:gd name="connsiteY535" fmla="*/ 766539 h 4439277"/>
              <a:gd name="connsiteX536" fmla="*/ 2639805 w 6873375"/>
              <a:gd name="connsiteY536" fmla="*/ 764061 h 4439277"/>
              <a:gd name="connsiteX537" fmla="*/ 2652215 w 6873375"/>
              <a:gd name="connsiteY537" fmla="*/ 783907 h 4439277"/>
              <a:gd name="connsiteX538" fmla="*/ 2644770 w 6873375"/>
              <a:gd name="connsiteY538" fmla="*/ 791347 h 4439277"/>
              <a:gd name="connsiteX539" fmla="*/ 2644770 w 6873375"/>
              <a:gd name="connsiteY539" fmla="*/ 796308 h 4439277"/>
              <a:gd name="connsiteX540" fmla="*/ 2654698 w 6873375"/>
              <a:gd name="connsiteY540" fmla="*/ 791347 h 4439277"/>
              <a:gd name="connsiteX541" fmla="*/ 2659662 w 6873375"/>
              <a:gd name="connsiteY541" fmla="*/ 781424 h 4439277"/>
              <a:gd name="connsiteX542" fmla="*/ 2674555 w 6873375"/>
              <a:gd name="connsiteY542" fmla="*/ 778944 h 4439277"/>
              <a:gd name="connsiteX543" fmla="*/ 2686965 w 6873375"/>
              <a:gd name="connsiteY543" fmla="*/ 776462 h 4439277"/>
              <a:gd name="connsiteX544" fmla="*/ 2719230 w 6873375"/>
              <a:gd name="connsiteY544" fmla="*/ 766539 h 4439277"/>
              <a:gd name="connsiteX545" fmla="*/ 2838372 w 6873375"/>
              <a:gd name="connsiteY545" fmla="*/ 719407 h 4439277"/>
              <a:gd name="connsiteX546" fmla="*/ 2860710 w 6873375"/>
              <a:gd name="connsiteY546" fmla="*/ 707001 h 4439277"/>
              <a:gd name="connsiteX547" fmla="*/ 2912837 w 6873375"/>
              <a:gd name="connsiteY547" fmla="*/ 672274 h 4439277"/>
              <a:gd name="connsiteX548" fmla="*/ 2935174 w 6873375"/>
              <a:gd name="connsiteY548" fmla="*/ 667313 h 4439277"/>
              <a:gd name="connsiteX549" fmla="*/ 2940138 w 6873375"/>
              <a:gd name="connsiteY549" fmla="*/ 672274 h 4439277"/>
              <a:gd name="connsiteX550" fmla="*/ 2937655 w 6873375"/>
              <a:gd name="connsiteY550" fmla="*/ 679715 h 4439277"/>
              <a:gd name="connsiteX551" fmla="*/ 2915317 w 6873375"/>
              <a:gd name="connsiteY551" fmla="*/ 699561 h 4439277"/>
              <a:gd name="connsiteX552" fmla="*/ 2932694 w 6873375"/>
              <a:gd name="connsiteY552" fmla="*/ 704522 h 4439277"/>
              <a:gd name="connsiteX553" fmla="*/ 3027011 w 6873375"/>
              <a:gd name="connsiteY553" fmla="*/ 684676 h 4439277"/>
              <a:gd name="connsiteX554" fmla="*/ 2940138 w 6873375"/>
              <a:gd name="connsiteY554" fmla="*/ 714445 h 4439277"/>
              <a:gd name="connsiteX555" fmla="*/ 2902909 w 6873375"/>
              <a:gd name="connsiteY555" fmla="*/ 729330 h 4439277"/>
              <a:gd name="connsiteX556" fmla="*/ 2863195 w 6873375"/>
              <a:gd name="connsiteY556" fmla="*/ 746693 h 4439277"/>
              <a:gd name="connsiteX557" fmla="*/ 2835892 w 6873375"/>
              <a:gd name="connsiteY557" fmla="*/ 764061 h 4439277"/>
              <a:gd name="connsiteX558" fmla="*/ 2850782 w 6873375"/>
              <a:gd name="connsiteY558" fmla="*/ 766539 h 4439277"/>
              <a:gd name="connsiteX559" fmla="*/ 2912837 w 6873375"/>
              <a:gd name="connsiteY559" fmla="*/ 764061 h 4439277"/>
              <a:gd name="connsiteX560" fmla="*/ 2964960 w 6873375"/>
              <a:gd name="connsiteY560" fmla="*/ 746693 h 4439277"/>
              <a:gd name="connsiteX561" fmla="*/ 3111404 w 6873375"/>
              <a:gd name="connsiteY561" fmla="*/ 702040 h 4439277"/>
              <a:gd name="connsiteX562" fmla="*/ 3143670 w 6873375"/>
              <a:gd name="connsiteY562" fmla="*/ 697081 h 4439277"/>
              <a:gd name="connsiteX563" fmla="*/ 3138706 w 6873375"/>
              <a:gd name="connsiteY563" fmla="*/ 704522 h 4439277"/>
              <a:gd name="connsiteX564" fmla="*/ 3046869 w 6873375"/>
              <a:gd name="connsiteY564" fmla="*/ 756617 h 4439277"/>
              <a:gd name="connsiteX565" fmla="*/ 2979852 w 6873375"/>
              <a:gd name="connsiteY565" fmla="*/ 781424 h 4439277"/>
              <a:gd name="connsiteX566" fmla="*/ 2818515 w 6873375"/>
              <a:gd name="connsiteY566" fmla="*/ 833518 h 4439277"/>
              <a:gd name="connsiteX567" fmla="*/ 2704341 w 6873375"/>
              <a:gd name="connsiteY567" fmla="*/ 878171 h 4439277"/>
              <a:gd name="connsiteX568" fmla="*/ 2706822 w 6873375"/>
              <a:gd name="connsiteY568" fmla="*/ 888095 h 4439277"/>
              <a:gd name="connsiteX569" fmla="*/ 2721714 w 6873375"/>
              <a:gd name="connsiteY569" fmla="*/ 888095 h 4439277"/>
              <a:gd name="connsiteX570" fmla="*/ 2711786 w 6873375"/>
              <a:gd name="connsiteY570" fmla="*/ 893056 h 4439277"/>
              <a:gd name="connsiteX571" fmla="*/ 2714266 w 6873375"/>
              <a:gd name="connsiteY571" fmla="*/ 898017 h 4439277"/>
              <a:gd name="connsiteX572" fmla="*/ 2724198 w 6873375"/>
              <a:gd name="connsiteY572" fmla="*/ 895538 h 4439277"/>
              <a:gd name="connsiteX573" fmla="*/ 2721714 w 6873375"/>
              <a:gd name="connsiteY573" fmla="*/ 888095 h 4439277"/>
              <a:gd name="connsiteX574" fmla="*/ 2729162 w 6873375"/>
              <a:gd name="connsiteY574" fmla="*/ 888095 h 4439277"/>
              <a:gd name="connsiteX575" fmla="*/ 2734126 w 6873375"/>
              <a:gd name="connsiteY575" fmla="*/ 890577 h 4439277"/>
              <a:gd name="connsiteX576" fmla="*/ 2725127 w 6873375"/>
              <a:gd name="connsiteY576" fmla="*/ 898948 h 4439277"/>
              <a:gd name="connsiteX577" fmla="*/ 2723535 w 6873375"/>
              <a:gd name="connsiteY577" fmla="*/ 905462 h 4439277"/>
              <a:gd name="connsiteX578" fmla="*/ 2721714 w 6873375"/>
              <a:gd name="connsiteY578" fmla="*/ 905462 h 4439277"/>
              <a:gd name="connsiteX579" fmla="*/ 2722937 w 6873375"/>
              <a:gd name="connsiteY579" fmla="*/ 907902 h 4439277"/>
              <a:gd name="connsiteX580" fmla="*/ 2721714 w 6873375"/>
              <a:gd name="connsiteY580" fmla="*/ 912902 h 4439277"/>
              <a:gd name="connsiteX581" fmla="*/ 2701857 w 6873375"/>
              <a:gd name="connsiteY581" fmla="*/ 902978 h 4439277"/>
              <a:gd name="connsiteX582" fmla="*/ 2694412 w 6873375"/>
              <a:gd name="connsiteY582" fmla="*/ 905462 h 4439277"/>
              <a:gd name="connsiteX583" fmla="*/ 2689444 w 6873375"/>
              <a:gd name="connsiteY583" fmla="*/ 920345 h 4439277"/>
              <a:gd name="connsiteX584" fmla="*/ 2667107 w 6873375"/>
              <a:gd name="connsiteY584" fmla="*/ 927787 h 4439277"/>
              <a:gd name="connsiteX585" fmla="*/ 2657179 w 6873375"/>
              <a:gd name="connsiteY585" fmla="*/ 930269 h 4439277"/>
              <a:gd name="connsiteX586" fmla="*/ 2659662 w 6873375"/>
              <a:gd name="connsiteY586" fmla="*/ 902978 h 4439277"/>
              <a:gd name="connsiteX587" fmla="*/ 2624913 w 6873375"/>
              <a:gd name="connsiteY587" fmla="*/ 925304 h 4439277"/>
              <a:gd name="connsiteX588" fmla="*/ 2642286 w 6873375"/>
              <a:gd name="connsiteY588" fmla="*/ 915384 h 4439277"/>
              <a:gd name="connsiteX589" fmla="*/ 2617467 w 6873375"/>
              <a:gd name="connsiteY589" fmla="*/ 935227 h 4439277"/>
              <a:gd name="connsiteX590" fmla="*/ 2585198 w 6873375"/>
              <a:gd name="connsiteY590" fmla="*/ 972440 h 4439277"/>
              <a:gd name="connsiteX591" fmla="*/ 2652215 w 6873375"/>
              <a:gd name="connsiteY591" fmla="*/ 950112 h 4439277"/>
              <a:gd name="connsiteX592" fmla="*/ 2642286 w 6873375"/>
              <a:gd name="connsiteY592" fmla="*/ 960034 h 4439277"/>
              <a:gd name="connsiteX593" fmla="*/ 2577751 w 6873375"/>
              <a:gd name="connsiteY593" fmla="*/ 987325 h 4439277"/>
              <a:gd name="connsiteX594" fmla="*/ 2552932 w 6873375"/>
              <a:gd name="connsiteY594" fmla="*/ 999726 h 4439277"/>
              <a:gd name="connsiteX595" fmla="*/ 2562861 w 6873375"/>
              <a:gd name="connsiteY595" fmla="*/ 1012132 h 4439277"/>
              <a:gd name="connsiteX596" fmla="*/ 2580234 w 6873375"/>
              <a:gd name="connsiteY596" fmla="*/ 1007171 h 4439277"/>
              <a:gd name="connsiteX597" fmla="*/ 2590163 w 6873375"/>
              <a:gd name="connsiteY597" fmla="*/ 999726 h 4439277"/>
              <a:gd name="connsiteX598" fmla="*/ 2642286 w 6873375"/>
              <a:gd name="connsiteY598" fmla="*/ 989804 h 4439277"/>
              <a:gd name="connsiteX599" fmla="*/ 2969924 w 6873375"/>
              <a:gd name="connsiteY599" fmla="*/ 902978 h 4439277"/>
              <a:gd name="connsiteX600" fmla="*/ 2989781 w 6873375"/>
              <a:gd name="connsiteY600" fmla="*/ 900499 h 4439277"/>
              <a:gd name="connsiteX601" fmla="*/ 2992262 w 6873375"/>
              <a:gd name="connsiteY601" fmla="*/ 898017 h 4439277"/>
              <a:gd name="connsiteX602" fmla="*/ 2999709 w 6873375"/>
              <a:gd name="connsiteY602" fmla="*/ 893056 h 4439277"/>
              <a:gd name="connsiteX603" fmla="*/ 3029495 w 6873375"/>
              <a:gd name="connsiteY603" fmla="*/ 880653 h 4439277"/>
              <a:gd name="connsiteX604" fmla="*/ 3031976 w 6873375"/>
              <a:gd name="connsiteY604" fmla="*/ 875692 h 4439277"/>
              <a:gd name="connsiteX605" fmla="*/ 3041904 w 6873375"/>
              <a:gd name="connsiteY605" fmla="*/ 870731 h 4439277"/>
              <a:gd name="connsiteX606" fmla="*/ 3051833 w 6873375"/>
              <a:gd name="connsiteY606" fmla="*/ 865770 h 4439277"/>
              <a:gd name="connsiteX607" fmla="*/ 3056797 w 6873375"/>
              <a:gd name="connsiteY607" fmla="*/ 858325 h 4439277"/>
              <a:gd name="connsiteX608" fmla="*/ 3079135 w 6873375"/>
              <a:gd name="connsiteY608" fmla="*/ 843441 h 4439277"/>
              <a:gd name="connsiteX609" fmla="*/ 3094030 w 6873375"/>
              <a:gd name="connsiteY609" fmla="*/ 838480 h 4439277"/>
              <a:gd name="connsiteX610" fmla="*/ 3106439 w 6873375"/>
              <a:gd name="connsiteY610" fmla="*/ 836000 h 4439277"/>
              <a:gd name="connsiteX611" fmla="*/ 3116368 w 6873375"/>
              <a:gd name="connsiteY611" fmla="*/ 826078 h 4439277"/>
              <a:gd name="connsiteX612" fmla="*/ 3118851 w 6873375"/>
              <a:gd name="connsiteY612" fmla="*/ 821115 h 4439277"/>
              <a:gd name="connsiteX613" fmla="*/ 3128777 w 6873375"/>
              <a:gd name="connsiteY613" fmla="*/ 813672 h 4439277"/>
              <a:gd name="connsiteX614" fmla="*/ 3138706 w 6873375"/>
              <a:gd name="connsiteY614" fmla="*/ 808714 h 4439277"/>
              <a:gd name="connsiteX615" fmla="*/ 3148634 w 6873375"/>
              <a:gd name="connsiteY615" fmla="*/ 796308 h 4439277"/>
              <a:gd name="connsiteX616" fmla="*/ 3230546 w 6873375"/>
              <a:gd name="connsiteY616" fmla="*/ 746693 h 4439277"/>
              <a:gd name="connsiteX617" fmla="*/ 3247920 w 6873375"/>
              <a:gd name="connsiteY617" fmla="*/ 744215 h 4439277"/>
              <a:gd name="connsiteX618" fmla="*/ 3262812 w 6873375"/>
              <a:gd name="connsiteY618" fmla="*/ 741732 h 4439277"/>
              <a:gd name="connsiteX619" fmla="*/ 3292598 w 6873375"/>
              <a:gd name="connsiteY619" fmla="*/ 724368 h 4439277"/>
              <a:gd name="connsiteX620" fmla="*/ 3305006 w 6873375"/>
              <a:gd name="connsiteY620" fmla="*/ 721886 h 4439277"/>
              <a:gd name="connsiteX621" fmla="*/ 3329829 w 6873375"/>
              <a:gd name="connsiteY621" fmla="*/ 704522 h 4439277"/>
              <a:gd name="connsiteX622" fmla="*/ 3334793 w 6873375"/>
              <a:gd name="connsiteY622" fmla="*/ 702040 h 4439277"/>
              <a:gd name="connsiteX623" fmla="*/ 3344720 w 6873375"/>
              <a:gd name="connsiteY623" fmla="*/ 699561 h 4439277"/>
              <a:gd name="connsiteX624" fmla="*/ 3404292 w 6873375"/>
              <a:gd name="connsiteY624" fmla="*/ 662351 h 4439277"/>
              <a:gd name="connsiteX625" fmla="*/ 3456415 w 6873375"/>
              <a:gd name="connsiteY625" fmla="*/ 630101 h 4439277"/>
              <a:gd name="connsiteX626" fmla="*/ 3466343 w 6873375"/>
              <a:gd name="connsiteY626" fmla="*/ 627621 h 4439277"/>
              <a:gd name="connsiteX627" fmla="*/ 3471308 w 6873375"/>
              <a:gd name="connsiteY627" fmla="*/ 625138 h 4439277"/>
              <a:gd name="connsiteX628" fmla="*/ 3476272 w 6873375"/>
              <a:gd name="connsiteY628" fmla="*/ 617698 h 4439277"/>
              <a:gd name="connsiteX629" fmla="*/ 3496130 w 6873375"/>
              <a:gd name="connsiteY629" fmla="*/ 610255 h 4439277"/>
              <a:gd name="connsiteX630" fmla="*/ 3530879 w 6873375"/>
              <a:gd name="connsiteY630" fmla="*/ 587929 h 4439277"/>
              <a:gd name="connsiteX631" fmla="*/ 3545769 w 6873375"/>
              <a:gd name="connsiteY631" fmla="*/ 582967 h 4439277"/>
              <a:gd name="connsiteX632" fmla="*/ 3558181 w 6873375"/>
              <a:gd name="connsiteY632" fmla="*/ 575524 h 4439277"/>
              <a:gd name="connsiteX633" fmla="*/ 3575555 w 6873375"/>
              <a:gd name="connsiteY633" fmla="*/ 565600 h 4439277"/>
              <a:gd name="connsiteX634" fmla="*/ 3587966 w 6873375"/>
              <a:gd name="connsiteY634" fmla="*/ 558160 h 4439277"/>
              <a:gd name="connsiteX635" fmla="*/ 3600376 w 6873375"/>
              <a:gd name="connsiteY635" fmla="*/ 545758 h 4439277"/>
              <a:gd name="connsiteX636" fmla="*/ 3612788 w 6873375"/>
              <a:gd name="connsiteY636" fmla="*/ 535835 h 4439277"/>
              <a:gd name="connsiteX637" fmla="*/ 3647537 w 6873375"/>
              <a:gd name="connsiteY637" fmla="*/ 530873 h 4439277"/>
              <a:gd name="connsiteX638" fmla="*/ 3650018 w 6873375"/>
              <a:gd name="connsiteY638" fmla="*/ 535835 h 4439277"/>
              <a:gd name="connsiteX639" fmla="*/ 3647537 w 6873375"/>
              <a:gd name="connsiteY639" fmla="*/ 540796 h 4439277"/>
              <a:gd name="connsiteX640" fmla="*/ 3640090 w 6873375"/>
              <a:gd name="connsiteY640" fmla="*/ 545758 h 4439277"/>
              <a:gd name="connsiteX641" fmla="*/ 3617752 w 6873375"/>
              <a:gd name="connsiteY641" fmla="*/ 560642 h 4439277"/>
              <a:gd name="connsiteX642" fmla="*/ 3615269 w 6873375"/>
              <a:gd name="connsiteY642" fmla="*/ 563121 h 4439277"/>
              <a:gd name="connsiteX643" fmla="*/ 3620233 w 6873375"/>
              <a:gd name="connsiteY643" fmla="*/ 565600 h 4439277"/>
              <a:gd name="connsiteX644" fmla="*/ 3632641 w 6873375"/>
              <a:gd name="connsiteY644" fmla="*/ 565600 h 4439277"/>
              <a:gd name="connsiteX645" fmla="*/ 3662427 w 6873375"/>
              <a:gd name="connsiteY645" fmla="*/ 548238 h 4439277"/>
              <a:gd name="connsiteX646" fmla="*/ 3672359 w 6873375"/>
              <a:gd name="connsiteY646" fmla="*/ 545758 h 4439277"/>
              <a:gd name="connsiteX647" fmla="*/ 3687249 w 6873375"/>
              <a:gd name="connsiteY647" fmla="*/ 535835 h 4439277"/>
              <a:gd name="connsiteX648" fmla="*/ 3692213 w 6873375"/>
              <a:gd name="connsiteY648" fmla="*/ 528392 h 4439277"/>
              <a:gd name="connsiteX649" fmla="*/ 3702144 w 6873375"/>
              <a:gd name="connsiteY649" fmla="*/ 525912 h 4439277"/>
              <a:gd name="connsiteX650" fmla="*/ 3739375 w 6873375"/>
              <a:gd name="connsiteY650" fmla="*/ 533353 h 4439277"/>
              <a:gd name="connsiteX651" fmla="*/ 3749304 w 6873375"/>
              <a:gd name="connsiteY651" fmla="*/ 528392 h 4439277"/>
              <a:gd name="connsiteX652" fmla="*/ 3754268 w 6873375"/>
              <a:gd name="connsiteY652" fmla="*/ 523429 h 4439277"/>
              <a:gd name="connsiteX653" fmla="*/ 3766677 w 6873375"/>
              <a:gd name="connsiteY653" fmla="*/ 520950 h 4439277"/>
              <a:gd name="connsiteX654" fmla="*/ 3789018 w 6873375"/>
              <a:gd name="connsiteY654" fmla="*/ 508546 h 4439277"/>
              <a:gd name="connsiteX655" fmla="*/ 3811356 w 6873375"/>
              <a:gd name="connsiteY655" fmla="*/ 501104 h 4439277"/>
              <a:gd name="connsiteX656" fmla="*/ 3813839 w 6873375"/>
              <a:gd name="connsiteY656" fmla="*/ 501104 h 4439277"/>
              <a:gd name="connsiteX657" fmla="*/ 3836177 w 6873375"/>
              <a:gd name="connsiteY657" fmla="*/ 483737 h 4439277"/>
              <a:gd name="connsiteX658" fmla="*/ 3841141 w 6873375"/>
              <a:gd name="connsiteY658" fmla="*/ 481258 h 4439277"/>
              <a:gd name="connsiteX659" fmla="*/ 3851070 w 6873375"/>
              <a:gd name="connsiteY659" fmla="*/ 478776 h 4439277"/>
              <a:gd name="connsiteX660" fmla="*/ 3880852 w 6873375"/>
              <a:gd name="connsiteY660" fmla="*/ 461412 h 4439277"/>
              <a:gd name="connsiteX661" fmla="*/ 3888300 w 6873375"/>
              <a:gd name="connsiteY661" fmla="*/ 456451 h 4439277"/>
              <a:gd name="connsiteX662" fmla="*/ 3920566 w 6873375"/>
              <a:gd name="connsiteY662" fmla="*/ 444049 h 4439277"/>
              <a:gd name="connsiteX663" fmla="*/ 3930494 w 6873375"/>
              <a:gd name="connsiteY663" fmla="*/ 441566 h 4439277"/>
              <a:gd name="connsiteX664" fmla="*/ 3955316 w 6873375"/>
              <a:gd name="connsiteY664" fmla="*/ 424203 h 4439277"/>
              <a:gd name="connsiteX665" fmla="*/ 3967725 w 6873375"/>
              <a:gd name="connsiteY665" fmla="*/ 416759 h 4439277"/>
              <a:gd name="connsiteX666" fmla="*/ 3972693 w 6873375"/>
              <a:gd name="connsiteY666" fmla="*/ 414280 h 4439277"/>
              <a:gd name="connsiteX667" fmla="*/ 3990065 w 6873375"/>
              <a:gd name="connsiteY667" fmla="*/ 401874 h 4439277"/>
              <a:gd name="connsiteX668" fmla="*/ 4019851 w 6873375"/>
              <a:gd name="connsiteY668" fmla="*/ 389473 h 4439277"/>
              <a:gd name="connsiteX669" fmla="*/ 4027296 w 6873375"/>
              <a:gd name="connsiteY669" fmla="*/ 386990 h 4439277"/>
              <a:gd name="connsiteX670" fmla="*/ 4044672 w 6873375"/>
              <a:gd name="connsiteY670" fmla="*/ 382028 h 4439277"/>
              <a:gd name="connsiteX671" fmla="*/ 4111688 w 6873375"/>
              <a:gd name="connsiteY671" fmla="*/ 342337 h 4439277"/>
              <a:gd name="connsiteX672" fmla="*/ 4129062 w 6873375"/>
              <a:gd name="connsiteY672" fmla="*/ 337378 h 4439277"/>
              <a:gd name="connsiteX673" fmla="*/ 4138991 w 6873375"/>
              <a:gd name="connsiteY673" fmla="*/ 334896 h 4439277"/>
              <a:gd name="connsiteX674" fmla="*/ 4186152 w 6873375"/>
              <a:gd name="connsiteY674" fmla="*/ 307610 h 4439277"/>
              <a:gd name="connsiteX675" fmla="*/ 4193598 w 6873375"/>
              <a:gd name="connsiteY675" fmla="*/ 305127 h 4439277"/>
              <a:gd name="connsiteX676" fmla="*/ 4203526 w 6873375"/>
              <a:gd name="connsiteY676" fmla="*/ 300165 h 4439277"/>
              <a:gd name="connsiteX677" fmla="*/ 4208490 w 6873375"/>
              <a:gd name="connsiteY677" fmla="*/ 295204 h 4439277"/>
              <a:gd name="connsiteX678" fmla="*/ 4228347 w 6873375"/>
              <a:gd name="connsiteY678" fmla="*/ 287764 h 4439277"/>
              <a:gd name="connsiteX679" fmla="*/ 4268061 w 6873375"/>
              <a:gd name="connsiteY679" fmla="*/ 265435 h 4439277"/>
              <a:gd name="connsiteX680" fmla="*/ 4277990 w 6873375"/>
              <a:gd name="connsiteY680" fmla="*/ 262955 h 4439277"/>
              <a:gd name="connsiteX681" fmla="*/ 4302811 w 6873375"/>
              <a:gd name="connsiteY681" fmla="*/ 260474 h 4439277"/>
              <a:gd name="connsiteX682" fmla="*/ 4320185 w 6873375"/>
              <a:gd name="connsiteY682" fmla="*/ 255512 h 4439277"/>
              <a:gd name="connsiteX683" fmla="*/ 4345006 w 6873375"/>
              <a:gd name="connsiteY683" fmla="*/ 240628 h 4439277"/>
              <a:gd name="connsiteX684" fmla="*/ 4354935 w 6873375"/>
              <a:gd name="connsiteY684" fmla="*/ 238149 h 4439277"/>
              <a:gd name="connsiteX685" fmla="*/ 4364863 w 6873375"/>
              <a:gd name="connsiteY685" fmla="*/ 235667 h 4439277"/>
              <a:gd name="connsiteX686" fmla="*/ 4384720 w 6873375"/>
              <a:gd name="connsiteY686" fmla="*/ 225747 h 4439277"/>
              <a:gd name="connsiteX687" fmla="*/ 4399613 w 6873375"/>
              <a:gd name="connsiteY687" fmla="*/ 220785 h 4439277"/>
              <a:gd name="connsiteX688" fmla="*/ 4404577 w 6873375"/>
              <a:gd name="connsiteY688" fmla="*/ 218303 h 4439277"/>
              <a:gd name="connsiteX689" fmla="*/ 4424434 w 6873375"/>
              <a:gd name="connsiteY689" fmla="*/ 205901 h 4439277"/>
              <a:gd name="connsiteX690" fmla="*/ 4429398 w 6873375"/>
              <a:gd name="connsiteY690" fmla="*/ 203418 h 4439277"/>
              <a:gd name="connsiteX691" fmla="*/ 4444291 w 6873375"/>
              <a:gd name="connsiteY691" fmla="*/ 198457 h 4439277"/>
              <a:gd name="connsiteX692" fmla="*/ 4474077 w 6873375"/>
              <a:gd name="connsiteY692" fmla="*/ 181093 h 4439277"/>
              <a:gd name="connsiteX693" fmla="*/ 4503859 w 6873375"/>
              <a:gd name="connsiteY693" fmla="*/ 168689 h 4439277"/>
              <a:gd name="connsiteX694" fmla="*/ 4523717 w 6873375"/>
              <a:gd name="connsiteY694" fmla="*/ 156286 h 4439277"/>
              <a:gd name="connsiteX695" fmla="*/ 4528681 w 6873375"/>
              <a:gd name="connsiteY695" fmla="*/ 153804 h 4439277"/>
              <a:gd name="connsiteX696" fmla="*/ 4541093 w 6873375"/>
              <a:gd name="connsiteY696" fmla="*/ 151325 h 4439277"/>
              <a:gd name="connsiteX697" fmla="*/ 4558467 w 6873375"/>
              <a:gd name="connsiteY697" fmla="*/ 141401 h 4439277"/>
              <a:gd name="connsiteX698" fmla="*/ 4570878 w 6873375"/>
              <a:gd name="connsiteY698" fmla="*/ 138919 h 4439277"/>
              <a:gd name="connsiteX699" fmla="*/ 4588252 w 6873375"/>
              <a:gd name="connsiteY699" fmla="*/ 136440 h 4439277"/>
              <a:gd name="connsiteX700" fmla="*/ 4610589 w 6873375"/>
              <a:gd name="connsiteY700" fmla="*/ 128996 h 4439277"/>
              <a:gd name="connsiteX701" fmla="*/ 4615553 w 6873375"/>
              <a:gd name="connsiteY701" fmla="*/ 126516 h 4439277"/>
              <a:gd name="connsiteX702" fmla="*/ 4645339 w 6873375"/>
              <a:gd name="connsiteY702" fmla="*/ 114115 h 4439277"/>
              <a:gd name="connsiteX703" fmla="*/ 4660232 w 6873375"/>
              <a:gd name="connsiteY703" fmla="*/ 106670 h 4439277"/>
              <a:gd name="connsiteX704" fmla="*/ 4697466 w 6873375"/>
              <a:gd name="connsiteY704" fmla="*/ 99230 h 4439277"/>
              <a:gd name="connsiteX705" fmla="*/ 4704910 w 6873375"/>
              <a:gd name="connsiteY705" fmla="*/ 99230 h 4439277"/>
              <a:gd name="connsiteX706" fmla="*/ 4717319 w 6873375"/>
              <a:gd name="connsiteY706" fmla="*/ 91787 h 4439277"/>
              <a:gd name="connsiteX707" fmla="*/ 4729731 w 6873375"/>
              <a:gd name="connsiteY707" fmla="*/ 79384 h 4439277"/>
              <a:gd name="connsiteX708" fmla="*/ 4789302 w 6873375"/>
              <a:gd name="connsiteY708" fmla="*/ 42171 h 4439277"/>
              <a:gd name="connsiteX709" fmla="*/ 4801712 w 6873375"/>
              <a:gd name="connsiteY709" fmla="*/ 39692 h 4439277"/>
              <a:gd name="connsiteX710" fmla="*/ 4804193 w 6873375"/>
              <a:gd name="connsiteY710" fmla="*/ 39692 h 4439277"/>
              <a:gd name="connsiteX711" fmla="*/ 4821569 w 6873375"/>
              <a:gd name="connsiteY711" fmla="*/ 29770 h 4439277"/>
              <a:gd name="connsiteX712" fmla="*/ 4838945 w 6873375"/>
              <a:gd name="connsiteY712" fmla="*/ 24807 h 4439277"/>
              <a:gd name="connsiteX713" fmla="*/ 4841426 w 6873375"/>
              <a:gd name="connsiteY713" fmla="*/ 22325 h 4439277"/>
              <a:gd name="connsiteX714" fmla="*/ 4856319 w 6873375"/>
              <a:gd name="connsiteY714" fmla="*/ 17364 h 4439277"/>
              <a:gd name="connsiteX715" fmla="*/ 4873691 w 6873375"/>
              <a:gd name="connsiteY715" fmla="*/ 14885 h 4439277"/>
              <a:gd name="connsiteX716" fmla="*/ 4888585 w 6873375"/>
              <a:gd name="connsiteY716" fmla="*/ 9924 h 4439277"/>
              <a:gd name="connsiteX717" fmla="*/ 4903478 w 6873375"/>
              <a:gd name="connsiteY717" fmla="*/ 9924 h 4439277"/>
              <a:gd name="connsiteX718" fmla="*/ 4920854 w 6873375"/>
              <a:gd name="connsiteY718" fmla="*/ 4961 h 4439277"/>
              <a:gd name="connsiteX719" fmla="*/ 4940708 w 6873375"/>
              <a:gd name="connsiteY719" fmla="*/ 2482 h 4439277"/>
              <a:gd name="connsiteX720" fmla="*/ 4958085 w 6873375"/>
              <a:gd name="connsiteY720" fmla="*/ 0 h 4439277"/>
              <a:gd name="connsiteX721" fmla="*/ 4965529 w 6873375"/>
              <a:gd name="connsiteY721" fmla="*/ 4961 h 4439277"/>
              <a:gd name="connsiteX722" fmla="*/ 4963049 w 6873375"/>
              <a:gd name="connsiteY722" fmla="*/ 9924 h 4439277"/>
              <a:gd name="connsiteX723" fmla="*/ 4960565 w 6873375"/>
              <a:gd name="connsiteY723" fmla="*/ 12403 h 4439277"/>
              <a:gd name="connsiteX724" fmla="*/ 4953120 w 6873375"/>
              <a:gd name="connsiteY724" fmla="*/ 27287 h 4439277"/>
              <a:gd name="connsiteX725" fmla="*/ 4945672 w 6873375"/>
              <a:gd name="connsiteY725" fmla="*/ 42171 h 4439277"/>
              <a:gd name="connsiteX726" fmla="*/ 4910922 w 6873375"/>
              <a:gd name="connsiteY726" fmla="*/ 64500 h 4439277"/>
              <a:gd name="connsiteX727" fmla="*/ 4871211 w 6873375"/>
              <a:gd name="connsiteY727" fmla="*/ 91787 h 4439277"/>
              <a:gd name="connsiteX728" fmla="*/ 4866247 w 6873375"/>
              <a:gd name="connsiteY728" fmla="*/ 101709 h 4439277"/>
              <a:gd name="connsiteX729" fmla="*/ 4871211 w 6873375"/>
              <a:gd name="connsiteY729" fmla="*/ 111633 h 4439277"/>
              <a:gd name="connsiteX730" fmla="*/ 4876176 w 6873375"/>
              <a:gd name="connsiteY730" fmla="*/ 114115 h 4439277"/>
              <a:gd name="connsiteX731" fmla="*/ 4878657 w 6873375"/>
              <a:gd name="connsiteY731" fmla="*/ 119073 h 4439277"/>
              <a:gd name="connsiteX732" fmla="*/ 4876176 w 6873375"/>
              <a:gd name="connsiteY732" fmla="*/ 121555 h 4439277"/>
              <a:gd name="connsiteX733" fmla="*/ 4863764 w 6873375"/>
              <a:gd name="connsiteY733" fmla="*/ 124034 h 4439277"/>
              <a:gd name="connsiteX734" fmla="*/ 4843909 w 6873375"/>
              <a:gd name="connsiteY734" fmla="*/ 133958 h 4439277"/>
              <a:gd name="connsiteX735" fmla="*/ 4831497 w 6873375"/>
              <a:gd name="connsiteY735" fmla="*/ 136440 h 4439277"/>
              <a:gd name="connsiteX736" fmla="*/ 4826533 w 6873375"/>
              <a:gd name="connsiteY736" fmla="*/ 143880 h 4439277"/>
              <a:gd name="connsiteX737" fmla="*/ 4814124 w 6873375"/>
              <a:gd name="connsiteY737" fmla="*/ 153804 h 4439277"/>
              <a:gd name="connsiteX738" fmla="*/ 4806676 w 6873375"/>
              <a:gd name="connsiteY738" fmla="*/ 161247 h 4439277"/>
              <a:gd name="connsiteX739" fmla="*/ 4799227 w 6873375"/>
              <a:gd name="connsiteY739" fmla="*/ 171171 h 4439277"/>
              <a:gd name="connsiteX740" fmla="*/ 4781855 w 6873375"/>
              <a:gd name="connsiteY740" fmla="*/ 181093 h 4439277"/>
              <a:gd name="connsiteX741" fmla="*/ 4776891 w 6873375"/>
              <a:gd name="connsiteY741" fmla="*/ 198457 h 4439277"/>
              <a:gd name="connsiteX742" fmla="*/ 4784338 w 6873375"/>
              <a:gd name="connsiteY742" fmla="*/ 203418 h 4439277"/>
              <a:gd name="connsiteX743" fmla="*/ 4786819 w 6873375"/>
              <a:gd name="connsiteY743" fmla="*/ 205901 h 4439277"/>
              <a:gd name="connsiteX744" fmla="*/ 4784338 w 6873375"/>
              <a:gd name="connsiteY744" fmla="*/ 210862 h 4439277"/>
              <a:gd name="connsiteX745" fmla="*/ 4779374 w 6873375"/>
              <a:gd name="connsiteY745" fmla="*/ 213342 h 4439277"/>
              <a:gd name="connsiteX746" fmla="*/ 4774410 w 6873375"/>
              <a:gd name="connsiteY746" fmla="*/ 215821 h 4439277"/>
              <a:gd name="connsiteX747" fmla="*/ 4766962 w 6873375"/>
              <a:gd name="connsiteY747" fmla="*/ 225747 h 4439277"/>
              <a:gd name="connsiteX748" fmla="*/ 4744624 w 6873375"/>
              <a:gd name="connsiteY748" fmla="*/ 238149 h 4439277"/>
              <a:gd name="connsiteX749" fmla="*/ 4732216 w 6873375"/>
              <a:gd name="connsiteY749" fmla="*/ 250550 h 4439277"/>
              <a:gd name="connsiteX750" fmla="*/ 4722284 w 6873375"/>
              <a:gd name="connsiteY750" fmla="*/ 257995 h 4439277"/>
              <a:gd name="connsiteX751" fmla="*/ 4699946 w 6873375"/>
              <a:gd name="connsiteY751" fmla="*/ 265435 h 4439277"/>
              <a:gd name="connsiteX752" fmla="*/ 4682573 w 6873375"/>
              <a:gd name="connsiteY752" fmla="*/ 275359 h 4439277"/>
              <a:gd name="connsiteX753" fmla="*/ 4665197 w 6873375"/>
              <a:gd name="connsiteY753" fmla="*/ 297687 h 4439277"/>
              <a:gd name="connsiteX754" fmla="*/ 4660232 w 6873375"/>
              <a:gd name="connsiteY754" fmla="*/ 305127 h 4439277"/>
              <a:gd name="connsiteX755" fmla="*/ 4630446 w 6873375"/>
              <a:gd name="connsiteY755" fmla="*/ 324973 h 4439277"/>
              <a:gd name="connsiteX756" fmla="*/ 4627965 w 6873375"/>
              <a:gd name="connsiteY756" fmla="*/ 332417 h 4439277"/>
              <a:gd name="connsiteX757" fmla="*/ 4627965 w 6873375"/>
              <a:gd name="connsiteY757" fmla="*/ 337378 h 4439277"/>
              <a:gd name="connsiteX758" fmla="*/ 4613072 w 6873375"/>
              <a:gd name="connsiteY758" fmla="*/ 354742 h 4439277"/>
              <a:gd name="connsiteX759" fmla="*/ 4603145 w 6873375"/>
              <a:gd name="connsiteY759" fmla="*/ 362183 h 4439277"/>
              <a:gd name="connsiteX760" fmla="*/ 4598180 w 6873375"/>
              <a:gd name="connsiteY760" fmla="*/ 369627 h 4439277"/>
              <a:gd name="connsiteX761" fmla="*/ 4603145 w 6873375"/>
              <a:gd name="connsiteY761" fmla="*/ 399395 h 4439277"/>
              <a:gd name="connsiteX762" fmla="*/ 4613072 w 6873375"/>
              <a:gd name="connsiteY762" fmla="*/ 414280 h 4439277"/>
              <a:gd name="connsiteX763" fmla="*/ 4613072 w 6873375"/>
              <a:gd name="connsiteY763" fmla="*/ 419241 h 4439277"/>
              <a:gd name="connsiteX764" fmla="*/ 4580804 w 6873375"/>
              <a:gd name="connsiteY764" fmla="*/ 439085 h 4439277"/>
              <a:gd name="connsiteX765" fmla="*/ 4573359 w 6873375"/>
              <a:gd name="connsiteY765" fmla="*/ 439085 h 4439277"/>
              <a:gd name="connsiteX766" fmla="*/ 4568394 w 6873375"/>
              <a:gd name="connsiteY766" fmla="*/ 449011 h 4439277"/>
              <a:gd name="connsiteX767" fmla="*/ 4570878 w 6873375"/>
              <a:gd name="connsiteY767" fmla="*/ 451490 h 4439277"/>
              <a:gd name="connsiteX768" fmla="*/ 4573359 w 6873375"/>
              <a:gd name="connsiteY768" fmla="*/ 451490 h 4439277"/>
              <a:gd name="connsiteX769" fmla="*/ 4570878 w 6873375"/>
              <a:gd name="connsiteY769" fmla="*/ 463892 h 4439277"/>
              <a:gd name="connsiteX770" fmla="*/ 4563430 w 6873375"/>
              <a:gd name="connsiteY770" fmla="*/ 466375 h 4439277"/>
              <a:gd name="connsiteX771" fmla="*/ 4558467 w 6873375"/>
              <a:gd name="connsiteY771" fmla="*/ 468853 h 4439277"/>
              <a:gd name="connsiteX772" fmla="*/ 4553501 w 6873375"/>
              <a:gd name="connsiteY772" fmla="*/ 476297 h 4439277"/>
              <a:gd name="connsiteX773" fmla="*/ 4541093 w 6873375"/>
              <a:gd name="connsiteY773" fmla="*/ 486221 h 4439277"/>
              <a:gd name="connsiteX774" fmla="*/ 4533644 w 6873375"/>
              <a:gd name="connsiteY774" fmla="*/ 496143 h 4439277"/>
              <a:gd name="connsiteX775" fmla="*/ 4523717 w 6873375"/>
              <a:gd name="connsiteY775" fmla="*/ 511028 h 4439277"/>
              <a:gd name="connsiteX776" fmla="*/ 4506342 w 6873375"/>
              <a:gd name="connsiteY776" fmla="*/ 528392 h 4439277"/>
              <a:gd name="connsiteX777" fmla="*/ 4496415 w 6873375"/>
              <a:gd name="connsiteY777" fmla="*/ 535835 h 4439277"/>
              <a:gd name="connsiteX778" fmla="*/ 4484005 w 6873375"/>
              <a:gd name="connsiteY778" fmla="*/ 545759 h 4439277"/>
              <a:gd name="connsiteX779" fmla="*/ 4474077 w 6873375"/>
              <a:gd name="connsiteY779" fmla="*/ 558160 h 4439277"/>
              <a:gd name="connsiteX780" fmla="*/ 4476558 w 6873375"/>
              <a:gd name="connsiteY780" fmla="*/ 563121 h 4439277"/>
              <a:gd name="connsiteX781" fmla="*/ 4486485 w 6873375"/>
              <a:gd name="connsiteY781" fmla="*/ 558160 h 4439277"/>
              <a:gd name="connsiteX782" fmla="*/ 4491449 w 6873375"/>
              <a:gd name="connsiteY782" fmla="*/ 553199 h 4439277"/>
              <a:gd name="connsiteX783" fmla="*/ 4498895 w 6873375"/>
              <a:gd name="connsiteY783" fmla="*/ 555681 h 4439277"/>
              <a:gd name="connsiteX784" fmla="*/ 4498895 w 6873375"/>
              <a:gd name="connsiteY784" fmla="*/ 565601 h 4439277"/>
              <a:gd name="connsiteX785" fmla="*/ 4496415 w 6873375"/>
              <a:gd name="connsiteY785" fmla="*/ 570566 h 4439277"/>
              <a:gd name="connsiteX786" fmla="*/ 4481522 w 6873375"/>
              <a:gd name="connsiteY786" fmla="*/ 592891 h 4439277"/>
              <a:gd name="connsiteX787" fmla="*/ 4454220 w 6873375"/>
              <a:gd name="connsiteY787" fmla="*/ 610255 h 4439277"/>
              <a:gd name="connsiteX788" fmla="*/ 4456701 w 6873375"/>
              <a:gd name="connsiteY788" fmla="*/ 610255 h 4439277"/>
              <a:gd name="connsiteX789" fmla="*/ 4471592 w 6873375"/>
              <a:gd name="connsiteY789" fmla="*/ 607776 h 4439277"/>
              <a:gd name="connsiteX790" fmla="*/ 4523717 w 6873375"/>
              <a:gd name="connsiteY790" fmla="*/ 590409 h 4439277"/>
              <a:gd name="connsiteX791" fmla="*/ 4523717 w 6873375"/>
              <a:gd name="connsiteY791" fmla="*/ 597852 h 4439277"/>
              <a:gd name="connsiteX792" fmla="*/ 4493931 w 6873375"/>
              <a:gd name="connsiteY792" fmla="*/ 607776 h 4439277"/>
              <a:gd name="connsiteX793" fmla="*/ 4484005 w 6873375"/>
              <a:gd name="connsiteY793" fmla="*/ 610255 h 4439277"/>
              <a:gd name="connsiteX794" fmla="*/ 4466629 w 6873375"/>
              <a:gd name="connsiteY794" fmla="*/ 615216 h 4439277"/>
              <a:gd name="connsiteX795" fmla="*/ 4459184 w 6873375"/>
              <a:gd name="connsiteY795" fmla="*/ 617698 h 4439277"/>
              <a:gd name="connsiteX796" fmla="*/ 4426914 w 6873375"/>
              <a:gd name="connsiteY796" fmla="*/ 632583 h 4439277"/>
              <a:gd name="connsiteX797" fmla="*/ 4424434 w 6873375"/>
              <a:gd name="connsiteY797" fmla="*/ 632583 h 4439277"/>
              <a:gd name="connsiteX798" fmla="*/ 4419470 w 6873375"/>
              <a:gd name="connsiteY798" fmla="*/ 640023 h 4439277"/>
              <a:gd name="connsiteX799" fmla="*/ 4412021 w 6873375"/>
              <a:gd name="connsiteY799" fmla="*/ 644984 h 4439277"/>
              <a:gd name="connsiteX800" fmla="*/ 4412021 w 6873375"/>
              <a:gd name="connsiteY800" fmla="*/ 647468 h 4439277"/>
              <a:gd name="connsiteX801" fmla="*/ 4419470 w 6873375"/>
              <a:gd name="connsiteY801" fmla="*/ 652429 h 4439277"/>
              <a:gd name="connsiteX802" fmla="*/ 4407057 w 6873375"/>
              <a:gd name="connsiteY802" fmla="*/ 662351 h 4439277"/>
              <a:gd name="connsiteX803" fmla="*/ 4488966 w 6873375"/>
              <a:gd name="connsiteY803" fmla="*/ 644984 h 4439277"/>
              <a:gd name="connsiteX804" fmla="*/ 4476558 w 6873375"/>
              <a:gd name="connsiteY804" fmla="*/ 659869 h 4439277"/>
              <a:gd name="connsiteX805" fmla="*/ 4493931 w 6873375"/>
              <a:gd name="connsiteY805" fmla="*/ 652429 h 4439277"/>
              <a:gd name="connsiteX806" fmla="*/ 4580804 w 6873375"/>
              <a:gd name="connsiteY806" fmla="*/ 625139 h 4439277"/>
              <a:gd name="connsiteX807" fmla="*/ 4573359 w 6873375"/>
              <a:gd name="connsiteY807" fmla="*/ 635062 h 4439277"/>
              <a:gd name="connsiteX808" fmla="*/ 4583287 w 6873375"/>
              <a:gd name="connsiteY808" fmla="*/ 640023 h 4439277"/>
              <a:gd name="connsiteX809" fmla="*/ 4541093 w 6873375"/>
              <a:gd name="connsiteY809" fmla="*/ 654908 h 4439277"/>
              <a:gd name="connsiteX810" fmla="*/ 4536129 w 6873375"/>
              <a:gd name="connsiteY810" fmla="*/ 654908 h 4439277"/>
              <a:gd name="connsiteX811" fmla="*/ 4511307 w 6873375"/>
              <a:gd name="connsiteY811" fmla="*/ 664830 h 4439277"/>
              <a:gd name="connsiteX812" fmla="*/ 4496415 w 6873375"/>
              <a:gd name="connsiteY812" fmla="*/ 672275 h 4439277"/>
              <a:gd name="connsiteX813" fmla="*/ 4503859 w 6873375"/>
              <a:gd name="connsiteY813" fmla="*/ 662351 h 4439277"/>
              <a:gd name="connsiteX814" fmla="*/ 4476558 w 6873375"/>
              <a:gd name="connsiteY814" fmla="*/ 677233 h 4439277"/>
              <a:gd name="connsiteX815" fmla="*/ 4461664 w 6873375"/>
              <a:gd name="connsiteY815" fmla="*/ 687156 h 4439277"/>
              <a:gd name="connsiteX816" fmla="*/ 4456701 w 6873375"/>
              <a:gd name="connsiteY816" fmla="*/ 692118 h 4439277"/>
              <a:gd name="connsiteX817" fmla="*/ 4454220 w 6873375"/>
              <a:gd name="connsiteY817" fmla="*/ 694600 h 4439277"/>
              <a:gd name="connsiteX818" fmla="*/ 4456701 w 6873375"/>
              <a:gd name="connsiteY818" fmla="*/ 702040 h 4439277"/>
              <a:gd name="connsiteX819" fmla="*/ 4498895 w 6873375"/>
              <a:gd name="connsiteY819" fmla="*/ 684676 h 4439277"/>
              <a:gd name="connsiteX820" fmla="*/ 4543574 w 6873375"/>
              <a:gd name="connsiteY820" fmla="*/ 667314 h 4439277"/>
              <a:gd name="connsiteX821" fmla="*/ 4588252 w 6873375"/>
              <a:gd name="connsiteY821" fmla="*/ 654908 h 4439277"/>
              <a:gd name="connsiteX822" fmla="*/ 4590736 w 6873375"/>
              <a:gd name="connsiteY822" fmla="*/ 664830 h 4439277"/>
              <a:gd name="connsiteX823" fmla="*/ 4583287 w 6873375"/>
              <a:gd name="connsiteY823" fmla="*/ 669793 h 4439277"/>
              <a:gd name="connsiteX824" fmla="*/ 4543574 w 6873375"/>
              <a:gd name="connsiteY824" fmla="*/ 684676 h 4439277"/>
              <a:gd name="connsiteX825" fmla="*/ 4533644 w 6873375"/>
              <a:gd name="connsiteY825" fmla="*/ 697082 h 4439277"/>
              <a:gd name="connsiteX826" fmla="*/ 4523717 w 6873375"/>
              <a:gd name="connsiteY826" fmla="*/ 719407 h 4439277"/>
              <a:gd name="connsiteX827" fmla="*/ 4523717 w 6873375"/>
              <a:gd name="connsiteY827" fmla="*/ 726847 h 4439277"/>
              <a:gd name="connsiteX828" fmla="*/ 4498895 w 6873375"/>
              <a:gd name="connsiteY828" fmla="*/ 721886 h 4439277"/>
              <a:gd name="connsiteX829" fmla="*/ 4486485 w 6873375"/>
              <a:gd name="connsiteY829" fmla="*/ 729331 h 4439277"/>
              <a:gd name="connsiteX830" fmla="*/ 4488966 w 6873375"/>
              <a:gd name="connsiteY830" fmla="*/ 736771 h 4439277"/>
              <a:gd name="connsiteX831" fmla="*/ 4482549 w 6873375"/>
              <a:gd name="connsiteY831" fmla="*/ 739239 h 4439277"/>
              <a:gd name="connsiteX832" fmla="*/ 4484005 w 6873375"/>
              <a:gd name="connsiteY832" fmla="*/ 734292 h 4439277"/>
              <a:gd name="connsiteX833" fmla="*/ 4476872 w 6873375"/>
              <a:gd name="connsiteY833" fmla="*/ 741421 h 4439277"/>
              <a:gd name="connsiteX834" fmla="*/ 4456701 w 6873375"/>
              <a:gd name="connsiteY834" fmla="*/ 749177 h 4439277"/>
              <a:gd name="connsiteX835" fmla="*/ 4457942 w 6873375"/>
              <a:gd name="connsiteY835" fmla="*/ 756617 h 4439277"/>
              <a:gd name="connsiteX836" fmla="*/ 4456701 w 6873375"/>
              <a:gd name="connsiteY836" fmla="*/ 756617 h 4439277"/>
              <a:gd name="connsiteX837" fmla="*/ 4458015 w 6873375"/>
              <a:gd name="connsiteY837" fmla="*/ 757056 h 4439277"/>
              <a:gd name="connsiteX838" fmla="*/ 4459184 w 6873375"/>
              <a:gd name="connsiteY838" fmla="*/ 764061 h 4439277"/>
              <a:gd name="connsiteX839" fmla="*/ 4454220 w 6873375"/>
              <a:gd name="connsiteY839" fmla="*/ 781424 h 4439277"/>
              <a:gd name="connsiteX840" fmla="*/ 4444291 w 6873375"/>
              <a:gd name="connsiteY840" fmla="*/ 788868 h 4439277"/>
              <a:gd name="connsiteX841" fmla="*/ 4429398 w 6873375"/>
              <a:gd name="connsiteY841" fmla="*/ 791348 h 4439277"/>
              <a:gd name="connsiteX842" fmla="*/ 4416987 w 6873375"/>
              <a:gd name="connsiteY842" fmla="*/ 798788 h 4439277"/>
              <a:gd name="connsiteX843" fmla="*/ 4399613 w 6873375"/>
              <a:gd name="connsiteY843" fmla="*/ 806232 h 4439277"/>
              <a:gd name="connsiteX844" fmla="*/ 4377272 w 6873375"/>
              <a:gd name="connsiteY844" fmla="*/ 818634 h 4439277"/>
              <a:gd name="connsiteX845" fmla="*/ 4374792 w 6873375"/>
              <a:gd name="connsiteY845" fmla="*/ 826078 h 4439277"/>
              <a:gd name="connsiteX846" fmla="*/ 4392164 w 6873375"/>
              <a:gd name="connsiteY846" fmla="*/ 818634 h 4439277"/>
              <a:gd name="connsiteX847" fmla="*/ 4399613 w 6873375"/>
              <a:gd name="connsiteY847" fmla="*/ 826078 h 4439277"/>
              <a:gd name="connsiteX848" fmla="*/ 4416987 w 6873375"/>
              <a:gd name="connsiteY848" fmla="*/ 816155 h 4439277"/>
              <a:gd name="connsiteX849" fmla="*/ 4454220 w 6873375"/>
              <a:gd name="connsiteY849" fmla="*/ 798788 h 4439277"/>
              <a:gd name="connsiteX850" fmla="*/ 4474077 w 6873375"/>
              <a:gd name="connsiteY850" fmla="*/ 778945 h 4439277"/>
              <a:gd name="connsiteX851" fmla="*/ 4469109 w 6873375"/>
              <a:gd name="connsiteY851" fmla="*/ 773984 h 4439277"/>
              <a:gd name="connsiteX852" fmla="*/ 4466629 w 6873375"/>
              <a:gd name="connsiteY852" fmla="*/ 764061 h 4439277"/>
              <a:gd name="connsiteX853" fmla="*/ 4474077 w 6873375"/>
              <a:gd name="connsiteY853" fmla="*/ 761578 h 4439277"/>
              <a:gd name="connsiteX854" fmla="*/ 4488966 w 6873375"/>
              <a:gd name="connsiteY854" fmla="*/ 744215 h 4439277"/>
              <a:gd name="connsiteX855" fmla="*/ 4503859 w 6873375"/>
              <a:gd name="connsiteY855" fmla="*/ 731810 h 4439277"/>
              <a:gd name="connsiteX856" fmla="*/ 4521236 w 6873375"/>
              <a:gd name="connsiteY856" fmla="*/ 739253 h 4439277"/>
              <a:gd name="connsiteX857" fmla="*/ 4503859 w 6873375"/>
              <a:gd name="connsiteY857" fmla="*/ 766539 h 4439277"/>
              <a:gd name="connsiteX858" fmla="*/ 4533644 w 6873375"/>
              <a:gd name="connsiteY858" fmla="*/ 746693 h 4439277"/>
              <a:gd name="connsiteX859" fmla="*/ 4565914 w 6873375"/>
              <a:gd name="connsiteY859" fmla="*/ 719407 h 4439277"/>
              <a:gd name="connsiteX860" fmla="*/ 4568394 w 6873375"/>
              <a:gd name="connsiteY860" fmla="*/ 704522 h 4439277"/>
              <a:gd name="connsiteX861" fmla="*/ 4585771 w 6873375"/>
              <a:gd name="connsiteY861" fmla="*/ 726847 h 4439277"/>
              <a:gd name="connsiteX862" fmla="*/ 4568394 w 6873375"/>
              <a:gd name="connsiteY862" fmla="*/ 739253 h 4439277"/>
              <a:gd name="connsiteX863" fmla="*/ 4570878 w 6873375"/>
              <a:gd name="connsiteY863" fmla="*/ 744215 h 4439277"/>
              <a:gd name="connsiteX864" fmla="*/ 4610589 w 6873375"/>
              <a:gd name="connsiteY864" fmla="*/ 731810 h 4439277"/>
              <a:gd name="connsiteX865" fmla="*/ 4610589 w 6873375"/>
              <a:gd name="connsiteY865" fmla="*/ 729331 h 4439277"/>
              <a:gd name="connsiteX866" fmla="*/ 4598180 w 6873375"/>
              <a:gd name="connsiteY866" fmla="*/ 724368 h 4439277"/>
              <a:gd name="connsiteX867" fmla="*/ 4627965 w 6873375"/>
              <a:gd name="connsiteY867" fmla="*/ 716925 h 4439277"/>
              <a:gd name="connsiteX868" fmla="*/ 4635410 w 6873375"/>
              <a:gd name="connsiteY868" fmla="*/ 734292 h 4439277"/>
              <a:gd name="connsiteX869" fmla="*/ 4630446 w 6873375"/>
              <a:gd name="connsiteY869" fmla="*/ 739253 h 4439277"/>
              <a:gd name="connsiteX870" fmla="*/ 4623001 w 6873375"/>
              <a:gd name="connsiteY870" fmla="*/ 724368 h 4439277"/>
              <a:gd name="connsiteX871" fmla="*/ 4618038 w 6873375"/>
              <a:gd name="connsiteY871" fmla="*/ 731810 h 4439277"/>
              <a:gd name="connsiteX872" fmla="*/ 4610589 w 6873375"/>
              <a:gd name="connsiteY872" fmla="*/ 744215 h 4439277"/>
              <a:gd name="connsiteX873" fmla="*/ 4590736 w 6873375"/>
              <a:gd name="connsiteY873" fmla="*/ 754138 h 4439277"/>
              <a:gd name="connsiteX874" fmla="*/ 4588252 w 6873375"/>
              <a:gd name="connsiteY874" fmla="*/ 754138 h 4439277"/>
              <a:gd name="connsiteX875" fmla="*/ 4575839 w 6873375"/>
              <a:gd name="connsiteY875" fmla="*/ 756617 h 4439277"/>
              <a:gd name="connsiteX876" fmla="*/ 4543574 w 6873375"/>
              <a:gd name="connsiteY876" fmla="*/ 776463 h 4439277"/>
              <a:gd name="connsiteX877" fmla="*/ 4536129 w 6873375"/>
              <a:gd name="connsiteY877" fmla="*/ 764061 h 4439277"/>
              <a:gd name="connsiteX878" fmla="*/ 4528681 w 6873375"/>
              <a:gd name="connsiteY878" fmla="*/ 781424 h 4439277"/>
              <a:gd name="connsiteX879" fmla="*/ 4508827 w 6873375"/>
              <a:gd name="connsiteY879" fmla="*/ 786386 h 4439277"/>
              <a:gd name="connsiteX880" fmla="*/ 4511307 w 6873375"/>
              <a:gd name="connsiteY880" fmla="*/ 776463 h 4439277"/>
              <a:gd name="connsiteX881" fmla="*/ 4506342 w 6873375"/>
              <a:gd name="connsiteY881" fmla="*/ 776463 h 4439277"/>
              <a:gd name="connsiteX882" fmla="*/ 4481522 w 6873375"/>
              <a:gd name="connsiteY882" fmla="*/ 798788 h 4439277"/>
              <a:gd name="connsiteX883" fmla="*/ 4474077 w 6873375"/>
              <a:gd name="connsiteY883" fmla="*/ 808714 h 4439277"/>
              <a:gd name="connsiteX884" fmla="*/ 4481522 w 6873375"/>
              <a:gd name="connsiteY884" fmla="*/ 808714 h 4439277"/>
              <a:gd name="connsiteX885" fmla="*/ 4533644 w 6873375"/>
              <a:gd name="connsiteY885" fmla="*/ 786386 h 4439277"/>
              <a:gd name="connsiteX886" fmla="*/ 4546056 w 6873375"/>
              <a:gd name="connsiteY886" fmla="*/ 783907 h 4439277"/>
              <a:gd name="connsiteX887" fmla="*/ 4585771 w 6873375"/>
              <a:gd name="connsiteY887" fmla="*/ 769022 h 4439277"/>
              <a:gd name="connsiteX888" fmla="*/ 4593215 w 6873375"/>
              <a:gd name="connsiteY888" fmla="*/ 766539 h 4439277"/>
              <a:gd name="connsiteX889" fmla="*/ 4600662 w 6873375"/>
              <a:gd name="connsiteY889" fmla="*/ 776463 h 4439277"/>
              <a:gd name="connsiteX890" fmla="*/ 4580804 w 6873375"/>
              <a:gd name="connsiteY890" fmla="*/ 776463 h 4439277"/>
              <a:gd name="connsiteX891" fmla="*/ 4563430 w 6873375"/>
              <a:gd name="connsiteY891" fmla="*/ 801270 h 4439277"/>
              <a:gd name="connsiteX892" fmla="*/ 4551018 w 6873375"/>
              <a:gd name="connsiteY892" fmla="*/ 828558 h 4439277"/>
              <a:gd name="connsiteX893" fmla="*/ 4542326 w 6873375"/>
              <a:gd name="connsiteY893" fmla="*/ 831039 h 4439277"/>
              <a:gd name="connsiteX894" fmla="*/ 4523717 w 6873375"/>
              <a:gd name="connsiteY894" fmla="*/ 831039 h 4439277"/>
              <a:gd name="connsiteX895" fmla="*/ 4513787 w 6873375"/>
              <a:gd name="connsiteY895" fmla="*/ 821116 h 4439277"/>
              <a:gd name="connsiteX896" fmla="*/ 4496415 w 6873375"/>
              <a:gd name="connsiteY896" fmla="*/ 828558 h 4439277"/>
              <a:gd name="connsiteX897" fmla="*/ 4496415 w 6873375"/>
              <a:gd name="connsiteY897" fmla="*/ 831039 h 4439277"/>
              <a:gd name="connsiteX898" fmla="*/ 4525770 w 6873375"/>
              <a:gd name="connsiteY898" fmla="*/ 839423 h 4439277"/>
              <a:gd name="connsiteX899" fmla="*/ 4523717 w 6873375"/>
              <a:gd name="connsiteY899" fmla="*/ 840962 h 4439277"/>
              <a:gd name="connsiteX900" fmla="*/ 4533644 w 6873375"/>
              <a:gd name="connsiteY900" fmla="*/ 850885 h 4439277"/>
              <a:gd name="connsiteX901" fmla="*/ 4538609 w 6873375"/>
              <a:gd name="connsiteY901" fmla="*/ 848404 h 4439277"/>
              <a:gd name="connsiteX902" fmla="*/ 4536129 w 6873375"/>
              <a:gd name="connsiteY902" fmla="*/ 853365 h 4439277"/>
              <a:gd name="connsiteX903" fmla="*/ 4541093 w 6873375"/>
              <a:gd name="connsiteY903" fmla="*/ 860808 h 4439277"/>
              <a:gd name="connsiteX904" fmla="*/ 5027584 w 6873375"/>
              <a:gd name="connsiteY904" fmla="*/ 652429 h 4439277"/>
              <a:gd name="connsiteX905" fmla="*/ 5114456 w 6873375"/>
              <a:gd name="connsiteY905" fmla="*/ 689639 h 4439277"/>
              <a:gd name="connsiteX906" fmla="*/ 5116937 w 6873375"/>
              <a:gd name="connsiteY906" fmla="*/ 689639 h 4439277"/>
              <a:gd name="connsiteX907" fmla="*/ 5116937 w 6873375"/>
              <a:gd name="connsiteY907" fmla="*/ 692118 h 4439277"/>
              <a:gd name="connsiteX908" fmla="*/ 5119422 w 6873375"/>
              <a:gd name="connsiteY908" fmla="*/ 699561 h 4439277"/>
              <a:gd name="connsiteX909" fmla="*/ 5126866 w 6873375"/>
              <a:gd name="connsiteY909" fmla="*/ 694600 h 4439277"/>
              <a:gd name="connsiteX910" fmla="*/ 5131830 w 6873375"/>
              <a:gd name="connsiteY910" fmla="*/ 692118 h 4439277"/>
              <a:gd name="connsiteX911" fmla="*/ 5136794 w 6873375"/>
              <a:gd name="connsiteY911" fmla="*/ 689639 h 4439277"/>
              <a:gd name="connsiteX912" fmla="*/ 5126866 w 6873375"/>
              <a:gd name="connsiteY912" fmla="*/ 687156 h 4439277"/>
              <a:gd name="connsiteX913" fmla="*/ 5154170 w 6873375"/>
              <a:gd name="connsiteY913" fmla="*/ 679715 h 4439277"/>
              <a:gd name="connsiteX914" fmla="*/ 5161616 w 6873375"/>
              <a:gd name="connsiteY914" fmla="*/ 677233 h 4439277"/>
              <a:gd name="connsiteX915" fmla="*/ 5174029 w 6873375"/>
              <a:gd name="connsiteY915" fmla="*/ 669793 h 4439277"/>
              <a:gd name="connsiteX916" fmla="*/ 5156651 w 6873375"/>
              <a:gd name="connsiteY916" fmla="*/ 692118 h 4439277"/>
              <a:gd name="connsiteX917" fmla="*/ 5166580 w 6873375"/>
              <a:gd name="connsiteY917" fmla="*/ 694600 h 4439277"/>
              <a:gd name="connsiteX918" fmla="*/ 5169061 w 6873375"/>
              <a:gd name="connsiteY918" fmla="*/ 706999 h 4439277"/>
              <a:gd name="connsiteX919" fmla="*/ 5165959 w 6873375"/>
              <a:gd name="connsiteY919" fmla="*/ 703591 h 4439277"/>
              <a:gd name="connsiteX920" fmla="*/ 5159132 w 6873375"/>
              <a:gd name="connsiteY920" fmla="*/ 709485 h 4439277"/>
              <a:gd name="connsiteX921" fmla="*/ 5161616 w 6873375"/>
              <a:gd name="connsiteY921" fmla="*/ 709485 h 4439277"/>
              <a:gd name="connsiteX922" fmla="*/ 5169062 w 6873375"/>
              <a:gd name="connsiteY922" fmla="*/ 707003 h 4439277"/>
              <a:gd name="connsiteX923" fmla="*/ 5169475 w 6873375"/>
              <a:gd name="connsiteY923" fmla="*/ 709072 h 4439277"/>
              <a:gd name="connsiteX924" fmla="*/ 5169063 w 6873375"/>
              <a:gd name="connsiteY924" fmla="*/ 709485 h 4439277"/>
              <a:gd name="connsiteX925" fmla="*/ 5169682 w 6873375"/>
              <a:gd name="connsiteY925" fmla="*/ 710103 h 4439277"/>
              <a:gd name="connsiteX926" fmla="*/ 5171544 w 6873375"/>
              <a:gd name="connsiteY926" fmla="*/ 719407 h 4439277"/>
              <a:gd name="connsiteX927" fmla="*/ 5198850 w 6873375"/>
              <a:gd name="connsiteY927" fmla="*/ 699561 h 4439277"/>
              <a:gd name="connsiteX928" fmla="*/ 5201330 w 6873375"/>
              <a:gd name="connsiteY928" fmla="*/ 697082 h 4439277"/>
              <a:gd name="connsiteX929" fmla="*/ 5231115 w 6873375"/>
              <a:gd name="connsiteY929" fmla="*/ 672275 h 4439277"/>
              <a:gd name="connsiteX930" fmla="*/ 5233596 w 6873375"/>
              <a:gd name="connsiteY930" fmla="*/ 667314 h 4439277"/>
              <a:gd name="connsiteX931" fmla="*/ 5236080 w 6873375"/>
              <a:gd name="connsiteY931" fmla="*/ 669793 h 4439277"/>
              <a:gd name="connsiteX932" fmla="*/ 5243525 w 6873375"/>
              <a:gd name="connsiteY932" fmla="*/ 659869 h 4439277"/>
              <a:gd name="connsiteX933" fmla="*/ 5255937 w 6873375"/>
              <a:gd name="connsiteY933" fmla="*/ 647468 h 4439277"/>
              <a:gd name="connsiteX934" fmla="*/ 5260901 w 6873375"/>
              <a:gd name="connsiteY934" fmla="*/ 640023 h 4439277"/>
              <a:gd name="connsiteX935" fmla="*/ 5255937 w 6873375"/>
              <a:gd name="connsiteY935" fmla="*/ 637544 h 4439277"/>
              <a:gd name="connsiteX936" fmla="*/ 5226151 w 6873375"/>
              <a:gd name="connsiteY936" fmla="*/ 654908 h 4439277"/>
              <a:gd name="connsiteX937" fmla="*/ 5213739 w 6873375"/>
              <a:gd name="connsiteY937" fmla="*/ 667314 h 4439277"/>
              <a:gd name="connsiteX938" fmla="*/ 5218703 w 6873375"/>
              <a:gd name="connsiteY938" fmla="*/ 672275 h 4439277"/>
              <a:gd name="connsiteX939" fmla="*/ 5201330 w 6873375"/>
              <a:gd name="connsiteY939" fmla="*/ 689639 h 4439277"/>
              <a:gd name="connsiteX940" fmla="*/ 5183954 w 6873375"/>
              <a:gd name="connsiteY940" fmla="*/ 699561 h 4439277"/>
              <a:gd name="connsiteX941" fmla="*/ 5181473 w 6873375"/>
              <a:gd name="connsiteY941" fmla="*/ 697082 h 4439277"/>
              <a:gd name="connsiteX942" fmla="*/ 5203814 w 6873375"/>
              <a:gd name="connsiteY942" fmla="*/ 679715 h 4439277"/>
              <a:gd name="connsiteX943" fmla="*/ 5181473 w 6873375"/>
              <a:gd name="connsiteY943" fmla="*/ 669793 h 4439277"/>
              <a:gd name="connsiteX944" fmla="*/ 5196365 w 6873375"/>
              <a:gd name="connsiteY944" fmla="*/ 662351 h 4439277"/>
              <a:gd name="connsiteX945" fmla="*/ 5201330 w 6873375"/>
              <a:gd name="connsiteY945" fmla="*/ 659869 h 4439277"/>
              <a:gd name="connsiteX946" fmla="*/ 5206294 w 6873375"/>
              <a:gd name="connsiteY946" fmla="*/ 642505 h 4439277"/>
              <a:gd name="connsiteX947" fmla="*/ 5238560 w 6873375"/>
              <a:gd name="connsiteY947" fmla="*/ 620177 h 4439277"/>
              <a:gd name="connsiteX948" fmla="*/ 5268346 w 6873375"/>
              <a:gd name="connsiteY948" fmla="*/ 605293 h 4439277"/>
              <a:gd name="connsiteX949" fmla="*/ 5285722 w 6873375"/>
              <a:gd name="connsiteY949" fmla="*/ 587930 h 4439277"/>
              <a:gd name="connsiteX950" fmla="*/ 5305577 w 6873375"/>
              <a:gd name="connsiteY950" fmla="*/ 568084 h 4439277"/>
              <a:gd name="connsiteX951" fmla="*/ 5325434 w 6873375"/>
              <a:gd name="connsiteY951" fmla="*/ 555681 h 4439277"/>
              <a:gd name="connsiteX952" fmla="*/ 5327917 w 6873375"/>
              <a:gd name="connsiteY952" fmla="*/ 558160 h 4439277"/>
              <a:gd name="connsiteX953" fmla="*/ 5322953 w 6873375"/>
              <a:gd name="connsiteY953" fmla="*/ 575524 h 4439277"/>
              <a:gd name="connsiteX954" fmla="*/ 5347774 w 6873375"/>
              <a:gd name="connsiteY954" fmla="*/ 555681 h 4439277"/>
              <a:gd name="connsiteX955" fmla="*/ 5362667 w 6873375"/>
              <a:gd name="connsiteY955" fmla="*/ 528392 h 4439277"/>
              <a:gd name="connsiteX956" fmla="*/ 5392452 w 6873375"/>
              <a:gd name="connsiteY956" fmla="*/ 535835 h 4439277"/>
              <a:gd name="connsiteX957" fmla="*/ 5407343 w 6873375"/>
              <a:gd name="connsiteY957" fmla="*/ 525913 h 4439277"/>
              <a:gd name="connsiteX958" fmla="*/ 5424719 w 6873375"/>
              <a:gd name="connsiteY958" fmla="*/ 545759 h 4439277"/>
              <a:gd name="connsiteX959" fmla="*/ 5439612 w 6873375"/>
              <a:gd name="connsiteY959" fmla="*/ 523430 h 4439277"/>
              <a:gd name="connsiteX960" fmla="*/ 5437127 w 6873375"/>
              <a:gd name="connsiteY960" fmla="*/ 515989 h 4439277"/>
              <a:gd name="connsiteX961" fmla="*/ 5439612 w 6873375"/>
              <a:gd name="connsiteY961" fmla="*/ 515989 h 4439277"/>
              <a:gd name="connsiteX962" fmla="*/ 5499183 w 6873375"/>
              <a:gd name="connsiteY962" fmla="*/ 473818 h 4439277"/>
              <a:gd name="connsiteX963" fmla="*/ 5501664 w 6873375"/>
              <a:gd name="connsiteY963" fmla="*/ 471336 h 4439277"/>
              <a:gd name="connsiteX964" fmla="*/ 5514075 w 6873375"/>
              <a:gd name="connsiteY964" fmla="*/ 458933 h 4439277"/>
              <a:gd name="connsiteX965" fmla="*/ 5538897 w 6873375"/>
              <a:gd name="connsiteY965" fmla="*/ 463892 h 4439277"/>
              <a:gd name="connsiteX966" fmla="*/ 5536412 w 6873375"/>
              <a:gd name="connsiteY966" fmla="*/ 446529 h 4439277"/>
              <a:gd name="connsiteX967" fmla="*/ 5578607 w 6873375"/>
              <a:gd name="connsiteY967" fmla="*/ 419241 h 4439277"/>
              <a:gd name="connsiteX968" fmla="*/ 5581092 w 6873375"/>
              <a:gd name="connsiteY968" fmla="*/ 421721 h 4439277"/>
              <a:gd name="connsiteX969" fmla="*/ 5571163 w 6873375"/>
              <a:gd name="connsiteY969" fmla="*/ 434126 h 4439277"/>
              <a:gd name="connsiteX970" fmla="*/ 5573643 w 6873375"/>
              <a:gd name="connsiteY970" fmla="*/ 436605 h 4439277"/>
              <a:gd name="connsiteX971" fmla="*/ 5610877 w 6873375"/>
              <a:gd name="connsiteY971" fmla="*/ 414280 h 4439277"/>
              <a:gd name="connsiteX972" fmla="*/ 5608393 w 6873375"/>
              <a:gd name="connsiteY972" fmla="*/ 406836 h 4439277"/>
              <a:gd name="connsiteX973" fmla="*/ 5610877 w 6873375"/>
              <a:gd name="connsiteY973" fmla="*/ 404358 h 4439277"/>
              <a:gd name="connsiteX974" fmla="*/ 5615841 w 6873375"/>
              <a:gd name="connsiteY974" fmla="*/ 414280 h 4439277"/>
              <a:gd name="connsiteX975" fmla="*/ 5635695 w 6873375"/>
              <a:gd name="connsiteY975" fmla="*/ 394434 h 4439277"/>
              <a:gd name="connsiteX976" fmla="*/ 5640663 w 6873375"/>
              <a:gd name="connsiteY976" fmla="*/ 391952 h 4439277"/>
              <a:gd name="connsiteX977" fmla="*/ 5663000 w 6873375"/>
              <a:gd name="connsiteY977" fmla="*/ 384511 h 4439277"/>
              <a:gd name="connsiteX978" fmla="*/ 5680373 w 6873375"/>
              <a:gd name="connsiteY978" fmla="*/ 369627 h 4439277"/>
              <a:gd name="connsiteX979" fmla="*/ 5707678 w 6873375"/>
              <a:gd name="connsiteY979" fmla="*/ 352261 h 4439277"/>
              <a:gd name="connsiteX980" fmla="*/ 5697749 w 6873375"/>
              <a:gd name="connsiteY980" fmla="*/ 364665 h 4439277"/>
              <a:gd name="connsiteX981" fmla="*/ 5715123 w 6873375"/>
              <a:gd name="connsiteY981" fmla="*/ 362183 h 4439277"/>
              <a:gd name="connsiteX982" fmla="*/ 5717606 w 6873375"/>
              <a:gd name="connsiteY982" fmla="*/ 372107 h 4439277"/>
              <a:gd name="connsiteX983" fmla="*/ 5747392 w 6873375"/>
              <a:gd name="connsiteY983" fmla="*/ 357222 h 4439277"/>
              <a:gd name="connsiteX984" fmla="*/ 5752356 w 6873375"/>
              <a:gd name="connsiteY984" fmla="*/ 364665 h 4439277"/>
              <a:gd name="connsiteX985" fmla="*/ 5754837 w 6873375"/>
              <a:gd name="connsiteY985" fmla="*/ 362183 h 4439277"/>
              <a:gd name="connsiteX986" fmla="*/ 5784623 w 6873375"/>
              <a:gd name="connsiteY986" fmla="*/ 339858 h 4439277"/>
              <a:gd name="connsiteX987" fmla="*/ 5819373 w 6873375"/>
              <a:gd name="connsiteY987" fmla="*/ 322494 h 4439277"/>
              <a:gd name="connsiteX988" fmla="*/ 5819373 w 6873375"/>
              <a:gd name="connsiteY988" fmla="*/ 310089 h 4439277"/>
              <a:gd name="connsiteX989" fmla="*/ 5821853 w 6873375"/>
              <a:gd name="connsiteY989" fmla="*/ 300166 h 4439277"/>
              <a:gd name="connsiteX990" fmla="*/ 5834265 w 6873375"/>
              <a:gd name="connsiteY990" fmla="*/ 290244 h 4439277"/>
              <a:gd name="connsiteX991" fmla="*/ 5886389 w 6873375"/>
              <a:gd name="connsiteY991" fmla="*/ 267918 h 4439277"/>
              <a:gd name="connsiteX992" fmla="*/ 5869015 w 6873375"/>
              <a:gd name="connsiteY992" fmla="*/ 277841 h 4439277"/>
              <a:gd name="connsiteX993" fmla="*/ 5859087 w 6873375"/>
              <a:gd name="connsiteY993" fmla="*/ 292725 h 4439277"/>
              <a:gd name="connsiteX994" fmla="*/ 5853510 w 6873375"/>
              <a:gd name="connsiteY994" fmla="*/ 296441 h 4439277"/>
              <a:gd name="connsiteX995" fmla="*/ 5844194 w 6873375"/>
              <a:gd name="connsiteY995" fmla="*/ 300166 h 4439277"/>
              <a:gd name="connsiteX996" fmla="*/ 5845683 w 6873375"/>
              <a:gd name="connsiteY996" fmla="*/ 301656 h 4439277"/>
              <a:gd name="connsiteX997" fmla="*/ 5844194 w 6873375"/>
              <a:gd name="connsiteY997" fmla="*/ 302648 h 4439277"/>
              <a:gd name="connsiteX998" fmla="*/ 5846060 w 6873375"/>
              <a:gd name="connsiteY998" fmla="*/ 302033 h 4439277"/>
              <a:gd name="connsiteX999" fmla="*/ 5846675 w 6873375"/>
              <a:gd name="connsiteY999" fmla="*/ 302648 h 4439277"/>
              <a:gd name="connsiteX1000" fmla="*/ 5848621 w 6873375"/>
              <a:gd name="connsiteY1000" fmla="*/ 301189 h 4439277"/>
              <a:gd name="connsiteX1001" fmla="*/ 5872428 w 6873375"/>
              <a:gd name="connsiteY1001" fmla="*/ 293345 h 4439277"/>
              <a:gd name="connsiteX1002" fmla="*/ 5898801 w 6873375"/>
              <a:gd name="connsiteY1002" fmla="*/ 280320 h 4439277"/>
              <a:gd name="connsiteX1003" fmla="*/ 5955888 w 6873375"/>
              <a:gd name="connsiteY1003" fmla="*/ 253034 h 4439277"/>
              <a:gd name="connsiteX1004" fmla="*/ 6012976 w 6873375"/>
              <a:gd name="connsiteY1004" fmla="*/ 233188 h 4439277"/>
              <a:gd name="connsiteX1005" fmla="*/ 5978226 w 6873375"/>
              <a:gd name="connsiteY1005" fmla="*/ 253034 h 4439277"/>
              <a:gd name="connsiteX1006" fmla="*/ 5940996 w 6873375"/>
              <a:gd name="connsiteY1006" fmla="*/ 282802 h 4439277"/>
              <a:gd name="connsiteX1007" fmla="*/ 5993119 w 6873375"/>
              <a:gd name="connsiteY1007" fmla="*/ 257995 h 4439277"/>
              <a:gd name="connsiteX1008" fmla="*/ 5998083 w 6873375"/>
              <a:gd name="connsiteY1008" fmla="*/ 265435 h 4439277"/>
              <a:gd name="connsiteX1009" fmla="*/ 6017940 w 6873375"/>
              <a:gd name="connsiteY1009" fmla="*/ 260474 h 4439277"/>
              <a:gd name="connsiteX1010" fmla="*/ 6020420 w 6873375"/>
              <a:gd name="connsiteY1010" fmla="*/ 270398 h 4439277"/>
              <a:gd name="connsiteX1011" fmla="*/ 6075027 w 6873375"/>
              <a:gd name="connsiteY1011" fmla="*/ 253034 h 4439277"/>
              <a:gd name="connsiteX1012" fmla="*/ 6047726 w 6873375"/>
              <a:gd name="connsiteY1012" fmla="*/ 275359 h 4439277"/>
              <a:gd name="connsiteX1013" fmla="*/ 6082476 w 6873375"/>
              <a:gd name="connsiteY1013" fmla="*/ 292725 h 4439277"/>
              <a:gd name="connsiteX1014" fmla="*/ 6065100 w 6873375"/>
              <a:gd name="connsiteY1014" fmla="*/ 297687 h 4439277"/>
              <a:gd name="connsiteX1015" fmla="*/ 6094884 w 6873375"/>
              <a:gd name="connsiteY1015" fmla="*/ 302648 h 4439277"/>
              <a:gd name="connsiteX1016" fmla="*/ 6122190 w 6873375"/>
              <a:gd name="connsiteY1016" fmla="*/ 282802 h 4439277"/>
              <a:gd name="connsiteX1017" fmla="*/ 6104814 w 6873375"/>
              <a:gd name="connsiteY1017" fmla="*/ 312571 h 4439277"/>
              <a:gd name="connsiteX1018" fmla="*/ 6127151 w 6873375"/>
              <a:gd name="connsiteY1018" fmla="*/ 297687 h 4439277"/>
              <a:gd name="connsiteX1019" fmla="*/ 6112261 w 6873375"/>
              <a:gd name="connsiteY1019" fmla="*/ 315051 h 4439277"/>
              <a:gd name="connsiteX1020" fmla="*/ 6127151 w 6873375"/>
              <a:gd name="connsiteY1020" fmla="*/ 320012 h 4439277"/>
              <a:gd name="connsiteX1021" fmla="*/ 6102329 w 6873375"/>
              <a:gd name="connsiteY1021" fmla="*/ 344819 h 4439277"/>
              <a:gd name="connsiteX1022" fmla="*/ 6110399 w 6873375"/>
              <a:gd name="connsiteY1022" fmla="*/ 349161 h 4439277"/>
              <a:gd name="connsiteX1023" fmla="*/ 6113842 w 6873375"/>
              <a:gd name="connsiteY1023" fmla="*/ 355552 h 4439277"/>
              <a:gd name="connsiteX1024" fmla="*/ 6089921 w 6873375"/>
              <a:gd name="connsiteY1024" fmla="*/ 377068 h 4439277"/>
              <a:gd name="connsiteX1025" fmla="*/ 6089921 w 6873375"/>
              <a:gd name="connsiteY1025" fmla="*/ 379550 h 4439277"/>
              <a:gd name="connsiteX1026" fmla="*/ 6104814 w 6873375"/>
              <a:gd name="connsiteY1026" fmla="*/ 377068 h 4439277"/>
              <a:gd name="connsiteX1027" fmla="*/ 6112261 w 6873375"/>
              <a:gd name="connsiteY1027" fmla="*/ 386990 h 4439277"/>
              <a:gd name="connsiteX1028" fmla="*/ 6124671 w 6873375"/>
              <a:gd name="connsiteY1028" fmla="*/ 364665 h 4439277"/>
              <a:gd name="connsiteX1029" fmla="*/ 6112261 w 6873375"/>
              <a:gd name="connsiteY1029" fmla="*/ 372107 h 4439277"/>
              <a:gd name="connsiteX1030" fmla="*/ 6109778 w 6873375"/>
              <a:gd name="connsiteY1030" fmla="*/ 369627 h 4439277"/>
              <a:gd name="connsiteX1031" fmla="*/ 6117225 w 6873375"/>
              <a:gd name="connsiteY1031" fmla="*/ 357222 h 4439277"/>
              <a:gd name="connsiteX1032" fmla="*/ 6115982 w 6873375"/>
              <a:gd name="connsiteY1032" fmla="*/ 355981 h 4439277"/>
              <a:gd name="connsiteX1033" fmla="*/ 6139562 w 6873375"/>
              <a:gd name="connsiteY1033" fmla="*/ 332417 h 4439277"/>
              <a:gd name="connsiteX1034" fmla="*/ 6144528 w 6873375"/>
              <a:gd name="connsiteY1034" fmla="*/ 349781 h 4439277"/>
              <a:gd name="connsiteX1035" fmla="*/ 6134599 w 6873375"/>
              <a:gd name="connsiteY1035" fmla="*/ 364665 h 4439277"/>
              <a:gd name="connsiteX1036" fmla="*/ 6159419 w 6873375"/>
              <a:gd name="connsiteY1036" fmla="*/ 362183 h 4439277"/>
              <a:gd name="connsiteX1037" fmla="*/ 6156936 w 6873375"/>
              <a:gd name="connsiteY1037" fmla="*/ 374588 h 4439277"/>
              <a:gd name="connsiteX1038" fmla="*/ 6166865 w 6873375"/>
              <a:gd name="connsiteY1038" fmla="*/ 377068 h 4439277"/>
              <a:gd name="connsiteX1039" fmla="*/ 6144528 w 6873375"/>
              <a:gd name="connsiteY1039" fmla="*/ 404358 h 4439277"/>
              <a:gd name="connsiteX1040" fmla="*/ 6143855 w 6873375"/>
              <a:gd name="connsiteY1040" fmla="*/ 411075 h 4439277"/>
              <a:gd name="connsiteX1041" fmla="*/ 6142047 w 6873375"/>
              <a:gd name="connsiteY1041" fmla="*/ 411798 h 4439277"/>
              <a:gd name="connsiteX1042" fmla="*/ 6143493 w 6873375"/>
              <a:gd name="connsiteY1042" fmla="*/ 414692 h 4439277"/>
              <a:gd name="connsiteX1043" fmla="*/ 6142047 w 6873375"/>
              <a:gd name="connsiteY1043" fmla="*/ 429165 h 4439277"/>
              <a:gd name="connsiteX1044" fmla="*/ 6179276 w 6873375"/>
              <a:gd name="connsiteY1044" fmla="*/ 401875 h 4439277"/>
              <a:gd name="connsiteX1045" fmla="*/ 6216507 w 6873375"/>
              <a:gd name="connsiteY1045" fmla="*/ 377068 h 4439277"/>
              <a:gd name="connsiteX1046" fmla="*/ 6226436 w 6873375"/>
              <a:gd name="connsiteY1046" fmla="*/ 374588 h 4439277"/>
              <a:gd name="connsiteX1047" fmla="*/ 6214024 w 6873375"/>
              <a:gd name="connsiteY1047" fmla="*/ 384511 h 4439277"/>
              <a:gd name="connsiteX1048" fmla="*/ 6216507 w 6873375"/>
              <a:gd name="connsiteY1048" fmla="*/ 389473 h 4439277"/>
              <a:gd name="connsiteX1049" fmla="*/ 6236364 w 6873375"/>
              <a:gd name="connsiteY1049" fmla="*/ 379550 h 4439277"/>
              <a:gd name="connsiteX1050" fmla="*/ 6181757 w 6873375"/>
              <a:gd name="connsiteY1050" fmla="*/ 426682 h 4439277"/>
              <a:gd name="connsiteX1051" fmla="*/ 6174313 w 6873375"/>
              <a:gd name="connsiteY1051" fmla="*/ 456451 h 4439277"/>
              <a:gd name="connsiteX1052" fmla="*/ 6184242 w 6873375"/>
              <a:gd name="connsiteY1052" fmla="*/ 473818 h 4439277"/>
              <a:gd name="connsiteX1053" fmla="*/ 6196650 w 6873375"/>
              <a:gd name="connsiteY1053" fmla="*/ 486221 h 4439277"/>
              <a:gd name="connsiteX1054" fmla="*/ 6238845 w 6873375"/>
              <a:gd name="connsiteY1054" fmla="*/ 478777 h 4439277"/>
              <a:gd name="connsiteX1055" fmla="*/ 6228920 w 6873375"/>
              <a:gd name="connsiteY1055" fmla="*/ 491182 h 4439277"/>
              <a:gd name="connsiteX1056" fmla="*/ 6288488 w 6873375"/>
              <a:gd name="connsiteY1056" fmla="*/ 458933 h 4439277"/>
              <a:gd name="connsiteX1057" fmla="*/ 6263666 w 6873375"/>
              <a:gd name="connsiteY1057" fmla="*/ 481258 h 4439277"/>
              <a:gd name="connsiteX1058" fmla="*/ 6236364 w 6873375"/>
              <a:gd name="connsiteY1058" fmla="*/ 508546 h 4439277"/>
              <a:gd name="connsiteX1059" fmla="*/ 6271114 w 6873375"/>
              <a:gd name="connsiteY1059" fmla="*/ 491182 h 4439277"/>
              <a:gd name="connsiteX1060" fmla="*/ 6303380 w 6873375"/>
              <a:gd name="connsiteY1060" fmla="*/ 473818 h 4439277"/>
              <a:gd name="connsiteX1061" fmla="*/ 6256221 w 6873375"/>
              <a:gd name="connsiteY1061" fmla="*/ 525913 h 4439277"/>
              <a:gd name="connsiteX1062" fmla="*/ 6258705 w 6873375"/>
              <a:gd name="connsiteY1062" fmla="*/ 545759 h 4439277"/>
              <a:gd name="connsiteX1063" fmla="*/ 6271114 w 6873375"/>
              <a:gd name="connsiteY1063" fmla="*/ 540796 h 4439277"/>
              <a:gd name="connsiteX1064" fmla="*/ 6268631 w 6873375"/>
              <a:gd name="connsiteY1064" fmla="*/ 558160 h 4439277"/>
              <a:gd name="connsiteX1065" fmla="*/ 6313309 w 6873375"/>
              <a:gd name="connsiteY1065" fmla="*/ 528392 h 4439277"/>
              <a:gd name="connsiteX1066" fmla="*/ 6315792 w 6873375"/>
              <a:gd name="connsiteY1066" fmla="*/ 530874 h 4439277"/>
              <a:gd name="connsiteX1067" fmla="*/ 6298416 w 6873375"/>
              <a:gd name="connsiteY1067" fmla="*/ 553199 h 4439277"/>
              <a:gd name="connsiteX1068" fmla="*/ 6313309 w 6873375"/>
              <a:gd name="connsiteY1068" fmla="*/ 553199 h 4439277"/>
              <a:gd name="connsiteX1069" fmla="*/ 6281042 w 6873375"/>
              <a:gd name="connsiteY1069" fmla="*/ 585451 h 4439277"/>
              <a:gd name="connsiteX1070" fmla="*/ 6298416 w 6873375"/>
              <a:gd name="connsiteY1070" fmla="*/ 585451 h 4439277"/>
              <a:gd name="connsiteX1071" fmla="*/ 6290971 w 6873375"/>
              <a:gd name="connsiteY1071" fmla="*/ 597852 h 4439277"/>
              <a:gd name="connsiteX1072" fmla="*/ 6315792 w 6873375"/>
              <a:gd name="connsiteY1072" fmla="*/ 617698 h 4439277"/>
              <a:gd name="connsiteX1073" fmla="*/ 6303380 w 6873375"/>
              <a:gd name="connsiteY1073" fmla="*/ 627622 h 4439277"/>
              <a:gd name="connsiteX1074" fmla="*/ 6305864 w 6873375"/>
              <a:gd name="connsiteY1074" fmla="*/ 630101 h 4439277"/>
              <a:gd name="connsiteX1075" fmla="*/ 6323237 w 6873375"/>
              <a:gd name="connsiteY1075" fmla="*/ 620177 h 4439277"/>
              <a:gd name="connsiteX1076" fmla="*/ 6325718 w 6873375"/>
              <a:gd name="connsiteY1076" fmla="*/ 622659 h 4439277"/>
              <a:gd name="connsiteX1077" fmla="*/ 6310391 w 6873375"/>
              <a:gd name="connsiteY1077" fmla="*/ 635936 h 4439277"/>
              <a:gd name="connsiteX1078" fmla="*/ 6310828 w 6873375"/>
              <a:gd name="connsiteY1078" fmla="*/ 635062 h 4439277"/>
              <a:gd name="connsiteX1079" fmla="*/ 6307112 w 6873375"/>
              <a:gd name="connsiteY1079" fmla="*/ 638775 h 4439277"/>
              <a:gd name="connsiteX1080" fmla="*/ 6288488 w 6873375"/>
              <a:gd name="connsiteY1080" fmla="*/ 654908 h 4439277"/>
              <a:gd name="connsiteX1081" fmla="*/ 6278559 w 6873375"/>
              <a:gd name="connsiteY1081" fmla="*/ 647468 h 4439277"/>
              <a:gd name="connsiteX1082" fmla="*/ 6276078 w 6873375"/>
              <a:gd name="connsiteY1082" fmla="*/ 667314 h 4439277"/>
              <a:gd name="connsiteX1083" fmla="*/ 6266150 w 6873375"/>
              <a:gd name="connsiteY1083" fmla="*/ 702040 h 4439277"/>
              <a:gd name="connsiteX1084" fmla="*/ 6290971 w 6873375"/>
              <a:gd name="connsiteY1084" fmla="*/ 716925 h 4439277"/>
              <a:gd name="connsiteX1085" fmla="*/ 6263666 w 6873375"/>
              <a:gd name="connsiteY1085" fmla="*/ 749177 h 4439277"/>
              <a:gd name="connsiteX1086" fmla="*/ 6263666 w 6873375"/>
              <a:gd name="connsiteY1086" fmla="*/ 751656 h 4439277"/>
              <a:gd name="connsiteX1087" fmla="*/ 6276078 w 6873375"/>
              <a:gd name="connsiteY1087" fmla="*/ 749177 h 4439277"/>
              <a:gd name="connsiteX1088" fmla="*/ 6333166 w 6873375"/>
              <a:gd name="connsiteY1088" fmla="*/ 709485 h 4439277"/>
              <a:gd name="connsiteX1089" fmla="*/ 6345579 w 6873375"/>
              <a:gd name="connsiteY1089" fmla="*/ 704522 h 4439277"/>
              <a:gd name="connsiteX1090" fmla="*/ 6353023 w 6873375"/>
              <a:gd name="connsiteY1090" fmla="*/ 702040 h 4439277"/>
              <a:gd name="connsiteX1091" fmla="*/ 6395220 w 6873375"/>
              <a:gd name="connsiteY1091" fmla="*/ 679715 h 4439277"/>
              <a:gd name="connsiteX1092" fmla="*/ 6147011 w 6873375"/>
              <a:gd name="connsiteY1092" fmla="*/ 1031978 h 4439277"/>
              <a:gd name="connsiteX1093" fmla="*/ 6179276 w 6873375"/>
              <a:gd name="connsiteY1093" fmla="*/ 1022052 h 4439277"/>
              <a:gd name="connsiteX1094" fmla="*/ 6191686 w 6873375"/>
              <a:gd name="connsiteY1094" fmla="*/ 1017093 h 4439277"/>
              <a:gd name="connsiteX1095" fmla="*/ 6214024 w 6873375"/>
              <a:gd name="connsiteY1095" fmla="*/ 1012132 h 4439277"/>
              <a:gd name="connsiteX1096" fmla="*/ 6233884 w 6873375"/>
              <a:gd name="connsiteY1096" fmla="*/ 999727 h 4439277"/>
              <a:gd name="connsiteX1097" fmla="*/ 6248774 w 6873375"/>
              <a:gd name="connsiteY1097" fmla="*/ 979881 h 4439277"/>
              <a:gd name="connsiteX1098" fmla="*/ 6256221 w 6873375"/>
              <a:gd name="connsiteY1098" fmla="*/ 969958 h 4439277"/>
              <a:gd name="connsiteX1099" fmla="*/ 6281042 w 6873375"/>
              <a:gd name="connsiteY1099" fmla="*/ 955074 h 4439277"/>
              <a:gd name="connsiteX1100" fmla="*/ 6288488 w 6873375"/>
              <a:gd name="connsiteY1100" fmla="*/ 964996 h 4439277"/>
              <a:gd name="connsiteX1101" fmla="*/ 6308345 w 6873375"/>
              <a:gd name="connsiteY1101" fmla="*/ 940189 h 4439277"/>
              <a:gd name="connsiteX1102" fmla="*/ 6325718 w 6873375"/>
              <a:gd name="connsiteY1102" fmla="*/ 930269 h 4439277"/>
              <a:gd name="connsiteX1103" fmla="*/ 6353023 w 6873375"/>
              <a:gd name="connsiteY1103" fmla="*/ 917864 h 4439277"/>
              <a:gd name="connsiteX1104" fmla="*/ 6380325 w 6873375"/>
              <a:gd name="connsiteY1104" fmla="*/ 917864 h 4439277"/>
              <a:gd name="connsiteX1105" fmla="*/ 6372880 w 6873375"/>
              <a:gd name="connsiteY1105" fmla="*/ 907941 h 4439277"/>
              <a:gd name="connsiteX1106" fmla="*/ 6437413 w 6873375"/>
              <a:gd name="connsiteY1106" fmla="*/ 873211 h 4439277"/>
              <a:gd name="connsiteX1107" fmla="*/ 6427487 w 6873375"/>
              <a:gd name="connsiteY1107" fmla="*/ 883133 h 4439277"/>
              <a:gd name="connsiteX1108" fmla="*/ 6467197 w 6873375"/>
              <a:gd name="connsiteY1108" fmla="*/ 863287 h 4439277"/>
              <a:gd name="connsiteX1109" fmla="*/ 6469682 w 6873375"/>
              <a:gd name="connsiteY1109" fmla="*/ 860808 h 4439277"/>
              <a:gd name="connsiteX1110" fmla="*/ 6494503 w 6873375"/>
              <a:gd name="connsiteY1110" fmla="*/ 843441 h 4439277"/>
              <a:gd name="connsiteX1111" fmla="*/ 6516841 w 6873375"/>
              <a:gd name="connsiteY1111" fmla="*/ 831039 h 4439277"/>
              <a:gd name="connsiteX1112" fmla="*/ 6519324 w 6873375"/>
              <a:gd name="connsiteY1112" fmla="*/ 840962 h 4439277"/>
              <a:gd name="connsiteX1113" fmla="*/ 6539181 w 6873375"/>
              <a:gd name="connsiteY1113" fmla="*/ 823595 h 4439277"/>
              <a:gd name="connsiteX1114" fmla="*/ 6564003 w 6873375"/>
              <a:gd name="connsiteY1114" fmla="*/ 811194 h 4439277"/>
              <a:gd name="connsiteX1115" fmla="*/ 6551591 w 6873375"/>
              <a:gd name="connsiteY1115" fmla="*/ 826078 h 4439277"/>
              <a:gd name="connsiteX1116" fmla="*/ 6606198 w 6873375"/>
              <a:gd name="connsiteY1116" fmla="*/ 808714 h 4439277"/>
              <a:gd name="connsiteX1117" fmla="*/ 6591305 w 6873375"/>
              <a:gd name="connsiteY1117" fmla="*/ 821116 h 4439277"/>
              <a:gd name="connsiteX1118" fmla="*/ 6596269 w 6873375"/>
              <a:gd name="connsiteY1118" fmla="*/ 823595 h 4439277"/>
              <a:gd name="connsiteX1119" fmla="*/ 6653356 w 6873375"/>
              <a:gd name="connsiteY1119" fmla="*/ 796309 h 4439277"/>
              <a:gd name="connsiteX1120" fmla="*/ 6727821 w 6873375"/>
              <a:gd name="connsiteY1120" fmla="*/ 761578 h 4439277"/>
              <a:gd name="connsiteX1121" fmla="*/ 6730304 w 6873375"/>
              <a:gd name="connsiteY1121" fmla="*/ 761578 h 4439277"/>
              <a:gd name="connsiteX1122" fmla="*/ 6683141 w 6873375"/>
              <a:gd name="connsiteY1122" fmla="*/ 791348 h 4439277"/>
              <a:gd name="connsiteX1123" fmla="*/ 6700518 w 6873375"/>
              <a:gd name="connsiteY1123" fmla="*/ 796309 h 4439277"/>
              <a:gd name="connsiteX1124" fmla="*/ 6750158 w 6873375"/>
              <a:gd name="connsiteY1124" fmla="*/ 776463 h 4439277"/>
              <a:gd name="connsiteX1125" fmla="*/ 6765050 w 6873375"/>
              <a:gd name="connsiteY1125" fmla="*/ 773984 h 4439277"/>
              <a:gd name="connsiteX1126" fmla="*/ 6730304 w 6873375"/>
              <a:gd name="connsiteY1126" fmla="*/ 803753 h 4439277"/>
              <a:gd name="connsiteX1127" fmla="*/ 6722855 w 6873375"/>
              <a:gd name="connsiteY1127" fmla="*/ 808714 h 4439277"/>
              <a:gd name="connsiteX1128" fmla="*/ 6725336 w 6873375"/>
              <a:gd name="connsiteY1128" fmla="*/ 811194 h 4439277"/>
              <a:gd name="connsiteX1129" fmla="*/ 6789872 w 6873375"/>
              <a:gd name="connsiteY1129" fmla="*/ 781424 h 4439277"/>
              <a:gd name="connsiteX1130" fmla="*/ 6812213 w 6873375"/>
              <a:gd name="connsiteY1130" fmla="*/ 793830 h 4439277"/>
              <a:gd name="connsiteX1131" fmla="*/ 6807249 w 6873375"/>
              <a:gd name="connsiteY1131" fmla="*/ 786386 h 4439277"/>
              <a:gd name="connsiteX1132" fmla="*/ 6802281 w 6873375"/>
              <a:gd name="connsiteY1132" fmla="*/ 776463 h 4439277"/>
              <a:gd name="connsiteX1133" fmla="*/ 6812213 w 6873375"/>
              <a:gd name="connsiteY1133" fmla="*/ 769022 h 4439277"/>
              <a:gd name="connsiteX1134" fmla="*/ 6839514 w 6873375"/>
              <a:gd name="connsiteY1134" fmla="*/ 761578 h 4439277"/>
              <a:gd name="connsiteX1135" fmla="*/ 6866816 w 6873375"/>
              <a:gd name="connsiteY1135" fmla="*/ 749177 h 44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</a:cxnLst>
            <a:rect l="l" t="t" r="r" b="b"/>
            <a:pathLst>
              <a:path w="6873375" h="4439277">
                <a:moveTo>
                  <a:pt x="165153" y="3056238"/>
                </a:moveTo>
                <a:cubicBezTo>
                  <a:pt x="157709" y="3061200"/>
                  <a:pt x="152741" y="3066161"/>
                  <a:pt x="145296" y="3073602"/>
                </a:cubicBezTo>
                <a:cubicBezTo>
                  <a:pt x="147781" y="3068641"/>
                  <a:pt x="152741" y="3066161"/>
                  <a:pt x="157709" y="3063678"/>
                </a:cubicBezTo>
                <a:cubicBezTo>
                  <a:pt x="157709" y="3063678"/>
                  <a:pt x="157709" y="3066161"/>
                  <a:pt x="157709" y="3066161"/>
                </a:cubicBezTo>
                <a:cubicBezTo>
                  <a:pt x="160189" y="3061200"/>
                  <a:pt x="162670" y="3058717"/>
                  <a:pt x="165153" y="3056238"/>
                </a:cubicBezTo>
                <a:close/>
                <a:moveTo>
                  <a:pt x="1145581" y="1103918"/>
                </a:moveTo>
                <a:cubicBezTo>
                  <a:pt x="1143101" y="1103918"/>
                  <a:pt x="1140617" y="1103918"/>
                  <a:pt x="1138137" y="1103918"/>
                </a:cubicBezTo>
                <a:cubicBezTo>
                  <a:pt x="1138137" y="1106396"/>
                  <a:pt x="1138137" y="1108879"/>
                  <a:pt x="1138137" y="1108879"/>
                </a:cubicBezTo>
                <a:cubicBezTo>
                  <a:pt x="1138137" y="1108879"/>
                  <a:pt x="1140617" y="1108879"/>
                  <a:pt x="1143101" y="1108879"/>
                </a:cubicBezTo>
                <a:cubicBezTo>
                  <a:pt x="1143101" y="1106396"/>
                  <a:pt x="1145581" y="1106396"/>
                  <a:pt x="1145581" y="1103918"/>
                </a:cubicBezTo>
                <a:close/>
                <a:moveTo>
                  <a:pt x="1284580" y="1123764"/>
                </a:moveTo>
                <a:cubicBezTo>
                  <a:pt x="1282097" y="1123764"/>
                  <a:pt x="1282097" y="1123764"/>
                  <a:pt x="1282097" y="1123764"/>
                </a:cubicBezTo>
                <a:cubicBezTo>
                  <a:pt x="1282097" y="1123764"/>
                  <a:pt x="1282097" y="1126244"/>
                  <a:pt x="1282097" y="1126244"/>
                </a:cubicBezTo>
                <a:cubicBezTo>
                  <a:pt x="1282097" y="1123764"/>
                  <a:pt x="1284580" y="1123764"/>
                  <a:pt x="1284580" y="1123764"/>
                </a:cubicBezTo>
                <a:close/>
                <a:moveTo>
                  <a:pt x="1331739" y="1002208"/>
                </a:moveTo>
                <a:cubicBezTo>
                  <a:pt x="1329256" y="1002208"/>
                  <a:pt x="1326775" y="1002208"/>
                  <a:pt x="1326775" y="1004687"/>
                </a:cubicBezTo>
                <a:cubicBezTo>
                  <a:pt x="1326775" y="1004687"/>
                  <a:pt x="1329256" y="1007171"/>
                  <a:pt x="1329256" y="1007171"/>
                </a:cubicBezTo>
                <a:cubicBezTo>
                  <a:pt x="1331739" y="1007171"/>
                  <a:pt x="1331739" y="1004687"/>
                  <a:pt x="1331739" y="1002208"/>
                </a:cubicBezTo>
                <a:close/>
                <a:moveTo>
                  <a:pt x="1493076" y="838480"/>
                </a:moveTo>
                <a:cubicBezTo>
                  <a:pt x="1473219" y="838480"/>
                  <a:pt x="1473219" y="838480"/>
                  <a:pt x="1435986" y="858325"/>
                </a:cubicBezTo>
                <a:cubicBezTo>
                  <a:pt x="1458327" y="858325"/>
                  <a:pt x="1475700" y="853364"/>
                  <a:pt x="1493076" y="838480"/>
                </a:cubicBezTo>
                <a:close/>
                <a:moveTo>
                  <a:pt x="1833123" y="756617"/>
                </a:moveTo>
                <a:cubicBezTo>
                  <a:pt x="1833123" y="749176"/>
                  <a:pt x="1833123" y="744215"/>
                  <a:pt x="1823195" y="744215"/>
                </a:cubicBezTo>
                <a:cubicBezTo>
                  <a:pt x="1813266" y="749176"/>
                  <a:pt x="1803338" y="754137"/>
                  <a:pt x="1785965" y="764061"/>
                </a:cubicBezTo>
                <a:cubicBezTo>
                  <a:pt x="1805819" y="761578"/>
                  <a:pt x="1818230" y="759098"/>
                  <a:pt x="1833123" y="756617"/>
                </a:cubicBezTo>
                <a:close/>
                <a:moveTo>
                  <a:pt x="1900139" y="771501"/>
                </a:moveTo>
                <a:cubicBezTo>
                  <a:pt x="1897660" y="771501"/>
                  <a:pt x="1897660" y="769022"/>
                  <a:pt x="1897660" y="769022"/>
                </a:cubicBezTo>
                <a:cubicBezTo>
                  <a:pt x="1892694" y="771501"/>
                  <a:pt x="1887728" y="771501"/>
                  <a:pt x="1882763" y="773983"/>
                </a:cubicBezTo>
                <a:cubicBezTo>
                  <a:pt x="1885247" y="776462"/>
                  <a:pt x="1890211" y="776462"/>
                  <a:pt x="1892694" y="776462"/>
                </a:cubicBezTo>
                <a:cubicBezTo>
                  <a:pt x="1892694" y="776462"/>
                  <a:pt x="1895175" y="776462"/>
                  <a:pt x="1895175" y="776462"/>
                </a:cubicBezTo>
                <a:cubicBezTo>
                  <a:pt x="1897660" y="776462"/>
                  <a:pt x="1900139" y="773983"/>
                  <a:pt x="1900139" y="771501"/>
                </a:cubicBezTo>
                <a:close/>
                <a:moveTo>
                  <a:pt x="1917513" y="721886"/>
                </a:moveTo>
                <a:cubicBezTo>
                  <a:pt x="1887728" y="726847"/>
                  <a:pt x="1887728" y="726847"/>
                  <a:pt x="1877801" y="734291"/>
                </a:cubicBezTo>
                <a:cubicBezTo>
                  <a:pt x="1907585" y="731809"/>
                  <a:pt x="1907585" y="731809"/>
                  <a:pt x="1917513" y="721886"/>
                </a:cubicBezTo>
                <a:close/>
                <a:moveTo>
                  <a:pt x="2071405" y="689638"/>
                </a:moveTo>
                <a:cubicBezTo>
                  <a:pt x="2066441" y="689638"/>
                  <a:pt x="2061477" y="687155"/>
                  <a:pt x="2058993" y="689638"/>
                </a:cubicBezTo>
                <a:cubicBezTo>
                  <a:pt x="2056512" y="692118"/>
                  <a:pt x="2056512" y="697081"/>
                  <a:pt x="2056512" y="702040"/>
                </a:cubicBezTo>
                <a:cubicBezTo>
                  <a:pt x="2061477" y="702040"/>
                  <a:pt x="2066441" y="702040"/>
                  <a:pt x="2068922" y="699561"/>
                </a:cubicBezTo>
                <a:cubicBezTo>
                  <a:pt x="2071405" y="697081"/>
                  <a:pt x="2071405" y="692118"/>
                  <a:pt x="2071405" y="689638"/>
                </a:cubicBezTo>
                <a:close/>
                <a:moveTo>
                  <a:pt x="2108636" y="697081"/>
                </a:moveTo>
                <a:cubicBezTo>
                  <a:pt x="2108636" y="697081"/>
                  <a:pt x="2106151" y="692118"/>
                  <a:pt x="2106151" y="692118"/>
                </a:cubicBezTo>
                <a:cubicBezTo>
                  <a:pt x="2103672" y="692118"/>
                  <a:pt x="2101191" y="694599"/>
                  <a:pt x="2101191" y="694599"/>
                </a:cubicBezTo>
                <a:cubicBezTo>
                  <a:pt x="2098707" y="694599"/>
                  <a:pt x="2101191" y="697081"/>
                  <a:pt x="2101191" y="702040"/>
                </a:cubicBezTo>
                <a:cubicBezTo>
                  <a:pt x="2103672" y="699561"/>
                  <a:pt x="2106151" y="699561"/>
                  <a:pt x="2108636" y="697081"/>
                </a:cubicBezTo>
                <a:close/>
                <a:moveTo>
                  <a:pt x="2205438" y="1046859"/>
                </a:moveTo>
                <a:cubicBezTo>
                  <a:pt x="2168207" y="1054303"/>
                  <a:pt x="2168207" y="1054303"/>
                  <a:pt x="2153314" y="1071667"/>
                </a:cubicBezTo>
                <a:cubicBezTo>
                  <a:pt x="2170690" y="1064226"/>
                  <a:pt x="2185581" y="1056785"/>
                  <a:pt x="2205438" y="1046859"/>
                </a:cubicBezTo>
                <a:close/>
                <a:moveTo>
                  <a:pt x="2215366" y="850885"/>
                </a:moveTo>
                <a:cubicBezTo>
                  <a:pt x="2210402" y="853364"/>
                  <a:pt x="2207921" y="855846"/>
                  <a:pt x="2202957" y="858325"/>
                </a:cubicBezTo>
                <a:cubicBezTo>
                  <a:pt x="2197992" y="860807"/>
                  <a:pt x="2195508" y="865770"/>
                  <a:pt x="2193028" y="870731"/>
                </a:cubicBezTo>
                <a:cubicBezTo>
                  <a:pt x="2193028" y="873210"/>
                  <a:pt x="2195508" y="873210"/>
                  <a:pt x="2195508" y="875692"/>
                </a:cubicBezTo>
                <a:cubicBezTo>
                  <a:pt x="2195508" y="873210"/>
                  <a:pt x="2197992" y="873210"/>
                  <a:pt x="2197992" y="870731"/>
                </a:cubicBezTo>
                <a:cubicBezTo>
                  <a:pt x="2197992" y="868249"/>
                  <a:pt x="2200472" y="868249"/>
                  <a:pt x="2200472" y="868249"/>
                </a:cubicBezTo>
                <a:cubicBezTo>
                  <a:pt x="2210402" y="865770"/>
                  <a:pt x="2215366" y="858325"/>
                  <a:pt x="2215366" y="850885"/>
                </a:cubicBezTo>
                <a:close/>
                <a:moveTo>
                  <a:pt x="2227778" y="878171"/>
                </a:moveTo>
                <a:cubicBezTo>
                  <a:pt x="2217849" y="878171"/>
                  <a:pt x="2207921" y="878171"/>
                  <a:pt x="2200472" y="880653"/>
                </a:cubicBezTo>
                <a:cubicBezTo>
                  <a:pt x="2202957" y="883133"/>
                  <a:pt x="2202957" y="885616"/>
                  <a:pt x="2205438" y="888095"/>
                </a:cubicBezTo>
                <a:cubicBezTo>
                  <a:pt x="2212885" y="885616"/>
                  <a:pt x="2220329" y="885616"/>
                  <a:pt x="2227778" y="883133"/>
                </a:cubicBezTo>
                <a:cubicBezTo>
                  <a:pt x="2227778" y="883133"/>
                  <a:pt x="2227778" y="883133"/>
                  <a:pt x="2227778" y="878171"/>
                </a:cubicBezTo>
                <a:close/>
                <a:moveTo>
                  <a:pt x="2289830" y="999726"/>
                </a:moveTo>
                <a:cubicBezTo>
                  <a:pt x="2287349" y="999726"/>
                  <a:pt x="2287349" y="997247"/>
                  <a:pt x="2287349" y="997247"/>
                </a:cubicBezTo>
                <a:cubicBezTo>
                  <a:pt x="2274937" y="1004687"/>
                  <a:pt x="2262528" y="1012132"/>
                  <a:pt x="2250116" y="1019572"/>
                </a:cubicBezTo>
                <a:cubicBezTo>
                  <a:pt x="2250116" y="1022051"/>
                  <a:pt x="2252599" y="1024533"/>
                  <a:pt x="2252599" y="1024533"/>
                </a:cubicBezTo>
                <a:cubicBezTo>
                  <a:pt x="2265009" y="1017093"/>
                  <a:pt x="2277417" y="1007171"/>
                  <a:pt x="2289830" y="999726"/>
                </a:cubicBezTo>
                <a:close/>
                <a:moveTo>
                  <a:pt x="2336988" y="773983"/>
                </a:moveTo>
                <a:lnTo>
                  <a:pt x="2336245" y="779347"/>
                </a:lnTo>
                <a:lnTo>
                  <a:pt x="2332024" y="781424"/>
                </a:lnTo>
                <a:lnTo>
                  <a:pt x="2331397" y="777975"/>
                </a:lnTo>
                <a:close/>
                <a:moveTo>
                  <a:pt x="2346917" y="960034"/>
                </a:moveTo>
                <a:cubicBezTo>
                  <a:pt x="2344437" y="960034"/>
                  <a:pt x="2341952" y="962516"/>
                  <a:pt x="2339472" y="962516"/>
                </a:cubicBezTo>
                <a:lnTo>
                  <a:pt x="2341952" y="962516"/>
                </a:lnTo>
                <a:cubicBezTo>
                  <a:pt x="2334508" y="967479"/>
                  <a:pt x="2327060" y="972440"/>
                  <a:pt x="2322095" y="979880"/>
                </a:cubicBezTo>
                <a:cubicBezTo>
                  <a:pt x="2327060" y="982362"/>
                  <a:pt x="2332024" y="984841"/>
                  <a:pt x="2334508" y="984841"/>
                </a:cubicBezTo>
                <a:cubicBezTo>
                  <a:pt x="2336988" y="979880"/>
                  <a:pt x="2339472" y="974919"/>
                  <a:pt x="2339472" y="969958"/>
                </a:cubicBezTo>
                <a:cubicBezTo>
                  <a:pt x="2341952" y="967479"/>
                  <a:pt x="2341952" y="964996"/>
                  <a:pt x="2344437" y="962516"/>
                </a:cubicBezTo>
                <a:cubicBezTo>
                  <a:pt x="2344437" y="962516"/>
                  <a:pt x="2346917" y="962516"/>
                  <a:pt x="2346917" y="960034"/>
                </a:cubicBezTo>
                <a:close/>
                <a:moveTo>
                  <a:pt x="2356845" y="969958"/>
                </a:moveTo>
                <a:cubicBezTo>
                  <a:pt x="2356845" y="969958"/>
                  <a:pt x="2354362" y="969958"/>
                  <a:pt x="2354362" y="969958"/>
                </a:cubicBezTo>
                <a:cubicBezTo>
                  <a:pt x="2354362" y="969958"/>
                  <a:pt x="2351881" y="972440"/>
                  <a:pt x="2351881" y="972440"/>
                </a:cubicBezTo>
                <a:cubicBezTo>
                  <a:pt x="2354362" y="972440"/>
                  <a:pt x="2354362" y="972440"/>
                  <a:pt x="2356845" y="969958"/>
                </a:cubicBezTo>
                <a:close/>
                <a:moveTo>
                  <a:pt x="2379183" y="905462"/>
                </a:moveTo>
                <a:cubicBezTo>
                  <a:pt x="2374222" y="907941"/>
                  <a:pt x="2371738" y="907941"/>
                  <a:pt x="2366774" y="907941"/>
                </a:cubicBezTo>
                <a:cubicBezTo>
                  <a:pt x="2361809" y="907941"/>
                  <a:pt x="2359326" y="912902"/>
                  <a:pt x="2356845" y="915384"/>
                </a:cubicBezTo>
                <a:cubicBezTo>
                  <a:pt x="2356845" y="910420"/>
                  <a:pt x="2354362" y="905462"/>
                  <a:pt x="2351881" y="898017"/>
                </a:cubicBezTo>
                <a:cubicBezTo>
                  <a:pt x="2339472" y="898017"/>
                  <a:pt x="2329544" y="900499"/>
                  <a:pt x="2317131" y="907941"/>
                </a:cubicBezTo>
                <a:cubicBezTo>
                  <a:pt x="2322095" y="910420"/>
                  <a:pt x="2324580" y="910420"/>
                  <a:pt x="2327060" y="912902"/>
                </a:cubicBezTo>
                <a:cubicBezTo>
                  <a:pt x="2324580" y="912902"/>
                  <a:pt x="2324580" y="915384"/>
                  <a:pt x="2324580" y="915384"/>
                </a:cubicBezTo>
                <a:cubicBezTo>
                  <a:pt x="2279900" y="932748"/>
                  <a:pt x="2235223" y="952594"/>
                  <a:pt x="2190545" y="969958"/>
                </a:cubicBezTo>
                <a:cubicBezTo>
                  <a:pt x="2188064" y="969958"/>
                  <a:pt x="2188064" y="972440"/>
                  <a:pt x="2185581" y="972440"/>
                </a:cubicBezTo>
                <a:cubicBezTo>
                  <a:pt x="2185581" y="977401"/>
                  <a:pt x="2180615" y="982362"/>
                  <a:pt x="2178135" y="987325"/>
                </a:cubicBezTo>
                <a:cubicBezTo>
                  <a:pt x="2173171" y="994765"/>
                  <a:pt x="2168207" y="1004687"/>
                  <a:pt x="2168207" y="1012132"/>
                </a:cubicBezTo>
                <a:cubicBezTo>
                  <a:pt x="2173171" y="1009650"/>
                  <a:pt x="2178135" y="1007171"/>
                  <a:pt x="2183100" y="1004687"/>
                </a:cubicBezTo>
                <a:cubicBezTo>
                  <a:pt x="2185581" y="1002208"/>
                  <a:pt x="2190545" y="999726"/>
                  <a:pt x="2195508" y="997247"/>
                </a:cubicBezTo>
                <a:cubicBezTo>
                  <a:pt x="2197992" y="997247"/>
                  <a:pt x="2197992" y="994765"/>
                  <a:pt x="2200472" y="994765"/>
                </a:cubicBezTo>
                <a:cubicBezTo>
                  <a:pt x="2205438" y="992286"/>
                  <a:pt x="2210402" y="989804"/>
                  <a:pt x="2215366" y="987325"/>
                </a:cubicBezTo>
                <a:cubicBezTo>
                  <a:pt x="2217849" y="987325"/>
                  <a:pt x="2217849" y="984841"/>
                  <a:pt x="2220329" y="984841"/>
                </a:cubicBezTo>
                <a:cubicBezTo>
                  <a:pt x="2225295" y="982362"/>
                  <a:pt x="2230259" y="979880"/>
                  <a:pt x="2235223" y="977401"/>
                </a:cubicBezTo>
                <a:cubicBezTo>
                  <a:pt x="2269973" y="950112"/>
                  <a:pt x="2312167" y="942670"/>
                  <a:pt x="2349401" y="922824"/>
                </a:cubicBezTo>
                <a:cubicBezTo>
                  <a:pt x="2351881" y="920345"/>
                  <a:pt x="2354362" y="920345"/>
                  <a:pt x="2356845" y="917863"/>
                </a:cubicBezTo>
                <a:cubicBezTo>
                  <a:pt x="2364294" y="912902"/>
                  <a:pt x="2371738" y="910420"/>
                  <a:pt x="2379183" y="905462"/>
                </a:cubicBezTo>
                <a:close/>
                <a:moveTo>
                  <a:pt x="2391595" y="885616"/>
                </a:moveTo>
                <a:cubicBezTo>
                  <a:pt x="2390353" y="880653"/>
                  <a:pt x="2389732" y="878173"/>
                  <a:pt x="2387561" y="878793"/>
                </a:cubicBezTo>
                <a:cubicBezTo>
                  <a:pt x="2385389" y="879413"/>
                  <a:pt x="2381666" y="883135"/>
                  <a:pt x="2374222" y="890577"/>
                </a:cubicBezTo>
                <a:cubicBezTo>
                  <a:pt x="2381666" y="888095"/>
                  <a:pt x="2386631" y="885616"/>
                  <a:pt x="2391595" y="885616"/>
                </a:cubicBezTo>
                <a:close/>
                <a:moveTo>
                  <a:pt x="2411452" y="1074149"/>
                </a:moveTo>
                <a:cubicBezTo>
                  <a:pt x="2408969" y="1074149"/>
                  <a:pt x="2406488" y="1071667"/>
                  <a:pt x="2404004" y="1071667"/>
                </a:cubicBezTo>
                <a:cubicBezTo>
                  <a:pt x="2401523" y="1074149"/>
                  <a:pt x="2396559" y="1076628"/>
                  <a:pt x="2394079" y="1079110"/>
                </a:cubicBezTo>
                <a:cubicBezTo>
                  <a:pt x="2394079" y="1079110"/>
                  <a:pt x="2394079" y="1081589"/>
                  <a:pt x="2394079" y="1081589"/>
                </a:cubicBezTo>
                <a:cubicBezTo>
                  <a:pt x="2399043" y="1079110"/>
                  <a:pt x="2406488" y="1076628"/>
                  <a:pt x="2411452" y="1074149"/>
                </a:cubicBezTo>
                <a:close/>
                <a:moveTo>
                  <a:pt x="2441237" y="1061743"/>
                </a:moveTo>
                <a:cubicBezTo>
                  <a:pt x="2428826" y="1059264"/>
                  <a:pt x="2423865" y="1064226"/>
                  <a:pt x="2416416" y="1071667"/>
                </a:cubicBezTo>
                <a:cubicBezTo>
                  <a:pt x="2416416" y="1071667"/>
                  <a:pt x="2416416" y="1071667"/>
                  <a:pt x="2418897" y="1071667"/>
                </a:cubicBezTo>
                <a:cubicBezTo>
                  <a:pt x="2423865" y="1076628"/>
                  <a:pt x="2418897" y="1079110"/>
                  <a:pt x="2416416" y="1081589"/>
                </a:cubicBezTo>
                <a:cubicBezTo>
                  <a:pt x="2416416" y="1081589"/>
                  <a:pt x="2413933" y="1084072"/>
                  <a:pt x="2413933" y="1084072"/>
                </a:cubicBezTo>
                <a:cubicBezTo>
                  <a:pt x="2423865" y="1079110"/>
                  <a:pt x="2433790" y="1074149"/>
                  <a:pt x="2441237" y="1061743"/>
                </a:cubicBezTo>
                <a:close/>
                <a:moveTo>
                  <a:pt x="2543004" y="885616"/>
                </a:moveTo>
                <a:cubicBezTo>
                  <a:pt x="2530592" y="890577"/>
                  <a:pt x="2518182" y="893056"/>
                  <a:pt x="2505774" y="895538"/>
                </a:cubicBezTo>
                <a:cubicBezTo>
                  <a:pt x="2503289" y="895538"/>
                  <a:pt x="2500806" y="900499"/>
                  <a:pt x="2500806" y="907941"/>
                </a:cubicBezTo>
                <a:cubicBezTo>
                  <a:pt x="2510738" y="902978"/>
                  <a:pt x="2523146" y="900499"/>
                  <a:pt x="2533075" y="895538"/>
                </a:cubicBezTo>
                <a:cubicBezTo>
                  <a:pt x="2538039" y="893056"/>
                  <a:pt x="2540520" y="888095"/>
                  <a:pt x="2543004" y="885616"/>
                </a:cubicBezTo>
                <a:close/>
                <a:moveTo>
                  <a:pt x="2555413" y="783907"/>
                </a:moveTo>
                <a:cubicBezTo>
                  <a:pt x="2545484" y="781424"/>
                  <a:pt x="2538039" y="786386"/>
                  <a:pt x="2528111" y="791347"/>
                </a:cubicBezTo>
                <a:cubicBezTo>
                  <a:pt x="2528111" y="791347"/>
                  <a:pt x="2530592" y="791347"/>
                  <a:pt x="2530592" y="791347"/>
                </a:cubicBezTo>
                <a:cubicBezTo>
                  <a:pt x="2535558" y="791347"/>
                  <a:pt x="2543004" y="791347"/>
                  <a:pt x="2547968" y="788868"/>
                </a:cubicBezTo>
                <a:cubicBezTo>
                  <a:pt x="2550449" y="786386"/>
                  <a:pt x="2552932" y="786386"/>
                  <a:pt x="2555413" y="783907"/>
                </a:cubicBezTo>
                <a:close/>
                <a:moveTo>
                  <a:pt x="2557896" y="1017093"/>
                </a:moveTo>
                <a:cubicBezTo>
                  <a:pt x="2557896" y="1017093"/>
                  <a:pt x="2555413" y="1017093"/>
                  <a:pt x="2555413" y="1017093"/>
                </a:cubicBezTo>
                <a:cubicBezTo>
                  <a:pt x="2550449" y="1022051"/>
                  <a:pt x="2545484" y="1024533"/>
                  <a:pt x="2540520" y="1029496"/>
                </a:cubicBezTo>
                <a:cubicBezTo>
                  <a:pt x="2543004" y="1029496"/>
                  <a:pt x="2547968" y="1027016"/>
                  <a:pt x="2552932" y="1027016"/>
                </a:cubicBezTo>
                <a:cubicBezTo>
                  <a:pt x="2555413" y="1027016"/>
                  <a:pt x="2555413" y="1024533"/>
                  <a:pt x="2557896" y="1017093"/>
                </a:cubicBezTo>
                <a:close/>
                <a:moveTo>
                  <a:pt x="2667419" y="796309"/>
                </a:moveTo>
                <a:cubicBezTo>
                  <a:pt x="2667729" y="794449"/>
                  <a:pt x="2667109" y="792588"/>
                  <a:pt x="2664627" y="791347"/>
                </a:cubicBezTo>
                <a:cubicBezTo>
                  <a:pt x="2662143" y="796308"/>
                  <a:pt x="2664627" y="798788"/>
                  <a:pt x="2664627" y="801270"/>
                </a:cubicBezTo>
                <a:cubicBezTo>
                  <a:pt x="2665867" y="800029"/>
                  <a:pt x="2667108" y="798169"/>
                  <a:pt x="2667419" y="796309"/>
                </a:cubicBezTo>
                <a:close/>
                <a:moveTo>
                  <a:pt x="2724198" y="905462"/>
                </a:moveTo>
                <a:cubicBezTo>
                  <a:pt x="2724198" y="907941"/>
                  <a:pt x="2724198" y="907941"/>
                  <a:pt x="2724198" y="910420"/>
                </a:cubicBezTo>
                <a:lnTo>
                  <a:pt x="2722937" y="907902"/>
                </a:lnTo>
                <a:lnTo>
                  <a:pt x="2723535" y="905462"/>
                </a:lnTo>
                <a:close/>
                <a:moveTo>
                  <a:pt x="2912837" y="719407"/>
                </a:moveTo>
                <a:cubicBezTo>
                  <a:pt x="2910353" y="721886"/>
                  <a:pt x="2910353" y="721886"/>
                  <a:pt x="2910353" y="721886"/>
                </a:cubicBezTo>
                <a:cubicBezTo>
                  <a:pt x="2910353" y="721886"/>
                  <a:pt x="2910353" y="724368"/>
                  <a:pt x="2910353" y="724368"/>
                </a:cubicBezTo>
                <a:cubicBezTo>
                  <a:pt x="2910353" y="724368"/>
                  <a:pt x="2912837" y="724368"/>
                  <a:pt x="2912837" y="724368"/>
                </a:cubicBezTo>
                <a:cubicBezTo>
                  <a:pt x="2912837" y="721886"/>
                  <a:pt x="2912837" y="721886"/>
                  <a:pt x="2912837" y="719407"/>
                </a:cubicBezTo>
                <a:close/>
                <a:moveTo>
                  <a:pt x="3642573" y="578006"/>
                </a:moveTo>
                <a:cubicBezTo>
                  <a:pt x="3640090" y="578006"/>
                  <a:pt x="3640090" y="575524"/>
                  <a:pt x="3640090" y="575524"/>
                </a:cubicBezTo>
                <a:cubicBezTo>
                  <a:pt x="3637609" y="575524"/>
                  <a:pt x="3635126" y="575524"/>
                  <a:pt x="3635126" y="578006"/>
                </a:cubicBezTo>
                <a:cubicBezTo>
                  <a:pt x="3635126" y="580485"/>
                  <a:pt x="3635126" y="582967"/>
                  <a:pt x="3630161" y="582967"/>
                </a:cubicBezTo>
                <a:cubicBezTo>
                  <a:pt x="3622716" y="580485"/>
                  <a:pt x="3620233" y="585450"/>
                  <a:pt x="3615269" y="587929"/>
                </a:cubicBezTo>
                <a:cubicBezTo>
                  <a:pt x="3612788" y="590409"/>
                  <a:pt x="3612788" y="595370"/>
                  <a:pt x="3617752" y="595370"/>
                </a:cubicBezTo>
                <a:cubicBezTo>
                  <a:pt x="3617752" y="597852"/>
                  <a:pt x="3620233" y="597852"/>
                  <a:pt x="3622716" y="597852"/>
                </a:cubicBezTo>
                <a:cubicBezTo>
                  <a:pt x="3625197" y="595370"/>
                  <a:pt x="3627680" y="595370"/>
                  <a:pt x="3630161" y="592891"/>
                </a:cubicBezTo>
                <a:cubicBezTo>
                  <a:pt x="3632641" y="590409"/>
                  <a:pt x="3637609" y="587929"/>
                  <a:pt x="3640090" y="585450"/>
                </a:cubicBezTo>
                <a:cubicBezTo>
                  <a:pt x="3640090" y="585450"/>
                  <a:pt x="3642573" y="582967"/>
                  <a:pt x="3642573" y="582967"/>
                </a:cubicBezTo>
                <a:cubicBezTo>
                  <a:pt x="3645054" y="580485"/>
                  <a:pt x="3645054" y="580485"/>
                  <a:pt x="3642573" y="578006"/>
                </a:cubicBezTo>
                <a:close/>
                <a:moveTo>
                  <a:pt x="4464146" y="756617"/>
                </a:moveTo>
                <a:cubicBezTo>
                  <a:pt x="4464146" y="756617"/>
                  <a:pt x="4464146" y="759099"/>
                  <a:pt x="4464146" y="759099"/>
                </a:cubicBezTo>
                <a:lnTo>
                  <a:pt x="4458015" y="757056"/>
                </a:lnTo>
                <a:lnTo>
                  <a:pt x="4457942" y="756617"/>
                </a:lnTo>
                <a:close/>
                <a:moveTo>
                  <a:pt x="4476558" y="622659"/>
                </a:moveTo>
                <a:cubicBezTo>
                  <a:pt x="4476558" y="622659"/>
                  <a:pt x="4474077" y="622659"/>
                  <a:pt x="4474077" y="625139"/>
                </a:cubicBezTo>
                <a:cubicBezTo>
                  <a:pt x="4471592" y="627622"/>
                  <a:pt x="4469109" y="627622"/>
                  <a:pt x="4466629" y="630101"/>
                </a:cubicBezTo>
                <a:cubicBezTo>
                  <a:pt x="4466629" y="627622"/>
                  <a:pt x="4469109" y="625139"/>
                  <a:pt x="4469109" y="625139"/>
                </a:cubicBezTo>
                <a:cubicBezTo>
                  <a:pt x="4471592" y="622659"/>
                  <a:pt x="4474077" y="622659"/>
                  <a:pt x="4476558" y="622659"/>
                </a:cubicBezTo>
                <a:close/>
                <a:moveTo>
                  <a:pt x="4482549" y="739239"/>
                </a:moveTo>
                <a:lnTo>
                  <a:pt x="4480900" y="744834"/>
                </a:lnTo>
                <a:cubicBezTo>
                  <a:pt x="4479659" y="746074"/>
                  <a:pt x="4477799" y="745454"/>
                  <a:pt x="4474077" y="744215"/>
                </a:cubicBezTo>
                <a:lnTo>
                  <a:pt x="4476872" y="741421"/>
                </a:lnTo>
                <a:close/>
                <a:moveTo>
                  <a:pt x="4523717" y="773984"/>
                </a:moveTo>
                <a:cubicBezTo>
                  <a:pt x="4523717" y="773984"/>
                  <a:pt x="4521236" y="771502"/>
                  <a:pt x="4521236" y="771502"/>
                </a:cubicBezTo>
                <a:cubicBezTo>
                  <a:pt x="4518752" y="771502"/>
                  <a:pt x="4516272" y="773984"/>
                  <a:pt x="4516272" y="773984"/>
                </a:cubicBezTo>
                <a:cubicBezTo>
                  <a:pt x="4516272" y="776463"/>
                  <a:pt x="4518752" y="776463"/>
                  <a:pt x="4518752" y="778945"/>
                </a:cubicBezTo>
                <a:cubicBezTo>
                  <a:pt x="4518752" y="778945"/>
                  <a:pt x="4521236" y="776463"/>
                  <a:pt x="4523717" y="773984"/>
                </a:cubicBezTo>
                <a:close/>
                <a:moveTo>
                  <a:pt x="4543574" y="816155"/>
                </a:moveTo>
                <a:cubicBezTo>
                  <a:pt x="4541093" y="813673"/>
                  <a:pt x="4538609" y="811194"/>
                  <a:pt x="4536129" y="811194"/>
                </a:cubicBezTo>
                <a:cubicBezTo>
                  <a:pt x="4536129" y="811194"/>
                  <a:pt x="4533644" y="816155"/>
                  <a:pt x="4536129" y="816155"/>
                </a:cubicBezTo>
                <a:cubicBezTo>
                  <a:pt x="4536129" y="818634"/>
                  <a:pt x="4538609" y="821116"/>
                  <a:pt x="4541093" y="823595"/>
                </a:cubicBezTo>
                <a:cubicBezTo>
                  <a:pt x="4541093" y="821116"/>
                  <a:pt x="4543574" y="818634"/>
                  <a:pt x="4543574" y="816155"/>
                </a:cubicBezTo>
                <a:close/>
                <a:moveTo>
                  <a:pt x="4546056" y="831039"/>
                </a:moveTo>
                <a:cubicBezTo>
                  <a:pt x="4541093" y="836001"/>
                  <a:pt x="4536129" y="838480"/>
                  <a:pt x="4531163" y="840962"/>
                </a:cubicBezTo>
                <a:lnTo>
                  <a:pt x="4525770" y="839423"/>
                </a:lnTo>
                <a:lnTo>
                  <a:pt x="4533644" y="833519"/>
                </a:lnTo>
                <a:lnTo>
                  <a:pt x="4542326" y="831039"/>
                </a:lnTo>
                <a:close/>
                <a:moveTo>
                  <a:pt x="4546056" y="707002"/>
                </a:moveTo>
                <a:cubicBezTo>
                  <a:pt x="4543574" y="709485"/>
                  <a:pt x="4538609" y="709485"/>
                  <a:pt x="4536129" y="711964"/>
                </a:cubicBezTo>
                <a:cubicBezTo>
                  <a:pt x="4536129" y="711964"/>
                  <a:pt x="4536129" y="709485"/>
                  <a:pt x="4533644" y="709485"/>
                </a:cubicBezTo>
                <a:cubicBezTo>
                  <a:pt x="4536129" y="704522"/>
                  <a:pt x="4541093" y="702040"/>
                  <a:pt x="4543574" y="702040"/>
                </a:cubicBezTo>
                <a:cubicBezTo>
                  <a:pt x="4543574" y="704522"/>
                  <a:pt x="4543574" y="704522"/>
                  <a:pt x="4546056" y="707002"/>
                </a:cubicBezTo>
                <a:close/>
                <a:moveTo>
                  <a:pt x="4555986" y="697082"/>
                </a:moveTo>
                <a:cubicBezTo>
                  <a:pt x="4553501" y="699561"/>
                  <a:pt x="4553501" y="702040"/>
                  <a:pt x="4551018" y="702040"/>
                </a:cubicBezTo>
                <a:cubicBezTo>
                  <a:pt x="4551018" y="702040"/>
                  <a:pt x="4548537" y="699561"/>
                  <a:pt x="4548537" y="699561"/>
                </a:cubicBezTo>
                <a:cubicBezTo>
                  <a:pt x="4551018" y="697082"/>
                  <a:pt x="4553501" y="697082"/>
                  <a:pt x="4553501" y="694600"/>
                </a:cubicBezTo>
                <a:cubicBezTo>
                  <a:pt x="4553501" y="694600"/>
                  <a:pt x="4555986" y="697082"/>
                  <a:pt x="4555986" y="697082"/>
                </a:cubicBezTo>
                <a:close/>
                <a:moveTo>
                  <a:pt x="4573359" y="813673"/>
                </a:moveTo>
                <a:cubicBezTo>
                  <a:pt x="4573359" y="816155"/>
                  <a:pt x="4573359" y="818634"/>
                  <a:pt x="4573359" y="818634"/>
                </a:cubicBezTo>
                <a:cubicBezTo>
                  <a:pt x="4570878" y="821116"/>
                  <a:pt x="4568394" y="821116"/>
                  <a:pt x="4565914" y="823595"/>
                </a:cubicBezTo>
                <a:cubicBezTo>
                  <a:pt x="4565914" y="823595"/>
                  <a:pt x="4565914" y="821116"/>
                  <a:pt x="4565914" y="821116"/>
                </a:cubicBezTo>
                <a:cubicBezTo>
                  <a:pt x="4565914" y="818634"/>
                  <a:pt x="4568394" y="816155"/>
                  <a:pt x="4573359" y="813673"/>
                </a:cubicBezTo>
                <a:close/>
                <a:moveTo>
                  <a:pt x="5169063" y="719407"/>
                </a:moveTo>
                <a:cubicBezTo>
                  <a:pt x="5164100" y="721886"/>
                  <a:pt x="5156651" y="724368"/>
                  <a:pt x="5151687" y="726847"/>
                </a:cubicBezTo>
                <a:cubicBezTo>
                  <a:pt x="5149206" y="729331"/>
                  <a:pt x="5146723" y="729331"/>
                  <a:pt x="5144243" y="731810"/>
                </a:cubicBezTo>
                <a:cubicBezTo>
                  <a:pt x="5144243" y="734292"/>
                  <a:pt x="5144243" y="734292"/>
                  <a:pt x="5144243" y="736771"/>
                </a:cubicBezTo>
                <a:cubicBezTo>
                  <a:pt x="5146723" y="736771"/>
                  <a:pt x="5149206" y="734292"/>
                  <a:pt x="5151687" y="734292"/>
                </a:cubicBezTo>
                <a:cubicBezTo>
                  <a:pt x="5159132" y="731810"/>
                  <a:pt x="5166580" y="731810"/>
                  <a:pt x="5169063" y="719407"/>
                </a:cubicBezTo>
                <a:close/>
                <a:moveTo>
                  <a:pt x="5169063" y="707002"/>
                </a:moveTo>
                <a:lnTo>
                  <a:pt x="5169062" y="707003"/>
                </a:lnTo>
                <a:lnTo>
                  <a:pt x="5169061" y="706999"/>
                </a:lnTo>
                <a:close/>
                <a:moveTo>
                  <a:pt x="5171544" y="707002"/>
                </a:moveTo>
                <a:cubicBezTo>
                  <a:pt x="5169063" y="709485"/>
                  <a:pt x="5169063" y="709485"/>
                  <a:pt x="5171544" y="711964"/>
                </a:cubicBezTo>
                <a:lnTo>
                  <a:pt x="5169682" y="710103"/>
                </a:lnTo>
                <a:lnTo>
                  <a:pt x="5169475" y="709072"/>
                </a:lnTo>
                <a:close/>
                <a:moveTo>
                  <a:pt x="5278274" y="664830"/>
                </a:moveTo>
                <a:cubicBezTo>
                  <a:pt x="5275794" y="664830"/>
                  <a:pt x="5273310" y="667314"/>
                  <a:pt x="5268346" y="667314"/>
                </a:cubicBezTo>
                <a:cubicBezTo>
                  <a:pt x="5270827" y="667314"/>
                  <a:pt x="5270827" y="669793"/>
                  <a:pt x="5270827" y="669793"/>
                </a:cubicBezTo>
                <a:cubicBezTo>
                  <a:pt x="5273310" y="669793"/>
                  <a:pt x="5275794" y="667314"/>
                  <a:pt x="5278274" y="664830"/>
                </a:cubicBezTo>
                <a:close/>
                <a:moveTo>
                  <a:pt x="5298132" y="627622"/>
                </a:moveTo>
                <a:cubicBezTo>
                  <a:pt x="5290686" y="632583"/>
                  <a:pt x="5285722" y="635062"/>
                  <a:pt x="5280758" y="637544"/>
                </a:cubicBezTo>
                <a:cubicBezTo>
                  <a:pt x="5280758" y="637544"/>
                  <a:pt x="5283239" y="640023"/>
                  <a:pt x="5283239" y="640023"/>
                </a:cubicBezTo>
                <a:cubicBezTo>
                  <a:pt x="5288203" y="637544"/>
                  <a:pt x="5295648" y="640023"/>
                  <a:pt x="5298132" y="627622"/>
                </a:cubicBezTo>
                <a:close/>
                <a:moveTo>
                  <a:pt x="5300612" y="677233"/>
                </a:moveTo>
                <a:cubicBezTo>
                  <a:pt x="5293167" y="674754"/>
                  <a:pt x="5290686" y="677233"/>
                  <a:pt x="5285722" y="687156"/>
                </a:cubicBezTo>
                <a:cubicBezTo>
                  <a:pt x="5293167" y="684676"/>
                  <a:pt x="5298132" y="682197"/>
                  <a:pt x="5300612" y="677233"/>
                </a:cubicBezTo>
                <a:close/>
                <a:moveTo>
                  <a:pt x="5310543" y="607776"/>
                </a:moveTo>
                <a:cubicBezTo>
                  <a:pt x="5310543" y="607776"/>
                  <a:pt x="5308060" y="607776"/>
                  <a:pt x="5308060" y="605293"/>
                </a:cubicBezTo>
                <a:cubicBezTo>
                  <a:pt x="5303096" y="607776"/>
                  <a:pt x="5300612" y="610255"/>
                  <a:pt x="5298132" y="612737"/>
                </a:cubicBezTo>
                <a:cubicBezTo>
                  <a:pt x="5305577" y="617698"/>
                  <a:pt x="5308060" y="612737"/>
                  <a:pt x="5310543" y="607776"/>
                </a:cubicBezTo>
                <a:close/>
                <a:moveTo>
                  <a:pt x="5317989" y="627622"/>
                </a:moveTo>
                <a:cubicBezTo>
                  <a:pt x="5315508" y="627622"/>
                  <a:pt x="5310543" y="630101"/>
                  <a:pt x="5308060" y="630101"/>
                </a:cubicBezTo>
                <a:cubicBezTo>
                  <a:pt x="5308060" y="630101"/>
                  <a:pt x="5308060" y="632583"/>
                  <a:pt x="5308060" y="632583"/>
                </a:cubicBezTo>
                <a:cubicBezTo>
                  <a:pt x="5310543" y="630101"/>
                  <a:pt x="5315508" y="630101"/>
                  <a:pt x="5317989" y="630101"/>
                </a:cubicBezTo>
                <a:cubicBezTo>
                  <a:pt x="5317989" y="627622"/>
                  <a:pt x="5317989" y="627622"/>
                  <a:pt x="5317989" y="627622"/>
                </a:cubicBezTo>
                <a:close/>
                <a:moveTo>
                  <a:pt x="5327917" y="729331"/>
                </a:moveTo>
                <a:cubicBezTo>
                  <a:pt x="5325434" y="726847"/>
                  <a:pt x="5322953" y="724368"/>
                  <a:pt x="5320469" y="721886"/>
                </a:cubicBezTo>
                <a:cubicBezTo>
                  <a:pt x="5315508" y="724368"/>
                  <a:pt x="5313024" y="724368"/>
                  <a:pt x="5310543" y="726847"/>
                </a:cubicBezTo>
                <a:cubicBezTo>
                  <a:pt x="5303096" y="731810"/>
                  <a:pt x="5293167" y="734292"/>
                  <a:pt x="5285722" y="739253"/>
                </a:cubicBezTo>
                <a:cubicBezTo>
                  <a:pt x="5295648" y="739253"/>
                  <a:pt x="5305577" y="739253"/>
                  <a:pt x="5315508" y="736771"/>
                </a:cubicBezTo>
                <a:cubicBezTo>
                  <a:pt x="5317989" y="734292"/>
                  <a:pt x="5322953" y="734292"/>
                  <a:pt x="5325434" y="731810"/>
                </a:cubicBezTo>
                <a:cubicBezTo>
                  <a:pt x="5327917" y="731810"/>
                  <a:pt x="5327917" y="729331"/>
                  <a:pt x="5327917" y="729331"/>
                </a:cubicBezTo>
                <a:close/>
                <a:moveTo>
                  <a:pt x="5347774" y="707002"/>
                </a:moveTo>
                <a:cubicBezTo>
                  <a:pt x="5345291" y="707002"/>
                  <a:pt x="5345291" y="707002"/>
                  <a:pt x="5342810" y="711964"/>
                </a:cubicBezTo>
                <a:cubicBezTo>
                  <a:pt x="5342810" y="711964"/>
                  <a:pt x="5340329" y="714446"/>
                  <a:pt x="5340329" y="714446"/>
                </a:cubicBezTo>
                <a:cubicBezTo>
                  <a:pt x="5347774" y="716925"/>
                  <a:pt x="5345291" y="704522"/>
                  <a:pt x="5347774" y="707002"/>
                </a:cubicBezTo>
                <a:close/>
                <a:moveTo>
                  <a:pt x="5380041" y="640023"/>
                </a:moveTo>
                <a:cubicBezTo>
                  <a:pt x="5377560" y="637544"/>
                  <a:pt x="5377560" y="637544"/>
                  <a:pt x="5377560" y="635062"/>
                </a:cubicBezTo>
                <a:cubicBezTo>
                  <a:pt x="5375076" y="635062"/>
                  <a:pt x="5372595" y="635062"/>
                  <a:pt x="5370112" y="635062"/>
                </a:cubicBezTo>
                <a:cubicBezTo>
                  <a:pt x="5367631" y="635062"/>
                  <a:pt x="5365148" y="640023"/>
                  <a:pt x="5362667" y="640023"/>
                </a:cubicBezTo>
                <a:cubicBezTo>
                  <a:pt x="5345291" y="637544"/>
                  <a:pt x="5337846" y="649947"/>
                  <a:pt x="5325434" y="657390"/>
                </a:cubicBezTo>
                <a:cubicBezTo>
                  <a:pt x="5320469" y="659869"/>
                  <a:pt x="5317989" y="664830"/>
                  <a:pt x="5313024" y="672275"/>
                </a:cubicBezTo>
                <a:cubicBezTo>
                  <a:pt x="5315508" y="674754"/>
                  <a:pt x="5315508" y="677233"/>
                  <a:pt x="5317989" y="679715"/>
                </a:cubicBezTo>
                <a:cubicBezTo>
                  <a:pt x="5322953" y="677233"/>
                  <a:pt x="5330398" y="674754"/>
                  <a:pt x="5335362" y="674754"/>
                </a:cubicBezTo>
                <a:cubicBezTo>
                  <a:pt x="5335362" y="674754"/>
                  <a:pt x="5337846" y="674754"/>
                  <a:pt x="5337846" y="674754"/>
                </a:cubicBezTo>
                <a:cubicBezTo>
                  <a:pt x="5337846" y="677233"/>
                  <a:pt x="5337846" y="677233"/>
                  <a:pt x="5337846" y="677233"/>
                </a:cubicBezTo>
                <a:cubicBezTo>
                  <a:pt x="5340329" y="677233"/>
                  <a:pt x="5340329" y="677233"/>
                  <a:pt x="5342810" y="679715"/>
                </a:cubicBezTo>
                <a:cubicBezTo>
                  <a:pt x="5342810" y="677233"/>
                  <a:pt x="5342810" y="674754"/>
                  <a:pt x="5342810" y="674754"/>
                </a:cubicBezTo>
                <a:cubicBezTo>
                  <a:pt x="5342810" y="667314"/>
                  <a:pt x="5345291" y="664830"/>
                  <a:pt x="5350255" y="662351"/>
                </a:cubicBezTo>
                <a:cubicBezTo>
                  <a:pt x="5360184" y="654908"/>
                  <a:pt x="5370112" y="647468"/>
                  <a:pt x="5380041" y="640023"/>
                </a:cubicBezTo>
                <a:close/>
                <a:moveTo>
                  <a:pt x="5389969" y="667314"/>
                </a:moveTo>
                <a:cubicBezTo>
                  <a:pt x="5377560" y="672275"/>
                  <a:pt x="5370112" y="677233"/>
                  <a:pt x="5360184" y="682197"/>
                </a:cubicBezTo>
                <a:cubicBezTo>
                  <a:pt x="5360184" y="687156"/>
                  <a:pt x="5360184" y="689639"/>
                  <a:pt x="5360184" y="694600"/>
                </a:cubicBezTo>
                <a:cubicBezTo>
                  <a:pt x="5360184" y="694600"/>
                  <a:pt x="5362667" y="694600"/>
                  <a:pt x="5362667" y="694600"/>
                </a:cubicBezTo>
                <a:cubicBezTo>
                  <a:pt x="5362667" y="694600"/>
                  <a:pt x="5360184" y="697082"/>
                  <a:pt x="5360184" y="697082"/>
                </a:cubicBezTo>
                <a:cubicBezTo>
                  <a:pt x="5360184" y="699561"/>
                  <a:pt x="5360184" y="699561"/>
                  <a:pt x="5360184" y="702040"/>
                </a:cubicBezTo>
                <a:cubicBezTo>
                  <a:pt x="5362667" y="704522"/>
                  <a:pt x="5362667" y="704522"/>
                  <a:pt x="5365148" y="704522"/>
                </a:cubicBezTo>
                <a:cubicBezTo>
                  <a:pt x="5367631" y="689639"/>
                  <a:pt x="5392452" y="689639"/>
                  <a:pt x="5389969" y="667314"/>
                </a:cubicBezTo>
                <a:close/>
                <a:moveTo>
                  <a:pt x="5417274" y="558160"/>
                </a:moveTo>
                <a:cubicBezTo>
                  <a:pt x="5409826" y="558160"/>
                  <a:pt x="5404862" y="555681"/>
                  <a:pt x="5404862" y="568084"/>
                </a:cubicBezTo>
                <a:cubicBezTo>
                  <a:pt x="5409826" y="563121"/>
                  <a:pt x="5412306" y="560642"/>
                  <a:pt x="5417274" y="558160"/>
                </a:cubicBezTo>
                <a:close/>
                <a:moveTo>
                  <a:pt x="5434647" y="647468"/>
                </a:moveTo>
                <a:cubicBezTo>
                  <a:pt x="5432163" y="649947"/>
                  <a:pt x="5427202" y="654908"/>
                  <a:pt x="5422238" y="657390"/>
                </a:cubicBezTo>
                <a:cubicBezTo>
                  <a:pt x="5432163" y="659869"/>
                  <a:pt x="5432163" y="659869"/>
                  <a:pt x="5434647" y="647468"/>
                </a:cubicBezTo>
                <a:close/>
                <a:moveTo>
                  <a:pt x="5442093" y="592891"/>
                </a:moveTo>
                <a:cubicBezTo>
                  <a:pt x="5442093" y="590409"/>
                  <a:pt x="5439612" y="590409"/>
                  <a:pt x="5439612" y="587930"/>
                </a:cubicBezTo>
                <a:cubicBezTo>
                  <a:pt x="5437127" y="587930"/>
                  <a:pt x="5434647" y="587930"/>
                  <a:pt x="5432163" y="590409"/>
                </a:cubicBezTo>
                <a:cubicBezTo>
                  <a:pt x="5419755" y="600331"/>
                  <a:pt x="5404862" y="610255"/>
                  <a:pt x="5392452" y="620177"/>
                </a:cubicBezTo>
                <a:cubicBezTo>
                  <a:pt x="5392452" y="620177"/>
                  <a:pt x="5392452" y="620177"/>
                  <a:pt x="5392452" y="622659"/>
                </a:cubicBezTo>
                <a:cubicBezTo>
                  <a:pt x="5392452" y="622659"/>
                  <a:pt x="5392452" y="627622"/>
                  <a:pt x="5389969" y="635062"/>
                </a:cubicBezTo>
                <a:cubicBezTo>
                  <a:pt x="5397417" y="630101"/>
                  <a:pt x="5402381" y="625139"/>
                  <a:pt x="5409826" y="620177"/>
                </a:cubicBezTo>
                <a:cubicBezTo>
                  <a:pt x="5407343" y="620177"/>
                  <a:pt x="5407343" y="622659"/>
                  <a:pt x="5404862" y="622659"/>
                </a:cubicBezTo>
                <a:cubicBezTo>
                  <a:pt x="5402381" y="620177"/>
                  <a:pt x="5402381" y="620177"/>
                  <a:pt x="5402381" y="617698"/>
                </a:cubicBezTo>
                <a:cubicBezTo>
                  <a:pt x="5407343" y="610255"/>
                  <a:pt x="5412306" y="610255"/>
                  <a:pt x="5419755" y="610255"/>
                </a:cubicBezTo>
                <a:cubicBezTo>
                  <a:pt x="5427202" y="605293"/>
                  <a:pt x="5434647" y="597852"/>
                  <a:pt x="5442093" y="592891"/>
                </a:cubicBezTo>
                <a:close/>
                <a:moveTo>
                  <a:pt x="5456984" y="635062"/>
                </a:moveTo>
                <a:cubicBezTo>
                  <a:pt x="5444576" y="635062"/>
                  <a:pt x="5439612" y="644984"/>
                  <a:pt x="5434647" y="649947"/>
                </a:cubicBezTo>
                <a:cubicBezTo>
                  <a:pt x="5437127" y="649947"/>
                  <a:pt x="5439612" y="652429"/>
                  <a:pt x="5444576" y="652429"/>
                </a:cubicBezTo>
                <a:cubicBezTo>
                  <a:pt x="5449540" y="647468"/>
                  <a:pt x="5452023" y="642505"/>
                  <a:pt x="5456984" y="635062"/>
                </a:cubicBezTo>
                <a:close/>
                <a:moveTo>
                  <a:pt x="5459469" y="607776"/>
                </a:moveTo>
                <a:cubicBezTo>
                  <a:pt x="5454505" y="604054"/>
                  <a:pt x="5452022" y="602193"/>
                  <a:pt x="5450470" y="601572"/>
                </a:cubicBezTo>
                <a:cubicBezTo>
                  <a:pt x="5448919" y="600952"/>
                  <a:pt x="5448298" y="601573"/>
                  <a:pt x="5447057" y="602813"/>
                </a:cubicBezTo>
                <a:cubicBezTo>
                  <a:pt x="5437127" y="610255"/>
                  <a:pt x="5429683" y="617698"/>
                  <a:pt x="5419755" y="625139"/>
                </a:cubicBezTo>
                <a:cubicBezTo>
                  <a:pt x="5407343" y="635062"/>
                  <a:pt x="5397417" y="647468"/>
                  <a:pt x="5377560" y="647468"/>
                </a:cubicBezTo>
                <a:cubicBezTo>
                  <a:pt x="5375076" y="647468"/>
                  <a:pt x="5372595" y="649947"/>
                  <a:pt x="5372595" y="652429"/>
                </a:cubicBezTo>
                <a:cubicBezTo>
                  <a:pt x="5372595" y="654908"/>
                  <a:pt x="5375076" y="657390"/>
                  <a:pt x="5377560" y="657390"/>
                </a:cubicBezTo>
                <a:cubicBezTo>
                  <a:pt x="5382520" y="657390"/>
                  <a:pt x="5387488" y="657390"/>
                  <a:pt x="5389969" y="654908"/>
                </a:cubicBezTo>
                <a:cubicBezTo>
                  <a:pt x="5404862" y="644984"/>
                  <a:pt x="5417274" y="635062"/>
                  <a:pt x="5432163" y="627622"/>
                </a:cubicBezTo>
                <a:cubicBezTo>
                  <a:pt x="5442093" y="620177"/>
                  <a:pt x="5449540" y="615216"/>
                  <a:pt x="5459469" y="607776"/>
                </a:cubicBezTo>
                <a:close/>
                <a:moveTo>
                  <a:pt x="5479326" y="530874"/>
                </a:moveTo>
                <a:cubicBezTo>
                  <a:pt x="5475602" y="524671"/>
                  <a:pt x="5473740" y="521570"/>
                  <a:pt x="5471568" y="521570"/>
                </a:cubicBezTo>
                <a:cubicBezTo>
                  <a:pt x="5469396" y="521570"/>
                  <a:pt x="5466914" y="524671"/>
                  <a:pt x="5461950" y="530874"/>
                </a:cubicBezTo>
                <a:cubicBezTo>
                  <a:pt x="5466914" y="530874"/>
                  <a:pt x="5471878" y="530874"/>
                  <a:pt x="5479326" y="530874"/>
                </a:cubicBezTo>
                <a:close/>
                <a:moveTo>
                  <a:pt x="5524001" y="488700"/>
                </a:moveTo>
                <a:cubicBezTo>
                  <a:pt x="5521521" y="491182"/>
                  <a:pt x="5519036" y="491182"/>
                  <a:pt x="5519036" y="491182"/>
                </a:cubicBezTo>
                <a:cubicBezTo>
                  <a:pt x="5516555" y="493661"/>
                  <a:pt x="5519036" y="496143"/>
                  <a:pt x="5516555" y="498623"/>
                </a:cubicBezTo>
                <a:cubicBezTo>
                  <a:pt x="5521521" y="496143"/>
                  <a:pt x="5524001" y="496143"/>
                  <a:pt x="5524001" y="493661"/>
                </a:cubicBezTo>
                <a:cubicBezTo>
                  <a:pt x="5526485" y="493661"/>
                  <a:pt x="5524001" y="491182"/>
                  <a:pt x="5524001" y="488700"/>
                </a:cubicBezTo>
                <a:close/>
                <a:moveTo>
                  <a:pt x="5538897" y="533353"/>
                </a:moveTo>
                <a:cubicBezTo>
                  <a:pt x="5528968" y="530874"/>
                  <a:pt x="5521521" y="538314"/>
                  <a:pt x="5514075" y="543276"/>
                </a:cubicBezTo>
                <a:cubicBezTo>
                  <a:pt x="5514075" y="543276"/>
                  <a:pt x="5516555" y="545759"/>
                  <a:pt x="5516555" y="545759"/>
                </a:cubicBezTo>
                <a:cubicBezTo>
                  <a:pt x="5524001" y="540796"/>
                  <a:pt x="5531449" y="535835"/>
                  <a:pt x="5538897" y="533353"/>
                </a:cubicBezTo>
                <a:close/>
                <a:moveTo>
                  <a:pt x="5541378" y="481258"/>
                </a:moveTo>
                <a:cubicBezTo>
                  <a:pt x="5541378" y="481258"/>
                  <a:pt x="5538897" y="478777"/>
                  <a:pt x="5538897" y="478777"/>
                </a:cubicBezTo>
                <a:cubicBezTo>
                  <a:pt x="5538897" y="478777"/>
                  <a:pt x="5536412" y="481258"/>
                  <a:pt x="5536412" y="486221"/>
                </a:cubicBezTo>
                <a:cubicBezTo>
                  <a:pt x="5538897" y="483738"/>
                  <a:pt x="5541378" y="481258"/>
                  <a:pt x="5541378" y="481258"/>
                </a:cubicBezTo>
                <a:close/>
                <a:moveTo>
                  <a:pt x="5554407" y="524982"/>
                </a:moveTo>
                <a:cubicBezTo>
                  <a:pt x="5554408" y="523431"/>
                  <a:pt x="5553788" y="522190"/>
                  <a:pt x="5551306" y="520950"/>
                </a:cubicBezTo>
                <a:cubicBezTo>
                  <a:pt x="5548822" y="520950"/>
                  <a:pt x="5546342" y="520950"/>
                  <a:pt x="5543858" y="520950"/>
                </a:cubicBezTo>
                <a:cubicBezTo>
                  <a:pt x="5543858" y="523430"/>
                  <a:pt x="5543858" y="525913"/>
                  <a:pt x="5543858" y="528392"/>
                </a:cubicBezTo>
                <a:cubicBezTo>
                  <a:pt x="5546342" y="530874"/>
                  <a:pt x="5548822" y="530874"/>
                  <a:pt x="5553786" y="530874"/>
                </a:cubicBezTo>
                <a:cubicBezTo>
                  <a:pt x="5553786" y="528393"/>
                  <a:pt x="5554407" y="526532"/>
                  <a:pt x="5554407" y="524982"/>
                </a:cubicBezTo>
                <a:close/>
                <a:moveTo>
                  <a:pt x="5603429" y="449011"/>
                </a:moveTo>
                <a:cubicBezTo>
                  <a:pt x="5573643" y="453970"/>
                  <a:pt x="5566199" y="461413"/>
                  <a:pt x="5566199" y="473818"/>
                </a:cubicBezTo>
                <a:cubicBezTo>
                  <a:pt x="5578607" y="466375"/>
                  <a:pt x="5591020" y="456451"/>
                  <a:pt x="5603429" y="449011"/>
                </a:cubicBezTo>
                <a:close/>
                <a:moveTo>
                  <a:pt x="5672928" y="401875"/>
                </a:moveTo>
                <a:cubicBezTo>
                  <a:pt x="5655552" y="406836"/>
                  <a:pt x="5643143" y="414280"/>
                  <a:pt x="5628250" y="419241"/>
                </a:cubicBezTo>
                <a:cubicBezTo>
                  <a:pt x="5623286" y="424204"/>
                  <a:pt x="5615841" y="429165"/>
                  <a:pt x="5608393" y="436605"/>
                </a:cubicBezTo>
                <a:cubicBezTo>
                  <a:pt x="5613357" y="439085"/>
                  <a:pt x="5615841" y="439085"/>
                  <a:pt x="5615841" y="439085"/>
                </a:cubicBezTo>
                <a:cubicBezTo>
                  <a:pt x="5630731" y="431644"/>
                  <a:pt x="5645627" y="424204"/>
                  <a:pt x="5658035" y="416760"/>
                </a:cubicBezTo>
                <a:cubicBezTo>
                  <a:pt x="5663000" y="414280"/>
                  <a:pt x="5667964" y="409319"/>
                  <a:pt x="5672928" y="401875"/>
                </a:cubicBezTo>
                <a:close/>
                <a:moveTo>
                  <a:pt x="5715123" y="384511"/>
                </a:moveTo>
                <a:cubicBezTo>
                  <a:pt x="5700234" y="384511"/>
                  <a:pt x="5692785" y="391952"/>
                  <a:pt x="5682857" y="401875"/>
                </a:cubicBezTo>
                <a:cubicBezTo>
                  <a:pt x="5682857" y="401875"/>
                  <a:pt x="5685338" y="404358"/>
                  <a:pt x="5685338" y="404358"/>
                </a:cubicBezTo>
                <a:cubicBezTo>
                  <a:pt x="5695266" y="396914"/>
                  <a:pt x="5705195" y="389473"/>
                  <a:pt x="5715123" y="384511"/>
                </a:cubicBezTo>
                <a:close/>
                <a:moveTo>
                  <a:pt x="5801996" y="362183"/>
                </a:moveTo>
                <a:cubicBezTo>
                  <a:pt x="5801996" y="362183"/>
                  <a:pt x="5797032" y="362183"/>
                  <a:pt x="5797032" y="362183"/>
                </a:cubicBezTo>
                <a:cubicBezTo>
                  <a:pt x="5794551" y="362183"/>
                  <a:pt x="5794551" y="364665"/>
                  <a:pt x="5794551" y="367144"/>
                </a:cubicBezTo>
                <a:cubicBezTo>
                  <a:pt x="5797032" y="369627"/>
                  <a:pt x="5799515" y="369627"/>
                  <a:pt x="5801996" y="369627"/>
                </a:cubicBezTo>
                <a:cubicBezTo>
                  <a:pt x="5801996" y="367144"/>
                  <a:pt x="5801996" y="364665"/>
                  <a:pt x="5801996" y="362183"/>
                </a:cubicBezTo>
                <a:close/>
                <a:moveTo>
                  <a:pt x="5856603" y="295205"/>
                </a:moveTo>
                <a:lnTo>
                  <a:pt x="5848621" y="301189"/>
                </a:lnTo>
                <a:lnTo>
                  <a:pt x="5846060" y="302033"/>
                </a:lnTo>
                <a:lnTo>
                  <a:pt x="5845683" y="301656"/>
                </a:lnTo>
                <a:lnTo>
                  <a:pt x="5853510" y="296441"/>
                </a:lnTo>
                <a:close/>
                <a:moveTo>
                  <a:pt x="5861567" y="344819"/>
                </a:moveTo>
                <a:cubicBezTo>
                  <a:pt x="5851639" y="349781"/>
                  <a:pt x="5846675" y="352261"/>
                  <a:pt x="5836746" y="357222"/>
                </a:cubicBezTo>
                <a:cubicBezTo>
                  <a:pt x="5851639" y="362183"/>
                  <a:pt x="5851639" y="362183"/>
                  <a:pt x="5861567" y="344819"/>
                </a:cubicBezTo>
                <a:close/>
                <a:moveTo>
                  <a:pt x="5881424" y="327452"/>
                </a:moveTo>
                <a:cubicBezTo>
                  <a:pt x="5873978" y="326213"/>
                  <a:pt x="5870255" y="325594"/>
                  <a:pt x="5868393" y="326524"/>
                </a:cubicBezTo>
                <a:cubicBezTo>
                  <a:pt x="5866532" y="327454"/>
                  <a:pt x="5866532" y="329935"/>
                  <a:pt x="5866532" y="334897"/>
                </a:cubicBezTo>
                <a:cubicBezTo>
                  <a:pt x="5871496" y="332417"/>
                  <a:pt x="5873979" y="329935"/>
                  <a:pt x="5881424" y="327452"/>
                </a:cubicBezTo>
                <a:close/>
                <a:moveTo>
                  <a:pt x="5898801" y="312571"/>
                </a:moveTo>
                <a:cubicBezTo>
                  <a:pt x="5893836" y="315051"/>
                  <a:pt x="5886389" y="317532"/>
                  <a:pt x="5881424" y="320012"/>
                </a:cubicBezTo>
                <a:cubicBezTo>
                  <a:pt x="5891353" y="324973"/>
                  <a:pt x="5898801" y="327452"/>
                  <a:pt x="5898801" y="312571"/>
                </a:cubicBezTo>
                <a:close/>
                <a:moveTo>
                  <a:pt x="6047726" y="292725"/>
                </a:moveTo>
                <a:cubicBezTo>
                  <a:pt x="6040277" y="292725"/>
                  <a:pt x="6037797" y="297687"/>
                  <a:pt x="6037797" y="305127"/>
                </a:cubicBezTo>
                <a:cubicBezTo>
                  <a:pt x="6047726" y="302648"/>
                  <a:pt x="6047726" y="302648"/>
                  <a:pt x="6047726" y="292725"/>
                </a:cubicBezTo>
                <a:close/>
                <a:moveTo>
                  <a:pt x="6067583" y="324973"/>
                </a:moveTo>
                <a:cubicBezTo>
                  <a:pt x="6055170" y="324973"/>
                  <a:pt x="6050207" y="332417"/>
                  <a:pt x="6045243" y="342337"/>
                </a:cubicBezTo>
                <a:cubicBezTo>
                  <a:pt x="6065100" y="339858"/>
                  <a:pt x="6065100" y="339858"/>
                  <a:pt x="6067583" y="324973"/>
                </a:cubicBezTo>
                <a:close/>
                <a:moveTo>
                  <a:pt x="6115982" y="355981"/>
                </a:moveTo>
                <a:lnTo>
                  <a:pt x="6114741" y="357222"/>
                </a:lnTo>
                <a:lnTo>
                  <a:pt x="6113842" y="355552"/>
                </a:lnTo>
                <a:lnTo>
                  <a:pt x="6114741" y="354742"/>
                </a:lnTo>
                <a:close/>
                <a:moveTo>
                  <a:pt x="6139562" y="419241"/>
                </a:moveTo>
                <a:cubicBezTo>
                  <a:pt x="6139562" y="416760"/>
                  <a:pt x="6137079" y="414280"/>
                  <a:pt x="6134599" y="411798"/>
                </a:cubicBezTo>
                <a:cubicBezTo>
                  <a:pt x="6134599" y="414280"/>
                  <a:pt x="6132115" y="414280"/>
                  <a:pt x="6132115" y="414280"/>
                </a:cubicBezTo>
                <a:cubicBezTo>
                  <a:pt x="6134599" y="416760"/>
                  <a:pt x="6134599" y="419241"/>
                  <a:pt x="6137079" y="421721"/>
                </a:cubicBezTo>
                <a:cubicBezTo>
                  <a:pt x="6137079" y="421721"/>
                  <a:pt x="6137079" y="421721"/>
                  <a:pt x="6139562" y="419241"/>
                </a:cubicBezTo>
                <a:close/>
                <a:moveTo>
                  <a:pt x="6151974" y="389473"/>
                </a:moveTo>
                <a:cubicBezTo>
                  <a:pt x="6151974" y="386993"/>
                  <a:pt x="6149492" y="384512"/>
                  <a:pt x="6144528" y="379550"/>
                </a:cubicBezTo>
                <a:cubicBezTo>
                  <a:pt x="6144528" y="386990"/>
                  <a:pt x="6144528" y="391952"/>
                  <a:pt x="6144528" y="399395"/>
                </a:cubicBezTo>
                <a:cubicBezTo>
                  <a:pt x="6149492" y="394434"/>
                  <a:pt x="6151974" y="391954"/>
                  <a:pt x="6151974" y="389473"/>
                </a:cubicBezTo>
                <a:close/>
                <a:moveTo>
                  <a:pt x="6154456" y="406836"/>
                </a:moveTo>
                <a:cubicBezTo>
                  <a:pt x="6154456" y="406836"/>
                  <a:pt x="6154456" y="409319"/>
                  <a:pt x="6154456" y="409319"/>
                </a:cubicBezTo>
                <a:cubicBezTo>
                  <a:pt x="6154456" y="411798"/>
                  <a:pt x="6149492" y="414280"/>
                  <a:pt x="6144528" y="416760"/>
                </a:cubicBezTo>
                <a:lnTo>
                  <a:pt x="6143493" y="414692"/>
                </a:lnTo>
                <a:lnTo>
                  <a:pt x="6143855" y="411075"/>
                </a:lnTo>
                <a:close/>
                <a:moveTo>
                  <a:pt x="6290971" y="977401"/>
                </a:moveTo>
                <a:cubicBezTo>
                  <a:pt x="6288488" y="979881"/>
                  <a:pt x="6286007" y="979881"/>
                  <a:pt x="6286007" y="982363"/>
                </a:cubicBezTo>
                <a:cubicBezTo>
                  <a:pt x="6286007" y="984842"/>
                  <a:pt x="6286007" y="984842"/>
                  <a:pt x="6286007" y="984842"/>
                </a:cubicBezTo>
                <a:cubicBezTo>
                  <a:pt x="6288488" y="982363"/>
                  <a:pt x="6288488" y="979881"/>
                  <a:pt x="6290971" y="977401"/>
                </a:cubicBezTo>
                <a:close/>
                <a:moveTo>
                  <a:pt x="6308966" y="994146"/>
                </a:moveTo>
                <a:cubicBezTo>
                  <a:pt x="6308966" y="991666"/>
                  <a:pt x="6307104" y="988564"/>
                  <a:pt x="6303380" y="984842"/>
                </a:cubicBezTo>
                <a:cubicBezTo>
                  <a:pt x="6298416" y="989804"/>
                  <a:pt x="6293452" y="992286"/>
                  <a:pt x="6288488" y="997247"/>
                </a:cubicBezTo>
                <a:cubicBezTo>
                  <a:pt x="6286007" y="999727"/>
                  <a:pt x="6283523" y="1002209"/>
                  <a:pt x="6281042" y="1002209"/>
                </a:cubicBezTo>
                <a:cubicBezTo>
                  <a:pt x="6271114" y="1002209"/>
                  <a:pt x="6266150" y="1004688"/>
                  <a:pt x="6261185" y="1009650"/>
                </a:cubicBezTo>
                <a:cubicBezTo>
                  <a:pt x="6243809" y="1024534"/>
                  <a:pt x="6223956" y="1036937"/>
                  <a:pt x="6204099" y="1051821"/>
                </a:cubicBezTo>
                <a:cubicBezTo>
                  <a:pt x="6199133" y="1054303"/>
                  <a:pt x="6196650" y="1059264"/>
                  <a:pt x="6194170" y="1061744"/>
                </a:cubicBezTo>
                <a:cubicBezTo>
                  <a:pt x="6204099" y="1061744"/>
                  <a:pt x="6209063" y="1056785"/>
                  <a:pt x="6216507" y="1051821"/>
                </a:cubicBezTo>
                <a:cubicBezTo>
                  <a:pt x="6218988" y="1054303"/>
                  <a:pt x="6218988" y="1056785"/>
                  <a:pt x="6221471" y="1059264"/>
                </a:cubicBezTo>
                <a:cubicBezTo>
                  <a:pt x="6226436" y="1056785"/>
                  <a:pt x="6233884" y="1054303"/>
                  <a:pt x="6231400" y="1046859"/>
                </a:cubicBezTo>
                <a:cubicBezTo>
                  <a:pt x="6228920" y="1044380"/>
                  <a:pt x="6231400" y="1039418"/>
                  <a:pt x="6233884" y="1039418"/>
                </a:cubicBezTo>
                <a:cubicBezTo>
                  <a:pt x="6246293" y="1031978"/>
                  <a:pt x="6258705" y="1024534"/>
                  <a:pt x="6271114" y="1017093"/>
                </a:cubicBezTo>
                <a:cubicBezTo>
                  <a:pt x="6283523" y="1012132"/>
                  <a:pt x="6293452" y="1007171"/>
                  <a:pt x="6303380" y="999727"/>
                </a:cubicBezTo>
                <a:cubicBezTo>
                  <a:pt x="6307104" y="998487"/>
                  <a:pt x="6308966" y="996627"/>
                  <a:pt x="6308966" y="994146"/>
                </a:cubicBezTo>
                <a:close/>
                <a:moveTo>
                  <a:pt x="6310391" y="635936"/>
                </a:moveTo>
                <a:lnTo>
                  <a:pt x="6305864" y="644984"/>
                </a:lnTo>
                <a:cubicBezTo>
                  <a:pt x="6305864" y="644984"/>
                  <a:pt x="6303380" y="642505"/>
                  <a:pt x="6303380" y="642505"/>
                </a:cubicBezTo>
                <a:lnTo>
                  <a:pt x="6307112" y="638775"/>
                </a:lnTo>
                <a:close/>
                <a:moveTo>
                  <a:pt x="6407630" y="1267645"/>
                </a:moveTo>
                <a:cubicBezTo>
                  <a:pt x="6405146" y="1267645"/>
                  <a:pt x="6405146" y="1265165"/>
                  <a:pt x="6405146" y="1265165"/>
                </a:cubicBezTo>
                <a:cubicBezTo>
                  <a:pt x="6402665" y="1267645"/>
                  <a:pt x="6400182" y="1270124"/>
                  <a:pt x="6397701" y="1270124"/>
                </a:cubicBezTo>
                <a:cubicBezTo>
                  <a:pt x="6400182" y="1270124"/>
                  <a:pt x="6400182" y="1272606"/>
                  <a:pt x="6400182" y="1272606"/>
                </a:cubicBezTo>
                <a:cubicBezTo>
                  <a:pt x="6402665" y="1270124"/>
                  <a:pt x="6405146" y="1270124"/>
                  <a:pt x="6407630" y="1267645"/>
                </a:cubicBezTo>
                <a:close/>
                <a:moveTo>
                  <a:pt x="6737748" y="803753"/>
                </a:moveTo>
                <a:cubicBezTo>
                  <a:pt x="6735265" y="806232"/>
                  <a:pt x="6732785" y="806232"/>
                  <a:pt x="6730304" y="808714"/>
                </a:cubicBezTo>
                <a:cubicBezTo>
                  <a:pt x="6730304" y="808714"/>
                  <a:pt x="6730304" y="808714"/>
                  <a:pt x="6727821" y="806232"/>
                </a:cubicBezTo>
                <a:cubicBezTo>
                  <a:pt x="6730304" y="806232"/>
                  <a:pt x="6732785" y="803753"/>
                  <a:pt x="6735265" y="801270"/>
                </a:cubicBezTo>
                <a:cubicBezTo>
                  <a:pt x="6735265" y="801270"/>
                  <a:pt x="6737748" y="803753"/>
                  <a:pt x="6737748" y="803753"/>
                </a:cubicBezTo>
                <a:close/>
                <a:moveTo>
                  <a:pt x="6799800" y="1126244"/>
                </a:moveTo>
                <a:cubicBezTo>
                  <a:pt x="6787392" y="1128726"/>
                  <a:pt x="6777463" y="1133684"/>
                  <a:pt x="6777463" y="1146090"/>
                </a:cubicBezTo>
                <a:cubicBezTo>
                  <a:pt x="6777463" y="1146090"/>
                  <a:pt x="6779943" y="1148568"/>
                  <a:pt x="6779943" y="1148568"/>
                </a:cubicBezTo>
                <a:cubicBezTo>
                  <a:pt x="6782426" y="1143611"/>
                  <a:pt x="6787392" y="1138648"/>
                  <a:pt x="6789872" y="1133684"/>
                </a:cubicBezTo>
                <a:cubicBezTo>
                  <a:pt x="6789872" y="1131205"/>
                  <a:pt x="6794836" y="1128726"/>
                  <a:pt x="6799800" y="1126244"/>
                </a:cubicBezTo>
                <a:close/>
                <a:moveTo>
                  <a:pt x="6829586" y="1096474"/>
                </a:moveTo>
                <a:cubicBezTo>
                  <a:pt x="6819657" y="1096474"/>
                  <a:pt x="6809729" y="1101436"/>
                  <a:pt x="6807249" y="1111359"/>
                </a:cubicBezTo>
                <a:cubicBezTo>
                  <a:pt x="6809729" y="1113841"/>
                  <a:pt x="6812213" y="1116320"/>
                  <a:pt x="6814693" y="1118802"/>
                </a:cubicBezTo>
                <a:cubicBezTo>
                  <a:pt x="6822138" y="1113841"/>
                  <a:pt x="6827102" y="1106397"/>
                  <a:pt x="6829586" y="1096474"/>
                </a:cubicBezTo>
                <a:close/>
                <a:moveTo>
                  <a:pt x="6837034" y="979881"/>
                </a:moveTo>
                <a:cubicBezTo>
                  <a:pt x="6837034" y="979881"/>
                  <a:pt x="6834550" y="977401"/>
                  <a:pt x="6834550" y="977401"/>
                </a:cubicBezTo>
                <a:cubicBezTo>
                  <a:pt x="6832067" y="979881"/>
                  <a:pt x="6832067" y="979881"/>
                  <a:pt x="6829586" y="982363"/>
                </a:cubicBezTo>
                <a:cubicBezTo>
                  <a:pt x="6832067" y="982363"/>
                  <a:pt x="6834550" y="984842"/>
                  <a:pt x="6834550" y="982363"/>
                </a:cubicBezTo>
                <a:cubicBezTo>
                  <a:pt x="6834550" y="982363"/>
                  <a:pt x="6837034" y="982363"/>
                  <a:pt x="6837034" y="979881"/>
                </a:cubicBezTo>
                <a:close/>
                <a:moveTo>
                  <a:pt x="6873375" y="746555"/>
                </a:moveTo>
                <a:lnTo>
                  <a:pt x="6873375" y="772748"/>
                </a:lnTo>
                <a:lnTo>
                  <a:pt x="6869300" y="776463"/>
                </a:lnTo>
                <a:lnTo>
                  <a:pt x="6873375" y="776463"/>
                </a:lnTo>
                <a:lnTo>
                  <a:pt x="6873375" y="823595"/>
                </a:lnTo>
                <a:lnTo>
                  <a:pt x="6861852" y="823595"/>
                </a:lnTo>
                <a:cubicBezTo>
                  <a:pt x="6861852" y="828558"/>
                  <a:pt x="6864335" y="833519"/>
                  <a:pt x="6866816" y="840962"/>
                </a:cubicBezTo>
                <a:lnTo>
                  <a:pt x="6873375" y="834441"/>
                </a:lnTo>
                <a:lnTo>
                  <a:pt x="6873375" y="863520"/>
                </a:lnTo>
                <a:lnTo>
                  <a:pt x="6866816" y="870731"/>
                </a:lnTo>
                <a:cubicBezTo>
                  <a:pt x="6864335" y="875693"/>
                  <a:pt x="6856888" y="880654"/>
                  <a:pt x="6851924" y="883133"/>
                </a:cubicBezTo>
                <a:cubicBezTo>
                  <a:pt x="6834550" y="895538"/>
                  <a:pt x="6822138" y="910421"/>
                  <a:pt x="6812213" y="932748"/>
                </a:cubicBezTo>
                <a:cubicBezTo>
                  <a:pt x="6819657" y="927787"/>
                  <a:pt x="6827102" y="922825"/>
                  <a:pt x="6834550" y="920346"/>
                </a:cubicBezTo>
                <a:cubicBezTo>
                  <a:pt x="6844478" y="917864"/>
                  <a:pt x="6851924" y="915384"/>
                  <a:pt x="6851924" y="900500"/>
                </a:cubicBezTo>
                <a:cubicBezTo>
                  <a:pt x="6854407" y="902979"/>
                  <a:pt x="6854407" y="902979"/>
                  <a:pt x="6856888" y="902979"/>
                </a:cubicBezTo>
                <a:cubicBezTo>
                  <a:pt x="6856888" y="900500"/>
                  <a:pt x="6854407" y="898018"/>
                  <a:pt x="6854407" y="895538"/>
                </a:cubicBezTo>
                <a:cubicBezTo>
                  <a:pt x="6859371" y="888095"/>
                  <a:pt x="6861852" y="883133"/>
                  <a:pt x="6866816" y="878172"/>
                </a:cubicBezTo>
                <a:lnTo>
                  <a:pt x="6873375" y="873257"/>
                </a:lnTo>
                <a:lnTo>
                  <a:pt x="6873375" y="4439277"/>
                </a:lnTo>
                <a:lnTo>
                  <a:pt x="0" y="4439277"/>
                </a:lnTo>
                <a:lnTo>
                  <a:pt x="0" y="2283995"/>
                </a:lnTo>
                <a:lnTo>
                  <a:pt x="16229" y="2264891"/>
                </a:lnTo>
                <a:lnTo>
                  <a:pt x="0" y="2275766"/>
                </a:lnTo>
                <a:lnTo>
                  <a:pt x="0" y="1652065"/>
                </a:lnTo>
                <a:lnTo>
                  <a:pt x="11574" y="1641921"/>
                </a:lnTo>
                <a:cubicBezTo>
                  <a:pt x="18090" y="1636649"/>
                  <a:pt x="24916" y="1632308"/>
                  <a:pt x="33603" y="1629827"/>
                </a:cubicBezTo>
                <a:cubicBezTo>
                  <a:pt x="36086" y="1629827"/>
                  <a:pt x="41047" y="1624869"/>
                  <a:pt x="43530" y="1622385"/>
                </a:cubicBezTo>
                <a:cubicBezTo>
                  <a:pt x="70832" y="1600060"/>
                  <a:pt x="88210" y="1552925"/>
                  <a:pt x="117995" y="1533079"/>
                </a:cubicBezTo>
                <a:cubicBezTo>
                  <a:pt x="145296" y="1515715"/>
                  <a:pt x="167634" y="1488429"/>
                  <a:pt x="199903" y="1476023"/>
                </a:cubicBezTo>
                <a:cubicBezTo>
                  <a:pt x="209832" y="1471062"/>
                  <a:pt x="217277" y="1461139"/>
                  <a:pt x="224724" y="1453698"/>
                </a:cubicBezTo>
                <a:cubicBezTo>
                  <a:pt x="234653" y="1443776"/>
                  <a:pt x="244581" y="1433852"/>
                  <a:pt x="259474" y="1428891"/>
                </a:cubicBezTo>
                <a:cubicBezTo>
                  <a:pt x="289257" y="1418968"/>
                  <a:pt x="314078" y="1401601"/>
                  <a:pt x="341383" y="1384238"/>
                </a:cubicBezTo>
                <a:cubicBezTo>
                  <a:pt x="363721" y="1371835"/>
                  <a:pt x="386059" y="1356951"/>
                  <a:pt x="408399" y="1342066"/>
                </a:cubicBezTo>
                <a:cubicBezTo>
                  <a:pt x="438185" y="1324699"/>
                  <a:pt x="482863" y="1275085"/>
                  <a:pt x="512645" y="1257721"/>
                </a:cubicBezTo>
                <a:cubicBezTo>
                  <a:pt x="544915" y="1237875"/>
                  <a:pt x="577181" y="1220511"/>
                  <a:pt x="609447" y="1200665"/>
                </a:cubicBezTo>
                <a:cubicBezTo>
                  <a:pt x="619379" y="1195704"/>
                  <a:pt x="629308" y="1190742"/>
                  <a:pt x="639233" y="1183298"/>
                </a:cubicBezTo>
                <a:cubicBezTo>
                  <a:pt x="683911" y="1151051"/>
                  <a:pt x="733553" y="1123764"/>
                  <a:pt x="783196" y="1096474"/>
                </a:cubicBezTo>
                <a:cubicBezTo>
                  <a:pt x="790641" y="1091513"/>
                  <a:pt x="800570" y="1089034"/>
                  <a:pt x="805534" y="1081589"/>
                </a:cubicBezTo>
                <a:cubicBezTo>
                  <a:pt x="822910" y="1064226"/>
                  <a:pt x="842767" y="1054303"/>
                  <a:pt x="865105" y="1046859"/>
                </a:cubicBezTo>
                <a:cubicBezTo>
                  <a:pt x="884962" y="1039418"/>
                  <a:pt x="904819" y="1027016"/>
                  <a:pt x="922193" y="1017093"/>
                </a:cubicBezTo>
                <a:cubicBezTo>
                  <a:pt x="1011549" y="964996"/>
                  <a:pt x="1098423" y="977401"/>
                  <a:pt x="1190259" y="930269"/>
                </a:cubicBezTo>
                <a:cubicBezTo>
                  <a:pt x="1220046" y="915384"/>
                  <a:pt x="1249830" y="905462"/>
                  <a:pt x="1279617" y="890577"/>
                </a:cubicBezTo>
                <a:cubicBezTo>
                  <a:pt x="1309401" y="875692"/>
                  <a:pt x="1339188" y="858325"/>
                  <a:pt x="1371453" y="843441"/>
                </a:cubicBezTo>
                <a:cubicBezTo>
                  <a:pt x="1411165" y="823595"/>
                  <a:pt x="1453362" y="808714"/>
                  <a:pt x="1498041" y="801270"/>
                </a:cubicBezTo>
                <a:cubicBezTo>
                  <a:pt x="1503005" y="801270"/>
                  <a:pt x="1507969" y="801270"/>
                  <a:pt x="1510450" y="798788"/>
                </a:cubicBezTo>
                <a:cubicBezTo>
                  <a:pt x="1525343" y="786386"/>
                  <a:pt x="1545200" y="781424"/>
                  <a:pt x="1560093" y="771501"/>
                </a:cubicBezTo>
                <a:cubicBezTo>
                  <a:pt x="1587395" y="754137"/>
                  <a:pt x="1617179" y="741732"/>
                  <a:pt x="1646966" y="734291"/>
                </a:cubicBezTo>
                <a:cubicBezTo>
                  <a:pt x="1654413" y="734291"/>
                  <a:pt x="1661859" y="731809"/>
                  <a:pt x="1669306" y="729330"/>
                </a:cubicBezTo>
                <a:cubicBezTo>
                  <a:pt x="1694124" y="721886"/>
                  <a:pt x="1721430" y="716925"/>
                  <a:pt x="1743767" y="702040"/>
                </a:cubicBezTo>
                <a:cubicBezTo>
                  <a:pt x="1748731" y="699561"/>
                  <a:pt x="1751215" y="697081"/>
                  <a:pt x="1756179" y="697081"/>
                </a:cubicBezTo>
                <a:cubicBezTo>
                  <a:pt x="1790929" y="689638"/>
                  <a:pt x="1823195" y="682197"/>
                  <a:pt x="1857944" y="674754"/>
                </a:cubicBezTo>
                <a:cubicBezTo>
                  <a:pt x="1892694" y="667313"/>
                  <a:pt x="1924961" y="659869"/>
                  <a:pt x="1957227" y="652428"/>
                </a:cubicBezTo>
                <a:cubicBezTo>
                  <a:pt x="1974603" y="647467"/>
                  <a:pt x="1989496" y="644984"/>
                  <a:pt x="2004389" y="642505"/>
                </a:cubicBezTo>
                <a:cubicBezTo>
                  <a:pt x="2011834" y="642505"/>
                  <a:pt x="2019279" y="640023"/>
                  <a:pt x="2026727" y="637544"/>
                </a:cubicBezTo>
                <a:cubicBezTo>
                  <a:pt x="2054029" y="625138"/>
                  <a:pt x="2083815" y="625138"/>
                  <a:pt x="2113600" y="635062"/>
                </a:cubicBezTo>
                <a:cubicBezTo>
                  <a:pt x="2123529" y="640023"/>
                  <a:pt x="2130974" y="635062"/>
                  <a:pt x="2138421" y="630101"/>
                </a:cubicBezTo>
                <a:cubicBezTo>
                  <a:pt x="2148350" y="632582"/>
                  <a:pt x="2158278" y="637544"/>
                  <a:pt x="2170690" y="642505"/>
                </a:cubicBezTo>
                <a:cubicBezTo>
                  <a:pt x="2170690" y="644984"/>
                  <a:pt x="2170690" y="644984"/>
                  <a:pt x="2170690" y="644984"/>
                </a:cubicBezTo>
                <a:cubicBezTo>
                  <a:pt x="2197992" y="630101"/>
                  <a:pt x="2225295" y="615216"/>
                  <a:pt x="2252599" y="602813"/>
                </a:cubicBezTo>
                <a:cubicBezTo>
                  <a:pt x="2302238" y="580485"/>
                  <a:pt x="2351882" y="558160"/>
                  <a:pt x="2401524" y="535835"/>
                </a:cubicBezTo>
                <a:cubicBezTo>
                  <a:pt x="2411453" y="530873"/>
                  <a:pt x="2421381" y="528392"/>
                  <a:pt x="2431310" y="525912"/>
                </a:cubicBezTo>
                <a:cubicBezTo>
                  <a:pt x="2436274" y="523429"/>
                  <a:pt x="2443718" y="525912"/>
                  <a:pt x="2443718" y="533353"/>
                </a:cubicBezTo>
                <a:cubicBezTo>
                  <a:pt x="2426346" y="540796"/>
                  <a:pt x="2406489" y="550717"/>
                  <a:pt x="2389112" y="560642"/>
                </a:cubicBezTo>
                <a:cubicBezTo>
                  <a:pt x="2371738" y="570565"/>
                  <a:pt x="2351881" y="580485"/>
                  <a:pt x="2334508" y="590409"/>
                </a:cubicBezTo>
                <a:cubicBezTo>
                  <a:pt x="2317131" y="600331"/>
                  <a:pt x="2297274" y="610255"/>
                  <a:pt x="2279900" y="620177"/>
                </a:cubicBezTo>
                <a:cubicBezTo>
                  <a:pt x="2287349" y="625138"/>
                  <a:pt x="2294794" y="622659"/>
                  <a:pt x="2299758" y="620177"/>
                </a:cubicBezTo>
                <a:cubicBezTo>
                  <a:pt x="2327060" y="605292"/>
                  <a:pt x="2354362" y="592891"/>
                  <a:pt x="2381666" y="578006"/>
                </a:cubicBezTo>
                <a:cubicBezTo>
                  <a:pt x="2426346" y="555681"/>
                  <a:pt x="2473504" y="538314"/>
                  <a:pt x="2520663" y="528392"/>
                </a:cubicBezTo>
                <a:cubicBezTo>
                  <a:pt x="2528112" y="525912"/>
                  <a:pt x="2535559" y="523429"/>
                  <a:pt x="2540520" y="525912"/>
                </a:cubicBezTo>
                <a:cubicBezTo>
                  <a:pt x="2545484" y="528392"/>
                  <a:pt x="2552932" y="530873"/>
                  <a:pt x="2557896" y="535835"/>
                </a:cubicBezTo>
                <a:cubicBezTo>
                  <a:pt x="2562862" y="540796"/>
                  <a:pt x="2572789" y="543275"/>
                  <a:pt x="2572789" y="553199"/>
                </a:cubicBezTo>
                <a:cubicBezTo>
                  <a:pt x="2572789" y="560642"/>
                  <a:pt x="2570306" y="565600"/>
                  <a:pt x="2570306" y="573045"/>
                </a:cubicBezTo>
                <a:cubicBezTo>
                  <a:pt x="2582718" y="568083"/>
                  <a:pt x="2592646" y="555681"/>
                  <a:pt x="2612504" y="555681"/>
                </a:cubicBezTo>
                <a:cubicBezTo>
                  <a:pt x="2572789" y="587929"/>
                  <a:pt x="2533075" y="605292"/>
                  <a:pt x="2495842" y="632582"/>
                </a:cubicBezTo>
                <a:cubicBezTo>
                  <a:pt x="2500806" y="637544"/>
                  <a:pt x="2505774" y="642505"/>
                  <a:pt x="2510738" y="647467"/>
                </a:cubicBezTo>
                <a:cubicBezTo>
                  <a:pt x="2513218" y="649946"/>
                  <a:pt x="2515699" y="649946"/>
                  <a:pt x="2518182" y="649946"/>
                </a:cubicBezTo>
                <a:cubicBezTo>
                  <a:pt x="2525627" y="649946"/>
                  <a:pt x="2535558" y="647467"/>
                  <a:pt x="2543004" y="644984"/>
                </a:cubicBezTo>
                <a:cubicBezTo>
                  <a:pt x="2585198" y="632582"/>
                  <a:pt x="2624913" y="620177"/>
                  <a:pt x="2667107" y="610255"/>
                </a:cubicBezTo>
                <a:cubicBezTo>
                  <a:pt x="2682000" y="605292"/>
                  <a:pt x="2699376" y="605292"/>
                  <a:pt x="2716750" y="602813"/>
                </a:cubicBezTo>
                <a:cubicBezTo>
                  <a:pt x="2721714" y="602813"/>
                  <a:pt x="2726679" y="605292"/>
                  <a:pt x="2736607" y="610255"/>
                </a:cubicBezTo>
                <a:cubicBezTo>
                  <a:pt x="2726679" y="615216"/>
                  <a:pt x="2719230" y="617698"/>
                  <a:pt x="2714266" y="620177"/>
                </a:cubicBezTo>
                <a:cubicBezTo>
                  <a:pt x="2647253" y="637544"/>
                  <a:pt x="2577751" y="657389"/>
                  <a:pt x="2508254" y="674754"/>
                </a:cubicBezTo>
                <a:cubicBezTo>
                  <a:pt x="2508254" y="674754"/>
                  <a:pt x="2505774" y="677233"/>
                  <a:pt x="2505774" y="677233"/>
                </a:cubicBezTo>
                <a:cubicBezTo>
                  <a:pt x="2508254" y="677233"/>
                  <a:pt x="2510738" y="677233"/>
                  <a:pt x="2510738" y="684676"/>
                </a:cubicBezTo>
                <a:cubicBezTo>
                  <a:pt x="2495842" y="689638"/>
                  <a:pt x="2483432" y="692118"/>
                  <a:pt x="2468540" y="697081"/>
                </a:cubicBezTo>
                <a:cubicBezTo>
                  <a:pt x="2473504" y="697081"/>
                  <a:pt x="2475987" y="699561"/>
                  <a:pt x="2480953" y="702040"/>
                </a:cubicBezTo>
                <a:cubicBezTo>
                  <a:pt x="2446203" y="714445"/>
                  <a:pt x="2416416" y="731809"/>
                  <a:pt x="2381666" y="736771"/>
                </a:cubicBezTo>
                <a:cubicBezTo>
                  <a:pt x="2396559" y="719407"/>
                  <a:pt x="2418897" y="711964"/>
                  <a:pt x="2438754" y="704522"/>
                </a:cubicBezTo>
                <a:cubicBezTo>
                  <a:pt x="2436273" y="707001"/>
                  <a:pt x="2431309" y="707001"/>
                  <a:pt x="2426346" y="709484"/>
                </a:cubicBezTo>
                <a:cubicBezTo>
                  <a:pt x="2406488" y="714445"/>
                  <a:pt x="2389112" y="721886"/>
                  <a:pt x="2371738" y="731809"/>
                </a:cubicBezTo>
                <a:cubicBezTo>
                  <a:pt x="2356845" y="739252"/>
                  <a:pt x="2341952" y="749176"/>
                  <a:pt x="2327060" y="754137"/>
                </a:cubicBezTo>
                <a:lnTo>
                  <a:pt x="2331397" y="777975"/>
                </a:lnTo>
                <a:lnTo>
                  <a:pt x="2319615" y="786386"/>
                </a:lnTo>
                <a:cubicBezTo>
                  <a:pt x="2309687" y="793829"/>
                  <a:pt x="2297274" y="803753"/>
                  <a:pt x="2284866" y="808714"/>
                </a:cubicBezTo>
                <a:cubicBezTo>
                  <a:pt x="2262528" y="818634"/>
                  <a:pt x="2242667" y="831039"/>
                  <a:pt x="2225295" y="840961"/>
                </a:cubicBezTo>
                <a:cubicBezTo>
                  <a:pt x="2227778" y="843441"/>
                  <a:pt x="2230259" y="848403"/>
                  <a:pt x="2230259" y="853364"/>
                </a:cubicBezTo>
                <a:cubicBezTo>
                  <a:pt x="2262528" y="838480"/>
                  <a:pt x="2292310" y="823595"/>
                  <a:pt x="2324580" y="811193"/>
                </a:cubicBezTo>
                <a:cubicBezTo>
                  <a:pt x="2327060" y="811193"/>
                  <a:pt x="2327060" y="808714"/>
                  <a:pt x="2329544" y="808714"/>
                </a:cubicBezTo>
                <a:cubicBezTo>
                  <a:pt x="2332026" y="803750"/>
                  <a:pt x="2333267" y="799408"/>
                  <a:pt x="2334197" y="794138"/>
                </a:cubicBezTo>
                <a:lnTo>
                  <a:pt x="2336245" y="779347"/>
                </a:lnTo>
                <a:lnTo>
                  <a:pt x="2393146" y="751345"/>
                </a:lnTo>
                <a:cubicBezTo>
                  <a:pt x="2413934" y="742973"/>
                  <a:pt x="2435032" y="735530"/>
                  <a:pt x="2456130" y="726847"/>
                </a:cubicBezTo>
                <a:cubicBezTo>
                  <a:pt x="2461094" y="724368"/>
                  <a:pt x="2468540" y="724368"/>
                  <a:pt x="2473504" y="719407"/>
                </a:cubicBezTo>
                <a:cubicBezTo>
                  <a:pt x="2495842" y="704522"/>
                  <a:pt x="2518182" y="697081"/>
                  <a:pt x="2543004" y="692118"/>
                </a:cubicBezTo>
                <a:cubicBezTo>
                  <a:pt x="2565341" y="687155"/>
                  <a:pt x="2590163" y="682197"/>
                  <a:pt x="2614984" y="674754"/>
                </a:cubicBezTo>
                <a:cubicBezTo>
                  <a:pt x="2632358" y="669792"/>
                  <a:pt x="2649734" y="664830"/>
                  <a:pt x="2664627" y="659869"/>
                </a:cubicBezTo>
                <a:cubicBezTo>
                  <a:pt x="2682000" y="654908"/>
                  <a:pt x="2699376" y="649946"/>
                  <a:pt x="2716750" y="649946"/>
                </a:cubicBezTo>
                <a:cubicBezTo>
                  <a:pt x="2721714" y="657389"/>
                  <a:pt x="2721714" y="662351"/>
                  <a:pt x="2716750" y="664830"/>
                </a:cubicBezTo>
                <a:cubicBezTo>
                  <a:pt x="2724198" y="667313"/>
                  <a:pt x="2729162" y="669792"/>
                  <a:pt x="2736607" y="669792"/>
                </a:cubicBezTo>
                <a:cubicBezTo>
                  <a:pt x="2744053" y="669792"/>
                  <a:pt x="2753980" y="664830"/>
                  <a:pt x="2763908" y="662351"/>
                </a:cubicBezTo>
                <a:cubicBezTo>
                  <a:pt x="2768874" y="664830"/>
                  <a:pt x="2776321" y="667313"/>
                  <a:pt x="2786250" y="672274"/>
                </a:cubicBezTo>
                <a:cubicBezTo>
                  <a:pt x="2781286" y="679715"/>
                  <a:pt x="2778801" y="682197"/>
                  <a:pt x="2773838" y="684676"/>
                </a:cubicBezTo>
                <a:cubicBezTo>
                  <a:pt x="2731643" y="704522"/>
                  <a:pt x="2689444" y="721886"/>
                  <a:pt x="2647253" y="741732"/>
                </a:cubicBezTo>
                <a:cubicBezTo>
                  <a:pt x="2637322" y="746693"/>
                  <a:pt x="2627392" y="756617"/>
                  <a:pt x="2614984" y="761578"/>
                </a:cubicBezTo>
                <a:cubicBezTo>
                  <a:pt x="2612503" y="764061"/>
                  <a:pt x="2607535" y="764061"/>
                  <a:pt x="2605055" y="766539"/>
                </a:cubicBezTo>
                <a:cubicBezTo>
                  <a:pt x="2612503" y="769022"/>
                  <a:pt x="2617467" y="769022"/>
                  <a:pt x="2624913" y="766539"/>
                </a:cubicBezTo>
                <a:cubicBezTo>
                  <a:pt x="2629877" y="764061"/>
                  <a:pt x="2634841" y="764061"/>
                  <a:pt x="2639805" y="764061"/>
                </a:cubicBezTo>
                <a:cubicBezTo>
                  <a:pt x="2652215" y="764061"/>
                  <a:pt x="2657179" y="771501"/>
                  <a:pt x="2652215" y="783907"/>
                </a:cubicBezTo>
                <a:cubicBezTo>
                  <a:pt x="2649734" y="786386"/>
                  <a:pt x="2647253" y="788868"/>
                  <a:pt x="2644770" y="791347"/>
                </a:cubicBezTo>
                <a:cubicBezTo>
                  <a:pt x="2644770" y="791347"/>
                  <a:pt x="2644770" y="793829"/>
                  <a:pt x="2644770" y="796308"/>
                </a:cubicBezTo>
                <a:cubicBezTo>
                  <a:pt x="2647253" y="793829"/>
                  <a:pt x="2652215" y="793829"/>
                  <a:pt x="2654698" y="791347"/>
                </a:cubicBezTo>
                <a:cubicBezTo>
                  <a:pt x="2654698" y="788868"/>
                  <a:pt x="2657179" y="783907"/>
                  <a:pt x="2659662" y="781424"/>
                </a:cubicBezTo>
                <a:cubicBezTo>
                  <a:pt x="2662143" y="776462"/>
                  <a:pt x="2672072" y="773983"/>
                  <a:pt x="2674555" y="778944"/>
                </a:cubicBezTo>
                <a:cubicBezTo>
                  <a:pt x="2679519" y="778944"/>
                  <a:pt x="2682000" y="776462"/>
                  <a:pt x="2686965" y="776462"/>
                </a:cubicBezTo>
                <a:cubicBezTo>
                  <a:pt x="2696893" y="773983"/>
                  <a:pt x="2709305" y="771501"/>
                  <a:pt x="2719230" y="766539"/>
                </a:cubicBezTo>
                <a:cubicBezTo>
                  <a:pt x="2758947" y="749176"/>
                  <a:pt x="2798658" y="731809"/>
                  <a:pt x="2838372" y="719407"/>
                </a:cubicBezTo>
                <a:cubicBezTo>
                  <a:pt x="2845821" y="716925"/>
                  <a:pt x="2853266" y="711964"/>
                  <a:pt x="2860710" y="707001"/>
                </a:cubicBezTo>
                <a:cubicBezTo>
                  <a:pt x="2878087" y="694599"/>
                  <a:pt x="2895460" y="682197"/>
                  <a:pt x="2912837" y="672274"/>
                </a:cubicBezTo>
                <a:cubicBezTo>
                  <a:pt x="2917801" y="667313"/>
                  <a:pt x="2927730" y="667313"/>
                  <a:pt x="2935174" y="667313"/>
                </a:cubicBezTo>
                <a:cubicBezTo>
                  <a:pt x="2937655" y="667313"/>
                  <a:pt x="2940138" y="669792"/>
                  <a:pt x="2940138" y="672274"/>
                </a:cubicBezTo>
                <a:cubicBezTo>
                  <a:pt x="2940138" y="674754"/>
                  <a:pt x="2940138" y="677233"/>
                  <a:pt x="2937655" y="679715"/>
                </a:cubicBezTo>
                <a:cubicBezTo>
                  <a:pt x="2930210" y="687155"/>
                  <a:pt x="2915317" y="684676"/>
                  <a:pt x="2915317" y="699561"/>
                </a:cubicBezTo>
                <a:cubicBezTo>
                  <a:pt x="2920281" y="709484"/>
                  <a:pt x="2927730" y="707001"/>
                  <a:pt x="2932694" y="704522"/>
                </a:cubicBezTo>
                <a:cubicBezTo>
                  <a:pt x="2962476" y="694599"/>
                  <a:pt x="2994745" y="687155"/>
                  <a:pt x="3027011" y="684676"/>
                </a:cubicBezTo>
                <a:cubicBezTo>
                  <a:pt x="2997226" y="694599"/>
                  <a:pt x="2969924" y="704522"/>
                  <a:pt x="2940138" y="714445"/>
                </a:cubicBezTo>
                <a:cubicBezTo>
                  <a:pt x="2927730" y="719407"/>
                  <a:pt x="2912837" y="721886"/>
                  <a:pt x="2902909" y="729330"/>
                </a:cubicBezTo>
                <a:cubicBezTo>
                  <a:pt x="2890496" y="736771"/>
                  <a:pt x="2878087" y="744215"/>
                  <a:pt x="2863195" y="746693"/>
                </a:cubicBezTo>
                <a:cubicBezTo>
                  <a:pt x="2853266" y="749176"/>
                  <a:pt x="2848302" y="756617"/>
                  <a:pt x="2835892" y="764061"/>
                </a:cubicBezTo>
                <a:cubicBezTo>
                  <a:pt x="2843336" y="766539"/>
                  <a:pt x="2848302" y="766539"/>
                  <a:pt x="2850782" y="766539"/>
                </a:cubicBezTo>
                <a:cubicBezTo>
                  <a:pt x="2870642" y="766539"/>
                  <a:pt x="2890496" y="749176"/>
                  <a:pt x="2912837" y="764061"/>
                </a:cubicBezTo>
                <a:cubicBezTo>
                  <a:pt x="2930210" y="759098"/>
                  <a:pt x="2947587" y="751655"/>
                  <a:pt x="2964960" y="746693"/>
                </a:cubicBezTo>
                <a:cubicBezTo>
                  <a:pt x="3014602" y="731809"/>
                  <a:pt x="3061761" y="716925"/>
                  <a:pt x="3111404" y="702040"/>
                </a:cubicBezTo>
                <a:cubicBezTo>
                  <a:pt x="3121332" y="699561"/>
                  <a:pt x="3131261" y="699561"/>
                  <a:pt x="3143670" y="697081"/>
                </a:cubicBezTo>
                <a:cubicBezTo>
                  <a:pt x="3141189" y="699561"/>
                  <a:pt x="3141189" y="704522"/>
                  <a:pt x="3138706" y="704522"/>
                </a:cubicBezTo>
                <a:cubicBezTo>
                  <a:pt x="3106439" y="721886"/>
                  <a:pt x="3079135" y="744215"/>
                  <a:pt x="3046869" y="756617"/>
                </a:cubicBezTo>
                <a:cubicBezTo>
                  <a:pt x="3024532" y="764061"/>
                  <a:pt x="3002190" y="773983"/>
                  <a:pt x="2979852" y="781424"/>
                </a:cubicBezTo>
                <a:cubicBezTo>
                  <a:pt x="2925246" y="798788"/>
                  <a:pt x="2873123" y="821115"/>
                  <a:pt x="2818515" y="833518"/>
                </a:cubicBezTo>
                <a:cubicBezTo>
                  <a:pt x="2778801" y="843441"/>
                  <a:pt x="2741572" y="865770"/>
                  <a:pt x="2704341" y="878171"/>
                </a:cubicBezTo>
                <a:cubicBezTo>
                  <a:pt x="2706822" y="880653"/>
                  <a:pt x="2706822" y="885616"/>
                  <a:pt x="2706822" y="888095"/>
                </a:cubicBezTo>
                <a:lnTo>
                  <a:pt x="2721714" y="888095"/>
                </a:lnTo>
                <a:cubicBezTo>
                  <a:pt x="2719230" y="888095"/>
                  <a:pt x="2714266" y="888095"/>
                  <a:pt x="2711786" y="893056"/>
                </a:cubicBezTo>
                <a:cubicBezTo>
                  <a:pt x="2711786" y="895538"/>
                  <a:pt x="2714266" y="895538"/>
                  <a:pt x="2714266" y="898017"/>
                </a:cubicBezTo>
                <a:cubicBezTo>
                  <a:pt x="2716750" y="895538"/>
                  <a:pt x="2721714" y="895538"/>
                  <a:pt x="2724198" y="895538"/>
                </a:cubicBezTo>
                <a:cubicBezTo>
                  <a:pt x="2724198" y="893056"/>
                  <a:pt x="2724198" y="890577"/>
                  <a:pt x="2721714" y="888095"/>
                </a:cubicBezTo>
                <a:lnTo>
                  <a:pt x="2729162" y="888095"/>
                </a:lnTo>
                <a:cubicBezTo>
                  <a:pt x="2731643" y="888095"/>
                  <a:pt x="2731643" y="888095"/>
                  <a:pt x="2734126" y="890577"/>
                </a:cubicBezTo>
                <a:cubicBezTo>
                  <a:pt x="2730403" y="893057"/>
                  <a:pt x="2727300" y="895538"/>
                  <a:pt x="2725127" y="898948"/>
                </a:cubicBezTo>
                <a:lnTo>
                  <a:pt x="2723535" y="905462"/>
                </a:lnTo>
                <a:lnTo>
                  <a:pt x="2721714" y="905462"/>
                </a:lnTo>
                <a:lnTo>
                  <a:pt x="2722937" y="907902"/>
                </a:lnTo>
                <a:lnTo>
                  <a:pt x="2721714" y="912902"/>
                </a:lnTo>
                <a:cubicBezTo>
                  <a:pt x="2716750" y="910420"/>
                  <a:pt x="2709305" y="907941"/>
                  <a:pt x="2701857" y="902978"/>
                </a:cubicBezTo>
                <a:cubicBezTo>
                  <a:pt x="2699376" y="902978"/>
                  <a:pt x="2696893" y="905462"/>
                  <a:pt x="2694412" y="905462"/>
                </a:cubicBezTo>
                <a:cubicBezTo>
                  <a:pt x="2691929" y="910420"/>
                  <a:pt x="2691929" y="915384"/>
                  <a:pt x="2689444" y="920345"/>
                </a:cubicBezTo>
                <a:cubicBezTo>
                  <a:pt x="2679519" y="920345"/>
                  <a:pt x="2672072" y="920345"/>
                  <a:pt x="2667107" y="927787"/>
                </a:cubicBezTo>
                <a:cubicBezTo>
                  <a:pt x="2664627" y="932748"/>
                  <a:pt x="2659662" y="932748"/>
                  <a:pt x="2657179" y="930269"/>
                </a:cubicBezTo>
                <a:cubicBezTo>
                  <a:pt x="2657179" y="922824"/>
                  <a:pt x="2659662" y="912902"/>
                  <a:pt x="2659662" y="902978"/>
                </a:cubicBezTo>
                <a:cubicBezTo>
                  <a:pt x="2644770" y="907941"/>
                  <a:pt x="2632358" y="912902"/>
                  <a:pt x="2624913" y="925304"/>
                </a:cubicBezTo>
                <a:cubicBezTo>
                  <a:pt x="2629877" y="922824"/>
                  <a:pt x="2637322" y="917863"/>
                  <a:pt x="2642286" y="915384"/>
                </a:cubicBezTo>
                <a:cubicBezTo>
                  <a:pt x="2639805" y="930269"/>
                  <a:pt x="2634841" y="937709"/>
                  <a:pt x="2617467" y="935227"/>
                </a:cubicBezTo>
                <a:cubicBezTo>
                  <a:pt x="2610020" y="947633"/>
                  <a:pt x="2597610" y="960034"/>
                  <a:pt x="2585198" y="972440"/>
                </a:cubicBezTo>
                <a:cubicBezTo>
                  <a:pt x="2607535" y="964996"/>
                  <a:pt x="2629877" y="957555"/>
                  <a:pt x="2652215" y="950112"/>
                </a:cubicBezTo>
                <a:cubicBezTo>
                  <a:pt x="2649734" y="952594"/>
                  <a:pt x="2647253" y="957555"/>
                  <a:pt x="2642286" y="960034"/>
                </a:cubicBezTo>
                <a:cubicBezTo>
                  <a:pt x="2622432" y="969958"/>
                  <a:pt x="2600091" y="977401"/>
                  <a:pt x="2577751" y="987325"/>
                </a:cubicBezTo>
                <a:cubicBezTo>
                  <a:pt x="2570306" y="992286"/>
                  <a:pt x="2562861" y="994765"/>
                  <a:pt x="2552932" y="999726"/>
                </a:cubicBezTo>
                <a:cubicBezTo>
                  <a:pt x="2555413" y="1004687"/>
                  <a:pt x="2560377" y="1007171"/>
                  <a:pt x="2562861" y="1012132"/>
                </a:cubicBezTo>
                <a:cubicBezTo>
                  <a:pt x="2567825" y="1009650"/>
                  <a:pt x="2575270" y="1009650"/>
                  <a:pt x="2580234" y="1007171"/>
                </a:cubicBezTo>
                <a:cubicBezTo>
                  <a:pt x="2582718" y="1004687"/>
                  <a:pt x="2587682" y="1002208"/>
                  <a:pt x="2590163" y="999726"/>
                </a:cubicBezTo>
                <a:cubicBezTo>
                  <a:pt x="2605055" y="987325"/>
                  <a:pt x="2624913" y="987325"/>
                  <a:pt x="2642286" y="989804"/>
                </a:cubicBezTo>
                <a:cubicBezTo>
                  <a:pt x="2751500" y="962516"/>
                  <a:pt x="2863195" y="940188"/>
                  <a:pt x="2969924" y="902978"/>
                </a:cubicBezTo>
                <a:cubicBezTo>
                  <a:pt x="2974888" y="900499"/>
                  <a:pt x="2982336" y="900499"/>
                  <a:pt x="2989781" y="900499"/>
                </a:cubicBezTo>
                <a:cubicBezTo>
                  <a:pt x="2992262" y="900499"/>
                  <a:pt x="2992262" y="898017"/>
                  <a:pt x="2992262" y="898017"/>
                </a:cubicBezTo>
                <a:cubicBezTo>
                  <a:pt x="2994745" y="895538"/>
                  <a:pt x="2997226" y="893056"/>
                  <a:pt x="2999709" y="893056"/>
                </a:cubicBezTo>
                <a:cubicBezTo>
                  <a:pt x="3012119" y="893056"/>
                  <a:pt x="3019566" y="885616"/>
                  <a:pt x="3029495" y="880653"/>
                </a:cubicBezTo>
                <a:cubicBezTo>
                  <a:pt x="3029495" y="880653"/>
                  <a:pt x="3031976" y="878171"/>
                  <a:pt x="3031976" y="875692"/>
                </a:cubicBezTo>
                <a:cubicBezTo>
                  <a:pt x="3034459" y="870731"/>
                  <a:pt x="3036940" y="870731"/>
                  <a:pt x="3041904" y="870731"/>
                </a:cubicBezTo>
                <a:cubicBezTo>
                  <a:pt x="3046869" y="870731"/>
                  <a:pt x="3049350" y="870731"/>
                  <a:pt x="3051833" y="865770"/>
                </a:cubicBezTo>
                <a:cubicBezTo>
                  <a:pt x="3051833" y="863287"/>
                  <a:pt x="3054316" y="860807"/>
                  <a:pt x="3056797" y="858325"/>
                </a:cubicBezTo>
                <a:cubicBezTo>
                  <a:pt x="3064244" y="853364"/>
                  <a:pt x="3071690" y="848403"/>
                  <a:pt x="3079135" y="843441"/>
                </a:cubicBezTo>
                <a:cubicBezTo>
                  <a:pt x="3084099" y="838480"/>
                  <a:pt x="3089067" y="838480"/>
                  <a:pt x="3094030" y="838480"/>
                </a:cubicBezTo>
                <a:cubicBezTo>
                  <a:pt x="3098992" y="838480"/>
                  <a:pt x="3101475" y="836000"/>
                  <a:pt x="3106439" y="836000"/>
                </a:cubicBezTo>
                <a:cubicBezTo>
                  <a:pt x="3111404" y="836000"/>
                  <a:pt x="3113885" y="831039"/>
                  <a:pt x="3116368" y="826078"/>
                </a:cubicBezTo>
                <a:cubicBezTo>
                  <a:pt x="3118851" y="826078"/>
                  <a:pt x="3118851" y="823595"/>
                  <a:pt x="3118851" y="821115"/>
                </a:cubicBezTo>
                <a:cubicBezTo>
                  <a:pt x="3121332" y="816154"/>
                  <a:pt x="3123813" y="813672"/>
                  <a:pt x="3128777" y="813672"/>
                </a:cubicBezTo>
                <a:cubicBezTo>
                  <a:pt x="3131261" y="813672"/>
                  <a:pt x="3136225" y="813672"/>
                  <a:pt x="3138706" y="808714"/>
                </a:cubicBezTo>
                <a:cubicBezTo>
                  <a:pt x="3141189" y="803753"/>
                  <a:pt x="3143670" y="798788"/>
                  <a:pt x="3148634" y="796308"/>
                </a:cubicBezTo>
                <a:cubicBezTo>
                  <a:pt x="3175939" y="781424"/>
                  <a:pt x="3203241" y="764061"/>
                  <a:pt x="3230546" y="746693"/>
                </a:cubicBezTo>
                <a:cubicBezTo>
                  <a:pt x="3235508" y="744215"/>
                  <a:pt x="3240472" y="741732"/>
                  <a:pt x="3247920" y="744215"/>
                </a:cubicBezTo>
                <a:cubicBezTo>
                  <a:pt x="3252884" y="746693"/>
                  <a:pt x="3257848" y="744215"/>
                  <a:pt x="3262812" y="741732"/>
                </a:cubicBezTo>
                <a:cubicBezTo>
                  <a:pt x="3272737" y="736771"/>
                  <a:pt x="3282669" y="729330"/>
                  <a:pt x="3292598" y="724368"/>
                </a:cubicBezTo>
                <a:cubicBezTo>
                  <a:pt x="3297559" y="721886"/>
                  <a:pt x="3300042" y="721886"/>
                  <a:pt x="3305006" y="721886"/>
                </a:cubicBezTo>
                <a:cubicBezTo>
                  <a:pt x="3314935" y="719407"/>
                  <a:pt x="3324864" y="714445"/>
                  <a:pt x="3329829" y="704522"/>
                </a:cubicBezTo>
                <a:cubicBezTo>
                  <a:pt x="3332309" y="704522"/>
                  <a:pt x="3332309" y="702040"/>
                  <a:pt x="3334793" y="702040"/>
                </a:cubicBezTo>
                <a:cubicBezTo>
                  <a:pt x="3339757" y="702040"/>
                  <a:pt x="3342240" y="702040"/>
                  <a:pt x="3344720" y="699561"/>
                </a:cubicBezTo>
                <a:cubicBezTo>
                  <a:pt x="3364577" y="687155"/>
                  <a:pt x="3384432" y="674754"/>
                  <a:pt x="3404292" y="662351"/>
                </a:cubicBezTo>
                <a:cubicBezTo>
                  <a:pt x="3421665" y="649946"/>
                  <a:pt x="3439039" y="640023"/>
                  <a:pt x="3456415" y="630101"/>
                </a:cubicBezTo>
                <a:cubicBezTo>
                  <a:pt x="3461379" y="627621"/>
                  <a:pt x="3463860" y="627621"/>
                  <a:pt x="3466343" y="627621"/>
                </a:cubicBezTo>
                <a:cubicBezTo>
                  <a:pt x="3468824" y="627621"/>
                  <a:pt x="3471308" y="627621"/>
                  <a:pt x="3471308" y="625138"/>
                </a:cubicBezTo>
                <a:cubicBezTo>
                  <a:pt x="3471308" y="620177"/>
                  <a:pt x="3473789" y="617698"/>
                  <a:pt x="3476272" y="617698"/>
                </a:cubicBezTo>
                <a:cubicBezTo>
                  <a:pt x="3483717" y="617698"/>
                  <a:pt x="3488681" y="615216"/>
                  <a:pt x="3496130" y="610255"/>
                </a:cubicBezTo>
                <a:cubicBezTo>
                  <a:pt x="3506057" y="602813"/>
                  <a:pt x="3518467" y="595370"/>
                  <a:pt x="3530879" y="587929"/>
                </a:cubicBezTo>
                <a:cubicBezTo>
                  <a:pt x="3535843" y="582967"/>
                  <a:pt x="3540808" y="582967"/>
                  <a:pt x="3545769" y="582967"/>
                </a:cubicBezTo>
                <a:cubicBezTo>
                  <a:pt x="3550733" y="582967"/>
                  <a:pt x="3555698" y="580485"/>
                  <a:pt x="3558181" y="575524"/>
                </a:cubicBezTo>
                <a:cubicBezTo>
                  <a:pt x="3560664" y="570565"/>
                  <a:pt x="3568109" y="565600"/>
                  <a:pt x="3575555" y="565600"/>
                </a:cubicBezTo>
                <a:cubicBezTo>
                  <a:pt x="3580519" y="565600"/>
                  <a:pt x="3585483" y="563121"/>
                  <a:pt x="3587966" y="558160"/>
                </a:cubicBezTo>
                <a:cubicBezTo>
                  <a:pt x="3590451" y="553199"/>
                  <a:pt x="3595412" y="548238"/>
                  <a:pt x="3600376" y="545758"/>
                </a:cubicBezTo>
                <a:cubicBezTo>
                  <a:pt x="3605340" y="543275"/>
                  <a:pt x="3607823" y="538314"/>
                  <a:pt x="3612788" y="535835"/>
                </a:cubicBezTo>
                <a:cubicBezTo>
                  <a:pt x="3622716" y="525912"/>
                  <a:pt x="3635126" y="525912"/>
                  <a:pt x="3647537" y="530873"/>
                </a:cubicBezTo>
                <a:cubicBezTo>
                  <a:pt x="3647537" y="530873"/>
                  <a:pt x="3650018" y="533353"/>
                  <a:pt x="3650018" y="535835"/>
                </a:cubicBezTo>
                <a:cubicBezTo>
                  <a:pt x="3650018" y="535835"/>
                  <a:pt x="3650018" y="540796"/>
                  <a:pt x="3647537" y="540796"/>
                </a:cubicBezTo>
                <a:cubicBezTo>
                  <a:pt x="3645054" y="543275"/>
                  <a:pt x="3642573" y="543275"/>
                  <a:pt x="3640090" y="545758"/>
                </a:cubicBezTo>
                <a:cubicBezTo>
                  <a:pt x="3632641" y="550717"/>
                  <a:pt x="3625197" y="555681"/>
                  <a:pt x="3617752" y="560642"/>
                </a:cubicBezTo>
                <a:cubicBezTo>
                  <a:pt x="3615269" y="560642"/>
                  <a:pt x="3615269" y="563121"/>
                  <a:pt x="3615269" y="563121"/>
                </a:cubicBezTo>
                <a:cubicBezTo>
                  <a:pt x="3617752" y="563121"/>
                  <a:pt x="3617752" y="565600"/>
                  <a:pt x="3620233" y="565600"/>
                </a:cubicBezTo>
                <a:cubicBezTo>
                  <a:pt x="3625197" y="568083"/>
                  <a:pt x="3627680" y="568083"/>
                  <a:pt x="3632641" y="565600"/>
                </a:cubicBezTo>
                <a:cubicBezTo>
                  <a:pt x="3642573" y="560642"/>
                  <a:pt x="3652502" y="553199"/>
                  <a:pt x="3662427" y="548238"/>
                </a:cubicBezTo>
                <a:cubicBezTo>
                  <a:pt x="3667391" y="545758"/>
                  <a:pt x="3669875" y="545758"/>
                  <a:pt x="3672359" y="545758"/>
                </a:cubicBezTo>
                <a:cubicBezTo>
                  <a:pt x="3679804" y="545758"/>
                  <a:pt x="3684768" y="540796"/>
                  <a:pt x="3687249" y="535835"/>
                </a:cubicBezTo>
                <a:cubicBezTo>
                  <a:pt x="3687249" y="533353"/>
                  <a:pt x="3689732" y="530873"/>
                  <a:pt x="3692213" y="528392"/>
                </a:cubicBezTo>
                <a:cubicBezTo>
                  <a:pt x="3697178" y="528392"/>
                  <a:pt x="3699661" y="525912"/>
                  <a:pt x="3702144" y="525912"/>
                </a:cubicBezTo>
                <a:cubicBezTo>
                  <a:pt x="3714554" y="528392"/>
                  <a:pt x="3726962" y="530873"/>
                  <a:pt x="3739375" y="533353"/>
                </a:cubicBezTo>
                <a:cubicBezTo>
                  <a:pt x="3744336" y="535835"/>
                  <a:pt x="3746819" y="533353"/>
                  <a:pt x="3749304" y="528392"/>
                </a:cubicBezTo>
                <a:cubicBezTo>
                  <a:pt x="3751784" y="525912"/>
                  <a:pt x="3751784" y="523429"/>
                  <a:pt x="3754268" y="523429"/>
                </a:cubicBezTo>
                <a:cubicBezTo>
                  <a:pt x="3759232" y="523429"/>
                  <a:pt x="3761713" y="523429"/>
                  <a:pt x="3766677" y="520950"/>
                </a:cubicBezTo>
                <a:cubicBezTo>
                  <a:pt x="3774121" y="515989"/>
                  <a:pt x="3781570" y="513507"/>
                  <a:pt x="3789018" y="508546"/>
                </a:cubicBezTo>
                <a:cubicBezTo>
                  <a:pt x="3796463" y="506066"/>
                  <a:pt x="3801427" y="498622"/>
                  <a:pt x="3811356" y="501104"/>
                </a:cubicBezTo>
                <a:cubicBezTo>
                  <a:pt x="3811356" y="501104"/>
                  <a:pt x="3813839" y="501104"/>
                  <a:pt x="3813839" y="501104"/>
                </a:cubicBezTo>
                <a:cubicBezTo>
                  <a:pt x="3821284" y="496143"/>
                  <a:pt x="3831213" y="493661"/>
                  <a:pt x="3836177" y="483737"/>
                </a:cubicBezTo>
                <a:cubicBezTo>
                  <a:pt x="3836177" y="481258"/>
                  <a:pt x="3838657" y="481258"/>
                  <a:pt x="3841141" y="481258"/>
                </a:cubicBezTo>
                <a:cubicBezTo>
                  <a:pt x="3846105" y="481258"/>
                  <a:pt x="3848585" y="481258"/>
                  <a:pt x="3851070" y="478776"/>
                </a:cubicBezTo>
                <a:cubicBezTo>
                  <a:pt x="3860998" y="473818"/>
                  <a:pt x="3870927" y="466375"/>
                  <a:pt x="3880852" y="461412"/>
                </a:cubicBezTo>
                <a:cubicBezTo>
                  <a:pt x="3883335" y="458933"/>
                  <a:pt x="3885816" y="456451"/>
                  <a:pt x="3888300" y="456451"/>
                </a:cubicBezTo>
                <a:cubicBezTo>
                  <a:pt x="3900712" y="458933"/>
                  <a:pt x="3910637" y="449010"/>
                  <a:pt x="3920566" y="444049"/>
                </a:cubicBezTo>
                <a:cubicBezTo>
                  <a:pt x="3925533" y="441566"/>
                  <a:pt x="3928013" y="441566"/>
                  <a:pt x="3930494" y="441566"/>
                </a:cubicBezTo>
                <a:cubicBezTo>
                  <a:pt x="3940423" y="439084"/>
                  <a:pt x="3950351" y="434126"/>
                  <a:pt x="3955316" y="424203"/>
                </a:cubicBezTo>
                <a:cubicBezTo>
                  <a:pt x="3957799" y="419241"/>
                  <a:pt x="3962763" y="416759"/>
                  <a:pt x="3967725" y="416759"/>
                </a:cubicBezTo>
                <a:cubicBezTo>
                  <a:pt x="3970208" y="416759"/>
                  <a:pt x="3972693" y="416759"/>
                  <a:pt x="3972693" y="414280"/>
                </a:cubicBezTo>
                <a:cubicBezTo>
                  <a:pt x="3975173" y="406835"/>
                  <a:pt x="3982621" y="404357"/>
                  <a:pt x="3990065" y="401874"/>
                </a:cubicBezTo>
                <a:cubicBezTo>
                  <a:pt x="4002477" y="401874"/>
                  <a:pt x="4009922" y="394434"/>
                  <a:pt x="4019851" y="389473"/>
                </a:cubicBezTo>
                <a:cubicBezTo>
                  <a:pt x="4022332" y="389473"/>
                  <a:pt x="4024815" y="386990"/>
                  <a:pt x="4027296" y="386990"/>
                </a:cubicBezTo>
                <a:cubicBezTo>
                  <a:pt x="4034744" y="389473"/>
                  <a:pt x="4039708" y="384510"/>
                  <a:pt x="4044672" y="382028"/>
                </a:cubicBezTo>
                <a:cubicBezTo>
                  <a:pt x="4067010" y="369627"/>
                  <a:pt x="4089350" y="354742"/>
                  <a:pt x="4111688" y="342337"/>
                </a:cubicBezTo>
                <a:cubicBezTo>
                  <a:pt x="4116653" y="339857"/>
                  <a:pt x="4121617" y="337378"/>
                  <a:pt x="4129062" y="337378"/>
                </a:cubicBezTo>
                <a:cubicBezTo>
                  <a:pt x="4134026" y="339857"/>
                  <a:pt x="4136510" y="337378"/>
                  <a:pt x="4138991" y="334896"/>
                </a:cubicBezTo>
                <a:cubicBezTo>
                  <a:pt x="4153883" y="324972"/>
                  <a:pt x="4171260" y="317532"/>
                  <a:pt x="4186152" y="307610"/>
                </a:cubicBezTo>
                <a:cubicBezTo>
                  <a:pt x="4188633" y="307610"/>
                  <a:pt x="4191117" y="305127"/>
                  <a:pt x="4193598" y="305127"/>
                </a:cubicBezTo>
                <a:cubicBezTo>
                  <a:pt x="4198562" y="307610"/>
                  <a:pt x="4201045" y="305127"/>
                  <a:pt x="4203526" y="300165"/>
                </a:cubicBezTo>
                <a:cubicBezTo>
                  <a:pt x="4203526" y="297686"/>
                  <a:pt x="4206010" y="295204"/>
                  <a:pt x="4208490" y="295204"/>
                </a:cubicBezTo>
                <a:cubicBezTo>
                  <a:pt x="4215935" y="295204"/>
                  <a:pt x="4220900" y="292725"/>
                  <a:pt x="4228347" y="287764"/>
                </a:cubicBezTo>
                <a:cubicBezTo>
                  <a:pt x="4243240" y="280319"/>
                  <a:pt x="4255653" y="272879"/>
                  <a:pt x="4268061" y="265435"/>
                </a:cubicBezTo>
                <a:cubicBezTo>
                  <a:pt x="4273026" y="262955"/>
                  <a:pt x="4275507" y="262955"/>
                  <a:pt x="4277990" y="262955"/>
                </a:cubicBezTo>
                <a:cubicBezTo>
                  <a:pt x="4287918" y="265435"/>
                  <a:pt x="4295364" y="265435"/>
                  <a:pt x="4302811" y="260474"/>
                </a:cubicBezTo>
                <a:cubicBezTo>
                  <a:pt x="4307775" y="260474"/>
                  <a:pt x="4315221" y="257994"/>
                  <a:pt x="4320185" y="255512"/>
                </a:cubicBezTo>
                <a:cubicBezTo>
                  <a:pt x="4327630" y="250550"/>
                  <a:pt x="4337561" y="245589"/>
                  <a:pt x="4345006" y="240628"/>
                </a:cubicBezTo>
                <a:cubicBezTo>
                  <a:pt x="4347489" y="238149"/>
                  <a:pt x="4352450" y="238149"/>
                  <a:pt x="4354935" y="238149"/>
                </a:cubicBezTo>
                <a:cubicBezTo>
                  <a:pt x="4359899" y="238149"/>
                  <a:pt x="4362379" y="238149"/>
                  <a:pt x="4364863" y="235667"/>
                </a:cubicBezTo>
                <a:cubicBezTo>
                  <a:pt x="4372311" y="233188"/>
                  <a:pt x="4377272" y="230706"/>
                  <a:pt x="4384720" y="225747"/>
                </a:cubicBezTo>
                <a:cubicBezTo>
                  <a:pt x="4389684" y="223264"/>
                  <a:pt x="4394649" y="220785"/>
                  <a:pt x="4399613" y="220785"/>
                </a:cubicBezTo>
                <a:cubicBezTo>
                  <a:pt x="4399613" y="220785"/>
                  <a:pt x="4402094" y="218303"/>
                  <a:pt x="4404577" y="218303"/>
                </a:cubicBezTo>
                <a:cubicBezTo>
                  <a:pt x="4412021" y="213342"/>
                  <a:pt x="4416987" y="208381"/>
                  <a:pt x="4424434" y="205901"/>
                </a:cubicBezTo>
                <a:cubicBezTo>
                  <a:pt x="4424434" y="203418"/>
                  <a:pt x="4426914" y="203418"/>
                  <a:pt x="4429398" y="203418"/>
                </a:cubicBezTo>
                <a:cubicBezTo>
                  <a:pt x="4434363" y="203418"/>
                  <a:pt x="4439324" y="200939"/>
                  <a:pt x="4444291" y="198457"/>
                </a:cubicBezTo>
                <a:cubicBezTo>
                  <a:pt x="4454220" y="193496"/>
                  <a:pt x="4464146" y="186055"/>
                  <a:pt x="4474077" y="181093"/>
                </a:cubicBezTo>
                <a:cubicBezTo>
                  <a:pt x="4486485" y="181093"/>
                  <a:pt x="4493931" y="173650"/>
                  <a:pt x="4503859" y="168689"/>
                </a:cubicBezTo>
                <a:cubicBezTo>
                  <a:pt x="4511307" y="163726"/>
                  <a:pt x="4516272" y="158765"/>
                  <a:pt x="4523717" y="156286"/>
                </a:cubicBezTo>
                <a:cubicBezTo>
                  <a:pt x="4523717" y="153804"/>
                  <a:pt x="4526200" y="153804"/>
                  <a:pt x="4528681" y="153804"/>
                </a:cubicBezTo>
                <a:cubicBezTo>
                  <a:pt x="4533644" y="153804"/>
                  <a:pt x="4536129" y="153804"/>
                  <a:pt x="4541093" y="151325"/>
                </a:cubicBezTo>
                <a:cubicBezTo>
                  <a:pt x="4546056" y="146363"/>
                  <a:pt x="4553501" y="143880"/>
                  <a:pt x="4558467" y="141401"/>
                </a:cubicBezTo>
                <a:cubicBezTo>
                  <a:pt x="4563430" y="138919"/>
                  <a:pt x="4565914" y="138919"/>
                  <a:pt x="4570878" y="138919"/>
                </a:cubicBezTo>
                <a:cubicBezTo>
                  <a:pt x="4575839" y="141401"/>
                  <a:pt x="4583287" y="141401"/>
                  <a:pt x="4588252" y="136440"/>
                </a:cubicBezTo>
                <a:cubicBezTo>
                  <a:pt x="4593215" y="133958"/>
                  <a:pt x="4600662" y="128996"/>
                  <a:pt x="4610589" y="128996"/>
                </a:cubicBezTo>
                <a:cubicBezTo>
                  <a:pt x="4610589" y="128996"/>
                  <a:pt x="4613072" y="126516"/>
                  <a:pt x="4615553" y="126516"/>
                </a:cubicBezTo>
                <a:cubicBezTo>
                  <a:pt x="4625482" y="121555"/>
                  <a:pt x="4632930" y="114115"/>
                  <a:pt x="4645339" y="114115"/>
                </a:cubicBezTo>
                <a:cubicBezTo>
                  <a:pt x="4650303" y="111633"/>
                  <a:pt x="4655267" y="109150"/>
                  <a:pt x="4660232" y="106670"/>
                </a:cubicBezTo>
                <a:cubicBezTo>
                  <a:pt x="4672644" y="99230"/>
                  <a:pt x="4685053" y="99230"/>
                  <a:pt x="4697466" y="99230"/>
                </a:cubicBezTo>
                <a:cubicBezTo>
                  <a:pt x="4699946" y="99230"/>
                  <a:pt x="4702429" y="99230"/>
                  <a:pt x="4704910" y="99230"/>
                </a:cubicBezTo>
                <a:cubicBezTo>
                  <a:pt x="4709874" y="99230"/>
                  <a:pt x="4714839" y="96748"/>
                  <a:pt x="4717319" y="91787"/>
                </a:cubicBezTo>
                <a:cubicBezTo>
                  <a:pt x="4719803" y="86824"/>
                  <a:pt x="4724768" y="81863"/>
                  <a:pt x="4729731" y="79384"/>
                </a:cubicBezTo>
                <a:cubicBezTo>
                  <a:pt x="4749588" y="66978"/>
                  <a:pt x="4769445" y="54577"/>
                  <a:pt x="4789302" y="42171"/>
                </a:cubicBezTo>
                <a:cubicBezTo>
                  <a:pt x="4794267" y="39692"/>
                  <a:pt x="4796748" y="39692"/>
                  <a:pt x="4801712" y="39692"/>
                </a:cubicBezTo>
                <a:cubicBezTo>
                  <a:pt x="4801712" y="39692"/>
                  <a:pt x="4804193" y="39692"/>
                  <a:pt x="4804193" y="39692"/>
                </a:cubicBezTo>
                <a:cubicBezTo>
                  <a:pt x="4809159" y="34731"/>
                  <a:pt x="4816605" y="32249"/>
                  <a:pt x="4821569" y="29770"/>
                </a:cubicBezTo>
                <a:cubicBezTo>
                  <a:pt x="4826533" y="27287"/>
                  <a:pt x="4833977" y="27287"/>
                  <a:pt x="4838945" y="24807"/>
                </a:cubicBezTo>
                <a:cubicBezTo>
                  <a:pt x="4838945" y="24807"/>
                  <a:pt x="4841426" y="22325"/>
                  <a:pt x="4841426" y="22325"/>
                </a:cubicBezTo>
                <a:cubicBezTo>
                  <a:pt x="4846390" y="19846"/>
                  <a:pt x="4851354" y="17364"/>
                  <a:pt x="4856319" y="17364"/>
                </a:cubicBezTo>
                <a:cubicBezTo>
                  <a:pt x="4861283" y="17364"/>
                  <a:pt x="4868730" y="17364"/>
                  <a:pt x="4873691" y="14885"/>
                </a:cubicBezTo>
                <a:cubicBezTo>
                  <a:pt x="4878657" y="12403"/>
                  <a:pt x="4883621" y="9924"/>
                  <a:pt x="4888585" y="9924"/>
                </a:cubicBezTo>
                <a:cubicBezTo>
                  <a:pt x="4893548" y="12403"/>
                  <a:pt x="4898514" y="9924"/>
                  <a:pt x="4903478" y="9924"/>
                </a:cubicBezTo>
                <a:cubicBezTo>
                  <a:pt x="4908442" y="9924"/>
                  <a:pt x="4913406" y="4961"/>
                  <a:pt x="4920854" y="4961"/>
                </a:cubicBezTo>
                <a:cubicBezTo>
                  <a:pt x="4928299" y="4961"/>
                  <a:pt x="4933263" y="2482"/>
                  <a:pt x="4940708" y="2482"/>
                </a:cubicBezTo>
                <a:cubicBezTo>
                  <a:pt x="4945672" y="2482"/>
                  <a:pt x="4953120" y="0"/>
                  <a:pt x="4958085" y="0"/>
                </a:cubicBezTo>
                <a:cubicBezTo>
                  <a:pt x="4960565" y="0"/>
                  <a:pt x="4965529" y="2482"/>
                  <a:pt x="4965529" y="4961"/>
                </a:cubicBezTo>
                <a:cubicBezTo>
                  <a:pt x="4965529" y="7441"/>
                  <a:pt x="4963049" y="7441"/>
                  <a:pt x="4963049" y="9924"/>
                </a:cubicBezTo>
                <a:cubicBezTo>
                  <a:pt x="4963049" y="12403"/>
                  <a:pt x="4960565" y="12403"/>
                  <a:pt x="4960565" y="12403"/>
                </a:cubicBezTo>
                <a:cubicBezTo>
                  <a:pt x="4953120" y="14885"/>
                  <a:pt x="4953120" y="22325"/>
                  <a:pt x="4953120" y="27287"/>
                </a:cubicBezTo>
                <a:cubicBezTo>
                  <a:pt x="4953120" y="34731"/>
                  <a:pt x="4953120" y="37210"/>
                  <a:pt x="4945672" y="42171"/>
                </a:cubicBezTo>
                <a:cubicBezTo>
                  <a:pt x="4935743" y="49616"/>
                  <a:pt x="4923335" y="57056"/>
                  <a:pt x="4910922" y="64500"/>
                </a:cubicBezTo>
                <a:cubicBezTo>
                  <a:pt x="4898514" y="74423"/>
                  <a:pt x="4883621" y="81863"/>
                  <a:pt x="4871211" y="91787"/>
                </a:cubicBezTo>
                <a:cubicBezTo>
                  <a:pt x="4868730" y="94266"/>
                  <a:pt x="4866247" y="96748"/>
                  <a:pt x="4866247" y="101709"/>
                </a:cubicBezTo>
                <a:cubicBezTo>
                  <a:pt x="4863764" y="106670"/>
                  <a:pt x="4866247" y="109150"/>
                  <a:pt x="4871211" y="111633"/>
                </a:cubicBezTo>
                <a:cubicBezTo>
                  <a:pt x="4873691" y="111633"/>
                  <a:pt x="4873691" y="111633"/>
                  <a:pt x="4876176" y="114115"/>
                </a:cubicBezTo>
                <a:cubicBezTo>
                  <a:pt x="4878657" y="114115"/>
                  <a:pt x="4878657" y="116594"/>
                  <a:pt x="4878657" y="119073"/>
                </a:cubicBezTo>
                <a:cubicBezTo>
                  <a:pt x="4878657" y="119073"/>
                  <a:pt x="4876176" y="121555"/>
                  <a:pt x="4876176" y="121555"/>
                </a:cubicBezTo>
                <a:cubicBezTo>
                  <a:pt x="4871211" y="121555"/>
                  <a:pt x="4868730" y="121555"/>
                  <a:pt x="4863764" y="124034"/>
                </a:cubicBezTo>
                <a:cubicBezTo>
                  <a:pt x="4856319" y="126516"/>
                  <a:pt x="4851354" y="128996"/>
                  <a:pt x="4843909" y="133958"/>
                </a:cubicBezTo>
                <a:cubicBezTo>
                  <a:pt x="4838945" y="136440"/>
                  <a:pt x="4833977" y="133958"/>
                  <a:pt x="4831497" y="136440"/>
                </a:cubicBezTo>
                <a:cubicBezTo>
                  <a:pt x="4829014" y="138919"/>
                  <a:pt x="4829014" y="141401"/>
                  <a:pt x="4826533" y="143880"/>
                </a:cubicBezTo>
                <a:cubicBezTo>
                  <a:pt x="4824050" y="148841"/>
                  <a:pt x="4819088" y="151325"/>
                  <a:pt x="4814124" y="153804"/>
                </a:cubicBezTo>
                <a:cubicBezTo>
                  <a:pt x="4809159" y="156286"/>
                  <a:pt x="4806676" y="158765"/>
                  <a:pt x="4806676" y="161247"/>
                </a:cubicBezTo>
                <a:cubicBezTo>
                  <a:pt x="4806676" y="166209"/>
                  <a:pt x="4804193" y="168689"/>
                  <a:pt x="4799227" y="171171"/>
                </a:cubicBezTo>
                <a:cubicBezTo>
                  <a:pt x="4791783" y="173650"/>
                  <a:pt x="4786819" y="178611"/>
                  <a:pt x="4781855" y="181093"/>
                </a:cubicBezTo>
                <a:cubicBezTo>
                  <a:pt x="4776891" y="186055"/>
                  <a:pt x="4776891" y="191016"/>
                  <a:pt x="4776891" y="198457"/>
                </a:cubicBezTo>
                <a:cubicBezTo>
                  <a:pt x="4776891" y="200939"/>
                  <a:pt x="4781855" y="203418"/>
                  <a:pt x="4784338" y="203418"/>
                </a:cubicBezTo>
                <a:cubicBezTo>
                  <a:pt x="4784338" y="205901"/>
                  <a:pt x="4786819" y="205901"/>
                  <a:pt x="4786819" y="205901"/>
                </a:cubicBezTo>
                <a:cubicBezTo>
                  <a:pt x="4786819" y="208381"/>
                  <a:pt x="4786819" y="210862"/>
                  <a:pt x="4784338" y="210862"/>
                </a:cubicBezTo>
                <a:cubicBezTo>
                  <a:pt x="4784338" y="213342"/>
                  <a:pt x="4781855" y="213342"/>
                  <a:pt x="4779374" y="213342"/>
                </a:cubicBezTo>
                <a:cubicBezTo>
                  <a:pt x="4776891" y="213342"/>
                  <a:pt x="4774410" y="213342"/>
                  <a:pt x="4774410" y="215821"/>
                </a:cubicBezTo>
                <a:cubicBezTo>
                  <a:pt x="4774410" y="220785"/>
                  <a:pt x="4771926" y="223264"/>
                  <a:pt x="4766962" y="225747"/>
                </a:cubicBezTo>
                <a:cubicBezTo>
                  <a:pt x="4759518" y="228226"/>
                  <a:pt x="4752069" y="233188"/>
                  <a:pt x="4744624" y="238149"/>
                </a:cubicBezTo>
                <a:cubicBezTo>
                  <a:pt x="4739661" y="240628"/>
                  <a:pt x="4734696" y="245589"/>
                  <a:pt x="4732216" y="250550"/>
                </a:cubicBezTo>
                <a:cubicBezTo>
                  <a:pt x="4729731" y="255513"/>
                  <a:pt x="4727251" y="255513"/>
                  <a:pt x="4722284" y="257995"/>
                </a:cubicBezTo>
                <a:cubicBezTo>
                  <a:pt x="4714839" y="255513"/>
                  <a:pt x="4707393" y="260474"/>
                  <a:pt x="4699946" y="265435"/>
                </a:cubicBezTo>
                <a:cubicBezTo>
                  <a:pt x="4694981" y="270398"/>
                  <a:pt x="4687534" y="272879"/>
                  <a:pt x="4682573" y="275359"/>
                </a:cubicBezTo>
                <a:cubicBezTo>
                  <a:pt x="4672644" y="280320"/>
                  <a:pt x="4667680" y="287764"/>
                  <a:pt x="4665197" y="297687"/>
                </a:cubicBezTo>
                <a:cubicBezTo>
                  <a:pt x="4665197" y="302648"/>
                  <a:pt x="4662713" y="302648"/>
                  <a:pt x="4660232" y="305127"/>
                </a:cubicBezTo>
                <a:cubicBezTo>
                  <a:pt x="4650303" y="312571"/>
                  <a:pt x="4640375" y="317532"/>
                  <a:pt x="4630446" y="324973"/>
                </a:cubicBezTo>
                <a:cubicBezTo>
                  <a:pt x="4627965" y="324973"/>
                  <a:pt x="4627965" y="329935"/>
                  <a:pt x="4627965" y="332417"/>
                </a:cubicBezTo>
                <a:cubicBezTo>
                  <a:pt x="4627965" y="332417"/>
                  <a:pt x="4627965" y="337378"/>
                  <a:pt x="4627965" y="337378"/>
                </a:cubicBezTo>
                <a:cubicBezTo>
                  <a:pt x="4623001" y="342337"/>
                  <a:pt x="4618038" y="347302"/>
                  <a:pt x="4613072" y="354742"/>
                </a:cubicBezTo>
                <a:cubicBezTo>
                  <a:pt x="4610589" y="357222"/>
                  <a:pt x="4608108" y="359704"/>
                  <a:pt x="4603145" y="362183"/>
                </a:cubicBezTo>
                <a:cubicBezTo>
                  <a:pt x="4600662" y="364665"/>
                  <a:pt x="4598180" y="367144"/>
                  <a:pt x="4598180" y="369627"/>
                </a:cubicBezTo>
                <a:cubicBezTo>
                  <a:pt x="4598180" y="379550"/>
                  <a:pt x="4600662" y="391952"/>
                  <a:pt x="4603145" y="399395"/>
                </a:cubicBezTo>
                <a:cubicBezTo>
                  <a:pt x="4605625" y="404358"/>
                  <a:pt x="4610589" y="409319"/>
                  <a:pt x="4613072" y="414280"/>
                </a:cubicBezTo>
                <a:cubicBezTo>
                  <a:pt x="4613072" y="414280"/>
                  <a:pt x="4613072" y="419241"/>
                  <a:pt x="4613072" y="419241"/>
                </a:cubicBezTo>
                <a:cubicBezTo>
                  <a:pt x="4603145" y="426682"/>
                  <a:pt x="4593215" y="434126"/>
                  <a:pt x="4580804" y="439085"/>
                </a:cubicBezTo>
                <a:cubicBezTo>
                  <a:pt x="4578323" y="439085"/>
                  <a:pt x="4575839" y="439085"/>
                  <a:pt x="4573359" y="439085"/>
                </a:cubicBezTo>
                <a:cubicBezTo>
                  <a:pt x="4570878" y="439085"/>
                  <a:pt x="4568394" y="441567"/>
                  <a:pt x="4568394" y="449011"/>
                </a:cubicBezTo>
                <a:cubicBezTo>
                  <a:pt x="4565914" y="449011"/>
                  <a:pt x="4568394" y="451490"/>
                  <a:pt x="4570878" y="451490"/>
                </a:cubicBezTo>
                <a:cubicBezTo>
                  <a:pt x="4570878" y="451490"/>
                  <a:pt x="4573359" y="451490"/>
                  <a:pt x="4573359" y="451490"/>
                </a:cubicBezTo>
                <a:cubicBezTo>
                  <a:pt x="4573359" y="456451"/>
                  <a:pt x="4573359" y="461413"/>
                  <a:pt x="4570878" y="463892"/>
                </a:cubicBezTo>
                <a:cubicBezTo>
                  <a:pt x="4570878" y="466375"/>
                  <a:pt x="4565914" y="466375"/>
                  <a:pt x="4563430" y="466375"/>
                </a:cubicBezTo>
                <a:cubicBezTo>
                  <a:pt x="4560950" y="466375"/>
                  <a:pt x="4558467" y="466375"/>
                  <a:pt x="4558467" y="468853"/>
                </a:cubicBezTo>
                <a:cubicBezTo>
                  <a:pt x="4558467" y="471336"/>
                  <a:pt x="4555986" y="473818"/>
                  <a:pt x="4553501" y="476297"/>
                </a:cubicBezTo>
                <a:cubicBezTo>
                  <a:pt x="4551018" y="481258"/>
                  <a:pt x="4546056" y="483738"/>
                  <a:pt x="4541093" y="486221"/>
                </a:cubicBezTo>
                <a:cubicBezTo>
                  <a:pt x="4536129" y="488700"/>
                  <a:pt x="4533644" y="491182"/>
                  <a:pt x="4533644" y="496143"/>
                </a:cubicBezTo>
                <a:cubicBezTo>
                  <a:pt x="4533644" y="503584"/>
                  <a:pt x="4531163" y="508546"/>
                  <a:pt x="4523717" y="511028"/>
                </a:cubicBezTo>
                <a:cubicBezTo>
                  <a:pt x="4516272" y="515989"/>
                  <a:pt x="4508827" y="520950"/>
                  <a:pt x="4506342" y="528392"/>
                </a:cubicBezTo>
                <a:cubicBezTo>
                  <a:pt x="4503859" y="530874"/>
                  <a:pt x="4498895" y="533353"/>
                  <a:pt x="4496415" y="535835"/>
                </a:cubicBezTo>
                <a:cubicBezTo>
                  <a:pt x="4493931" y="540796"/>
                  <a:pt x="4488966" y="543276"/>
                  <a:pt x="4484005" y="545759"/>
                </a:cubicBezTo>
                <a:cubicBezTo>
                  <a:pt x="4479041" y="548238"/>
                  <a:pt x="4479041" y="555681"/>
                  <a:pt x="4474077" y="558160"/>
                </a:cubicBezTo>
                <a:cubicBezTo>
                  <a:pt x="4471592" y="560642"/>
                  <a:pt x="4471592" y="563121"/>
                  <a:pt x="4476558" y="563121"/>
                </a:cubicBezTo>
                <a:cubicBezTo>
                  <a:pt x="4481522" y="563121"/>
                  <a:pt x="4484005" y="563121"/>
                  <a:pt x="4486485" y="558160"/>
                </a:cubicBezTo>
                <a:cubicBezTo>
                  <a:pt x="4488966" y="555681"/>
                  <a:pt x="4488966" y="553199"/>
                  <a:pt x="4491449" y="553199"/>
                </a:cubicBezTo>
                <a:cubicBezTo>
                  <a:pt x="4493931" y="550717"/>
                  <a:pt x="4498895" y="553199"/>
                  <a:pt x="4498895" y="555681"/>
                </a:cubicBezTo>
                <a:cubicBezTo>
                  <a:pt x="4498895" y="560642"/>
                  <a:pt x="4498895" y="563121"/>
                  <a:pt x="4498895" y="565601"/>
                </a:cubicBezTo>
                <a:cubicBezTo>
                  <a:pt x="4498895" y="568084"/>
                  <a:pt x="4498895" y="568084"/>
                  <a:pt x="4496415" y="570566"/>
                </a:cubicBezTo>
                <a:cubicBezTo>
                  <a:pt x="4491449" y="578006"/>
                  <a:pt x="4486485" y="585451"/>
                  <a:pt x="4481522" y="592891"/>
                </a:cubicBezTo>
                <a:cubicBezTo>
                  <a:pt x="4474077" y="600331"/>
                  <a:pt x="4464146" y="605293"/>
                  <a:pt x="4454220" y="610255"/>
                </a:cubicBezTo>
                <a:cubicBezTo>
                  <a:pt x="4454220" y="610255"/>
                  <a:pt x="4454220" y="610255"/>
                  <a:pt x="4456701" y="610255"/>
                </a:cubicBezTo>
                <a:cubicBezTo>
                  <a:pt x="4461664" y="610255"/>
                  <a:pt x="4466629" y="610255"/>
                  <a:pt x="4471592" y="607776"/>
                </a:cubicBezTo>
                <a:cubicBezTo>
                  <a:pt x="4488966" y="602813"/>
                  <a:pt x="4506342" y="597852"/>
                  <a:pt x="4523717" y="590409"/>
                </a:cubicBezTo>
                <a:cubicBezTo>
                  <a:pt x="4523717" y="592891"/>
                  <a:pt x="4523717" y="595370"/>
                  <a:pt x="4523717" y="597852"/>
                </a:cubicBezTo>
                <a:cubicBezTo>
                  <a:pt x="4513787" y="602813"/>
                  <a:pt x="4506342" y="610255"/>
                  <a:pt x="4493931" y="607776"/>
                </a:cubicBezTo>
                <a:cubicBezTo>
                  <a:pt x="4491449" y="605293"/>
                  <a:pt x="4486485" y="607776"/>
                  <a:pt x="4484005" y="610255"/>
                </a:cubicBezTo>
                <a:cubicBezTo>
                  <a:pt x="4476558" y="612737"/>
                  <a:pt x="4474077" y="617698"/>
                  <a:pt x="4466629" y="615216"/>
                </a:cubicBezTo>
                <a:cubicBezTo>
                  <a:pt x="4464146" y="612737"/>
                  <a:pt x="4461664" y="615216"/>
                  <a:pt x="4459184" y="617698"/>
                </a:cubicBezTo>
                <a:cubicBezTo>
                  <a:pt x="4449255" y="622659"/>
                  <a:pt x="4439324" y="630101"/>
                  <a:pt x="4426914" y="632583"/>
                </a:cubicBezTo>
                <a:cubicBezTo>
                  <a:pt x="4426914" y="632583"/>
                  <a:pt x="4424434" y="632583"/>
                  <a:pt x="4424434" y="632583"/>
                </a:cubicBezTo>
                <a:cubicBezTo>
                  <a:pt x="4421951" y="635062"/>
                  <a:pt x="4421951" y="637544"/>
                  <a:pt x="4419470" y="640023"/>
                </a:cubicBezTo>
                <a:cubicBezTo>
                  <a:pt x="4416987" y="642505"/>
                  <a:pt x="4414506" y="642505"/>
                  <a:pt x="4412021" y="644984"/>
                </a:cubicBezTo>
                <a:cubicBezTo>
                  <a:pt x="4412021" y="644984"/>
                  <a:pt x="4412021" y="647468"/>
                  <a:pt x="4412021" y="647468"/>
                </a:cubicBezTo>
                <a:cubicBezTo>
                  <a:pt x="4414506" y="649947"/>
                  <a:pt x="4416987" y="649947"/>
                  <a:pt x="4419470" y="652429"/>
                </a:cubicBezTo>
                <a:cubicBezTo>
                  <a:pt x="4416987" y="657390"/>
                  <a:pt x="4412021" y="659869"/>
                  <a:pt x="4407057" y="662351"/>
                </a:cubicBezTo>
                <a:cubicBezTo>
                  <a:pt x="4431879" y="654908"/>
                  <a:pt x="4491449" y="640023"/>
                  <a:pt x="4488966" y="644984"/>
                </a:cubicBezTo>
                <a:cubicBezTo>
                  <a:pt x="4486485" y="652429"/>
                  <a:pt x="4479041" y="654908"/>
                  <a:pt x="4476558" y="659869"/>
                </a:cubicBezTo>
                <a:cubicBezTo>
                  <a:pt x="4481522" y="657390"/>
                  <a:pt x="4488966" y="654908"/>
                  <a:pt x="4493931" y="652429"/>
                </a:cubicBezTo>
                <a:cubicBezTo>
                  <a:pt x="4523717" y="642505"/>
                  <a:pt x="4551018" y="632583"/>
                  <a:pt x="4580804" y="625139"/>
                </a:cubicBezTo>
                <a:cubicBezTo>
                  <a:pt x="4578323" y="630101"/>
                  <a:pt x="4575839" y="632583"/>
                  <a:pt x="4573359" y="635062"/>
                </a:cubicBezTo>
                <a:cubicBezTo>
                  <a:pt x="4575839" y="635062"/>
                  <a:pt x="4578323" y="637544"/>
                  <a:pt x="4583287" y="640023"/>
                </a:cubicBezTo>
                <a:cubicBezTo>
                  <a:pt x="4568394" y="644984"/>
                  <a:pt x="4555986" y="649947"/>
                  <a:pt x="4541093" y="654908"/>
                </a:cubicBezTo>
                <a:cubicBezTo>
                  <a:pt x="4538609" y="654908"/>
                  <a:pt x="4538609" y="654908"/>
                  <a:pt x="4536129" y="654908"/>
                </a:cubicBezTo>
                <a:cubicBezTo>
                  <a:pt x="4526200" y="654908"/>
                  <a:pt x="4516272" y="654908"/>
                  <a:pt x="4511307" y="664830"/>
                </a:cubicBezTo>
                <a:cubicBezTo>
                  <a:pt x="4508827" y="669793"/>
                  <a:pt x="4503859" y="674754"/>
                  <a:pt x="4496415" y="672275"/>
                </a:cubicBezTo>
                <a:cubicBezTo>
                  <a:pt x="4498895" y="669793"/>
                  <a:pt x="4498895" y="667314"/>
                  <a:pt x="4503859" y="662351"/>
                </a:cubicBezTo>
                <a:cubicBezTo>
                  <a:pt x="4491449" y="667314"/>
                  <a:pt x="4484005" y="667314"/>
                  <a:pt x="4476558" y="677233"/>
                </a:cubicBezTo>
                <a:cubicBezTo>
                  <a:pt x="4474077" y="682197"/>
                  <a:pt x="4466629" y="684676"/>
                  <a:pt x="4461664" y="687156"/>
                </a:cubicBezTo>
                <a:cubicBezTo>
                  <a:pt x="4461664" y="689639"/>
                  <a:pt x="4459184" y="689639"/>
                  <a:pt x="4456701" y="692118"/>
                </a:cubicBezTo>
                <a:cubicBezTo>
                  <a:pt x="4454220" y="692118"/>
                  <a:pt x="4454220" y="694600"/>
                  <a:pt x="4454220" y="694600"/>
                </a:cubicBezTo>
                <a:cubicBezTo>
                  <a:pt x="4454220" y="697082"/>
                  <a:pt x="4454220" y="699561"/>
                  <a:pt x="4456701" y="702040"/>
                </a:cubicBezTo>
                <a:cubicBezTo>
                  <a:pt x="4471592" y="697082"/>
                  <a:pt x="4486485" y="689639"/>
                  <a:pt x="4498895" y="684676"/>
                </a:cubicBezTo>
                <a:cubicBezTo>
                  <a:pt x="4513787" y="677233"/>
                  <a:pt x="4528681" y="672275"/>
                  <a:pt x="4543574" y="667314"/>
                </a:cubicBezTo>
                <a:cubicBezTo>
                  <a:pt x="4558467" y="662351"/>
                  <a:pt x="4573359" y="659869"/>
                  <a:pt x="4588252" y="654908"/>
                </a:cubicBezTo>
                <a:cubicBezTo>
                  <a:pt x="4588252" y="657390"/>
                  <a:pt x="4588252" y="659869"/>
                  <a:pt x="4590736" y="664830"/>
                </a:cubicBezTo>
                <a:cubicBezTo>
                  <a:pt x="4588252" y="667314"/>
                  <a:pt x="4585771" y="669793"/>
                  <a:pt x="4583287" y="669793"/>
                </a:cubicBezTo>
                <a:cubicBezTo>
                  <a:pt x="4570878" y="674754"/>
                  <a:pt x="4555986" y="679715"/>
                  <a:pt x="4543574" y="684676"/>
                </a:cubicBezTo>
                <a:cubicBezTo>
                  <a:pt x="4538609" y="687156"/>
                  <a:pt x="4536129" y="689639"/>
                  <a:pt x="4533644" y="697082"/>
                </a:cubicBezTo>
                <a:cubicBezTo>
                  <a:pt x="4533644" y="707002"/>
                  <a:pt x="4526200" y="709485"/>
                  <a:pt x="4523717" y="719407"/>
                </a:cubicBezTo>
                <a:cubicBezTo>
                  <a:pt x="4523717" y="721886"/>
                  <a:pt x="4523717" y="724368"/>
                  <a:pt x="4523717" y="726847"/>
                </a:cubicBezTo>
                <a:cubicBezTo>
                  <a:pt x="4516272" y="719407"/>
                  <a:pt x="4506342" y="736771"/>
                  <a:pt x="4498895" y="721886"/>
                </a:cubicBezTo>
                <a:cubicBezTo>
                  <a:pt x="4493931" y="724368"/>
                  <a:pt x="4491449" y="726847"/>
                  <a:pt x="4486485" y="729331"/>
                </a:cubicBezTo>
                <a:cubicBezTo>
                  <a:pt x="4486485" y="729331"/>
                  <a:pt x="4486485" y="731810"/>
                  <a:pt x="4488966" y="736771"/>
                </a:cubicBezTo>
                <a:lnTo>
                  <a:pt x="4482549" y="739239"/>
                </a:lnTo>
                <a:lnTo>
                  <a:pt x="4484005" y="734292"/>
                </a:lnTo>
                <a:lnTo>
                  <a:pt x="4476872" y="741421"/>
                </a:lnTo>
                <a:lnTo>
                  <a:pt x="4456701" y="749177"/>
                </a:lnTo>
                <a:lnTo>
                  <a:pt x="4457942" y="756617"/>
                </a:lnTo>
                <a:lnTo>
                  <a:pt x="4456701" y="756617"/>
                </a:lnTo>
                <a:lnTo>
                  <a:pt x="4458015" y="757056"/>
                </a:lnTo>
                <a:lnTo>
                  <a:pt x="4459184" y="764061"/>
                </a:lnTo>
                <a:cubicBezTo>
                  <a:pt x="4459184" y="771502"/>
                  <a:pt x="4456701" y="776463"/>
                  <a:pt x="4454220" y="781424"/>
                </a:cubicBezTo>
                <a:cubicBezTo>
                  <a:pt x="4451736" y="786386"/>
                  <a:pt x="4449255" y="788868"/>
                  <a:pt x="4444291" y="788868"/>
                </a:cubicBezTo>
                <a:cubicBezTo>
                  <a:pt x="4439324" y="788868"/>
                  <a:pt x="4434363" y="788868"/>
                  <a:pt x="4429398" y="791348"/>
                </a:cubicBezTo>
                <a:cubicBezTo>
                  <a:pt x="4424434" y="793830"/>
                  <a:pt x="4419470" y="793830"/>
                  <a:pt x="4416987" y="798788"/>
                </a:cubicBezTo>
                <a:cubicBezTo>
                  <a:pt x="4414506" y="808714"/>
                  <a:pt x="4407057" y="806232"/>
                  <a:pt x="4399613" y="806232"/>
                </a:cubicBezTo>
                <a:cubicBezTo>
                  <a:pt x="4389684" y="806232"/>
                  <a:pt x="4382236" y="811194"/>
                  <a:pt x="4377272" y="818634"/>
                </a:cubicBezTo>
                <a:cubicBezTo>
                  <a:pt x="4374792" y="818634"/>
                  <a:pt x="4374792" y="821116"/>
                  <a:pt x="4374792" y="826078"/>
                </a:cubicBezTo>
                <a:cubicBezTo>
                  <a:pt x="4382236" y="823595"/>
                  <a:pt x="4387201" y="821116"/>
                  <a:pt x="4392164" y="818634"/>
                </a:cubicBezTo>
                <a:cubicBezTo>
                  <a:pt x="4394649" y="821116"/>
                  <a:pt x="4394649" y="831039"/>
                  <a:pt x="4399613" y="826078"/>
                </a:cubicBezTo>
                <a:cubicBezTo>
                  <a:pt x="4404577" y="818634"/>
                  <a:pt x="4412021" y="818634"/>
                  <a:pt x="4416987" y="816155"/>
                </a:cubicBezTo>
                <a:cubicBezTo>
                  <a:pt x="4429398" y="811194"/>
                  <a:pt x="4441807" y="806232"/>
                  <a:pt x="4454220" y="798788"/>
                </a:cubicBezTo>
                <a:cubicBezTo>
                  <a:pt x="4461664" y="793830"/>
                  <a:pt x="4469109" y="788868"/>
                  <a:pt x="4474077" y="778945"/>
                </a:cubicBezTo>
                <a:cubicBezTo>
                  <a:pt x="4471592" y="776463"/>
                  <a:pt x="4469109" y="776463"/>
                  <a:pt x="4469109" y="773984"/>
                </a:cubicBezTo>
                <a:cubicBezTo>
                  <a:pt x="4466629" y="771502"/>
                  <a:pt x="4466629" y="766539"/>
                  <a:pt x="4466629" y="764061"/>
                </a:cubicBezTo>
                <a:cubicBezTo>
                  <a:pt x="4466629" y="764061"/>
                  <a:pt x="4471592" y="761578"/>
                  <a:pt x="4474077" y="761578"/>
                </a:cubicBezTo>
                <a:cubicBezTo>
                  <a:pt x="4486485" y="761578"/>
                  <a:pt x="4488966" y="759099"/>
                  <a:pt x="4488966" y="744215"/>
                </a:cubicBezTo>
                <a:cubicBezTo>
                  <a:pt x="4493931" y="739253"/>
                  <a:pt x="4498895" y="736771"/>
                  <a:pt x="4503859" y="731810"/>
                </a:cubicBezTo>
                <a:cubicBezTo>
                  <a:pt x="4511307" y="734292"/>
                  <a:pt x="4516272" y="736771"/>
                  <a:pt x="4521236" y="739253"/>
                </a:cubicBezTo>
                <a:cubicBezTo>
                  <a:pt x="4523717" y="754138"/>
                  <a:pt x="4503859" y="749177"/>
                  <a:pt x="4503859" y="766539"/>
                </a:cubicBezTo>
                <a:cubicBezTo>
                  <a:pt x="4513787" y="759099"/>
                  <a:pt x="4523717" y="754138"/>
                  <a:pt x="4533644" y="746693"/>
                </a:cubicBezTo>
                <a:cubicBezTo>
                  <a:pt x="4541093" y="729331"/>
                  <a:pt x="4553501" y="716925"/>
                  <a:pt x="4565914" y="719407"/>
                </a:cubicBezTo>
                <a:cubicBezTo>
                  <a:pt x="4565914" y="709485"/>
                  <a:pt x="4565914" y="709485"/>
                  <a:pt x="4568394" y="704522"/>
                </a:cubicBezTo>
                <a:cubicBezTo>
                  <a:pt x="4573359" y="711964"/>
                  <a:pt x="4578323" y="716925"/>
                  <a:pt x="4585771" y="726847"/>
                </a:cubicBezTo>
                <a:cubicBezTo>
                  <a:pt x="4580804" y="731810"/>
                  <a:pt x="4573359" y="734292"/>
                  <a:pt x="4568394" y="739253"/>
                </a:cubicBezTo>
                <a:cubicBezTo>
                  <a:pt x="4570878" y="741732"/>
                  <a:pt x="4570878" y="741732"/>
                  <a:pt x="4570878" y="744215"/>
                </a:cubicBezTo>
                <a:cubicBezTo>
                  <a:pt x="4585771" y="746693"/>
                  <a:pt x="4598180" y="741732"/>
                  <a:pt x="4610589" y="731810"/>
                </a:cubicBezTo>
                <a:cubicBezTo>
                  <a:pt x="4610589" y="731810"/>
                  <a:pt x="4610589" y="731810"/>
                  <a:pt x="4610589" y="729331"/>
                </a:cubicBezTo>
                <a:cubicBezTo>
                  <a:pt x="4608108" y="726847"/>
                  <a:pt x="4603145" y="726847"/>
                  <a:pt x="4598180" y="724368"/>
                </a:cubicBezTo>
                <a:cubicBezTo>
                  <a:pt x="4603145" y="716925"/>
                  <a:pt x="4603145" y="716925"/>
                  <a:pt x="4627965" y="716925"/>
                </a:cubicBezTo>
                <a:cubicBezTo>
                  <a:pt x="4630446" y="721886"/>
                  <a:pt x="4632930" y="729331"/>
                  <a:pt x="4635410" y="734292"/>
                </a:cubicBezTo>
                <a:cubicBezTo>
                  <a:pt x="4635410" y="736771"/>
                  <a:pt x="4632930" y="736771"/>
                  <a:pt x="4630446" y="739253"/>
                </a:cubicBezTo>
                <a:cubicBezTo>
                  <a:pt x="4627965" y="734292"/>
                  <a:pt x="4625482" y="729331"/>
                  <a:pt x="4623001" y="724368"/>
                </a:cubicBezTo>
                <a:cubicBezTo>
                  <a:pt x="4620521" y="726847"/>
                  <a:pt x="4618038" y="731810"/>
                  <a:pt x="4618038" y="731810"/>
                </a:cubicBezTo>
                <a:cubicBezTo>
                  <a:pt x="4623001" y="741732"/>
                  <a:pt x="4615553" y="741732"/>
                  <a:pt x="4610589" y="744215"/>
                </a:cubicBezTo>
                <a:cubicBezTo>
                  <a:pt x="4605625" y="746693"/>
                  <a:pt x="4595700" y="744215"/>
                  <a:pt x="4590736" y="754138"/>
                </a:cubicBezTo>
                <a:cubicBezTo>
                  <a:pt x="4590736" y="754138"/>
                  <a:pt x="4588252" y="754138"/>
                  <a:pt x="4588252" y="754138"/>
                </a:cubicBezTo>
                <a:cubicBezTo>
                  <a:pt x="4583287" y="749177"/>
                  <a:pt x="4578323" y="754138"/>
                  <a:pt x="4575839" y="756617"/>
                </a:cubicBezTo>
                <a:cubicBezTo>
                  <a:pt x="4565914" y="764061"/>
                  <a:pt x="4553501" y="769022"/>
                  <a:pt x="4543574" y="776463"/>
                </a:cubicBezTo>
                <a:cubicBezTo>
                  <a:pt x="4541093" y="771502"/>
                  <a:pt x="4538609" y="766539"/>
                  <a:pt x="4536129" y="764061"/>
                </a:cubicBezTo>
                <a:cubicBezTo>
                  <a:pt x="4528681" y="766539"/>
                  <a:pt x="4531163" y="776463"/>
                  <a:pt x="4528681" y="781424"/>
                </a:cubicBezTo>
                <a:cubicBezTo>
                  <a:pt x="4523717" y="783907"/>
                  <a:pt x="4516272" y="783907"/>
                  <a:pt x="4508827" y="786386"/>
                </a:cubicBezTo>
                <a:cubicBezTo>
                  <a:pt x="4508827" y="781424"/>
                  <a:pt x="4508827" y="781424"/>
                  <a:pt x="4511307" y="776463"/>
                </a:cubicBezTo>
                <a:cubicBezTo>
                  <a:pt x="4508827" y="776463"/>
                  <a:pt x="4506342" y="776463"/>
                  <a:pt x="4506342" y="776463"/>
                </a:cubicBezTo>
                <a:cubicBezTo>
                  <a:pt x="4503859" y="791348"/>
                  <a:pt x="4488966" y="788868"/>
                  <a:pt x="4481522" y="798788"/>
                </a:cubicBezTo>
                <a:cubicBezTo>
                  <a:pt x="4479041" y="801270"/>
                  <a:pt x="4476558" y="803753"/>
                  <a:pt x="4474077" y="808714"/>
                </a:cubicBezTo>
                <a:cubicBezTo>
                  <a:pt x="4476558" y="808714"/>
                  <a:pt x="4479041" y="808714"/>
                  <a:pt x="4481522" y="808714"/>
                </a:cubicBezTo>
                <a:cubicBezTo>
                  <a:pt x="4498895" y="801270"/>
                  <a:pt x="4516272" y="793830"/>
                  <a:pt x="4533644" y="786386"/>
                </a:cubicBezTo>
                <a:cubicBezTo>
                  <a:pt x="4538609" y="783907"/>
                  <a:pt x="4541093" y="783907"/>
                  <a:pt x="4546056" y="783907"/>
                </a:cubicBezTo>
                <a:cubicBezTo>
                  <a:pt x="4558467" y="778945"/>
                  <a:pt x="4573359" y="773984"/>
                  <a:pt x="4585771" y="769022"/>
                </a:cubicBezTo>
                <a:cubicBezTo>
                  <a:pt x="4588252" y="766539"/>
                  <a:pt x="4590736" y="766539"/>
                  <a:pt x="4593215" y="766539"/>
                </a:cubicBezTo>
                <a:cubicBezTo>
                  <a:pt x="4595700" y="771502"/>
                  <a:pt x="4598180" y="773984"/>
                  <a:pt x="4600662" y="776463"/>
                </a:cubicBezTo>
                <a:cubicBezTo>
                  <a:pt x="4600662" y="783907"/>
                  <a:pt x="4593215" y="783907"/>
                  <a:pt x="4580804" y="776463"/>
                </a:cubicBezTo>
                <a:cubicBezTo>
                  <a:pt x="4580804" y="791348"/>
                  <a:pt x="4578323" y="801270"/>
                  <a:pt x="4563430" y="801270"/>
                </a:cubicBezTo>
                <a:cubicBezTo>
                  <a:pt x="4565914" y="816155"/>
                  <a:pt x="4560950" y="823595"/>
                  <a:pt x="4551018" y="828558"/>
                </a:cubicBezTo>
                <a:lnTo>
                  <a:pt x="4542326" y="831039"/>
                </a:lnTo>
                <a:lnTo>
                  <a:pt x="4523717" y="831039"/>
                </a:lnTo>
                <a:cubicBezTo>
                  <a:pt x="4521236" y="818634"/>
                  <a:pt x="4521236" y="818634"/>
                  <a:pt x="4513787" y="821116"/>
                </a:cubicBezTo>
                <a:cubicBezTo>
                  <a:pt x="4508827" y="823595"/>
                  <a:pt x="4501379" y="826078"/>
                  <a:pt x="4496415" y="828558"/>
                </a:cubicBezTo>
                <a:cubicBezTo>
                  <a:pt x="4496415" y="828558"/>
                  <a:pt x="4496415" y="831039"/>
                  <a:pt x="4496415" y="831039"/>
                </a:cubicBezTo>
                <a:lnTo>
                  <a:pt x="4525770" y="839423"/>
                </a:lnTo>
                <a:lnTo>
                  <a:pt x="4523717" y="840962"/>
                </a:lnTo>
                <a:cubicBezTo>
                  <a:pt x="4528681" y="843441"/>
                  <a:pt x="4531163" y="845924"/>
                  <a:pt x="4533644" y="850885"/>
                </a:cubicBezTo>
                <a:cubicBezTo>
                  <a:pt x="4536129" y="848404"/>
                  <a:pt x="4536129" y="848404"/>
                  <a:pt x="4538609" y="848404"/>
                </a:cubicBezTo>
                <a:cubicBezTo>
                  <a:pt x="4538609" y="850885"/>
                  <a:pt x="4536129" y="853365"/>
                  <a:pt x="4536129" y="853365"/>
                </a:cubicBezTo>
                <a:cubicBezTo>
                  <a:pt x="4538609" y="855847"/>
                  <a:pt x="4538609" y="858326"/>
                  <a:pt x="4541093" y="860808"/>
                </a:cubicBezTo>
                <a:cubicBezTo>
                  <a:pt x="4694981" y="776463"/>
                  <a:pt x="4858800" y="707002"/>
                  <a:pt x="5027584" y="652429"/>
                </a:cubicBezTo>
                <a:cubicBezTo>
                  <a:pt x="5064814" y="642505"/>
                  <a:pt x="5097080" y="659869"/>
                  <a:pt x="5114456" y="689639"/>
                </a:cubicBezTo>
                <a:cubicBezTo>
                  <a:pt x="5114456" y="689639"/>
                  <a:pt x="5116937" y="689639"/>
                  <a:pt x="5116937" y="689639"/>
                </a:cubicBezTo>
                <a:cubicBezTo>
                  <a:pt x="5116937" y="689639"/>
                  <a:pt x="5116937" y="692118"/>
                  <a:pt x="5116937" y="692118"/>
                </a:cubicBezTo>
                <a:cubicBezTo>
                  <a:pt x="5116937" y="694600"/>
                  <a:pt x="5119422" y="697082"/>
                  <a:pt x="5119422" y="699561"/>
                </a:cubicBezTo>
                <a:cubicBezTo>
                  <a:pt x="5121902" y="697082"/>
                  <a:pt x="5124385" y="697082"/>
                  <a:pt x="5126866" y="694600"/>
                </a:cubicBezTo>
                <a:cubicBezTo>
                  <a:pt x="5129349" y="692118"/>
                  <a:pt x="5129349" y="692118"/>
                  <a:pt x="5131830" y="692118"/>
                </a:cubicBezTo>
                <a:cubicBezTo>
                  <a:pt x="5131830" y="692118"/>
                  <a:pt x="5134313" y="689639"/>
                  <a:pt x="5136794" y="689639"/>
                </a:cubicBezTo>
                <a:cubicBezTo>
                  <a:pt x="5131830" y="687156"/>
                  <a:pt x="5129349" y="687156"/>
                  <a:pt x="5126866" y="687156"/>
                </a:cubicBezTo>
                <a:cubicBezTo>
                  <a:pt x="5134313" y="679715"/>
                  <a:pt x="5144243" y="674754"/>
                  <a:pt x="5154170" y="679715"/>
                </a:cubicBezTo>
                <a:cubicBezTo>
                  <a:pt x="5156651" y="679715"/>
                  <a:pt x="5159132" y="677233"/>
                  <a:pt x="5161616" y="677233"/>
                </a:cubicBezTo>
                <a:cubicBezTo>
                  <a:pt x="5166580" y="674754"/>
                  <a:pt x="5169063" y="672275"/>
                  <a:pt x="5174029" y="669793"/>
                </a:cubicBezTo>
                <a:cubicBezTo>
                  <a:pt x="5171544" y="684676"/>
                  <a:pt x="5164100" y="687156"/>
                  <a:pt x="5156651" y="692118"/>
                </a:cubicBezTo>
                <a:cubicBezTo>
                  <a:pt x="5159132" y="692118"/>
                  <a:pt x="5164100" y="694600"/>
                  <a:pt x="5166580" y="694600"/>
                </a:cubicBezTo>
                <a:lnTo>
                  <a:pt x="5169061" y="706999"/>
                </a:lnTo>
                <a:lnTo>
                  <a:pt x="5165959" y="703591"/>
                </a:lnTo>
                <a:cubicBezTo>
                  <a:pt x="5164718" y="703901"/>
                  <a:pt x="5162856" y="705762"/>
                  <a:pt x="5159132" y="709485"/>
                </a:cubicBezTo>
                <a:cubicBezTo>
                  <a:pt x="5161616" y="709485"/>
                  <a:pt x="5161616" y="709485"/>
                  <a:pt x="5161616" y="709485"/>
                </a:cubicBezTo>
                <a:lnTo>
                  <a:pt x="5169062" y="707003"/>
                </a:lnTo>
                <a:lnTo>
                  <a:pt x="5169475" y="709072"/>
                </a:lnTo>
                <a:lnTo>
                  <a:pt x="5169063" y="709485"/>
                </a:lnTo>
                <a:lnTo>
                  <a:pt x="5169682" y="710103"/>
                </a:lnTo>
                <a:lnTo>
                  <a:pt x="5171544" y="719407"/>
                </a:lnTo>
                <a:cubicBezTo>
                  <a:pt x="5181473" y="711964"/>
                  <a:pt x="5188918" y="704522"/>
                  <a:pt x="5198850" y="699561"/>
                </a:cubicBezTo>
                <a:cubicBezTo>
                  <a:pt x="5198850" y="699561"/>
                  <a:pt x="5201330" y="697082"/>
                  <a:pt x="5201330" y="697082"/>
                </a:cubicBezTo>
                <a:cubicBezTo>
                  <a:pt x="5211258" y="689639"/>
                  <a:pt x="5221187" y="679715"/>
                  <a:pt x="5231115" y="672275"/>
                </a:cubicBezTo>
                <a:cubicBezTo>
                  <a:pt x="5231115" y="672275"/>
                  <a:pt x="5233596" y="669793"/>
                  <a:pt x="5233596" y="667314"/>
                </a:cubicBezTo>
                <a:cubicBezTo>
                  <a:pt x="5233596" y="669793"/>
                  <a:pt x="5236080" y="669793"/>
                  <a:pt x="5236080" y="669793"/>
                </a:cubicBezTo>
                <a:cubicBezTo>
                  <a:pt x="5241044" y="667314"/>
                  <a:pt x="5243525" y="667314"/>
                  <a:pt x="5243525" y="659869"/>
                </a:cubicBezTo>
                <a:cubicBezTo>
                  <a:pt x="5243525" y="657390"/>
                  <a:pt x="5250972" y="652429"/>
                  <a:pt x="5255937" y="647468"/>
                </a:cubicBezTo>
                <a:cubicBezTo>
                  <a:pt x="5258417" y="644984"/>
                  <a:pt x="5258417" y="642505"/>
                  <a:pt x="5260901" y="640023"/>
                </a:cubicBezTo>
                <a:cubicBezTo>
                  <a:pt x="5260901" y="640023"/>
                  <a:pt x="5258417" y="637544"/>
                  <a:pt x="5255937" y="637544"/>
                </a:cubicBezTo>
                <a:cubicBezTo>
                  <a:pt x="5246008" y="642505"/>
                  <a:pt x="5236080" y="647468"/>
                  <a:pt x="5226151" y="654908"/>
                </a:cubicBezTo>
                <a:cubicBezTo>
                  <a:pt x="5223668" y="659869"/>
                  <a:pt x="5218703" y="662351"/>
                  <a:pt x="5213739" y="667314"/>
                </a:cubicBezTo>
                <a:cubicBezTo>
                  <a:pt x="5213739" y="667314"/>
                  <a:pt x="5216222" y="669793"/>
                  <a:pt x="5218703" y="672275"/>
                </a:cubicBezTo>
                <a:cubicBezTo>
                  <a:pt x="5216222" y="679715"/>
                  <a:pt x="5211258" y="689639"/>
                  <a:pt x="5201330" y="689639"/>
                </a:cubicBezTo>
                <a:cubicBezTo>
                  <a:pt x="5193882" y="689639"/>
                  <a:pt x="5188918" y="694600"/>
                  <a:pt x="5183954" y="699561"/>
                </a:cubicBezTo>
                <a:cubicBezTo>
                  <a:pt x="5181473" y="699561"/>
                  <a:pt x="5181473" y="697082"/>
                  <a:pt x="5181473" y="697082"/>
                </a:cubicBezTo>
                <a:cubicBezTo>
                  <a:pt x="5188918" y="692118"/>
                  <a:pt x="5196365" y="687156"/>
                  <a:pt x="5203814" y="679715"/>
                </a:cubicBezTo>
                <a:cubicBezTo>
                  <a:pt x="5196365" y="677233"/>
                  <a:pt x="5191401" y="674754"/>
                  <a:pt x="5181473" y="669793"/>
                </a:cubicBezTo>
                <a:cubicBezTo>
                  <a:pt x="5186437" y="667314"/>
                  <a:pt x="5191401" y="664830"/>
                  <a:pt x="5196365" y="662351"/>
                </a:cubicBezTo>
                <a:cubicBezTo>
                  <a:pt x="5198850" y="662351"/>
                  <a:pt x="5198850" y="659869"/>
                  <a:pt x="5201330" y="659869"/>
                </a:cubicBezTo>
                <a:cubicBezTo>
                  <a:pt x="5213739" y="654908"/>
                  <a:pt x="5216222" y="654908"/>
                  <a:pt x="5206294" y="642505"/>
                </a:cubicBezTo>
                <a:cubicBezTo>
                  <a:pt x="5216222" y="635062"/>
                  <a:pt x="5226151" y="627622"/>
                  <a:pt x="5238560" y="620177"/>
                </a:cubicBezTo>
                <a:cubicBezTo>
                  <a:pt x="5248489" y="615216"/>
                  <a:pt x="5253453" y="600331"/>
                  <a:pt x="5268346" y="605293"/>
                </a:cubicBezTo>
                <a:cubicBezTo>
                  <a:pt x="5273310" y="600331"/>
                  <a:pt x="5280758" y="592891"/>
                  <a:pt x="5285722" y="587930"/>
                </a:cubicBezTo>
                <a:cubicBezTo>
                  <a:pt x="5293167" y="582967"/>
                  <a:pt x="5298132" y="575524"/>
                  <a:pt x="5305577" y="568084"/>
                </a:cubicBezTo>
                <a:cubicBezTo>
                  <a:pt x="5313024" y="563121"/>
                  <a:pt x="5317989" y="560642"/>
                  <a:pt x="5325434" y="555681"/>
                </a:cubicBezTo>
                <a:cubicBezTo>
                  <a:pt x="5325434" y="555681"/>
                  <a:pt x="5327917" y="558160"/>
                  <a:pt x="5327917" y="558160"/>
                </a:cubicBezTo>
                <a:cubicBezTo>
                  <a:pt x="5325434" y="563121"/>
                  <a:pt x="5325434" y="570566"/>
                  <a:pt x="5322953" y="575524"/>
                </a:cubicBezTo>
                <a:cubicBezTo>
                  <a:pt x="5332881" y="568084"/>
                  <a:pt x="5342810" y="565601"/>
                  <a:pt x="5347774" y="555681"/>
                </a:cubicBezTo>
                <a:cubicBezTo>
                  <a:pt x="5350255" y="545759"/>
                  <a:pt x="5357703" y="538314"/>
                  <a:pt x="5362667" y="528392"/>
                </a:cubicBezTo>
                <a:cubicBezTo>
                  <a:pt x="5372595" y="545759"/>
                  <a:pt x="5377560" y="548238"/>
                  <a:pt x="5392452" y="535835"/>
                </a:cubicBezTo>
                <a:cubicBezTo>
                  <a:pt x="5397417" y="533353"/>
                  <a:pt x="5402381" y="528392"/>
                  <a:pt x="5407343" y="525913"/>
                </a:cubicBezTo>
                <a:cubicBezTo>
                  <a:pt x="5414790" y="533353"/>
                  <a:pt x="5419755" y="538314"/>
                  <a:pt x="5424719" y="545759"/>
                </a:cubicBezTo>
                <a:cubicBezTo>
                  <a:pt x="5429683" y="538314"/>
                  <a:pt x="5434647" y="530874"/>
                  <a:pt x="5439612" y="523430"/>
                </a:cubicBezTo>
                <a:cubicBezTo>
                  <a:pt x="5439612" y="520950"/>
                  <a:pt x="5439612" y="518468"/>
                  <a:pt x="5437127" y="515989"/>
                </a:cubicBezTo>
                <a:cubicBezTo>
                  <a:pt x="5437127" y="515989"/>
                  <a:pt x="5439612" y="515989"/>
                  <a:pt x="5439612" y="515989"/>
                </a:cubicBezTo>
                <a:cubicBezTo>
                  <a:pt x="5459469" y="501104"/>
                  <a:pt x="5479326" y="488700"/>
                  <a:pt x="5499183" y="473818"/>
                </a:cubicBezTo>
                <a:cubicBezTo>
                  <a:pt x="5499183" y="473818"/>
                  <a:pt x="5501664" y="471336"/>
                  <a:pt x="5501664" y="471336"/>
                </a:cubicBezTo>
                <a:cubicBezTo>
                  <a:pt x="5506628" y="466375"/>
                  <a:pt x="5509111" y="458933"/>
                  <a:pt x="5514075" y="458933"/>
                </a:cubicBezTo>
                <a:cubicBezTo>
                  <a:pt x="5521521" y="458933"/>
                  <a:pt x="5531449" y="461413"/>
                  <a:pt x="5538897" y="463892"/>
                </a:cubicBezTo>
                <a:cubicBezTo>
                  <a:pt x="5538897" y="458933"/>
                  <a:pt x="5536412" y="453970"/>
                  <a:pt x="5536412" y="446529"/>
                </a:cubicBezTo>
                <a:cubicBezTo>
                  <a:pt x="5548822" y="436605"/>
                  <a:pt x="5563718" y="429165"/>
                  <a:pt x="5578607" y="419241"/>
                </a:cubicBezTo>
                <a:cubicBezTo>
                  <a:pt x="5581092" y="419241"/>
                  <a:pt x="5581092" y="421721"/>
                  <a:pt x="5581092" y="421721"/>
                </a:cubicBezTo>
                <a:cubicBezTo>
                  <a:pt x="5578607" y="426682"/>
                  <a:pt x="5573643" y="429165"/>
                  <a:pt x="5571163" y="434126"/>
                </a:cubicBezTo>
                <a:cubicBezTo>
                  <a:pt x="5573643" y="434126"/>
                  <a:pt x="5573643" y="436605"/>
                  <a:pt x="5573643" y="436605"/>
                </a:cubicBezTo>
                <a:cubicBezTo>
                  <a:pt x="5586056" y="429165"/>
                  <a:pt x="5598464" y="421721"/>
                  <a:pt x="5610877" y="414280"/>
                </a:cubicBezTo>
                <a:cubicBezTo>
                  <a:pt x="5610877" y="414280"/>
                  <a:pt x="5608393" y="409319"/>
                  <a:pt x="5608393" y="406836"/>
                </a:cubicBezTo>
                <a:cubicBezTo>
                  <a:pt x="5608393" y="404358"/>
                  <a:pt x="5610877" y="404358"/>
                  <a:pt x="5610877" y="404358"/>
                </a:cubicBezTo>
                <a:cubicBezTo>
                  <a:pt x="5610877" y="406836"/>
                  <a:pt x="5613357" y="411798"/>
                  <a:pt x="5615841" y="414280"/>
                </a:cubicBezTo>
                <a:cubicBezTo>
                  <a:pt x="5620806" y="406836"/>
                  <a:pt x="5633214" y="404358"/>
                  <a:pt x="5635695" y="394434"/>
                </a:cubicBezTo>
                <a:cubicBezTo>
                  <a:pt x="5635695" y="394434"/>
                  <a:pt x="5640663" y="391952"/>
                  <a:pt x="5640663" y="391952"/>
                </a:cubicBezTo>
                <a:cubicBezTo>
                  <a:pt x="5650591" y="394434"/>
                  <a:pt x="5655552" y="389473"/>
                  <a:pt x="5663000" y="384511"/>
                </a:cubicBezTo>
                <a:cubicBezTo>
                  <a:pt x="5670448" y="382029"/>
                  <a:pt x="5675412" y="379550"/>
                  <a:pt x="5680373" y="369627"/>
                </a:cubicBezTo>
                <a:cubicBezTo>
                  <a:pt x="5685338" y="359704"/>
                  <a:pt x="5697749" y="354742"/>
                  <a:pt x="5707678" y="352261"/>
                </a:cubicBezTo>
                <a:cubicBezTo>
                  <a:pt x="5705195" y="357222"/>
                  <a:pt x="5702715" y="359704"/>
                  <a:pt x="5697749" y="364665"/>
                </a:cubicBezTo>
                <a:cubicBezTo>
                  <a:pt x="5702715" y="364665"/>
                  <a:pt x="5710159" y="362183"/>
                  <a:pt x="5715123" y="362183"/>
                </a:cubicBezTo>
                <a:cubicBezTo>
                  <a:pt x="5715123" y="367144"/>
                  <a:pt x="5717606" y="369627"/>
                  <a:pt x="5717606" y="372107"/>
                </a:cubicBezTo>
                <a:cubicBezTo>
                  <a:pt x="5727535" y="367144"/>
                  <a:pt x="5737463" y="362183"/>
                  <a:pt x="5747392" y="357222"/>
                </a:cubicBezTo>
                <a:cubicBezTo>
                  <a:pt x="5749873" y="359704"/>
                  <a:pt x="5749873" y="362183"/>
                  <a:pt x="5752356" y="364665"/>
                </a:cubicBezTo>
                <a:cubicBezTo>
                  <a:pt x="5752356" y="362183"/>
                  <a:pt x="5754837" y="362183"/>
                  <a:pt x="5754837" y="362183"/>
                </a:cubicBezTo>
                <a:cubicBezTo>
                  <a:pt x="5757322" y="344819"/>
                  <a:pt x="5774694" y="344819"/>
                  <a:pt x="5784623" y="339858"/>
                </a:cubicBezTo>
                <a:cubicBezTo>
                  <a:pt x="5797032" y="334897"/>
                  <a:pt x="5809444" y="329935"/>
                  <a:pt x="5819373" y="322494"/>
                </a:cubicBezTo>
                <a:cubicBezTo>
                  <a:pt x="5824337" y="317532"/>
                  <a:pt x="5824337" y="315051"/>
                  <a:pt x="5819373" y="310089"/>
                </a:cubicBezTo>
                <a:cubicBezTo>
                  <a:pt x="5816889" y="307610"/>
                  <a:pt x="5814408" y="302648"/>
                  <a:pt x="5821853" y="300166"/>
                </a:cubicBezTo>
                <a:cubicBezTo>
                  <a:pt x="5826818" y="300166"/>
                  <a:pt x="5829301" y="292725"/>
                  <a:pt x="5834265" y="290244"/>
                </a:cubicBezTo>
                <a:cubicBezTo>
                  <a:pt x="5851639" y="280320"/>
                  <a:pt x="5869015" y="272879"/>
                  <a:pt x="5886389" y="267918"/>
                </a:cubicBezTo>
                <a:cubicBezTo>
                  <a:pt x="5878941" y="270398"/>
                  <a:pt x="5873979" y="275359"/>
                  <a:pt x="5869015" y="277841"/>
                </a:cubicBezTo>
                <a:cubicBezTo>
                  <a:pt x="5861567" y="280320"/>
                  <a:pt x="5866532" y="290244"/>
                  <a:pt x="5859087" y="292725"/>
                </a:cubicBezTo>
                <a:lnTo>
                  <a:pt x="5853510" y="296441"/>
                </a:lnTo>
                <a:lnTo>
                  <a:pt x="5844194" y="300166"/>
                </a:lnTo>
                <a:lnTo>
                  <a:pt x="5845683" y="301656"/>
                </a:lnTo>
                <a:lnTo>
                  <a:pt x="5844194" y="302648"/>
                </a:lnTo>
                <a:lnTo>
                  <a:pt x="5846060" y="302033"/>
                </a:lnTo>
                <a:lnTo>
                  <a:pt x="5846675" y="302648"/>
                </a:lnTo>
                <a:lnTo>
                  <a:pt x="5848621" y="301189"/>
                </a:lnTo>
                <a:lnTo>
                  <a:pt x="5872428" y="293345"/>
                </a:lnTo>
                <a:cubicBezTo>
                  <a:pt x="5881425" y="289003"/>
                  <a:pt x="5890112" y="284042"/>
                  <a:pt x="5898801" y="280320"/>
                </a:cubicBezTo>
                <a:cubicBezTo>
                  <a:pt x="5918655" y="270398"/>
                  <a:pt x="5936031" y="257995"/>
                  <a:pt x="5955888" y="253034"/>
                </a:cubicBezTo>
                <a:cubicBezTo>
                  <a:pt x="5975745" y="248072"/>
                  <a:pt x="5990635" y="230706"/>
                  <a:pt x="6012976" y="233188"/>
                </a:cubicBezTo>
                <a:cubicBezTo>
                  <a:pt x="6000567" y="240628"/>
                  <a:pt x="5988155" y="248072"/>
                  <a:pt x="5978226" y="253034"/>
                </a:cubicBezTo>
                <a:cubicBezTo>
                  <a:pt x="5965813" y="260474"/>
                  <a:pt x="5950924" y="267918"/>
                  <a:pt x="5940996" y="282802"/>
                </a:cubicBezTo>
                <a:cubicBezTo>
                  <a:pt x="5958369" y="275359"/>
                  <a:pt x="5975745" y="265435"/>
                  <a:pt x="5993119" y="257995"/>
                </a:cubicBezTo>
                <a:cubicBezTo>
                  <a:pt x="5995599" y="260474"/>
                  <a:pt x="5995599" y="262956"/>
                  <a:pt x="5998083" y="265435"/>
                </a:cubicBezTo>
                <a:cubicBezTo>
                  <a:pt x="6003048" y="265435"/>
                  <a:pt x="6010495" y="262956"/>
                  <a:pt x="6017940" y="260474"/>
                </a:cubicBezTo>
                <a:cubicBezTo>
                  <a:pt x="6017940" y="262956"/>
                  <a:pt x="6020420" y="267918"/>
                  <a:pt x="6020420" y="270398"/>
                </a:cubicBezTo>
                <a:cubicBezTo>
                  <a:pt x="6040277" y="267918"/>
                  <a:pt x="6057654" y="262956"/>
                  <a:pt x="6075027" y="253034"/>
                </a:cubicBezTo>
                <a:cubicBezTo>
                  <a:pt x="6072547" y="267918"/>
                  <a:pt x="6060134" y="267918"/>
                  <a:pt x="6047726" y="275359"/>
                </a:cubicBezTo>
                <a:cubicBezTo>
                  <a:pt x="6060134" y="282802"/>
                  <a:pt x="6070064" y="287764"/>
                  <a:pt x="6082476" y="292725"/>
                </a:cubicBezTo>
                <a:cubicBezTo>
                  <a:pt x="6079991" y="300166"/>
                  <a:pt x="6067583" y="290244"/>
                  <a:pt x="6065100" y="297687"/>
                </a:cubicBezTo>
                <a:cubicBezTo>
                  <a:pt x="6075027" y="310089"/>
                  <a:pt x="6082476" y="310089"/>
                  <a:pt x="6094884" y="302648"/>
                </a:cubicBezTo>
                <a:cubicBezTo>
                  <a:pt x="6102329" y="295205"/>
                  <a:pt x="6112261" y="290244"/>
                  <a:pt x="6122190" y="282802"/>
                </a:cubicBezTo>
                <a:cubicBezTo>
                  <a:pt x="6124671" y="300166"/>
                  <a:pt x="6107294" y="300166"/>
                  <a:pt x="6104814" y="312571"/>
                </a:cubicBezTo>
                <a:cubicBezTo>
                  <a:pt x="6112261" y="307610"/>
                  <a:pt x="6117225" y="302648"/>
                  <a:pt x="6127151" y="297687"/>
                </a:cubicBezTo>
                <a:cubicBezTo>
                  <a:pt x="6119705" y="305127"/>
                  <a:pt x="6117225" y="310089"/>
                  <a:pt x="6112261" y="315051"/>
                </a:cubicBezTo>
                <a:cubicBezTo>
                  <a:pt x="6117225" y="317532"/>
                  <a:pt x="6122190" y="317532"/>
                  <a:pt x="6127151" y="320012"/>
                </a:cubicBezTo>
                <a:cubicBezTo>
                  <a:pt x="6124671" y="334897"/>
                  <a:pt x="6097368" y="324973"/>
                  <a:pt x="6102329" y="344819"/>
                </a:cubicBezTo>
                <a:cubicBezTo>
                  <a:pt x="6109778" y="342338"/>
                  <a:pt x="6110399" y="345440"/>
                  <a:pt x="6110399" y="349161"/>
                </a:cubicBezTo>
                <a:lnTo>
                  <a:pt x="6113842" y="355552"/>
                </a:lnTo>
                <a:lnTo>
                  <a:pt x="6089921" y="377068"/>
                </a:lnTo>
                <a:cubicBezTo>
                  <a:pt x="6089921" y="377068"/>
                  <a:pt x="6089921" y="379550"/>
                  <a:pt x="6089921" y="379550"/>
                </a:cubicBezTo>
                <a:cubicBezTo>
                  <a:pt x="6094884" y="379550"/>
                  <a:pt x="6099848" y="379550"/>
                  <a:pt x="6104814" y="377068"/>
                </a:cubicBezTo>
                <a:cubicBezTo>
                  <a:pt x="6107294" y="382029"/>
                  <a:pt x="6109778" y="384511"/>
                  <a:pt x="6112261" y="386990"/>
                </a:cubicBezTo>
                <a:cubicBezTo>
                  <a:pt x="6117225" y="379550"/>
                  <a:pt x="6119705" y="372107"/>
                  <a:pt x="6124671" y="364665"/>
                </a:cubicBezTo>
                <a:cubicBezTo>
                  <a:pt x="6122190" y="367144"/>
                  <a:pt x="6117225" y="369627"/>
                  <a:pt x="6112261" y="372107"/>
                </a:cubicBezTo>
                <a:cubicBezTo>
                  <a:pt x="6112261" y="372107"/>
                  <a:pt x="6109778" y="369627"/>
                  <a:pt x="6109778" y="369627"/>
                </a:cubicBezTo>
                <a:cubicBezTo>
                  <a:pt x="6112261" y="364665"/>
                  <a:pt x="6114741" y="362183"/>
                  <a:pt x="6117225" y="357222"/>
                </a:cubicBezTo>
                <a:lnTo>
                  <a:pt x="6115982" y="355981"/>
                </a:lnTo>
                <a:lnTo>
                  <a:pt x="6139562" y="332417"/>
                </a:lnTo>
                <a:cubicBezTo>
                  <a:pt x="6149492" y="337378"/>
                  <a:pt x="6142047" y="344819"/>
                  <a:pt x="6144528" y="349781"/>
                </a:cubicBezTo>
                <a:cubicBezTo>
                  <a:pt x="6147011" y="359704"/>
                  <a:pt x="6132115" y="354742"/>
                  <a:pt x="6134599" y="364665"/>
                </a:cubicBezTo>
                <a:cubicBezTo>
                  <a:pt x="6144528" y="374588"/>
                  <a:pt x="6149492" y="359704"/>
                  <a:pt x="6159419" y="362183"/>
                </a:cubicBezTo>
                <a:cubicBezTo>
                  <a:pt x="6159419" y="367144"/>
                  <a:pt x="6159419" y="369627"/>
                  <a:pt x="6156936" y="374588"/>
                </a:cubicBezTo>
                <a:cubicBezTo>
                  <a:pt x="6159419" y="377068"/>
                  <a:pt x="6164385" y="377068"/>
                  <a:pt x="6166865" y="377068"/>
                </a:cubicBezTo>
                <a:cubicBezTo>
                  <a:pt x="6159419" y="386990"/>
                  <a:pt x="6149492" y="396914"/>
                  <a:pt x="6144528" y="404358"/>
                </a:cubicBezTo>
                <a:lnTo>
                  <a:pt x="6143855" y="411075"/>
                </a:lnTo>
                <a:lnTo>
                  <a:pt x="6142047" y="411798"/>
                </a:lnTo>
                <a:lnTo>
                  <a:pt x="6143493" y="414692"/>
                </a:lnTo>
                <a:lnTo>
                  <a:pt x="6142047" y="429165"/>
                </a:lnTo>
                <a:cubicBezTo>
                  <a:pt x="6154456" y="419241"/>
                  <a:pt x="6166865" y="409319"/>
                  <a:pt x="6179276" y="401875"/>
                </a:cubicBezTo>
                <a:cubicBezTo>
                  <a:pt x="6191686" y="394434"/>
                  <a:pt x="6204099" y="384511"/>
                  <a:pt x="6216507" y="377068"/>
                </a:cubicBezTo>
                <a:cubicBezTo>
                  <a:pt x="6218988" y="374588"/>
                  <a:pt x="6223956" y="374588"/>
                  <a:pt x="6226436" y="374588"/>
                </a:cubicBezTo>
                <a:cubicBezTo>
                  <a:pt x="6221471" y="377068"/>
                  <a:pt x="6218988" y="382029"/>
                  <a:pt x="6214024" y="384511"/>
                </a:cubicBezTo>
                <a:cubicBezTo>
                  <a:pt x="6214024" y="386990"/>
                  <a:pt x="6216507" y="386990"/>
                  <a:pt x="6216507" y="389473"/>
                </a:cubicBezTo>
                <a:cubicBezTo>
                  <a:pt x="6223956" y="386990"/>
                  <a:pt x="6228920" y="382029"/>
                  <a:pt x="6236364" y="379550"/>
                </a:cubicBezTo>
                <a:cubicBezTo>
                  <a:pt x="6221471" y="401875"/>
                  <a:pt x="6196650" y="411798"/>
                  <a:pt x="6181757" y="426682"/>
                </a:cubicBezTo>
                <a:cubicBezTo>
                  <a:pt x="6179276" y="436605"/>
                  <a:pt x="6176793" y="446529"/>
                  <a:pt x="6174313" y="456451"/>
                </a:cubicBezTo>
                <a:cubicBezTo>
                  <a:pt x="6179276" y="461413"/>
                  <a:pt x="6181757" y="468853"/>
                  <a:pt x="6184242" y="473818"/>
                </a:cubicBezTo>
                <a:cubicBezTo>
                  <a:pt x="6186722" y="481258"/>
                  <a:pt x="6201614" y="473818"/>
                  <a:pt x="6196650" y="486221"/>
                </a:cubicBezTo>
                <a:cubicBezTo>
                  <a:pt x="6211543" y="493661"/>
                  <a:pt x="6223956" y="481258"/>
                  <a:pt x="6238845" y="478777"/>
                </a:cubicBezTo>
                <a:cubicBezTo>
                  <a:pt x="6233884" y="483738"/>
                  <a:pt x="6231400" y="486221"/>
                  <a:pt x="6228920" y="491182"/>
                </a:cubicBezTo>
                <a:cubicBezTo>
                  <a:pt x="6248774" y="483738"/>
                  <a:pt x="6263666" y="466375"/>
                  <a:pt x="6288488" y="458933"/>
                </a:cubicBezTo>
                <a:cubicBezTo>
                  <a:pt x="6286007" y="473818"/>
                  <a:pt x="6271114" y="473818"/>
                  <a:pt x="6263666" y="481258"/>
                </a:cubicBezTo>
                <a:cubicBezTo>
                  <a:pt x="6253741" y="488700"/>
                  <a:pt x="6246293" y="498623"/>
                  <a:pt x="6236364" y="508546"/>
                </a:cubicBezTo>
                <a:cubicBezTo>
                  <a:pt x="6256221" y="508546"/>
                  <a:pt x="6261185" y="498623"/>
                  <a:pt x="6271114" y="491182"/>
                </a:cubicBezTo>
                <a:cubicBezTo>
                  <a:pt x="6281042" y="486221"/>
                  <a:pt x="6290971" y="481258"/>
                  <a:pt x="6303380" y="473818"/>
                </a:cubicBezTo>
                <a:cubicBezTo>
                  <a:pt x="6293452" y="498623"/>
                  <a:pt x="6273595" y="511028"/>
                  <a:pt x="6256221" y="525913"/>
                </a:cubicBezTo>
                <a:cubicBezTo>
                  <a:pt x="6256221" y="533353"/>
                  <a:pt x="6258705" y="538314"/>
                  <a:pt x="6258705" y="545759"/>
                </a:cubicBezTo>
                <a:cubicBezTo>
                  <a:pt x="6261185" y="545759"/>
                  <a:pt x="6266150" y="543276"/>
                  <a:pt x="6271114" y="540796"/>
                </a:cubicBezTo>
                <a:cubicBezTo>
                  <a:pt x="6271114" y="545759"/>
                  <a:pt x="6268631" y="550717"/>
                  <a:pt x="6268631" y="558160"/>
                </a:cubicBezTo>
                <a:cubicBezTo>
                  <a:pt x="6286007" y="548238"/>
                  <a:pt x="6298416" y="538314"/>
                  <a:pt x="6313309" y="528392"/>
                </a:cubicBezTo>
                <a:cubicBezTo>
                  <a:pt x="6315792" y="528392"/>
                  <a:pt x="6315792" y="530874"/>
                  <a:pt x="6315792" y="530874"/>
                </a:cubicBezTo>
                <a:cubicBezTo>
                  <a:pt x="6310828" y="538314"/>
                  <a:pt x="6305864" y="543276"/>
                  <a:pt x="6298416" y="553199"/>
                </a:cubicBezTo>
                <a:cubicBezTo>
                  <a:pt x="6303380" y="553199"/>
                  <a:pt x="6305864" y="553199"/>
                  <a:pt x="6313309" y="553199"/>
                </a:cubicBezTo>
                <a:cubicBezTo>
                  <a:pt x="6303380" y="563121"/>
                  <a:pt x="6293452" y="573045"/>
                  <a:pt x="6281042" y="585451"/>
                </a:cubicBezTo>
                <a:cubicBezTo>
                  <a:pt x="6288488" y="585451"/>
                  <a:pt x="6293452" y="585451"/>
                  <a:pt x="6298416" y="585451"/>
                </a:cubicBezTo>
                <a:cubicBezTo>
                  <a:pt x="6295935" y="590409"/>
                  <a:pt x="6293452" y="592891"/>
                  <a:pt x="6290971" y="597852"/>
                </a:cubicBezTo>
                <a:cubicBezTo>
                  <a:pt x="6305864" y="595370"/>
                  <a:pt x="6300899" y="615216"/>
                  <a:pt x="6315792" y="617698"/>
                </a:cubicBezTo>
                <a:cubicBezTo>
                  <a:pt x="6310828" y="620177"/>
                  <a:pt x="6305864" y="625139"/>
                  <a:pt x="6303380" y="627622"/>
                </a:cubicBezTo>
                <a:cubicBezTo>
                  <a:pt x="6305864" y="630101"/>
                  <a:pt x="6305864" y="630101"/>
                  <a:pt x="6305864" y="630101"/>
                </a:cubicBezTo>
                <a:cubicBezTo>
                  <a:pt x="6310828" y="625139"/>
                  <a:pt x="6318273" y="622659"/>
                  <a:pt x="6323237" y="620177"/>
                </a:cubicBezTo>
                <a:cubicBezTo>
                  <a:pt x="6323237" y="620177"/>
                  <a:pt x="6325718" y="622659"/>
                  <a:pt x="6325718" y="622659"/>
                </a:cubicBezTo>
                <a:lnTo>
                  <a:pt x="6310391" y="635936"/>
                </a:lnTo>
                <a:lnTo>
                  <a:pt x="6310828" y="635062"/>
                </a:lnTo>
                <a:lnTo>
                  <a:pt x="6307112" y="638775"/>
                </a:lnTo>
                <a:lnTo>
                  <a:pt x="6288488" y="654908"/>
                </a:lnTo>
                <a:cubicBezTo>
                  <a:pt x="6286007" y="652429"/>
                  <a:pt x="6281042" y="649947"/>
                  <a:pt x="6278559" y="647468"/>
                </a:cubicBezTo>
                <a:cubicBezTo>
                  <a:pt x="6266150" y="654908"/>
                  <a:pt x="6278559" y="659869"/>
                  <a:pt x="6276078" y="667314"/>
                </a:cubicBezTo>
                <a:cubicBezTo>
                  <a:pt x="6261185" y="674754"/>
                  <a:pt x="6266150" y="687156"/>
                  <a:pt x="6266150" y="702040"/>
                </a:cubicBezTo>
                <a:cubicBezTo>
                  <a:pt x="6273595" y="707002"/>
                  <a:pt x="6281042" y="711964"/>
                  <a:pt x="6290971" y="716925"/>
                </a:cubicBezTo>
                <a:cubicBezTo>
                  <a:pt x="6281042" y="729331"/>
                  <a:pt x="6271114" y="739253"/>
                  <a:pt x="6263666" y="749177"/>
                </a:cubicBezTo>
                <a:cubicBezTo>
                  <a:pt x="6263666" y="749177"/>
                  <a:pt x="6263666" y="751656"/>
                  <a:pt x="6263666" y="751656"/>
                </a:cubicBezTo>
                <a:cubicBezTo>
                  <a:pt x="6268631" y="751656"/>
                  <a:pt x="6273595" y="751656"/>
                  <a:pt x="6276078" y="749177"/>
                </a:cubicBezTo>
                <a:cubicBezTo>
                  <a:pt x="6295935" y="736771"/>
                  <a:pt x="6313309" y="721886"/>
                  <a:pt x="6333166" y="709485"/>
                </a:cubicBezTo>
                <a:cubicBezTo>
                  <a:pt x="6338130" y="707002"/>
                  <a:pt x="6340613" y="704522"/>
                  <a:pt x="6345579" y="704522"/>
                </a:cubicBezTo>
                <a:cubicBezTo>
                  <a:pt x="6348059" y="702040"/>
                  <a:pt x="6353023" y="704522"/>
                  <a:pt x="6353023" y="702040"/>
                </a:cubicBezTo>
                <a:cubicBezTo>
                  <a:pt x="6362951" y="687156"/>
                  <a:pt x="6380325" y="687156"/>
                  <a:pt x="6395220" y="679715"/>
                </a:cubicBezTo>
                <a:cubicBezTo>
                  <a:pt x="6425003" y="667314"/>
                  <a:pt x="6122190" y="1049342"/>
                  <a:pt x="6147011" y="1031978"/>
                </a:cubicBezTo>
                <a:cubicBezTo>
                  <a:pt x="6154456" y="1027017"/>
                  <a:pt x="6164385" y="1017093"/>
                  <a:pt x="6179276" y="1022052"/>
                </a:cubicBezTo>
                <a:cubicBezTo>
                  <a:pt x="6181757" y="1022052"/>
                  <a:pt x="6189206" y="1019573"/>
                  <a:pt x="6191686" y="1017093"/>
                </a:cubicBezTo>
                <a:cubicBezTo>
                  <a:pt x="6199133" y="1007171"/>
                  <a:pt x="6206579" y="1009650"/>
                  <a:pt x="6214024" y="1012132"/>
                </a:cubicBezTo>
                <a:cubicBezTo>
                  <a:pt x="6221471" y="1007171"/>
                  <a:pt x="6226436" y="1002209"/>
                  <a:pt x="6233884" y="999727"/>
                </a:cubicBezTo>
                <a:cubicBezTo>
                  <a:pt x="6241328" y="994765"/>
                  <a:pt x="6251257" y="994765"/>
                  <a:pt x="6248774" y="979881"/>
                </a:cubicBezTo>
                <a:cubicBezTo>
                  <a:pt x="6248774" y="977401"/>
                  <a:pt x="6253741" y="972440"/>
                  <a:pt x="6256221" y="969958"/>
                </a:cubicBezTo>
                <a:cubicBezTo>
                  <a:pt x="6263666" y="964996"/>
                  <a:pt x="6273595" y="960035"/>
                  <a:pt x="6281042" y="955074"/>
                </a:cubicBezTo>
                <a:cubicBezTo>
                  <a:pt x="6283523" y="960035"/>
                  <a:pt x="6286007" y="962517"/>
                  <a:pt x="6288488" y="964996"/>
                </a:cubicBezTo>
                <a:cubicBezTo>
                  <a:pt x="6293452" y="955074"/>
                  <a:pt x="6305864" y="952594"/>
                  <a:pt x="6308345" y="940189"/>
                </a:cubicBezTo>
                <a:cubicBezTo>
                  <a:pt x="6308345" y="935228"/>
                  <a:pt x="6320756" y="927787"/>
                  <a:pt x="6325718" y="930269"/>
                </a:cubicBezTo>
                <a:cubicBezTo>
                  <a:pt x="6340613" y="935228"/>
                  <a:pt x="6348059" y="927787"/>
                  <a:pt x="6353023" y="917864"/>
                </a:cubicBezTo>
                <a:cubicBezTo>
                  <a:pt x="6362951" y="917864"/>
                  <a:pt x="6370399" y="917864"/>
                  <a:pt x="6380325" y="917864"/>
                </a:cubicBezTo>
                <a:cubicBezTo>
                  <a:pt x="6377844" y="912902"/>
                  <a:pt x="6375361" y="910421"/>
                  <a:pt x="6372880" y="907941"/>
                </a:cubicBezTo>
                <a:cubicBezTo>
                  <a:pt x="6395220" y="898018"/>
                  <a:pt x="6415075" y="885616"/>
                  <a:pt x="6437413" y="873211"/>
                </a:cubicBezTo>
                <a:cubicBezTo>
                  <a:pt x="6434932" y="875693"/>
                  <a:pt x="6432451" y="878172"/>
                  <a:pt x="6427487" y="883133"/>
                </a:cubicBezTo>
                <a:cubicBezTo>
                  <a:pt x="6442380" y="878172"/>
                  <a:pt x="6457272" y="878172"/>
                  <a:pt x="6467197" y="863287"/>
                </a:cubicBezTo>
                <a:cubicBezTo>
                  <a:pt x="6467197" y="863287"/>
                  <a:pt x="6469682" y="860808"/>
                  <a:pt x="6469682" y="860808"/>
                </a:cubicBezTo>
                <a:cubicBezTo>
                  <a:pt x="6484575" y="863287"/>
                  <a:pt x="6487054" y="850885"/>
                  <a:pt x="6494503" y="843441"/>
                </a:cubicBezTo>
                <a:cubicBezTo>
                  <a:pt x="6499467" y="836001"/>
                  <a:pt x="6506915" y="831039"/>
                  <a:pt x="6516841" y="831039"/>
                </a:cubicBezTo>
                <a:cubicBezTo>
                  <a:pt x="6516841" y="836001"/>
                  <a:pt x="6519324" y="838480"/>
                  <a:pt x="6519324" y="840962"/>
                </a:cubicBezTo>
                <a:cubicBezTo>
                  <a:pt x="6529253" y="838480"/>
                  <a:pt x="6534217" y="833519"/>
                  <a:pt x="6539181" y="823595"/>
                </a:cubicBezTo>
                <a:cubicBezTo>
                  <a:pt x="6541662" y="816155"/>
                  <a:pt x="6551591" y="811194"/>
                  <a:pt x="6564003" y="811194"/>
                </a:cubicBezTo>
                <a:cubicBezTo>
                  <a:pt x="6561519" y="816155"/>
                  <a:pt x="6559038" y="818634"/>
                  <a:pt x="6551591" y="826078"/>
                </a:cubicBezTo>
                <a:cubicBezTo>
                  <a:pt x="6571448" y="821116"/>
                  <a:pt x="6586341" y="816155"/>
                  <a:pt x="6606198" y="808714"/>
                </a:cubicBezTo>
                <a:cubicBezTo>
                  <a:pt x="6598749" y="813673"/>
                  <a:pt x="6596269" y="818634"/>
                  <a:pt x="6591305" y="821116"/>
                </a:cubicBezTo>
                <a:cubicBezTo>
                  <a:pt x="6593788" y="823595"/>
                  <a:pt x="6596269" y="823595"/>
                  <a:pt x="6596269" y="823595"/>
                </a:cubicBezTo>
                <a:cubicBezTo>
                  <a:pt x="6613642" y="813673"/>
                  <a:pt x="6633499" y="806232"/>
                  <a:pt x="6653356" y="796309"/>
                </a:cubicBezTo>
                <a:cubicBezTo>
                  <a:pt x="6678177" y="783907"/>
                  <a:pt x="6702998" y="773984"/>
                  <a:pt x="6727821" y="761578"/>
                </a:cubicBezTo>
                <a:cubicBezTo>
                  <a:pt x="6727821" y="759099"/>
                  <a:pt x="6730304" y="761578"/>
                  <a:pt x="6730304" y="761578"/>
                </a:cubicBezTo>
                <a:cubicBezTo>
                  <a:pt x="6715408" y="771502"/>
                  <a:pt x="6698034" y="781424"/>
                  <a:pt x="6683141" y="791348"/>
                </a:cubicBezTo>
                <a:cubicBezTo>
                  <a:pt x="6688107" y="796309"/>
                  <a:pt x="6693071" y="798788"/>
                  <a:pt x="6700518" y="796309"/>
                </a:cubicBezTo>
                <a:cubicBezTo>
                  <a:pt x="6717891" y="788868"/>
                  <a:pt x="6732785" y="783907"/>
                  <a:pt x="6750158" y="776463"/>
                </a:cubicBezTo>
                <a:cubicBezTo>
                  <a:pt x="6755122" y="773984"/>
                  <a:pt x="6760086" y="773984"/>
                  <a:pt x="6765050" y="773984"/>
                </a:cubicBezTo>
                <a:cubicBezTo>
                  <a:pt x="6760086" y="791348"/>
                  <a:pt x="6742712" y="796309"/>
                  <a:pt x="6730304" y="803753"/>
                </a:cubicBezTo>
                <a:cubicBezTo>
                  <a:pt x="6727821" y="806232"/>
                  <a:pt x="6725336" y="806232"/>
                  <a:pt x="6722855" y="808714"/>
                </a:cubicBezTo>
                <a:cubicBezTo>
                  <a:pt x="6725336" y="808714"/>
                  <a:pt x="6725336" y="811194"/>
                  <a:pt x="6725336" y="811194"/>
                </a:cubicBezTo>
                <a:cubicBezTo>
                  <a:pt x="6747678" y="801270"/>
                  <a:pt x="6767535" y="791348"/>
                  <a:pt x="6789872" y="781424"/>
                </a:cubicBezTo>
                <a:cubicBezTo>
                  <a:pt x="6794836" y="786386"/>
                  <a:pt x="6799800" y="796309"/>
                  <a:pt x="6812213" y="793830"/>
                </a:cubicBezTo>
                <a:cubicBezTo>
                  <a:pt x="6809729" y="788868"/>
                  <a:pt x="6807249" y="788868"/>
                  <a:pt x="6807249" y="786386"/>
                </a:cubicBezTo>
                <a:cubicBezTo>
                  <a:pt x="6804764" y="783907"/>
                  <a:pt x="6802281" y="778945"/>
                  <a:pt x="6802281" y="776463"/>
                </a:cubicBezTo>
                <a:cubicBezTo>
                  <a:pt x="6804764" y="771502"/>
                  <a:pt x="6809729" y="769022"/>
                  <a:pt x="6812213" y="769022"/>
                </a:cubicBezTo>
                <a:cubicBezTo>
                  <a:pt x="6824621" y="771502"/>
                  <a:pt x="6829586" y="764061"/>
                  <a:pt x="6839514" y="761578"/>
                </a:cubicBezTo>
                <a:cubicBezTo>
                  <a:pt x="6849443" y="759099"/>
                  <a:pt x="6856888" y="754138"/>
                  <a:pt x="6866816" y="749177"/>
                </a:cubicBezTo>
                <a:close/>
              </a:path>
            </a:pathLst>
          </a:custGeom>
          <a:solidFill>
            <a:schemeClr val="accent4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7F911F-94E3-F4EC-03AB-7A71363326CC}"/>
              </a:ext>
            </a:extLst>
          </p:cNvPr>
          <p:cNvSpPr/>
          <p:nvPr/>
        </p:nvSpPr>
        <p:spPr>
          <a:xfrm rot="16200000">
            <a:off x="6535674" y="1217049"/>
            <a:ext cx="6873375" cy="4439277"/>
          </a:xfrm>
          <a:custGeom>
            <a:avLst/>
            <a:gdLst>
              <a:gd name="connsiteX0" fmla="*/ 165153 w 6873375"/>
              <a:gd name="connsiteY0" fmla="*/ 3056238 h 4439277"/>
              <a:gd name="connsiteX1" fmla="*/ 145296 w 6873375"/>
              <a:gd name="connsiteY1" fmla="*/ 3073602 h 4439277"/>
              <a:gd name="connsiteX2" fmla="*/ 157709 w 6873375"/>
              <a:gd name="connsiteY2" fmla="*/ 3063678 h 4439277"/>
              <a:gd name="connsiteX3" fmla="*/ 157709 w 6873375"/>
              <a:gd name="connsiteY3" fmla="*/ 3066161 h 4439277"/>
              <a:gd name="connsiteX4" fmla="*/ 165153 w 6873375"/>
              <a:gd name="connsiteY4" fmla="*/ 3056238 h 4439277"/>
              <a:gd name="connsiteX5" fmla="*/ 1145581 w 6873375"/>
              <a:gd name="connsiteY5" fmla="*/ 1103918 h 4439277"/>
              <a:gd name="connsiteX6" fmla="*/ 1138137 w 6873375"/>
              <a:gd name="connsiteY6" fmla="*/ 1103918 h 4439277"/>
              <a:gd name="connsiteX7" fmla="*/ 1138137 w 6873375"/>
              <a:gd name="connsiteY7" fmla="*/ 1108879 h 4439277"/>
              <a:gd name="connsiteX8" fmla="*/ 1143101 w 6873375"/>
              <a:gd name="connsiteY8" fmla="*/ 1108879 h 4439277"/>
              <a:gd name="connsiteX9" fmla="*/ 1145581 w 6873375"/>
              <a:gd name="connsiteY9" fmla="*/ 1103918 h 4439277"/>
              <a:gd name="connsiteX10" fmla="*/ 1284580 w 6873375"/>
              <a:gd name="connsiteY10" fmla="*/ 1123764 h 4439277"/>
              <a:gd name="connsiteX11" fmla="*/ 1282097 w 6873375"/>
              <a:gd name="connsiteY11" fmla="*/ 1123764 h 4439277"/>
              <a:gd name="connsiteX12" fmla="*/ 1282097 w 6873375"/>
              <a:gd name="connsiteY12" fmla="*/ 1126244 h 4439277"/>
              <a:gd name="connsiteX13" fmla="*/ 1284580 w 6873375"/>
              <a:gd name="connsiteY13" fmla="*/ 1123764 h 4439277"/>
              <a:gd name="connsiteX14" fmla="*/ 1331739 w 6873375"/>
              <a:gd name="connsiteY14" fmla="*/ 1002208 h 4439277"/>
              <a:gd name="connsiteX15" fmla="*/ 1326775 w 6873375"/>
              <a:gd name="connsiteY15" fmla="*/ 1004687 h 4439277"/>
              <a:gd name="connsiteX16" fmla="*/ 1329256 w 6873375"/>
              <a:gd name="connsiteY16" fmla="*/ 1007171 h 4439277"/>
              <a:gd name="connsiteX17" fmla="*/ 1331739 w 6873375"/>
              <a:gd name="connsiteY17" fmla="*/ 1002208 h 4439277"/>
              <a:gd name="connsiteX18" fmla="*/ 1493076 w 6873375"/>
              <a:gd name="connsiteY18" fmla="*/ 838480 h 4439277"/>
              <a:gd name="connsiteX19" fmla="*/ 1435986 w 6873375"/>
              <a:gd name="connsiteY19" fmla="*/ 858325 h 4439277"/>
              <a:gd name="connsiteX20" fmla="*/ 1493076 w 6873375"/>
              <a:gd name="connsiteY20" fmla="*/ 838480 h 4439277"/>
              <a:gd name="connsiteX21" fmla="*/ 1833123 w 6873375"/>
              <a:gd name="connsiteY21" fmla="*/ 756617 h 4439277"/>
              <a:gd name="connsiteX22" fmla="*/ 1823195 w 6873375"/>
              <a:gd name="connsiteY22" fmla="*/ 744215 h 4439277"/>
              <a:gd name="connsiteX23" fmla="*/ 1785965 w 6873375"/>
              <a:gd name="connsiteY23" fmla="*/ 764061 h 4439277"/>
              <a:gd name="connsiteX24" fmla="*/ 1833123 w 6873375"/>
              <a:gd name="connsiteY24" fmla="*/ 756617 h 4439277"/>
              <a:gd name="connsiteX25" fmla="*/ 1900139 w 6873375"/>
              <a:gd name="connsiteY25" fmla="*/ 771501 h 4439277"/>
              <a:gd name="connsiteX26" fmla="*/ 1897660 w 6873375"/>
              <a:gd name="connsiteY26" fmla="*/ 769022 h 4439277"/>
              <a:gd name="connsiteX27" fmla="*/ 1882763 w 6873375"/>
              <a:gd name="connsiteY27" fmla="*/ 773983 h 4439277"/>
              <a:gd name="connsiteX28" fmla="*/ 1892694 w 6873375"/>
              <a:gd name="connsiteY28" fmla="*/ 776462 h 4439277"/>
              <a:gd name="connsiteX29" fmla="*/ 1895175 w 6873375"/>
              <a:gd name="connsiteY29" fmla="*/ 776462 h 4439277"/>
              <a:gd name="connsiteX30" fmla="*/ 1900139 w 6873375"/>
              <a:gd name="connsiteY30" fmla="*/ 771501 h 4439277"/>
              <a:gd name="connsiteX31" fmla="*/ 1917513 w 6873375"/>
              <a:gd name="connsiteY31" fmla="*/ 721886 h 4439277"/>
              <a:gd name="connsiteX32" fmla="*/ 1877801 w 6873375"/>
              <a:gd name="connsiteY32" fmla="*/ 734291 h 4439277"/>
              <a:gd name="connsiteX33" fmla="*/ 1917513 w 6873375"/>
              <a:gd name="connsiteY33" fmla="*/ 721886 h 4439277"/>
              <a:gd name="connsiteX34" fmla="*/ 2071405 w 6873375"/>
              <a:gd name="connsiteY34" fmla="*/ 689638 h 4439277"/>
              <a:gd name="connsiteX35" fmla="*/ 2058993 w 6873375"/>
              <a:gd name="connsiteY35" fmla="*/ 689638 h 4439277"/>
              <a:gd name="connsiteX36" fmla="*/ 2056512 w 6873375"/>
              <a:gd name="connsiteY36" fmla="*/ 702040 h 4439277"/>
              <a:gd name="connsiteX37" fmla="*/ 2068922 w 6873375"/>
              <a:gd name="connsiteY37" fmla="*/ 699561 h 4439277"/>
              <a:gd name="connsiteX38" fmla="*/ 2071405 w 6873375"/>
              <a:gd name="connsiteY38" fmla="*/ 689638 h 4439277"/>
              <a:gd name="connsiteX39" fmla="*/ 2108636 w 6873375"/>
              <a:gd name="connsiteY39" fmla="*/ 697081 h 4439277"/>
              <a:gd name="connsiteX40" fmla="*/ 2106151 w 6873375"/>
              <a:gd name="connsiteY40" fmla="*/ 692118 h 4439277"/>
              <a:gd name="connsiteX41" fmla="*/ 2101191 w 6873375"/>
              <a:gd name="connsiteY41" fmla="*/ 694599 h 4439277"/>
              <a:gd name="connsiteX42" fmla="*/ 2101191 w 6873375"/>
              <a:gd name="connsiteY42" fmla="*/ 702040 h 4439277"/>
              <a:gd name="connsiteX43" fmla="*/ 2108636 w 6873375"/>
              <a:gd name="connsiteY43" fmla="*/ 697081 h 4439277"/>
              <a:gd name="connsiteX44" fmla="*/ 2205438 w 6873375"/>
              <a:gd name="connsiteY44" fmla="*/ 1046859 h 4439277"/>
              <a:gd name="connsiteX45" fmla="*/ 2153314 w 6873375"/>
              <a:gd name="connsiteY45" fmla="*/ 1071667 h 4439277"/>
              <a:gd name="connsiteX46" fmla="*/ 2205438 w 6873375"/>
              <a:gd name="connsiteY46" fmla="*/ 1046859 h 4439277"/>
              <a:gd name="connsiteX47" fmla="*/ 2215366 w 6873375"/>
              <a:gd name="connsiteY47" fmla="*/ 850885 h 4439277"/>
              <a:gd name="connsiteX48" fmla="*/ 2202957 w 6873375"/>
              <a:gd name="connsiteY48" fmla="*/ 858325 h 4439277"/>
              <a:gd name="connsiteX49" fmla="*/ 2193028 w 6873375"/>
              <a:gd name="connsiteY49" fmla="*/ 870731 h 4439277"/>
              <a:gd name="connsiteX50" fmla="*/ 2195508 w 6873375"/>
              <a:gd name="connsiteY50" fmla="*/ 875692 h 4439277"/>
              <a:gd name="connsiteX51" fmla="*/ 2197992 w 6873375"/>
              <a:gd name="connsiteY51" fmla="*/ 870731 h 4439277"/>
              <a:gd name="connsiteX52" fmla="*/ 2200472 w 6873375"/>
              <a:gd name="connsiteY52" fmla="*/ 868249 h 4439277"/>
              <a:gd name="connsiteX53" fmla="*/ 2215366 w 6873375"/>
              <a:gd name="connsiteY53" fmla="*/ 850885 h 4439277"/>
              <a:gd name="connsiteX54" fmla="*/ 2227778 w 6873375"/>
              <a:gd name="connsiteY54" fmla="*/ 878171 h 4439277"/>
              <a:gd name="connsiteX55" fmla="*/ 2200472 w 6873375"/>
              <a:gd name="connsiteY55" fmla="*/ 880653 h 4439277"/>
              <a:gd name="connsiteX56" fmla="*/ 2205438 w 6873375"/>
              <a:gd name="connsiteY56" fmla="*/ 888095 h 4439277"/>
              <a:gd name="connsiteX57" fmla="*/ 2227778 w 6873375"/>
              <a:gd name="connsiteY57" fmla="*/ 883133 h 4439277"/>
              <a:gd name="connsiteX58" fmla="*/ 2227778 w 6873375"/>
              <a:gd name="connsiteY58" fmla="*/ 878171 h 4439277"/>
              <a:gd name="connsiteX59" fmla="*/ 2289830 w 6873375"/>
              <a:gd name="connsiteY59" fmla="*/ 999726 h 4439277"/>
              <a:gd name="connsiteX60" fmla="*/ 2287349 w 6873375"/>
              <a:gd name="connsiteY60" fmla="*/ 997247 h 4439277"/>
              <a:gd name="connsiteX61" fmla="*/ 2250116 w 6873375"/>
              <a:gd name="connsiteY61" fmla="*/ 1019572 h 4439277"/>
              <a:gd name="connsiteX62" fmla="*/ 2252599 w 6873375"/>
              <a:gd name="connsiteY62" fmla="*/ 1024533 h 4439277"/>
              <a:gd name="connsiteX63" fmla="*/ 2289830 w 6873375"/>
              <a:gd name="connsiteY63" fmla="*/ 999726 h 4439277"/>
              <a:gd name="connsiteX64" fmla="*/ 2336988 w 6873375"/>
              <a:gd name="connsiteY64" fmla="*/ 773983 h 4439277"/>
              <a:gd name="connsiteX65" fmla="*/ 2336245 w 6873375"/>
              <a:gd name="connsiteY65" fmla="*/ 779347 h 4439277"/>
              <a:gd name="connsiteX66" fmla="*/ 2332024 w 6873375"/>
              <a:gd name="connsiteY66" fmla="*/ 781424 h 4439277"/>
              <a:gd name="connsiteX67" fmla="*/ 2331397 w 6873375"/>
              <a:gd name="connsiteY67" fmla="*/ 777975 h 4439277"/>
              <a:gd name="connsiteX68" fmla="*/ 2346917 w 6873375"/>
              <a:gd name="connsiteY68" fmla="*/ 960034 h 4439277"/>
              <a:gd name="connsiteX69" fmla="*/ 2339472 w 6873375"/>
              <a:gd name="connsiteY69" fmla="*/ 962516 h 4439277"/>
              <a:gd name="connsiteX70" fmla="*/ 2341952 w 6873375"/>
              <a:gd name="connsiteY70" fmla="*/ 962516 h 4439277"/>
              <a:gd name="connsiteX71" fmla="*/ 2322095 w 6873375"/>
              <a:gd name="connsiteY71" fmla="*/ 979880 h 4439277"/>
              <a:gd name="connsiteX72" fmla="*/ 2334508 w 6873375"/>
              <a:gd name="connsiteY72" fmla="*/ 984841 h 4439277"/>
              <a:gd name="connsiteX73" fmla="*/ 2339472 w 6873375"/>
              <a:gd name="connsiteY73" fmla="*/ 969958 h 4439277"/>
              <a:gd name="connsiteX74" fmla="*/ 2344437 w 6873375"/>
              <a:gd name="connsiteY74" fmla="*/ 962516 h 4439277"/>
              <a:gd name="connsiteX75" fmla="*/ 2346917 w 6873375"/>
              <a:gd name="connsiteY75" fmla="*/ 960034 h 4439277"/>
              <a:gd name="connsiteX76" fmla="*/ 2356845 w 6873375"/>
              <a:gd name="connsiteY76" fmla="*/ 969958 h 4439277"/>
              <a:gd name="connsiteX77" fmla="*/ 2354362 w 6873375"/>
              <a:gd name="connsiteY77" fmla="*/ 969958 h 4439277"/>
              <a:gd name="connsiteX78" fmla="*/ 2351881 w 6873375"/>
              <a:gd name="connsiteY78" fmla="*/ 972440 h 4439277"/>
              <a:gd name="connsiteX79" fmla="*/ 2356845 w 6873375"/>
              <a:gd name="connsiteY79" fmla="*/ 969958 h 4439277"/>
              <a:gd name="connsiteX80" fmla="*/ 2379183 w 6873375"/>
              <a:gd name="connsiteY80" fmla="*/ 905462 h 4439277"/>
              <a:gd name="connsiteX81" fmla="*/ 2366774 w 6873375"/>
              <a:gd name="connsiteY81" fmla="*/ 907941 h 4439277"/>
              <a:gd name="connsiteX82" fmla="*/ 2356845 w 6873375"/>
              <a:gd name="connsiteY82" fmla="*/ 915384 h 4439277"/>
              <a:gd name="connsiteX83" fmla="*/ 2351881 w 6873375"/>
              <a:gd name="connsiteY83" fmla="*/ 898017 h 4439277"/>
              <a:gd name="connsiteX84" fmla="*/ 2317131 w 6873375"/>
              <a:gd name="connsiteY84" fmla="*/ 907941 h 4439277"/>
              <a:gd name="connsiteX85" fmla="*/ 2327060 w 6873375"/>
              <a:gd name="connsiteY85" fmla="*/ 912902 h 4439277"/>
              <a:gd name="connsiteX86" fmla="*/ 2324580 w 6873375"/>
              <a:gd name="connsiteY86" fmla="*/ 915384 h 4439277"/>
              <a:gd name="connsiteX87" fmla="*/ 2190545 w 6873375"/>
              <a:gd name="connsiteY87" fmla="*/ 969958 h 4439277"/>
              <a:gd name="connsiteX88" fmla="*/ 2185581 w 6873375"/>
              <a:gd name="connsiteY88" fmla="*/ 972440 h 4439277"/>
              <a:gd name="connsiteX89" fmla="*/ 2178135 w 6873375"/>
              <a:gd name="connsiteY89" fmla="*/ 987325 h 4439277"/>
              <a:gd name="connsiteX90" fmla="*/ 2168207 w 6873375"/>
              <a:gd name="connsiteY90" fmla="*/ 1012132 h 4439277"/>
              <a:gd name="connsiteX91" fmla="*/ 2183100 w 6873375"/>
              <a:gd name="connsiteY91" fmla="*/ 1004687 h 4439277"/>
              <a:gd name="connsiteX92" fmla="*/ 2195508 w 6873375"/>
              <a:gd name="connsiteY92" fmla="*/ 997247 h 4439277"/>
              <a:gd name="connsiteX93" fmla="*/ 2200472 w 6873375"/>
              <a:gd name="connsiteY93" fmla="*/ 994765 h 4439277"/>
              <a:gd name="connsiteX94" fmla="*/ 2215366 w 6873375"/>
              <a:gd name="connsiteY94" fmla="*/ 987325 h 4439277"/>
              <a:gd name="connsiteX95" fmla="*/ 2220329 w 6873375"/>
              <a:gd name="connsiteY95" fmla="*/ 984841 h 4439277"/>
              <a:gd name="connsiteX96" fmla="*/ 2235223 w 6873375"/>
              <a:gd name="connsiteY96" fmla="*/ 977401 h 4439277"/>
              <a:gd name="connsiteX97" fmla="*/ 2349401 w 6873375"/>
              <a:gd name="connsiteY97" fmla="*/ 922824 h 4439277"/>
              <a:gd name="connsiteX98" fmla="*/ 2356845 w 6873375"/>
              <a:gd name="connsiteY98" fmla="*/ 917863 h 4439277"/>
              <a:gd name="connsiteX99" fmla="*/ 2379183 w 6873375"/>
              <a:gd name="connsiteY99" fmla="*/ 905462 h 4439277"/>
              <a:gd name="connsiteX100" fmla="*/ 2391595 w 6873375"/>
              <a:gd name="connsiteY100" fmla="*/ 885616 h 4439277"/>
              <a:gd name="connsiteX101" fmla="*/ 2387561 w 6873375"/>
              <a:gd name="connsiteY101" fmla="*/ 878793 h 4439277"/>
              <a:gd name="connsiteX102" fmla="*/ 2374222 w 6873375"/>
              <a:gd name="connsiteY102" fmla="*/ 890577 h 4439277"/>
              <a:gd name="connsiteX103" fmla="*/ 2391595 w 6873375"/>
              <a:gd name="connsiteY103" fmla="*/ 885616 h 4439277"/>
              <a:gd name="connsiteX104" fmla="*/ 2411452 w 6873375"/>
              <a:gd name="connsiteY104" fmla="*/ 1074149 h 4439277"/>
              <a:gd name="connsiteX105" fmla="*/ 2404004 w 6873375"/>
              <a:gd name="connsiteY105" fmla="*/ 1071667 h 4439277"/>
              <a:gd name="connsiteX106" fmla="*/ 2394079 w 6873375"/>
              <a:gd name="connsiteY106" fmla="*/ 1079110 h 4439277"/>
              <a:gd name="connsiteX107" fmla="*/ 2394079 w 6873375"/>
              <a:gd name="connsiteY107" fmla="*/ 1081589 h 4439277"/>
              <a:gd name="connsiteX108" fmla="*/ 2411452 w 6873375"/>
              <a:gd name="connsiteY108" fmla="*/ 1074149 h 4439277"/>
              <a:gd name="connsiteX109" fmla="*/ 2441237 w 6873375"/>
              <a:gd name="connsiteY109" fmla="*/ 1061743 h 4439277"/>
              <a:gd name="connsiteX110" fmla="*/ 2416416 w 6873375"/>
              <a:gd name="connsiteY110" fmla="*/ 1071667 h 4439277"/>
              <a:gd name="connsiteX111" fmla="*/ 2418897 w 6873375"/>
              <a:gd name="connsiteY111" fmla="*/ 1071667 h 4439277"/>
              <a:gd name="connsiteX112" fmla="*/ 2416416 w 6873375"/>
              <a:gd name="connsiteY112" fmla="*/ 1081589 h 4439277"/>
              <a:gd name="connsiteX113" fmla="*/ 2413933 w 6873375"/>
              <a:gd name="connsiteY113" fmla="*/ 1084072 h 4439277"/>
              <a:gd name="connsiteX114" fmla="*/ 2441237 w 6873375"/>
              <a:gd name="connsiteY114" fmla="*/ 1061743 h 4439277"/>
              <a:gd name="connsiteX115" fmla="*/ 2543004 w 6873375"/>
              <a:gd name="connsiteY115" fmla="*/ 885616 h 4439277"/>
              <a:gd name="connsiteX116" fmla="*/ 2505774 w 6873375"/>
              <a:gd name="connsiteY116" fmla="*/ 895538 h 4439277"/>
              <a:gd name="connsiteX117" fmla="*/ 2500806 w 6873375"/>
              <a:gd name="connsiteY117" fmla="*/ 907941 h 4439277"/>
              <a:gd name="connsiteX118" fmla="*/ 2533075 w 6873375"/>
              <a:gd name="connsiteY118" fmla="*/ 895538 h 4439277"/>
              <a:gd name="connsiteX119" fmla="*/ 2543004 w 6873375"/>
              <a:gd name="connsiteY119" fmla="*/ 885616 h 4439277"/>
              <a:gd name="connsiteX120" fmla="*/ 2555413 w 6873375"/>
              <a:gd name="connsiteY120" fmla="*/ 783907 h 4439277"/>
              <a:gd name="connsiteX121" fmla="*/ 2528111 w 6873375"/>
              <a:gd name="connsiteY121" fmla="*/ 791347 h 4439277"/>
              <a:gd name="connsiteX122" fmla="*/ 2530592 w 6873375"/>
              <a:gd name="connsiteY122" fmla="*/ 791347 h 4439277"/>
              <a:gd name="connsiteX123" fmla="*/ 2547968 w 6873375"/>
              <a:gd name="connsiteY123" fmla="*/ 788868 h 4439277"/>
              <a:gd name="connsiteX124" fmla="*/ 2555413 w 6873375"/>
              <a:gd name="connsiteY124" fmla="*/ 783907 h 4439277"/>
              <a:gd name="connsiteX125" fmla="*/ 2557896 w 6873375"/>
              <a:gd name="connsiteY125" fmla="*/ 1017093 h 4439277"/>
              <a:gd name="connsiteX126" fmla="*/ 2555413 w 6873375"/>
              <a:gd name="connsiteY126" fmla="*/ 1017093 h 4439277"/>
              <a:gd name="connsiteX127" fmla="*/ 2540520 w 6873375"/>
              <a:gd name="connsiteY127" fmla="*/ 1029496 h 4439277"/>
              <a:gd name="connsiteX128" fmla="*/ 2552932 w 6873375"/>
              <a:gd name="connsiteY128" fmla="*/ 1027016 h 4439277"/>
              <a:gd name="connsiteX129" fmla="*/ 2557896 w 6873375"/>
              <a:gd name="connsiteY129" fmla="*/ 1017093 h 4439277"/>
              <a:gd name="connsiteX130" fmla="*/ 2667419 w 6873375"/>
              <a:gd name="connsiteY130" fmla="*/ 796309 h 4439277"/>
              <a:gd name="connsiteX131" fmla="*/ 2664627 w 6873375"/>
              <a:gd name="connsiteY131" fmla="*/ 791347 h 4439277"/>
              <a:gd name="connsiteX132" fmla="*/ 2664627 w 6873375"/>
              <a:gd name="connsiteY132" fmla="*/ 801270 h 4439277"/>
              <a:gd name="connsiteX133" fmla="*/ 2667419 w 6873375"/>
              <a:gd name="connsiteY133" fmla="*/ 796309 h 4439277"/>
              <a:gd name="connsiteX134" fmla="*/ 2724198 w 6873375"/>
              <a:gd name="connsiteY134" fmla="*/ 905462 h 4439277"/>
              <a:gd name="connsiteX135" fmla="*/ 2724198 w 6873375"/>
              <a:gd name="connsiteY135" fmla="*/ 910420 h 4439277"/>
              <a:gd name="connsiteX136" fmla="*/ 2722937 w 6873375"/>
              <a:gd name="connsiteY136" fmla="*/ 907902 h 4439277"/>
              <a:gd name="connsiteX137" fmla="*/ 2723535 w 6873375"/>
              <a:gd name="connsiteY137" fmla="*/ 905462 h 4439277"/>
              <a:gd name="connsiteX138" fmla="*/ 2912837 w 6873375"/>
              <a:gd name="connsiteY138" fmla="*/ 719407 h 4439277"/>
              <a:gd name="connsiteX139" fmla="*/ 2910353 w 6873375"/>
              <a:gd name="connsiteY139" fmla="*/ 721886 h 4439277"/>
              <a:gd name="connsiteX140" fmla="*/ 2910353 w 6873375"/>
              <a:gd name="connsiteY140" fmla="*/ 724368 h 4439277"/>
              <a:gd name="connsiteX141" fmla="*/ 2912837 w 6873375"/>
              <a:gd name="connsiteY141" fmla="*/ 724368 h 4439277"/>
              <a:gd name="connsiteX142" fmla="*/ 2912837 w 6873375"/>
              <a:gd name="connsiteY142" fmla="*/ 719407 h 4439277"/>
              <a:gd name="connsiteX143" fmla="*/ 3642573 w 6873375"/>
              <a:gd name="connsiteY143" fmla="*/ 578006 h 4439277"/>
              <a:gd name="connsiteX144" fmla="*/ 3640090 w 6873375"/>
              <a:gd name="connsiteY144" fmla="*/ 575524 h 4439277"/>
              <a:gd name="connsiteX145" fmla="*/ 3635126 w 6873375"/>
              <a:gd name="connsiteY145" fmla="*/ 578006 h 4439277"/>
              <a:gd name="connsiteX146" fmla="*/ 3630161 w 6873375"/>
              <a:gd name="connsiteY146" fmla="*/ 582967 h 4439277"/>
              <a:gd name="connsiteX147" fmla="*/ 3615269 w 6873375"/>
              <a:gd name="connsiteY147" fmla="*/ 587929 h 4439277"/>
              <a:gd name="connsiteX148" fmla="*/ 3617752 w 6873375"/>
              <a:gd name="connsiteY148" fmla="*/ 595370 h 4439277"/>
              <a:gd name="connsiteX149" fmla="*/ 3622716 w 6873375"/>
              <a:gd name="connsiteY149" fmla="*/ 597852 h 4439277"/>
              <a:gd name="connsiteX150" fmla="*/ 3630161 w 6873375"/>
              <a:gd name="connsiteY150" fmla="*/ 592891 h 4439277"/>
              <a:gd name="connsiteX151" fmla="*/ 3640090 w 6873375"/>
              <a:gd name="connsiteY151" fmla="*/ 585450 h 4439277"/>
              <a:gd name="connsiteX152" fmla="*/ 3642573 w 6873375"/>
              <a:gd name="connsiteY152" fmla="*/ 582967 h 4439277"/>
              <a:gd name="connsiteX153" fmla="*/ 3642573 w 6873375"/>
              <a:gd name="connsiteY153" fmla="*/ 578006 h 4439277"/>
              <a:gd name="connsiteX154" fmla="*/ 4464146 w 6873375"/>
              <a:gd name="connsiteY154" fmla="*/ 756617 h 4439277"/>
              <a:gd name="connsiteX155" fmla="*/ 4464146 w 6873375"/>
              <a:gd name="connsiteY155" fmla="*/ 759099 h 4439277"/>
              <a:gd name="connsiteX156" fmla="*/ 4458015 w 6873375"/>
              <a:gd name="connsiteY156" fmla="*/ 757056 h 4439277"/>
              <a:gd name="connsiteX157" fmla="*/ 4457942 w 6873375"/>
              <a:gd name="connsiteY157" fmla="*/ 756617 h 4439277"/>
              <a:gd name="connsiteX158" fmla="*/ 4476558 w 6873375"/>
              <a:gd name="connsiteY158" fmla="*/ 622659 h 4439277"/>
              <a:gd name="connsiteX159" fmla="*/ 4474077 w 6873375"/>
              <a:gd name="connsiteY159" fmla="*/ 625139 h 4439277"/>
              <a:gd name="connsiteX160" fmla="*/ 4466629 w 6873375"/>
              <a:gd name="connsiteY160" fmla="*/ 630101 h 4439277"/>
              <a:gd name="connsiteX161" fmla="*/ 4469109 w 6873375"/>
              <a:gd name="connsiteY161" fmla="*/ 625139 h 4439277"/>
              <a:gd name="connsiteX162" fmla="*/ 4476558 w 6873375"/>
              <a:gd name="connsiteY162" fmla="*/ 622659 h 4439277"/>
              <a:gd name="connsiteX163" fmla="*/ 4482549 w 6873375"/>
              <a:gd name="connsiteY163" fmla="*/ 739239 h 4439277"/>
              <a:gd name="connsiteX164" fmla="*/ 4480900 w 6873375"/>
              <a:gd name="connsiteY164" fmla="*/ 744834 h 4439277"/>
              <a:gd name="connsiteX165" fmla="*/ 4474077 w 6873375"/>
              <a:gd name="connsiteY165" fmla="*/ 744215 h 4439277"/>
              <a:gd name="connsiteX166" fmla="*/ 4476872 w 6873375"/>
              <a:gd name="connsiteY166" fmla="*/ 741421 h 4439277"/>
              <a:gd name="connsiteX167" fmla="*/ 4523717 w 6873375"/>
              <a:gd name="connsiteY167" fmla="*/ 773984 h 4439277"/>
              <a:gd name="connsiteX168" fmla="*/ 4521236 w 6873375"/>
              <a:gd name="connsiteY168" fmla="*/ 771502 h 4439277"/>
              <a:gd name="connsiteX169" fmla="*/ 4516272 w 6873375"/>
              <a:gd name="connsiteY169" fmla="*/ 773984 h 4439277"/>
              <a:gd name="connsiteX170" fmla="*/ 4518752 w 6873375"/>
              <a:gd name="connsiteY170" fmla="*/ 778945 h 4439277"/>
              <a:gd name="connsiteX171" fmla="*/ 4523717 w 6873375"/>
              <a:gd name="connsiteY171" fmla="*/ 773984 h 4439277"/>
              <a:gd name="connsiteX172" fmla="*/ 4543574 w 6873375"/>
              <a:gd name="connsiteY172" fmla="*/ 816155 h 4439277"/>
              <a:gd name="connsiteX173" fmla="*/ 4536129 w 6873375"/>
              <a:gd name="connsiteY173" fmla="*/ 811194 h 4439277"/>
              <a:gd name="connsiteX174" fmla="*/ 4536129 w 6873375"/>
              <a:gd name="connsiteY174" fmla="*/ 816155 h 4439277"/>
              <a:gd name="connsiteX175" fmla="*/ 4541093 w 6873375"/>
              <a:gd name="connsiteY175" fmla="*/ 823595 h 4439277"/>
              <a:gd name="connsiteX176" fmla="*/ 4543574 w 6873375"/>
              <a:gd name="connsiteY176" fmla="*/ 816155 h 4439277"/>
              <a:gd name="connsiteX177" fmla="*/ 4546056 w 6873375"/>
              <a:gd name="connsiteY177" fmla="*/ 831039 h 4439277"/>
              <a:gd name="connsiteX178" fmla="*/ 4531163 w 6873375"/>
              <a:gd name="connsiteY178" fmla="*/ 840962 h 4439277"/>
              <a:gd name="connsiteX179" fmla="*/ 4525770 w 6873375"/>
              <a:gd name="connsiteY179" fmla="*/ 839423 h 4439277"/>
              <a:gd name="connsiteX180" fmla="*/ 4533644 w 6873375"/>
              <a:gd name="connsiteY180" fmla="*/ 833519 h 4439277"/>
              <a:gd name="connsiteX181" fmla="*/ 4542326 w 6873375"/>
              <a:gd name="connsiteY181" fmla="*/ 831039 h 4439277"/>
              <a:gd name="connsiteX182" fmla="*/ 4546056 w 6873375"/>
              <a:gd name="connsiteY182" fmla="*/ 707002 h 4439277"/>
              <a:gd name="connsiteX183" fmla="*/ 4536129 w 6873375"/>
              <a:gd name="connsiteY183" fmla="*/ 711964 h 4439277"/>
              <a:gd name="connsiteX184" fmla="*/ 4533644 w 6873375"/>
              <a:gd name="connsiteY184" fmla="*/ 709485 h 4439277"/>
              <a:gd name="connsiteX185" fmla="*/ 4543574 w 6873375"/>
              <a:gd name="connsiteY185" fmla="*/ 702040 h 4439277"/>
              <a:gd name="connsiteX186" fmla="*/ 4546056 w 6873375"/>
              <a:gd name="connsiteY186" fmla="*/ 707002 h 4439277"/>
              <a:gd name="connsiteX187" fmla="*/ 4555986 w 6873375"/>
              <a:gd name="connsiteY187" fmla="*/ 697082 h 4439277"/>
              <a:gd name="connsiteX188" fmla="*/ 4551018 w 6873375"/>
              <a:gd name="connsiteY188" fmla="*/ 702040 h 4439277"/>
              <a:gd name="connsiteX189" fmla="*/ 4548537 w 6873375"/>
              <a:gd name="connsiteY189" fmla="*/ 699561 h 4439277"/>
              <a:gd name="connsiteX190" fmla="*/ 4553501 w 6873375"/>
              <a:gd name="connsiteY190" fmla="*/ 694600 h 4439277"/>
              <a:gd name="connsiteX191" fmla="*/ 4555986 w 6873375"/>
              <a:gd name="connsiteY191" fmla="*/ 697082 h 4439277"/>
              <a:gd name="connsiteX192" fmla="*/ 4573359 w 6873375"/>
              <a:gd name="connsiteY192" fmla="*/ 813673 h 4439277"/>
              <a:gd name="connsiteX193" fmla="*/ 4573359 w 6873375"/>
              <a:gd name="connsiteY193" fmla="*/ 818634 h 4439277"/>
              <a:gd name="connsiteX194" fmla="*/ 4565914 w 6873375"/>
              <a:gd name="connsiteY194" fmla="*/ 823595 h 4439277"/>
              <a:gd name="connsiteX195" fmla="*/ 4565914 w 6873375"/>
              <a:gd name="connsiteY195" fmla="*/ 821116 h 4439277"/>
              <a:gd name="connsiteX196" fmla="*/ 4573359 w 6873375"/>
              <a:gd name="connsiteY196" fmla="*/ 813673 h 4439277"/>
              <a:gd name="connsiteX197" fmla="*/ 5169063 w 6873375"/>
              <a:gd name="connsiteY197" fmla="*/ 719407 h 4439277"/>
              <a:gd name="connsiteX198" fmla="*/ 5151687 w 6873375"/>
              <a:gd name="connsiteY198" fmla="*/ 726847 h 4439277"/>
              <a:gd name="connsiteX199" fmla="*/ 5144243 w 6873375"/>
              <a:gd name="connsiteY199" fmla="*/ 731810 h 4439277"/>
              <a:gd name="connsiteX200" fmla="*/ 5144243 w 6873375"/>
              <a:gd name="connsiteY200" fmla="*/ 736771 h 4439277"/>
              <a:gd name="connsiteX201" fmla="*/ 5151687 w 6873375"/>
              <a:gd name="connsiteY201" fmla="*/ 734292 h 4439277"/>
              <a:gd name="connsiteX202" fmla="*/ 5169063 w 6873375"/>
              <a:gd name="connsiteY202" fmla="*/ 719407 h 4439277"/>
              <a:gd name="connsiteX203" fmla="*/ 5169063 w 6873375"/>
              <a:gd name="connsiteY203" fmla="*/ 707002 h 4439277"/>
              <a:gd name="connsiteX204" fmla="*/ 5169062 w 6873375"/>
              <a:gd name="connsiteY204" fmla="*/ 707003 h 4439277"/>
              <a:gd name="connsiteX205" fmla="*/ 5169061 w 6873375"/>
              <a:gd name="connsiteY205" fmla="*/ 706999 h 4439277"/>
              <a:gd name="connsiteX206" fmla="*/ 5171544 w 6873375"/>
              <a:gd name="connsiteY206" fmla="*/ 707002 h 4439277"/>
              <a:gd name="connsiteX207" fmla="*/ 5171544 w 6873375"/>
              <a:gd name="connsiteY207" fmla="*/ 711964 h 4439277"/>
              <a:gd name="connsiteX208" fmla="*/ 5169682 w 6873375"/>
              <a:gd name="connsiteY208" fmla="*/ 710103 h 4439277"/>
              <a:gd name="connsiteX209" fmla="*/ 5169475 w 6873375"/>
              <a:gd name="connsiteY209" fmla="*/ 709072 h 4439277"/>
              <a:gd name="connsiteX210" fmla="*/ 5278274 w 6873375"/>
              <a:gd name="connsiteY210" fmla="*/ 664830 h 4439277"/>
              <a:gd name="connsiteX211" fmla="*/ 5268346 w 6873375"/>
              <a:gd name="connsiteY211" fmla="*/ 667314 h 4439277"/>
              <a:gd name="connsiteX212" fmla="*/ 5270827 w 6873375"/>
              <a:gd name="connsiteY212" fmla="*/ 669793 h 4439277"/>
              <a:gd name="connsiteX213" fmla="*/ 5278274 w 6873375"/>
              <a:gd name="connsiteY213" fmla="*/ 664830 h 4439277"/>
              <a:gd name="connsiteX214" fmla="*/ 5298132 w 6873375"/>
              <a:gd name="connsiteY214" fmla="*/ 627622 h 4439277"/>
              <a:gd name="connsiteX215" fmla="*/ 5280758 w 6873375"/>
              <a:gd name="connsiteY215" fmla="*/ 637544 h 4439277"/>
              <a:gd name="connsiteX216" fmla="*/ 5283239 w 6873375"/>
              <a:gd name="connsiteY216" fmla="*/ 640023 h 4439277"/>
              <a:gd name="connsiteX217" fmla="*/ 5298132 w 6873375"/>
              <a:gd name="connsiteY217" fmla="*/ 627622 h 4439277"/>
              <a:gd name="connsiteX218" fmla="*/ 5300612 w 6873375"/>
              <a:gd name="connsiteY218" fmla="*/ 677233 h 4439277"/>
              <a:gd name="connsiteX219" fmla="*/ 5285722 w 6873375"/>
              <a:gd name="connsiteY219" fmla="*/ 687156 h 4439277"/>
              <a:gd name="connsiteX220" fmla="*/ 5300612 w 6873375"/>
              <a:gd name="connsiteY220" fmla="*/ 677233 h 4439277"/>
              <a:gd name="connsiteX221" fmla="*/ 5310543 w 6873375"/>
              <a:gd name="connsiteY221" fmla="*/ 607776 h 4439277"/>
              <a:gd name="connsiteX222" fmla="*/ 5308060 w 6873375"/>
              <a:gd name="connsiteY222" fmla="*/ 605293 h 4439277"/>
              <a:gd name="connsiteX223" fmla="*/ 5298132 w 6873375"/>
              <a:gd name="connsiteY223" fmla="*/ 612737 h 4439277"/>
              <a:gd name="connsiteX224" fmla="*/ 5310543 w 6873375"/>
              <a:gd name="connsiteY224" fmla="*/ 607776 h 4439277"/>
              <a:gd name="connsiteX225" fmla="*/ 5317989 w 6873375"/>
              <a:gd name="connsiteY225" fmla="*/ 627622 h 4439277"/>
              <a:gd name="connsiteX226" fmla="*/ 5308060 w 6873375"/>
              <a:gd name="connsiteY226" fmla="*/ 630101 h 4439277"/>
              <a:gd name="connsiteX227" fmla="*/ 5308060 w 6873375"/>
              <a:gd name="connsiteY227" fmla="*/ 632583 h 4439277"/>
              <a:gd name="connsiteX228" fmla="*/ 5317989 w 6873375"/>
              <a:gd name="connsiteY228" fmla="*/ 630101 h 4439277"/>
              <a:gd name="connsiteX229" fmla="*/ 5317989 w 6873375"/>
              <a:gd name="connsiteY229" fmla="*/ 627622 h 4439277"/>
              <a:gd name="connsiteX230" fmla="*/ 5327917 w 6873375"/>
              <a:gd name="connsiteY230" fmla="*/ 729331 h 4439277"/>
              <a:gd name="connsiteX231" fmla="*/ 5320469 w 6873375"/>
              <a:gd name="connsiteY231" fmla="*/ 721886 h 4439277"/>
              <a:gd name="connsiteX232" fmla="*/ 5310543 w 6873375"/>
              <a:gd name="connsiteY232" fmla="*/ 726847 h 4439277"/>
              <a:gd name="connsiteX233" fmla="*/ 5285722 w 6873375"/>
              <a:gd name="connsiteY233" fmla="*/ 739253 h 4439277"/>
              <a:gd name="connsiteX234" fmla="*/ 5315508 w 6873375"/>
              <a:gd name="connsiteY234" fmla="*/ 736771 h 4439277"/>
              <a:gd name="connsiteX235" fmla="*/ 5325434 w 6873375"/>
              <a:gd name="connsiteY235" fmla="*/ 731810 h 4439277"/>
              <a:gd name="connsiteX236" fmla="*/ 5327917 w 6873375"/>
              <a:gd name="connsiteY236" fmla="*/ 729331 h 4439277"/>
              <a:gd name="connsiteX237" fmla="*/ 5347774 w 6873375"/>
              <a:gd name="connsiteY237" fmla="*/ 707002 h 4439277"/>
              <a:gd name="connsiteX238" fmla="*/ 5342810 w 6873375"/>
              <a:gd name="connsiteY238" fmla="*/ 711964 h 4439277"/>
              <a:gd name="connsiteX239" fmla="*/ 5340329 w 6873375"/>
              <a:gd name="connsiteY239" fmla="*/ 714446 h 4439277"/>
              <a:gd name="connsiteX240" fmla="*/ 5347774 w 6873375"/>
              <a:gd name="connsiteY240" fmla="*/ 707002 h 4439277"/>
              <a:gd name="connsiteX241" fmla="*/ 5380041 w 6873375"/>
              <a:gd name="connsiteY241" fmla="*/ 640023 h 4439277"/>
              <a:gd name="connsiteX242" fmla="*/ 5377560 w 6873375"/>
              <a:gd name="connsiteY242" fmla="*/ 635062 h 4439277"/>
              <a:gd name="connsiteX243" fmla="*/ 5370112 w 6873375"/>
              <a:gd name="connsiteY243" fmla="*/ 635062 h 4439277"/>
              <a:gd name="connsiteX244" fmla="*/ 5362667 w 6873375"/>
              <a:gd name="connsiteY244" fmla="*/ 640023 h 4439277"/>
              <a:gd name="connsiteX245" fmla="*/ 5325434 w 6873375"/>
              <a:gd name="connsiteY245" fmla="*/ 657390 h 4439277"/>
              <a:gd name="connsiteX246" fmla="*/ 5313024 w 6873375"/>
              <a:gd name="connsiteY246" fmla="*/ 672275 h 4439277"/>
              <a:gd name="connsiteX247" fmla="*/ 5317989 w 6873375"/>
              <a:gd name="connsiteY247" fmla="*/ 679715 h 4439277"/>
              <a:gd name="connsiteX248" fmla="*/ 5335362 w 6873375"/>
              <a:gd name="connsiteY248" fmla="*/ 674754 h 4439277"/>
              <a:gd name="connsiteX249" fmla="*/ 5337846 w 6873375"/>
              <a:gd name="connsiteY249" fmla="*/ 674754 h 4439277"/>
              <a:gd name="connsiteX250" fmla="*/ 5337846 w 6873375"/>
              <a:gd name="connsiteY250" fmla="*/ 677233 h 4439277"/>
              <a:gd name="connsiteX251" fmla="*/ 5342810 w 6873375"/>
              <a:gd name="connsiteY251" fmla="*/ 679715 h 4439277"/>
              <a:gd name="connsiteX252" fmla="*/ 5342810 w 6873375"/>
              <a:gd name="connsiteY252" fmla="*/ 674754 h 4439277"/>
              <a:gd name="connsiteX253" fmla="*/ 5350255 w 6873375"/>
              <a:gd name="connsiteY253" fmla="*/ 662351 h 4439277"/>
              <a:gd name="connsiteX254" fmla="*/ 5380041 w 6873375"/>
              <a:gd name="connsiteY254" fmla="*/ 640023 h 4439277"/>
              <a:gd name="connsiteX255" fmla="*/ 5389969 w 6873375"/>
              <a:gd name="connsiteY255" fmla="*/ 667314 h 4439277"/>
              <a:gd name="connsiteX256" fmla="*/ 5360184 w 6873375"/>
              <a:gd name="connsiteY256" fmla="*/ 682197 h 4439277"/>
              <a:gd name="connsiteX257" fmla="*/ 5360184 w 6873375"/>
              <a:gd name="connsiteY257" fmla="*/ 694600 h 4439277"/>
              <a:gd name="connsiteX258" fmla="*/ 5362667 w 6873375"/>
              <a:gd name="connsiteY258" fmla="*/ 694600 h 4439277"/>
              <a:gd name="connsiteX259" fmla="*/ 5360184 w 6873375"/>
              <a:gd name="connsiteY259" fmla="*/ 697082 h 4439277"/>
              <a:gd name="connsiteX260" fmla="*/ 5360184 w 6873375"/>
              <a:gd name="connsiteY260" fmla="*/ 702040 h 4439277"/>
              <a:gd name="connsiteX261" fmla="*/ 5365148 w 6873375"/>
              <a:gd name="connsiteY261" fmla="*/ 704522 h 4439277"/>
              <a:gd name="connsiteX262" fmla="*/ 5389969 w 6873375"/>
              <a:gd name="connsiteY262" fmla="*/ 667314 h 4439277"/>
              <a:gd name="connsiteX263" fmla="*/ 5417274 w 6873375"/>
              <a:gd name="connsiteY263" fmla="*/ 558160 h 4439277"/>
              <a:gd name="connsiteX264" fmla="*/ 5404862 w 6873375"/>
              <a:gd name="connsiteY264" fmla="*/ 568084 h 4439277"/>
              <a:gd name="connsiteX265" fmla="*/ 5417274 w 6873375"/>
              <a:gd name="connsiteY265" fmla="*/ 558160 h 4439277"/>
              <a:gd name="connsiteX266" fmla="*/ 5434647 w 6873375"/>
              <a:gd name="connsiteY266" fmla="*/ 647468 h 4439277"/>
              <a:gd name="connsiteX267" fmla="*/ 5422238 w 6873375"/>
              <a:gd name="connsiteY267" fmla="*/ 657390 h 4439277"/>
              <a:gd name="connsiteX268" fmla="*/ 5434647 w 6873375"/>
              <a:gd name="connsiteY268" fmla="*/ 647468 h 4439277"/>
              <a:gd name="connsiteX269" fmla="*/ 5442093 w 6873375"/>
              <a:gd name="connsiteY269" fmla="*/ 592891 h 4439277"/>
              <a:gd name="connsiteX270" fmla="*/ 5439612 w 6873375"/>
              <a:gd name="connsiteY270" fmla="*/ 587930 h 4439277"/>
              <a:gd name="connsiteX271" fmla="*/ 5432163 w 6873375"/>
              <a:gd name="connsiteY271" fmla="*/ 590409 h 4439277"/>
              <a:gd name="connsiteX272" fmla="*/ 5392452 w 6873375"/>
              <a:gd name="connsiteY272" fmla="*/ 620177 h 4439277"/>
              <a:gd name="connsiteX273" fmla="*/ 5392452 w 6873375"/>
              <a:gd name="connsiteY273" fmla="*/ 622659 h 4439277"/>
              <a:gd name="connsiteX274" fmla="*/ 5389969 w 6873375"/>
              <a:gd name="connsiteY274" fmla="*/ 635062 h 4439277"/>
              <a:gd name="connsiteX275" fmla="*/ 5409826 w 6873375"/>
              <a:gd name="connsiteY275" fmla="*/ 620177 h 4439277"/>
              <a:gd name="connsiteX276" fmla="*/ 5404862 w 6873375"/>
              <a:gd name="connsiteY276" fmla="*/ 622659 h 4439277"/>
              <a:gd name="connsiteX277" fmla="*/ 5402381 w 6873375"/>
              <a:gd name="connsiteY277" fmla="*/ 617698 h 4439277"/>
              <a:gd name="connsiteX278" fmla="*/ 5419755 w 6873375"/>
              <a:gd name="connsiteY278" fmla="*/ 610255 h 4439277"/>
              <a:gd name="connsiteX279" fmla="*/ 5442093 w 6873375"/>
              <a:gd name="connsiteY279" fmla="*/ 592891 h 4439277"/>
              <a:gd name="connsiteX280" fmla="*/ 5456984 w 6873375"/>
              <a:gd name="connsiteY280" fmla="*/ 635062 h 4439277"/>
              <a:gd name="connsiteX281" fmla="*/ 5434647 w 6873375"/>
              <a:gd name="connsiteY281" fmla="*/ 649947 h 4439277"/>
              <a:gd name="connsiteX282" fmla="*/ 5444576 w 6873375"/>
              <a:gd name="connsiteY282" fmla="*/ 652429 h 4439277"/>
              <a:gd name="connsiteX283" fmla="*/ 5456984 w 6873375"/>
              <a:gd name="connsiteY283" fmla="*/ 635062 h 4439277"/>
              <a:gd name="connsiteX284" fmla="*/ 5459469 w 6873375"/>
              <a:gd name="connsiteY284" fmla="*/ 607776 h 4439277"/>
              <a:gd name="connsiteX285" fmla="*/ 5450470 w 6873375"/>
              <a:gd name="connsiteY285" fmla="*/ 601572 h 4439277"/>
              <a:gd name="connsiteX286" fmla="*/ 5447057 w 6873375"/>
              <a:gd name="connsiteY286" fmla="*/ 602813 h 4439277"/>
              <a:gd name="connsiteX287" fmla="*/ 5419755 w 6873375"/>
              <a:gd name="connsiteY287" fmla="*/ 625139 h 4439277"/>
              <a:gd name="connsiteX288" fmla="*/ 5377560 w 6873375"/>
              <a:gd name="connsiteY288" fmla="*/ 647468 h 4439277"/>
              <a:gd name="connsiteX289" fmla="*/ 5372595 w 6873375"/>
              <a:gd name="connsiteY289" fmla="*/ 652429 h 4439277"/>
              <a:gd name="connsiteX290" fmla="*/ 5377560 w 6873375"/>
              <a:gd name="connsiteY290" fmla="*/ 657390 h 4439277"/>
              <a:gd name="connsiteX291" fmla="*/ 5389969 w 6873375"/>
              <a:gd name="connsiteY291" fmla="*/ 654908 h 4439277"/>
              <a:gd name="connsiteX292" fmla="*/ 5432163 w 6873375"/>
              <a:gd name="connsiteY292" fmla="*/ 627622 h 4439277"/>
              <a:gd name="connsiteX293" fmla="*/ 5459469 w 6873375"/>
              <a:gd name="connsiteY293" fmla="*/ 607776 h 4439277"/>
              <a:gd name="connsiteX294" fmla="*/ 5479326 w 6873375"/>
              <a:gd name="connsiteY294" fmla="*/ 530874 h 4439277"/>
              <a:gd name="connsiteX295" fmla="*/ 5471568 w 6873375"/>
              <a:gd name="connsiteY295" fmla="*/ 521570 h 4439277"/>
              <a:gd name="connsiteX296" fmla="*/ 5461950 w 6873375"/>
              <a:gd name="connsiteY296" fmla="*/ 530874 h 4439277"/>
              <a:gd name="connsiteX297" fmla="*/ 5479326 w 6873375"/>
              <a:gd name="connsiteY297" fmla="*/ 530874 h 4439277"/>
              <a:gd name="connsiteX298" fmla="*/ 5524001 w 6873375"/>
              <a:gd name="connsiteY298" fmla="*/ 488700 h 4439277"/>
              <a:gd name="connsiteX299" fmla="*/ 5519036 w 6873375"/>
              <a:gd name="connsiteY299" fmla="*/ 491182 h 4439277"/>
              <a:gd name="connsiteX300" fmla="*/ 5516555 w 6873375"/>
              <a:gd name="connsiteY300" fmla="*/ 498623 h 4439277"/>
              <a:gd name="connsiteX301" fmla="*/ 5524001 w 6873375"/>
              <a:gd name="connsiteY301" fmla="*/ 493661 h 4439277"/>
              <a:gd name="connsiteX302" fmla="*/ 5524001 w 6873375"/>
              <a:gd name="connsiteY302" fmla="*/ 488700 h 4439277"/>
              <a:gd name="connsiteX303" fmla="*/ 5538897 w 6873375"/>
              <a:gd name="connsiteY303" fmla="*/ 533353 h 4439277"/>
              <a:gd name="connsiteX304" fmla="*/ 5514075 w 6873375"/>
              <a:gd name="connsiteY304" fmla="*/ 543276 h 4439277"/>
              <a:gd name="connsiteX305" fmla="*/ 5516555 w 6873375"/>
              <a:gd name="connsiteY305" fmla="*/ 545759 h 4439277"/>
              <a:gd name="connsiteX306" fmla="*/ 5538897 w 6873375"/>
              <a:gd name="connsiteY306" fmla="*/ 533353 h 4439277"/>
              <a:gd name="connsiteX307" fmla="*/ 5541378 w 6873375"/>
              <a:gd name="connsiteY307" fmla="*/ 481258 h 4439277"/>
              <a:gd name="connsiteX308" fmla="*/ 5538897 w 6873375"/>
              <a:gd name="connsiteY308" fmla="*/ 478777 h 4439277"/>
              <a:gd name="connsiteX309" fmla="*/ 5536412 w 6873375"/>
              <a:gd name="connsiteY309" fmla="*/ 486221 h 4439277"/>
              <a:gd name="connsiteX310" fmla="*/ 5541378 w 6873375"/>
              <a:gd name="connsiteY310" fmla="*/ 481258 h 4439277"/>
              <a:gd name="connsiteX311" fmla="*/ 5554407 w 6873375"/>
              <a:gd name="connsiteY311" fmla="*/ 524982 h 4439277"/>
              <a:gd name="connsiteX312" fmla="*/ 5551306 w 6873375"/>
              <a:gd name="connsiteY312" fmla="*/ 520950 h 4439277"/>
              <a:gd name="connsiteX313" fmla="*/ 5543858 w 6873375"/>
              <a:gd name="connsiteY313" fmla="*/ 520950 h 4439277"/>
              <a:gd name="connsiteX314" fmla="*/ 5543858 w 6873375"/>
              <a:gd name="connsiteY314" fmla="*/ 528392 h 4439277"/>
              <a:gd name="connsiteX315" fmla="*/ 5553786 w 6873375"/>
              <a:gd name="connsiteY315" fmla="*/ 530874 h 4439277"/>
              <a:gd name="connsiteX316" fmla="*/ 5554407 w 6873375"/>
              <a:gd name="connsiteY316" fmla="*/ 524982 h 4439277"/>
              <a:gd name="connsiteX317" fmla="*/ 5603429 w 6873375"/>
              <a:gd name="connsiteY317" fmla="*/ 449011 h 4439277"/>
              <a:gd name="connsiteX318" fmla="*/ 5566199 w 6873375"/>
              <a:gd name="connsiteY318" fmla="*/ 473818 h 4439277"/>
              <a:gd name="connsiteX319" fmla="*/ 5603429 w 6873375"/>
              <a:gd name="connsiteY319" fmla="*/ 449011 h 4439277"/>
              <a:gd name="connsiteX320" fmla="*/ 5672928 w 6873375"/>
              <a:gd name="connsiteY320" fmla="*/ 401875 h 4439277"/>
              <a:gd name="connsiteX321" fmla="*/ 5628250 w 6873375"/>
              <a:gd name="connsiteY321" fmla="*/ 419241 h 4439277"/>
              <a:gd name="connsiteX322" fmla="*/ 5608393 w 6873375"/>
              <a:gd name="connsiteY322" fmla="*/ 436605 h 4439277"/>
              <a:gd name="connsiteX323" fmla="*/ 5615841 w 6873375"/>
              <a:gd name="connsiteY323" fmla="*/ 439085 h 4439277"/>
              <a:gd name="connsiteX324" fmla="*/ 5658035 w 6873375"/>
              <a:gd name="connsiteY324" fmla="*/ 416760 h 4439277"/>
              <a:gd name="connsiteX325" fmla="*/ 5672928 w 6873375"/>
              <a:gd name="connsiteY325" fmla="*/ 401875 h 4439277"/>
              <a:gd name="connsiteX326" fmla="*/ 5715123 w 6873375"/>
              <a:gd name="connsiteY326" fmla="*/ 384511 h 4439277"/>
              <a:gd name="connsiteX327" fmla="*/ 5682857 w 6873375"/>
              <a:gd name="connsiteY327" fmla="*/ 401875 h 4439277"/>
              <a:gd name="connsiteX328" fmla="*/ 5685338 w 6873375"/>
              <a:gd name="connsiteY328" fmla="*/ 404358 h 4439277"/>
              <a:gd name="connsiteX329" fmla="*/ 5715123 w 6873375"/>
              <a:gd name="connsiteY329" fmla="*/ 384511 h 4439277"/>
              <a:gd name="connsiteX330" fmla="*/ 5801996 w 6873375"/>
              <a:gd name="connsiteY330" fmla="*/ 362183 h 4439277"/>
              <a:gd name="connsiteX331" fmla="*/ 5797032 w 6873375"/>
              <a:gd name="connsiteY331" fmla="*/ 362183 h 4439277"/>
              <a:gd name="connsiteX332" fmla="*/ 5794551 w 6873375"/>
              <a:gd name="connsiteY332" fmla="*/ 367144 h 4439277"/>
              <a:gd name="connsiteX333" fmla="*/ 5801996 w 6873375"/>
              <a:gd name="connsiteY333" fmla="*/ 369627 h 4439277"/>
              <a:gd name="connsiteX334" fmla="*/ 5801996 w 6873375"/>
              <a:gd name="connsiteY334" fmla="*/ 362183 h 4439277"/>
              <a:gd name="connsiteX335" fmla="*/ 5856603 w 6873375"/>
              <a:gd name="connsiteY335" fmla="*/ 295205 h 4439277"/>
              <a:gd name="connsiteX336" fmla="*/ 5848621 w 6873375"/>
              <a:gd name="connsiteY336" fmla="*/ 301189 h 4439277"/>
              <a:gd name="connsiteX337" fmla="*/ 5846060 w 6873375"/>
              <a:gd name="connsiteY337" fmla="*/ 302033 h 4439277"/>
              <a:gd name="connsiteX338" fmla="*/ 5845683 w 6873375"/>
              <a:gd name="connsiteY338" fmla="*/ 301656 h 4439277"/>
              <a:gd name="connsiteX339" fmla="*/ 5853510 w 6873375"/>
              <a:gd name="connsiteY339" fmla="*/ 296441 h 4439277"/>
              <a:gd name="connsiteX340" fmla="*/ 5861567 w 6873375"/>
              <a:gd name="connsiteY340" fmla="*/ 344819 h 4439277"/>
              <a:gd name="connsiteX341" fmla="*/ 5836746 w 6873375"/>
              <a:gd name="connsiteY341" fmla="*/ 357222 h 4439277"/>
              <a:gd name="connsiteX342" fmla="*/ 5861567 w 6873375"/>
              <a:gd name="connsiteY342" fmla="*/ 344819 h 4439277"/>
              <a:gd name="connsiteX343" fmla="*/ 5881424 w 6873375"/>
              <a:gd name="connsiteY343" fmla="*/ 327452 h 4439277"/>
              <a:gd name="connsiteX344" fmla="*/ 5868393 w 6873375"/>
              <a:gd name="connsiteY344" fmla="*/ 326524 h 4439277"/>
              <a:gd name="connsiteX345" fmla="*/ 5866532 w 6873375"/>
              <a:gd name="connsiteY345" fmla="*/ 334897 h 4439277"/>
              <a:gd name="connsiteX346" fmla="*/ 5881424 w 6873375"/>
              <a:gd name="connsiteY346" fmla="*/ 327452 h 4439277"/>
              <a:gd name="connsiteX347" fmla="*/ 5898801 w 6873375"/>
              <a:gd name="connsiteY347" fmla="*/ 312571 h 4439277"/>
              <a:gd name="connsiteX348" fmla="*/ 5881424 w 6873375"/>
              <a:gd name="connsiteY348" fmla="*/ 320012 h 4439277"/>
              <a:gd name="connsiteX349" fmla="*/ 5898801 w 6873375"/>
              <a:gd name="connsiteY349" fmla="*/ 312571 h 4439277"/>
              <a:gd name="connsiteX350" fmla="*/ 6047726 w 6873375"/>
              <a:gd name="connsiteY350" fmla="*/ 292725 h 4439277"/>
              <a:gd name="connsiteX351" fmla="*/ 6037797 w 6873375"/>
              <a:gd name="connsiteY351" fmla="*/ 305127 h 4439277"/>
              <a:gd name="connsiteX352" fmla="*/ 6047726 w 6873375"/>
              <a:gd name="connsiteY352" fmla="*/ 292725 h 4439277"/>
              <a:gd name="connsiteX353" fmla="*/ 6067583 w 6873375"/>
              <a:gd name="connsiteY353" fmla="*/ 324973 h 4439277"/>
              <a:gd name="connsiteX354" fmla="*/ 6045243 w 6873375"/>
              <a:gd name="connsiteY354" fmla="*/ 342337 h 4439277"/>
              <a:gd name="connsiteX355" fmla="*/ 6067583 w 6873375"/>
              <a:gd name="connsiteY355" fmla="*/ 324973 h 4439277"/>
              <a:gd name="connsiteX356" fmla="*/ 6115982 w 6873375"/>
              <a:gd name="connsiteY356" fmla="*/ 355981 h 4439277"/>
              <a:gd name="connsiteX357" fmla="*/ 6114741 w 6873375"/>
              <a:gd name="connsiteY357" fmla="*/ 357222 h 4439277"/>
              <a:gd name="connsiteX358" fmla="*/ 6113842 w 6873375"/>
              <a:gd name="connsiteY358" fmla="*/ 355552 h 4439277"/>
              <a:gd name="connsiteX359" fmla="*/ 6114741 w 6873375"/>
              <a:gd name="connsiteY359" fmla="*/ 354742 h 4439277"/>
              <a:gd name="connsiteX360" fmla="*/ 6139562 w 6873375"/>
              <a:gd name="connsiteY360" fmla="*/ 419241 h 4439277"/>
              <a:gd name="connsiteX361" fmla="*/ 6134599 w 6873375"/>
              <a:gd name="connsiteY361" fmla="*/ 411798 h 4439277"/>
              <a:gd name="connsiteX362" fmla="*/ 6132115 w 6873375"/>
              <a:gd name="connsiteY362" fmla="*/ 414280 h 4439277"/>
              <a:gd name="connsiteX363" fmla="*/ 6137079 w 6873375"/>
              <a:gd name="connsiteY363" fmla="*/ 421721 h 4439277"/>
              <a:gd name="connsiteX364" fmla="*/ 6139562 w 6873375"/>
              <a:gd name="connsiteY364" fmla="*/ 419241 h 4439277"/>
              <a:gd name="connsiteX365" fmla="*/ 6151974 w 6873375"/>
              <a:gd name="connsiteY365" fmla="*/ 389473 h 4439277"/>
              <a:gd name="connsiteX366" fmla="*/ 6144528 w 6873375"/>
              <a:gd name="connsiteY366" fmla="*/ 379550 h 4439277"/>
              <a:gd name="connsiteX367" fmla="*/ 6144528 w 6873375"/>
              <a:gd name="connsiteY367" fmla="*/ 399395 h 4439277"/>
              <a:gd name="connsiteX368" fmla="*/ 6151974 w 6873375"/>
              <a:gd name="connsiteY368" fmla="*/ 389473 h 4439277"/>
              <a:gd name="connsiteX369" fmla="*/ 6154456 w 6873375"/>
              <a:gd name="connsiteY369" fmla="*/ 406836 h 4439277"/>
              <a:gd name="connsiteX370" fmla="*/ 6154456 w 6873375"/>
              <a:gd name="connsiteY370" fmla="*/ 409319 h 4439277"/>
              <a:gd name="connsiteX371" fmla="*/ 6144528 w 6873375"/>
              <a:gd name="connsiteY371" fmla="*/ 416760 h 4439277"/>
              <a:gd name="connsiteX372" fmla="*/ 6143493 w 6873375"/>
              <a:gd name="connsiteY372" fmla="*/ 414692 h 4439277"/>
              <a:gd name="connsiteX373" fmla="*/ 6143855 w 6873375"/>
              <a:gd name="connsiteY373" fmla="*/ 411075 h 4439277"/>
              <a:gd name="connsiteX374" fmla="*/ 6290971 w 6873375"/>
              <a:gd name="connsiteY374" fmla="*/ 977401 h 4439277"/>
              <a:gd name="connsiteX375" fmla="*/ 6286007 w 6873375"/>
              <a:gd name="connsiteY375" fmla="*/ 982363 h 4439277"/>
              <a:gd name="connsiteX376" fmla="*/ 6286007 w 6873375"/>
              <a:gd name="connsiteY376" fmla="*/ 984842 h 4439277"/>
              <a:gd name="connsiteX377" fmla="*/ 6290971 w 6873375"/>
              <a:gd name="connsiteY377" fmla="*/ 977401 h 4439277"/>
              <a:gd name="connsiteX378" fmla="*/ 6308966 w 6873375"/>
              <a:gd name="connsiteY378" fmla="*/ 994146 h 4439277"/>
              <a:gd name="connsiteX379" fmla="*/ 6303380 w 6873375"/>
              <a:gd name="connsiteY379" fmla="*/ 984842 h 4439277"/>
              <a:gd name="connsiteX380" fmla="*/ 6288488 w 6873375"/>
              <a:gd name="connsiteY380" fmla="*/ 997247 h 4439277"/>
              <a:gd name="connsiteX381" fmla="*/ 6281042 w 6873375"/>
              <a:gd name="connsiteY381" fmla="*/ 1002209 h 4439277"/>
              <a:gd name="connsiteX382" fmla="*/ 6261185 w 6873375"/>
              <a:gd name="connsiteY382" fmla="*/ 1009650 h 4439277"/>
              <a:gd name="connsiteX383" fmla="*/ 6204099 w 6873375"/>
              <a:gd name="connsiteY383" fmla="*/ 1051821 h 4439277"/>
              <a:gd name="connsiteX384" fmla="*/ 6194170 w 6873375"/>
              <a:gd name="connsiteY384" fmla="*/ 1061744 h 4439277"/>
              <a:gd name="connsiteX385" fmla="*/ 6216507 w 6873375"/>
              <a:gd name="connsiteY385" fmla="*/ 1051821 h 4439277"/>
              <a:gd name="connsiteX386" fmla="*/ 6221471 w 6873375"/>
              <a:gd name="connsiteY386" fmla="*/ 1059264 h 4439277"/>
              <a:gd name="connsiteX387" fmla="*/ 6231400 w 6873375"/>
              <a:gd name="connsiteY387" fmla="*/ 1046859 h 4439277"/>
              <a:gd name="connsiteX388" fmla="*/ 6233884 w 6873375"/>
              <a:gd name="connsiteY388" fmla="*/ 1039418 h 4439277"/>
              <a:gd name="connsiteX389" fmla="*/ 6271114 w 6873375"/>
              <a:gd name="connsiteY389" fmla="*/ 1017093 h 4439277"/>
              <a:gd name="connsiteX390" fmla="*/ 6303380 w 6873375"/>
              <a:gd name="connsiteY390" fmla="*/ 999727 h 4439277"/>
              <a:gd name="connsiteX391" fmla="*/ 6308966 w 6873375"/>
              <a:gd name="connsiteY391" fmla="*/ 994146 h 4439277"/>
              <a:gd name="connsiteX392" fmla="*/ 6310391 w 6873375"/>
              <a:gd name="connsiteY392" fmla="*/ 635936 h 4439277"/>
              <a:gd name="connsiteX393" fmla="*/ 6305864 w 6873375"/>
              <a:gd name="connsiteY393" fmla="*/ 644984 h 4439277"/>
              <a:gd name="connsiteX394" fmla="*/ 6303380 w 6873375"/>
              <a:gd name="connsiteY394" fmla="*/ 642505 h 4439277"/>
              <a:gd name="connsiteX395" fmla="*/ 6307112 w 6873375"/>
              <a:gd name="connsiteY395" fmla="*/ 638775 h 4439277"/>
              <a:gd name="connsiteX396" fmla="*/ 6407630 w 6873375"/>
              <a:gd name="connsiteY396" fmla="*/ 1267645 h 4439277"/>
              <a:gd name="connsiteX397" fmla="*/ 6405146 w 6873375"/>
              <a:gd name="connsiteY397" fmla="*/ 1265165 h 4439277"/>
              <a:gd name="connsiteX398" fmla="*/ 6397701 w 6873375"/>
              <a:gd name="connsiteY398" fmla="*/ 1270124 h 4439277"/>
              <a:gd name="connsiteX399" fmla="*/ 6400182 w 6873375"/>
              <a:gd name="connsiteY399" fmla="*/ 1272606 h 4439277"/>
              <a:gd name="connsiteX400" fmla="*/ 6407630 w 6873375"/>
              <a:gd name="connsiteY400" fmla="*/ 1267645 h 4439277"/>
              <a:gd name="connsiteX401" fmla="*/ 6737748 w 6873375"/>
              <a:gd name="connsiteY401" fmla="*/ 803753 h 4439277"/>
              <a:gd name="connsiteX402" fmla="*/ 6730304 w 6873375"/>
              <a:gd name="connsiteY402" fmla="*/ 808714 h 4439277"/>
              <a:gd name="connsiteX403" fmla="*/ 6727821 w 6873375"/>
              <a:gd name="connsiteY403" fmla="*/ 806232 h 4439277"/>
              <a:gd name="connsiteX404" fmla="*/ 6735265 w 6873375"/>
              <a:gd name="connsiteY404" fmla="*/ 801270 h 4439277"/>
              <a:gd name="connsiteX405" fmla="*/ 6737748 w 6873375"/>
              <a:gd name="connsiteY405" fmla="*/ 803753 h 4439277"/>
              <a:gd name="connsiteX406" fmla="*/ 6799800 w 6873375"/>
              <a:gd name="connsiteY406" fmla="*/ 1126244 h 4439277"/>
              <a:gd name="connsiteX407" fmla="*/ 6777463 w 6873375"/>
              <a:gd name="connsiteY407" fmla="*/ 1146090 h 4439277"/>
              <a:gd name="connsiteX408" fmla="*/ 6779943 w 6873375"/>
              <a:gd name="connsiteY408" fmla="*/ 1148568 h 4439277"/>
              <a:gd name="connsiteX409" fmla="*/ 6789872 w 6873375"/>
              <a:gd name="connsiteY409" fmla="*/ 1133684 h 4439277"/>
              <a:gd name="connsiteX410" fmla="*/ 6799800 w 6873375"/>
              <a:gd name="connsiteY410" fmla="*/ 1126244 h 4439277"/>
              <a:gd name="connsiteX411" fmla="*/ 6829586 w 6873375"/>
              <a:gd name="connsiteY411" fmla="*/ 1096474 h 4439277"/>
              <a:gd name="connsiteX412" fmla="*/ 6807249 w 6873375"/>
              <a:gd name="connsiteY412" fmla="*/ 1111359 h 4439277"/>
              <a:gd name="connsiteX413" fmla="*/ 6814693 w 6873375"/>
              <a:gd name="connsiteY413" fmla="*/ 1118802 h 4439277"/>
              <a:gd name="connsiteX414" fmla="*/ 6829586 w 6873375"/>
              <a:gd name="connsiteY414" fmla="*/ 1096474 h 4439277"/>
              <a:gd name="connsiteX415" fmla="*/ 6837034 w 6873375"/>
              <a:gd name="connsiteY415" fmla="*/ 979881 h 4439277"/>
              <a:gd name="connsiteX416" fmla="*/ 6834550 w 6873375"/>
              <a:gd name="connsiteY416" fmla="*/ 977401 h 4439277"/>
              <a:gd name="connsiteX417" fmla="*/ 6829586 w 6873375"/>
              <a:gd name="connsiteY417" fmla="*/ 982363 h 4439277"/>
              <a:gd name="connsiteX418" fmla="*/ 6834550 w 6873375"/>
              <a:gd name="connsiteY418" fmla="*/ 982363 h 4439277"/>
              <a:gd name="connsiteX419" fmla="*/ 6837034 w 6873375"/>
              <a:gd name="connsiteY419" fmla="*/ 979881 h 4439277"/>
              <a:gd name="connsiteX420" fmla="*/ 6873375 w 6873375"/>
              <a:gd name="connsiteY420" fmla="*/ 746555 h 4439277"/>
              <a:gd name="connsiteX421" fmla="*/ 6873375 w 6873375"/>
              <a:gd name="connsiteY421" fmla="*/ 772748 h 4439277"/>
              <a:gd name="connsiteX422" fmla="*/ 6869300 w 6873375"/>
              <a:gd name="connsiteY422" fmla="*/ 776463 h 4439277"/>
              <a:gd name="connsiteX423" fmla="*/ 6873375 w 6873375"/>
              <a:gd name="connsiteY423" fmla="*/ 776463 h 4439277"/>
              <a:gd name="connsiteX424" fmla="*/ 6873375 w 6873375"/>
              <a:gd name="connsiteY424" fmla="*/ 823595 h 4439277"/>
              <a:gd name="connsiteX425" fmla="*/ 6861852 w 6873375"/>
              <a:gd name="connsiteY425" fmla="*/ 823595 h 4439277"/>
              <a:gd name="connsiteX426" fmla="*/ 6866816 w 6873375"/>
              <a:gd name="connsiteY426" fmla="*/ 840962 h 4439277"/>
              <a:gd name="connsiteX427" fmla="*/ 6873375 w 6873375"/>
              <a:gd name="connsiteY427" fmla="*/ 834441 h 4439277"/>
              <a:gd name="connsiteX428" fmla="*/ 6873375 w 6873375"/>
              <a:gd name="connsiteY428" fmla="*/ 863520 h 4439277"/>
              <a:gd name="connsiteX429" fmla="*/ 6866816 w 6873375"/>
              <a:gd name="connsiteY429" fmla="*/ 870731 h 4439277"/>
              <a:gd name="connsiteX430" fmla="*/ 6851924 w 6873375"/>
              <a:gd name="connsiteY430" fmla="*/ 883133 h 4439277"/>
              <a:gd name="connsiteX431" fmla="*/ 6812213 w 6873375"/>
              <a:gd name="connsiteY431" fmla="*/ 932748 h 4439277"/>
              <a:gd name="connsiteX432" fmla="*/ 6834550 w 6873375"/>
              <a:gd name="connsiteY432" fmla="*/ 920346 h 4439277"/>
              <a:gd name="connsiteX433" fmla="*/ 6851924 w 6873375"/>
              <a:gd name="connsiteY433" fmla="*/ 900500 h 4439277"/>
              <a:gd name="connsiteX434" fmla="*/ 6856888 w 6873375"/>
              <a:gd name="connsiteY434" fmla="*/ 902979 h 4439277"/>
              <a:gd name="connsiteX435" fmla="*/ 6854407 w 6873375"/>
              <a:gd name="connsiteY435" fmla="*/ 895538 h 4439277"/>
              <a:gd name="connsiteX436" fmla="*/ 6866816 w 6873375"/>
              <a:gd name="connsiteY436" fmla="*/ 878172 h 4439277"/>
              <a:gd name="connsiteX437" fmla="*/ 6873375 w 6873375"/>
              <a:gd name="connsiteY437" fmla="*/ 873257 h 4439277"/>
              <a:gd name="connsiteX438" fmla="*/ 6873375 w 6873375"/>
              <a:gd name="connsiteY438" fmla="*/ 4439277 h 4439277"/>
              <a:gd name="connsiteX439" fmla="*/ 0 w 6873375"/>
              <a:gd name="connsiteY439" fmla="*/ 4439277 h 4439277"/>
              <a:gd name="connsiteX440" fmla="*/ 0 w 6873375"/>
              <a:gd name="connsiteY440" fmla="*/ 2283995 h 4439277"/>
              <a:gd name="connsiteX441" fmla="*/ 16229 w 6873375"/>
              <a:gd name="connsiteY441" fmla="*/ 2264891 h 4439277"/>
              <a:gd name="connsiteX442" fmla="*/ 0 w 6873375"/>
              <a:gd name="connsiteY442" fmla="*/ 2275766 h 4439277"/>
              <a:gd name="connsiteX443" fmla="*/ 0 w 6873375"/>
              <a:gd name="connsiteY443" fmla="*/ 1652065 h 4439277"/>
              <a:gd name="connsiteX444" fmla="*/ 11574 w 6873375"/>
              <a:gd name="connsiteY444" fmla="*/ 1641921 h 4439277"/>
              <a:gd name="connsiteX445" fmla="*/ 33603 w 6873375"/>
              <a:gd name="connsiteY445" fmla="*/ 1629827 h 4439277"/>
              <a:gd name="connsiteX446" fmla="*/ 43530 w 6873375"/>
              <a:gd name="connsiteY446" fmla="*/ 1622385 h 4439277"/>
              <a:gd name="connsiteX447" fmla="*/ 117995 w 6873375"/>
              <a:gd name="connsiteY447" fmla="*/ 1533079 h 4439277"/>
              <a:gd name="connsiteX448" fmla="*/ 199903 w 6873375"/>
              <a:gd name="connsiteY448" fmla="*/ 1476023 h 4439277"/>
              <a:gd name="connsiteX449" fmla="*/ 224724 w 6873375"/>
              <a:gd name="connsiteY449" fmla="*/ 1453698 h 4439277"/>
              <a:gd name="connsiteX450" fmla="*/ 259474 w 6873375"/>
              <a:gd name="connsiteY450" fmla="*/ 1428891 h 4439277"/>
              <a:gd name="connsiteX451" fmla="*/ 341383 w 6873375"/>
              <a:gd name="connsiteY451" fmla="*/ 1384238 h 4439277"/>
              <a:gd name="connsiteX452" fmla="*/ 408399 w 6873375"/>
              <a:gd name="connsiteY452" fmla="*/ 1342066 h 4439277"/>
              <a:gd name="connsiteX453" fmla="*/ 512645 w 6873375"/>
              <a:gd name="connsiteY453" fmla="*/ 1257721 h 4439277"/>
              <a:gd name="connsiteX454" fmla="*/ 609447 w 6873375"/>
              <a:gd name="connsiteY454" fmla="*/ 1200665 h 4439277"/>
              <a:gd name="connsiteX455" fmla="*/ 639233 w 6873375"/>
              <a:gd name="connsiteY455" fmla="*/ 1183298 h 4439277"/>
              <a:gd name="connsiteX456" fmla="*/ 783196 w 6873375"/>
              <a:gd name="connsiteY456" fmla="*/ 1096474 h 4439277"/>
              <a:gd name="connsiteX457" fmla="*/ 805534 w 6873375"/>
              <a:gd name="connsiteY457" fmla="*/ 1081589 h 4439277"/>
              <a:gd name="connsiteX458" fmla="*/ 865105 w 6873375"/>
              <a:gd name="connsiteY458" fmla="*/ 1046859 h 4439277"/>
              <a:gd name="connsiteX459" fmla="*/ 922193 w 6873375"/>
              <a:gd name="connsiteY459" fmla="*/ 1017093 h 4439277"/>
              <a:gd name="connsiteX460" fmla="*/ 1190259 w 6873375"/>
              <a:gd name="connsiteY460" fmla="*/ 930269 h 4439277"/>
              <a:gd name="connsiteX461" fmla="*/ 1279617 w 6873375"/>
              <a:gd name="connsiteY461" fmla="*/ 890577 h 4439277"/>
              <a:gd name="connsiteX462" fmla="*/ 1371453 w 6873375"/>
              <a:gd name="connsiteY462" fmla="*/ 843441 h 4439277"/>
              <a:gd name="connsiteX463" fmla="*/ 1498041 w 6873375"/>
              <a:gd name="connsiteY463" fmla="*/ 801270 h 4439277"/>
              <a:gd name="connsiteX464" fmla="*/ 1510450 w 6873375"/>
              <a:gd name="connsiteY464" fmla="*/ 798788 h 4439277"/>
              <a:gd name="connsiteX465" fmla="*/ 1560093 w 6873375"/>
              <a:gd name="connsiteY465" fmla="*/ 771501 h 4439277"/>
              <a:gd name="connsiteX466" fmla="*/ 1646966 w 6873375"/>
              <a:gd name="connsiteY466" fmla="*/ 734291 h 4439277"/>
              <a:gd name="connsiteX467" fmla="*/ 1669306 w 6873375"/>
              <a:gd name="connsiteY467" fmla="*/ 729330 h 4439277"/>
              <a:gd name="connsiteX468" fmla="*/ 1743767 w 6873375"/>
              <a:gd name="connsiteY468" fmla="*/ 702040 h 4439277"/>
              <a:gd name="connsiteX469" fmla="*/ 1756179 w 6873375"/>
              <a:gd name="connsiteY469" fmla="*/ 697081 h 4439277"/>
              <a:gd name="connsiteX470" fmla="*/ 1857944 w 6873375"/>
              <a:gd name="connsiteY470" fmla="*/ 674754 h 4439277"/>
              <a:gd name="connsiteX471" fmla="*/ 1957227 w 6873375"/>
              <a:gd name="connsiteY471" fmla="*/ 652428 h 4439277"/>
              <a:gd name="connsiteX472" fmla="*/ 2004389 w 6873375"/>
              <a:gd name="connsiteY472" fmla="*/ 642505 h 4439277"/>
              <a:gd name="connsiteX473" fmla="*/ 2026727 w 6873375"/>
              <a:gd name="connsiteY473" fmla="*/ 637544 h 4439277"/>
              <a:gd name="connsiteX474" fmla="*/ 2113600 w 6873375"/>
              <a:gd name="connsiteY474" fmla="*/ 635062 h 4439277"/>
              <a:gd name="connsiteX475" fmla="*/ 2138421 w 6873375"/>
              <a:gd name="connsiteY475" fmla="*/ 630101 h 4439277"/>
              <a:gd name="connsiteX476" fmla="*/ 2170690 w 6873375"/>
              <a:gd name="connsiteY476" fmla="*/ 642505 h 4439277"/>
              <a:gd name="connsiteX477" fmla="*/ 2170690 w 6873375"/>
              <a:gd name="connsiteY477" fmla="*/ 644984 h 4439277"/>
              <a:gd name="connsiteX478" fmla="*/ 2252599 w 6873375"/>
              <a:gd name="connsiteY478" fmla="*/ 602813 h 4439277"/>
              <a:gd name="connsiteX479" fmla="*/ 2401524 w 6873375"/>
              <a:gd name="connsiteY479" fmla="*/ 535835 h 4439277"/>
              <a:gd name="connsiteX480" fmla="*/ 2431310 w 6873375"/>
              <a:gd name="connsiteY480" fmla="*/ 525912 h 4439277"/>
              <a:gd name="connsiteX481" fmla="*/ 2443718 w 6873375"/>
              <a:gd name="connsiteY481" fmla="*/ 533353 h 4439277"/>
              <a:gd name="connsiteX482" fmla="*/ 2389112 w 6873375"/>
              <a:gd name="connsiteY482" fmla="*/ 560642 h 4439277"/>
              <a:gd name="connsiteX483" fmla="*/ 2334508 w 6873375"/>
              <a:gd name="connsiteY483" fmla="*/ 590409 h 4439277"/>
              <a:gd name="connsiteX484" fmla="*/ 2279900 w 6873375"/>
              <a:gd name="connsiteY484" fmla="*/ 620177 h 4439277"/>
              <a:gd name="connsiteX485" fmla="*/ 2299758 w 6873375"/>
              <a:gd name="connsiteY485" fmla="*/ 620177 h 4439277"/>
              <a:gd name="connsiteX486" fmla="*/ 2381666 w 6873375"/>
              <a:gd name="connsiteY486" fmla="*/ 578006 h 4439277"/>
              <a:gd name="connsiteX487" fmla="*/ 2520663 w 6873375"/>
              <a:gd name="connsiteY487" fmla="*/ 528392 h 4439277"/>
              <a:gd name="connsiteX488" fmla="*/ 2540520 w 6873375"/>
              <a:gd name="connsiteY488" fmla="*/ 525912 h 4439277"/>
              <a:gd name="connsiteX489" fmla="*/ 2557896 w 6873375"/>
              <a:gd name="connsiteY489" fmla="*/ 535835 h 4439277"/>
              <a:gd name="connsiteX490" fmla="*/ 2572789 w 6873375"/>
              <a:gd name="connsiteY490" fmla="*/ 553199 h 4439277"/>
              <a:gd name="connsiteX491" fmla="*/ 2570306 w 6873375"/>
              <a:gd name="connsiteY491" fmla="*/ 573045 h 4439277"/>
              <a:gd name="connsiteX492" fmla="*/ 2612504 w 6873375"/>
              <a:gd name="connsiteY492" fmla="*/ 555681 h 4439277"/>
              <a:gd name="connsiteX493" fmla="*/ 2495842 w 6873375"/>
              <a:gd name="connsiteY493" fmla="*/ 632582 h 4439277"/>
              <a:gd name="connsiteX494" fmla="*/ 2510738 w 6873375"/>
              <a:gd name="connsiteY494" fmla="*/ 647467 h 4439277"/>
              <a:gd name="connsiteX495" fmla="*/ 2518182 w 6873375"/>
              <a:gd name="connsiteY495" fmla="*/ 649946 h 4439277"/>
              <a:gd name="connsiteX496" fmla="*/ 2543004 w 6873375"/>
              <a:gd name="connsiteY496" fmla="*/ 644984 h 4439277"/>
              <a:gd name="connsiteX497" fmla="*/ 2667107 w 6873375"/>
              <a:gd name="connsiteY497" fmla="*/ 610255 h 4439277"/>
              <a:gd name="connsiteX498" fmla="*/ 2716750 w 6873375"/>
              <a:gd name="connsiteY498" fmla="*/ 602813 h 4439277"/>
              <a:gd name="connsiteX499" fmla="*/ 2736607 w 6873375"/>
              <a:gd name="connsiteY499" fmla="*/ 610255 h 4439277"/>
              <a:gd name="connsiteX500" fmla="*/ 2714266 w 6873375"/>
              <a:gd name="connsiteY500" fmla="*/ 620177 h 4439277"/>
              <a:gd name="connsiteX501" fmla="*/ 2508254 w 6873375"/>
              <a:gd name="connsiteY501" fmla="*/ 674754 h 4439277"/>
              <a:gd name="connsiteX502" fmla="*/ 2505774 w 6873375"/>
              <a:gd name="connsiteY502" fmla="*/ 677233 h 4439277"/>
              <a:gd name="connsiteX503" fmla="*/ 2510738 w 6873375"/>
              <a:gd name="connsiteY503" fmla="*/ 684676 h 4439277"/>
              <a:gd name="connsiteX504" fmla="*/ 2468540 w 6873375"/>
              <a:gd name="connsiteY504" fmla="*/ 697081 h 4439277"/>
              <a:gd name="connsiteX505" fmla="*/ 2480953 w 6873375"/>
              <a:gd name="connsiteY505" fmla="*/ 702040 h 4439277"/>
              <a:gd name="connsiteX506" fmla="*/ 2381666 w 6873375"/>
              <a:gd name="connsiteY506" fmla="*/ 736771 h 4439277"/>
              <a:gd name="connsiteX507" fmla="*/ 2438754 w 6873375"/>
              <a:gd name="connsiteY507" fmla="*/ 704522 h 4439277"/>
              <a:gd name="connsiteX508" fmla="*/ 2426346 w 6873375"/>
              <a:gd name="connsiteY508" fmla="*/ 709484 h 4439277"/>
              <a:gd name="connsiteX509" fmla="*/ 2371738 w 6873375"/>
              <a:gd name="connsiteY509" fmla="*/ 731809 h 4439277"/>
              <a:gd name="connsiteX510" fmla="*/ 2327060 w 6873375"/>
              <a:gd name="connsiteY510" fmla="*/ 754137 h 4439277"/>
              <a:gd name="connsiteX511" fmla="*/ 2331397 w 6873375"/>
              <a:gd name="connsiteY511" fmla="*/ 777975 h 4439277"/>
              <a:gd name="connsiteX512" fmla="*/ 2319615 w 6873375"/>
              <a:gd name="connsiteY512" fmla="*/ 786386 h 4439277"/>
              <a:gd name="connsiteX513" fmla="*/ 2284866 w 6873375"/>
              <a:gd name="connsiteY513" fmla="*/ 808714 h 4439277"/>
              <a:gd name="connsiteX514" fmla="*/ 2225295 w 6873375"/>
              <a:gd name="connsiteY514" fmla="*/ 840961 h 4439277"/>
              <a:gd name="connsiteX515" fmla="*/ 2230259 w 6873375"/>
              <a:gd name="connsiteY515" fmla="*/ 853364 h 4439277"/>
              <a:gd name="connsiteX516" fmla="*/ 2324580 w 6873375"/>
              <a:gd name="connsiteY516" fmla="*/ 811193 h 4439277"/>
              <a:gd name="connsiteX517" fmla="*/ 2329544 w 6873375"/>
              <a:gd name="connsiteY517" fmla="*/ 808714 h 4439277"/>
              <a:gd name="connsiteX518" fmla="*/ 2334197 w 6873375"/>
              <a:gd name="connsiteY518" fmla="*/ 794138 h 4439277"/>
              <a:gd name="connsiteX519" fmla="*/ 2336245 w 6873375"/>
              <a:gd name="connsiteY519" fmla="*/ 779347 h 4439277"/>
              <a:gd name="connsiteX520" fmla="*/ 2393146 w 6873375"/>
              <a:gd name="connsiteY520" fmla="*/ 751345 h 4439277"/>
              <a:gd name="connsiteX521" fmla="*/ 2456130 w 6873375"/>
              <a:gd name="connsiteY521" fmla="*/ 726847 h 4439277"/>
              <a:gd name="connsiteX522" fmla="*/ 2473504 w 6873375"/>
              <a:gd name="connsiteY522" fmla="*/ 719407 h 4439277"/>
              <a:gd name="connsiteX523" fmla="*/ 2543004 w 6873375"/>
              <a:gd name="connsiteY523" fmla="*/ 692118 h 4439277"/>
              <a:gd name="connsiteX524" fmla="*/ 2614984 w 6873375"/>
              <a:gd name="connsiteY524" fmla="*/ 674754 h 4439277"/>
              <a:gd name="connsiteX525" fmla="*/ 2664627 w 6873375"/>
              <a:gd name="connsiteY525" fmla="*/ 659869 h 4439277"/>
              <a:gd name="connsiteX526" fmla="*/ 2716750 w 6873375"/>
              <a:gd name="connsiteY526" fmla="*/ 649946 h 4439277"/>
              <a:gd name="connsiteX527" fmla="*/ 2716750 w 6873375"/>
              <a:gd name="connsiteY527" fmla="*/ 664830 h 4439277"/>
              <a:gd name="connsiteX528" fmla="*/ 2736607 w 6873375"/>
              <a:gd name="connsiteY528" fmla="*/ 669792 h 4439277"/>
              <a:gd name="connsiteX529" fmla="*/ 2763908 w 6873375"/>
              <a:gd name="connsiteY529" fmla="*/ 662351 h 4439277"/>
              <a:gd name="connsiteX530" fmla="*/ 2786250 w 6873375"/>
              <a:gd name="connsiteY530" fmla="*/ 672274 h 4439277"/>
              <a:gd name="connsiteX531" fmla="*/ 2773838 w 6873375"/>
              <a:gd name="connsiteY531" fmla="*/ 684676 h 4439277"/>
              <a:gd name="connsiteX532" fmla="*/ 2647253 w 6873375"/>
              <a:gd name="connsiteY532" fmla="*/ 741732 h 4439277"/>
              <a:gd name="connsiteX533" fmla="*/ 2614984 w 6873375"/>
              <a:gd name="connsiteY533" fmla="*/ 761578 h 4439277"/>
              <a:gd name="connsiteX534" fmla="*/ 2605055 w 6873375"/>
              <a:gd name="connsiteY534" fmla="*/ 766539 h 4439277"/>
              <a:gd name="connsiteX535" fmla="*/ 2624913 w 6873375"/>
              <a:gd name="connsiteY535" fmla="*/ 766539 h 4439277"/>
              <a:gd name="connsiteX536" fmla="*/ 2639805 w 6873375"/>
              <a:gd name="connsiteY536" fmla="*/ 764061 h 4439277"/>
              <a:gd name="connsiteX537" fmla="*/ 2652215 w 6873375"/>
              <a:gd name="connsiteY537" fmla="*/ 783907 h 4439277"/>
              <a:gd name="connsiteX538" fmla="*/ 2644770 w 6873375"/>
              <a:gd name="connsiteY538" fmla="*/ 791347 h 4439277"/>
              <a:gd name="connsiteX539" fmla="*/ 2644770 w 6873375"/>
              <a:gd name="connsiteY539" fmla="*/ 796308 h 4439277"/>
              <a:gd name="connsiteX540" fmla="*/ 2654698 w 6873375"/>
              <a:gd name="connsiteY540" fmla="*/ 791347 h 4439277"/>
              <a:gd name="connsiteX541" fmla="*/ 2659662 w 6873375"/>
              <a:gd name="connsiteY541" fmla="*/ 781424 h 4439277"/>
              <a:gd name="connsiteX542" fmla="*/ 2674555 w 6873375"/>
              <a:gd name="connsiteY542" fmla="*/ 778944 h 4439277"/>
              <a:gd name="connsiteX543" fmla="*/ 2686965 w 6873375"/>
              <a:gd name="connsiteY543" fmla="*/ 776462 h 4439277"/>
              <a:gd name="connsiteX544" fmla="*/ 2719230 w 6873375"/>
              <a:gd name="connsiteY544" fmla="*/ 766539 h 4439277"/>
              <a:gd name="connsiteX545" fmla="*/ 2838372 w 6873375"/>
              <a:gd name="connsiteY545" fmla="*/ 719407 h 4439277"/>
              <a:gd name="connsiteX546" fmla="*/ 2860710 w 6873375"/>
              <a:gd name="connsiteY546" fmla="*/ 707001 h 4439277"/>
              <a:gd name="connsiteX547" fmla="*/ 2912837 w 6873375"/>
              <a:gd name="connsiteY547" fmla="*/ 672274 h 4439277"/>
              <a:gd name="connsiteX548" fmla="*/ 2935174 w 6873375"/>
              <a:gd name="connsiteY548" fmla="*/ 667313 h 4439277"/>
              <a:gd name="connsiteX549" fmla="*/ 2940138 w 6873375"/>
              <a:gd name="connsiteY549" fmla="*/ 672274 h 4439277"/>
              <a:gd name="connsiteX550" fmla="*/ 2937655 w 6873375"/>
              <a:gd name="connsiteY550" fmla="*/ 679715 h 4439277"/>
              <a:gd name="connsiteX551" fmla="*/ 2915317 w 6873375"/>
              <a:gd name="connsiteY551" fmla="*/ 699561 h 4439277"/>
              <a:gd name="connsiteX552" fmla="*/ 2932694 w 6873375"/>
              <a:gd name="connsiteY552" fmla="*/ 704522 h 4439277"/>
              <a:gd name="connsiteX553" fmla="*/ 3027011 w 6873375"/>
              <a:gd name="connsiteY553" fmla="*/ 684676 h 4439277"/>
              <a:gd name="connsiteX554" fmla="*/ 2940138 w 6873375"/>
              <a:gd name="connsiteY554" fmla="*/ 714445 h 4439277"/>
              <a:gd name="connsiteX555" fmla="*/ 2902909 w 6873375"/>
              <a:gd name="connsiteY555" fmla="*/ 729330 h 4439277"/>
              <a:gd name="connsiteX556" fmla="*/ 2863195 w 6873375"/>
              <a:gd name="connsiteY556" fmla="*/ 746693 h 4439277"/>
              <a:gd name="connsiteX557" fmla="*/ 2835892 w 6873375"/>
              <a:gd name="connsiteY557" fmla="*/ 764061 h 4439277"/>
              <a:gd name="connsiteX558" fmla="*/ 2850782 w 6873375"/>
              <a:gd name="connsiteY558" fmla="*/ 766539 h 4439277"/>
              <a:gd name="connsiteX559" fmla="*/ 2912837 w 6873375"/>
              <a:gd name="connsiteY559" fmla="*/ 764061 h 4439277"/>
              <a:gd name="connsiteX560" fmla="*/ 2964960 w 6873375"/>
              <a:gd name="connsiteY560" fmla="*/ 746693 h 4439277"/>
              <a:gd name="connsiteX561" fmla="*/ 3111404 w 6873375"/>
              <a:gd name="connsiteY561" fmla="*/ 702040 h 4439277"/>
              <a:gd name="connsiteX562" fmla="*/ 3143670 w 6873375"/>
              <a:gd name="connsiteY562" fmla="*/ 697081 h 4439277"/>
              <a:gd name="connsiteX563" fmla="*/ 3138706 w 6873375"/>
              <a:gd name="connsiteY563" fmla="*/ 704522 h 4439277"/>
              <a:gd name="connsiteX564" fmla="*/ 3046869 w 6873375"/>
              <a:gd name="connsiteY564" fmla="*/ 756617 h 4439277"/>
              <a:gd name="connsiteX565" fmla="*/ 2979852 w 6873375"/>
              <a:gd name="connsiteY565" fmla="*/ 781424 h 4439277"/>
              <a:gd name="connsiteX566" fmla="*/ 2818515 w 6873375"/>
              <a:gd name="connsiteY566" fmla="*/ 833518 h 4439277"/>
              <a:gd name="connsiteX567" fmla="*/ 2704341 w 6873375"/>
              <a:gd name="connsiteY567" fmla="*/ 878171 h 4439277"/>
              <a:gd name="connsiteX568" fmla="*/ 2706822 w 6873375"/>
              <a:gd name="connsiteY568" fmla="*/ 888095 h 4439277"/>
              <a:gd name="connsiteX569" fmla="*/ 2721714 w 6873375"/>
              <a:gd name="connsiteY569" fmla="*/ 888095 h 4439277"/>
              <a:gd name="connsiteX570" fmla="*/ 2711786 w 6873375"/>
              <a:gd name="connsiteY570" fmla="*/ 893056 h 4439277"/>
              <a:gd name="connsiteX571" fmla="*/ 2714266 w 6873375"/>
              <a:gd name="connsiteY571" fmla="*/ 898017 h 4439277"/>
              <a:gd name="connsiteX572" fmla="*/ 2724198 w 6873375"/>
              <a:gd name="connsiteY572" fmla="*/ 895538 h 4439277"/>
              <a:gd name="connsiteX573" fmla="*/ 2721714 w 6873375"/>
              <a:gd name="connsiteY573" fmla="*/ 888095 h 4439277"/>
              <a:gd name="connsiteX574" fmla="*/ 2729162 w 6873375"/>
              <a:gd name="connsiteY574" fmla="*/ 888095 h 4439277"/>
              <a:gd name="connsiteX575" fmla="*/ 2734126 w 6873375"/>
              <a:gd name="connsiteY575" fmla="*/ 890577 h 4439277"/>
              <a:gd name="connsiteX576" fmla="*/ 2725127 w 6873375"/>
              <a:gd name="connsiteY576" fmla="*/ 898948 h 4439277"/>
              <a:gd name="connsiteX577" fmla="*/ 2723535 w 6873375"/>
              <a:gd name="connsiteY577" fmla="*/ 905462 h 4439277"/>
              <a:gd name="connsiteX578" fmla="*/ 2721714 w 6873375"/>
              <a:gd name="connsiteY578" fmla="*/ 905462 h 4439277"/>
              <a:gd name="connsiteX579" fmla="*/ 2722937 w 6873375"/>
              <a:gd name="connsiteY579" fmla="*/ 907902 h 4439277"/>
              <a:gd name="connsiteX580" fmla="*/ 2721714 w 6873375"/>
              <a:gd name="connsiteY580" fmla="*/ 912902 h 4439277"/>
              <a:gd name="connsiteX581" fmla="*/ 2701857 w 6873375"/>
              <a:gd name="connsiteY581" fmla="*/ 902978 h 4439277"/>
              <a:gd name="connsiteX582" fmla="*/ 2694412 w 6873375"/>
              <a:gd name="connsiteY582" fmla="*/ 905462 h 4439277"/>
              <a:gd name="connsiteX583" fmla="*/ 2689444 w 6873375"/>
              <a:gd name="connsiteY583" fmla="*/ 920345 h 4439277"/>
              <a:gd name="connsiteX584" fmla="*/ 2667107 w 6873375"/>
              <a:gd name="connsiteY584" fmla="*/ 927787 h 4439277"/>
              <a:gd name="connsiteX585" fmla="*/ 2657179 w 6873375"/>
              <a:gd name="connsiteY585" fmla="*/ 930269 h 4439277"/>
              <a:gd name="connsiteX586" fmla="*/ 2659662 w 6873375"/>
              <a:gd name="connsiteY586" fmla="*/ 902978 h 4439277"/>
              <a:gd name="connsiteX587" fmla="*/ 2624913 w 6873375"/>
              <a:gd name="connsiteY587" fmla="*/ 925304 h 4439277"/>
              <a:gd name="connsiteX588" fmla="*/ 2642286 w 6873375"/>
              <a:gd name="connsiteY588" fmla="*/ 915384 h 4439277"/>
              <a:gd name="connsiteX589" fmla="*/ 2617467 w 6873375"/>
              <a:gd name="connsiteY589" fmla="*/ 935227 h 4439277"/>
              <a:gd name="connsiteX590" fmla="*/ 2585198 w 6873375"/>
              <a:gd name="connsiteY590" fmla="*/ 972440 h 4439277"/>
              <a:gd name="connsiteX591" fmla="*/ 2652215 w 6873375"/>
              <a:gd name="connsiteY591" fmla="*/ 950112 h 4439277"/>
              <a:gd name="connsiteX592" fmla="*/ 2642286 w 6873375"/>
              <a:gd name="connsiteY592" fmla="*/ 960034 h 4439277"/>
              <a:gd name="connsiteX593" fmla="*/ 2577751 w 6873375"/>
              <a:gd name="connsiteY593" fmla="*/ 987325 h 4439277"/>
              <a:gd name="connsiteX594" fmla="*/ 2552932 w 6873375"/>
              <a:gd name="connsiteY594" fmla="*/ 999726 h 4439277"/>
              <a:gd name="connsiteX595" fmla="*/ 2562861 w 6873375"/>
              <a:gd name="connsiteY595" fmla="*/ 1012132 h 4439277"/>
              <a:gd name="connsiteX596" fmla="*/ 2580234 w 6873375"/>
              <a:gd name="connsiteY596" fmla="*/ 1007171 h 4439277"/>
              <a:gd name="connsiteX597" fmla="*/ 2590163 w 6873375"/>
              <a:gd name="connsiteY597" fmla="*/ 999726 h 4439277"/>
              <a:gd name="connsiteX598" fmla="*/ 2642286 w 6873375"/>
              <a:gd name="connsiteY598" fmla="*/ 989804 h 4439277"/>
              <a:gd name="connsiteX599" fmla="*/ 2969924 w 6873375"/>
              <a:gd name="connsiteY599" fmla="*/ 902978 h 4439277"/>
              <a:gd name="connsiteX600" fmla="*/ 2989781 w 6873375"/>
              <a:gd name="connsiteY600" fmla="*/ 900499 h 4439277"/>
              <a:gd name="connsiteX601" fmla="*/ 2992262 w 6873375"/>
              <a:gd name="connsiteY601" fmla="*/ 898017 h 4439277"/>
              <a:gd name="connsiteX602" fmla="*/ 2999709 w 6873375"/>
              <a:gd name="connsiteY602" fmla="*/ 893056 h 4439277"/>
              <a:gd name="connsiteX603" fmla="*/ 3029495 w 6873375"/>
              <a:gd name="connsiteY603" fmla="*/ 880653 h 4439277"/>
              <a:gd name="connsiteX604" fmla="*/ 3031976 w 6873375"/>
              <a:gd name="connsiteY604" fmla="*/ 875692 h 4439277"/>
              <a:gd name="connsiteX605" fmla="*/ 3041904 w 6873375"/>
              <a:gd name="connsiteY605" fmla="*/ 870731 h 4439277"/>
              <a:gd name="connsiteX606" fmla="*/ 3051833 w 6873375"/>
              <a:gd name="connsiteY606" fmla="*/ 865770 h 4439277"/>
              <a:gd name="connsiteX607" fmla="*/ 3056797 w 6873375"/>
              <a:gd name="connsiteY607" fmla="*/ 858325 h 4439277"/>
              <a:gd name="connsiteX608" fmla="*/ 3079135 w 6873375"/>
              <a:gd name="connsiteY608" fmla="*/ 843441 h 4439277"/>
              <a:gd name="connsiteX609" fmla="*/ 3094030 w 6873375"/>
              <a:gd name="connsiteY609" fmla="*/ 838480 h 4439277"/>
              <a:gd name="connsiteX610" fmla="*/ 3106439 w 6873375"/>
              <a:gd name="connsiteY610" fmla="*/ 836000 h 4439277"/>
              <a:gd name="connsiteX611" fmla="*/ 3116368 w 6873375"/>
              <a:gd name="connsiteY611" fmla="*/ 826078 h 4439277"/>
              <a:gd name="connsiteX612" fmla="*/ 3118851 w 6873375"/>
              <a:gd name="connsiteY612" fmla="*/ 821115 h 4439277"/>
              <a:gd name="connsiteX613" fmla="*/ 3128777 w 6873375"/>
              <a:gd name="connsiteY613" fmla="*/ 813672 h 4439277"/>
              <a:gd name="connsiteX614" fmla="*/ 3138706 w 6873375"/>
              <a:gd name="connsiteY614" fmla="*/ 808714 h 4439277"/>
              <a:gd name="connsiteX615" fmla="*/ 3148634 w 6873375"/>
              <a:gd name="connsiteY615" fmla="*/ 796308 h 4439277"/>
              <a:gd name="connsiteX616" fmla="*/ 3230546 w 6873375"/>
              <a:gd name="connsiteY616" fmla="*/ 746693 h 4439277"/>
              <a:gd name="connsiteX617" fmla="*/ 3247920 w 6873375"/>
              <a:gd name="connsiteY617" fmla="*/ 744215 h 4439277"/>
              <a:gd name="connsiteX618" fmla="*/ 3262812 w 6873375"/>
              <a:gd name="connsiteY618" fmla="*/ 741732 h 4439277"/>
              <a:gd name="connsiteX619" fmla="*/ 3292598 w 6873375"/>
              <a:gd name="connsiteY619" fmla="*/ 724368 h 4439277"/>
              <a:gd name="connsiteX620" fmla="*/ 3305006 w 6873375"/>
              <a:gd name="connsiteY620" fmla="*/ 721886 h 4439277"/>
              <a:gd name="connsiteX621" fmla="*/ 3329829 w 6873375"/>
              <a:gd name="connsiteY621" fmla="*/ 704522 h 4439277"/>
              <a:gd name="connsiteX622" fmla="*/ 3334793 w 6873375"/>
              <a:gd name="connsiteY622" fmla="*/ 702040 h 4439277"/>
              <a:gd name="connsiteX623" fmla="*/ 3344720 w 6873375"/>
              <a:gd name="connsiteY623" fmla="*/ 699561 h 4439277"/>
              <a:gd name="connsiteX624" fmla="*/ 3404292 w 6873375"/>
              <a:gd name="connsiteY624" fmla="*/ 662351 h 4439277"/>
              <a:gd name="connsiteX625" fmla="*/ 3456415 w 6873375"/>
              <a:gd name="connsiteY625" fmla="*/ 630101 h 4439277"/>
              <a:gd name="connsiteX626" fmla="*/ 3466343 w 6873375"/>
              <a:gd name="connsiteY626" fmla="*/ 627621 h 4439277"/>
              <a:gd name="connsiteX627" fmla="*/ 3471308 w 6873375"/>
              <a:gd name="connsiteY627" fmla="*/ 625138 h 4439277"/>
              <a:gd name="connsiteX628" fmla="*/ 3476272 w 6873375"/>
              <a:gd name="connsiteY628" fmla="*/ 617698 h 4439277"/>
              <a:gd name="connsiteX629" fmla="*/ 3496130 w 6873375"/>
              <a:gd name="connsiteY629" fmla="*/ 610255 h 4439277"/>
              <a:gd name="connsiteX630" fmla="*/ 3530879 w 6873375"/>
              <a:gd name="connsiteY630" fmla="*/ 587929 h 4439277"/>
              <a:gd name="connsiteX631" fmla="*/ 3545769 w 6873375"/>
              <a:gd name="connsiteY631" fmla="*/ 582967 h 4439277"/>
              <a:gd name="connsiteX632" fmla="*/ 3558181 w 6873375"/>
              <a:gd name="connsiteY632" fmla="*/ 575524 h 4439277"/>
              <a:gd name="connsiteX633" fmla="*/ 3575555 w 6873375"/>
              <a:gd name="connsiteY633" fmla="*/ 565600 h 4439277"/>
              <a:gd name="connsiteX634" fmla="*/ 3587966 w 6873375"/>
              <a:gd name="connsiteY634" fmla="*/ 558160 h 4439277"/>
              <a:gd name="connsiteX635" fmla="*/ 3600376 w 6873375"/>
              <a:gd name="connsiteY635" fmla="*/ 545758 h 4439277"/>
              <a:gd name="connsiteX636" fmla="*/ 3612788 w 6873375"/>
              <a:gd name="connsiteY636" fmla="*/ 535835 h 4439277"/>
              <a:gd name="connsiteX637" fmla="*/ 3647537 w 6873375"/>
              <a:gd name="connsiteY637" fmla="*/ 530873 h 4439277"/>
              <a:gd name="connsiteX638" fmla="*/ 3650018 w 6873375"/>
              <a:gd name="connsiteY638" fmla="*/ 535835 h 4439277"/>
              <a:gd name="connsiteX639" fmla="*/ 3647537 w 6873375"/>
              <a:gd name="connsiteY639" fmla="*/ 540796 h 4439277"/>
              <a:gd name="connsiteX640" fmla="*/ 3640090 w 6873375"/>
              <a:gd name="connsiteY640" fmla="*/ 545758 h 4439277"/>
              <a:gd name="connsiteX641" fmla="*/ 3617752 w 6873375"/>
              <a:gd name="connsiteY641" fmla="*/ 560642 h 4439277"/>
              <a:gd name="connsiteX642" fmla="*/ 3615269 w 6873375"/>
              <a:gd name="connsiteY642" fmla="*/ 563121 h 4439277"/>
              <a:gd name="connsiteX643" fmla="*/ 3620233 w 6873375"/>
              <a:gd name="connsiteY643" fmla="*/ 565600 h 4439277"/>
              <a:gd name="connsiteX644" fmla="*/ 3632641 w 6873375"/>
              <a:gd name="connsiteY644" fmla="*/ 565600 h 4439277"/>
              <a:gd name="connsiteX645" fmla="*/ 3662427 w 6873375"/>
              <a:gd name="connsiteY645" fmla="*/ 548238 h 4439277"/>
              <a:gd name="connsiteX646" fmla="*/ 3672359 w 6873375"/>
              <a:gd name="connsiteY646" fmla="*/ 545758 h 4439277"/>
              <a:gd name="connsiteX647" fmla="*/ 3687249 w 6873375"/>
              <a:gd name="connsiteY647" fmla="*/ 535835 h 4439277"/>
              <a:gd name="connsiteX648" fmla="*/ 3692213 w 6873375"/>
              <a:gd name="connsiteY648" fmla="*/ 528392 h 4439277"/>
              <a:gd name="connsiteX649" fmla="*/ 3702144 w 6873375"/>
              <a:gd name="connsiteY649" fmla="*/ 525912 h 4439277"/>
              <a:gd name="connsiteX650" fmla="*/ 3739375 w 6873375"/>
              <a:gd name="connsiteY650" fmla="*/ 533353 h 4439277"/>
              <a:gd name="connsiteX651" fmla="*/ 3749304 w 6873375"/>
              <a:gd name="connsiteY651" fmla="*/ 528392 h 4439277"/>
              <a:gd name="connsiteX652" fmla="*/ 3754268 w 6873375"/>
              <a:gd name="connsiteY652" fmla="*/ 523429 h 4439277"/>
              <a:gd name="connsiteX653" fmla="*/ 3766677 w 6873375"/>
              <a:gd name="connsiteY653" fmla="*/ 520950 h 4439277"/>
              <a:gd name="connsiteX654" fmla="*/ 3789018 w 6873375"/>
              <a:gd name="connsiteY654" fmla="*/ 508546 h 4439277"/>
              <a:gd name="connsiteX655" fmla="*/ 3811356 w 6873375"/>
              <a:gd name="connsiteY655" fmla="*/ 501104 h 4439277"/>
              <a:gd name="connsiteX656" fmla="*/ 3813839 w 6873375"/>
              <a:gd name="connsiteY656" fmla="*/ 501104 h 4439277"/>
              <a:gd name="connsiteX657" fmla="*/ 3836177 w 6873375"/>
              <a:gd name="connsiteY657" fmla="*/ 483737 h 4439277"/>
              <a:gd name="connsiteX658" fmla="*/ 3841141 w 6873375"/>
              <a:gd name="connsiteY658" fmla="*/ 481258 h 4439277"/>
              <a:gd name="connsiteX659" fmla="*/ 3851070 w 6873375"/>
              <a:gd name="connsiteY659" fmla="*/ 478776 h 4439277"/>
              <a:gd name="connsiteX660" fmla="*/ 3880852 w 6873375"/>
              <a:gd name="connsiteY660" fmla="*/ 461412 h 4439277"/>
              <a:gd name="connsiteX661" fmla="*/ 3888300 w 6873375"/>
              <a:gd name="connsiteY661" fmla="*/ 456451 h 4439277"/>
              <a:gd name="connsiteX662" fmla="*/ 3920566 w 6873375"/>
              <a:gd name="connsiteY662" fmla="*/ 444049 h 4439277"/>
              <a:gd name="connsiteX663" fmla="*/ 3930494 w 6873375"/>
              <a:gd name="connsiteY663" fmla="*/ 441566 h 4439277"/>
              <a:gd name="connsiteX664" fmla="*/ 3955316 w 6873375"/>
              <a:gd name="connsiteY664" fmla="*/ 424203 h 4439277"/>
              <a:gd name="connsiteX665" fmla="*/ 3967725 w 6873375"/>
              <a:gd name="connsiteY665" fmla="*/ 416759 h 4439277"/>
              <a:gd name="connsiteX666" fmla="*/ 3972693 w 6873375"/>
              <a:gd name="connsiteY666" fmla="*/ 414280 h 4439277"/>
              <a:gd name="connsiteX667" fmla="*/ 3990065 w 6873375"/>
              <a:gd name="connsiteY667" fmla="*/ 401874 h 4439277"/>
              <a:gd name="connsiteX668" fmla="*/ 4019851 w 6873375"/>
              <a:gd name="connsiteY668" fmla="*/ 389473 h 4439277"/>
              <a:gd name="connsiteX669" fmla="*/ 4027296 w 6873375"/>
              <a:gd name="connsiteY669" fmla="*/ 386990 h 4439277"/>
              <a:gd name="connsiteX670" fmla="*/ 4044672 w 6873375"/>
              <a:gd name="connsiteY670" fmla="*/ 382028 h 4439277"/>
              <a:gd name="connsiteX671" fmla="*/ 4111688 w 6873375"/>
              <a:gd name="connsiteY671" fmla="*/ 342337 h 4439277"/>
              <a:gd name="connsiteX672" fmla="*/ 4129062 w 6873375"/>
              <a:gd name="connsiteY672" fmla="*/ 337378 h 4439277"/>
              <a:gd name="connsiteX673" fmla="*/ 4138991 w 6873375"/>
              <a:gd name="connsiteY673" fmla="*/ 334896 h 4439277"/>
              <a:gd name="connsiteX674" fmla="*/ 4186152 w 6873375"/>
              <a:gd name="connsiteY674" fmla="*/ 307610 h 4439277"/>
              <a:gd name="connsiteX675" fmla="*/ 4193598 w 6873375"/>
              <a:gd name="connsiteY675" fmla="*/ 305127 h 4439277"/>
              <a:gd name="connsiteX676" fmla="*/ 4203526 w 6873375"/>
              <a:gd name="connsiteY676" fmla="*/ 300165 h 4439277"/>
              <a:gd name="connsiteX677" fmla="*/ 4208490 w 6873375"/>
              <a:gd name="connsiteY677" fmla="*/ 295204 h 4439277"/>
              <a:gd name="connsiteX678" fmla="*/ 4228347 w 6873375"/>
              <a:gd name="connsiteY678" fmla="*/ 287764 h 4439277"/>
              <a:gd name="connsiteX679" fmla="*/ 4268061 w 6873375"/>
              <a:gd name="connsiteY679" fmla="*/ 265435 h 4439277"/>
              <a:gd name="connsiteX680" fmla="*/ 4277990 w 6873375"/>
              <a:gd name="connsiteY680" fmla="*/ 262955 h 4439277"/>
              <a:gd name="connsiteX681" fmla="*/ 4302811 w 6873375"/>
              <a:gd name="connsiteY681" fmla="*/ 260474 h 4439277"/>
              <a:gd name="connsiteX682" fmla="*/ 4320185 w 6873375"/>
              <a:gd name="connsiteY682" fmla="*/ 255512 h 4439277"/>
              <a:gd name="connsiteX683" fmla="*/ 4345006 w 6873375"/>
              <a:gd name="connsiteY683" fmla="*/ 240628 h 4439277"/>
              <a:gd name="connsiteX684" fmla="*/ 4354935 w 6873375"/>
              <a:gd name="connsiteY684" fmla="*/ 238149 h 4439277"/>
              <a:gd name="connsiteX685" fmla="*/ 4364863 w 6873375"/>
              <a:gd name="connsiteY685" fmla="*/ 235667 h 4439277"/>
              <a:gd name="connsiteX686" fmla="*/ 4384720 w 6873375"/>
              <a:gd name="connsiteY686" fmla="*/ 225747 h 4439277"/>
              <a:gd name="connsiteX687" fmla="*/ 4399613 w 6873375"/>
              <a:gd name="connsiteY687" fmla="*/ 220785 h 4439277"/>
              <a:gd name="connsiteX688" fmla="*/ 4404577 w 6873375"/>
              <a:gd name="connsiteY688" fmla="*/ 218303 h 4439277"/>
              <a:gd name="connsiteX689" fmla="*/ 4424434 w 6873375"/>
              <a:gd name="connsiteY689" fmla="*/ 205901 h 4439277"/>
              <a:gd name="connsiteX690" fmla="*/ 4429398 w 6873375"/>
              <a:gd name="connsiteY690" fmla="*/ 203418 h 4439277"/>
              <a:gd name="connsiteX691" fmla="*/ 4444291 w 6873375"/>
              <a:gd name="connsiteY691" fmla="*/ 198457 h 4439277"/>
              <a:gd name="connsiteX692" fmla="*/ 4474077 w 6873375"/>
              <a:gd name="connsiteY692" fmla="*/ 181093 h 4439277"/>
              <a:gd name="connsiteX693" fmla="*/ 4503859 w 6873375"/>
              <a:gd name="connsiteY693" fmla="*/ 168689 h 4439277"/>
              <a:gd name="connsiteX694" fmla="*/ 4523717 w 6873375"/>
              <a:gd name="connsiteY694" fmla="*/ 156286 h 4439277"/>
              <a:gd name="connsiteX695" fmla="*/ 4528681 w 6873375"/>
              <a:gd name="connsiteY695" fmla="*/ 153804 h 4439277"/>
              <a:gd name="connsiteX696" fmla="*/ 4541093 w 6873375"/>
              <a:gd name="connsiteY696" fmla="*/ 151325 h 4439277"/>
              <a:gd name="connsiteX697" fmla="*/ 4558467 w 6873375"/>
              <a:gd name="connsiteY697" fmla="*/ 141401 h 4439277"/>
              <a:gd name="connsiteX698" fmla="*/ 4570878 w 6873375"/>
              <a:gd name="connsiteY698" fmla="*/ 138919 h 4439277"/>
              <a:gd name="connsiteX699" fmla="*/ 4588252 w 6873375"/>
              <a:gd name="connsiteY699" fmla="*/ 136440 h 4439277"/>
              <a:gd name="connsiteX700" fmla="*/ 4610589 w 6873375"/>
              <a:gd name="connsiteY700" fmla="*/ 128996 h 4439277"/>
              <a:gd name="connsiteX701" fmla="*/ 4615553 w 6873375"/>
              <a:gd name="connsiteY701" fmla="*/ 126516 h 4439277"/>
              <a:gd name="connsiteX702" fmla="*/ 4645339 w 6873375"/>
              <a:gd name="connsiteY702" fmla="*/ 114115 h 4439277"/>
              <a:gd name="connsiteX703" fmla="*/ 4660232 w 6873375"/>
              <a:gd name="connsiteY703" fmla="*/ 106670 h 4439277"/>
              <a:gd name="connsiteX704" fmla="*/ 4697466 w 6873375"/>
              <a:gd name="connsiteY704" fmla="*/ 99230 h 4439277"/>
              <a:gd name="connsiteX705" fmla="*/ 4704910 w 6873375"/>
              <a:gd name="connsiteY705" fmla="*/ 99230 h 4439277"/>
              <a:gd name="connsiteX706" fmla="*/ 4717319 w 6873375"/>
              <a:gd name="connsiteY706" fmla="*/ 91787 h 4439277"/>
              <a:gd name="connsiteX707" fmla="*/ 4729731 w 6873375"/>
              <a:gd name="connsiteY707" fmla="*/ 79384 h 4439277"/>
              <a:gd name="connsiteX708" fmla="*/ 4789302 w 6873375"/>
              <a:gd name="connsiteY708" fmla="*/ 42171 h 4439277"/>
              <a:gd name="connsiteX709" fmla="*/ 4801712 w 6873375"/>
              <a:gd name="connsiteY709" fmla="*/ 39692 h 4439277"/>
              <a:gd name="connsiteX710" fmla="*/ 4804193 w 6873375"/>
              <a:gd name="connsiteY710" fmla="*/ 39692 h 4439277"/>
              <a:gd name="connsiteX711" fmla="*/ 4821569 w 6873375"/>
              <a:gd name="connsiteY711" fmla="*/ 29770 h 4439277"/>
              <a:gd name="connsiteX712" fmla="*/ 4838945 w 6873375"/>
              <a:gd name="connsiteY712" fmla="*/ 24807 h 4439277"/>
              <a:gd name="connsiteX713" fmla="*/ 4841426 w 6873375"/>
              <a:gd name="connsiteY713" fmla="*/ 22325 h 4439277"/>
              <a:gd name="connsiteX714" fmla="*/ 4856319 w 6873375"/>
              <a:gd name="connsiteY714" fmla="*/ 17364 h 4439277"/>
              <a:gd name="connsiteX715" fmla="*/ 4873691 w 6873375"/>
              <a:gd name="connsiteY715" fmla="*/ 14885 h 4439277"/>
              <a:gd name="connsiteX716" fmla="*/ 4888585 w 6873375"/>
              <a:gd name="connsiteY716" fmla="*/ 9924 h 4439277"/>
              <a:gd name="connsiteX717" fmla="*/ 4903478 w 6873375"/>
              <a:gd name="connsiteY717" fmla="*/ 9924 h 4439277"/>
              <a:gd name="connsiteX718" fmla="*/ 4920854 w 6873375"/>
              <a:gd name="connsiteY718" fmla="*/ 4961 h 4439277"/>
              <a:gd name="connsiteX719" fmla="*/ 4940708 w 6873375"/>
              <a:gd name="connsiteY719" fmla="*/ 2482 h 4439277"/>
              <a:gd name="connsiteX720" fmla="*/ 4958085 w 6873375"/>
              <a:gd name="connsiteY720" fmla="*/ 0 h 4439277"/>
              <a:gd name="connsiteX721" fmla="*/ 4965529 w 6873375"/>
              <a:gd name="connsiteY721" fmla="*/ 4961 h 4439277"/>
              <a:gd name="connsiteX722" fmla="*/ 4963049 w 6873375"/>
              <a:gd name="connsiteY722" fmla="*/ 9924 h 4439277"/>
              <a:gd name="connsiteX723" fmla="*/ 4960565 w 6873375"/>
              <a:gd name="connsiteY723" fmla="*/ 12403 h 4439277"/>
              <a:gd name="connsiteX724" fmla="*/ 4953120 w 6873375"/>
              <a:gd name="connsiteY724" fmla="*/ 27287 h 4439277"/>
              <a:gd name="connsiteX725" fmla="*/ 4945672 w 6873375"/>
              <a:gd name="connsiteY725" fmla="*/ 42171 h 4439277"/>
              <a:gd name="connsiteX726" fmla="*/ 4910922 w 6873375"/>
              <a:gd name="connsiteY726" fmla="*/ 64500 h 4439277"/>
              <a:gd name="connsiteX727" fmla="*/ 4871211 w 6873375"/>
              <a:gd name="connsiteY727" fmla="*/ 91787 h 4439277"/>
              <a:gd name="connsiteX728" fmla="*/ 4866247 w 6873375"/>
              <a:gd name="connsiteY728" fmla="*/ 101709 h 4439277"/>
              <a:gd name="connsiteX729" fmla="*/ 4871211 w 6873375"/>
              <a:gd name="connsiteY729" fmla="*/ 111633 h 4439277"/>
              <a:gd name="connsiteX730" fmla="*/ 4876176 w 6873375"/>
              <a:gd name="connsiteY730" fmla="*/ 114115 h 4439277"/>
              <a:gd name="connsiteX731" fmla="*/ 4878657 w 6873375"/>
              <a:gd name="connsiteY731" fmla="*/ 119073 h 4439277"/>
              <a:gd name="connsiteX732" fmla="*/ 4876176 w 6873375"/>
              <a:gd name="connsiteY732" fmla="*/ 121555 h 4439277"/>
              <a:gd name="connsiteX733" fmla="*/ 4863764 w 6873375"/>
              <a:gd name="connsiteY733" fmla="*/ 124034 h 4439277"/>
              <a:gd name="connsiteX734" fmla="*/ 4843909 w 6873375"/>
              <a:gd name="connsiteY734" fmla="*/ 133958 h 4439277"/>
              <a:gd name="connsiteX735" fmla="*/ 4831497 w 6873375"/>
              <a:gd name="connsiteY735" fmla="*/ 136440 h 4439277"/>
              <a:gd name="connsiteX736" fmla="*/ 4826533 w 6873375"/>
              <a:gd name="connsiteY736" fmla="*/ 143880 h 4439277"/>
              <a:gd name="connsiteX737" fmla="*/ 4814124 w 6873375"/>
              <a:gd name="connsiteY737" fmla="*/ 153804 h 4439277"/>
              <a:gd name="connsiteX738" fmla="*/ 4806676 w 6873375"/>
              <a:gd name="connsiteY738" fmla="*/ 161247 h 4439277"/>
              <a:gd name="connsiteX739" fmla="*/ 4799227 w 6873375"/>
              <a:gd name="connsiteY739" fmla="*/ 171171 h 4439277"/>
              <a:gd name="connsiteX740" fmla="*/ 4781855 w 6873375"/>
              <a:gd name="connsiteY740" fmla="*/ 181093 h 4439277"/>
              <a:gd name="connsiteX741" fmla="*/ 4776891 w 6873375"/>
              <a:gd name="connsiteY741" fmla="*/ 198457 h 4439277"/>
              <a:gd name="connsiteX742" fmla="*/ 4784338 w 6873375"/>
              <a:gd name="connsiteY742" fmla="*/ 203418 h 4439277"/>
              <a:gd name="connsiteX743" fmla="*/ 4786819 w 6873375"/>
              <a:gd name="connsiteY743" fmla="*/ 205901 h 4439277"/>
              <a:gd name="connsiteX744" fmla="*/ 4784338 w 6873375"/>
              <a:gd name="connsiteY744" fmla="*/ 210862 h 4439277"/>
              <a:gd name="connsiteX745" fmla="*/ 4779374 w 6873375"/>
              <a:gd name="connsiteY745" fmla="*/ 213342 h 4439277"/>
              <a:gd name="connsiteX746" fmla="*/ 4774410 w 6873375"/>
              <a:gd name="connsiteY746" fmla="*/ 215821 h 4439277"/>
              <a:gd name="connsiteX747" fmla="*/ 4766962 w 6873375"/>
              <a:gd name="connsiteY747" fmla="*/ 225747 h 4439277"/>
              <a:gd name="connsiteX748" fmla="*/ 4744624 w 6873375"/>
              <a:gd name="connsiteY748" fmla="*/ 238149 h 4439277"/>
              <a:gd name="connsiteX749" fmla="*/ 4732216 w 6873375"/>
              <a:gd name="connsiteY749" fmla="*/ 250550 h 4439277"/>
              <a:gd name="connsiteX750" fmla="*/ 4722284 w 6873375"/>
              <a:gd name="connsiteY750" fmla="*/ 257995 h 4439277"/>
              <a:gd name="connsiteX751" fmla="*/ 4699946 w 6873375"/>
              <a:gd name="connsiteY751" fmla="*/ 265435 h 4439277"/>
              <a:gd name="connsiteX752" fmla="*/ 4682573 w 6873375"/>
              <a:gd name="connsiteY752" fmla="*/ 275359 h 4439277"/>
              <a:gd name="connsiteX753" fmla="*/ 4665197 w 6873375"/>
              <a:gd name="connsiteY753" fmla="*/ 297687 h 4439277"/>
              <a:gd name="connsiteX754" fmla="*/ 4660232 w 6873375"/>
              <a:gd name="connsiteY754" fmla="*/ 305127 h 4439277"/>
              <a:gd name="connsiteX755" fmla="*/ 4630446 w 6873375"/>
              <a:gd name="connsiteY755" fmla="*/ 324973 h 4439277"/>
              <a:gd name="connsiteX756" fmla="*/ 4627965 w 6873375"/>
              <a:gd name="connsiteY756" fmla="*/ 332417 h 4439277"/>
              <a:gd name="connsiteX757" fmla="*/ 4627965 w 6873375"/>
              <a:gd name="connsiteY757" fmla="*/ 337378 h 4439277"/>
              <a:gd name="connsiteX758" fmla="*/ 4613072 w 6873375"/>
              <a:gd name="connsiteY758" fmla="*/ 354742 h 4439277"/>
              <a:gd name="connsiteX759" fmla="*/ 4603145 w 6873375"/>
              <a:gd name="connsiteY759" fmla="*/ 362183 h 4439277"/>
              <a:gd name="connsiteX760" fmla="*/ 4598180 w 6873375"/>
              <a:gd name="connsiteY760" fmla="*/ 369627 h 4439277"/>
              <a:gd name="connsiteX761" fmla="*/ 4603145 w 6873375"/>
              <a:gd name="connsiteY761" fmla="*/ 399395 h 4439277"/>
              <a:gd name="connsiteX762" fmla="*/ 4613072 w 6873375"/>
              <a:gd name="connsiteY762" fmla="*/ 414280 h 4439277"/>
              <a:gd name="connsiteX763" fmla="*/ 4613072 w 6873375"/>
              <a:gd name="connsiteY763" fmla="*/ 419241 h 4439277"/>
              <a:gd name="connsiteX764" fmla="*/ 4580804 w 6873375"/>
              <a:gd name="connsiteY764" fmla="*/ 439085 h 4439277"/>
              <a:gd name="connsiteX765" fmla="*/ 4573359 w 6873375"/>
              <a:gd name="connsiteY765" fmla="*/ 439085 h 4439277"/>
              <a:gd name="connsiteX766" fmla="*/ 4568394 w 6873375"/>
              <a:gd name="connsiteY766" fmla="*/ 449011 h 4439277"/>
              <a:gd name="connsiteX767" fmla="*/ 4570878 w 6873375"/>
              <a:gd name="connsiteY767" fmla="*/ 451490 h 4439277"/>
              <a:gd name="connsiteX768" fmla="*/ 4573359 w 6873375"/>
              <a:gd name="connsiteY768" fmla="*/ 451490 h 4439277"/>
              <a:gd name="connsiteX769" fmla="*/ 4570878 w 6873375"/>
              <a:gd name="connsiteY769" fmla="*/ 463892 h 4439277"/>
              <a:gd name="connsiteX770" fmla="*/ 4563430 w 6873375"/>
              <a:gd name="connsiteY770" fmla="*/ 466375 h 4439277"/>
              <a:gd name="connsiteX771" fmla="*/ 4558467 w 6873375"/>
              <a:gd name="connsiteY771" fmla="*/ 468853 h 4439277"/>
              <a:gd name="connsiteX772" fmla="*/ 4553501 w 6873375"/>
              <a:gd name="connsiteY772" fmla="*/ 476297 h 4439277"/>
              <a:gd name="connsiteX773" fmla="*/ 4541093 w 6873375"/>
              <a:gd name="connsiteY773" fmla="*/ 486221 h 4439277"/>
              <a:gd name="connsiteX774" fmla="*/ 4533644 w 6873375"/>
              <a:gd name="connsiteY774" fmla="*/ 496143 h 4439277"/>
              <a:gd name="connsiteX775" fmla="*/ 4523717 w 6873375"/>
              <a:gd name="connsiteY775" fmla="*/ 511028 h 4439277"/>
              <a:gd name="connsiteX776" fmla="*/ 4506342 w 6873375"/>
              <a:gd name="connsiteY776" fmla="*/ 528392 h 4439277"/>
              <a:gd name="connsiteX777" fmla="*/ 4496415 w 6873375"/>
              <a:gd name="connsiteY777" fmla="*/ 535835 h 4439277"/>
              <a:gd name="connsiteX778" fmla="*/ 4484005 w 6873375"/>
              <a:gd name="connsiteY778" fmla="*/ 545759 h 4439277"/>
              <a:gd name="connsiteX779" fmla="*/ 4474077 w 6873375"/>
              <a:gd name="connsiteY779" fmla="*/ 558160 h 4439277"/>
              <a:gd name="connsiteX780" fmla="*/ 4476558 w 6873375"/>
              <a:gd name="connsiteY780" fmla="*/ 563121 h 4439277"/>
              <a:gd name="connsiteX781" fmla="*/ 4486485 w 6873375"/>
              <a:gd name="connsiteY781" fmla="*/ 558160 h 4439277"/>
              <a:gd name="connsiteX782" fmla="*/ 4491449 w 6873375"/>
              <a:gd name="connsiteY782" fmla="*/ 553199 h 4439277"/>
              <a:gd name="connsiteX783" fmla="*/ 4498895 w 6873375"/>
              <a:gd name="connsiteY783" fmla="*/ 555681 h 4439277"/>
              <a:gd name="connsiteX784" fmla="*/ 4498895 w 6873375"/>
              <a:gd name="connsiteY784" fmla="*/ 565601 h 4439277"/>
              <a:gd name="connsiteX785" fmla="*/ 4496415 w 6873375"/>
              <a:gd name="connsiteY785" fmla="*/ 570566 h 4439277"/>
              <a:gd name="connsiteX786" fmla="*/ 4481522 w 6873375"/>
              <a:gd name="connsiteY786" fmla="*/ 592891 h 4439277"/>
              <a:gd name="connsiteX787" fmla="*/ 4454220 w 6873375"/>
              <a:gd name="connsiteY787" fmla="*/ 610255 h 4439277"/>
              <a:gd name="connsiteX788" fmla="*/ 4456701 w 6873375"/>
              <a:gd name="connsiteY788" fmla="*/ 610255 h 4439277"/>
              <a:gd name="connsiteX789" fmla="*/ 4471592 w 6873375"/>
              <a:gd name="connsiteY789" fmla="*/ 607776 h 4439277"/>
              <a:gd name="connsiteX790" fmla="*/ 4523717 w 6873375"/>
              <a:gd name="connsiteY790" fmla="*/ 590409 h 4439277"/>
              <a:gd name="connsiteX791" fmla="*/ 4523717 w 6873375"/>
              <a:gd name="connsiteY791" fmla="*/ 597852 h 4439277"/>
              <a:gd name="connsiteX792" fmla="*/ 4493931 w 6873375"/>
              <a:gd name="connsiteY792" fmla="*/ 607776 h 4439277"/>
              <a:gd name="connsiteX793" fmla="*/ 4484005 w 6873375"/>
              <a:gd name="connsiteY793" fmla="*/ 610255 h 4439277"/>
              <a:gd name="connsiteX794" fmla="*/ 4466629 w 6873375"/>
              <a:gd name="connsiteY794" fmla="*/ 615216 h 4439277"/>
              <a:gd name="connsiteX795" fmla="*/ 4459184 w 6873375"/>
              <a:gd name="connsiteY795" fmla="*/ 617698 h 4439277"/>
              <a:gd name="connsiteX796" fmla="*/ 4426914 w 6873375"/>
              <a:gd name="connsiteY796" fmla="*/ 632583 h 4439277"/>
              <a:gd name="connsiteX797" fmla="*/ 4424434 w 6873375"/>
              <a:gd name="connsiteY797" fmla="*/ 632583 h 4439277"/>
              <a:gd name="connsiteX798" fmla="*/ 4419470 w 6873375"/>
              <a:gd name="connsiteY798" fmla="*/ 640023 h 4439277"/>
              <a:gd name="connsiteX799" fmla="*/ 4412021 w 6873375"/>
              <a:gd name="connsiteY799" fmla="*/ 644984 h 4439277"/>
              <a:gd name="connsiteX800" fmla="*/ 4412021 w 6873375"/>
              <a:gd name="connsiteY800" fmla="*/ 647468 h 4439277"/>
              <a:gd name="connsiteX801" fmla="*/ 4419470 w 6873375"/>
              <a:gd name="connsiteY801" fmla="*/ 652429 h 4439277"/>
              <a:gd name="connsiteX802" fmla="*/ 4407057 w 6873375"/>
              <a:gd name="connsiteY802" fmla="*/ 662351 h 4439277"/>
              <a:gd name="connsiteX803" fmla="*/ 4488966 w 6873375"/>
              <a:gd name="connsiteY803" fmla="*/ 644984 h 4439277"/>
              <a:gd name="connsiteX804" fmla="*/ 4476558 w 6873375"/>
              <a:gd name="connsiteY804" fmla="*/ 659869 h 4439277"/>
              <a:gd name="connsiteX805" fmla="*/ 4493931 w 6873375"/>
              <a:gd name="connsiteY805" fmla="*/ 652429 h 4439277"/>
              <a:gd name="connsiteX806" fmla="*/ 4580804 w 6873375"/>
              <a:gd name="connsiteY806" fmla="*/ 625139 h 4439277"/>
              <a:gd name="connsiteX807" fmla="*/ 4573359 w 6873375"/>
              <a:gd name="connsiteY807" fmla="*/ 635062 h 4439277"/>
              <a:gd name="connsiteX808" fmla="*/ 4583287 w 6873375"/>
              <a:gd name="connsiteY808" fmla="*/ 640023 h 4439277"/>
              <a:gd name="connsiteX809" fmla="*/ 4541093 w 6873375"/>
              <a:gd name="connsiteY809" fmla="*/ 654908 h 4439277"/>
              <a:gd name="connsiteX810" fmla="*/ 4536129 w 6873375"/>
              <a:gd name="connsiteY810" fmla="*/ 654908 h 4439277"/>
              <a:gd name="connsiteX811" fmla="*/ 4511307 w 6873375"/>
              <a:gd name="connsiteY811" fmla="*/ 664830 h 4439277"/>
              <a:gd name="connsiteX812" fmla="*/ 4496415 w 6873375"/>
              <a:gd name="connsiteY812" fmla="*/ 672275 h 4439277"/>
              <a:gd name="connsiteX813" fmla="*/ 4503859 w 6873375"/>
              <a:gd name="connsiteY813" fmla="*/ 662351 h 4439277"/>
              <a:gd name="connsiteX814" fmla="*/ 4476558 w 6873375"/>
              <a:gd name="connsiteY814" fmla="*/ 677233 h 4439277"/>
              <a:gd name="connsiteX815" fmla="*/ 4461664 w 6873375"/>
              <a:gd name="connsiteY815" fmla="*/ 687156 h 4439277"/>
              <a:gd name="connsiteX816" fmla="*/ 4456701 w 6873375"/>
              <a:gd name="connsiteY816" fmla="*/ 692118 h 4439277"/>
              <a:gd name="connsiteX817" fmla="*/ 4454220 w 6873375"/>
              <a:gd name="connsiteY817" fmla="*/ 694600 h 4439277"/>
              <a:gd name="connsiteX818" fmla="*/ 4456701 w 6873375"/>
              <a:gd name="connsiteY818" fmla="*/ 702040 h 4439277"/>
              <a:gd name="connsiteX819" fmla="*/ 4498895 w 6873375"/>
              <a:gd name="connsiteY819" fmla="*/ 684676 h 4439277"/>
              <a:gd name="connsiteX820" fmla="*/ 4543574 w 6873375"/>
              <a:gd name="connsiteY820" fmla="*/ 667314 h 4439277"/>
              <a:gd name="connsiteX821" fmla="*/ 4588252 w 6873375"/>
              <a:gd name="connsiteY821" fmla="*/ 654908 h 4439277"/>
              <a:gd name="connsiteX822" fmla="*/ 4590736 w 6873375"/>
              <a:gd name="connsiteY822" fmla="*/ 664830 h 4439277"/>
              <a:gd name="connsiteX823" fmla="*/ 4583287 w 6873375"/>
              <a:gd name="connsiteY823" fmla="*/ 669793 h 4439277"/>
              <a:gd name="connsiteX824" fmla="*/ 4543574 w 6873375"/>
              <a:gd name="connsiteY824" fmla="*/ 684676 h 4439277"/>
              <a:gd name="connsiteX825" fmla="*/ 4533644 w 6873375"/>
              <a:gd name="connsiteY825" fmla="*/ 697082 h 4439277"/>
              <a:gd name="connsiteX826" fmla="*/ 4523717 w 6873375"/>
              <a:gd name="connsiteY826" fmla="*/ 719407 h 4439277"/>
              <a:gd name="connsiteX827" fmla="*/ 4523717 w 6873375"/>
              <a:gd name="connsiteY827" fmla="*/ 726847 h 4439277"/>
              <a:gd name="connsiteX828" fmla="*/ 4498895 w 6873375"/>
              <a:gd name="connsiteY828" fmla="*/ 721886 h 4439277"/>
              <a:gd name="connsiteX829" fmla="*/ 4486485 w 6873375"/>
              <a:gd name="connsiteY829" fmla="*/ 729331 h 4439277"/>
              <a:gd name="connsiteX830" fmla="*/ 4488966 w 6873375"/>
              <a:gd name="connsiteY830" fmla="*/ 736771 h 4439277"/>
              <a:gd name="connsiteX831" fmla="*/ 4482549 w 6873375"/>
              <a:gd name="connsiteY831" fmla="*/ 739239 h 4439277"/>
              <a:gd name="connsiteX832" fmla="*/ 4484005 w 6873375"/>
              <a:gd name="connsiteY832" fmla="*/ 734292 h 4439277"/>
              <a:gd name="connsiteX833" fmla="*/ 4476872 w 6873375"/>
              <a:gd name="connsiteY833" fmla="*/ 741421 h 4439277"/>
              <a:gd name="connsiteX834" fmla="*/ 4456701 w 6873375"/>
              <a:gd name="connsiteY834" fmla="*/ 749177 h 4439277"/>
              <a:gd name="connsiteX835" fmla="*/ 4457942 w 6873375"/>
              <a:gd name="connsiteY835" fmla="*/ 756617 h 4439277"/>
              <a:gd name="connsiteX836" fmla="*/ 4456701 w 6873375"/>
              <a:gd name="connsiteY836" fmla="*/ 756617 h 4439277"/>
              <a:gd name="connsiteX837" fmla="*/ 4458015 w 6873375"/>
              <a:gd name="connsiteY837" fmla="*/ 757056 h 4439277"/>
              <a:gd name="connsiteX838" fmla="*/ 4459184 w 6873375"/>
              <a:gd name="connsiteY838" fmla="*/ 764061 h 4439277"/>
              <a:gd name="connsiteX839" fmla="*/ 4454220 w 6873375"/>
              <a:gd name="connsiteY839" fmla="*/ 781424 h 4439277"/>
              <a:gd name="connsiteX840" fmla="*/ 4444291 w 6873375"/>
              <a:gd name="connsiteY840" fmla="*/ 788868 h 4439277"/>
              <a:gd name="connsiteX841" fmla="*/ 4429398 w 6873375"/>
              <a:gd name="connsiteY841" fmla="*/ 791348 h 4439277"/>
              <a:gd name="connsiteX842" fmla="*/ 4416987 w 6873375"/>
              <a:gd name="connsiteY842" fmla="*/ 798788 h 4439277"/>
              <a:gd name="connsiteX843" fmla="*/ 4399613 w 6873375"/>
              <a:gd name="connsiteY843" fmla="*/ 806232 h 4439277"/>
              <a:gd name="connsiteX844" fmla="*/ 4377272 w 6873375"/>
              <a:gd name="connsiteY844" fmla="*/ 818634 h 4439277"/>
              <a:gd name="connsiteX845" fmla="*/ 4374792 w 6873375"/>
              <a:gd name="connsiteY845" fmla="*/ 826078 h 4439277"/>
              <a:gd name="connsiteX846" fmla="*/ 4392164 w 6873375"/>
              <a:gd name="connsiteY846" fmla="*/ 818634 h 4439277"/>
              <a:gd name="connsiteX847" fmla="*/ 4399613 w 6873375"/>
              <a:gd name="connsiteY847" fmla="*/ 826078 h 4439277"/>
              <a:gd name="connsiteX848" fmla="*/ 4416987 w 6873375"/>
              <a:gd name="connsiteY848" fmla="*/ 816155 h 4439277"/>
              <a:gd name="connsiteX849" fmla="*/ 4454220 w 6873375"/>
              <a:gd name="connsiteY849" fmla="*/ 798788 h 4439277"/>
              <a:gd name="connsiteX850" fmla="*/ 4474077 w 6873375"/>
              <a:gd name="connsiteY850" fmla="*/ 778945 h 4439277"/>
              <a:gd name="connsiteX851" fmla="*/ 4469109 w 6873375"/>
              <a:gd name="connsiteY851" fmla="*/ 773984 h 4439277"/>
              <a:gd name="connsiteX852" fmla="*/ 4466629 w 6873375"/>
              <a:gd name="connsiteY852" fmla="*/ 764061 h 4439277"/>
              <a:gd name="connsiteX853" fmla="*/ 4474077 w 6873375"/>
              <a:gd name="connsiteY853" fmla="*/ 761578 h 4439277"/>
              <a:gd name="connsiteX854" fmla="*/ 4488966 w 6873375"/>
              <a:gd name="connsiteY854" fmla="*/ 744215 h 4439277"/>
              <a:gd name="connsiteX855" fmla="*/ 4503859 w 6873375"/>
              <a:gd name="connsiteY855" fmla="*/ 731810 h 4439277"/>
              <a:gd name="connsiteX856" fmla="*/ 4521236 w 6873375"/>
              <a:gd name="connsiteY856" fmla="*/ 739253 h 4439277"/>
              <a:gd name="connsiteX857" fmla="*/ 4503859 w 6873375"/>
              <a:gd name="connsiteY857" fmla="*/ 766539 h 4439277"/>
              <a:gd name="connsiteX858" fmla="*/ 4533644 w 6873375"/>
              <a:gd name="connsiteY858" fmla="*/ 746693 h 4439277"/>
              <a:gd name="connsiteX859" fmla="*/ 4565914 w 6873375"/>
              <a:gd name="connsiteY859" fmla="*/ 719407 h 4439277"/>
              <a:gd name="connsiteX860" fmla="*/ 4568394 w 6873375"/>
              <a:gd name="connsiteY860" fmla="*/ 704522 h 4439277"/>
              <a:gd name="connsiteX861" fmla="*/ 4585771 w 6873375"/>
              <a:gd name="connsiteY861" fmla="*/ 726847 h 4439277"/>
              <a:gd name="connsiteX862" fmla="*/ 4568394 w 6873375"/>
              <a:gd name="connsiteY862" fmla="*/ 739253 h 4439277"/>
              <a:gd name="connsiteX863" fmla="*/ 4570878 w 6873375"/>
              <a:gd name="connsiteY863" fmla="*/ 744215 h 4439277"/>
              <a:gd name="connsiteX864" fmla="*/ 4610589 w 6873375"/>
              <a:gd name="connsiteY864" fmla="*/ 731810 h 4439277"/>
              <a:gd name="connsiteX865" fmla="*/ 4610589 w 6873375"/>
              <a:gd name="connsiteY865" fmla="*/ 729331 h 4439277"/>
              <a:gd name="connsiteX866" fmla="*/ 4598180 w 6873375"/>
              <a:gd name="connsiteY866" fmla="*/ 724368 h 4439277"/>
              <a:gd name="connsiteX867" fmla="*/ 4627965 w 6873375"/>
              <a:gd name="connsiteY867" fmla="*/ 716925 h 4439277"/>
              <a:gd name="connsiteX868" fmla="*/ 4635410 w 6873375"/>
              <a:gd name="connsiteY868" fmla="*/ 734292 h 4439277"/>
              <a:gd name="connsiteX869" fmla="*/ 4630446 w 6873375"/>
              <a:gd name="connsiteY869" fmla="*/ 739253 h 4439277"/>
              <a:gd name="connsiteX870" fmla="*/ 4623001 w 6873375"/>
              <a:gd name="connsiteY870" fmla="*/ 724368 h 4439277"/>
              <a:gd name="connsiteX871" fmla="*/ 4618038 w 6873375"/>
              <a:gd name="connsiteY871" fmla="*/ 731810 h 4439277"/>
              <a:gd name="connsiteX872" fmla="*/ 4610589 w 6873375"/>
              <a:gd name="connsiteY872" fmla="*/ 744215 h 4439277"/>
              <a:gd name="connsiteX873" fmla="*/ 4590736 w 6873375"/>
              <a:gd name="connsiteY873" fmla="*/ 754138 h 4439277"/>
              <a:gd name="connsiteX874" fmla="*/ 4588252 w 6873375"/>
              <a:gd name="connsiteY874" fmla="*/ 754138 h 4439277"/>
              <a:gd name="connsiteX875" fmla="*/ 4575839 w 6873375"/>
              <a:gd name="connsiteY875" fmla="*/ 756617 h 4439277"/>
              <a:gd name="connsiteX876" fmla="*/ 4543574 w 6873375"/>
              <a:gd name="connsiteY876" fmla="*/ 776463 h 4439277"/>
              <a:gd name="connsiteX877" fmla="*/ 4536129 w 6873375"/>
              <a:gd name="connsiteY877" fmla="*/ 764061 h 4439277"/>
              <a:gd name="connsiteX878" fmla="*/ 4528681 w 6873375"/>
              <a:gd name="connsiteY878" fmla="*/ 781424 h 4439277"/>
              <a:gd name="connsiteX879" fmla="*/ 4508827 w 6873375"/>
              <a:gd name="connsiteY879" fmla="*/ 786386 h 4439277"/>
              <a:gd name="connsiteX880" fmla="*/ 4511307 w 6873375"/>
              <a:gd name="connsiteY880" fmla="*/ 776463 h 4439277"/>
              <a:gd name="connsiteX881" fmla="*/ 4506342 w 6873375"/>
              <a:gd name="connsiteY881" fmla="*/ 776463 h 4439277"/>
              <a:gd name="connsiteX882" fmla="*/ 4481522 w 6873375"/>
              <a:gd name="connsiteY882" fmla="*/ 798788 h 4439277"/>
              <a:gd name="connsiteX883" fmla="*/ 4474077 w 6873375"/>
              <a:gd name="connsiteY883" fmla="*/ 808714 h 4439277"/>
              <a:gd name="connsiteX884" fmla="*/ 4481522 w 6873375"/>
              <a:gd name="connsiteY884" fmla="*/ 808714 h 4439277"/>
              <a:gd name="connsiteX885" fmla="*/ 4533644 w 6873375"/>
              <a:gd name="connsiteY885" fmla="*/ 786386 h 4439277"/>
              <a:gd name="connsiteX886" fmla="*/ 4546056 w 6873375"/>
              <a:gd name="connsiteY886" fmla="*/ 783907 h 4439277"/>
              <a:gd name="connsiteX887" fmla="*/ 4585771 w 6873375"/>
              <a:gd name="connsiteY887" fmla="*/ 769022 h 4439277"/>
              <a:gd name="connsiteX888" fmla="*/ 4593215 w 6873375"/>
              <a:gd name="connsiteY888" fmla="*/ 766539 h 4439277"/>
              <a:gd name="connsiteX889" fmla="*/ 4600662 w 6873375"/>
              <a:gd name="connsiteY889" fmla="*/ 776463 h 4439277"/>
              <a:gd name="connsiteX890" fmla="*/ 4580804 w 6873375"/>
              <a:gd name="connsiteY890" fmla="*/ 776463 h 4439277"/>
              <a:gd name="connsiteX891" fmla="*/ 4563430 w 6873375"/>
              <a:gd name="connsiteY891" fmla="*/ 801270 h 4439277"/>
              <a:gd name="connsiteX892" fmla="*/ 4551018 w 6873375"/>
              <a:gd name="connsiteY892" fmla="*/ 828558 h 4439277"/>
              <a:gd name="connsiteX893" fmla="*/ 4542326 w 6873375"/>
              <a:gd name="connsiteY893" fmla="*/ 831039 h 4439277"/>
              <a:gd name="connsiteX894" fmla="*/ 4523717 w 6873375"/>
              <a:gd name="connsiteY894" fmla="*/ 831039 h 4439277"/>
              <a:gd name="connsiteX895" fmla="*/ 4513787 w 6873375"/>
              <a:gd name="connsiteY895" fmla="*/ 821116 h 4439277"/>
              <a:gd name="connsiteX896" fmla="*/ 4496415 w 6873375"/>
              <a:gd name="connsiteY896" fmla="*/ 828558 h 4439277"/>
              <a:gd name="connsiteX897" fmla="*/ 4496415 w 6873375"/>
              <a:gd name="connsiteY897" fmla="*/ 831039 h 4439277"/>
              <a:gd name="connsiteX898" fmla="*/ 4525770 w 6873375"/>
              <a:gd name="connsiteY898" fmla="*/ 839423 h 4439277"/>
              <a:gd name="connsiteX899" fmla="*/ 4523717 w 6873375"/>
              <a:gd name="connsiteY899" fmla="*/ 840962 h 4439277"/>
              <a:gd name="connsiteX900" fmla="*/ 4533644 w 6873375"/>
              <a:gd name="connsiteY900" fmla="*/ 850885 h 4439277"/>
              <a:gd name="connsiteX901" fmla="*/ 4538609 w 6873375"/>
              <a:gd name="connsiteY901" fmla="*/ 848404 h 4439277"/>
              <a:gd name="connsiteX902" fmla="*/ 4536129 w 6873375"/>
              <a:gd name="connsiteY902" fmla="*/ 853365 h 4439277"/>
              <a:gd name="connsiteX903" fmla="*/ 4541093 w 6873375"/>
              <a:gd name="connsiteY903" fmla="*/ 860808 h 4439277"/>
              <a:gd name="connsiteX904" fmla="*/ 5027584 w 6873375"/>
              <a:gd name="connsiteY904" fmla="*/ 652429 h 4439277"/>
              <a:gd name="connsiteX905" fmla="*/ 5114456 w 6873375"/>
              <a:gd name="connsiteY905" fmla="*/ 689639 h 4439277"/>
              <a:gd name="connsiteX906" fmla="*/ 5116937 w 6873375"/>
              <a:gd name="connsiteY906" fmla="*/ 689639 h 4439277"/>
              <a:gd name="connsiteX907" fmla="*/ 5116937 w 6873375"/>
              <a:gd name="connsiteY907" fmla="*/ 692118 h 4439277"/>
              <a:gd name="connsiteX908" fmla="*/ 5119422 w 6873375"/>
              <a:gd name="connsiteY908" fmla="*/ 699561 h 4439277"/>
              <a:gd name="connsiteX909" fmla="*/ 5126866 w 6873375"/>
              <a:gd name="connsiteY909" fmla="*/ 694600 h 4439277"/>
              <a:gd name="connsiteX910" fmla="*/ 5131830 w 6873375"/>
              <a:gd name="connsiteY910" fmla="*/ 692118 h 4439277"/>
              <a:gd name="connsiteX911" fmla="*/ 5136794 w 6873375"/>
              <a:gd name="connsiteY911" fmla="*/ 689639 h 4439277"/>
              <a:gd name="connsiteX912" fmla="*/ 5126866 w 6873375"/>
              <a:gd name="connsiteY912" fmla="*/ 687156 h 4439277"/>
              <a:gd name="connsiteX913" fmla="*/ 5154170 w 6873375"/>
              <a:gd name="connsiteY913" fmla="*/ 679715 h 4439277"/>
              <a:gd name="connsiteX914" fmla="*/ 5161616 w 6873375"/>
              <a:gd name="connsiteY914" fmla="*/ 677233 h 4439277"/>
              <a:gd name="connsiteX915" fmla="*/ 5174029 w 6873375"/>
              <a:gd name="connsiteY915" fmla="*/ 669793 h 4439277"/>
              <a:gd name="connsiteX916" fmla="*/ 5156651 w 6873375"/>
              <a:gd name="connsiteY916" fmla="*/ 692118 h 4439277"/>
              <a:gd name="connsiteX917" fmla="*/ 5166580 w 6873375"/>
              <a:gd name="connsiteY917" fmla="*/ 694600 h 4439277"/>
              <a:gd name="connsiteX918" fmla="*/ 5169061 w 6873375"/>
              <a:gd name="connsiteY918" fmla="*/ 706999 h 4439277"/>
              <a:gd name="connsiteX919" fmla="*/ 5165959 w 6873375"/>
              <a:gd name="connsiteY919" fmla="*/ 703591 h 4439277"/>
              <a:gd name="connsiteX920" fmla="*/ 5159132 w 6873375"/>
              <a:gd name="connsiteY920" fmla="*/ 709485 h 4439277"/>
              <a:gd name="connsiteX921" fmla="*/ 5161616 w 6873375"/>
              <a:gd name="connsiteY921" fmla="*/ 709485 h 4439277"/>
              <a:gd name="connsiteX922" fmla="*/ 5169062 w 6873375"/>
              <a:gd name="connsiteY922" fmla="*/ 707003 h 4439277"/>
              <a:gd name="connsiteX923" fmla="*/ 5169475 w 6873375"/>
              <a:gd name="connsiteY923" fmla="*/ 709072 h 4439277"/>
              <a:gd name="connsiteX924" fmla="*/ 5169063 w 6873375"/>
              <a:gd name="connsiteY924" fmla="*/ 709485 h 4439277"/>
              <a:gd name="connsiteX925" fmla="*/ 5169682 w 6873375"/>
              <a:gd name="connsiteY925" fmla="*/ 710103 h 4439277"/>
              <a:gd name="connsiteX926" fmla="*/ 5171544 w 6873375"/>
              <a:gd name="connsiteY926" fmla="*/ 719407 h 4439277"/>
              <a:gd name="connsiteX927" fmla="*/ 5198850 w 6873375"/>
              <a:gd name="connsiteY927" fmla="*/ 699561 h 4439277"/>
              <a:gd name="connsiteX928" fmla="*/ 5201330 w 6873375"/>
              <a:gd name="connsiteY928" fmla="*/ 697082 h 4439277"/>
              <a:gd name="connsiteX929" fmla="*/ 5231115 w 6873375"/>
              <a:gd name="connsiteY929" fmla="*/ 672275 h 4439277"/>
              <a:gd name="connsiteX930" fmla="*/ 5233596 w 6873375"/>
              <a:gd name="connsiteY930" fmla="*/ 667314 h 4439277"/>
              <a:gd name="connsiteX931" fmla="*/ 5236080 w 6873375"/>
              <a:gd name="connsiteY931" fmla="*/ 669793 h 4439277"/>
              <a:gd name="connsiteX932" fmla="*/ 5243525 w 6873375"/>
              <a:gd name="connsiteY932" fmla="*/ 659869 h 4439277"/>
              <a:gd name="connsiteX933" fmla="*/ 5255937 w 6873375"/>
              <a:gd name="connsiteY933" fmla="*/ 647468 h 4439277"/>
              <a:gd name="connsiteX934" fmla="*/ 5260901 w 6873375"/>
              <a:gd name="connsiteY934" fmla="*/ 640023 h 4439277"/>
              <a:gd name="connsiteX935" fmla="*/ 5255937 w 6873375"/>
              <a:gd name="connsiteY935" fmla="*/ 637544 h 4439277"/>
              <a:gd name="connsiteX936" fmla="*/ 5226151 w 6873375"/>
              <a:gd name="connsiteY936" fmla="*/ 654908 h 4439277"/>
              <a:gd name="connsiteX937" fmla="*/ 5213739 w 6873375"/>
              <a:gd name="connsiteY937" fmla="*/ 667314 h 4439277"/>
              <a:gd name="connsiteX938" fmla="*/ 5218703 w 6873375"/>
              <a:gd name="connsiteY938" fmla="*/ 672275 h 4439277"/>
              <a:gd name="connsiteX939" fmla="*/ 5201330 w 6873375"/>
              <a:gd name="connsiteY939" fmla="*/ 689639 h 4439277"/>
              <a:gd name="connsiteX940" fmla="*/ 5183954 w 6873375"/>
              <a:gd name="connsiteY940" fmla="*/ 699561 h 4439277"/>
              <a:gd name="connsiteX941" fmla="*/ 5181473 w 6873375"/>
              <a:gd name="connsiteY941" fmla="*/ 697082 h 4439277"/>
              <a:gd name="connsiteX942" fmla="*/ 5203814 w 6873375"/>
              <a:gd name="connsiteY942" fmla="*/ 679715 h 4439277"/>
              <a:gd name="connsiteX943" fmla="*/ 5181473 w 6873375"/>
              <a:gd name="connsiteY943" fmla="*/ 669793 h 4439277"/>
              <a:gd name="connsiteX944" fmla="*/ 5196365 w 6873375"/>
              <a:gd name="connsiteY944" fmla="*/ 662351 h 4439277"/>
              <a:gd name="connsiteX945" fmla="*/ 5201330 w 6873375"/>
              <a:gd name="connsiteY945" fmla="*/ 659869 h 4439277"/>
              <a:gd name="connsiteX946" fmla="*/ 5206294 w 6873375"/>
              <a:gd name="connsiteY946" fmla="*/ 642505 h 4439277"/>
              <a:gd name="connsiteX947" fmla="*/ 5238560 w 6873375"/>
              <a:gd name="connsiteY947" fmla="*/ 620177 h 4439277"/>
              <a:gd name="connsiteX948" fmla="*/ 5268346 w 6873375"/>
              <a:gd name="connsiteY948" fmla="*/ 605293 h 4439277"/>
              <a:gd name="connsiteX949" fmla="*/ 5285722 w 6873375"/>
              <a:gd name="connsiteY949" fmla="*/ 587930 h 4439277"/>
              <a:gd name="connsiteX950" fmla="*/ 5305577 w 6873375"/>
              <a:gd name="connsiteY950" fmla="*/ 568084 h 4439277"/>
              <a:gd name="connsiteX951" fmla="*/ 5325434 w 6873375"/>
              <a:gd name="connsiteY951" fmla="*/ 555681 h 4439277"/>
              <a:gd name="connsiteX952" fmla="*/ 5327917 w 6873375"/>
              <a:gd name="connsiteY952" fmla="*/ 558160 h 4439277"/>
              <a:gd name="connsiteX953" fmla="*/ 5322953 w 6873375"/>
              <a:gd name="connsiteY953" fmla="*/ 575524 h 4439277"/>
              <a:gd name="connsiteX954" fmla="*/ 5347774 w 6873375"/>
              <a:gd name="connsiteY954" fmla="*/ 555681 h 4439277"/>
              <a:gd name="connsiteX955" fmla="*/ 5362667 w 6873375"/>
              <a:gd name="connsiteY955" fmla="*/ 528392 h 4439277"/>
              <a:gd name="connsiteX956" fmla="*/ 5392452 w 6873375"/>
              <a:gd name="connsiteY956" fmla="*/ 535835 h 4439277"/>
              <a:gd name="connsiteX957" fmla="*/ 5407343 w 6873375"/>
              <a:gd name="connsiteY957" fmla="*/ 525913 h 4439277"/>
              <a:gd name="connsiteX958" fmla="*/ 5424719 w 6873375"/>
              <a:gd name="connsiteY958" fmla="*/ 545759 h 4439277"/>
              <a:gd name="connsiteX959" fmla="*/ 5439612 w 6873375"/>
              <a:gd name="connsiteY959" fmla="*/ 523430 h 4439277"/>
              <a:gd name="connsiteX960" fmla="*/ 5437127 w 6873375"/>
              <a:gd name="connsiteY960" fmla="*/ 515989 h 4439277"/>
              <a:gd name="connsiteX961" fmla="*/ 5439612 w 6873375"/>
              <a:gd name="connsiteY961" fmla="*/ 515989 h 4439277"/>
              <a:gd name="connsiteX962" fmla="*/ 5499183 w 6873375"/>
              <a:gd name="connsiteY962" fmla="*/ 473818 h 4439277"/>
              <a:gd name="connsiteX963" fmla="*/ 5501664 w 6873375"/>
              <a:gd name="connsiteY963" fmla="*/ 471336 h 4439277"/>
              <a:gd name="connsiteX964" fmla="*/ 5514075 w 6873375"/>
              <a:gd name="connsiteY964" fmla="*/ 458933 h 4439277"/>
              <a:gd name="connsiteX965" fmla="*/ 5538897 w 6873375"/>
              <a:gd name="connsiteY965" fmla="*/ 463892 h 4439277"/>
              <a:gd name="connsiteX966" fmla="*/ 5536412 w 6873375"/>
              <a:gd name="connsiteY966" fmla="*/ 446529 h 4439277"/>
              <a:gd name="connsiteX967" fmla="*/ 5578607 w 6873375"/>
              <a:gd name="connsiteY967" fmla="*/ 419241 h 4439277"/>
              <a:gd name="connsiteX968" fmla="*/ 5581092 w 6873375"/>
              <a:gd name="connsiteY968" fmla="*/ 421721 h 4439277"/>
              <a:gd name="connsiteX969" fmla="*/ 5571163 w 6873375"/>
              <a:gd name="connsiteY969" fmla="*/ 434126 h 4439277"/>
              <a:gd name="connsiteX970" fmla="*/ 5573643 w 6873375"/>
              <a:gd name="connsiteY970" fmla="*/ 436605 h 4439277"/>
              <a:gd name="connsiteX971" fmla="*/ 5610877 w 6873375"/>
              <a:gd name="connsiteY971" fmla="*/ 414280 h 4439277"/>
              <a:gd name="connsiteX972" fmla="*/ 5608393 w 6873375"/>
              <a:gd name="connsiteY972" fmla="*/ 406836 h 4439277"/>
              <a:gd name="connsiteX973" fmla="*/ 5610877 w 6873375"/>
              <a:gd name="connsiteY973" fmla="*/ 404358 h 4439277"/>
              <a:gd name="connsiteX974" fmla="*/ 5615841 w 6873375"/>
              <a:gd name="connsiteY974" fmla="*/ 414280 h 4439277"/>
              <a:gd name="connsiteX975" fmla="*/ 5635695 w 6873375"/>
              <a:gd name="connsiteY975" fmla="*/ 394434 h 4439277"/>
              <a:gd name="connsiteX976" fmla="*/ 5640663 w 6873375"/>
              <a:gd name="connsiteY976" fmla="*/ 391952 h 4439277"/>
              <a:gd name="connsiteX977" fmla="*/ 5663000 w 6873375"/>
              <a:gd name="connsiteY977" fmla="*/ 384511 h 4439277"/>
              <a:gd name="connsiteX978" fmla="*/ 5680373 w 6873375"/>
              <a:gd name="connsiteY978" fmla="*/ 369627 h 4439277"/>
              <a:gd name="connsiteX979" fmla="*/ 5707678 w 6873375"/>
              <a:gd name="connsiteY979" fmla="*/ 352261 h 4439277"/>
              <a:gd name="connsiteX980" fmla="*/ 5697749 w 6873375"/>
              <a:gd name="connsiteY980" fmla="*/ 364665 h 4439277"/>
              <a:gd name="connsiteX981" fmla="*/ 5715123 w 6873375"/>
              <a:gd name="connsiteY981" fmla="*/ 362183 h 4439277"/>
              <a:gd name="connsiteX982" fmla="*/ 5717606 w 6873375"/>
              <a:gd name="connsiteY982" fmla="*/ 372107 h 4439277"/>
              <a:gd name="connsiteX983" fmla="*/ 5747392 w 6873375"/>
              <a:gd name="connsiteY983" fmla="*/ 357222 h 4439277"/>
              <a:gd name="connsiteX984" fmla="*/ 5752356 w 6873375"/>
              <a:gd name="connsiteY984" fmla="*/ 364665 h 4439277"/>
              <a:gd name="connsiteX985" fmla="*/ 5754837 w 6873375"/>
              <a:gd name="connsiteY985" fmla="*/ 362183 h 4439277"/>
              <a:gd name="connsiteX986" fmla="*/ 5784623 w 6873375"/>
              <a:gd name="connsiteY986" fmla="*/ 339858 h 4439277"/>
              <a:gd name="connsiteX987" fmla="*/ 5819373 w 6873375"/>
              <a:gd name="connsiteY987" fmla="*/ 322494 h 4439277"/>
              <a:gd name="connsiteX988" fmla="*/ 5819373 w 6873375"/>
              <a:gd name="connsiteY988" fmla="*/ 310089 h 4439277"/>
              <a:gd name="connsiteX989" fmla="*/ 5821853 w 6873375"/>
              <a:gd name="connsiteY989" fmla="*/ 300166 h 4439277"/>
              <a:gd name="connsiteX990" fmla="*/ 5834265 w 6873375"/>
              <a:gd name="connsiteY990" fmla="*/ 290244 h 4439277"/>
              <a:gd name="connsiteX991" fmla="*/ 5886389 w 6873375"/>
              <a:gd name="connsiteY991" fmla="*/ 267918 h 4439277"/>
              <a:gd name="connsiteX992" fmla="*/ 5869015 w 6873375"/>
              <a:gd name="connsiteY992" fmla="*/ 277841 h 4439277"/>
              <a:gd name="connsiteX993" fmla="*/ 5859087 w 6873375"/>
              <a:gd name="connsiteY993" fmla="*/ 292725 h 4439277"/>
              <a:gd name="connsiteX994" fmla="*/ 5853510 w 6873375"/>
              <a:gd name="connsiteY994" fmla="*/ 296441 h 4439277"/>
              <a:gd name="connsiteX995" fmla="*/ 5844194 w 6873375"/>
              <a:gd name="connsiteY995" fmla="*/ 300166 h 4439277"/>
              <a:gd name="connsiteX996" fmla="*/ 5845683 w 6873375"/>
              <a:gd name="connsiteY996" fmla="*/ 301656 h 4439277"/>
              <a:gd name="connsiteX997" fmla="*/ 5844194 w 6873375"/>
              <a:gd name="connsiteY997" fmla="*/ 302648 h 4439277"/>
              <a:gd name="connsiteX998" fmla="*/ 5846060 w 6873375"/>
              <a:gd name="connsiteY998" fmla="*/ 302033 h 4439277"/>
              <a:gd name="connsiteX999" fmla="*/ 5846675 w 6873375"/>
              <a:gd name="connsiteY999" fmla="*/ 302648 h 4439277"/>
              <a:gd name="connsiteX1000" fmla="*/ 5848621 w 6873375"/>
              <a:gd name="connsiteY1000" fmla="*/ 301189 h 4439277"/>
              <a:gd name="connsiteX1001" fmla="*/ 5872428 w 6873375"/>
              <a:gd name="connsiteY1001" fmla="*/ 293345 h 4439277"/>
              <a:gd name="connsiteX1002" fmla="*/ 5898801 w 6873375"/>
              <a:gd name="connsiteY1002" fmla="*/ 280320 h 4439277"/>
              <a:gd name="connsiteX1003" fmla="*/ 5955888 w 6873375"/>
              <a:gd name="connsiteY1003" fmla="*/ 253034 h 4439277"/>
              <a:gd name="connsiteX1004" fmla="*/ 6012976 w 6873375"/>
              <a:gd name="connsiteY1004" fmla="*/ 233188 h 4439277"/>
              <a:gd name="connsiteX1005" fmla="*/ 5978226 w 6873375"/>
              <a:gd name="connsiteY1005" fmla="*/ 253034 h 4439277"/>
              <a:gd name="connsiteX1006" fmla="*/ 5940996 w 6873375"/>
              <a:gd name="connsiteY1006" fmla="*/ 282802 h 4439277"/>
              <a:gd name="connsiteX1007" fmla="*/ 5993119 w 6873375"/>
              <a:gd name="connsiteY1007" fmla="*/ 257995 h 4439277"/>
              <a:gd name="connsiteX1008" fmla="*/ 5998083 w 6873375"/>
              <a:gd name="connsiteY1008" fmla="*/ 265435 h 4439277"/>
              <a:gd name="connsiteX1009" fmla="*/ 6017940 w 6873375"/>
              <a:gd name="connsiteY1009" fmla="*/ 260474 h 4439277"/>
              <a:gd name="connsiteX1010" fmla="*/ 6020420 w 6873375"/>
              <a:gd name="connsiteY1010" fmla="*/ 270398 h 4439277"/>
              <a:gd name="connsiteX1011" fmla="*/ 6075027 w 6873375"/>
              <a:gd name="connsiteY1011" fmla="*/ 253034 h 4439277"/>
              <a:gd name="connsiteX1012" fmla="*/ 6047726 w 6873375"/>
              <a:gd name="connsiteY1012" fmla="*/ 275359 h 4439277"/>
              <a:gd name="connsiteX1013" fmla="*/ 6082476 w 6873375"/>
              <a:gd name="connsiteY1013" fmla="*/ 292725 h 4439277"/>
              <a:gd name="connsiteX1014" fmla="*/ 6065100 w 6873375"/>
              <a:gd name="connsiteY1014" fmla="*/ 297687 h 4439277"/>
              <a:gd name="connsiteX1015" fmla="*/ 6094884 w 6873375"/>
              <a:gd name="connsiteY1015" fmla="*/ 302648 h 4439277"/>
              <a:gd name="connsiteX1016" fmla="*/ 6122190 w 6873375"/>
              <a:gd name="connsiteY1016" fmla="*/ 282802 h 4439277"/>
              <a:gd name="connsiteX1017" fmla="*/ 6104814 w 6873375"/>
              <a:gd name="connsiteY1017" fmla="*/ 312571 h 4439277"/>
              <a:gd name="connsiteX1018" fmla="*/ 6127151 w 6873375"/>
              <a:gd name="connsiteY1018" fmla="*/ 297687 h 4439277"/>
              <a:gd name="connsiteX1019" fmla="*/ 6112261 w 6873375"/>
              <a:gd name="connsiteY1019" fmla="*/ 315051 h 4439277"/>
              <a:gd name="connsiteX1020" fmla="*/ 6127151 w 6873375"/>
              <a:gd name="connsiteY1020" fmla="*/ 320012 h 4439277"/>
              <a:gd name="connsiteX1021" fmla="*/ 6102329 w 6873375"/>
              <a:gd name="connsiteY1021" fmla="*/ 344819 h 4439277"/>
              <a:gd name="connsiteX1022" fmla="*/ 6110399 w 6873375"/>
              <a:gd name="connsiteY1022" fmla="*/ 349161 h 4439277"/>
              <a:gd name="connsiteX1023" fmla="*/ 6113842 w 6873375"/>
              <a:gd name="connsiteY1023" fmla="*/ 355552 h 4439277"/>
              <a:gd name="connsiteX1024" fmla="*/ 6089921 w 6873375"/>
              <a:gd name="connsiteY1024" fmla="*/ 377068 h 4439277"/>
              <a:gd name="connsiteX1025" fmla="*/ 6089921 w 6873375"/>
              <a:gd name="connsiteY1025" fmla="*/ 379550 h 4439277"/>
              <a:gd name="connsiteX1026" fmla="*/ 6104814 w 6873375"/>
              <a:gd name="connsiteY1026" fmla="*/ 377068 h 4439277"/>
              <a:gd name="connsiteX1027" fmla="*/ 6112261 w 6873375"/>
              <a:gd name="connsiteY1027" fmla="*/ 386990 h 4439277"/>
              <a:gd name="connsiteX1028" fmla="*/ 6124671 w 6873375"/>
              <a:gd name="connsiteY1028" fmla="*/ 364665 h 4439277"/>
              <a:gd name="connsiteX1029" fmla="*/ 6112261 w 6873375"/>
              <a:gd name="connsiteY1029" fmla="*/ 372107 h 4439277"/>
              <a:gd name="connsiteX1030" fmla="*/ 6109778 w 6873375"/>
              <a:gd name="connsiteY1030" fmla="*/ 369627 h 4439277"/>
              <a:gd name="connsiteX1031" fmla="*/ 6117225 w 6873375"/>
              <a:gd name="connsiteY1031" fmla="*/ 357222 h 4439277"/>
              <a:gd name="connsiteX1032" fmla="*/ 6115982 w 6873375"/>
              <a:gd name="connsiteY1032" fmla="*/ 355981 h 4439277"/>
              <a:gd name="connsiteX1033" fmla="*/ 6139562 w 6873375"/>
              <a:gd name="connsiteY1033" fmla="*/ 332417 h 4439277"/>
              <a:gd name="connsiteX1034" fmla="*/ 6144528 w 6873375"/>
              <a:gd name="connsiteY1034" fmla="*/ 349781 h 4439277"/>
              <a:gd name="connsiteX1035" fmla="*/ 6134599 w 6873375"/>
              <a:gd name="connsiteY1035" fmla="*/ 364665 h 4439277"/>
              <a:gd name="connsiteX1036" fmla="*/ 6159419 w 6873375"/>
              <a:gd name="connsiteY1036" fmla="*/ 362183 h 4439277"/>
              <a:gd name="connsiteX1037" fmla="*/ 6156936 w 6873375"/>
              <a:gd name="connsiteY1037" fmla="*/ 374588 h 4439277"/>
              <a:gd name="connsiteX1038" fmla="*/ 6166865 w 6873375"/>
              <a:gd name="connsiteY1038" fmla="*/ 377068 h 4439277"/>
              <a:gd name="connsiteX1039" fmla="*/ 6144528 w 6873375"/>
              <a:gd name="connsiteY1039" fmla="*/ 404358 h 4439277"/>
              <a:gd name="connsiteX1040" fmla="*/ 6143855 w 6873375"/>
              <a:gd name="connsiteY1040" fmla="*/ 411075 h 4439277"/>
              <a:gd name="connsiteX1041" fmla="*/ 6142047 w 6873375"/>
              <a:gd name="connsiteY1041" fmla="*/ 411798 h 4439277"/>
              <a:gd name="connsiteX1042" fmla="*/ 6143493 w 6873375"/>
              <a:gd name="connsiteY1042" fmla="*/ 414692 h 4439277"/>
              <a:gd name="connsiteX1043" fmla="*/ 6142047 w 6873375"/>
              <a:gd name="connsiteY1043" fmla="*/ 429165 h 4439277"/>
              <a:gd name="connsiteX1044" fmla="*/ 6179276 w 6873375"/>
              <a:gd name="connsiteY1044" fmla="*/ 401875 h 4439277"/>
              <a:gd name="connsiteX1045" fmla="*/ 6216507 w 6873375"/>
              <a:gd name="connsiteY1045" fmla="*/ 377068 h 4439277"/>
              <a:gd name="connsiteX1046" fmla="*/ 6226436 w 6873375"/>
              <a:gd name="connsiteY1046" fmla="*/ 374588 h 4439277"/>
              <a:gd name="connsiteX1047" fmla="*/ 6214024 w 6873375"/>
              <a:gd name="connsiteY1047" fmla="*/ 384511 h 4439277"/>
              <a:gd name="connsiteX1048" fmla="*/ 6216507 w 6873375"/>
              <a:gd name="connsiteY1048" fmla="*/ 389473 h 4439277"/>
              <a:gd name="connsiteX1049" fmla="*/ 6236364 w 6873375"/>
              <a:gd name="connsiteY1049" fmla="*/ 379550 h 4439277"/>
              <a:gd name="connsiteX1050" fmla="*/ 6181757 w 6873375"/>
              <a:gd name="connsiteY1050" fmla="*/ 426682 h 4439277"/>
              <a:gd name="connsiteX1051" fmla="*/ 6174313 w 6873375"/>
              <a:gd name="connsiteY1051" fmla="*/ 456451 h 4439277"/>
              <a:gd name="connsiteX1052" fmla="*/ 6184242 w 6873375"/>
              <a:gd name="connsiteY1052" fmla="*/ 473818 h 4439277"/>
              <a:gd name="connsiteX1053" fmla="*/ 6196650 w 6873375"/>
              <a:gd name="connsiteY1053" fmla="*/ 486221 h 4439277"/>
              <a:gd name="connsiteX1054" fmla="*/ 6238845 w 6873375"/>
              <a:gd name="connsiteY1054" fmla="*/ 478777 h 4439277"/>
              <a:gd name="connsiteX1055" fmla="*/ 6228920 w 6873375"/>
              <a:gd name="connsiteY1055" fmla="*/ 491182 h 4439277"/>
              <a:gd name="connsiteX1056" fmla="*/ 6288488 w 6873375"/>
              <a:gd name="connsiteY1056" fmla="*/ 458933 h 4439277"/>
              <a:gd name="connsiteX1057" fmla="*/ 6263666 w 6873375"/>
              <a:gd name="connsiteY1057" fmla="*/ 481258 h 4439277"/>
              <a:gd name="connsiteX1058" fmla="*/ 6236364 w 6873375"/>
              <a:gd name="connsiteY1058" fmla="*/ 508546 h 4439277"/>
              <a:gd name="connsiteX1059" fmla="*/ 6271114 w 6873375"/>
              <a:gd name="connsiteY1059" fmla="*/ 491182 h 4439277"/>
              <a:gd name="connsiteX1060" fmla="*/ 6303380 w 6873375"/>
              <a:gd name="connsiteY1060" fmla="*/ 473818 h 4439277"/>
              <a:gd name="connsiteX1061" fmla="*/ 6256221 w 6873375"/>
              <a:gd name="connsiteY1061" fmla="*/ 525913 h 4439277"/>
              <a:gd name="connsiteX1062" fmla="*/ 6258705 w 6873375"/>
              <a:gd name="connsiteY1062" fmla="*/ 545759 h 4439277"/>
              <a:gd name="connsiteX1063" fmla="*/ 6271114 w 6873375"/>
              <a:gd name="connsiteY1063" fmla="*/ 540796 h 4439277"/>
              <a:gd name="connsiteX1064" fmla="*/ 6268631 w 6873375"/>
              <a:gd name="connsiteY1064" fmla="*/ 558160 h 4439277"/>
              <a:gd name="connsiteX1065" fmla="*/ 6313309 w 6873375"/>
              <a:gd name="connsiteY1065" fmla="*/ 528392 h 4439277"/>
              <a:gd name="connsiteX1066" fmla="*/ 6315792 w 6873375"/>
              <a:gd name="connsiteY1066" fmla="*/ 530874 h 4439277"/>
              <a:gd name="connsiteX1067" fmla="*/ 6298416 w 6873375"/>
              <a:gd name="connsiteY1067" fmla="*/ 553199 h 4439277"/>
              <a:gd name="connsiteX1068" fmla="*/ 6313309 w 6873375"/>
              <a:gd name="connsiteY1068" fmla="*/ 553199 h 4439277"/>
              <a:gd name="connsiteX1069" fmla="*/ 6281042 w 6873375"/>
              <a:gd name="connsiteY1069" fmla="*/ 585451 h 4439277"/>
              <a:gd name="connsiteX1070" fmla="*/ 6298416 w 6873375"/>
              <a:gd name="connsiteY1070" fmla="*/ 585451 h 4439277"/>
              <a:gd name="connsiteX1071" fmla="*/ 6290971 w 6873375"/>
              <a:gd name="connsiteY1071" fmla="*/ 597852 h 4439277"/>
              <a:gd name="connsiteX1072" fmla="*/ 6315792 w 6873375"/>
              <a:gd name="connsiteY1072" fmla="*/ 617698 h 4439277"/>
              <a:gd name="connsiteX1073" fmla="*/ 6303380 w 6873375"/>
              <a:gd name="connsiteY1073" fmla="*/ 627622 h 4439277"/>
              <a:gd name="connsiteX1074" fmla="*/ 6305864 w 6873375"/>
              <a:gd name="connsiteY1074" fmla="*/ 630101 h 4439277"/>
              <a:gd name="connsiteX1075" fmla="*/ 6323237 w 6873375"/>
              <a:gd name="connsiteY1075" fmla="*/ 620177 h 4439277"/>
              <a:gd name="connsiteX1076" fmla="*/ 6325718 w 6873375"/>
              <a:gd name="connsiteY1076" fmla="*/ 622659 h 4439277"/>
              <a:gd name="connsiteX1077" fmla="*/ 6310391 w 6873375"/>
              <a:gd name="connsiteY1077" fmla="*/ 635936 h 4439277"/>
              <a:gd name="connsiteX1078" fmla="*/ 6310828 w 6873375"/>
              <a:gd name="connsiteY1078" fmla="*/ 635062 h 4439277"/>
              <a:gd name="connsiteX1079" fmla="*/ 6307112 w 6873375"/>
              <a:gd name="connsiteY1079" fmla="*/ 638775 h 4439277"/>
              <a:gd name="connsiteX1080" fmla="*/ 6288488 w 6873375"/>
              <a:gd name="connsiteY1080" fmla="*/ 654908 h 4439277"/>
              <a:gd name="connsiteX1081" fmla="*/ 6278559 w 6873375"/>
              <a:gd name="connsiteY1081" fmla="*/ 647468 h 4439277"/>
              <a:gd name="connsiteX1082" fmla="*/ 6276078 w 6873375"/>
              <a:gd name="connsiteY1082" fmla="*/ 667314 h 4439277"/>
              <a:gd name="connsiteX1083" fmla="*/ 6266150 w 6873375"/>
              <a:gd name="connsiteY1083" fmla="*/ 702040 h 4439277"/>
              <a:gd name="connsiteX1084" fmla="*/ 6290971 w 6873375"/>
              <a:gd name="connsiteY1084" fmla="*/ 716925 h 4439277"/>
              <a:gd name="connsiteX1085" fmla="*/ 6263666 w 6873375"/>
              <a:gd name="connsiteY1085" fmla="*/ 749177 h 4439277"/>
              <a:gd name="connsiteX1086" fmla="*/ 6263666 w 6873375"/>
              <a:gd name="connsiteY1086" fmla="*/ 751656 h 4439277"/>
              <a:gd name="connsiteX1087" fmla="*/ 6276078 w 6873375"/>
              <a:gd name="connsiteY1087" fmla="*/ 749177 h 4439277"/>
              <a:gd name="connsiteX1088" fmla="*/ 6333166 w 6873375"/>
              <a:gd name="connsiteY1088" fmla="*/ 709485 h 4439277"/>
              <a:gd name="connsiteX1089" fmla="*/ 6345579 w 6873375"/>
              <a:gd name="connsiteY1089" fmla="*/ 704522 h 4439277"/>
              <a:gd name="connsiteX1090" fmla="*/ 6353023 w 6873375"/>
              <a:gd name="connsiteY1090" fmla="*/ 702040 h 4439277"/>
              <a:gd name="connsiteX1091" fmla="*/ 6395220 w 6873375"/>
              <a:gd name="connsiteY1091" fmla="*/ 679715 h 4439277"/>
              <a:gd name="connsiteX1092" fmla="*/ 6147011 w 6873375"/>
              <a:gd name="connsiteY1092" fmla="*/ 1031978 h 4439277"/>
              <a:gd name="connsiteX1093" fmla="*/ 6179276 w 6873375"/>
              <a:gd name="connsiteY1093" fmla="*/ 1022052 h 4439277"/>
              <a:gd name="connsiteX1094" fmla="*/ 6191686 w 6873375"/>
              <a:gd name="connsiteY1094" fmla="*/ 1017093 h 4439277"/>
              <a:gd name="connsiteX1095" fmla="*/ 6214024 w 6873375"/>
              <a:gd name="connsiteY1095" fmla="*/ 1012132 h 4439277"/>
              <a:gd name="connsiteX1096" fmla="*/ 6233884 w 6873375"/>
              <a:gd name="connsiteY1096" fmla="*/ 999727 h 4439277"/>
              <a:gd name="connsiteX1097" fmla="*/ 6248774 w 6873375"/>
              <a:gd name="connsiteY1097" fmla="*/ 979881 h 4439277"/>
              <a:gd name="connsiteX1098" fmla="*/ 6256221 w 6873375"/>
              <a:gd name="connsiteY1098" fmla="*/ 969958 h 4439277"/>
              <a:gd name="connsiteX1099" fmla="*/ 6281042 w 6873375"/>
              <a:gd name="connsiteY1099" fmla="*/ 955074 h 4439277"/>
              <a:gd name="connsiteX1100" fmla="*/ 6288488 w 6873375"/>
              <a:gd name="connsiteY1100" fmla="*/ 964996 h 4439277"/>
              <a:gd name="connsiteX1101" fmla="*/ 6308345 w 6873375"/>
              <a:gd name="connsiteY1101" fmla="*/ 940189 h 4439277"/>
              <a:gd name="connsiteX1102" fmla="*/ 6325718 w 6873375"/>
              <a:gd name="connsiteY1102" fmla="*/ 930269 h 4439277"/>
              <a:gd name="connsiteX1103" fmla="*/ 6353023 w 6873375"/>
              <a:gd name="connsiteY1103" fmla="*/ 917864 h 4439277"/>
              <a:gd name="connsiteX1104" fmla="*/ 6380325 w 6873375"/>
              <a:gd name="connsiteY1104" fmla="*/ 917864 h 4439277"/>
              <a:gd name="connsiteX1105" fmla="*/ 6372880 w 6873375"/>
              <a:gd name="connsiteY1105" fmla="*/ 907941 h 4439277"/>
              <a:gd name="connsiteX1106" fmla="*/ 6437413 w 6873375"/>
              <a:gd name="connsiteY1106" fmla="*/ 873211 h 4439277"/>
              <a:gd name="connsiteX1107" fmla="*/ 6427487 w 6873375"/>
              <a:gd name="connsiteY1107" fmla="*/ 883133 h 4439277"/>
              <a:gd name="connsiteX1108" fmla="*/ 6467197 w 6873375"/>
              <a:gd name="connsiteY1108" fmla="*/ 863287 h 4439277"/>
              <a:gd name="connsiteX1109" fmla="*/ 6469682 w 6873375"/>
              <a:gd name="connsiteY1109" fmla="*/ 860808 h 4439277"/>
              <a:gd name="connsiteX1110" fmla="*/ 6494503 w 6873375"/>
              <a:gd name="connsiteY1110" fmla="*/ 843441 h 4439277"/>
              <a:gd name="connsiteX1111" fmla="*/ 6516841 w 6873375"/>
              <a:gd name="connsiteY1111" fmla="*/ 831039 h 4439277"/>
              <a:gd name="connsiteX1112" fmla="*/ 6519324 w 6873375"/>
              <a:gd name="connsiteY1112" fmla="*/ 840962 h 4439277"/>
              <a:gd name="connsiteX1113" fmla="*/ 6539181 w 6873375"/>
              <a:gd name="connsiteY1113" fmla="*/ 823595 h 4439277"/>
              <a:gd name="connsiteX1114" fmla="*/ 6564003 w 6873375"/>
              <a:gd name="connsiteY1114" fmla="*/ 811194 h 4439277"/>
              <a:gd name="connsiteX1115" fmla="*/ 6551591 w 6873375"/>
              <a:gd name="connsiteY1115" fmla="*/ 826078 h 4439277"/>
              <a:gd name="connsiteX1116" fmla="*/ 6606198 w 6873375"/>
              <a:gd name="connsiteY1116" fmla="*/ 808714 h 4439277"/>
              <a:gd name="connsiteX1117" fmla="*/ 6591305 w 6873375"/>
              <a:gd name="connsiteY1117" fmla="*/ 821116 h 4439277"/>
              <a:gd name="connsiteX1118" fmla="*/ 6596269 w 6873375"/>
              <a:gd name="connsiteY1118" fmla="*/ 823595 h 4439277"/>
              <a:gd name="connsiteX1119" fmla="*/ 6653356 w 6873375"/>
              <a:gd name="connsiteY1119" fmla="*/ 796309 h 4439277"/>
              <a:gd name="connsiteX1120" fmla="*/ 6727821 w 6873375"/>
              <a:gd name="connsiteY1120" fmla="*/ 761578 h 4439277"/>
              <a:gd name="connsiteX1121" fmla="*/ 6730304 w 6873375"/>
              <a:gd name="connsiteY1121" fmla="*/ 761578 h 4439277"/>
              <a:gd name="connsiteX1122" fmla="*/ 6683141 w 6873375"/>
              <a:gd name="connsiteY1122" fmla="*/ 791348 h 4439277"/>
              <a:gd name="connsiteX1123" fmla="*/ 6700518 w 6873375"/>
              <a:gd name="connsiteY1123" fmla="*/ 796309 h 4439277"/>
              <a:gd name="connsiteX1124" fmla="*/ 6750158 w 6873375"/>
              <a:gd name="connsiteY1124" fmla="*/ 776463 h 4439277"/>
              <a:gd name="connsiteX1125" fmla="*/ 6765050 w 6873375"/>
              <a:gd name="connsiteY1125" fmla="*/ 773984 h 4439277"/>
              <a:gd name="connsiteX1126" fmla="*/ 6730304 w 6873375"/>
              <a:gd name="connsiteY1126" fmla="*/ 803753 h 4439277"/>
              <a:gd name="connsiteX1127" fmla="*/ 6722855 w 6873375"/>
              <a:gd name="connsiteY1127" fmla="*/ 808714 h 4439277"/>
              <a:gd name="connsiteX1128" fmla="*/ 6725336 w 6873375"/>
              <a:gd name="connsiteY1128" fmla="*/ 811194 h 4439277"/>
              <a:gd name="connsiteX1129" fmla="*/ 6789872 w 6873375"/>
              <a:gd name="connsiteY1129" fmla="*/ 781424 h 4439277"/>
              <a:gd name="connsiteX1130" fmla="*/ 6812213 w 6873375"/>
              <a:gd name="connsiteY1130" fmla="*/ 793830 h 4439277"/>
              <a:gd name="connsiteX1131" fmla="*/ 6807249 w 6873375"/>
              <a:gd name="connsiteY1131" fmla="*/ 786386 h 4439277"/>
              <a:gd name="connsiteX1132" fmla="*/ 6802281 w 6873375"/>
              <a:gd name="connsiteY1132" fmla="*/ 776463 h 4439277"/>
              <a:gd name="connsiteX1133" fmla="*/ 6812213 w 6873375"/>
              <a:gd name="connsiteY1133" fmla="*/ 769022 h 4439277"/>
              <a:gd name="connsiteX1134" fmla="*/ 6839514 w 6873375"/>
              <a:gd name="connsiteY1134" fmla="*/ 761578 h 4439277"/>
              <a:gd name="connsiteX1135" fmla="*/ 6866816 w 6873375"/>
              <a:gd name="connsiteY1135" fmla="*/ 749177 h 44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</a:cxnLst>
            <a:rect l="l" t="t" r="r" b="b"/>
            <a:pathLst>
              <a:path w="6873375" h="4439277">
                <a:moveTo>
                  <a:pt x="165153" y="3056238"/>
                </a:moveTo>
                <a:cubicBezTo>
                  <a:pt x="157709" y="3061200"/>
                  <a:pt x="152741" y="3066161"/>
                  <a:pt x="145296" y="3073602"/>
                </a:cubicBezTo>
                <a:cubicBezTo>
                  <a:pt x="147781" y="3068641"/>
                  <a:pt x="152741" y="3066161"/>
                  <a:pt x="157709" y="3063678"/>
                </a:cubicBezTo>
                <a:cubicBezTo>
                  <a:pt x="157709" y="3063678"/>
                  <a:pt x="157709" y="3066161"/>
                  <a:pt x="157709" y="3066161"/>
                </a:cubicBezTo>
                <a:cubicBezTo>
                  <a:pt x="160189" y="3061200"/>
                  <a:pt x="162670" y="3058717"/>
                  <a:pt x="165153" y="3056238"/>
                </a:cubicBezTo>
                <a:close/>
                <a:moveTo>
                  <a:pt x="1145581" y="1103918"/>
                </a:moveTo>
                <a:cubicBezTo>
                  <a:pt x="1143101" y="1103918"/>
                  <a:pt x="1140617" y="1103918"/>
                  <a:pt x="1138137" y="1103918"/>
                </a:cubicBezTo>
                <a:cubicBezTo>
                  <a:pt x="1138137" y="1106396"/>
                  <a:pt x="1138137" y="1108879"/>
                  <a:pt x="1138137" y="1108879"/>
                </a:cubicBezTo>
                <a:cubicBezTo>
                  <a:pt x="1138137" y="1108879"/>
                  <a:pt x="1140617" y="1108879"/>
                  <a:pt x="1143101" y="1108879"/>
                </a:cubicBezTo>
                <a:cubicBezTo>
                  <a:pt x="1143101" y="1106396"/>
                  <a:pt x="1145581" y="1106396"/>
                  <a:pt x="1145581" y="1103918"/>
                </a:cubicBezTo>
                <a:close/>
                <a:moveTo>
                  <a:pt x="1284580" y="1123764"/>
                </a:moveTo>
                <a:cubicBezTo>
                  <a:pt x="1282097" y="1123764"/>
                  <a:pt x="1282097" y="1123764"/>
                  <a:pt x="1282097" y="1123764"/>
                </a:cubicBezTo>
                <a:cubicBezTo>
                  <a:pt x="1282097" y="1123764"/>
                  <a:pt x="1282097" y="1126244"/>
                  <a:pt x="1282097" y="1126244"/>
                </a:cubicBezTo>
                <a:cubicBezTo>
                  <a:pt x="1282097" y="1123764"/>
                  <a:pt x="1284580" y="1123764"/>
                  <a:pt x="1284580" y="1123764"/>
                </a:cubicBezTo>
                <a:close/>
                <a:moveTo>
                  <a:pt x="1331739" y="1002208"/>
                </a:moveTo>
                <a:cubicBezTo>
                  <a:pt x="1329256" y="1002208"/>
                  <a:pt x="1326775" y="1002208"/>
                  <a:pt x="1326775" y="1004687"/>
                </a:cubicBezTo>
                <a:cubicBezTo>
                  <a:pt x="1326775" y="1004687"/>
                  <a:pt x="1329256" y="1007171"/>
                  <a:pt x="1329256" y="1007171"/>
                </a:cubicBezTo>
                <a:cubicBezTo>
                  <a:pt x="1331739" y="1007171"/>
                  <a:pt x="1331739" y="1004687"/>
                  <a:pt x="1331739" y="1002208"/>
                </a:cubicBezTo>
                <a:close/>
                <a:moveTo>
                  <a:pt x="1493076" y="838480"/>
                </a:moveTo>
                <a:cubicBezTo>
                  <a:pt x="1473219" y="838480"/>
                  <a:pt x="1473219" y="838480"/>
                  <a:pt x="1435986" y="858325"/>
                </a:cubicBezTo>
                <a:cubicBezTo>
                  <a:pt x="1458327" y="858325"/>
                  <a:pt x="1475700" y="853364"/>
                  <a:pt x="1493076" y="838480"/>
                </a:cubicBezTo>
                <a:close/>
                <a:moveTo>
                  <a:pt x="1833123" y="756617"/>
                </a:moveTo>
                <a:cubicBezTo>
                  <a:pt x="1833123" y="749176"/>
                  <a:pt x="1833123" y="744215"/>
                  <a:pt x="1823195" y="744215"/>
                </a:cubicBezTo>
                <a:cubicBezTo>
                  <a:pt x="1813266" y="749176"/>
                  <a:pt x="1803338" y="754137"/>
                  <a:pt x="1785965" y="764061"/>
                </a:cubicBezTo>
                <a:cubicBezTo>
                  <a:pt x="1805819" y="761578"/>
                  <a:pt x="1818230" y="759098"/>
                  <a:pt x="1833123" y="756617"/>
                </a:cubicBezTo>
                <a:close/>
                <a:moveTo>
                  <a:pt x="1900139" y="771501"/>
                </a:moveTo>
                <a:cubicBezTo>
                  <a:pt x="1897660" y="771501"/>
                  <a:pt x="1897660" y="769022"/>
                  <a:pt x="1897660" y="769022"/>
                </a:cubicBezTo>
                <a:cubicBezTo>
                  <a:pt x="1892694" y="771501"/>
                  <a:pt x="1887728" y="771501"/>
                  <a:pt x="1882763" y="773983"/>
                </a:cubicBezTo>
                <a:cubicBezTo>
                  <a:pt x="1885247" y="776462"/>
                  <a:pt x="1890211" y="776462"/>
                  <a:pt x="1892694" y="776462"/>
                </a:cubicBezTo>
                <a:cubicBezTo>
                  <a:pt x="1892694" y="776462"/>
                  <a:pt x="1895175" y="776462"/>
                  <a:pt x="1895175" y="776462"/>
                </a:cubicBezTo>
                <a:cubicBezTo>
                  <a:pt x="1897660" y="776462"/>
                  <a:pt x="1900139" y="773983"/>
                  <a:pt x="1900139" y="771501"/>
                </a:cubicBezTo>
                <a:close/>
                <a:moveTo>
                  <a:pt x="1917513" y="721886"/>
                </a:moveTo>
                <a:cubicBezTo>
                  <a:pt x="1887728" y="726847"/>
                  <a:pt x="1887728" y="726847"/>
                  <a:pt x="1877801" y="734291"/>
                </a:cubicBezTo>
                <a:cubicBezTo>
                  <a:pt x="1907585" y="731809"/>
                  <a:pt x="1907585" y="731809"/>
                  <a:pt x="1917513" y="721886"/>
                </a:cubicBezTo>
                <a:close/>
                <a:moveTo>
                  <a:pt x="2071405" y="689638"/>
                </a:moveTo>
                <a:cubicBezTo>
                  <a:pt x="2066441" y="689638"/>
                  <a:pt x="2061477" y="687155"/>
                  <a:pt x="2058993" y="689638"/>
                </a:cubicBezTo>
                <a:cubicBezTo>
                  <a:pt x="2056512" y="692118"/>
                  <a:pt x="2056512" y="697081"/>
                  <a:pt x="2056512" y="702040"/>
                </a:cubicBezTo>
                <a:cubicBezTo>
                  <a:pt x="2061477" y="702040"/>
                  <a:pt x="2066441" y="702040"/>
                  <a:pt x="2068922" y="699561"/>
                </a:cubicBezTo>
                <a:cubicBezTo>
                  <a:pt x="2071405" y="697081"/>
                  <a:pt x="2071405" y="692118"/>
                  <a:pt x="2071405" y="689638"/>
                </a:cubicBezTo>
                <a:close/>
                <a:moveTo>
                  <a:pt x="2108636" y="697081"/>
                </a:moveTo>
                <a:cubicBezTo>
                  <a:pt x="2108636" y="697081"/>
                  <a:pt x="2106151" y="692118"/>
                  <a:pt x="2106151" y="692118"/>
                </a:cubicBezTo>
                <a:cubicBezTo>
                  <a:pt x="2103672" y="692118"/>
                  <a:pt x="2101191" y="694599"/>
                  <a:pt x="2101191" y="694599"/>
                </a:cubicBezTo>
                <a:cubicBezTo>
                  <a:pt x="2098707" y="694599"/>
                  <a:pt x="2101191" y="697081"/>
                  <a:pt x="2101191" y="702040"/>
                </a:cubicBezTo>
                <a:cubicBezTo>
                  <a:pt x="2103672" y="699561"/>
                  <a:pt x="2106151" y="699561"/>
                  <a:pt x="2108636" y="697081"/>
                </a:cubicBezTo>
                <a:close/>
                <a:moveTo>
                  <a:pt x="2205438" y="1046859"/>
                </a:moveTo>
                <a:cubicBezTo>
                  <a:pt x="2168207" y="1054303"/>
                  <a:pt x="2168207" y="1054303"/>
                  <a:pt x="2153314" y="1071667"/>
                </a:cubicBezTo>
                <a:cubicBezTo>
                  <a:pt x="2170690" y="1064226"/>
                  <a:pt x="2185581" y="1056785"/>
                  <a:pt x="2205438" y="1046859"/>
                </a:cubicBezTo>
                <a:close/>
                <a:moveTo>
                  <a:pt x="2215366" y="850885"/>
                </a:moveTo>
                <a:cubicBezTo>
                  <a:pt x="2210402" y="853364"/>
                  <a:pt x="2207921" y="855846"/>
                  <a:pt x="2202957" y="858325"/>
                </a:cubicBezTo>
                <a:cubicBezTo>
                  <a:pt x="2197992" y="860807"/>
                  <a:pt x="2195508" y="865770"/>
                  <a:pt x="2193028" y="870731"/>
                </a:cubicBezTo>
                <a:cubicBezTo>
                  <a:pt x="2193028" y="873210"/>
                  <a:pt x="2195508" y="873210"/>
                  <a:pt x="2195508" y="875692"/>
                </a:cubicBezTo>
                <a:cubicBezTo>
                  <a:pt x="2195508" y="873210"/>
                  <a:pt x="2197992" y="873210"/>
                  <a:pt x="2197992" y="870731"/>
                </a:cubicBezTo>
                <a:cubicBezTo>
                  <a:pt x="2197992" y="868249"/>
                  <a:pt x="2200472" y="868249"/>
                  <a:pt x="2200472" y="868249"/>
                </a:cubicBezTo>
                <a:cubicBezTo>
                  <a:pt x="2210402" y="865770"/>
                  <a:pt x="2215366" y="858325"/>
                  <a:pt x="2215366" y="850885"/>
                </a:cubicBezTo>
                <a:close/>
                <a:moveTo>
                  <a:pt x="2227778" y="878171"/>
                </a:moveTo>
                <a:cubicBezTo>
                  <a:pt x="2217849" y="878171"/>
                  <a:pt x="2207921" y="878171"/>
                  <a:pt x="2200472" y="880653"/>
                </a:cubicBezTo>
                <a:cubicBezTo>
                  <a:pt x="2202957" y="883133"/>
                  <a:pt x="2202957" y="885616"/>
                  <a:pt x="2205438" y="888095"/>
                </a:cubicBezTo>
                <a:cubicBezTo>
                  <a:pt x="2212885" y="885616"/>
                  <a:pt x="2220329" y="885616"/>
                  <a:pt x="2227778" y="883133"/>
                </a:cubicBezTo>
                <a:cubicBezTo>
                  <a:pt x="2227778" y="883133"/>
                  <a:pt x="2227778" y="883133"/>
                  <a:pt x="2227778" y="878171"/>
                </a:cubicBezTo>
                <a:close/>
                <a:moveTo>
                  <a:pt x="2289830" y="999726"/>
                </a:moveTo>
                <a:cubicBezTo>
                  <a:pt x="2287349" y="999726"/>
                  <a:pt x="2287349" y="997247"/>
                  <a:pt x="2287349" y="997247"/>
                </a:cubicBezTo>
                <a:cubicBezTo>
                  <a:pt x="2274937" y="1004687"/>
                  <a:pt x="2262528" y="1012132"/>
                  <a:pt x="2250116" y="1019572"/>
                </a:cubicBezTo>
                <a:cubicBezTo>
                  <a:pt x="2250116" y="1022051"/>
                  <a:pt x="2252599" y="1024533"/>
                  <a:pt x="2252599" y="1024533"/>
                </a:cubicBezTo>
                <a:cubicBezTo>
                  <a:pt x="2265009" y="1017093"/>
                  <a:pt x="2277417" y="1007171"/>
                  <a:pt x="2289830" y="999726"/>
                </a:cubicBezTo>
                <a:close/>
                <a:moveTo>
                  <a:pt x="2336988" y="773983"/>
                </a:moveTo>
                <a:lnTo>
                  <a:pt x="2336245" y="779347"/>
                </a:lnTo>
                <a:lnTo>
                  <a:pt x="2332024" y="781424"/>
                </a:lnTo>
                <a:lnTo>
                  <a:pt x="2331397" y="777975"/>
                </a:lnTo>
                <a:close/>
                <a:moveTo>
                  <a:pt x="2346917" y="960034"/>
                </a:moveTo>
                <a:cubicBezTo>
                  <a:pt x="2344437" y="960034"/>
                  <a:pt x="2341952" y="962516"/>
                  <a:pt x="2339472" y="962516"/>
                </a:cubicBezTo>
                <a:lnTo>
                  <a:pt x="2341952" y="962516"/>
                </a:lnTo>
                <a:cubicBezTo>
                  <a:pt x="2334508" y="967479"/>
                  <a:pt x="2327060" y="972440"/>
                  <a:pt x="2322095" y="979880"/>
                </a:cubicBezTo>
                <a:cubicBezTo>
                  <a:pt x="2327060" y="982362"/>
                  <a:pt x="2332024" y="984841"/>
                  <a:pt x="2334508" y="984841"/>
                </a:cubicBezTo>
                <a:cubicBezTo>
                  <a:pt x="2336988" y="979880"/>
                  <a:pt x="2339472" y="974919"/>
                  <a:pt x="2339472" y="969958"/>
                </a:cubicBezTo>
                <a:cubicBezTo>
                  <a:pt x="2341952" y="967479"/>
                  <a:pt x="2341952" y="964996"/>
                  <a:pt x="2344437" y="962516"/>
                </a:cubicBezTo>
                <a:cubicBezTo>
                  <a:pt x="2344437" y="962516"/>
                  <a:pt x="2346917" y="962516"/>
                  <a:pt x="2346917" y="960034"/>
                </a:cubicBezTo>
                <a:close/>
                <a:moveTo>
                  <a:pt x="2356845" y="969958"/>
                </a:moveTo>
                <a:cubicBezTo>
                  <a:pt x="2356845" y="969958"/>
                  <a:pt x="2354362" y="969958"/>
                  <a:pt x="2354362" y="969958"/>
                </a:cubicBezTo>
                <a:cubicBezTo>
                  <a:pt x="2354362" y="969958"/>
                  <a:pt x="2351881" y="972440"/>
                  <a:pt x="2351881" y="972440"/>
                </a:cubicBezTo>
                <a:cubicBezTo>
                  <a:pt x="2354362" y="972440"/>
                  <a:pt x="2354362" y="972440"/>
                  <a:pt x="2356845" y="969958"/>
                </a:cubicBezTo>
                <a:close/>
                <a:moveTo>
                  <a:pt x="2379183" y="905462"/>
                </a:moveTo>
                <a:cubicBezTo>
                  <a:pt x="2374222" y="907941"/>
                  <a:pt x="2371738" y="907941"/>
                  <a:pt x="2366774" y="907941"/>
                </a:cubicBezTo>
                <a:cubicBezTo>
                  <a:pt x="2361809" y="907941"/>
                  <a:pt x="2359326" y="912902"/>
                  <a:pt x="2356845" y="915384"/>
                </a:cubicBezTo>
                <a:cubicBezTo>
                  <a:pt x="2356845" y="910420"/>
                  <a:pt x="2354362" y="905462"/>
                  <a:pt x="2351881" y="898017"/>
                </a:cubicBezTo>
                <a:cubicBezTo>
                  <a:pt x="2339472" y="898017"/>
                  <a:pt x="2329544" y="900499"/>
                  <a:pt x="2317131" y="907941"/>
                </a:cubicBezTo>
                <a:cubicBezTo>
                  <a:pt x="2322095" y="910420"/>
                  <a:pt x="2324580" y="910420"/>
                  <a:pt x="2327060" y="912902"/>
                </a:cubicBezTo>
                <a:cubicBezTo>
                  <a:pt x="2324580" y="912902"/>
                  <a:pt x="2324580" y="915384"/>
                  <a:pt x="2324580" y="915384"/>
                </a:cubicBezTo>
                <a:cubicBezTo>
                  <a:pt x="2279900" y="932748"/>
                  <a:pt x="2235223" y="952594"/>
                  <a:pt x="2190545" y="969958"/>
                </a:cubicBezTo>
                <a:cubicBezTo>
                  <a:pt x="2188064" y="969958"/>
                  <a:pt x="2188064" y="972440"/>
                  <a:pt x="2185581" y="972440"/>
                </a:cubicBezTo>
                <a:cubicBezTo>
                  <a:pt x="2185581" y="977401"/>
                  <a:pt x="2180615" y="982362"/>
                  <a:pt x="2178135" y="987325"/>
                </a:cubicBezTo>
                <a:cubicBezTo>
                  <a:pt x="2173171" y="994765"/>
                  <a:pt x="2168207" y="1004687"/>
                  <a:pt x="2168207" y="1012132"/>
                </a:cubicBezTo>
                <a:cubicBezTo>
                  <a:pt x="2173171" y="1009650"/>
                  <a:pt x="2178135" y="1007171"/>
                  <a:pt x="2183100" y="1004687"/>
                </a:cubicBezTo>
                <a:cubicBezTo>
                  <a:pt x="2185581" y="1002208"/>
                  <a:pt x="2190545" y="999726"/>
                  <a:pt x="2195508" y="997247"/>
                </a:cubicBezTo>
                <a:cubicBezTo>
                  <a:pt x="2197992" y="997247"/>
                  <a:pt x="2197992" y="994765"/>
                  <a:pt x="2200472" y="994765"/>
                </a:cubicBezTo>
                <a:cubicBezTo>
                  <a:pt x="2205438" y="992286"/>
                  <a:pt x="2210402" y="989804"/>
                  <a:pt x="2215366" y="987325"/>
                </a:cubicBezTo>
                <a:cubicBezTo>
                  <a:pt x="2217849" y="987325"/>
                  <a:pt x="2217849" y="984841"/>
                  <a:pt x="2220329" y="984841"/>
                </a:cubicBezTo>
                <a:cubicBezTo>
                  <a:pt x="2225295" y="982362"/>
                  <a:pt x="2230259" y="979880"/>
                  <a:pt x="2235223" y="977401"/>
                </a:cubicBezTo>
                <a:cubicBezTo>
                  <a:pt x="2269973" y="950112"/>
                  <a:pt x="2312167" y="942670"/>
                  <a:pt x="2349401" y="922824"/>
                </a:cubicBezTo>
                <a:cubicBezTo>
                  <a:pt x="2351881" y="920345"/>
                  <a:pt x="2354362" y="920345"/>
                  <a:pt x="2356845" y="917863"/>
                </a:cubicBezTo>
                <a:cubicBezTo>
                  <a:pt x="2364294" y="912902"/>
                  <a:pt x="2371738" y="910420"/>
                  <a:pt x="2379183" y="905462"/>
                </a:cubicBezTo>
                <a:close/>
                <a:moveTo>
                  <a:pt x="2391595" y="885616"/>
                </a:moveTo>
                <a:cubicBezTo>
                  <a:pt x="2390353" y="880653"/>
                  <a:pt x="2389732" y="878173"/>
                  <a:pt x="2387561" y="878793"/>
                </a:cubicBezTo>
                <a:cubicBezTo>
                  <a:pt x="2385389" y="879413"/>
                  <a:pt x="2381666" y="883135"/>
                  <a:pt x="2374222" y="890577"/>
                </a:cubicBezTo>
                <a:cubicBezTo>
                  <a:pt x="2381666" y="888095"/>
                  <a:pt x="2386631" y="885616"/>
                  <a:pt x="2391595" y="885616"/>
                </a:cubicBezTo>
                <a:close/>
                <a:moveTo>
                  <a:pt x="2411452" y="1074149"/>
                </a:moveTo>
                <a:cubicBezTo>
                  <a:pt x="2408969" y="1074149"/>
                  <a:pt x="2406488" y="1071667"/>
                  <a:pt x="2404004" y="1071667"/>
                </a:cubicBezTo>
                <a:cubicBezTo>
                  <a:pt x="2401523" y="1074149"/>
                  <a:pt x="2396559" y="1076628"/>
                  <a:pt x="2394079" y="1079110"/>
                </a:cubicBezTo>
                <a:cubicBezTo>
                  <a:pt x="2394079" y="1079110"/>
                  <a:pt x="2394079" y="1081589"/>
                  <a:pt x="2394079" y="1081589"/>
                </a:cubicBezTo>
                <a:cubicBezTo>
                  <a:pt x="2399043" y="1079110"/>
                  <a:pt x="2406488" y="1076628"/>
                  <a:pt x="2411452" y="1074149"/>
                </a:cubicBezTo>
                <a:close/>
                <a:moveTo>
                  <a:pt x="2441237" y="1061743"/>
                </a:moveTo>
                <a:cubicBezTo>
                  <a:pt x="2428826" y="1059264"/>
                  <a:pt x="2423865" y="1064226"/>
                  <a:pt x="2416416" y="1071667"/>
                </a:cubicBezTo>
                <a:cubicBezTo>
                  <a:pt x="2416416" y="1071667"/>
                  <a:pt x="2416416" y="1071667"/>
                  <a:pt x="2418897" y="1071667"/>
                </a:cubicBezTo>
                <a:cubicBezTo>
                  <a:pt x="2423865" y="1076628"/>
                  <a:pt x="2418897" y="1079110"/>
                  <a:pt x="2416416" y="1081589"/>
                </a:cubicBezTo>
                <a:cubicBezTo>
                  <a:pt x="2416416" y="1081589"/>
                  <a:pt x="2413933" y="1084072"/>
                  <a:pt x="2413933" y="1084072"/>
                </a:cubicBezTo>
                <a:cubicBezTo>
                  <a:pt x="2423865" y="1079110"/>
                  <a:pt x="2433790" y="1074149"/>
                  <a:pt x="2441237" y="1061743"/>
                </a:cubicBezTo>
                <a:close/>
                <a:moveTo>
                  <a:pt x="2543004" y="885616"/>
                </a:moveTo>
                <a:cubicBezTo>
                  <a:pt x="2530592" y="890577"/>
                  <a:pt x="2518182" y="893056"/>
                  <a:pt x="2505774" y="895538"/>
                </a:cubicBezTo>
                <a:cubicBezTo>
                  <a:pt x="2503289" y="895538"/>
                  <a:pt x="2500806" y="900499"/>
                  <a:pt x="2500806" y="907941"/>
                </a:cubicBezTo>
                <a:cubicBezTo>
                  <a:pt x="2510738" y="902978"/>
                  <a:pt x="2523146" y="900499"/>
                  <a:pt x="2533075" y="895538"/>
                </a:cubicBezTo>
                <a:cubicBezTo>
                  <a:pt x="2538039" y="893056"/>
                  <a:pt x="2540520" y="888095"/>
                  <a:pt x="2543004" y="885616"/>
                </a:cubicBezTo>
                <a:close/>
                <a:moveTo>
                  <a:pt x="2555413" y="783907"/>
                </a:moveTo>
                <a:cubicBezTo>
                  <a:pt x="2545484" y="781424"/>
                  <a:pt x="2538039" y="786386"/>
                  <a:pt x="2528111" y="791347"/>
                </a:cubicBezTo>
                <a:cubicBezTo>
                  <a:pt x="2528111" y="791347"/>
                  <a:pt x="2530592" y="791347"/>
                  <a:pt x="2530592" y="791347"/>
                </a:cubicBezTo>
                <a:cubicBezTo>
                  <a:pt x="2535558" y="791347"/>
                  <a:pt x="2543004" y="791347"/>
                  <a:pt x="2547968" y="788868"/>
                </a:cubicBezTo>
                <a:cubicBezTo>
                  <a:pt x="2550449" y="786386"/>
                  <a:pt x="2552932" y="786386"/>
                  <a:pt x="2555413" y="783907"/>
                </a:cubicBezTo>
                <a:close/>
                <a:moveTo>
                  <a:pt x="2557896" y="1017093"/>
                </a:moveTo>
                <a:cubicBezTo>
                  <a:pt x="2557896" y="1017093"/>
                  <a:pt x="2555413" y="1017093"/>
                  <a:pt x="2555413" y="1017093"/>
                </a:cubicBezTo>
                <a:cubicBezTo>
                  <a:pt x="2550449" y="1022051"/>
                  <a:pt x="2545484" y="1024533"/>
                  <a:pt x="2540520" y="1029496"/>
                </a:cubicBezTo>
                <a:cubicBezTo>
                  <a:pt x="2543004" y="1029496"/>
                  <a:pt x="2547968" y="1027016"/>
                  <a:pt x="2552932" y="1027016"/>
                </a:cubicBezTo>
                <a:cubicBezTo>
                  <a:pt x="2555413" y="1027016"/>
                  <a:pt x="2555413" y="1024533"/>
                  <a:pt x="2557896" y="1017093"/>
                </a:cubicBezTo>
                <a:close/>
                <a:moveTo>
                  <a:pt x="2667419" y="796309"/>
                </a:moveTo>
                <a:cubicBezTo>
                  <a:pt x="2667729" y="794449"/>
                  <a:pt x="2667109" y="792588"/>
                  <a:pt x="2664627" y="791347"/>
                </a:cubicBezTo>
                <a:cubicBezTo>
                  <a:pt x="2662143" y="796308"/>
                  <a:pt x="2664627" y="798788"/>
                  <a:pt x="2664627" y="801270"/>
                </a:cubicBezTo>
                <a:cubicBezTo>
                  <a:pt x="2665867" y="800029"/>
                  <a:pt x="2667108" y="798169"/>
                  <a:pt x="2667419" y="796309"/>
                </a:cubicBezTo>
                <a:close/>
                <a:moveTo>
                  <a:pt x="2724198" y="905462"/>
                </a:moveTo>
                <a:cubicBezTo>
                  <a:pt x="2724198" y="907941"/>
                  <a:pt x="2724198" y="907941"/>
                  <a:pt x="2724198" y="910420"/>
                </a:cubicBezTo>
                <a:lnTo>
                  <a:pt x="2722937" y="907902"/>
                </a:lnTo>
                <a:lnTo>
                  <a:pt x="2723535" y="905462"/>
                </a:lnTo>
                <a:close/>
                <a:moveTo>
                  <a:pt x="2912837" y="719407"/>
                </a:moveTo>
                <a:cubicBezTo>
                  <a:pt x="2910353" y="721886"/>
                  <a:pt x="2910353" y="721886"/>
                  <a:pt x="2910353" y="721886"/>
                </a:cubicBezTo>
                <a:cubicBezTo>
                  <a:pt x="2910353" y="721886"/>
                  <a:pt x="2910353" y="724368"/>
                  <a:pt x="2910353" y="724368"/>
                </a:cubicBezTo>
                <a:cubicBezTo>
                  <a:pt x="2910353" y="724368"/>
                  <a:pt x="2912837" y="724368"/>
                  <a:pt x="2912837" y="724368"/>
                </a:cubicBezTo>
                <a:cubicBezTo>
                  <a:pt x="2912837" y="721886"/>
                  <a:pt x="2912837" y="721886"/>
                  <a:pt x="2912837" y="719407"/>
                </a:cubicBezTo>
                <a:close/>
                <a:moveTo>
                  <a:pt x="3642573" y="578006"/>
                </a:moveTo>
                <a:cubicBezTo>
                  <a:pt x="3640090" y="578006"/>
                  <a:pt x="3640090" y="575524"/>
                  <a:pt x="3640090" y="575524"/>
                </a:cubicBezTo>
                <a:cubicBezTo>
                  <a:pt x="3637609" y="575524"/>
                  <a:pt x="3635126" y="575524"/>
                  <a:pt x="3635126" y="578006"/>
                </a:cubicBezTo>
                <a:cubicBezTo>
                  <a:pt x="3635126" y="580485"/>
                  <a:pt x="3635126" y="582967"/>
                  <a:pt x="3630161" y="582967"/>
                </a:cubicBezTo>
                <a:cubicBezTo>
                  <a:pt x="3622716" y="580485"/>
                  <a:pt x="3620233" y="585450"/>
                  <a:pt x="3615269" y="587929"/>
                </a:cubicBezTo>
                <a:cubicBezTo>
                  <a:pt x="3612788" y="590409"/>
                  <a:pt x="3612788" y="595370"/>
                  <a:pt x="3617752" y="595370"/>
                </a:cubicBezTo>
                <a:cubicBezTo>
                  <a:pt x="3617752" y="597852"/>
                  <a:pt x="3620233" y="597852"/>
                  <a:pt x="3622716" y="597852"/>
                </a:cubicBezTo>
                <a:cubicBezTo>
                  <a:pt x="3625197" y="595370"/>
                  <a:pt x="3627680" y="595370"/>
                  <a:pt x="3630161" y="592891"/>
                </a:cubicBezTo>
                <a:cubicBezTo>
                  <a:pt x="3632641" y="590409"/>
                  <a:pt x="3637609" y="587929"/>
                  <a:pt x="3640090" y="585450"/>
                </a:cubicBezTo>
                <a:cubicBezTo>
                  <a:pt x="3640090" y="585450"/>
                  <a:pt x="3642573" y="582967"/>
                  <a:pt x="3642573" y="582967"/>
                </a:cubicBezTo>
                <a:cubicBezTo>
                  <a:pt x="3645054" y="580485"/>
                  <a:pt x="3645054" y="580485"/>
                  <a:pt x="3642573" y="578006"/>
                </a:cubicBezTo>
                <a:close/>
                <a:moveTo>
                  <a:pt x="4464146" y="756617"/>
                </a:moveTo>
                <a:cubicBezTo>
                  <a:pt x="4464146" y="756617"/>
                  <a:pt x="4464146" y="759099"/>
                  <a:pt x="4464146" y="759099"/>
                </a:cubicBezTo>
                <a:lnTo>
                  <a:pt x="4458015" y="757056"/>
                </a:lnTo>
                <a:lnTo>
                  <a:pt x="4457942" y="756617"/>
                </a:lnTo>
                <a:close/>
                <a:moveTo>
                  <a:pt x="4476558" y="622659"/>
                </a:moveTo>
                <a:cubicBezTo>
                  <a:pt x="4476558" y="622659"/>
                  <a:pt x="4474077" y="622659"/>
                  <a:pt x="4474077" y="625139"/>
                </a:cubicBezTo>
                <a:cubicBezTo>
                  <a:pt x="4471592" y="627622"/>
                  <a:pt x="4469109" y="627622"/>
                  <a:pt x="4466629" y="630101"/>
                </a:cubicBezTo>
                <a:cubicBezTo>
                  <a:pt x="4466629" y="627622"/>
                  <a:pt x="4469109" y="625139"/>
                  <a:pt x="4469109" y="625139"/>
                </a:cubicBezTo>
                <a:cubicBezTo>
                  <a:pt x="4471592" y="622659"/>
                  <a:pt x="4474077" y="622659"/>
                  <a:pt x="4476558" y="622659"/>
                </a:cubicBezTo>
                <a:close/>
                <a:moveTo>
                  <a:pt x="4482549" y="739239"/>
                </a:moveTo>
                <a:lnTo>
                  <a:pt x="4480900" y="744834"/>
                </a:lnTo>
                <a:cubicBezTo>
                  <a:pt x="4479659" y="746074"/>
                  <a:pt x="4477799" y="745454"/>
                  <a:pt x="4474077" y="744215"/>
                </a:cubicBezTo>
                <a:lnTo>
                  <a:pt x="4476872" y="741421"/>
                </a:lnTo>
                <a:close/>
                <a:moveTo>
                  <a:pt x="4523717" y="773984"/>
                </a:moveTo>
                <a:cubicBezTo>
                  <a:pt x="4523717" y="773984"/>
                  <a:pt x="4521236" y="771502"/>
                  <a:pt x="4521236" y="771502"/>
                </a:cubicBezTo>
                <a:cubicBezTo>
                  <a:pt x="4518752" y="771502"/>
                  <a:pt x="4516272" y="773984"/>
                  <a:pt x="4516272" y="773984"/>
                </a:cubicBezTo>
                <a:cubicBezTo>
                  <a:pt x="4516272" y="776463"/>
                  <a:pt x="4518752" y="776463"/>
                  <a:pt x="4518752" y="778945"/>
                </a:cubicBezTo>
                <a:cubicBezTo>
                  <a:pt x="4518752" y="778945"/>
                  <a:pt x="4521236" y="776463"/>
                  <a:pt x="4523717" y="773984"/>
                </a:cubicBezTo>
                <a:close/>
                <a:moveTo>
                  <a:pt x="4543574" y="816155"/>
                </a:moveTo>
                <a:cubicBezTo>
                  <a:pt x="4541093" y="813673"/>
                  <a:pt x="4538609" y="811194"/>
                  <a:pt x="4536129" y="811194"/>
                </a:cubicBezTo>
                <a:cubicBezTo>
                  <a:pt x="4536129" y="811194"/>
                  <a:pt x="4533644" y="816155"/>
                  <a:pt x="4536129" y="816155"/>
                </a:cubicBezTo>
                <a:cubicBezTo>
                  <a:pt x="4536129" y="818634"/>
                  <a:pt x="4538609" y="821116"/>
                  <a:pt x="4541093" y="823595"/>
                </a:cubicBezTo>
                <a:cubicBezTo>
                  <a:pt x="4541093" y="821116"/>
                  <a:pt x="4543574" y="818634"/>
                  <a:pt x="4543574" y="816155"/>
                </a:cubicBezTo>
                <a:close/>
                <a:moveTo>
                  <a:pt x="4546056" y="831039"/>
                </a:moveTo>
                <a:cubicBezTo>
                  <a:pt x="4541093" y="836001"/>
                  <a:pt x="4536129" y="838480"/>
                  <a:pt x="4531163" y="840962"/>
                </a:cubicBezTo>
                <a:lnTo>
                  <a:pt x="4525770" y="839423"/>
                </a:lnTo>
                <a:lnTo>
                  <a:pt x="4533644" y="833519"/>
                </a:lnTo>
                <a:lnTo>
                  <a:pt x="4542326" y="831039"/>
                </a:lnTo>
                <a:close/>
                <a:moveTo>
                  <a:pt x="4546056" y="707002"/>
                </a:moveTo>
                <a:cubicBezTo>
                  <a:pt x="4543574" y="709485"/>
                  <a:pt x="4538609" y="709485"/>
                  <a:pt x="4536129" y="711964"/>
                </a:cubicBezTo>
                <a:cubicBezTo>
                  <a:pt x="4536129" y="711964"/>
                  <a:pt x="4536129" y="709485"/>
                  <a:pt x="4533644" y="709485"/>
                </a:cubicBezTo>
                <a:cubicBezTo>
                  <a:pt x="4536129" y="704522"/>
                  <a:pt x="4541093" y="702040"/>
                  <a:pt x="4543574" y="702040"/>
                </a:cubicBezTo>
                <a:cubicBezTo>
                  <a:pt x="4543574" y="704522"/>
                  <a:pt x="4543574" y="704522"/>
                  <a:pt x="4546056" y="707002"/>
                </a:cubicBezTo>
                <a:close/>
                <a:moveTo>
                  <a:pt x="4555986" y="697082"/>
                </a:moveTo>
                <a:cubicBezTo>
                  <a:pt x="4553501" y="699561"/>
                  <a:pt x="4553501" y="702040"/>
                  <a:pt x="4551018" y="702040"/>
                </a:cubicBezTo>
                <a:cubicBezTo>
                  <a:pt x="4551018" y="702040"/>
                  <a:pt x="4548537" y="699561"/>
                  <a:pt x="4548537" y="699561"/>
                </a:cubicBezTo>
                <a:cubicBezTo>
                  <a:pt x="4551018" y="697082"/>
                  <a:pt x="4553501" y="697082"/>
                  <a:pt x="4553501" y="694600"/>
                </a:cubicBezTo>
                <a:cubicBezTo>
                  <a:pt x="4553501" y="694600"/>
                  <a:pt x="4555986" y="697082"/>
                  <a:pt x="4555986" y="697082"/>
                </a:cubicBezTo>
                <a:close/>
                <a:moveTo>
                  <a:pt x="4573359" y="813673"/>
                </a:moveTo>
                <a:cubicBezTo>
                  <a:pt x="4573359" y="816155"/>
                  <a:pt x="4573359" y="818634"/>
                  <a:pt x="4573359" y="818634"/>
                </a:cubicBezTo>
                <a:cubicBezTo>
                  <a:pt x="4570878" y="821116"/>
                  <a:pt x="4568394" y="821116"/>
                  <a:pt x="4565914" y="823595"/>
                </a:cubicBezTo>
                <a:cubicBezTo>
                  <a:pt x="4565914" y="823595"/>
                  <a:pt x="4565914" y="821116"/>
                  <a:pt x="4565914" y="821116"/>
                </a:cubicBezTo>
                <a:cubicBezTo>
                  <a:pt x="4565914" y="818634"/>
                  <a:pt x="4568394" y="816155"/>
                  <a:pt x="4573359" y="813673"/>
                </a:cubicBezTo>
                <a:close/>
                <a:moveTo>
                  <a:pt x="5169063" y="719407"/>
                </a:moveTo>
                <a:cubicBezTo>
                  <a:pt x="5164100" y="721886"/>
                  <a:pt x="5156651" y="724368"/>
                  <a:pt x="5151687" y="726847"/>
                </a:cubicBezTo>
                <a:cubicBezTo>
                  <a:pt x="5149206" y="729331"/>
                  <a:pt x="5146723" y="729331"/>
                  <a:pt x="5144243" y="731810"/>
                </a:cubicBezTo>
                <a:cubicBezTo>
                  <a:pt x="5144243" y="734292"/>
                  <a:pt x="5144243" y="734292"/>
                  <a:pt x="5144243" y="736771"/>
                </a:cubicBezTo>
                <a:cubicBezTo>
                  <a:pt x="5146723" y="736771"/>
                  <a:pt x="5149206" y="734292"/>
                  <a:pt x="5151687" y="734292"/>
                </a:cubicBezTo>
                <a:cubicBezTo>
                  <a:pt x="5159132" y="731810"/>
                  <a:pt x="5166580" y="731810"/>
                  <a:pt x="5169063" y="719407"/>
                </a:cubicBezTo>
                <a:close/>
                <a:moveTo>
                  <a:pt x="5169063" y="707002"/>
                </a:moveTo>
                <a:lnTo>
                  <a:pt x="5169062" y="707003"/>
                </a:lnTo>
                <a:lnTo>
                  <a:pt x="5169061" y="706999"/>
                </a:lnTo>
                <a:close/>
                <a:moveTo>
                  <a:pt x="5171544" y="707002"/>
                </a:moveTo>
                <a:cubicBezTo>
                  <a:pt x="5169063" y="709485"/>
                  <a:pt x="5169063" y="709485"/>
                  <a:pt x="5171544" y="711964"/>
                </a:cubicBezTo>
                <a:lnTo>
                  <a:pt x="5169682" y="710103"/>
                </a:lnTo>
                <a:lnTo>
                  <a:pt x="5169475" y="709072"/>
                </a:lnTo>
                <a:close/>
                <a:moveTo>
                  <a:pt x="5278274" y="664830"/>
                </a:moveTo>
                <a:cubicBezTo>
                  <a:pt x="5275794" y="664830"/>
                  <a:pt x="5273310" y="667314"/>
                  <a:pt x="5268346" y="667314"/>
                </a:cubicBezTo>
                <a:cubicBezTo>
                  <a:pt x="5270827" y="667314"/>
                  <a:pt x="5270827" y="669793"/>
                  <a:pt x="5270827" y="669793"/>
                </a:cubicBezTo>
                <a:cubicBezTo>
                  <a:pt x="5273310" y="669793"/>
                  <a:pt x="5275794" y="667314"/>
                  <a:pt x="5278274" y="664830"/>
                </a:cubicBezTo>
                <a:close/>
                <a:moveTo>
                  <a:pt x="5298132" y="627622"/>
                </a:moveTo>
                <a:cubicBezTo>
                  <a:pt x="5290686" y="632583"/>
                  <a:pt x="5285722" y="635062"/>
                  <a:pt x="5280758" y="637544"/>
                </a:cubicBezTo>
                <a:cubicBezTo>
                  <a:pt x="5280758" y="637544"/>
                  <a:pt x="5283239" y="640023"/>
                  <a:pt x="5283239" y="640023"/>
                </a:cubicBezTo>
                <a:cubicBezTo>
                  <a:pt x="5288203" y="637544"/>
                  <a:pt x="5295648" y="640023"/>
                  <a:pt x="5298132" y="627622"/>
                </a:cubicBezTo>
                <a:close/>
                <a:moveTo>
                  <a:pt x="5300612" y="677233"/>
                </a:moveTo>
                <a:cubicBezTo>
                  <a:pt x="5293167" y="674754"/>
                  <a:pt x="5290686" y="677233"/>
                  <a:pt x="5285722" y="687156"/>
                </a:cubicBezTo>
                <a:cubicBezTo>
                  <a:pt x="5293167" y="684676"/>
                  <a:pt x="5298132" y="682197"/>
                  <a:pt x="5300612" y="677233"/>
                </a:cubicBezTo>
                <a:close/>
                <a:moveTo>
                  <a:pt x="5310543" y="607776"/>
                </a:moveTo>
                <a:cubicBezTo>
                  <a:pt x="5310543" y="607776"/>
                  <a:pt x="5308060" y="607776"/>
                  <a:pt x="5308060" y="605293"/>
                </a:cubicBezTo>
                <a:cubicBezTo>
                  <a:pt x="5303096" y="607776"/>
                  <a:pt x="5300612" y="610255"/>
                  <a:pt x="5298132" y="612737"/>
                </a:cubicBezTo>
                <a:cubicBezTo>
                  <a:pt x="5305577" y="617698"/>
                  <a:pt x="5308060" y="612737"/>
                  <a:pt x="5310543" y="607776"/>
                </a:cubicBezTo>
                <a:close/>
                <a:moveTo>
                  <a:pt x="5317989" y="627622"/>
                </a:moveTo>
                <a:cubicBezTo>
                  <a:pt x="5315508" y="627622"/>
                  <a:pt x="5310543" y="630101"/>
                  <a:pt x="5308060" y="630101"/>
                </a:cubicBezTo>
                <a:cubicBezTo>
                  <a:pt x="5308060" y="630101"/>
                  <a:pt x="5308060" y="632583"/>
                  <a:pt x="5308060" y="632583"/>
                </a:cubicBezTo>
                <a:cubicBezTo>
                  <a:pt x="5310543" y="630101"/>
                  <a:pt x="5315508" y="630101"/>
                  <a:pt x="5317989" y="630101"/>
                </a:cubicBezTo>
                <a:cubicBezTo>
                  <a:pt x="5317989" y="627622"/>
                  <a:pt x="5317989" y="627622"/>
                  <a:pt x="5317989" y="627622"/>
                </a:cubicBezTo>
                <a:close/>
                <a:moveTo>
                  <a:pt x="5327917" y="729331"/>
                </a:moveTo>
                <a:cubicBezTo>
                  <a:pt x="5325434" y="726847"/>
                  <a:pt x="5322953" y="724368"/>
                  <a:pt x="5320469" y="721886"/>
                </a:cubicBezTo>
                <a:cubicBezTo>
                  <a:pt x="5315508" y="724368"/>
                  <a:pt x="5313024" y="724368"/>
                  <a:pt x="5310543" y="726847"/>
                </a:cubicBezTo>
                <a:cubicBezTo>
                  <a:pt x="5303096" y="731810"/>
                  <a:pt x="5293167" y="734292"/>
                  <a:pt x="5285722" y="739253"/>
                </a:cubicBezTo>
                <a:cubicBezTo>
                  <a:pt x="5295648" y="739253"/>
                  <a:pt x="5305577" y="739253"/>
                  <a:pt x="5315508" y="736771"/>
                </a:cubicBezTo>
                <a:cubicBezTo>
                  <a:pt x="5317989" y="734292"/>
                  <a:pt x="5322953" y="734292"/>
                  <a:pt x="5325434" y="731810"/>
                </a:cubicBezTo>
                <a:cubicBezTo>
                  <a:pt x="5327917" y="731810"/>
                  <a:pt x="5327917" y="729331"/>
                  <a:pt x="5327917" y="729331"/>
                </a:cubicBezTo>
                <a:close/>
                <a:moveTo>
                  <a:pt x="5347774" y="707002"/>
                </a:moveTo>
                <a:cubicBezTo>
                  <a:pt x="5345291" y="707002"/>
                  <a:pt x="5345291" y="707002"/>
                  <a:pt x="5342810" y="711964"/>
                </a:cubicBezTo>
                <a:cubicBezTo>
                  <a:pt x="5342810" y="711964"/>
                  <a:pt x="5340329" y="714446"/>
                  <a:pt x="5340329" y="714446"/>
                </a:cubicBezTo>
                <a:cubicBezTo>
                  <a:pt x="5347774" y="716925"/>
                  <a:pt x="5345291" y="704522"/>
                  <a:pt x="5347774" y="707002"/>
                </a:cubicBezTo>
                <a:close/>
                <a:moveTo>
                  <a:pt x="5380041" y="640023"/>
                </a:moveTo>
                <a:cubicBezTo>
                  <a:pt x="5377560" y="637544"/>
                  <a:pt x="5377560" y="637544"/>
                  <a:pt x="5377560" y="635062"/>
                </a:cubicBezTo>
                <a:cubicBezTo>
                  <a:pt x="5375076" y="635062"/>
                  <a:pt x="5372595" y="635062"/>
                  <a:pt x="5370112" y="635062"/>
                </a:cubicBezTo>
                <a:cubicBezTo>
                  <a:pt x="5367631" y="635062"/>
                  <a:pt x="5365148" y="640023"/>
                  <a:pt x="5362667" y="640023"/>
                </a:cubicBezTo>
                <a:cubicBezTo>
                  <a:pt x="5345291" y="637544"/>
                  <a:pt x="5337846" y="649947"/>
                  <a:pt x="5325434" y="657390"/>
                </a:cubicBezTo>
                <a:cubicBezTo>
                  <a:pt x="5320469" y="659869"/>
                  <a:pt x="5317989" y="664830"/>
                  <a:pt x="5313024" y="672275"/>
                </a:cubicBezTo>
                <a:cubicBezTo>
                  <a:pt x="5315508" y="674754"/>
                  <a:pt x="5315508" y="677233"/>
                  <a:pt x="5317989" y="679715"/>
                </a:cubicBezTo>
                <a:cubicBezTo>
                  <a:pt x="5322953" y="677233"/>
                  <a:pt x="5330398" y="674754"/>
                  <a:pt x="5335362" y="674754"/>
                </a:cubicBezTo>
                <a:cubicBezTo>
                  <a:pt x="5335362" y="674754"/>
                  <a:pt x="5337846" y="674754"/>
                  <a:pt x="5337846" y="674754"/>
                </a:cubicBezTo>
                <a:cubicBezTo>
                  <a:pt x="5337846" y="677233"/>
                  <a:pt x="5337846" y="677233"/>
                  <a:pt x="5337846" y="677233"/>
                </a:cubicBezTo>
                <a:cubicBezTo>
                  <a:pt x="5340329" y="677233"/>
                  <a:pt x="5340329" y="677233"/>
                  <a:pt x="5342810" y="679715"/>
                </a:cubicBezTo>
                <a:cubicBezTo>
                  <a:pt x="5342810" y="677233"/>
                  <a:pt x="5342810" y="674754"/>
                  <a:pt x="5342810" y="674754"/>
                </a:cubicBezTo>
                <a:cubicBezTo>
                  <a:pt x="5342810" y="667314"/>
                  <a:pt x="5345291" y="664830"/>
                  <a:pt x="5350255" y="662351"/>
                </a:cubicBezTo>
                <a:cubicBezTo>
                  <a:pt x="5360184" y="654908"/>
                  <a:pt x="5370112" y="647468"/>
                  <a:pt x="5380041" y="640023"/>
                </a:cubicBezTo>
                <a:close/>
                <a:moveTo>
                  <a:pt x="5389969" y="667314"/>
                </a:moveTo>
                <a:cubicBezTo>
                  <a:pt x="5377560" y="672275"/>
                  <a:pt x="5370112" y="677233"/>
                  <a:pt x="5360184" y="682197"/>
                </a:cubicBezTo>
                <a:cubicBezTo>
                  <a:pt x="5360184" y="687156"/>
                  <a:pt x="5360184" y="689639"/>
                  <a:pt x="5360184" y="694600"/>
                </a:cubicBezTo>
                <a:cubicBezTo>
                  <a:pt x="5360184" y="694600"/>
                  <a:pt x="5362667" y="694600"/>
                  <a:pt x="5362667" y="694600"/>
                </a:cubicBezTo>
                <a:cubicBezTo>
                  <a:pt x="5362667" y="694600"/>
                  <a:pt x="5360184" y="697082"/>
                  <a:pt x="5360184" y="697082"/>
                </a:cubicBezTo>
                <a:cubicBezTo>
                  <a:pt x="5360184" y="699561"/>
                  <a:pt x="5360184" y="699561"/>
                  <a:pt x="5360184" y="702040"/>
                </a:cubicBezTo>
                <a:cubicBezTo>
                  <a:pt x="5362667" y="704522"/>
                  <a:pt x="5362667" y="704522"/>
                  <a:pt x="5365148" y="704522"/>
                </a:cubicBezTo>
                <a:cubicBezTo>
                  <a:pt x="5367631" y="689639"/>
                  <a:pt x="5392452" y="689639"/>
                  <a:pt x="5389969" y="667314"/>
                </a:cubicBezTo>
                <a:close/>
                <a:moveTo>
                  <a:pt x="5417274" y="558160"/>
                </a:moveTo>
                <a:cubicBezTo>
                  <a:pt x="5409826" y="558160"/>
                  <a:pt x="5404862" y="555681"/>
                  <a:pt x="5404862" y="568084"/>
                </a:cubicBezTo>
                <a:cubicBezTo>
                  <a:pt x="5409826" y="563121"/>
                  <a:pt x="5412306" y="560642"/>
                  <a:pt x="5417274" y="558160"/>
                </a:cubicBezTo>
                <a:close/>
                <a:moveTo>
                  <a:pt x="5434647" y="647468"/>
                </a:moveTo>
                <a:cubicBezTo>
                  <a:pt x="5432163" y="649947"/>
                  <a:pt x="5427202" y="654908"/>
                  <a:pt x="5422238" y="657390"/>
                </a:cubicBezTo>
                <a:cubicBezTo>
                  <a:pt x="5432163" y="659869"/>
                  <a:pt x="5432163" y="659869"/>
                  <a:pt x="5434647" y="647468"/>
                </a:cubicBezTo>
                <a:close/>
                <a:moveTo>
                  <a:pt x="5442093" y="592891"/>
                </a:moveTo>
                <a:cubicBezTo>
                  <a:pt x="5442093" y="590409"/>
                  <a:pt x="5439612" y="590409"/>
                  <a:pt x="5439612" y="587930"/>
                </a:cubicBezTo>
                <a:cubicBezTo>
                  <a:pt x="5437127" y="587930"/>
                  <a:pt x="5434647" y="587930"/>
                  <a:pt x="5432163" y="590409"/>
                </a:cubicBezTo>
                <a:cubicBezTo>
                  <a:pt x="5419755" y="600331"/>
                  <a:pt x="5404862" y="610255"/>
                  <a:pt x="5392452" y="620177"/>
                </a:cubicBezTo>
                <a:cubicBezTo>
                  <a:pt x="5392452" y="620177"/>
                  <a:pt x="5392452" y="620177"/>
                  <a:pt x="5392452" y="622659"/>
                </a:cubicBezTo>
                <a:cubicBezTo>
                  <a:pt x="5392452" y="622659"/>
                  <a:pt x="5392452" y="627622"/>
                  <a:pt x="5389969" y="635062"/>
                </a:cubicBezTo>
                <a:cubicBezTo>
                  <a:pt x="5397417" y="630101"/>
                  <a:pt x="5402381" y="625139"/>
                  <a:pt x="5409826" y="620177"/>
                </a:cubicBezTo>
                <a:cubicBezTo>
                  <a:pt x="5407343" y="620177"/>
                  <a:pt x="5407343" y="622659"/>
                  <a:pt x="5404862" y="622659"/>
                </a:cubicBezTo>
                <a:cubicBezTo>
                  <a:pt x="5402381" y="620177"/>
                  <a:pt x="5402381" y="620177"/>
                  <a:pt x="5402381" y="617698"/>
                </a:cubicBezTo>
                <a:cubicBezTo>
                  <a:pt x="5407343" y="610255"/>
                  <a:pt x="5412306" y="610255"/>
                  <a:pt x="5419755" y="610255"/>
                </a:cubicBezTo>
                <a:cubicBezTo>
                  <a:pt x="5427202" y="605293"/>
                  <a:pt x="5434647" y="597852"/>
                  <a:pt x="5442093" y="592891"/>
                </a:cubicBezTo>
                <a:close/>
                <a:moveTo>
                  <a:pt x="5456984" y="635062"/>
                </a:moveTo>
                <a:cubicBezTo>
                  <a:pt x="5444576" y="635062"/>
                  <a:pt x="5439612" y="644984"/>
                  <a:pt x="5434647" y="649947"/>
                </a:cubicBezTo>
                <a:cubicBezTo>
                  <a:pt x="5437127" y="649947"/>
                  <a:pt x="5439612" y="652429"/>
                  <a:pt x="5444576" y="652429"/>
                </a:cubicBezTo>
                <a:cubicBezTo>
                  <a:pt x="5449540" y="647468"/>
                  <a:pt x="5452023" y="642505"/>
                  <a:pt x="5456984" y="635062"/>
                </a:cubicBezTo>
                <a:close/>
                <a:moveTo>
                  <a:pt x="5459469" y="607776"/>
                </a:moveTo>
                <a:cubicBezTo>
                  <a:pt x="5454505" y="604054"/>
                  <a:pt x="5452022" y="602193"/>
                  <a:pt x="5450470" y="601572"/>
                </a:cubicBezTo>
                <a:cubicBezTo>
                  <a:pt x="5448919" y="600952"/>
                  <a:pt x="5448298" y="601573"/>
                  <a:pt x="5447057" y="602813"/>
                </a:cubicBezTo>
                <a:cubicBezTo>
                  <a:pt x="5437127" y="610255"/>
                  <a:pt x="5429683" y="617698"/>
                  <a:pt x="5419755" y="625139"/>
                </a:cubicBezTo>
                <a:cubicBezTo>
                  <a:pt x="5407343" y="635062"/>
                  <a:pt x="5397417" y="647468"/>
                  <a:pt x="5377560" y="647468"/>
                </a:cubicBezTo>
                <a:cubicBezTo>
                  <a:pt x="5375076" y="647468"/>
                  <a:pt x="5372595" y="649947"/>
                  <a:pt x="5372595" y="652429"/>
                </a:cubicBezTo>
                <a:cubicBezTo>
                  <a:pt x="5372595" y="654908"/>
                  <a:pt x="5375076" y="657390"/>
                  <a:pt x="5377560" y="657390"/>
                </a:cubicBezTo>
                <a:cubicBezTo>
                  <a:pt x="5382520" y="657390"/>
                  <a:pt x="5387488" y="657390"/>
                  <a:pt x="5389969" y="654908"/>
                </a:cubicBezTo>
                <a:cubicBezTo>
                  <a:pt x="5404862" y="644984"/>
                  <a:pt x="5417274" y="635062"/>
                  <a:pt x="5432163" y="627622"/>
                </a:cubicBezTo>
                <a:cubicBezTo>
                  <a:pt x="5442093" y="620177"/>
                  <a:pt x="5449540" y="615216"/>
                  <a:pt x="5459469" y="607776"/>
                </a:cubicBezTo>
                <a:close/>
                <a:moveTo>
                  <a:pt x="5479326" y="530874"/>
                </a:moveTo>
                <a:cubicBezTo>
                  <a:pt x="5475602" y="524671"/>
                  <a:pt x="5473740" y="521570"/>
                  <a:pt x="5471568" y="521570"/>
                </a:cubicBezTo>
                <a:cubicBezTo>
                  <a:pt x="5469396" y="521570"/>
                  <a:pt x="5466914" y="524671"/>
                  <a:pt x="5461950" y="530874"/>
                </a:cubicBezTo>
                <a:cubicBezTo>
                  <a:pt x="5466914" y="530874"/>
                  <a:pt x="5471878" y="530874"/>
                  <a:pt x="5479326" y="530874"/>
                </a:cubicBezTo>
                <a:close/>
                <a:moveTo>
                  <a:pt x="5524001" y="488700"/>
                </a:moveTo>
                <a:cubicBezTo>
                  <a:pt x="5521521" y="491182"/>
                  <a:pt x="5519036" y="491182"/>
                  <a:pt x="5519036" y="491182"/>
                </a:cubicBezTo>
                <a:cubicBezTo>
                  <a:pt x="5516555" y="493661"/>
                  <a:pt x="5519036" y="496143"/>
                  <a:pt x="5516555" y="498623"/>
                </a:cubicBezTo>
                <a:cubicBezTo>
                  <a:pt x="5521521" y="496143"/>
                  <a:pt x="5524001" y="496143"/>
                  <a:pt x="5524001" y="493661"/>
                </a:cubicBezTo>
                <a:cubicBezTo>
                  <a:pt x="5526485" y="493661"/>
                  <a:pt x="5524001" y="491182"/>
                  <a:pt x="5524001" y="488700"/>
                </a:cubicBezTo>
                <a:close/>
                <a:moveTo>
                  <a:pt x="5538897" y="533353"/>
                </a:moveTo>
                <a:cubicBezTo>
                  <a:pt x="5528968" y="530874"/>
                  <a:pt x="5521521" y="538314"/>
                  <a:pt x="5514075" y="543276"/>
                </a:cubicBezTo>
                <a:cubicBezTo>
                  <a:pt x="5514075" y="543276"/>
                  <a:pt x="5516555" y="545759"/>
                  <a:pt x="5516555" y="545759"/>
                </a:cubicBezTo>
                <a:cubicBezTo>
                  <a:pt x="5524001" y="540796"/>
                  <a:pt x="5531449" y="535835"/>
                  <a:pt x="5538897" y="533353"/>
                </a:cubicBezTo>
                <a:close/>
                <a:moveTo>
                  <a:pt x="5541378" y="481258"/>
                </a:moveTo>
                <a:cubicBezTo>
                  <a:pt x="5541378" y="481258"/>
                  <a:pt x="5538897" y="478777"/>
                  <a:pt x="5538897" y="478777"/>
                </a:cubicBezTo>
                <a:cubicBezTo>
                  <a:pt x="5538897" y="478777"/>
                  <a:pt x="5536412" y="481258"/>
                  <a:pt x="5536412" y="486221"/>
                </a:cubicBezTo>
                <a:cubicBezTo>
                  <a:pt x="5538897" y="483738"/>
                  <a:pt x="5541378" y="481258"/>
                  <a:pt x="5541378" y="481258"/>
                </a:cubicBezTo>
                <a:close/>
                <a:moveTo>
                  <a:pt x="5554407" y="524982"/>
                </a:moveTo>
                <a:cubicBezTo>
                  <a:pt x="5554408" y="523431"/>
                  <a:pt x="5553788" y="522190"/>
                  <a:pt x="5551306" y="520950"/>
                </a:cubicBezTo>
                <a:cubicBezTo>
                  <a:pt x="5548822" y="520950"/>
                  <a:pt x="5546342" y="520950"/>
                  <a:pt x="5543858" y="520950"/>
                </a:cubicBezTo>
                <a:cubicBezTo>
                  <a:pt x="5543858" y="523430"/>
                  <a:pt x="5543858" y="525913"/>
                  <a:pt x="5543858" y="528392"/>
                </a:cubicBezTo>
                <a:cubicBezTo>
                  <a:pt x="5546342" y="530874"/>
                  <a:pt x="5548822" y="530874"/>
                  <a:pt x="5553786" y="530874"/>
                </a:cubicBezTo>
                <a:cubicBezTo>
                  <a:pt x="5553786" y="528393"/>
                  <a:pt x="5554407" y="526532"/>
                  <a:pt x="5554407" y="524982"/>
                </a:cubicBezTo>
                <a:close/>
                <a:moveTo>
                  <a:pt x="5603429" y="449011"/>
                </a:moveTo>
                <a:cubicBezTo>
                  <a:pt x="5573643" y="453970"/>
                  <a:pt x="5566199" y="461413"/>
                  <a:pt x="5566199" y="473818"/>
                </a:cubicBezTo>
                <a:cubicBezTo>
                  <a:pt x="5578607" y="466375"/>
                  <a:pt x="5591020" y="456451"/>
                  <a:pt x="5603429" y="449011"/>
                </a:cubicBezTo>
                <a:close/>
                <a:moveTo>
                  <a:pt x="5672928" y="401875"/>
                </a:moveTo>
                <a:cubicBezTo>
                  <a:pt x="5655552" y="406836"/>
                  <a:pt x="5643143" y="414280"/>
                  <a:pt x="5628250" y="419241"/>
                </a:cubicBezTo>
                <a:cubicBezTo>
                  <a:pt x="5623286" y="424204"/>
                  <a:pt x="5615841" y="429165"/>
                  <a:pt x="5608393" y="436605"/>
                </a:cubicBezTo>
                <a:cubicBezTo>
                  <a:pt x="5613357" y="439085"/>
                  <a:pt x="5615841" y="439085"/>
                  <a:pt x="5615841" y="439085"/>
                </a:cubicBezTo>
                <a:cubicBezTo>
                  <a:pt x="5630731" y="431644"/>
                  <a:pt x="5645627" y="424204"/>
                  <a:pt x="5658035" y="416760"/>
                </a:cubicBezTo>
                <a:cubicBezTo>
                  <a:pt x="5663000" y="414280"/>
                  <a:pt x="5667964" y="409319"/>
                  <a:pt x="5672928" y="401875"/>
                </a:cubicBezTo>
                <a:close/>
                <a:moveTo>
                  <a:pt x="5715123" y="384511"/>
                </a:moveTo>
                <a:cubicBezTo>
                  <a:pt x="5700234" y="384511"/>
                  <a:pt x="5692785" y="391952"/>
                  <a:pt x="5682857" y="401875"/>
                </a:cubicBezTo>
                <a:cubicBezTo>
                  <a:pt x="5682857" y="401875"/>
                  <a:pt x="5685338" y="404358"/>
                  <a:pt x="5685338" y="404358"/>
                </a:cubicBezTo>
                <a:cubicBezTo>
                  <a:pt x="5695266" y="396914"/>
                  <a:pt x="5705195" y="389473"/>
                  <a:pt x="5715123" y="384511"/>
                </a:cubicBezTo>
                <a:close/>
                <a:moveTo>
                  <a:pt x="5801996" y="362183"/>
                </a:moveTo>
                <a:cubicBezTo>
                  <a:pt x="5801996" y="362183"/>
                  <a:pt x="5797032" y="362183"/>
                  <a:pt x="5797032" y="362183"/>
                </a:cubicBezTo>
                <a:cubicBezTo>
                  <a:pt x="5794551" y="362183"/>
                  <a:pt x="5794551" y="364665"/>
                  <a:pt x="5794551" y="367144"/>
                </a:cubicBezTo>
                <a:cubicBezTo>
                  <a:pt x="5797032" y="369627"/>
                  <a:pt x="5799515" y="369627"/>
                  <a:pt x="5801996" y="369627"/>
                </a:cubicBezTo>
                <a:cubicBezTo>
                  <a:pt x="5801996" y="367144"/>
                  <a:pt x="5801996" y="364665"/>
                  <a:pt x="5801996" y="362183"/>
                </a:cubicBezTo>
                <a:close/>
                <a:moveTo>
                  <a:pt x="5856603" y="295205"/>
                </a:moveTo>
                <a:lnTo>
                  <a:pt x="5848621" y="301189"/>
                </a:lnTo>
                <a:lnTo>
                  <a:pt x="5846060" y="302033"/>
                </a:lnTo>
                <a:lnTo>
                  <a:pt x="5845683" y="301656"/>
                </a:lnTo>
                <a:lnTo>
                  <a:pt x="5853510" y="296441"/>
                </a:lnTo>
                <a:close/>
                <a:moveTo>
                  <a:pt x="5861567" y="344819"/>
                </a:moveTo>
                <a:cubicBezTo>
                  <a:pt x="5851639" y="349781"/>
                  <a:pt x="5846675" y="352261"/>
                  <a:pt x="5836746" y="357222"/>
                </a:cubicBezTo>
                <a:cubicBezTo>
                  <a:pt x="5851639" y="362183"/>
                  <a:pt x="5851639" y="362183"/>
                  <a:pt x="5861567" y="344819"/>
                </a:cubicBezTo>
                <a:close/>
                <a:moveTo>
                  <a:pt x="5881424" y="327452"/>
                </a:moveTo>
                <a:cubicBezTo>
                  <a:pt x="5873978" y="326213"/>
                  <a:pt x="5870255" y="325594"/>
                  <a:pt x="5868393" y="326524"/>
                </a:cubicBezTo>
                <a:cubicBezTo>
                  <a:pt x="5866532" y="327454"/>
                  <a:pt x="5866532" y="329935"/>
                  <a:pt x="5866532" y="334897"/>
                </a:cubicBezTo>
                <a:cubicBezTo>
                  <a:pt x="5871496" y="332417"/>
                  <a:pt x="5873979" y="329935"/>
                  <a:pt x="5881424" y="327452"/>
                </a:cubicBezTo>
                <a:close/>
                <a:moveTo>
                  <a:pt x="5898801" y="312571"/>
                </a:moveTo>
                <a:cubicBezTo>
                  <a:pt x="5893836" y="315051"/>
                  <a:pt x="5886389" y="317532"/>
                  <a:pt x="5881424" y="320012"/>
                </a:cubicBezTo>
                <a:cubicBezTo>
                  <a:pt x="5891353" y="324973"/>
                  <a:pt x="5898801" y="327452"/>
                  <a:pt x="5898801" y="312571"/>
                </a:cubicBezTo>
                <a:close/>
                <a:moveTo>
                  <a:pt x="6047726" y="292725"/>
                </a:moveTo>
                <a:cubicBezTo>
                  <a:pt x="6040277" y="292725"/>
                  <a:pt x="6037797" y="297687"/>
                  <a:pt x="6037797" y="305127"/>
                </a:cubicBezTo>
                <a:cubicBezTo>
                  <a:pt x="6047726" y="302648"/>
                  <a:pt x="6047726" y="302648"/>
                  <a:pt x="6047726" y="292725"/>
                </a:cubicBezTo>
                <a:close/>
                <a:moveTo>
                  <a:pt x="6067583" y="324973"/>
                </a:moveTo>
                <a:cubicBezTo>
                  <a:pt x="6055170" y="324973"/>
                  <a:pt x="6050207" y="332417"/>
                  <a:pt x="6045243" y="342337"/>
                </a:cubicBezTo>
                <a:cubicBezTo>
                  <a:pt x="6065100" y="339858"/>
                  <a:pt x="6065100" y="339858"/>
                  <a:pt x="6067583" y="324973"/>
                </a:cubicBezTo>
                <a:close/>
                <a:moveTo>
                  <a:pt x="6115982" y="355981"/>
                </a:moveTo>
                <a:lnTo>
                  <a:pt x="6114741" y="357222"/>
                </a:lnTo>
                <a:lnTo>
                  <a:pt x="6113842" y="355552"/>
                </a:lnTo>
                <a:lnTo>
                  <a:pt x="6114741" y="354742"/>
                </a:lnTo>
                <a:close/>
                <a:moveTo>
                  <a:pt x="6139562" y="419241"/>
                </a:moveTo>
                <a:cubicBezTo>
                  <a:pt x="6139562" y="416760"/>
                  <a:pt x="6137079" y="414280"/>
                  <a:pt x="6134599" y="411798"/>
                </a:cubicBezTo>
                <a:cubicBezTo>
                  <a:pt x="6134599" y="414280"/>
                  <a:pt x="6132115" y="414280"/>
                  <a:pt x="6132115" y="414280"/>
                </a:cubicBezTo>
                <a:cubicBezTo>
                  <a:pt x="6134599" y="416760"/>
                  <a:pt x="6134599" y="419241"/>
                  <a:pt x="6137079" y="421721"/>
                </a:cubicBezTo>
                <a:cubicBezTo>
                  <a:pt x="6137079" y="421721"/>
                  <a:pt x="6137079" y="421721"/>
                  <a:pt x="6139562" y="419241"/>
                </a:cubicBezTo>
                <a:close/>
                <a:moveTo>
                  <a:pt x="6151974" y="389473"/>
                </a:moveTo>
                <a:cubicBezTo>
                  <a:pt x="6151974" y="386993"/>
                  <a:pt x="6149492" y="384512"/>
                  <a:pt x="6144528" y="379550"/>
                </a:cubicBezTo>
                <a:cubicBezTo>
                  <a:pt x="6144528" y="386990"/>
                  <a:pt x="6144528" y="391952"/>
                  <a:pt x="6144528" y="399395"/>
                </a:cubicBezTo>
                <a:cubicBezTo>
                  <a:pt x="6149492" y="394434"/>
                  <a:pt x="6151974" y="391954"/>
                  <a:pt x="6151974" y="389473"/>
                </a:cubicBezTo>
                <a:close/>
                <a:moveTo>
                  <a:pt x="6154456" y="406836"/>
                </a:moveTo>
                <a:cubicBezTo>
                  <a:pt x="6154456" y="406836"/>
                  <a:pt x="6154456" y="409319"/>
                  <a:pt x="6154456" y="409319"/>
                </a:cubicBezTo>
                <a:cubicBezTo>
                  <a:pt x="6154456" y="411798"/>
                  <a:pt x="6149492" y="414280"/>
                  <a:pt x="6144528" y="416760"/>
                </a:cubicBezTo>
                <a:lnTo>
                  <a:pt x="6143493" y="414692"/>
                </a:lnTo>
                <a:lnTo>
                  <a:pt x="6143855" y="411075"/>
                </a:lnTo>
                <a:close/>
                <a:moveTo>
                  <a:pt x="6290971" y="977401"/>
                </a:moveTo>
                <a:cubicBezTo>
                  <a:pt x="6288488" y="979881"/>
                  <a:pt x="6286007" y="979881"/>
                  <a:pt x="6286007" y="982363"/>
                </a:cubicBezTo>
                <a:cubicBezTo>
                  <a:pt x="6286007" y="984842"/>
                  <a:pt x="6286007" y="984842"/>
                  <a:pt x="6286007" y="984842"/>
                </a:cubicBezTo>
                <a:cubicBezTo>
                  <a:pt x="6288488" y="982363"/>
                  <a:pt x="6288488" y="979881"/>
                  <a:pt x="6290971" y="977401"/>
                </a:cubicBezTo>
                <a:close/>
                <a:moveTo>
                  <a:pt x="6308966" y="994146"/>
                </a:moveTo>
                <a:cubicBezTo>
                  <a:pt x="6308966" y="991666"/>
                  <a:pt x="6307104" y="988564"/>
                  <a:pt x="6303380" y="984842"/>
                </a:cubicBezTo>
                <a:cubicBezTo>
                  <a:pt x="6298416" y="989804"/>
                  <a:pt x="6293452" y="992286"/>
                  <a:pt x="6288488" y="997247"/>
                </a:cubicBezTo>
                <a:cubicBezTo>
                  <a:pt x="6286007" y="999727"/>
                  <a:pt x="6283523" y="1002209"/>
                  <a:pt x="6281042" y="1002209"/>
                </a:cubicBezTo>
                <a:cubicBezTo>
                  <a:pt x="6271114" y="1002209"/>
                  <a:pt x="6266150" y="1004688"/>
                  <a:pt x="6261185" y="1009650"/>
                </a:cubicBezTo>
                <a:cubicBezTo>
                  <a:pt x="6243809" y="1024534"/>
                  <a:pt x="6223956" y="1036937"/>
                  <a:pt x="6204099" y="1051821"/>
                </a:cubicBezTo>
                <a:cubicBezTo>
                  <a:pt x="6199133" y="1054303"/>
                  <a:pt x="6196650" y="1059264"/>
                  <a:pt x="6194170" y="1061744"/>
                </a:cubicBezTo>
                <a:cubicBezTo>
                  <a:pt x="6204099" y="1061744"/>
                  <a:pt x="6209063" y="1056785"/>
                  <a:pt x="6216507" y="1051821"/>
                </a:cubicBezTo>
                <a:cubicBezTo>
                  <a:pt x="6218988" y="1054303"/>
                  <a:pt x="6218988" y="1056785"/>
                  <a:pt x="6221471" y="1059264"/>
                </a:cubicBezTo>
                <a:cubicBezTo>
                  <a:pt x="6226436" y="1056785"/>
                  <a:pt x="6233884" y="1054303"/>
                  <a:pt x="6231400" y="1046859"/>
                </a:cubicBezTo>
                <a:cubicBezTo>
                  <a:pt x="6228920" y="1044380"/>
                  <a:pt x="6231400" y="1039418"/>
                  <a:pt x="6233884" y="1039418"/>
                </a:cubicBezTo>
                <a:cubicBezTo>
                  <a:pt x="6246293" y="1031978"/>
                  <a:pt x="6258705" y="1024534"/>
                  <a:pt x="6271114" y="1017093"/>
                </a:cubicBezTo>
                <a:cubicBezTo>
                  <a:pt x="6283523" y="1012132"/>
                  <a:pt x="6293452" y="1007171"/>
                  <a:pt x="6303380" y="999727"/>
                </a:cubicBezTo>
                <a:cubicBezTo>
                  <a:pt x="6307104" y="998487"/>
                  <a:pt x="6308966" y="996627"/>
                  <a:pt x="6308966" y="994146"/>
                </a:cubicBezTo>
                <a:close/>
                <a:moveTo>
                  <a:pt x="6310391" y="635936"/>
                </a:moveTo>
                <a:lnTo>
                  <a:pt x="6305864" y="644984"/>
                </a:lnTo>
                <a:cubicBezTo>
                  <a:pt x="6305864" y="644984"/>
                  <a:pt x="6303380" y="642505"/>
                  <a:pt x="6303380" y="642505"/>
                </a:cubicBezTo>
                <a:lnTo>
                  <a:pt x="6307112" y="638775"/>
                </a:lnTo>
                <a:close/>
                <a:moveTo>
                  <a:pt x="6407630" y="1267645"/>
                </a:moveTo>
                <a:cubicBezTo>
                  <a:pt x="6405146" y="1267645"/>
                  <a:pt x="6405146" y="1265165"/>
                  <a:pt x="6405146" y="1265165"/>
                </a:cubicBezTo>
                <a:cubicBezTo>
                  <a:pt x="6402665" y="1267645"/>
                  <a:pt x="6400182" y="1270124"/>
                  <a:pt x="6397701" y="1270124"/>
                </a:cubicBezTo>
                <a:cubicBezTo>
                  <a:pt x="6400182" y="1270124"/>
                  <a:pt x="6400182" y="1272606"/>
                  <a:pt x="6400182" y="1272606"/>
                </a:cubicBezTo>
                <a:cubicBezTo>
                  <a:pt x="6402665" y="1270124"/>
                  <a:pt x="6405146" y="1270124"/>
                  <a:pt x="6407630" y="1267645"/>
                </a:cubicBezTo>
                <a:close/>
                <a:moveTo>
                  <a:pt x="6737748" y="803753"/>
                </a:moveTo>
                <a:cubicBezTo>
                  <a:pt x="6735265" y="806232"/>
                  <a:pt x="6732785" y="806232"/>
                  <a:pt x="6730304" y="808714"/>
                </a:cubicBezTo>
                <a:cubicBezTo>
                  <a:pt x="6730304" y="808714"/>
                  <a:pt x="6730304" y="808714"/>
                  <a:pt x="6727821" y="806232"/>
                </a:cubicBezTo>
                <a:cubicBezTo>
                  <a:pt x="6730304" y="806232"/>
                  <a:pt x="6732785" y="803753"/>
                  <a:pt x="6735265" y="801270"/>
                </a:cubicBezTo>
                <a:cubicBezTo>
                  <a:pt x="6735265" y="801270"/>
                  <a:pt x="6737748" y="803753"/>
                  <a:pt x="6737748" y="803753"/>
                </a:cubicBezTo>
                <a:close/>
                <a:moveTo>
                  <a:pt x="6799800" y="1126244"/>
                </a:moveTo>
                <a:cubicBezTo>
                  <a:pt x="6787392" y="1128726"/>
                  <a:pt x="6777463" y="1133684"/>
                  <a:pt x="6777463" y="1146090"/>
                </a:cubicBezTo>
                <a:cubicBezTo>
                  <a:pt x="6777463" y="1146090"/>
                  <a:pt x="6779943" y="1148568"/>
                  <a:pt x="6779943" y="1148568"/>
                </a:cubicBezTo>
                <a:cubicBezTo>
                  <a:pt x="6782426" y="1143611"/>
                  <a:pt x="6787392" y="1138648"/>
                  <a:pt x="6789872" y="1133684"/>
                </a:cubicBezTo>
                <a:cubicBezTo>
                  <a:pt x="6789872" y="1131205"/>
                  <a:pt x="6794836" y="1128726"/>
                  <a:pt x="6799800" y="1126244"/>
                </a:cubicBezTo>
                <a:close/>
                <a:moveTo>
                  <a:pt x="6829586" y="1096474"/>
                </a:moveTo>
                <a:cubicBezTo>
                  <a:pt x="6819657" y="1096474"/>
                  <a:pt x="6809729" y="1101436"/>
                  <a:pt x="6807249" y="1111359"/>
                </a:cubicBezTo>
                <a:cubicBezTo>
                  <a:pt x="6809729" y="1113841"/>
                  <a:pt x="6812213" y="1116320"/>
                  <a:pt x="6814693" y="1118802"/>
                </a:cubicBezTo>
                <a:cubicBezTo>
                  <a:pt x="6822138" y="1113841"/>
                  <a:pt x="6827102" y="1106397"/>
                  <a:pt x="6829586" y="1096474"/>
                </a:cubicBezTo>
                <a:close/>
                <a:moveTo>
                  <a:pt x="6837034" y="979881"/>
                </a:moveTo>
                <a:cubicBezTo>
                  <a:pt x="6837034" y="979881"/>
                  <a:pt x="6834550" y="977401"/>
                  <a:pt x="6834550" y="977401"/>
                </a:cubicBezTo>
                <a:cubicBezTo>
                  <a:pt x="6832067" y="979881"/>
                  <a:pt x="6832067" y="979881"/>
                  <a:pt x="6829586" y="982363"/>
                </a:cubicBezTo>
                <a:cubicBezTo>
                  <a:pt x="6832067" y="982363"/>
                  <a:pt x="6834550" y="984842"/>
                  <a:pt x="6834550" y="982363"/>
                </a:cubicBezTo>
                <a:cubicBezTo>
                  <a:pt x="6834550" y="982363"/>
                  <a:pt x="6837034" y="982363"/>
                  <a:pt x="6837034" y="979881"/>
                </a:cubicBezTo>
                <a:close/>
                <a:moveTo>
                  <a:pt x="6873375" y="746555"/>
                </a:moveTo>
                <a:lnTo>
                  <a:pt x="6873375" y="772748"/>
                </a:lnTo>
                <a:lnTo>
                  <a:pt x="6869300" y="776463"/>
                </a:lnTo>
                <a:lnTo>
                  <a:pt x="6873375" y="776463"/>
                </a:lnTo>
                <a:lnTo>
                  <a:pt x="6873375" y="823595"/>
                </a:lnTo>
                <a:lnTo>
                  <a:pt x="6861852" y="823595"/>
                </a:lnTo>
                <a:cubicBezTo>
                  <a:pt x="6861852" y="828558"/>
                  <a:pt x="6864335" y="833519"/>
                  <a:pt x="6866816" y="840962"/>
                </a:cubicBezTo>
                <a:lnTo>
                  <a:pt x="6873375" y="834441"/>
                </a:lnTo>
                <a:lnTo>
                  <a:pt x="6873375" y="863520"/>
                </a:lnTo>
                <a:lnTo>
                  <a:pt x="6866816" y="870731"/>
                </a:lnTo>
                <a:cubicBezTo>
                  <a:pt x="6864335" y="875693"/>
                  <a:pt x="6856888" y="880654"/>
                  <a:pt x="6851924" y="883133"/>
                </a:cubicBezTo>
                <a:cubicBezTo>
                  <a:pt x="6834550" y="895538"/>
                  <a:pt x="6822138" y="910421"/>
                  <a:pt x="6812213" y="932748"/>
                </a:cubicBezTo>
                <a:cubicBezTo>
                  <a:pt x="6819657" y="927787"/>
                  <a:pt x="6827102" y="922825"/>
                  <a:pt x="6834550" y="920346"/>
                </a:cubicBezTo>
                <a:cubicBezTo>
                  <a:pt x="6844478" y="917864"/>
                  <a:pt x="6851924" y="915384"/>
                  <a:pt x="6851924" y="900500"/>
                </a:cubicBezTo>
                <a:cubicBezTo>
                  <a:pt x="6854407" y="902979"/>
                  <a:pt x="6854407" y="902979"/>
                  <a:pt x="6856888" y="902979"/>
                </a:cubicBezTo>
                <a:cubicBezTo>
                  <a:pt x="6856888" y="900500"/>
                  <a:pt x="6854407" y="898018"/>
                  <a:pt x="6854407" y="895538"/>
                </a:cubicBezTo>
                <a:cubicBezTo>
                  <a:pt x="6859371" y="888095"/>
                  <a:pt x="6861852" y="883133"/>
                  <a:pt x="6866816" y="878172"/>
                </a:cubicBezTo>
                <a:lnTo>
                  <a:pt x="6873375" y="873257"/>
                </a:lnTo>
                <a:lnTo>
                  <a:pt x="6873375" y="4439277"/>
                </a:lnTo>
                <a:lnTo>
                  <a:pt x="0" y="4439277"/>
                </a:lnTo>
                <a:lnTo>
                  <a:pt x="0" y="2283995"/>
                </a:lnTo>
                <a:lnTo>
                  <a:pt x="16229" y="2264891"/>
                </a:lnTo>
                <a:lnTo>
                  <a:pt x="0" y="2275766"/>
                </a:lnTo>
                <a:lnTo>
                  <a:pt x="0" y="1652065"/>
                </a:lnTo>
                <a:lnTo>
                  <a:pt x="11574" y="1641921"/>
                </a:lnTo>
                <a:cubicBezTo>
                  <a:pt x="18090" y="1636649"/>
                  <a:pt x="24916" y="1632308"/>
                  <a:pt x="33603" y="1629827"/>
                </a:cubicBezTo>
                <a:cubicBezTo>
                  <a:pt x="36086" y="1629827"/>
                  <a:pt x="41047" y="1624869"/>
                  <a:pt x="43530" y="1622385"/>
                </a:cubicBezTo>
                <a:cubicBezTo>
                  <a:pt x="70832" y="1600060"/>
                  <a:pt x="88210" y="1552925"/>
                  <a:pt x="117995" y="1533079"/>
                </a:cubicBezTo>
                <a:cubicBezTo>
                  <a:pt x="145296" y="1515715"/>
                  <a:pt x="167634" y="1488429"/>
                  <a:pt x="199903" y="1476023"/>
                </a:cubicBezTo>
                <a:cubicBezTo>
                  <a:pt x="209832" y="1471062"/>
                  <a:pt x="217277" y="1461139"/>
                  <a:pt x="224724" y="1453698"/>
                </a:cubicBezTo>
                <a:cubicBezTo>
                  <a:pt x="234653" y="1443776"/>
                  <a:pt x="244581" y="1433852"/>
                  <a:pt x="259474" y="1428891"/>
                </a:cubicBezTo>
                <a:cubicBezTo>
                  <a:pt x="289257" y="1418968"/>
                  <a:pt x="314078" y="1401601"/>
                  <a:pt x="341383" y="1384238"/>
                </a:cubicBezTo>
                <a:cubicBezTo>
                  <a:pt x="363721" y="1371835"/>
                  <a:pt x="386059" y="1356951"/>
                  <a:pt x="408399" y="1342066"/>
                </a:cubicBezTo>
                <a:cubicBezTo>
                  <a:pt x="438185" y="1324699"/>
                  <a:pt x="482863" y="1275085"/>
                  <a:pt x="512645" y="1257721"/>
                </a:cubicBezTo>
                <a:cubicBezTo>
                  <a:pt x="544915" y="1237875"/>
                  <a:pt x="577181" y="1220511"/>
                  <a:pt x="609447" y="1200665"/>
                </a:cubicBezTo>
                <a:cubicBezTo>
                  <a:pt x="619379" y="1195704"/>
                  <a:pt x="629308" y="1190742"/>
                  <a:pt x="639233" y="1183298"/>
                </a:cubicBezTo>
                <a:cubicBezTo>
                  <a:pt x="683911" y="1151051"/>
                  <a:pt x="733553" y="1123764"/>
                  <a:pt x="783196" y="1096474"/>
                </a:cubicBezTo>
                <a:cubicBezTo>
                  <a:pt x="790641" y="1091513"/>
                  <a:pt x="800570" y="1089034"/>
                  <a:pt x="805534" y="1081589"/>
                </a:cubicBezTo>
                <a:cubicBezTo>
                  <a:pt x="822910" y="1064226"/>
                  <a:pt x="842767" y="1054303"/>
                  <a:pt x="865105" y="1046859"/>
                </a:cubicBezTo>
                <a:cubicBezTo>
                  <a:pt x="884962" y="1039418"/>
                  <a:pt x="904819" y="1027016"/>
                  <a:pt x="922193" y="1017093"/>
                </a:cubicBezTo>
                <a:cubicBezTo>
                  <a:pt x="1011549" y="964996"/>
                  <a:pt x="1098423" y="977401"/>
                  <a:pt x="1190259" y="930269"/>
                </a:cubicBezTo>
                <a:cubicBezTo>
                  <a:pt x="1220046" y="915384"/>
                  <a:pt x="1249830" y="905462"/>
                  <a:pt x="1279617" y="890577"/>
                </a:cubicBezTo>
                <a:cubicBezTo>
                  <a:pt x="1309401" y="875692"/>
                  <a:pt x="1339188" y="858325"/>
                  <a:pt x="1371453" y="843441"/>
                </a:cubicBezTo>
                <a:cubicBezTo>
                  <a:pt x="1411165" y="823595"/>
                  <a:pt x="1453362" y="808714"/>
                  <a:pt x="1498041" y="801270"/>
                </a:cubicBezTo>
                <a:cubicBezTo>
                  <a:pt x="1503005" y="801270"/>
                  <a:pt x="1507969" y="801270"/>
                  <a:pt x="1510450" y="798788"/>
                </a:cubicBezTo>
                <a:cubicBezTo>
                  <a:pt x="1525343" y="786386"/>
                  <a:pt x="1545200" y="781424"/>
                  <a:pt x="1560093" y="771501"/>
                </a:cubicBezTo>
                <a:cubicBezTo>
                  <a:pt x="1587395" y="754137"/>
                  <a:pt x="1617179" y="741732"/>
                  <a:pt x="1646966" y="734291"/>
                </a:cubicBezTo>
                <a:cubicBezTo>
                  <a:pt x="1654413" y="734291"/>
                  <a:pt x="1661859" y="731809"/>
                  <a:pt x="1669306" y="729330"/>
                </a:cubicBezTo>
                <a:cubicBezTo>
                  <a:pt x="1694124" y="721886"/>
                  <a:pt x="1721430" y="716925"/>
                  <a:pt x="1743767" y="702040"/>
                </a:cubicBezTo>
                <a:cubicBezTo>
                  <a:pt x="1748731" y="699561"/>
                  <a:pt x="1751215" y="697081"/>
                  <a:pt x="1756179" y="697081"/>
                </a:cubicBezTo>
                <a:cubicBezTo>
                  <a:pt x="1790929" y="689638"/>
                  <a:pt x="1823195" y="682197"/>
                  <a:pt x="1857944" y="674754"/>
                </a:cubicBezTo>
                <a:cubicBezTo>
                  <a:pt x="1892694" y="667313"/>
                  <a:pt x="1924961" y="659869"/>
                  <a:pt x="1957227" y="652428"/>
                </a:cubicBezTo>
                <a:cubicBezTo>
                  <a:pt x="1974603" y="647467"/>
                  <a:pt x="1989496" y="644984"/>
                  <a:pt x="2004389" y="642505"/>
                </a:cubicBezTo>
                <a:cubicBezTo>
                  <a:pt x="2011834" y="642505"/>
                  <a:pt x="2019279" y="640023"/>
                  <a:pt x="2026727" y="637544"/>
                </a:cubicBezTo>
                <a:cubicBezTo>
                  <a:pt x="2054029" y="625138"/>
                  <a:pt x="2083815" y="625138"/>
                  <a:pt x="2113600" y="635062"/>
                </a:cubicBezTo>
                <a:cubicBezTo>
                  <a:pt x="2123529" y="640023"/>
                  <a:pt x="2130974" y="635062"/>
                  <a:pt x="2138421" y="630101"/>
                </a:cubicBezTo>
                <a:cubicBezTo>
                  <a:pt x="2148350" y="632582"/>
                  <a:pt x="2158278" y="637544"/>
                  <a:pt x="2170690" y="642505"/>
                </a:cubicBezTo>
                <a:cubicBezTo>
                  <a:pt x="2170690" y="644984"/>
                  <a:pt x="2170690" y="644984"/>
                  <a:pt x="2170690" y="644984"/>
                </a:cubicBezTo>
                <a:cubicBezTo>
                  <a:pt x="2197992" y="630101"/>
                  <a:pt x="2225295" y="615216"/>
                  <a:pt x="2252599" y="602813"/>
                </a:cubicBezTo>
                <a:cubicBezTo>
                  <a:pt x="2302238" y="580485"/>
                  <a:pt x="2351882" y="558160"/>
                  <a:pt x="2401524" y="535835"/>
                </a:cubicBezTo>
                <a:cubicBezTo>
                  <a:pt x="2411453" y="530873"/>
                  <a:pt x="2421381" y="528392"/>
                  <a:pt x="2431310" y="525912"/>
                </a:cubicBezTo>
                <a:cubicBezTo>
                  <a:pt x="2436274" y="523429"/>
                  <a:pt x="2443718" y="525912"/>
                  <a:pt x="2443718" y="533353"/>
                </a:cubicBezTo>
                <a:cubicBezTo>
                  <a:pt x="2426346" y="540796"/>
                  <a:pt x="2406489" y="550717"/>
                  <a:pt x="2389112" y="560642"/>
                </a:cubicBezTo>
                <a:cubicBezTo>
                  <a:pt x="2371738" y="570565"/>
                  <a:pt x="2351881" y="580485"/>
                  <a:pt x="2334508" y="590409"/>
                </a:cubicBezTo>
                <a:cubicBezTo>
                  <a:pt x="2317131" y="600331"/>
                  <a:pt x="2297274" y="610255"/>
                  <a:pt x="2279900" y="620177"/>
                </a:cubicBezTo>
                <a:cubicBezTo>
                  <a:pt x="2287349" y="625138"/>
                  <a:pt x="2294794" y="622659"/>
                  <a:pt x="2299758" y="620177"/>
                </a:cubicBezTo>
                <a:cubicBezTo>
                  <a:pt x="2327060" y="605292"/>
                  <a:pt x="2354362" y="592891"/>
                  <a:pt x="2381666" y="578006"/>
                </a:cubicBezTo>
                <a:cubicBezTo>
                  <a:pt x="2426346" y="555681"/>
                  <a:pt x="2473504" y="538314"/>
                  <a:pt x="2520663" y="528392"/>
                </a:cubicBezTo>
                <a:cubicBezTo>
                  <a:pt x="2528112" y="525912"/>
                  <a:pt x="2535559" y="523429"/>
                  <a:pt x="2540520" y="525912"/>
                </a:cubicBezTo>
                <a:cubicBezTo>
                  <a:pt x="2545484" y="528392"/>
                  <a:pt x="2552932" y="530873"/>
                  <a:pt x="2557896" y="535835"/>
                </a:cubicBezTo>
                <a:cubicBezTo>
                  <a:pt x="2562862" y="540796"/>
                  <a:pt x="2572789" y="543275"/>
                  <a:pt x="2572789" y="553199"/>
                </a:cubicBezTo>
                <a:cubicBezTo>
                  <a:pt x="2572789" y="560642"/>
                  <a:pt x="2570306" y="565600"/>
                  <a:pt x="2570306" y="573045"/>
                </a:cubicBezTo>
                <a:cubicBezTo>
                  <a:pt x="2582718" y="568083"/>
                  <a:pt x="2592646" y="555681"/>
                  <a:pt x="2612504" y="555681"/>
                </a:cubicBezTo>
                <a:cubicBezTo>
                  <a:pt x="2572789" y="587929"/>
                  <a:pt x="2533075" y="605292"/>
                  <a:pt x="2495842" y="632582"/>
                </a:cubicBezTo>
                <a:cubicBezTo>
                  <a:pt x="2500806" y="637544"/>
                  <a:pt x="2505774" y="642505"/>
                  <a:pt x="2510738" y="647467"/>
                </a:cubicBezTo>
                <a:cubicBezTo>
                  <a:pt x="2513218" y="649946"/>
                  <a:pt x="2515699" y="649946"/>
                  <a:pt x="2518182" y="649946"/>
                </a:cubicBezTo>
                <a:cubicBezTo>
                  <a:pt x="2525627" y="649946"/>
                  <a:pt x="2535558" y="647467"/>
                  <a:pt x="2543004" y="644984"/>
                </a:cubicBezTo>
                <a:cubicBezTo>
                  <a:pt x="2585198" y="632582"/>
                  <a:pt x="2624913" y="620177"/>
                  <a:pt x="2667107" y="610255"/>
                </a:cubicBezTo>
                <a:cubicBezTo>
                  <a:pt x="2682000" y="605292"/>
                  <a:pt x="2699376" y="605292"/>
                  <a:pt x="2716750" y="602813"/>
                </a:cubicBezTo>
                <a:cubicBezTo>
                  <a:pt x="2721714" y="602813"/>
                  <a:pt x="2726679" y="605292"/>
                  <a:pt x="2736607" y="610255"/>
                </a:cubicBezTo>
                <a:cubicBezTo>
                  <a:pt x="2726679" y="615216"/>
                  <a:pt x="2719230" y="617698"/>
                  <a:pt x="2714266" y="620177"/>
                </a:cubicBezTo>
                <a:cubicBezTo>
                  <a:pt x="2647253" y="637544"/>
                  <a:pt x="2577751" y="657389"/>
                  <a:pt x="2508254" y="674754"/>
                </a:cubicBezTo>
                <a:cubicBezTo>
                  <a:pt x="2508254" y="674754"/>
                  <a:pt x="2505774" y="677233"/>
                  <a:pt x="2505774" y="677233"/>
                </a:cubicBezTo>
                <a:cubicBezTo>
                  <a:pt x="2508254" y="677233"/>
                  <a:pt x="2510738" y="677233"/>
                  <a:pt x="2510738" y="684676"/>
                </a:cubicBezTo>
                <a:cubicBezTo>
                  <a:pt x="2495842" y="689638"/>
                  <a:pt x="2483432" y="692118"/>
                  <a:pt x="2468540" y="697081"/>
                </a:cubicBezTo>
                <a:cubicBezTo>
                  <a:pt x="2473504" y="697081"/>
                  <a:pt x="2475987" y="699561"/>
                  <a:pt x="2480953" y="702040"/>
                </a:cubicBezTo>
                <a:cubicBezTo>
                  <a:pt x="2446203" y="714445"/>
                  <a:pt x="2416416" y="731809"/>
                  <a:pt x="2381666" y="736771"/>
                </a:cubicBezTo>
                <a:cubicBezTo>
                  <a:pt x="2396559" y="719407"/>
                  <a:pt x="2418897" y="711964"/>
                  <a:pt x="2438754" y="704522"/>
                </a:cubicBezTo>
                <a:cubicBezTo>
                  <a:pt x="2436273" y="707001"/>
                  <a:pt x="2431309" y="707001"/>
                  <a:pt x="2426346" y="709484"/>
                </a:cubicBezTo>
                <a:cubicBezTo>
                  <a:pt x="2406488" y="714445"/>
                  <a:pt x="2389112" y="721886"/>
                  <a:pt x="2371738" y="731809"/>
                </a:cubicBezTo>
                <a:cubicBezTo>
                  <a:pt x="2356845" y="739252"/>
                  <a:pt x="2341952" y="749176"/>
                  <a:pt x="2327060" y="754137"/>
                </a:cubicBezTo>
                <a:lnTo>
                  <a:pt x="2331397" y="777975"/>
                </a:lnTo>
                <a:lnTo>
                  <a:pt x="2319615" y="786386"/>
                </a:lnTo>
                <a:cubicBezTo>
                  <a:pt x="2309687" y="793829"/>
                  <a:pt x="2297274" y="803753"/>
                  <a:pt x="2284866" y="808714"/>
                </a:cubicBezTo>
                <a:cubicBezTo>
                  <a:pt x="2262528" y="818634"/>
                  <a:pt x="2242667" y="831039"/>
                  <a:pt x="2225295" y="840961"/>
                </a:cubicBezTo>
                <a:cubicBezTo>
                  <a:pt x="2227778" y="843441"/>
                  <a:pt x="2230259" y="848403"/>
                  <a:pt x="2230259" y="853364"/>
                </a:cubicBezTo>
                <a:cubicBezTo>
                  <a:pt x="2262528" y="838480"/>
                  <a:pt x="2292310" y="823595"/>
                  <a:pt x="2324580" y="811193"/>
                </a:cubicBezTo>
                <a:cubicBezTo>
                  <a:pt x="2327060" y="811193"/>
                  <a:pt x="2327060" y="808714"/>
                  <a:pt x="2329544" y="808714"/>
                </a:cubicBezTo>
                <a:cubicBezTo>
                  <a:pt x="2332026" y="803750"/>
                  <a:pt x="2333267" y="799408"/>
                  <a:pt x="2334197" y="794138"/>
                </a:cubicBezTo>
                <a:lnTo>
                  <a:pt x="2336245" y="779347"/>
                </a:lnTo>
                <a:lnTo>
                  <a:pt x="2393146" y="751345"/>
                </a:lnTo>
                <a:cubicBezTo>
                  <a:pt x="2413934" y="742973"/>
                  <a:pt x="2435032" y="735530"/>
                  <a:pt x="2456130" y="726847"/>
                </a:cubicBezTo>
                <a:cubicBezTo>
                  <a:pt x="2461094" y="724368"/>
                  <a:pt x="2468540" y="724368"/>
                  <a:pt x="2473504" y="719407"/>
                </a:cubicBezTo>
                <a:cubicBezTo>
                  <a:pt x="2495842" y="704522"/>
                  <a:pt x="2518182" y="697081"/>
                  <a:pt x="2543004" y="692118"/>
                </a:cubicBezTo>
                <a:cubicBezTo>
                  <a:pt x="2565341" y="687155"/>
                  <a:pt x="2590163" y="682197"/>
                  <a:pt x="2614984" y="674754"/>
                </a:cubicBezTo>
                <a:cubicBezTo>
                  <a:pt x="2632358" y="669792"/>
                  <a:pt x="2649734" y="664830"/>
                  <a:pt x="2664627" y="659869"/>
                </a:cubicBezTo>
                <a:cubicBezTo>
                  <a:pt x="2682000" y="654908"/>
                  <a:pt x="2699376" y="649946"/>
                  <a:pt x="2716750" y="649946"/>
                </a:cubicBezTo>
                <a:cubicBezTo>
                  <a:pt x="2721714" y="657389"/>
                  <a:pt x="2721714" y="662351"/>
                  <a:pt x="2716750" y="664830"/>
                </a:cubicBezTo>
                <a:cubicBezTo>
                  <a:pt x="2724198" y="667313"/>
                  <a:pt x="2729162" y="669792"/>
                  <a:pt x="2736607" y="669792"/>
                </a:cubicBezTo>
                <a:cubicBezTo>
                  <a:pt x="2744053" y="669792"/>
                  <a:pt x="2753980" y="664830"/>
                  <a:pt x="2763908" y="662351"/>
                </a:cubicBezTo>
                <a:cubicBezTo>
                  <a:pt x="2768874" y="664830"/>
                  <a:pt x="2776321" y="667313"/>
                  <a:pt x="2786250" y="672274"/>
                </a:cubicBezTo>
                <a:cubicBezTo>
                  <a:pt x="2781286" y="679715"/>
                  <a:pt x="2778801" y="682197"/>
                  <a:pt x="2773838" y="684676"/>
                </a:cubicBezTo>
                <a:cubicBezTo>
                  <a:pt x="2731643" y="704522"/>
                  <a:pt x="2689444" y="721886"/>
                  <a:pt x="2647253" y="741732"/>
                </a:cubicBezTo>
                <a:cubicBezTo>
                  <a:pt x="2637322" y="746693"/>
                  <a:pt x="2627392" y="756617"/>
                  <a:pt x="2614984" y="761578"/>
                </a:cubicBezTo>
                <a:cubicBezTo>
                  <a:pt x="2612503" y="764061"/>
                  <a:pt x="2607535" y="764061"/>
                  <a:pt x="2605055" y="766539"/>
                </a:cubicBezTo>
                <a:cubicBezTo>
                  <a:pt x="2612503" y="769022"/>
                  <a:pt x="2617467" y="769022"/>
                  <a:pt x="2624913" y="766539"/>
                </a:cubicBezTo>
                <a:cubicBezTo>
                  <a:pt x="2629877" y="764061"/>
                  <a:pt x="2634841" y="764061"/>
                  <a:pt x="2639805" y="764061"/>
                </a:cubicBezTo>
                <a:cubicBezTo>
                  <a:pt x="2652215" y="764061"/>
                  <a:pt x="2657179" y="771501"/>
                  <a:pt x="2652215" y="783907"/>
                </a:cubicBezTo>
                <a:cubicBezTo>
                  <a:pt x="2649734" y="786386"/>
                  <a:pt x="2647253" y="788868"/>
                  <a:pt x="2644770" y="791347"/>
                </a:cubicBezTo>
                <a:cubicBezTo>
                  <a:pt x="2644770" y="791347"/>
                  <a:pt x="2644770" y="793829"/>
                  <a:pt x="2644770" y="796308"/>
                </a:cubicBezTo>
                <a:cubicBezTo>
                  <a:pt x="2647253" y="793829"/>
                  <a:pt x="2652215" y="793829"/>
                  <a:pt x="2654698" y="791347"/>
                </a:cubicBezTo>
                <a:cubicBezTo>
                  <a:pt x="2654698" y="788868"/>
                  <a:pt x="2657179" y="783907"/>
                  <a:pt x="2659662" y="781424"/>
                </a:cubicBezTo>
                <a:cubicBezTo>
                  <a:pt x="2662143" y="776462"/>
                  <a:pt x="2672072" y="773983"/>
                  <a:pt x="2674555" y="778944"/>
                </a:cubicBezTo>
                <a:cubicBezTo>
                  <a:pt x="2679519" y="778944"/>
                  <a:pt x="2682000" y="776462"/>
                  <a:pt x="2686965" y="776462"/>
                </a:cubicBezTo>
                <a:cubicBezTo>
                  <a:pt x="2696893" y="773983"/>
                  <a:pt x="2709305" y="771501"/>
                  <a:pt x="2719230" y="766539"/>
                </a:cubicBezTo>
                <a:cubicBezTo>
                  <a:pt x="2758947" y="749176"/>
                  <a:pt x="2798658" y="731809"/>
                  <a:pt x="2838372" y="719407"/>
                </a:cubicBezTo>
                <a:cubicBezTo>
                  <a:pt x="2845821" y="716925"/>
                  <a:pt x="2853266" y="711964"/>
                  <a:pt x="2860710" y="707001"/>
                </a:cubicBezTo>
                <a:cubicBezTo>
                  <a:pt x="2878087" y="694599"/>
                  <a:pt x="2895460" y="682197"/>
                  <a:pt x="2912837" y="672274"/>
                </a:cubicBezTo>
                <a:cubicBezTo>
                  <a:pt x="2917801" y="667313"/>
                  <a:pt x="2927730" y="667313"/>
                  <a:pt x="2935174" y="667313"/>
                </a:cubicBezTo>
                <a:cubicBezTo>
                  <a:pt x="2937655" y="667313"/>
                  <a:pt x="2940138" y="669792"/>
                  <a:pt x="2940138" y="672274"/>
                </a:cubicBezTo>
                <a:cubicBezTo>
                  <a:pt x="2940138" y="674754"/>
                  <a:pt x="2940138" y="677233"/>
                  <a:pt x="2937655" y="679715"/>
                </a:cubicBezTo>
                <a:cubicBezTo>
                  <a:pt x="2930210" y="687155"/>
                  <a:pt x="2915317" y="684676"/>
                  <a:pt x="2915317" y="699561"/>
                </a:cubicBezTo>
                <a:cubicBezTo>
                  <a:pt x="2920281" y="709484"/>
                  <a:pt x="2927730" y="707001"/>
                  <a:pt x="2932694" y="704522"/>
                </a:cubicBezTo>
                <a:cubicBezTo>
                  <a:pt x="2962476" y="694599"/>
                  <a:pt x="2994745" y="687155"/>
                  <a:pt x="3027011" y="684676"/>
                </a:cubicBezTo>
                <a:cubicBezTo>
                  <a:pt x="2997226" y="694599"/>
                  <a:pt x="2969924" y="704522"/>
                  <a:pt x="2940138" y="714445"/>
                </a:cubicBezTo>
                <a:cubicBezTo>
                  <a:pt x="2927730" y="719407"/>
                  <a:pt x="2912837" y="721886"/>
                  <a:pt x="2902909" y="729330"/>
                </a:cubicBezTo>
                <a:cubicBezTo>
                  <a:pt x="2890496" y="736771"/>
                  <a:pt x="2878087" y="744215"/>
                  <a:pt x="2863195" y="746693"/>
                </a:cubicBezTo>
                <a:cubicBezTo>
                  <a:pt x="2853266" y="749176"/>
                  <a:pt x="2848302" y="756617"/>
                  <a:pt x="2835892" y="764061"/>
                </a:cubicBezTo>
                <a:cubicBezTo>
                  <a:pt x="2843336" y="766539"/>
                  <a:pt x="2848302" y="766539"/>
                  <a:pt x="2850782" y="766539"/>
                </a:cubicBezTo>
                <a:cubicBezTo>
                  <a:pt x="2870642" y="766539"/>
                  <a:pt x="2890496" y="749176"/>
                  <a:pt x="2912837" y="764061"/>
                </a:cubicBezTo>
                <a:cubicBezTo>
                  <a:pt x="2930210" y="759098"/>
                  <a:pt x="2947587" y="751655"/>
                  <a:pt x="2964960" y="746693"/>
                </a:cubicBezTo>
                <a:cubicBezTo>
                  <a:pt x="3014602" y="731809"/>
                  <a:pt x="3061761" y="716925"/>
                  <a:pt x="3111404" y="702040"/>
                </a:cubicBezTo>
                <a:cubicBezTo>
                  <a:pt x="3121332" y="699561"/>
                  <a:pt x="3131261" y="699561"/>
                  <a:pt x="3143670" y="697081"/>
                </a:cubicBezTo>
                <a:cubicBezTo>
                  <a:pt x="3141189" y="699561"/>
                  <a:pt x="3141189" y="704522"/>
                  <a:pt x="3138706" y="704522"/>
                </a:cubicBezTo>
                <a:cubicBezTo>
                  <a:pt x="3106439" y="721886"/>
                  <a:pt x="3079135" y="744215"/>
                  <a:pt x="3046869" y="756617"/>
                </a:cubicBezTo>
                <a:cubicBezTo>
                  <a:pt x="3024532" y="764061"/>
                  <a:pt x="3002190" y="773983"/>
                  <a:pt x="2979852" y="781424"/>
                </a:cubicBezTo>
                <a:cubicBezTo>
                  <a:pt x="2925246" y="798788"/>
                  <a:pt x="2873123" y="821115"/>
                  <a:pt x="2818515" y="833518"/>
                </a:cubicBezTo>
                <a:cubicBezTo>
                  <a:pt x="2778801" y="843441"/>
                  <a:pt x="2741572" y="865770"/>
                  <a:pt x="2704341" y="878171"/>
                </a:cubicBezTo>
                <a:cubicBezTo>
                  <a:pt x="2706822" y="880653"/>
                  <a:pt x="2706822" y="885616"/>
                  <a:pt x="2706822" y="888095"/>
                </a:cubicBezTo>
                <a:lnTo>
                  <a:pt x="2721714" y="888095"/>
                </a:lnTo>
                <a:cubicBezTo>
                  <a:pt x="2719230" y="888095"/>
                  <a:pt x="2714266" y="888095"/>
                  <a:pt x="2711786" y="893056"/>
                </a:cubicBezTo>
                <a:cubicBezTo>
                  <a:pt x="2711786" y="895538"/>
                  <a:pt x="2714266" y="895538"/>
                  <a:pt x="2714266" y="898017"/>
                </a:cubicBezTo>
                <a:cubicBezTo>
                  <a:pt x="2716750" y="895538"/>
                  <a:pt x="2721714" y="895538"/>
                  <a:pt x="2724198" y="895538"/>
                </a:cubicBezTo>
                <a:cubicBezTo>
                  <a:pt x="2724198" y="893056"/>
                  <a:pt x="2724198" y="890577"/>
                  <a:pt x="2721714" y="888095"/>
                </a:cubicBezTo>
                <a:lnTo>
                  <a:pt x="2729162" y="888095"/>
                </a:lnTo>
                <a:cubicBezTo>
                  <a:pt x="2731643" y="888095"/>
                  <a:pt x="2731643" y="888095"/>
                  <a:pt x="2734126" y="890577"/>
                </a:cubicBezTo>
                <a:cubicBezTo>
                  <a:pt x="2730403" y="893057"/>
                  <a:pt x="2727300" y="895538"/>
                  <a:pt x="2725127" y="898948"/>
                </a:cubicBezTo>
                <a:lnTo>
                  <a:pt x="2723535" y="905462"/>
                </a:lnTo>
                <a:lnTo>
                  <a:pt x="2721714" y="905462"/>
                </a:lnTo>
                <a:lnTo>
                  <a:pt x="2722937" y="907902"/>
                </a:lnTo>
                <a:lnTo>
                  <a:pt x="2721714" y="912902"/>
                </a:lnTo>
                <a:cubicBezTo>
                  <a:pt x="2716750" y="910420"/>
                  <a:pt x="2709305" y="907941"/>
                  <a:pt x="2701857" y="902978"/>
                </a:cubicBezTo>
                <a:cubicBezTo>
                  <a:pt x="2699376" y="902978"/>
                  <a:pt x="2696893" y="905462"/>
                  <a:pt x="2694412" y="905462"/>
                </a:cubicBezTo>
                <a:cubicBezTo>
                  <a:pt x="2691929" y="910420"/>
                  <a:pt x="2691929" y="915384"/>
                  <a:pt x="2689444" y="920345"/>
                </a:cubicBezTo>
                <a:cubicBezTo>
                  <a:pt x="2679519" y="920345"/>
                  <a:pt x="2672072" y="920345"/>
                  <a:pt x="2667107" y="927787"/>
                </a:cubicBezTo>
                <a:cubicBezTo>
                  <a:pt x="2664627" y="932748"/>
                  <a:pt x="2659662" y="932748"/>
                  <a:pt x="2657179" y="930269"/>
                </a:cubicBezTo>
                <a:cubicBezTo>
                  <a:pt x="2657179" y="922824"/>
                  <a:pt x="2659662" y="912902"/>
                  <a:pt x="2659662" y="902978"/>
                </a:cubicBezTo>
                <a:cubicBezTo>
                  <a:pt x="2644770" y="907941"/>
                  <a:pt x="2632358" y="912902"/>
                  <a:pt x="2624913" y="925304"/>
                </a:cubicBezTo>
                <a:cubicBezTo>
                  <a:pt x="2629877" y="922824"/>
                  <a:pt x="2637322" y="917863"/>
                  <a:pt x="2642286" y="915384"/>
                </a:cubicBezTo>
                <a:cubicBezTo>
                  <a:pt x="2639805" y="930269"/>
                  <a:pt x="2634841" y="937709"/>
                  <a:pt x="2617467" y="935227"/>
                </a:cubicBezTo>
                <a:cubicBezTo>
                  <a:pt x="2610020" y="947633"/>
                  <a:pt x="2597610" y="960034"/>
                  <a:pt x="2585198" y="972440"/>
                </a:cubicBezTo>
                <a:cubicBezTo>
                  <a:pt x="2607535" y="964996"/>
                  <a:pt x="2629877" y="957555"/>
                  <a:pt x="2652215" y="950112"/>
                </a:cubicBezTo>
                <a:cubicBezTo>
                  <a:pt x="2649734" y="952594"/>
                  <a:pt x="2647253" y="957555"/>
                  <a:pt x="2642286" y="960034"/>
                </a:cubicBezTo>
                <a:cubicBezTo>
                  <a:pt x="2622432" y="969958"/>
                  <a:pt x="2600091" y="977401"/>
                  <a:pt x="2577751" y="987325"/>
                </a:cubicBezTo>
                <a:cubicBezTo>
                  <a:pt x="2570306" y="992286"/>
                  <a:pt x="2562861" y="994765"/>
                  <a:pt x="2552932" y="999726"/>
                </a:cubicBezTo>
                <a:cubicBezTo>
                  <a:pt x="2555413" y="1004687"/>
                  <a:pt x="2560377" y="1007171"/>
                  <a:pt x="2562861" y="1012132"/>
                </a:cubicBezTo>
                <a:cubicBezTo>
                  <a:pt x="2567825" y="1009650"/>
                  <a:pt x="2575270" y="1009650"/>
                  <a:pt x="2580234" y="1007171"/>
                </a:cubicBezTo>
                <a:cubicBezTo>
                  <a:pt x="2582718" y="1004687"/>
                  <a:pt x="2587682" y="1002208"/>
                  <a:pt x="2590163" y="999726"/>
                </a:cubicBezTo>
                <a:cubicBezTo>
                  <a:pt x="2605055" y="987325"/>
                  <a:pt x="2624913" y="987325"/>
                  <a:pt x="2642286" y="989804"/>
                </a:cubicBezTo>
                <a:cubicBezTo>
                  <a:pt x="2751500" y="962516"/>
                  <a:pt x="2863195" y="940188"/>
                  <a:pt x="2969924" y="902978"/>
                </a:cubicBezTo>
                <a:cubicBezTo>
                  <a:pt x="2974888" y="900499"/>
                  <a:pt x="2982336" y="900499"/>
                  <a:pt x="2989781" y="900499"/>
                </a:cubicBezTo>
                <a:cubicBezTo>
                  <a:pt x="2992262" y="900499"/>
                  <a:pt x="2992262" y="898017"/>
                  <a:pt x="2992262" y="898017"/>
                </a:cubicBezTo>
                <a:cubicBezTo>
                  <a:pt x="2994745" y="895538"/>
                  <a:pt x="2997226" y="893056"/>
                  <a:pt x="2999709" y="893056"/>
                </a:cubicBezTo>
                <a:cubicBezTo>
                  <a:pt x="3012119" y="893056"/>
                  <a:pt x="3019566" y="885616"/>
                  <a:pt x="3029495" y="880653"/>
                </a:cubicBezTo>
                <a:cubicBezTo>
                  <a:pt x="3029495" y="880653"/>
                  <a:pt x="3031976" y="878171"/>
                  <a:pt x="3031976" y="875692"/>
                </a:cubicBezTo>
                <a:cubicBezTo>
                  <a:pt x="3034459" y="870731"/>
                  <a:pt x="3036940" y="870731"/>
                  <a:pt x="3041904" y="870731"/>
                </a:cubicBezTo>
                <a:cubicBezTo>
                  <a:pt x="3046869" y="870731"/>
                  <a:pt x="3049350" y="870731"/>
                  <a:pt x="3051833" y="865770"/>
                </a:cubicBezTo>
                <a:cubicBezTo>
                  <a:pt x="3051833" y="863287"/>
                  <a:pt x="3054316" y="860807"/>
                  <a:pt x="3056797" y="858325"/>
                </a:cubicBezTo>
                <a:cubicBezTo>
                  <a:pt x="3064244" y="853364"/>
                  <a:pt x="3071690" y="848403"/>
                  <a:pt x="3079135" y="843441"/>
                </a:cubicBezTo>
                <a:cubicBezTo>
                  <a:pt x="3084099" y="838480"/>
                  <a:pt x="3089067" y="838480"/>
                  <a:pt x="3094030" y="838480"/>
                </a:cubicBezTo>
                <a:cubicBezTo>
                  <a:pt x="3098992" y="838480"/>
                  <a:pt x="3101475" y="836000"/>
                  <a:pt x="3106439" y="836000"/>
                </a:cubicBezTo>
                <a:cubicBezTo>
                  <a:pt x="3111404" y="836000"/>
                  <a:pt x="3113885" y="831039"/>
                  <a:pt x="3116368" y="826078"/>
                </a:cubicBezTo>
                <a:cubicBezTo>
                  <a:pt x="3118851" y="826078"/>
                  <a:pt x="3118851" y="823595"/>
                  <a:pt x="3118851" y="821115"/>
                </a:cubicBezTo>
                <a:cubicBezTo>
                  <a:pt x="3121332" y="816154"/>
                  <a:pt x="3123813" y="813672"/>
                  <a:pt x="3128777" y="813672"/>
                </a:cubicBezTo>
                <a:cubicBezTo>
                  <a:pt x="3131261" y="813672"/>
                  <a:pt x="3136225" y="813672"/>
                  <a:pt x="3138706" y="808714"/>
                </a:cubicBezTo>
                <a:cubicBezTo>
                  <a:pt x="3141189" y="803753"/>
                  <a:pt x="3143670" y="798788"/>
                  <a:pt x="3148634" y="796308"/>
                </a:cubicBezTo>
                <a:cubicBezTo>
                  <a:pt x="3175939" y="781424"/>
                  <a:pt x="3203241" y="764061"/>
                  <a:pt x="3230546" y="746693"/>
                </a:cubicBezTo>
                <a:cubicBezTo>
                  <a:pt x="3235508" y="744215"/>
                  <a:pt x="3240472" y="741732"/>
                  <a:pt x="3247920" y="744215"/>
                </a:cubicBezTo>
                <a:cubicBezTo>
                  <a:pt x="3252884" y="746693"/>
                  <a:pt x="3257848" y="744215"/>
                  <a:pt x="3262812" y="741732"/>
                </a:cubicBezTo>
                <a:cubicBezTo>
                  <a:pt x="3272737" y="736771"/>
                  <a:pt x="3282669" y="729330"/>
                  <a:pt x="3292598" y="724368"/>
                </a:cubicBezTo>
                <a:cubicBezTo>
                  <a:pt x="3297559" y="721886"/>
                  <a:pt x="3300042" y="721886"/>
                  <a:pt x="3305006" y="721886"/>
                </a:cubicBezTo>
                <a:cubicBezTo>
                  <a:pt x="3314935" y="719407"/>
                  <a:pt x="3324864" y="714445"/>
                  <a:pt x="3329829" y="704522"/>
                </a:cubicBezTo>
                <a:cubicBezTo>
                  <a:pt x="3332309" y="704522"/>
                  <a:pt x="3332309" y="702040"/>
                  <a:pt x="3334793" y="702040"/>
                </a:cubicBezTo>
                <a:cubicBezTo>
                  <a:pt x="3339757" y="702040"/>
                  <a:pt x="3342240" y="702040"/>
                  <a:pt x="3344720" y="699561"/>
                </a:cubicBezTo>
                <a:cubicBezTo>
                  <a:pt x="3364577" y="687155"/>
                  <a:pt x="3384432" y="674754"/>
                  <a:pt x="3404292" y="662351"/>
                </a:cubicBezTo>
                <a:cubicBezTo>
                  <a:pt x="3421665" y="649946"/>
                  <a:pt x="3439039" y="640023"/>
                  <a:pt x="3456415" y="630101"/>
                </a:cubicBezTo>
                <a:cubicBezTo>
                  <a:pt x="3461379" y="627621"/>
                  <a:pt x="3463860" y="627621"/>
                  <a:pt x="3466343" y="627621"/>
                </a:cubicBezTo>
                <a:cubicBezTo>
                  <a:pt x="3468824" y="627621"/>
                  <a:pt x="3471308" y="627621"/>
                  <a:pt x="3471308" y="625138"/>
                </a:cubicBezTo>
                <a:cubicBezTo>
                  <a:pt x="3471308" y="620177"/>
                  <a:pt x="3473789" y="617698"/>
                  <a:pt x="3476272" y="617698"/>
                </a:cubicBezTo>
                <a:cubicBezTo>
                  <a:pt x="3483717" y="617698"/>
                  <a:pt x="3488681" y="615216"/>
                  <a:pt x="3496130" y="610255"/>
                </a:cubicBezTo>
                <a:cubicBezTo>
                  <a:pt x="3506057" y="602813"/>
                  <a:pt x="3518467" y="595370"/>
                  <a:pt x="3530879" y="587929"/>
                </a:cubicBezTo>
                <a:cubicBezTo>
                  <a:pt x="3535843" y="582967"/>
                  <a:pt x="3540808" y="582967"/>
                  <a:pt x="3545769" y="582967"/>
                </a:cubicBezTo>
                <a:cubicBezTo>
                  <a:pt x="3550733" y="582967"/>
                  <a:pt x="3555698" y="580485"/>
                  <a:pt x="3558181" y="575524"/>
                </a:cubicBezTo>
                <a:cubicBezTo>
                  <a:pt x="3560664" y="570565"/>
                  <a:pt x="3568109" y="565600"/>
                  <a:pt x="3575555" y="565600"/>
                </a:cubicBezTo>
                <a:cubicBezTo>
                  <a:pt x="3580519" y="565600"/>
                  <a:pt x="3585483" y="563121"/>
                  <a:pt x="3587966" y="558160"/>
                </a:cubicBezTo>
                <a:cubicBezTo>
                  <a:pt x="3590451" y="553199"/>
                  <a:pt x="3595412" y="548238"/>
                  <a:pt x="3600376" y="545758"/>
                </a:cubicBezTo>
                <a:cubicBezTo>
                  <a:pt x="3605340" y="543275"/>
                  <a:pt x="3607823" y="538314"/>
                  <a:pt x="3612788" y="535835"/>
                </a:cubicBezTo>
                <a:cubicBezTo>
                  <a:pt x="3622716" y="525912"/>
                  <a:pt x="3635126" y="525912"/>
                  <a:pt x="3647537" y="530873"/>
                </a:cubicBezTo>
                <a:cubicBezTo>
                  <a:pt x="3647537" y="530873"/>
                  <a:pt x="3650018" y="533353"/>
                  <a:pt x="3650018" y="535835"/>
                </a:cubicBezTo>
                <a:cubicBezTo>
                  <a:pt x="3650018" y="535835"/>
                  <a:pt x="3650018" y="540796"/>
                  <a:pt x="3647537" y="540796"/>
                </a:cubicBezTo>
                <a:cubicBezTo>
                  <a:pt x="3645054" y="543275"/>
                  <a:pt x="3642573" y="543275"/>
                  <a:pt x="3640090" y="545758"/>
                </a:cubicBezTo>
                <a:cubicBezTo>
                  <a:pt x="3632641" y="550717"/>
                  <a:pt x="3625197" y="555681"/>
                  <a:pt x="3617752" y="560642"/>
                </a:cubicBezTo>
                <a:cubicBezTo>
                  <a:pt x="3615269" y="560642"/>
                  <a:pt x="3615269" y="563121"/>
                  <a:pt x="3615269" y="563121"/>
                </a:cubicBezTo>
                <a:cubicBezTo>
                  <a:pt x="3617752" y="563121"/>
                  <a:pt x="3617752" y="565600"/>
                  <a:pt x="3620233" y="565600"/>
                </a:cubicBezTo>
                <a:cubicBezTo>
                  <a:pt x="3625197" y="568083"/>
                  <a:pt x="3627680" y="568083"/>
                  <a:pt x="3632641" y="565600"/>
                </a:cubicBezTo>
                <a:cubicBezTo>
                  <a:pt x="3642573" y="560642"/>
                  <a:pt x="3652502" y="553199"/>
                  <a:pt x="3662427" y="548238"/>
                </a:cubicBezTo>
                <a:cubicBezTo>
                  <a:pt x="3667391" y="545758"/>
                  <a:pt x="3669875" y="545758"/>
                  <a:pt x="3672359" y="545758"/>
                </a:cubicBezTo>
                <a:cubicBezTo>
                  <a:pt x="3679804" y="545758"/>
                  <a:pt x="3684768" y="540796"/>
                  <a:pt x="3687249" y="535835"/>
                </a:cubicBezTo>
                <a:cubicBezTo>
                  <a:pt x="3687249" y="533353"/>
                  <a:pt x="3689732" y="530873"/>
                  <a:pt x="3692213" y="528392"/>
                </a:cubicBezTo>
                <a:cubicBezTo>
                  <a:pt x="3697178" y="528392"/>
                  <a:pt x="3699661" y="525912"/>
                  <a:pt x="3702144" y="525912"/>
                </a:cubicBezTo>
                <a:cubicBezTo>
                  <a:pt x="3714554" y="528392"/>
                  <a:pt x="3726962" y="530873"/>
                  <a:pt x="3739375" y="533353"/>
                </a:cubicBezTo>
                <a:cubicBezTo>
                  <a:pt x="3744336" y="535835"/>
                  <a:pt x="3746819" y="533353"/>
                  <a:pt x="3749304" y="528392"/>
                </a:cubicBezTo>
                <a:cubicBezTo>
                  <a:pt x="3751784" y="525912"/>
                  <a:pt x="3751784" y="523429"/>
                  <a:pt x="3754268" y="523429"/>
                </a:cubicBezTo>
                <a:cubicBezTo>
                  <a:pt x="3759232" y="523429"/>
                  <a:pt x="3761713" y="523429"/>
                  <a:pt x="3766677" y="520950"/>
                </a:cubicBezTo>
                <a:cubicBezTo>
                  <a:pt x="3774121" y="515989"/>
                  <a:pt x="3781570" y="513507"/>
                  <a:pt x="3789018" y="508546"/>
                </a:cubicBezTo>
                <a:cubicBezTo>
                  <a:pt x="3796463" y="506066"/>
                  <a:pt x="3801427" y="498622"/>
                  <a:pt x="3811356" y="501104"/>
                </a:cubicBezTo>
                <a:cubicBezTo>
                  <a:pt x="3811356" y="501104"/>
                  <a:pt x="3813839" y="501104"/>
                  <a:pt x="3813839" y="501104"/>
                </a:cubicBezTo>
                <a:cubicBezTo>
                  <a:pt x="3821284" y="496143"/>
                  <a:pt x="3831213" y="493661"/>
                  <a:pt x="3836177" y="483737"/>
                </a:cubicBezTo>
                <a:cubicBezTo>
                  <a:pt x="3836177" y="481258"/>
                  <a:pt x="3838657" y="481258"/>
                  <a:pt x="3841141" y="481258"/>
                </a:cubicBezTo>
                <a:cubicBezTo>
                  <a:pt x="3846105" y="481258"/>
                  <a:pt x="3848585" y="481258"/>
                  <a:pt x="3851070" y="478776"/>
                </a:cubicBezTo>
                <a:cubicBezTo>
                  <a:pt x="3860998" y="473818"/>
                  <a:pt x="3870927" y="466375"/>
                  <a:pt x="3880852" y="461412"/>
                </a:cubicBezTo>
                <a:cubicBezTo>
                  <a:pt x="3883335" y="458933"/>
                  <a:pt x="3885816" y="456451"/>
                  <a:pt x="3888300" y="456451"/>
                </a:cubicBezTo>
                <a:cubicBezTo>
                  <a:pt x="3900712" y="458933"/>
                  <a:pt x="3910637" y="449010"/>
                  <a:pt x="3920566" y="444049"/>
                </a:cubicBezTo>
                <a:cubicBezTo>
                  <a:pt x="3925533" y="441566"/>
                  <a:pt x="3928013" y="441566"/>
                  <a:pt x="3930494" y="441566"/>
                </a:cubicBezTo>
                <a:cubicBezTo>
                  <a:pt x="3940423" y="439084"/>
                  <a:pt x="3950351" y="434126"/>
                  <a:pt x="3955316" y="424203"/>
                </a:cubicBezTo>
                <a:cubicBezTo>
                  <a:pt x="3957799" y="419241"/>
                  <a:pt x="3962763" y="416759"/>
                  <a:pt x="3967725" y="416759"/>
                </a:cubicBezTo>
                <a:cubicBezTo>
                  <a:pt x="3970208" y="416759"/>
                  <a:pt x="3972693" y="416759"/>
                  <a:pt x="3972693" y="414280"/>
                </a:cubicBezTo>
                <a:cubicBezTo>
                  <a:pt x="3975173" y="406835"/>
                  <a:pt x="3982621" y="404357"/>
                  <a:pt x="3990065" y="401874"/>
                </a:cubicBezTo>
                <a:cubicBezTo>
                  <a:pt x="4002477" y="401874"/>
                  <a:pt x="4009922" y="394434"/>
                  <a:pt x="4019851" y="389473"/>
                </a:cubicBezTo>
                <a:cubicBezTo>
                  <a:pt x="4022332" y="389473"/>
                  <a:pt x="4024815" y="386990"/>
                  <a:pt x="4027296" y="386990"/>
                </a:cubicBezTo>
                <a:cubicBezTo>
                  <a:pt x="4034744" y="389473"/>
                  <a:pt x="4039708" y="384510"/>
                  <a:pt x="4044672" y="382028"/>
                </a:cubicBezTo>
                <a:cubicBezTo>
                  <a:pt x="4067010" y="369627"/>
                  <a:pt x="4089350" y="354742"/>
                  <a:pt x="4111688" y="342337"/>
                </a:cubicBezTo>
                <a:cubicBezTo>
                  <a:pt x="4116653" y="339857"/>
                  <a:pt x="4121617" y="337378"/>
                  <a:pt x="4129062" y="337378"/>
                </a:cubicBezTo>
                <a:cubicBezTo>
                  <a:pt x="4134026" y="339857"/>
                  <a:pt x="4136510" y="337378"/>
                  <a:pt x="4138991" y="334896"/>
                </a:cubicBezTo>
                <a:cubicBezTo>
                  <a:pt x="4153883" y="324972"/>
                  <a:pt x="4171260" y="317532"/>
                  <a:pt x="4186152" y="307610"/>
                </a:cubicBezTo>
                <a:cubicBezTo>
                  <a:pt x="4188633" y="307610"/>
                  <a:pt x="4191117" y="305127"/>
                  <a:pt x="4193598" y="305127"/>
                </a:cubicBezTo>
                <a:cubicBezTo>
                  <a:pt x="4198562" y="307610"/>
                  <a:pt x="4201045" y="305127"/>
                  <a:pt x="4203526" y="300165"/>
                </a:cubicBezTo>
                <a:cubicBezTo>
                  <a:pt x="4203526" y="297686"/>
                  <a:pt x="4206010" y="295204"/>
                  <a:pt x="4208490" y="295204"/>
                </a:cubicBezTo>
                <a:cubicBezTo>
                  <a:pt x="4215935" y="295204"/>
                  <a:pt x="4220900" y="292725"/>
                  <a:pt x="4228347" y="287764"/>
                </a:cubicBezTo>
                <a:cubicBezTo>
                  <a:pt x="4243240" y="280319"/>
                  <a:pt x="4255653" y="272879"/>
                  <a:pt x="4268061" y="265435"/>
                </a:cubicBezTo>
                <a:cubicBezTo>
                  <a:pt x="4273026" y="262955"/>
                  <a:pt x="4275507" y="262955"/>
                  <a:pt x="4277990" y="262955"/>
                </a:cubicBezTo>
                <a:cubicBezTo>
                  <a:pt x="4287918" y="265435"/>
                  <a:pt x="4295364" y="265435"/>
                  <a:pt x="4302811" y="260474"/>
                </a:cubicBezTo>
                <a:cubicBezTo>
                  <a:pt x="4307775" y="260474"/>
                  <a:pt x="4315221" y="257994"/>
                  <a:pt x="4320185" y="255512"/>
                </a:cubicBezTo>
                <a:cubicBezTo>
                  <a:pt x="4327630" y="250550"/>
                  <a:pt x="4337561" y="245589"/>
                  <a:pt x="4345006" y="240628"/>
                </a:cubicBezTo>
                <a:cubicBezTo>
                  <a:pt x="4347489" y="238149"/>
                  <a:pt x="4352450" y="238149"/>
                  <a:pt x="4354935" y="238149"/>
                </a:cubicBezTo>
                <a:cubicBezTo>
                  <a:pt x="4359899" y="238149"/>
                  <a:pt x="4362379" y="238149"/>
                  <a:pt x="4364863" y="235667"/>
                </a:cubicBezTo>
                <a:cubicBezTo>
                  <a:pt x="4372311" y="233188"/>
                  <a:pt x="4377272" y="230706"/>
                  <a:pt x="4384720" y="225747"/>
                </a:cubicBezTo>
                <a:cubicBezTo>
                  <a:pt x="4389684" y="223264"/>
                  <a:pt x="4394649" y="220785"/>
                  <a:pt x="4399613" y="220785"/>
                </a:cubicBezTo>
                <a:cubicBezTo>
                  <a:pt x="4399613" y="220785"/>
                  <a:pt x="4402094" y="218303"/>
                  <a:pt x="4404577" y="218303"/>
                </a:cubicBezTo>
                <a:cubicBezTo>
                  <a:pt x="4412021" y="213342"/>
                  <a:pt x="4416987" y="208381"/>
                  <a:pt x="4424434" y="205901"/>
                </a:cubicBezTo>
                <a:cubicBezTo>
                  <a:pt x="4424434" y="203418"/>
                  <a:pt x="4426914" y="203418"/>
                  <a:pt x="4429398" y="203418"/>
                </a:cubicBezTo>
                <a:cubicBezTo>
                  <a:pt x="4434363" y="203418"/>
                  <a:pt x="4439324" y="200939"/>
                  <a:pt x="4444291" y="198457"/>
                </a:cubicBezTo>
                <a:cubicBezTo>
                  <a:pt x="4454220" y="193496"/>
                  <a:pt x="4464146" y="186055"/>
                  <a:pt x="4474077" y="181093"/>
                </a:cubicBezTo>
                <a:cubicBezTo>
                  <a:pt x="4486485" y="181093"/>
                  <a:pt x="4493931" y="173650"/>
                  <a:pt x="4503859" y="168689"/>
                </a:cubicBezTo>
                <a:cubicBezTo>
                  <a:pt x="4511307" y="163726"/>
                  <a:pt x="4516272" y="158765"/>
                  <a:pt x="4523717" y="156286"/>
                </a:cubicBezTo>
                <a:cubicBezTo>
                  <a:pt x="4523717" y="153804"/>
                  <a:pt x="4526200" y="153804"/>
                  <a:pt x="4528681" y="153804"/>
                </a:cubicBezTo>
                <a:cubicBezTo>
                  <a:pt x="4533644" y="153804"/>
                  <a:pt x="4536129" y="153804"/>
                  <a:pt x="4541093" y="151325"/>
                </a:cubicBezTo>
                <a:cubicBezTo>
                  <a:pt x="4546056" y="146363"/>
                  <a:pt x="4553501" y="143880"/>
                  <a:pt x="4558467" y="141401"/>
                </a:cubicBezTo>
                <a:cubicBezTo>
                  <a:pt x="4563430" y="138919"/>
                  <a:pt x="4565914" y="138919"/>
                  <a:pt x="4570878" y="138919"/>
                </a:cubicBezTo>
                <a:cubicBezTo>
                  <a:pt x="4575839" y="141401"/>
                  <a:pt x="4583287" y="141401"/>
                  <a:pt x="4588252" y="136440"/>
                </a:cubicBezTo>
                <a:cubicBezTo>
                  <a:pt x="4593215" y="133958"/>
                  <a:pt x="4600662" y="128996"/>
                  <a:pt x="4610589" y="128996"/>
                </a:cubicBezTo>
                <a:cubicBezTo>
                  <a:pt x="4610589" y="128996"/>
                  <a:pt x="4613072" y="126516"/>
                  <a:pt x="4615553" y="126516"/>
                </a:cubicBezTo>
                <a:cubicBezTo>
                  <a:pt x="4625482" y="121555"/>
                  <a:pt x="4632930" y="114115"/>
                  <a:pt x="4645339" y="114115"/>
                </a:cubicBezTo>
                <a:cubicBezTo>
                  <a:pt x="4650303" y="111633"/>
                  <a:pt x="4655267" y="109150"/>
                  <a:pt x="4660232" y="106670"/>
                </a:cubicBezTo>
                <a:cubicBezTo>
                  <a:pt x="4672644" y="99230"/>
                  <a:pt x="4685053" y="99230"/>
                  <a:pt x="4697466" y="99230"/>
                </a:cubicBezTo>
                <a:cubicBezTo>
                  <a:pt x="4699946" y="99230"/>
                  <a:pt x="4702429" y="99230"/>
                  <a:pt x="4704910" y="99230"/>
                </a:cubicBezTo>
                <a:cubicBezTo>
                  <a:pt x="4709874" y="99230"/>
                  <a:pt x="4714839" y="96748"/>
                  <a:pt x="4717319" y="91787"/>
                </a:cubicBezTo>
                <a:cubicBezTo>
                  <a:pt x="4719803" y="86824"/>
                  <a:pt x="4724768" y="81863"/>
                  <a:pt x="4729731" y="79384"/>
                </a:cubicBezTo>
                <a:cubicBezTo>
                  <a:pt x="4749588" y="66978"/>
                  <a:pt x="4769445" y="54577"/>
                  <a:pt x="4789302" y="42171"/>
                </a:cubicBezTo>
                <a:cubicBezTo>
                  <a:pt x="4794267" y="39692"/>
                  <a:pt x="4796748" y="39692"/>
                  <a:pt x="4801712" y="39692"/>
                </a:cubicBezTo>
                <a:cubicBezTo>
                  <a:pt x="4801712" y="39692"/>
                  <a:pt x="4804193" y="39692"/>
                  <a:pt x="4804193" y="39692"/>
                </a:cubicBezTo>
                <a:cubicBezTo>
                  <a:pt x="4809159" y="34731"/>
                  <a:pt x="4816605" y="32249"/>
                  <a:pt x="4821569" y="29770"/>
                </a:cubicBezTo>
                <a:cubicBezTo>
                  <a:pt x="4826533" y="27287"/>
                  <a:pt x="4833977" y="27287"/>
                  <a:pt x="4838945" y="24807"/>
                </a:cubicBezTo>
                <a:cubicBezTo>
                  <a:pt x="4838945" y="24807"/>
                  <a:pt x="4841426" y="22325"/>
                  <a:pt x="4841426" y="22325"/>
                </a:cubicBezTo>
                <a:cubicBezTo>
                  <a:pt x="4846390" y="19846"/>
                  <a:pt x="4851354" y="17364"/>
                  <a:pt x="4856319" y="17364"/>
                </a:cubicBezTo>
                <a:cubicBezTo>
                  <a:pt x="4861283" y="17364"/>
                  <a:pt x="4868730" y="17364"/>
                  <a:pt x="4873691" y="14885"/>
                </a:cubicBezTo>
                <a:cubicBezTo>
                  <a:pt x="4878657" y="12403"/>
                  <a:pt x="4883621" y="9924"/>
                  <a:pt x="4888585" y="9924"/>
                </a:cubicBezTo>
                <a:cubicBezTo>
                  <a:pt x="4893548" y="12403"/>
                  <a:pt x="4898514" y="9924"/>
                  <a:pt x="4903478" y="9924"/>
                </a:cubicBezTo>
                <a:cubicBezTo>
                  <a:pt x="4908442" y="9924"/>
                  <a:pt x="4913406" y="4961"/>
                  <a:pt x="4920854" y="4961"/>
                </a:cubicBezTo>
                <a:cubicBezTo>
                  <a:pt x="4928299" y="4961"/>
                  <a:pt x="4933263" y="2482"/>
                  <a:pt x="4940708" y="2482"/>
                </a:cubicBezTo>
                <a:cubicBezTo>
                  <a:pt x="4945672" y="2482"/>
                  <a:pt x="4953120" y="0"/>
                  <a:pt x="4958085" y="0"/>
                </a:cubicBezTo>
                <a:cubicBezTo>
                  <a:pt x="4960565" y="0"/>
                  <a:pt x="4965529" y="2482"/>
                  <a:pt x="4965529" y="4961"/>
                </a:cubicBezTo>
                <a:cubicBezTo>
                  <a:pt x="4965529" y="7441"/>
                  <a:pt x="4963049" y="7441"/>
                  <a:pt x="4963049" y="9924"/>
                </a:cubicBezTo>
                <a:cubicBezTo>
                  <a:pt x="4963049" y="12403"/>
                  <a:pt x="4960565" y="12403"/>
                  <a:pt x="4960565" y="12403"/>
                </a:cubicBezTo>
                <a:cubicBezTo>
                  <a:pt x="4953120" y="14885"/>
                  <a:pt x="4953120" y="22325"/>
                  <a:pt x="4953120" y="27287"/>
                </a:cubicBezTo>
                <a:cubicBezTo>
                  <a:pt x="4953120" y="34731"/>
                  <a:pt x="4953120" y="37210"/>
                  <a:pt x="4945672" y="42171"/>
                </a:cubicBezTo>
                <a:cubicBezTo>
                  <a:pt x="4935743" y="49616"/>
                  <a:pt x="4923335" y="57056"/>
                  <a:pt x="4910922" y="64500"/>
                </a:cubicBezTo>
                <a:cubicBezTo>
                  <a:pt x="4898514" y="74423"/>
                  <a:pt x="4883621" y="81863"/>
                  <a:pt x="4871211" y="91787"/>
                </a:cubicBezTo>
                <a:cubicBezTo>
                  <a:pt x="4868730" y="94266"/>
                  <a:pt x="4866247" y="96748"/>
                  <a:pt x="4866247" y="101709"/>
                </a:cubicBezTo>
                <a:cubicBezTo>
                  <a:pt x="4863764" y="106670"/>
                  <a:pt x="4866247" y="109150"/>
                  <a:pt x="4871211" y="111633"/>
                </a:cubicBezTo>
                <a:cubicBezTo>
                  <a:pt x="4873691" y="111633"/>
                  <a:pt x="4873691" y="111633"/>
                  <a:pt x="4876176" y="114115"/>
                </a:cubicBezTo>
                <a:cubicBezTo>
                  <a:pt x="4878657" y="114115"/>
                  <a:pt x="4878657" y="116594"/>
                  <a:pt x="4878657" y="119073"/>
                </a:cubicBezTo>
                <a:cubicBezTo>
                  <a:pt x="4878657" y="119073"/>
                  <a:pt x="4876176" y="121555"/>
                  <a:pt x="4876176" y="121555"/>
                </a:cubicBezTo>
                <a:cubicBezTo>
                  <a:pt x="4871211" y="121555"/>
                  <a:pt x="4868730" y="121555"/>
                  <a:pt x="4863764" y="124034"/>
                </a:cubicBezTo>
                <a:cubicBezTo>
                  <a:pt x="4856319" y="126516"/>
                  <a:pt x="4851354" y="128996"/>
                  <a:pt x="4843909" y="133958"/>
                </a:cubicBezTo>
                <a:cubicBezTo>
                  <a:pt x="4838945" y="136440"/>
                  <a:pt x="4833977" y="133958"/>
                  <a:pt x="4831497" y="136440"/>
                </a:cubicBezTo>
                <a:cubicBezTo>
                  <a:pt x="4829014" y="138919"/>
                  <a:pt x="4829014" y="141401"/>
                  <a:pt x="4826533" y="143880"/>
                </a:cubicBezTo>
                <a:cubicBezTo>
                  <a:pt x="4824050" y="148841"/>
                  <a:pt x="4819088" y="151325"/>
                  <a:pt x="4814124" y="153804"/>
                </a:cubicBezTo>
                <a:cubicBezTo>
                  <a:pt x="4809159" y="156286"/>
                  <a:pt x="4806676" y="158765"/>
                  <a:pt x="4806676" y="161247"/>
                </a:cubicBezTo>
                <a:cubicBezTo>
                  <a:pt x="4806676" y="166209"/>
                  <a:pt x="4804193" y="168689"/>
                  <a:pt x="4799227" y="171171"/>
                </a:cubicBezTo>
                <a:cubicBezTo>
                  <a:pt x="4791783" y="173650"/>
                  <a:pt x="4786819" y="178611"/>
                  <a:pt x="4781855" y="181093"/>
                </a:cubicBezTo>
                <a:cubicBezTo>
                  <a:pt x="4776891" y="186055"/>
                  <a:pt x="4776891" y="191016"/>
                  <a:pt x="4776891" y="198457"/>
                </a:cubicBezTo>
                <a:cubicBezTo>
                  <a:pt x="4776891" y="200939"/>
                  <a:pt x="4781855" y="203418"/>
                  <a:pt x="4784338" y="203418"/>
                </a:cubicBezTo>
                <a:cubicBezTo>
                  <a:pt x="4784338" y="205901"/>
                  <a:pt x="4786819" y="205901"/>
                  <a:pt x="4786819" y="205901"/>
                </a:cubicBezTo>
                <a:cubicBezTo>
                  <a:pt x="4786819" y="208381"/>
                  <a:pt x="4786819" y="210862"/>
                  <a:pt x="4784338" y="210862"/>
                </a:cubicBezTo>
                <a:cubicBezTo>
                  <a:pt x="4784338" y="213342"/>
                  <a:pt x="4781855" y="213342"/>
                  <a:pt x="4779374" y="213342"/>
                </a:cubicBezTo>
                <a:cubicBezTo>
                  <a:pt x="4776891" y="213342"/>
                  <a:pt x="4774410" y="213342"/>
                  <a:pt x="4774410" y="215821"/>
                </a:cubicBezTo>
                <a:cubicBezTo>
                  <a:pt x="4774410" y="220785"/>
                  <a:pt x="4771926" y="223264"/>
                  <a:pt x="4766962" y="225747"/>
                </a:cubicBezTo>
                <a:cubicBezTo>
                  <a:pt x="4759518" y="228226"/>
                  <a:pt x="4752069" y="233188"/>
                  <a:pt x="4744624" y="238149"/>
                </a:cubicBezTo>
                <a:cubicBezTo>
                  <a:pt x="4739661" y="240628"/>
                  <a:pt x="4734696" y="245589"/>
                  <a:pt x="4732216" y="250550"/>
                </a:cubicBezTo>
                <a:cubicBezTo>
                  <a:pt x="4729731" y="255513"/>
                  <a:pt x="4727251" y="255513"/>
                  <a:pt x="4722284" y="257995"/>
                </a:cubicBezTo>
                <a:cubicBezTo>
                  <a:pt x="4714839" y="255513"/>
                  <a:pt x="4707393" y="260474"/>
                  <a:pt x="4699946" y="265435"/>
                </a:cubicBezTo>
                <a:cubicBezTo>
                  <a:pt x="4694981" y="270398"/>
                  <a:pt x="4687534" y="272879"/>
                  <a:pt x="4682573" y="275359"/>
                </a:cubicBezTo>
                <a:cubicBezTo>
                  <a:pt x="4672644" y="280320"/>
                  <a:pt x="4667680" y="287764"/>
                  <a:pt x="4665197" y="297687"/>
                </a:cubicBezTo>
                <a:cubicBezTo>
                  <a:pt x="4665197" y="302648"/>
                  <a:pt x="4662713" y="302648"/>
                  <a:pt x="4660232" y="305127"/>
                </a:cubicBezTo>
                <a:cubicBezTo>
                  <a:pt x="4650303" y="312571"/>
                  <a:pt x="4640375" y="317532"/>
                  <a:pt x="4630446" y="324973"/>
                </a:cubicBezTo>
                <a:cubicBezTo>
                  <a:pt x="4627965" y="324973"/>
                  <a:pt x="4627965" y="329935"/>
                  <a:pt x="4627965" y="332417"/>
                </a:cubicBezTo>
                <a:cubicBezTo>
                  <a:pt x="4627965" y="332417"/>
                  <a:pt x="4627965" y="337378"/>
                  <a:pt x="4627965" y="337378"/>
                </a:cubicBezTo>
                <a:cubicBezTo>
                  <a:pt x="4623001" y="342337"/>
                  <a:pt x="4618038" y="347302"/>
                  <a:pt x="4613072" y="354742"/>
                </a:cubicBezTo>
                <a:cubicBezTo>
                  <a:pt x="4610589" y="357222"/>
                  <a:pt x="4608108" y="359704"/>
                  <a:pt x="4603145" y="362183"/>
                </a:cubicBezTo>
                <a:cubicBezTo>
                  <a:pt x="4600662" y="364665"/>
                  <a:pt x="4598180" y="367144"/>
                  <a:pt x="4598180" y="369627"/>
                </a:cubicBezTo>
                <a:cubicBezTo>
                  <a:pt x="4598180" y="379550"/>
                  <a:pt x="4600662" y="391952"/>
                  <a:pt x="4603145" y="399395"/>
                </a:cubicBezTo>
                <a:cubicBezTo>
                  <a:pt x="4605625" y="404358"/>
                  <a:pt x="4610589" y="409319"/>
                  <a:pt x="4613072" y="414280"/>
                </a:cubicBezTo>
                <a:cubicBezTo>
                  <a:pt x="4613072" y="414280"/>
                  <a:pt x="4613072" y="419241"/>
                  <a:pt x="4613072" y="419241"/>
                </a:cubicBezTo>
                <a:cubicBezTo>
                  <a:pt x="4603145" y="426682"/>
                  <a:pt x="4593215" y="434126"/>
                  <a:pt x="4580804" y="439085"/>
                </a:cubicBezTo>
                <a:cubicBezTo>
                  <a:pt x="4578323" y="439085"/>
                  <a:pt x="4575839" y="439085"/>
                  <a:pt x="4573359" y="439085"/>
                </a:cubicBezTo>
                <a:cubicBezTo>
                  <a:pt x="4570878" y="439085"/>
                  <a:pt x="4568394" y="441567"/>
                  <a:pt x="4568394" y="449011"/>
                </a:cubicBezTo>
                <a:cubicBezTo>
                  <a:pt x="4565914" y="449011"/>
                  <a:pt x="4568394" y="451490"/>
                  <a:pt x="4570878" y="451490"/>
                </a:cubicBezTo>
                <a:cubicBezTo>
                  <a:pt x="4570878" y="451490"/>
                  <a:pt x="4573359" y="451490"/>
                  <a:pt x="4573359" y="451490"/>
                </a:cubicBezTo>
                <a:cubicBezTo>
                  <a:pt x="4573359" y="456451"/>
                  <a:pt x="4573359" y="461413"/>
                  <a:pt x="4570878" y="463892"/>
                </a:cubicBezTo>
                <a:cubicBezTo>
                  <a:pt x="4570878" y="466375"/>
                  <a:pt x="4565914" y="466375"/>
                  <a:pt x="4563430" y="466375"/>
                </a:cubicBezTo>
                <a:cubicBezTo>
                  <a:pt x="4560950" y="466375"/>
                  <a:pt x="4558467" y="466375"/>
                  <a:pt x="4558467" y="468853"/>
                </a:cubicBezTo>
                <a:cubicBezTo>
                  <a:pt x="4558467" y="471336"/>
                  <a:pt x="4555986" y="473818"/>
                  <a:pt x="4553501" y="476297"/>
                </a:cubicBezTo>
                <a:cubicBezTo>
                  <a:pt x="4551018" y="481258"/>
                  <a:pt x="4546056" y="483738"/>
                  <a:pt x="4541093" y="486221"/>
                </a:cubicBezTo>
                <a:cubicBezTo>
                  <a:pt x="4536129" y="488700"/>
                  <a:pt x="4533644" y="491182"/>
                  <a:pt x="4533644" y="496143"/>
                </a:cubicBezTo>
                <a:cubicBezTo>
                  <a:pt x="4533644" y="503584"/>
                  <a:pt x="4531163" y="508546"/>
                  <a:pt x="4523717" y="511028"/>
                </a:cubicBezTo>
                <a:cubicBezTo>
                  <a:pt x="4516272" y="515989"/>
                  <a:pt x="4508827" y="520950"/>
                  <a:pt x="4506342" y="528392"/>
                </a:cubicBezTo>
                <a:cubicBezTo>
                  <a:pt x="4503859" y="530874"/>
                  <a:pt x="4498895" y="533353"/>
                  <a:pt x="4496415" y="535835"/>
                </a:cubicBezTo>
                <a:cubicBezTo>
                  <a:pt x="4493931" y="540796"/>
                  <a:pt x="4488966" y="543276"/>
                  <a:pt x="4484005" y="545759"/>
                </a:cubicBezTo>
                <a:cubicBezTo>
                  <a:pt x="4479041" y="548238"/>
                  <a:pt x="4479041" y="555681"/>
                  <a:pt x="4474077" y="558160"/>
                </a:cubicBezTo>
                <a:cubicBezTo>
                  <a:pt x="4471592" y="560642"/>
                  <a:pt x="4471592" y="563121"/>
                  <a:pt x="4476558" y="563121"/>
                </a:cubicBezTo>
                <a:cubicBezTo>
                  <a:pt x="4481522" y="563121"/>
                  <a:pt x="4484005" y="563121"/>
                  <a:pt x="4486485" y="558160"/>
                </a:cubicBezTo>
                <a:cubicBezTo>
                  <a:pt x="4488966" y="555681"/>
                  <a:pt x="4488966" y="553199"/>
                  <a:pt x="4491449" y="553199"/>
                </a:cubicBezTo>
                <a:cubicBezTo>
                  <a:pt x="4493931" y="550717"/>
                  <a:pt x="4498895" y="553199"/>
                  <a:pt x="4498895" y="555681"/>
                </a:cubicBezTo>
                <a:cubicBezTo>
                  <a:pt x="4498895" y="560642"/>
                  <a:pt x="4498895" y="563121"/>
                  <a:pt x="4498895" y="565601"/>
                </a:cubicBezTo>
                <a:cubicBezTo>
                  <a:pt x="4498895" y="568084"/>
                  <a:pt x="4498895" y="568084"/>
                  <a:pt x="4496415" y="570566"/>
                </a:cubicBezTo>
                <a:cubicBezTo>
                  <a:pt x="4491449" y="578006"/>
                  <a:pt x="4486485" y="585451"/>
                  <a:pt x="4481522" y="592891"/>
                </a:cubicBezTo>
                <a:cubicBezTo>
                  <a:pt x="4474077" y="600331"/>
                  <a:pt x="4464146" y="605293"/>
                  <a:pt x="4454220" y="610255"/>
                </a:cubicBezTo>
                <a:cubicBezTo>
                  <a:pt x="4454220" y="610255"/>
                  <a:pt x="4454220" y="610255"/>
                  <a:pt x="4456701" y="610255"/>
                </a:cubicBezTo>
                <a:cubicBezTo>
                  <a:pt x="4461664" y="610255"/>
                  <a:pt x="4466629" y="610255"/>
                  <a:pt x="4471592" y="607776"/>
                </a:cubicBezTo>
                <a:cubicBezTo>
                  <a:pt x="4488966" y="602813"/>
                  <a:pt x="4506342" y="597852"/>
                  <a:pt x="4523717" y="590409"/>
                </a:cubicBezTo>
                <a:cubicBezTo>
                  <a:pt x="4523717" y="592891"/>
                  <a:pt x="4523717" y="595370"/>
                  <a:pt x="4523717" y="597852"/>
                </a:cubicBezTo>
                <a:cubicBezTo>
                  <a:pt x="4513787" y="602813"/>
                  <a:pt x="4506342" y="610255"/>
                  <a:pt x="4493931" y="607776"/>
                </a:cubicBezTo>
                <a:cubicBezTo>
                  <a:pt x="4491449" y="605293"/>
                  <a:pt x="4486485" y="607776"/>
                  <a:pt x="4484005" y="610255"/>
                </a:cubicBezTo>
                <a:cubicBezTo>
                  <a:pt x="4476558" y="612737"/>
                  <a:pt x="4474077" y="617698"/>
                  <a:pt x="4466629" y="615216"/>
                </a:cubicBezTo>
                <a:cubicBezTo>
                  <a:pt x="4464146" y="612737"/>
                  <a:pt x="4461664" y="615216"/>
                  <a:pt x="4459184" y="617698"/>
                </a:cubicBezTo>
                <a:cubicBezTo>
                  <a:pt x="4449255" y="622659"/>
                  <a:pt x="4439324" y="630101"/>
                  <a:pt x="4426914" y="632583"/>
                </a:cubicBezTo>
                <a:cubicBezTo>
                  <a:pt x="4426914" y="632583"/>
                  <a:pt x="4424434" y="632583"/>
                  <a:pt x="4424434" y="632583"/>
                </a:cubicBezTo>
                <a:cubicBezTo>
                  <a:pt x="4421951" y="635062"/>
                  <a:pt x="4421951" y="637544"/>
                  <a:pt x="4419470" y="640023"/>
                </a:cubicBezTo>
                <a:cubicBezTo>
                  <a:pt x="4416987" y="642505"/>
                  <a:pt x="4414506" y="642505"/>
                  <a:pt x="4412021" y="644984"/>
                </a:cubicBezTo>
                <a:cubicBezTo>
                  <a:pt x="4412021" y="644984"/>
                  <a:pt x="4412021" y="647468"/>
                  <a:pt x="4412021" y="647468"/>
                </a:cubicBezTo>
                <a:cubicBezTo>
                  <a:pt x="4414506" y="649947"/>
                  <a:pt x="4416987" y="649947"/>
                  <a:pt x="4419470" y="652429"/>
                </a:cubicBezTo>
                <a:cubicBezTo>
                  <a:pt x="4416987" y="657390"/>
                  <a:pt x="4412021" y="659869"/>
                  <a:pt x="4407057" y="662351"/>
                </a:cubicBezTo>
                <a:cubicBezTo>
                  <a:pt x="4431879" y="654908"/>
                  <a:pt x="4491449" y="640023"/>
                  <a:pt x="4488966" y="644984"/>
                </a:cubicBezTo>
                <a:cubicBezTo>
                  <a:pt x="4486485" y="652429"/>
                  <a:pt x="4479041" y="654908"/>
                  <a:pt x="4476558" y="659869"/>
                </a:cubicBezTo>
                <a:cubicBezTo>
                  <a:pt x="4481522" y="657390"/>
                  <a:pt x="4488966" y="654908"/>
                  <a:pt x="4493931" y="652429"/>
                </a:cubicBezTo>
                <a:cubicBezTo>
                  <a:pt x="4523717" y="642505"/>
                  <a:pt x="4551018" y="632583"/>
                  <a:pt x="4580804" y="625139"/>
                </a:cubicBezTo>
                <a:cubicBezTo>
                  <a:pt x="4578323" y="630101"/>
                  <a:pt x="4575839" y="632583"/>
                  <a:pt x="4573359" y="635062"/>
                </a:cubicBezTo>
                <a:cubicBezTo>
                  <a:pt x="4575839" y="635062"/>
                  <a:pt x="4578323" y="637544"/>
                  <a:pt x="4583287" y="640023"/>
                </a:cubicBezTo>
                <a:cubicBezTo>
                  <a:pt x="4568394" y="644984"/>
                  <a:pt x="4555986" y="649947"/>
                  <a:pt x="4541093" y="654908"/>
                </a:cubicBezTo>
                <a:cubicBezTo>
                  <a:pt x="4538609" y="654908"/>
                  <a:pt x="4538609" y="654908"/>
                  <a:pt x="4536129" y="654908"/>
                </a:cubicBezTo>
                <a:cubicBezTo>
                  <a:pt x="4526200" y="654908"/>
                  <a:pt x="4516272" y="654908"/>
                  <a:pt x="4511307" y="664830"/>
                </a:cubicBezTo>
                <a:cubicBezTo>
                  <a:pt x="4508827" y="669793"/>
                  <a:pt x="4503859" y="674754"/>
                  <a:pt x="4496415" y="672275"/>
                </a:cubicBezTo>
                <a:cubicBezTo>
                  <a:pt x="4498895" y="669793"/>
                  <a:pt x="4498895" y="667314"/>
                  <a:pt x="4503859" y="662351"/>
                </a:cubicBezTo>
                <a:cubicBezTo>
                  <a:pt x="4491449" y="667314"/>
                  <a:pt x="4484005" y="667314"/>
                  <a:pt x="4476558" y="677233"/>
                </a:cubicBezTo>
                <a:cubicBezTo>
                  <a:pt x="4474077" y="682197"/>
                  <a:pt x="4466629" y="684676"/>
                  <a:pt x="4461664" y="687156"/>
                </a:cubicBezTo>
                <a:cubicBezTo>
                  <a:pt x="4461664" y="689639"/>
                  <a:pt x="4459184" y="689639"/>
                  <a:pt x="4456701" y="692118"/>
                </a:cubicBezTo>
                <a:cubicBezTo>
                  <a:pt x="4454220" y="692118"/>
                  <a:pt x="4454220" y="694600"/>
                  <a:pt x="4454220" y="694600"/>
                </a:cubicBezTo>
                <a:cubicBezTo>
                  <a:pt x="4454220" y="697082"/>
                  <a:pt x="4454220" y="699561"/>
                  <a:pt x="4456701" y="702040"/>
                </a:cubicBezTo>
                <a:cubicBezTo>
                  <a:pt x="4471592" y="697082"/>
                  <a:pt x="4486485" y="689639"/>
                  <a:pt x="4498895" y="684676"/>
                </a:cubicBezTo>
                <a:cubicBezTo>
                  <a:pt x="4513787" y="677233"/>
                  <a:pt x="4528681" y="672275"/>
                  <a:pt x="4543574" y="667314"/>
                </a:cubicBezTo>
                <a:cubicBezTo>
                  <a:pt x="4558467" y="662351"/>
                  <a:pt x="4573359" y="659869"/>
                  <a:pt x="4588252" y="654908"/>
                </a:cubicBezTo>
                <a:cubicBezTo>
                  <a:pt x="4588252" y="657390"/>
                  <a:pt x="4588252" y="659869"/>
                  <a:pt x="4590736" y="664830"/>
                </a:cubicBezTo>
                <a:cubicBezTo>
                  <a:pt x="4588252" y="667314"/>
                  <a:pt x="4585771" y="669793"/>
                  <a:pt x="4583287" y="669793"/>
                </a:cubicBezTo>
                <a:cubicBezTo>
                  <a:pt x="4570878" y="674754"/>
                  <a:pt x="4555986" y="679715"/>
                  <a:pt x="4543574" y="684676"/>
                </a:cubicBezTo>
                <a:cubicBezTo>
                  <a:pt x="4538609" y="687156"/>
                  <a:pt x="4536129" y="689639"/>
                  <a:pt x="4533644" y="697082"/>
                </a:cubicBezTo>
                <a:cubicBezTo>
                  <a:pt x="4533644" y="707002"/>
                  <a:pt x="4526200" y="709485"/>
                  <a:pt x="4523717" y="719407"/>
                </a:cubicBezTo>
                <a:cubicBezTo>
                  <a:pt x="4523717" y="721886"/>
                  <a:pt x="4523717" y="724368"/>
                  <a:pt x="4523717" y="726847"/>
                </a:cubicBezTo>
                <a:cubicBezTo>
                  <a:pt x="4516272" y="719407"/>
                  <a:pt x="4506342" y="736771"/>
                  <a:pt x="4498895" y="721886"/>
                </a:cubicBezTo>
                <a:cubicBezTo>
                  <a:pt x="4493931" y="724368"/>
                  <a:pt x="4491449" y="726847"/>
                  <a:pt x="4486485" y="729331"/>
                </a:cubicBezTo>
                <a:cubicBezTo>
                  <a:pt x="4486485" y="729331"/>
                  <a:pt x="4486485" y="731810"/>
                  <a:pt x="4488966" y="736771"/>
                </a:cubicBezTo>
                <a:lnTo>
                  <a:pt x="4482549" y="739239"/>
                </a:lnTo>
                <a:lnTo>
                  <a:pt x="4484005" y="734292"/>
                </a:lnTo>
                <a:lnTo>
                  <a:pt x="4476872" y="741421"/>
                </a:lnTo>
                <a:lnTo>
                  <a:pt x="4456701" y="749177"/>
                </a:lnTo>
                <a:lnTo>
                  <a:pt x="4457942" y="756617"/>
                </a:lnTo>
                <a:lnTo>
                  <a:pt x="4456701" y="756617"/>
                </a:lnTo>
                <a:lnTo>
                  <a:pt x="4458015" y="757056"/>
                </a:lnTo>
                <a:lnTo>
                  <a:pt x="4459184" y="764061"/>
                </a:lnTo>
                <a:cubicBezTo>
                  <a:pt x="4459184" y="771502"/>
                  <a:pt x="4456701" y="776463"/>
                  <a:pt x="4454220" y="781424"/>
                </a:cubicBezTo>
                <a:cubicBezTo>
                  <a:pt x="4451736" y="786386"/>
                  <a:pt x="4449255" y="788868"/>
                  <a:pt x="4444291" y="788868"/>
                </a:cubicBezTo>
                <a:cubicBezTo>
                  <a:pt x="4439324" y="788868"/>
                  <a:pt x="4434363" y="788868"/>
                  <a:pt x="4429398" y="791348"/>
                </a:cubicBezTo>
                <a:cubicBezTo>
                  <a:pt x="4424434" y="793830"/>
                  <a:pt x="4419470" y="793830"/>
                  <a:pt x="4416987" y="798788"/>
                </a:cubicBezTo>
                <a:cubicBezTo>
                  <a:pt x="4414506" y="808714"/>
                  <a:pt x="4407057" y="806232"/>
                  <a:pt x="4399613" y="806232"/>
                </a:cubicBezTo>
                <a:cubicBezTo>
                  <a:pt x="4389684" y="806232"/>
                  <a:pt x="4382236" y="811194"/>
                  <a:pt x="4377272" y="818634"/>
                </a:cubicBezTo>
                <a:cubicBezTo>
                  <a:pt x="4374792" y="818634"/>
                  <a:pt x="4374792" y="821116"/>
                  <a:pt x="4374792" y="826078"/>
                </a:cubicBezTo>
                <a:cubicBezTo>
                  <a:pt x="4382236" y="823595"/>
                  <a:pt x="4387201" y="821116"/>
                  <a:pt x="4392164" y="818634"/>
                </a:cubicBezTo>
                <a:cubicBezTo>
                  <a:pt x="4394649" y="821116"/>
                  <a:pt x="4394649" y="831039"/>
                  <a:pt x="4399613" y="826078"/>
                </a:cubicBezTo>
                <a:cubicBezTo>
                  <a:pt x="4404577" y="818634"/>
                  <a:pt x="4412021" y="818634"/>
                  <a:pt x="4416987" y="816155"/>
                </a:cubicBezTo>
                <a:cubicBezTo>
                  <a:pt x="4429398" y="811194"/>
                  <a:pt x="4441807" y="806232"/>
                  <a:pt x="4454220" y="798788"/>
                </a:cubicBezTo>
                <a:cubicBezTo>
                  <a:pt x="4461664" y="793830"/>
                  <a:pt x="4469109" y="788868"/>
                  <a:pt x="4474077" y="778945"/>
                </a:cubicBezTo>
                <a:cubicBezTo>
                  <a:pt x="4471592" y="776463"/>
                  <a:pt x="4469109" y="776463"/>
                  <a:pt x="4469109" y="773984"/>
                </a:cubicBezTo>
                <a:cubicBezTo>
                  <a:pt x="4466629" y="771502"/>
                  <a:pt x="4466629" y="766539"/>
                  <a:pt x="4466629" y="764061"/>
                </a:cubicBezTo>
                <a:cubicBezTo>
                  <a:pt x="4466629" y="764061"/>
                  <a:pt x="4471592" y="761578"/>
                  <a:pt x="4474077" y="761578"/>
                </a:cubicBezTo>
                <a:cubicBezTo>
                  <a:pt x="4486485" y="761578"/>
                  <a:pt x="4488966" y="759099"/>
                  <a:pt x="4488966" y="744215"/>
                </a:cubicBezTo>
                <a:cubicBezTo>
                  <a:pt x="4493931" y="739253"/>
                  <a:pt x="4498895" y="736771"/>
                  <a:pt x="4503859" y="731810"/>
                </a:cubicBezTo>
                <a:cubicBezTo>
                  <a:pt x="4511307" y="734292"/>
                  <a:pt x="4516272" y="736771"/>
                  <a:pt x="4521236" y="739253"/>
                </a:cubicBezTo>
                <a:cubicBezTo>
                  <a:pt x="4523717" y="754138"/>
                  <a:pt x="4503859" y="749177"/>
                  <a:pt x="4503859" y="766539"/>
                </a:cubicBezTo>
                <a:cubicBezTo>
                  <a:pt x="4513787" y="759099"/>
                  <a:pt x="4523717" y="754138"/>
                  <a:pt x="4533644" y="746693"/>
                </a:cubicBezTo>
                <a:cubicBezTo>
                  <a:pt x="4541093" y="729331"/>
                  <a:pt x="4553501" y="716925"/>
                  <a:pt x="4565914" y="719407"/>
                </a:cubicBezTo>
                <a:cubicBezTo>
                  <a:pt x="4565914" y="709485"/>
                  <a:pt x="4565914" y="709485"/>
                  <a:pt x="4568394" y="704522"/>
                </a:cubicBezTo>
                <a:cubicBezTo>
                  <a:pt x="4573359" y="711964"/>
                  <a:pt x="4578323" y="716925"/>
                  <a:pt x="4585771" y="726847"/>
                </a:cubicBezTo>
                <a:cubicBezTo>
                  <a:pt x="4580804" y="731810"/>
                  <a:pt x="4573359" y="734292"/>
                  <a:pt x="4568394" y="739253"/>
                </a:cubicBezTo>
                <a:cubicBezTo>
                  <a:pt x="4570878" y="741732"/>
                  <a:pt x="4570878" y="741732"/>
                  <a:pt x="4570878" y="744215"/>
                </a:cubicBezTo>
                <a:cubicBezTo>
                  <a:pt x="4585771" y="746693"/>
                  <a:pt x="4598180" y="741732"/>
                  <a:pt x="4610589" y="731810"/>
                </a:cubicBezTo>
                <a:cubicBezTo>
                  <a:pt x="4610589" y="731810"/>
                  <a:pt x="4610589" y="731810"/>
                  <a:pt x="4610589" y="729331"/>
                </a:cubicBezTo>
                <a:cubicBezTo>
                  <a:pt x="4608108" y="726847"/>
                  <a:pt x="4603145" y="726847"/>
                  <a:pt x="4598180" y="724368"/>
                </a:cubicBezTo>
                <a:cubicBezTo>
                  <a:pt x="4603145" y="716925"/>
                  <a:pt x="4603145" y="716925"/>
                  <a:pt x="4627965" y="716925"/>
                </a:cubicBezTo>
                <a:cubicBezTo>
                  <a:pt x="4630446" y="721886"/>
                  <a:pt x="4632930" y="729331"/>
                  <a:pt x="4635410" y="734292"/>
                </a:cubicBezTo>
                <a:cubicBezTo>
                  <a:pt x="4635410" y="736771"/>
                  <a:pt x="4632930" y="736771"/>
                  <a:pt x="4630446" y="739253"/>
                </a:cubicBezTo>
                <a:cubicBezTo>
                  <a:pt x="4627965" y="734292"/>
                  <a:pt x="4625482" y="729331"/>
                  <a:pt x="4623001" y="724368"/>
                </a:cubicBezTo>
                <a:cubicBezTo>
                  <a:pt x="4620521" y="726847"/>
                  <a:pt x="4618038" y="731810"/>
                  <a:pt x="4618038" y="731810"/>
                </a:cubicBezTo>
                <a:cubicBezTo>
                  <a:pt x="4623001" y="741732"/>
                  <a:pt x="4615553" y="741732"/>
                  <a:pt x="4610589" y="744215"/>
                </a:cubicBezTo>
                <a:cubicBezTo>
                  <a:pt x="4605625" y="746693"/>
                  <a:pt x="4595700" y="744215"/>
                  <a:pt x="4590736" y="754138"/>
                </a:cubicBezTo>
                <a:cubicBezTo>
                  <a:pt x="4590736" y="754138"/>
                  <a:pt x="4588252" y="754138"/>
                  <a:pt x="4588252" y="754138"/>
                </a:cubicBezTo>
                <a:cubicBezTo>
                  <a:pt x="4583287" y="749177"/>
                  <a:pt x="4578323" y="754138"/>
                  <a:pt x="4575839" y="756617"/>
                </a:cubicBezTo>
                <a:cubicBezTo>
                  <a:pt x="4565914" y="764061"/>
                  <a:pt x="4553501" y="769022"/>
                  <a:pt x="4543574" y="776463"/>
                </a:cubicBezTo>
                <a:cubicBezTo>
                  <a:pt x="4541093" y="771502"/>
                  <a:pt x="4538609" y="766539"/>
                  <a:pt x="4536129" y="764061"/>
                </a:cubicBezTo>
                <a:cubicBezTo>
                  <a:pt x="4528681" y="766539"/>
                  <a:pt x="4531163" y="776463"/>
                  <a:pt x="4528681" y="781424"/>
                </a:cubicBezTo>
                <a:cubicBezTo>
                  <a:pt x="4523717" y="783907"/>
                  <a:pt x="4516272" y="783907"/>
                  <a:pt x="4508827" y="786386"/>
                </a:cubicBezTo>
                <a:cubicBezTo>
                  <a:pt x="4508827" y="781424"/>
                  <a:pt x="4508827" y="781424"/>
                  <a:pt x="4511307" y="776463"/>
                </a:cubicBezTo>
                <a:cubicBezTo>
                  <a:pt x="4508827" y="776463"/>
                  <a:pt x="4506342" y="776463"/>
                  <a:pt x="4506342" y="776463"/>
                </a:cubicBezTo>
                <a:cubicBezTo>
                  <a:pt x="4503859" y="791348"/>
                  <a:pt x="4488966" y="788868"/>
                  <a:pt x="4481522" y="798788"/>
                </a:cubicBezTo>
                <a:cubicBezTo>
                  <a:pt x="4479041" y="801270"/>
                  <a:pt x="4476558" y="803753"/>
                  <a:pt x="4474077" y="808714"/>
                </a:cubicBezTo>
                <a:cubicBezTo>
                  <a:pt x="4476558" y="808714"/>
                  <a:pt x="4479041" y="808714"/>
                  <a:pt x="4481522" y="808714"/>
                </a:cubicBezTo>
                <a:cubicBezTo>
                  <a:pt x="4498895" y="801270"/>
                  <a:pt x="4516272" y="793830"/>
                  <a:pt x="4533644" y="786386"/>
                </a:cubicBezTo>
                <a:cubicBezTo>
                  <a:pt x="4538609" y="783907"/>
                  <a:pt x="4541093" y="783907"/>
                  <a:pt x="4546056" y="783907"/>
                </a:cubicBezTo>
                <a:cubicBezTo>
                  <a:pt x="4558467" y="778945"/>
                  <a:pt x="4573359" y="773984"/>
                  <a:pt x="4585771" y="769022"/>
                </a:cubicBezTo>
                <a:cubicBezTo>
                  <a:pt x="4588252" y="766539"/>
                  <a:pt x="4590736" y="766539"/>
                  <a:pt x="4593215" y="766539"/>
                </a:cubicBezTo>
                <a:cubicBezTo>
                  <a:pt x="4595700" y="771502"/>
                  <a:pt x="4598180" y="773984"/>
                  <a:pt x="4600662" y="776463"/>
                </a:cubicBezTo>
                <a:cubicBezTo>
                  <a:pt x="4600662" y="783907"/>
                  <a:pt x="4593215" y="783907"/>
                  <a:pt x="4580804" y="776463"/>
                </a:cubicBezTo>
                <a:cubicBezTo>
                  <a:pt x="4580804" y="791348"/>
                  <a:pt x="4578323" y="801270"/>
                  <a:pt x="4563430" y="801270"/>
                </a:cubicBezTo>
                <a:cubicBezTo>
                  <a:pt x="4565914" y="816155"/>
                  <a:pt x="4560950" y="823595"/>
                  <a:pt x="4551018" y="828558"/>
                </a:cubicBezTo>
                <a:lnTo>
                  <a:pt x="4542326" y="831039"/>
                </a:lnTo>
                <a:lnTo>
                  <a:pt x="4523717" y="831039"/>
                </a:lnTo>
                <a:cubicBezTo>
                  <a:pt x="4521236" y="818634"/>
                  <a:pt x="4521236" y="818634"/>
                  <a:pt x="4513787" y="821116"/>
                </a:cubicBezTo>
                <a:cubicBezTo>
                  <a:pt x="4508827" y="823595"/>
                  <a:pt x="4501379" y="826078"/>
                  <a:pt x="4496415" y="828558"/>
                </a:cubicBezTo>
                <a:cubicBezTo>
                  <a:pt x="4496415" y="828558"/>
                  <a:pt x="4496415" y="831039"/>
                  <a:pt x="4496415" y="831039"/>
                </a:cubicBezTo>
                <a:lnTo>
                  <a:pt x="4525770" y="839423"/>
                </a:lnTo>
                <a:lnTo>
                  <a:pt x="4523717" y="840962"/>
                </a:lnTo>
                <a:cubicBezTo>
                  <a:pt x="4528681" y="843441"/>
                  <a:pt x="4531163" y="845924"/>
                  <a:pt x="4533644" y="850885"/>
                </a:cubicBezTo>
                <a:cubicBezTo>
                  <a:pt x="4536129" y="848404"/>
                  <a:pt x="4536129" y="848404"/>
                  <a:pt x="4538609" y="848404"/>
                </a:cubicBezTo>
                <a:cubicBezTo>
                  <a:pt x="4538609" y="850885"/>
                  <a:pt x="4536129" y="853365"/>
                  <a:pt x="4536129" y="853365"/>
                </a:cubicBezTo>
                <a:cubicBezTo>
                  <a:pt x="4538609" y="855847"/>
                  <a:pt x="4538609" y="858326"/>
                  <a:pt x="4541093" y="860808"/>
                </a:cubicBezTo>
                <a:cubicBezTo>
                  <a:pt x="4694981" y="776463"/>
                  <a:pt x="4858800" y="707002"/>
                  <a:pt x="5027584" y="652429"/>
                </a:cubicBezTo>
                <a:cubicBezTo>
                  <a:pt x="5064814" y="642505"/>
                  <a:pt x="5097080" y="659869"/>
                  <a:pt x="5114456" y="689639"/>
                </a:cubicBezTo>
                <a:cubicBezTo>
                  <a:pt x="5114456" y="689639"/>
                  <a:pt x="5116937" y="689639"/>
                  <a:pt x="5116937" y="689639"/>
                </a:cubicBezTo>
                <a:cubicBezTo>
                  <a:pt x="5116937" y="689639"/>
                  <a:pt x="5116937" y="692118"/>
                  <a:pt x="5116937" y="692118"/>
                </a:cubicBezTo>
                <a:cubicBezTo>
                  <a:pt x="5116937" y="694600"/>
                  <a:pt x="5119422" y="697082"/>
                  <a:pt x="5119422" y="699561"/>
                </a:cubicBezTo>
                <a:cubicBezTo>
                  <a:pt x="5121902" y="697082"/>
                  <a:pt x="5124385" y="697082"/>
                  <a:pt x="5126866" y="694600"/>
                </a:cubicBezTo>
                <a:cubicBezTo>
                  <a:pt x="5129349" y="692118"/>
                  <a:pt x="5129349" y="692118"/>
                  <a:pt x="5131830" y="692118"/>
                </a:cubicBezTo>
                <a:cubicBezTo>
                  <a:pt x="5131830" y="692118"/>
                  <a:pt x="5134313" y="689639"/>
                  <a:pt x="5136794" y="689639"/>
                </a:cubicBezTo>
                <a:cubicBezTo>
                  <a:pt x="5131830" y="687156"/>
                  <a:pt x="5129349" y="687156"/>
                  <a:pt x="5126866" y="687156"/>
                </a:cubicBezTo>
                <a:cubicBezTo>
                  <a:pt x="5134313" y="679715"/>
                  <a:pt x="5144243" y="674754"/>
                  <a:pt x="5154170" y="679715"/>
                </a:cubicBezTo>
                <a:cubicBezTo>
                  <a:pt x="5156651" y="679715"/>
                  <a:pt x="5159132" y="677233"/>
                  <a:pt x="5161616" y="677233"/>
                </a:cubicBezTo>
                <a:cubicBezTo>
                  <a:pt x="5166580" y="674754"/>
                  <a:pt x="5169063" y="672275"/>
                  <a:pt x="5174029" y="669793"/>
                </a:cubicBezTo>
                <a:cubicBezTo>
                  <a:pt x="5171544" y="684676"/>
                  <a:pt x="5164100" y="687156"/>
                  <a:pt x="5156651" y="692118"/>
                </a:cubicBezTo>
                <a:cubicBezTo>
                  <a:pt x="5159132" y="692118"/>
                  <a:pt x="5164100" y="694600"/>
                  <a:pt x="5166580" y="694600"/>
                </a:cubicBezTo>
                <a:lnTo>
                  <a:pt x="5169061" y="706999"/>
                </a:lnTo>
                <a:lnTo>
                  <a:pt x="5165959" y="703591"/>
                </a:lnTo>
                <a:cubicBezTo>
                  <a:pt x="5164718" y="703901"/>
                  <a:pt x="5162856" y="705762"/>
                  <a:pt x="5159132" y="709485"/>
                </a:cubicBezTo>
                <a:cubicBezTo>
                  <a:pt x="5161616" y="709485"/>
                  <a:pt x="5161616" y="709485"/>
                  <a:pt x="5161616" y="709485"/>
                </a:cubicBezTo>
                <a:lnTo>
                  <a:pt x="5169062" y="707003"/>
                </a:lnTo>
                <a:lnTo>
                  <a:pt x="5169475" y="709072"/>
                </a:lnTo>
                <a:lnTo>
                  <a:pt x="5169063" y="709485"/>
                </a:lnTo>
                <a:lnTo>
                  <a:pt x="5169682" y="710103"/>
                </a:lnTo>
                <a:lnTo>
                  <a:pt x="5171544" y="719407"/>
                </a:lnTo>
                <a:cubicBezTo>
                  <a:pt x="5181473" y="711964"/>
                  <a:pt x="5188918" y="704522"/>
                  <a:pt x="5198850" y="699561"/>
                </a:cubicBezTo>
                <a:cubicBezTo>
                  <a:pt x="5198850" y="699561"/>
                  <a:pt x="5201330" y="697082"/>
                  <a:pt x="5201330" y="697082"/>
                </a:cubicBezTo>
                <a:cubicBezTo>
                  <a:pt x="5211258" y="689639"/>
                  <a:pt x="5221187" y="679715"/>
                  <a:pt x="5231115" y="672275"/>
                </a:cubicBezTo>
                <a:cubicBezTo>
                  <a:pt x="5231115" y="672275"/>
                  <a:pt x="5233596" y="669793"/>
                  <a:pt x="5233596" y="667314"/>
                </a:cubicBezTo>
                <a:cubicBezTo>
                  <a:pt x="5233596" y="669793"/>
                  <a:pt x="5236080" y="669793"/>
                  <a:pt x="5236080" y="669793"/>
                </a:cubicBezTo>
                <a:cubicBezTo>
                  <a:pt x="5241044" y="667314"/>
                  <a:pt x="5243525" y="667314"/>
                  <a:pt x="5243525" y="659869"/>
                </a:cubicBezTo>
                <a:cubicBezTo>
                  <a:pt x="5243525" y="657390"/>
                  <a:pt x="5250972" y="652429"/>
                  <a:pt x="5255937" y="647468"/>
                </a:cubicBezTo>
                <a:cubicBezTo>
                  <a:pt x="5258417" y="644984"/>
                  <a:pt x="5258417" y="642505"/>
                  <a:pt x="5260901" y="640023"/>
                </a:cubicBezTo>
                <a:cubicBezTo>
                  <a:pt x="5260901" y="640023"/>
                  <a:pt x="5258417" y="637544"/>
                  <a:pt x="5255937" y="637544"/>
                </a:cubicBezTo>
                <a:cubicBezTo>
                  <a:pt x="5246008" y="642505"/>
                  <a:pt x="5236080" y="647468"/>
                  <a:pt x="5226151" y="654908"/>
                </a:cubicBezTo>
                <a:cubicBezTo>
                  <a:pt x="5223668" y="659869"/>
                  <a:pt x="5218703" y="662351"/>
                  <a:pt x="5213739" y="667314"/>
                </a:cubicBezTo>
                <a:cubicBezTo>
                  <a:pt x="5213739" y="667314"/>
                  <a:pt x="5216222" y="669793"/>
                  <a:pt x="5218703" y="672275"/>
                </a:cubicBezTo>
                <a:cubicBezTo>
                  <a:pt x="5216222" y="679715"/>
                  <a:pt x="5211258" y="689639"/>
                  <a:pt x="5201330" y="689639"/>
                </a:cubicBezTo>
                <a:cubicBezTo>
                  <a:pt x="5193882" y="689639"/>
                  <a:pt x="5188918" y="694600"/>
                  <a:pt x="5183954" y="699561"/>
                </a:cubicBezTo>
                <a:cubicBezTo>
                  <a:pt x="5181473" y="699561"/>
                  <a:pt x="5181473" y="697082"/>
                  <a:pt x="5181473" y="697082"/>
                </a:cubicBezTo>
                <a:cubicBezTo>
                  <a:pt x="5188918" y="692118"/>
                  <a:pt x="5196365" y="687156"/>
                  <a:pt x="5203814" y="679715"/>
                </a:cubicBezTo>
                <a:cubicBezTo>
                  <a:pt x="5196365" y="677233"/>
                  <a:pt x="5191401" y="674754"/>
                  <a:pt x="5181473" y="669793"/>
                </a:cubicBezTo>
                <a:cubicBezTo>
                  <a:pt x="5186437" y="667314"/>
                  <a:pt x="5191401" y="664830"/>
                  <a:pt x="5196365" y="662351"/>
                </a:cubicBezTo>
                <a:cubicBezTo>
                  <a:pt x="5198850" y="662351"/>
                  <a:pt x="5198850" y="659869"/>
                  <a:pt x="5201330" y="659869"/>
                </a:cubicBezTo>
                <a:cubicBezTo>
                  <a:pt x="5213739" y="654908"/>
                  <a:pt x="5216222" y="654908"/>
                  <a:pt x="5206294" y="642505"/>
                </a:cubicBezTo>
                <a:cubicBezTo>
                  <a:pt x="5216222" y="635062"/>
                  <a:pt x="5226151" y="627622"/>
                  <a:pt x="5238560" y="620177"/>
                </a:cubicBezTo>
                <a:cubicBezTo>
                  <a:pt x="5248489" y="615216"/>
                  <a:pt x="5253453" y="600331"/>
                  <a:pt x="5268346" y="605293"/>
                </a:cubicBezTo>
                <a:cubicBezTo>
                  <a:pt x="5273310" y="600331"/>
                  <a:pt x="5280758" y="592891"/>
                  <a:pt x="5285722" y="587930"/>
                </a:cubicBezTo>
                <a:cubicBezTo>
                  <a:pt x="5293167" y="582967"/>
                  <a:pt x="5298132" y="575524"/>
                  <a:pt x="5305577" y="568084"/>
                </a:cubicBezTo>
                <a:cubicBezTo>
                  <a:pt x="5313024" y="563121"/>
                  <a:pt x="5317989" y="560642"/>
                  <a:pt x="5325434" y="555681"/>
                </a:cubicBezTo>
                <a:cubicBezTo>
                  <a:pt x="5325434" y="555681"/>
                  <a:pt x="5327917" y="558160"/>
                  <a:pt x="5327917" y="558160"/>
                </a:cubicBezTo>
                <a:cubicBezTo>
                  <a:pt x="5325434" y="563121"/>
                  <a:pt x="5325434" y="570566"/>
                  <a:pt x="5322953" y="575524"/>
                </a:cubicBezTo>
                <a:cubicBezTo>
                  <a:pt x="5332881" y="568084"/>
                  <a:pt x="5342810" y="565601"/>
                  <a:pt x="5347774" y="555681"/>
                </a:cubicBezTo>
                <a:cubicBezTo>
                  <a:pt x="5350255" y="545759"/>
                  <a:pt x="5357703" y="538314"/>
                  <a:pt x="5362667" y="528392"/>
                </a:cubicBezTo>
                <a:cubicBezTo>
                  <a:pt x="5372595" y="545759"/>
                  <a:pt x="5377560" y="548238"/>
                  <a:pt x="5392452" y="535835"/>
                </a:cubicBezTo>
                <a:cubicBezTo>
                  <a:pt x="5397417" y="533353"/>
                  <a:pt x="5402381" y="528392"/>
                  <a:pt x="5407343" y="525913"/>
                </a:cubicBezTo>
                <a:cubicBezTo>
                  <a:pt x="5414790" y="533353"/>
                  <a:pt x="5419755" y="538314"/>
                  <a:pt x="5424719" y="545759"/>
                </a:cubicBezTo>
                <a:cubicBezTo>
                  <a:pt x="5429683" y="538314"/>
                  <a:pt x="5434647" y="530874"/>
                  <a:pt x="5439612" y="523430"/>
                </a:cubicBezTo>
                <a:cubicBezTo>
                  <a:pt x="5439612" y="520950"/>
                  <a:pt x="5439612" y="518468"/>
                  <a:pt x="5437127" y="515989"/>
                </a:cubicBezTo>
                <a:cubicBezTo>
                  <a:pt x="5437127" y="515989"/>
                  <a:pt x="5439612" y="515989"/>
                  <a:pt x="5439612" y="515989"/>
                </a:cubicBezTo>
                <a:cubicBezTo>
                  <a:pt x="5459469" y="501104"/>
                  <a:pt x="5479326" y="488700"/>
                  <a:pt x="5499183" y="473818"/>
                </a:cubicBezTo>
                <a:cubicBezTo>
                  <a:pt x="5499183" y="473818"/>
                  <a:pt x="5501664" y="471336"/>
                  <a:pt x="5501664" y="471336"/>
                </a:cubicBezTo>
                <a:cubicBezTo>
                  <a:pt x="5506628" y="466375"/>
                  <a:pt x="5509111" y="458933"/>
                  <a:pt x="5514075" y="458933"/>
                </a:cubicBezTo>
                <a:cubicBezTo>
                  <a:pt x="5521521" y="458933"/>
                  <a:pt x="5531449" y="461413"/>
                  <a:pt x="5538897" y="463892"/>
                </a:cubicBezTo>
                <a:cubicBezTo>
                  <a:pt x="5538897" y="458933"/>
                  <a:pt x="5536412" y="453970"/>
                  <a:pt x="5536412" y="446529"/>
                </a:cubicBezTo>
                <a:cubicBezTo>
                  <a:pt x="5548822" y="436605"/>
                  <a:pt x="5563718" y="429165"/>
                  <a:pt x="5578607" y="419241"/>
                </a:cubicBezTo>
                <a:cubicBezTo>
                  <a:pt x="5581092" y="419241"/>
                  <a:pt x="5581092" y="421721"/>
                  <a:pt x="5581092" y="421721"/>
                </a:cubicBezTo>
                <a:cubicBezTo>
                  <a:pt x="5578607" y="426682"/>
                  <a:pt x="5573643" y="429165"/>
                  <a:pt x="5571163" y="434126"/>
                </a:cubicBezTo>
                <a:cubicBezTo>
                  <a:pt x="5573643" y="434126"/>
                  <a:pt x="5573643" y="436605"/>
                  <a:pt x="5573643" y="436605"/>
                </a:cubicBezTo>
                <a:cubicBezTo>
                  <a:pt x="5586056" y="429165"/>
                  <a:pt x="5598464" y="421721"/>
                  <a:pt x="5610877" y="414280"/>
                </a:cubicBezTo>
                <a:cubicBezTo>
                  <a:pt x="5610877" y="414280"/>
                  <a:pt x="5608393" y="409319"/>
                  <a:pt x="5608393" y="406836"/>
                </a:cubicBezTo>
                <a:cubicBezTo>
                  <a:pt x="5608393" y="404358"/>
                  <a:pt x="5610877" y="404358"/>
                  <a:pt x="5610877" y="404358"/>
                </a:cubicBezTo>
                <a:cubicBezTo>
                  <a:pt x="5610877" y="406836"/>
                  <a:pt x="5613357" y="411798"/>
                  <a:pt x="5615841" y="414280"/>
                </a:cubicBezTo>
                <a:cubicBezTo>
                  <a:pt x="5620806" y="406836"/>
                  <a:pt x="5633214" y="404358"/>
                  <a:pt x="5635695" y="394434"/>
                </a:cubicBezTo>
                <a:cubicBezTo>
                  <a:pt x="5635695" y="394434"/>
                  <a:pt x="5640663" y="391952"/>
                  <a:pt x="5640663" y="391952"/>
                </a:cubicBezTo>
                <a:cubicBezTo>
                  <a:pt x="5650591" y="394434"/>
                  <a:pt x="5655552" y="389473"/>
                  <a:pt x="5663000" y="384511"/>
                </a:cubicBezTo>
                <a:cubicBezTo>
                  <a:pt x="5670448" y="382029"/>
                  <a:pt x="5675412" y="379550"/>
                  <a:pt x="5680373" y="369627"/>
                </a:cubicBezTo>
                <a:cubicBezTo>
                  <a:pt x="5685338" y="359704"/>
                  <a:pt x="5697749" y="354742"/>
                  <a:pt x="5707678" y="352261"/>
                </a:cubicBezTo>
                <a:cubicBezTo>
                  <a:pt x="5705195" y="357222"/>
                  <a:pt x="5702715" y="359704"/>
                  <a:pt x="5697749" y="364665"/>
                </a:cubicBezTo>
                <a:cubicBezTo>
                  <a:pt x="5702715" y="364665"/>
                  <a:pt x="5710159" y="362183"/>
                  <a:pt x="5715123" y="362183"/>
                </a:cubicBezTo>
                <a:cubicBezTo>
                  <a:pt x="5715123" y="367144"/>
                  <a:pt x="5717606" y="369627"/>
                  <a:pt x="5717606" y="372107"/>
                </a:cubicBezTo>
                <a:cubicBezTo>
                  <a:pt x="5727535" y="367144"/>
                  <a:pt x="5737463" y="362183"/>
                  <a:pt x="5747392" y="357222"/>
                </a:cubicBezTo>
                <a:cubicBezTo>
                  <a:pt x="5749873" y="359704"/>
                  <a:pt x="5749873" y="362183"/>
                  <a:pt x="5752356" y="364665"/>
                </a:cubicBezTo>
                <a:cubicBezTo>
                  <a:pt x="5752356" y="362183"/>
                  <a:pt x="5754837" y="362183"/>
                  <a:pt x="5754837" y="362183"/>
                </a:cubicBezTo>
                <a:cubicBezTo>
                  <a:pt x="5757322" y="344819"/>
                  <a:pt x="5774694" y="344819"/>
                  <a:pt x="5784623" y="339858"/>
                </a:cubicBezTo>
                <a:cubicBezTo>
                  <a:pt x="5797032" y="334897"/>
                  <a:pt x="5809444" y="329935"/>
                  <a:pt x="5819373" y="322494"/>
                </a:cubicBezTo>
                <a:cubicBezTo>
                  <a:pt x="5824337" y="317532"/>
                  <a:pt x="5824337" y="315051"/>
                  <a:pt x="5819373" y="310089"/>
                </a:cubicBezTo>
                <a:cubicBezTo>
                  <a:pt x="5816889" y="307610"/>
                  <a:pt x="5814408" y="302648"/>
                  <a:pt x="5821853" y="300166"/>
                </a:cubicBezTo>
                <a:cubicBezTo>
                  <a:pt x="5826818" y="300166"/>
                  <a:pt x="5829301" y="292725"/>
                  <a:pt x="5834265" y="290244"/>
                </a:cubicBezTo>
                <a:cubicBezTo>
                  <a:pt x="5851639" y="280320"/>
                  <a:pt x="5869015" y="272879"/>
                  <a:pt x="5886389" y="267918"/>
                </a:cubicBezTo>
                <a:cubicBezTo>
                  <a:pt x="5878941" y="270398"/>
                  <a:pt x="5873979" y="275359"/>
                  <a:pt x="5869015" y="277841"/>
                </a:cubicBezTo>
                <a:cubicBezTo>
                  <a:pt x="5861567" y="280320"/>
                  <a:pt x="5866532" y="290244"/>
                  <a:pt x="5859087" y="292725"/>
                </a:cubicBezTo>
                <a:lnTo>
                  <a:pt x="5853510" y="296441"/>
                </a:lnTo>
                <a:lnTo>
                  <a:pt x="5844194" y="300166"/>
                </a:lnTo>
                <a:lnTo>
                  <a:pt x="5845683" y="301656"/>
                </a:lnTo>
                <a:lnTo>
                  <a:pt x="5844194" y="302648"/>
                </a:lnTo>
                <a:lnTo>
                  <a:pt x="5846060" y="302033"/>
                </a:lnTo>
                <a:lnTo>
                  <a:pt x="5846675" y="302648"/>
                </a:lnTo>
                <a:lnTo>
                  <a:pt x="5848621" y="301189"/>
                </a:lnTo>
                <a:lnTo>
                  <a:pt x="5872428" y="293345"/>
                </a:lnTo>
                <a:cubicBezTo>
                  <a:pt x="5881425" y="289003"/>
                  <a:pt x="5890112" y="284042"/>
                  <a:pt x="5898801" y="280320"/>
                </a:cubicBezTo>
                <a:cubicBezTo>
                  <a:pt x="5918655" y="270398"/>
                  <a:pt x="5936031" y="257995"/>
                  <a:pt x="5955888" y="253034"/>
                </a:cubicBezTo>
                <a:cubicBezTo>
                  <a:pt x="5975745" y="248072"/>
                  <a:pt x="5990635" y="230706"/>
                  <a:pt x="6012976" y="233188"/>
                </a:cubicBezTo>
                <a:cubicBezTo>
                  <a:pt x="6000567" y="240628"/>
                  <a:pt x="5988155" y="248072"/>
                  <a:pt x="5978226" y="253034"/>
                </a:cubicBezTo>
                <a:cubicBezTo>
                  <a:pt x="5965813" y="260474"/>
                  <a:pt x="5950924" y="267918"/>
                  <a:pt x="5940996" y="282802"/>
                </a:cubicBezTo>
                <a:cubicBezTo>
                  <a:pt x="5958369" y="275359"/>
                  <a:pt x="5975745" y="265435"/>
                  <a:pt x="5993119" y="257995"/>
                </a:cubicBezTo>
                <a:cubicBezTo>
                  <a:pt x="5995599" y="260474"/>
                  <a:pt x="5995599" y="262956"/>
                  <a:pt x="5998083" y="265435"/>
                </a:cubicBezTo>
                <a:cubicBezTo>
                  <a:pt x="6003048" y="265435"/>
                  <a:pt x="6010495" y="262956"/>
                  <a:pt x="6017940" y="260474"/>
                </a:cubicBezTo>
                <a:cubicBezTo>
                  <a:pt x="6017940" y="262956"/>
                  <a:pt x="6020420" y="267918"/>
                  <a:pt x="6020420" y="270398"/>
                </a:cubicBezTo>
                <a:cubicBezTo>
                  <a:pt x="6040277" y="267918"/>
                  <a:pt x="6057654" y="262956"/>
                  <a:pt x="6075027" y="253034"/>
                </a:cubicBezTo>
                <a:cubicBezTo>
                  <a:pt x="6072547" y="267918"/>
                  <a:pt x="6060134" y="267918"/>
                  <a:pt x="6047726" y="275359"/>
                </a:cubicBezTo>
                <a:cubicBezTo>
                  <a:pt x="6060134" y="282802"/>
                  <a:pt x="6070064" y="287764"/>
                  <a:pt x="6082476" y="292725"/>
                </a:cubicBezTo>
                <a:cubicBezTo>
                  <a:pt x="6079991" y="300166"/>
                  <a:pt x="6067583" y="290244"/>
                  <a:pt x="6065100" y="297687"/>
                </a:cubicBezTo>
                <a:cubicBezTo>
                  <a:pt x="6075027" y="310089"/>
                  <a:pt x="6082476" y="310089"/>
                  <a:pt x="6094884" y="302648"/>
                </a:cubicBezTo>
                <a:cubicBezTo>
                  <a:pt x="6102329" y="295205"/>
                  <a:pt x="6112261" y="290244"/>
                  <a:pt x="6122190" y="282802"/>
                </a:cubicBezTo>
                <a:cubicBezTo>
                  <a:pt x="6124671" y="300166"/>
                  <a:pt x="6107294" y="300166"/>
                  <a:pt x="6104814" y="312571"/>
                </a:cubicBezTo>
                <a:cubicBezTo>
                  <a:pt x="6112261" y="307610"/>
                  <a:pt x="6117225" y="302648"/>
                  <a:pt x="6127151" y="297687"/>
                </a:cubicBezTo>
                <a:cubicBezTo>
                  <a:pt x="6119705" y="305127"/>
                  <a:pt x="6117225" y="310089"/>
                  <a:pt x="6112261" y="315051"/>
                </a:cubicBezTo>
                <a:cubicBezTo>
                  <a:pt x="6117225" y="317532"/>
                  <a:pt x="6122190" y="317532"/>
                  <a:pt x="6127151" y="320012"/>
                </a:cubicBezTo>
                <a:cubicBezTo>
                  <a:pt x="6124671" y="334897"/>
                  <a:pt x="6097368" y="324973"/>
                  <a:pt x="6102329" y="344819"/>
                </a:cubicBezTo>
                <a:cubicBezTo>
                  <a:pt x="6109778" y="342338"/>
                  <a:pt x="6110399" y="345440"/>
                  <a:pt x="6110399" y="349161"/>
                </a:cubicBezTo>
                <a:lnTo>
                  <a:pt x="6113842" y="355552"/>
                </a:lnTo>
                <a:lnTo>
                  <a:pt x="6089921" y="377068"/>
                </a:lnTo>
                <a:cubicBezTo>
                  <a:pt x="6089921" y="377068"/>
                  <a:pt x="6089921" y="379550"/>
                  <a:pt x="6089921" y="379550"/>
                </a:cubicBezTo>
                <a:cubicBezTo>
                  <a:pt x="6094884" y="379550"/>
                  <a:pt x="6099848" y="379550"/>
                  <a:pt x="6104814" y="377068"/>
                </a:cubicBezTo>
                <a:cubicBezTo>
                  <a:pt x="6107294" y="382029"/>
                  <a:pt x="6109778" y="384511"/>
                  <a:pt x="6112261" y="386990"/>
                </a:cubicBezTo>
                <a:cubicBezTo>
                  <a:pt x="6117225" y="379550"/>
                  <a:pt x="6119705" y="372107"/>
                  <a:pt x="6124671" y="364665"/>
                </a:cubicBezTo>
                <a:cubicBezTo>
                  <a:pt x="6122190" y="367144"/>
                  <a:pt x="6117225" y="369627"/>
                  <a:pt x="6112261" y="372107"/>
                </a:cubicBezTo>
                <a:cubicBezTo>
                  <a:pt x="6112261" y="372107"/>
                  <a:pt x="6109778" y="369627"/>
                  <a:pt x="6109778" y="369627"/>
                </a:cubicBezTo>
                <a:cubicBezTo>
                  <a:pt x="6112261" y="364665"/>
                  <a:pt x="6114741" y="362183"/>
                  <a:pt x="6117225" y="357222"/>
                </a:cubicBezTo>
                <a:lnTo>
                  <a:pt x="6115982" y="355981"/>
                </a:lnTo>
                <a:lnTo>
                  <a:pt x="6139562" y="332417"/>
                </a:lnTo>
                <a:cubicBezTo>
                  <a:pt x="6149492" y="337378"/>
                  <a:pt x="6142047" y="344819"/>
                  <a:pt x="6144528" y="349781"/>
                </a:cubicBezTo>
                <a:cubicBezTo>
                  <a:pt x="6147011" y="359704"/>
                  <a:pt x="6132115" y="354742"/>
                  <a:pt x="6134599" y="364665"/>
                </a:cubicBezTo>
                <a:cubicBezTo>
                  <a:pt x="6144528" y="374588"/>
                  <a:pt x="6149492" y="359704"/>
                  <a:pt x="6159419" y="362183"/>
                </a:cubicBezTo>
                <a:cubicBezTo>
                  <a:pt x="6159419" y="367144"/>
                  <a:pt x="6159419" y="369627"/>
                  <a:pt x="6156936" y="374588"/>
                </a:cubicBezTo>
                <a:cubicBezTo>
                  <a:pt x="6159419" y="377068"/>
                  <a:pt x="6164385" y="377068"/>
                  <a:pt x="6166865" y="377068"/>
                </a:cubicBezTo>
                <a:cubicBezTo>
                  <a:pt x="6159419" y="386990"/>
                  <a:pt x="6149492" y="396914"/>
                  <a:pt x="6144528" y="404358"/>
                </a:cubicBezTo>
                <a:lnTo>
                  <a:pt x="6143855" y="411075"/>
                </a:lnTo>
                <a:lnTo>
                  <a:pt x="6142047" y="411798"/>
                </a:lnTo>
                <a:lnTo>
                  <a:pt x="6143493" y="414692"/>
                </a:lnTo>
                <a:lnTo>
                  <a:pt x="6142047" y="429165"/>
                </a:lnTo>
                <a:cubicBezTo>
                  <a:pt x="6154456" y="419241"/>
                  <a:pt x="6166865" y="409319"/>
                  <a:pt x="6179276" y="401875"/>
                </a:cubicBezTo>
                <a:cubicBezTo>
                  <a:pt x="6191686" y="394434"/>
                  <a:pt x="6204099" y="384511"/>
                  <a:pt x="6216507" y="377068"/>
                </a:cubicBezTo>
                <a:cubicBezTo>
                  <a:pt x="6218988" y="374588"/>
                  <a:pt x="6223956" y="374588"/>
                  <a:pt x="6226436" y="374588"/>
                </a:cubicBezTo>
                <a:cubicBezTo>
                  <a:pt x="6221471" y="377068"/>
                  <a:pt x="6218988" y="382029"/>
                  <a:pt x="6214024" y="384511"/>
                </a:cubicBezTo>
                <a:cubicBezTo>
                  <a:pt x="6214024" y="386990"/>
                  <a:pt x="6216507" y="386990"/>
                  <a:pt x="6216507" y="389473"/>
                </a:cubicBezTo>
                <a:cubicBezTo>
                  <a:pt x="6223956" y="386990"/>
                  <a:pt x="6228920" y="382029"/>
                  <a:pt x="6236364" y="379550"/>
                </a:cubicBezTo>
                <a:cubicBezTo>
                  <a:pt x="6221471" y="401875"/>
                  <a:pt x="6196650" y="411798"/>
                  <a:pt x="6181757" y="426682"/>
                </a:cubicBezTo>
                <a:cubicBezTo>
                  <a:pt x="6179276" y="436605"/>
                  <a:pt x="6176793" y="446529"/>
                  <a:pt x="6174313" y="456451"/>
                </a:cubicBezTo>
                <a:cubicBezTo>
                  <a:pt x="6179276" y="461413"/>
                  <a:pt x="6181757" y="468853"/>
                  <a:pt x="6184242" y="473818"/>
                </a:cubicBezTo>
                <a:cubicBezTo>
                  <a:pt x="6186722" y="481258"/>
                  <a:pt x="6201614" y="473818"/>
                  <a:pt x="6196650" y="486221"/>
                </a:cubicBezTo>
                <a:cubicBezTo>
                  <a:pt x="6211543" y="493661"/>
                  <a:pt x="6223956" y="481258"/>
                  <a:pt x="6238845" y="478777"/>
                </a:cubicBezTo>
                <a:cubicBezTo>
                  <a:pt x="6233884" y="483738"/>
                  <a:pt x="6231400" y="486221"/>
                  <a:pt x="6228920" y="491182"/>
                </a:cubicBezTo>
                <a:cubicBezTo>
                  <a:pt x="6248774" y="483738"/>
                  <a:pt x="6263666" y="466375"/>
                  <a:pt x="6288488" y="458933"/>
                </a:cubicBezTo>
                <a:cubicBezTo>
                  <a:pt x="6286007" y="473818"/>
                  <a:pt x="6271114" y="473818"/>
                  <a:pt x="6263666" y="481258"/>
                </a:cubicBezTo>
                <a:cubicBezTo>
                  <a:pt x="6253741" y="488700"/>
                  <a:pt x="6246293" y="498623"/>
                  <a:pt x="6236364" y="508546"/>
                </a:cubicBezTo>
                <a:cubicBezTo>
                  <a:pt x="6256221" y="508546"/>
                  <a:pt x="6261185" y="498623"/>
                  <a:pt x="6271114" y="491182"/>
                </a:cubicBezTo>
                <a:cubicBezTo>
                  <a:pt x="6281042" y="486221"/>
                  <a:pt x="6290971" y="481258"/>
                  <a:pt x="6303380" y="473818"/>
                </a:cubicBezTo>
                <a:cubicBezTo>
                  <a:pt x="6293452" y="498623"/>
                  <a:pt x="6273595" y="511028"/>
                  <a:pt x="6256221" y="525913"/>
                </a:cubicBezTo>
                <a:cubicBezTo>
                  <a:pt x="6256221" y="533353"/>
                  <a:pt x="6258705" y="538314"/>
                  <a:pt x="6258705" y="545759"/>
                </a:cubicBezTo>
                <a:cubicBezTo>
                  <a:pt x="6261185" y="545759"/>
                  <a:pt x="6266150" y="543276"/>
                  <a:pt x="6271114" y="540796"/>
                </a:cubicBezTo>
                <a:cubicBezTo>
                  <a:pt x="6271114" y="545759"/>
                  <a:pt x="6268631" y="550717"/>
                  <a:pt x="6268631" y="558160"/>
                </a:cubicBezTo>
                <a:cubicBezTo>
                  <a:pt x="6286007" y="548238"/>
                  <a:pt x="6298416" y="538314"/>
                  <a:pt x="6313309" y="528392"/>
                </a:cubicBezTo>
                <a:cubicBezTo>
                  <a:pt x="6315792" y="528392"/>
                  <a:pt x="6315792" y="530874"/>
                  <a:pt x="6315792" y="530874"/>
                </a:cubicBezTo>
                <a:cubicBezTo>
                  <a:pt x="6310828" y="538314"/>
                  <a:pt x="6305864" y="543276"/>
                  <a:pt x="6298416" y="553199"/>
                </a:cubicBezTo>
                <a:cubicBezTo>
                  <a:pt x="6303380" y="553199"/>
                  <a:pt x="6305864" y="553199"/>
                  <a:pt x="6313309" y="553199"/>
                </a:cubicBezTo>
                <a:cubicBezTo>
                  <a:pt x="6303380" y="563121"/>
                  <a:pt x="6293452" y="573045"/>
                  <a:pt x="6281042" y="585451"/>
                </a:cubicBezTo>
                <a:cubicBezTo>
                  <a:pt x="6288488" y="585451"/>
                  <a:pt x="6293452" y="585451"/>
                  <a:pt x="6298416" y="585451"/>
                </a:cubicBezTo>
                <a:cubicBezTo>
                  <a:pt x="6295935" y="590409"/>
                  <a:pt x="6293452" y="592891"/>
                  <a:pt x="6290971" y="597852"/>
                </a:cubicBezTo>
                <a:cubicBezTo>
                  <a:pt x="6305864" y="595370"/>
                  <a:pt x="6300899" y="615216"/>
                  <a:pt x="6315792" y="617698"/>
                </a:cubicBezTo>
                <a:cubicBezTo>
                  <a:pt x="6310828" y="620177"/>
                  <a:pt x="6305864" y="625139"/>
                  <a:pt x="6303380" y="627622"/>
                </a:cubicBezTo>
                <a:cubicBezTo>
                  <a:pt x="6305864" y="630101"/>
                  <a:pt x="6305864" y="630101"/>
                  <a:pt x="6305864" y="630101"/>
                </a:cubicBezTo>
                <a:cubicBezTo>
                  <a:pt x="6310828" y="625139"/>
                  <a:pt x="6318273" y="622659"/>
                  <a:pt x="6323237" y="620177"/>
                </a:cubicBezTo>
                <a:cubicBezTo>
                  <a:pt x="6323237" y="620177"/>
                  <a:pt x="6325718" y="622659"/>
                  <a:pt x="6325718" y="622659"/>
                </a:cubicBezTo>
                <a:lnTo>
                  <a:pt x="6310391" y="635936"/>
                </a:lnTo>
                <a:lnTo>
                  <a:pt x="6310828" y="635062"/>
                </a:lnTo>
                <a:lnTo>
                  <a:pt x="6307112" y="638775"/>
                </a:lnTo>
                <a:lnTo>
                  <a:pt x="6288488" y="654908"/>
                </a:lnTo>
                <a:cubicBezTo>
                  <a:pt x="6286007" y="652429"/>
                  <a:pt x="6281042" y="649947"/>
                  <a:pt x="6278559" y="647468"/>
                </a:cubicBezTo>
                <a:cubicBezTo>
                  <a:pt x="6266150" y="654908"/>
                  <a:pt x="6278559" y="659869"/>
                  <a:pt x="6276078" y="667314"/>
                </a:cubicBezTo>
                <a:cubicBezTo>
                  <a:pt x="6261185" y="674754"/>
                  <a:pt x="6266150" y="687156"/>
                  <a:pt x="6266150" y="702040"/>
                </a:cubicBezTo>
                <a:cubicBezTo>
                  <a:pt x="6273595" y="707002"/>
                  <a:pt x="6281042" y="711964"/>
                  <a:pt x="6290971" y="716925"/>
                </a:cubicBezTo>
                <a:cubicBezTo>
                  <a:pt x="6281042" y="729331"/>
                  <a:pt x="6271114" y="739253"/>
                  <a:pt x="6263666" y="749177"/>
                </a:cubicBezTo>
                <a:cubicBezTo>
                  <a:pt x="6263666" y="749177"/>
                  <a:pt x="6263666" y="751656"/>
                  <a:pt x="6263666" y="751656"/>
                </a:cubicBezTo>
                <a:cubicBezTo>
                  <a:pt x="6268631" y="751656"/>
                  <a:pt x="6273595" y="751656"/>
                  <a:pt x="6276078" y="749177"/>
                </a:cubicBezTo>
                <a:cubicBezTo>
                  <a:pt x="6295935" y="736771"/>
                  <a:pt x="6313309" y="721886"/>
                  <a:pt x="6333166" y="709485"/>
                </a:cubicBezTo>
                <a:cubicBezTo>
                  <a:pt x="6338130" y="707002"/>
                  <a:pt x="6340613" y="704522"/>
                  <a:pt x="6345579" y="704522"/>
                </a:cubicBezTo>
                <a:cubicBezTo>
                  <a:pt x="6348059" y="702040"/>
                  <a:pt x="6353023" y="704522"/>
                  <a:pt x="6353023" y="702040"/>
                </a:cubicBezTo>
                <a:cubicBezTo>
                  <a:pt x="6362951" y="687156"/>
                  <a:pt x="6380325" y="687156"/>
                  <a:pt x="6395220" y="679715"/>
                </a:cubicBezTo>
                <a:cubicBezTo>
                  <a:pt x="6425003" y="667314"/>
                  <a:pt x="6122190" y="1049342"/>
                  <a:pt x="6147011" y="1031978"/>
                </a:cubicBezTo>
                <a:cubicBezTo>
                  <a:pt x="6154456" y="1027017"/>
                  <a:pt x="6164385" y="1017093"/>
                  <a:pt x="6179276" y="1022052"/>
                </a:cubicBezTo>
                <a:cubicBezTo>
                  <a:pt x="6181757" y="1022052"/>
                  <a:pt x="6189206" y="1019573"/>
                  <a:pt x="6191686" y="1017093"/>
                </a:cubicBezTo>
                <a:cubicBezTo>
                  <a:pt x="6199133" y="1007171"/>
                  <a:pt x="6206579" y="1009650"/>
                  <a:pt x="6214024" y="1012132"/>
                </a:cubicBezTo>
                <a:cubicBezTo>
                  <a:pt x="6221471" y="1007171"/>
                  <a:pt x="6226436" y="1002209"/>
                  <a:pt x="6233884" y="999727"/>
                </a:cubicBezTo>
                <a:cubicBezTo>
                  <a:pt x="6241328" y="994765"/>
                  <a:pt x="6251257" y="994765"/>
                  <a:pt x="6248774" y="979881"/>
                </a:cubicBezTo>
                <a:cubicBezTo>
                  <a:pt x="6248774" y="977401"/>
                  <a:pt x="6253741" y="972440"/>
                  <a:pt x="6256221" y="969958"/>
                </a:cubicBezTo>
                <a:cubicBezTo>
                  <a:pt x="6263666" y="964996"/>
                  <a:pt x="6273595" y="960035"/>
                  <a:pt x="6281042" y="955074"/>
                </a:cubicBezTo>
                <a:cubicBezTo>
                  <a:pt x="6283523" y="960035"/>
                  <a:pt x="6286007" y="962517"/>
                  <a:pt x="6288488" y="964996"/>
                </a:cubicBezTo>
                <a:cubicBezTo>
                  <a:pt x="6293452" y="955074"/>
                  <a:pt x="6305864" y="952594"/>
                  <a:pt x="6308345" y="940189"/>
                </a:cubicBezTo>
                <a:cubicBezTo>
                  <a:pt x="6308345" y="935228"/>
                  <a:pt x="6320756" y="927787"/>
                  <a:pt x="6325718" y="930269"/>
                </a:cubicBezTo>
                <a:cubicBezTo>
                  <a:pt x="6340613" y="935228"/>
                  <a:pt x="6348059" y="927787"/>
                  <a:pt x="6353023" y="917864"/>
                </a:cubicBezTo>
                <a:cubicBezTo>
                  <a:pt x="6362951" y="917864"/>
                  <a:pt x="6370399" y="917864"/>
                  <a:pt x="6380325" y="917864"/>
                </a:cubicBezTo>
                <a:cubicBezTo>
                  <a:pt x="6377844" y="912902"/>
                  <a:pt x="6375361" y="910421"/>
                  <a:pt x="6372880" y="907941"/>
                </a:cubicBezTo>
                <a:cubicBezTo>
                  <a:pt x="6395220" y="898018"/>
                  <a:pt x="6415075" y="885616"/>
                  <a:pt x="6437413" y="873211"/>
                </a:cubicBezTo>
                <a:cubicBezTo>
                  <a:pt x="6434932" y="875693"/>
                  <a:pt x="6432451" y="878172"/>
                  <a:pt x="6427487" y="883133"/>
                </a:cubicBezTo>
                <a:cubicBezTo>
                  <a:pt x="6442380" y="878172"/>
                  <a:pt x="6457272" y="878172"/>
                  <a:pt x="6467197" y="863287"/>
                </a:cubicBezTo>
                <a:cubicBezTo>
                  <a:pt x="6467197" y="863287"/>
                  <a:pt x="6469682" y="860808"/>
                  <a:pt x="6469682" y="860808"/>
                </a:cubicBezTo>
                <a:cubicBezTo>
                  <a:pt x="6484575" y="863287"/>
                  <a:pt x="6487054" y="850885"/>
                  <a:pt x="6494503" y="843441"/>
                </a:cubicBezTo>
                <a:cubicBezTo>
                  <a:pt x="6499467" y="836001"/>
                  <a:pt x="6506915" y="831039"/>
                  <a:pt x="6516841" y="831039"/>
                </a:cubicBezTo>
                <a:cubicBezTo>
                  <a:pt x="6516841" y="836001"/>
                  <a:pt x="6519324" y="838480"/>
                  <a:pt x="6519324" y="840962"/>
                </a:cubicBezTo>
                <a:cubicBezTo>
                  <a:pt x="6529253" y="838480"/>
                  <a:pt x="6534217" y="833519"/>
                  <a:pt x="6539181" y="823595"/>
                </a:cubicBezTo>
                <a:cubicBezTo>
                  <a:pt x="6541662" y="816155"/>
                  <a:pt x="6551591" y="811194"/>
                  <a:pt x="6564003" y="811194"/>
                </a:cubicBezTo>
                <a:cubicBezTo>
                  <a:pt x="6561519" y="816155"/>
                  <a:pt x="6559038" y="818634"/>
                  <a:pt x="6551591" y="826078"/>
                </a:cubicBezTo>
                <a:cubicBezTo>
                  <a:pt x="6571448" y="821116"/>
                  <a:pt x="6586341" y="816155"/>
                  <a:pt x="6606198" y="808714"/>
                </a:cubicBezTo>
                <a:cubicBezTo>
                  <a:pt x="6598749" y="813673"/>
                  <a:pt x="6596269" y="818634"/>
                  <a:pt x="6591305" y="821116"/>
                </a:cubicBezTo>
                <a:cubicBezTo>
                  <a:pt x="6593788" y="823595"/>
                  <a:pt x="6596269" y="823595"/>
                  <a:pt x="6596269" y="823595"/>
                </a:cubicBezTo>
                <a:cubicBezTo>
                  <a:pt x="6613642" y="813673"/>
                  <a:pt x="6633499" y="806232"/>
                  <a:pt x="6653356" y="796309"/>
                </a:cubicBezTo>
                <a:cubicBezTo>
                  <a:pt x="6678177" y="783907"/>
                  <a:pt x="6702998" y="773984"/>
                  <a:pt x="6727821" y="761578"/>
                </a:cubicBezTo>
                <a:cubicBezTo>
                  <a:pt x="6727821" y="759099"/>
                  <a:pt x="6730304" y="761578"/>
                  <a:pt x="6730304" y="761578"/>
                </a:cubicBezTo>
                <a:cubicBezTo>
                  <a:pt x="6715408" y="771502"/>
                  <a:pt x="6698034" y="781424"/>
                  <a:pt x="6683141" y="791348"/>
                </a:cubicBezTo>
                <a:cubicBezTo>
                  <a:pt x="6688107" y="796309"/>
                  <a:pt x="6693071" y="798788"/>
                  <a:pt x="6700518" y="796309"/>
                </a:cubicBezTo>
                <a:cubicBezTo>
                  <a:pt x="6717891" y="788868"/>
                  <a:pt x="6732785" y="783907"/>
                  <a:pt x="6750158" y="776463"/>
                </a:cubicBezTo>
                <a:cubicBezTo>
                  <a:pt x="6755122" y="773984"/>
                  <a:pt x="6760086" y="773984"/>
                  <a:pt x="6765050" y="773984"/>
                </a:cubicBezTo>
                <a:cubicBezTo>
                  <a:pt x="6760086" y="791348"/>
                  <a:pt x="6742712" y="796309"/>
                  <a:pt x="6730304" y="803753"/>
                </a:cubicBezTo>
                <a:cubicBezTo>
                  <a:pt x="6727821" y="806232"/>
                  <a:pt x="6725336" y="806232"/>
                  <a:pt x="6722855" y="808714"/>
                </a:cubicBezTo>
                <a:cubicBezTo>
                  <a:pt x="6725336" y="808714"/>
                  <a:pt x="6725336" y="811194"/>
                  <a:pt x="6725336" y="811194"/>
                </a:cubicBezTo>
                <a:cubicBezTo>
                  <a:pt x="6747678" y="801270"/>
                  <a:pt x="6767535" y="791348"/>
                  <a:pt x="6789872" y="781424"/>
                </a:cubicBezTo>
                <a:cubicBezTo>
                  <a:pt x="6794836" y="786386"/>
                  <a:pt x="6799800" y="796309"/>
                  <a:pt x="6812213" y="793830"/>
                </a:cubicBezTo>
                <a:cubicBezTo>
                  <a:pt x="6809729" y="788868"/>
                  <a:pt x="6807249" y="788868"/>
                  <a:pt x="6807249" y="786386"/>
                </a:cubicBezTo>
                <a:cubicBezTo>
                  <a:pt x="6804764" y="783907"/>
                  <a:pt x="6802281" y="778945"/>
                  <a:pt x="6802281" y="776463"/>
                </a:cubicBezTo>
                <a:cubicBezTo>
                  <a:pt x="6804764" y="771502"/>
                  <a:pt x="6809729" y="769022"/>
                  <a:pt x="6812213" y="769022"/>
                </a:cubicBezTo>
                <a:cubicBezTo>
                  <a:pt x="6824621" y="771502"/>
                  <a:pt x="6829586" y="764061"/>
                  <a:pt x="6839514" y="761578"/>
                </a:cubicBezTo>
                <a:cubicBezTo>
                  <a:pt x="6849443" y="759099"/>
                  <a:pt x="6856888" y="754138"/>
                  <a:pt x="6866816" y="749177"/>
                </a:cubicBezTo>
                <a:close/>
              </a:path>
            </a:pathLst>
          </a:custGeom>
          <a:solidFill>
            <a:srgbClr val="00AF9A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7D6201-F31C-4026-5571-7DF2A4453C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17164" y="1165725"/>
            <a:ext cx="2770036" cy="463550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7CDDAC-6B00-CE01-BB4C-A8CAD4D006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17164" y="1897719"/>
            <a:ext cx="2770036" cy="4287182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02AD05-7501-8B73-695A-C80EF0783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6718771" cy="426891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93E095BF-1459-0A2F-3B08-00CDE7DE80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6718771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6B3ECF-16C4-1319-88B4-FB8B70CEB5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400"/>
            <a:ext cx="6727654" cy="66308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BBDA34-D2A7-F505-475D-C07E0885307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FD26181E-41A3-EB23-3CC9-A16D81548B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3660B91-4121-5FD9-2234-F70E3ED8A83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B07EF4E-CE18-D6C5-CF46-273AE01E37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442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nfo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3FD6EA8-A32A-4215-9446-C7DE77201C0B}"/>
              </a:ext>
            </a:extLst>
          </p:cNvPr>
          <p:cNvSpPr/>
          <p:nvPr userDrawn="1"/>
        </p:nvSpPr>
        <p:spPr>
          <a:xfrm rot="5400000" flipH="1">
            <a:off x="7120465" y="1786466"/>
            <a:ext cx="6121401" cy="4021667"/>
          </a:xfrm>
          <a:custGeom>
            <a:avLst/>
            <a:gdLst>
              <a:gd name="connsiteX0" fmla="*/ 137070 w 6436611"/>
              <a:gd name="connsiteY0" fmla="*/ 908758 h 4419155"/>
              <a:gd name="connsiteX1" fmla="*/ 130891 w 6436611"/>
              <a:gd name="connsiteY1" fmla="*/ 917782 h 4419155"/>
              <a:gd name="connsiteX2" fmla="*/ 130891 w 6436611"/>
              <a:gd name="connsiteY2" fmla="*/ 915524 h 4419155"/>
              <a:gd name="connsiteX3" fmla="*/ 120589 w 6436611"/>
              <a:gd name="connsiteY3" fmla="*/ 924548 h 4419155"/>
              <a:gd name="connsiteX4" fmla="*/ 137070 w 6436611"/>
              <a:gd name="connsiteY4" fmla="*/ 908758 h 4419155"/>
              <a:gd name="connsiteX5" fmla="*/ 1206220 w 6436611"/>
              <a:gd name="connsiteY5" fmla="*/ 3500785 h 4419155"/>
              <a:gd name="connsiteX6" fmla="*/ 1200039 w 6436611"/>
              <a:gd name="connsiteY6" fmla="*/ 3507554 h 4419155"/>
              <a:gd name="connsiteX7" fmla="*/ 1193860 w 6436611"/>
              <a:gd name="connsiteY7" fmla="*/ 3500785 h 4419155"/>
              <a:gd name="connsiteX8" fmla="*/ 1193860 w 6436611"/>
              <a:gd name="connsiteY8" fmla="*/ 3491762 h 4419155"/>
              <a:gd name="connsiteX9" fmla="*/ 1206220 w 6436611"/>
              <a:gd name="connsiteY9" fmla="*/ 3500785 h 4419155"/>
              <a:gd name="connsiteX10" fmla="*/ 1216519 w 6436611"/>
              <a:gd name="connsiteY10" fmla="*/ 3789541 h 4419155"/>
              <a:gd name="connsiteX11" fmla="*/ 1212398 w 6436611"/>
              <a:gd name="connsiteY11" fmla="*/ 3796307 h 4419155"/>
              <a:gd name="connsiteX12" fmla="*/ 1208282 w 6436611"/>
              <a:gd name="connsiteY12" fmla="*/ 3798565 h 4419155"/>
              <a:gd name="connsiteX13" fmla="*/ 1216519 w 6436611"/>
              <a:gd name="connsiteY13" fmla="*/ 3787284 h 4419155"/>
              <a:gd name="connsiteX14" fmla="*/ 1216519 w 6436611"/>
              <a:gd name="connsiteY14" fmla="*/ 3789541 h 4419155"/>
              <a:gd name="connsiteX15" fmla="*/ 1268021 w 6436611"/>
              <a:gd name="connsiteY15" fmla="*/ 3401524 h 4419155"/>
              <a:gd name="connsiteX16" fmla="*/ 1257720 w 6436611"/>
              <a:gd name="connsiteY16" fmla="*/ 3410550 h 4419155"/>
              <a:gd name="connsiteX17" fmla="*/ 1259782 w 6436611"/>
              <a:gd name="connsiteY17" fmla="*/ 3406039 h 4419155"/>
              <a:gd name="connsiteX18" fmla="*/ 1268021 w 6436611"/>
              <a:gd name="connsiteY18" fmla="*/ 3401524 h 4419155"/>
              <a:gd name="connsiteX19" fmla="*/ 1465053 w 6436611"/>
              <a:gd name="connsiteY19" fmla="*/ 4063572 h 4419155"/>
              <a:gd name="connsiteX20" fmla="*/ 1462177 w 6436611"/>
              <a:gd name="connsiteY20" fmla="*/ 4063914 h 4419155"/>
              <a:gd name="connsiteX21" fmla="*/ 1453423 w 6436611"/>
              <a:gd name="connsiteY21" fmla="*/ 4073783 h 4419155"/>
              <a:gd name="connsiteX22" fmla="*/ 1458706 w 6436611"/>
              <a:gd name="connsiteY22" fmla="*/ 4072838 h 4419155"/>
              <a:gd name="connsiteX23" fmla="*/ 1480203 w 6436611"/>
              <a:gd name="connsiteY23" fmla="*/ 3381223 h 4419155"/>
              <a:gd name="connsiteX24" fmla="*/ 1476082 w 6436611"/>
              <a:gd name="connsiteY24" fmla="*/ 3383480 h 4419155"/>
              <a:gd name="connsiteX25" fmla="*/ 1476082 w 6436611"/>
              <a:gd name="connsiteY25" fmla="*/ 3378968 h 4419155"/>
              <a:gd name="connsiteX26" fmla="*/ 1478144 w 6436611"/>
              <a:gd name="connsiteY26" fmla="*/ 3378968 h 4419155"/>
              <a:gd name="connsiteX27" fmla="*/ 1480203 w 6436611"/>
              <a:gd name="connsiteY27" fmla="*/ 3381223 h 4419155"/>
              <a:gd name="connsiteX28" fmla="*/ 1498742 w 6436611"/>
              <a:gd name="connsiteY28" fmla="*/ 3351896 h 4419155"/>
              <a:gd name="connsiteX29" fmla="*/ 1496683 w 6436611"/>
              <a:gd name="connsiteY29" fmla="*/ 3360921 h 4419155"/>
              <a:gd name="connsiteX30" fmla="*/ 1488442 w 6436611"/>
              <a:gd name="connsiteY30" fmla="*/ 3360921 h 4419155"/>
              <a:gd name="connsiteX31" fmla="*/ 1492562 w 6436611"/>
              <a:gd name="connsiteY31" fmla="*/ 3356408 h 4419155"/>
              <a:gd name="connsiteX32" fmla="*/ 1498742 w 6436611"/>
              <a:gd name="connsiteY32" fmla="*/ 3351896 h 4419155"/>
              <a:gd name="connsiteX33" fmla="*/ 1502864 w 6436611"/>
              <a:gd name="connsiteY33" fmla="*/ 3320314 h 4419155"/>
              <a:gd name="connsiteX34" fmla="*/ 1494621 w 6436611"/>
              <a:gd name="connsiteY34" fmla="*/ 3333849 h 4419155"/>
              <a:gd name="connsiteX35" fmla="*/ 1492562 w 6436611"/>
              <a:gd name="connsiteY35" fmla="*/ 3345127 h 4419155"/>
              <a:gd name="connsiteX36" fmla="*/ 1490501 w 6436611"/>
              <a:gd name="connsiteY36" fmla="*/ 3342874 h 4419155"/>
              <a:gd name="connsiteX37" fmla="*/ 1486383 w 6436611"/>
              <a:gd name="connsiteY37" fmla="*/ 3351896 h 4419155"/>
              <a:gd name="connsiteX38" fmla="*/ 1482264 w 6436611"/>
              <a:gd name="connsiteY38" fmla="*/ 3356408 h 4419155"/>
              <a:gd name="connsiteX39" fmla="*/ 1471962 w 6436611"/>
              <a:gd name="connsiteY39" fmla="*/ 3372198 h 4419155"/>
              <a:gd name="connsiteX40" fmla="*/ 1457543 w 6436611"/>
              <a:gd name="connsiteY40" fmla="*/ 3378968 h 4419155"/>
              <a:gd name="connsiteX41" fmla="*/ 1441062 w 6436611"/>
              <a:gd name="connsiteY41" fmla="*/ 3390246 h 4419155"/>
              <a:gd name="connsiteX42" fmla="*/ 1439001 w 6436611"/>
              <a:gd name="connsiteY42" fmla="*/ 3390246 h 4419155"/>
              <a:gd name="connsiteX43" fmla="*/ 1439001 w 6436611"/>
              <a:gd name="connsiteY43" fmla="*/ 3385734 h 4419155"/>
              <a:gd name="connsiteX44" fmla="*/ 1432823 w 6436611"/>
              <a:gd name="connsiteY44" fmla="*/ 3378968 h 4419155"/>
              <a:gd name="connsiteX45" fmla="*/ 1502864 w 6436611"/>
              <a:gd name="connsiteY45" fmla="*/ 3320314 h 4419155"/>
              <a:gd name="connsiteX46" fmla="*/ 1502864 w 6436611"/>
              <a:gd name="connsiteY46" fmla="*/ 3408294 h 4419155"/>
              <a:gd name="connsiteX47" fmla="*/ 1498742 w 6436611"/>
              <a:gd name="connsiteY47" fmla="*/ 3412805 h 4419155"/>
              <a:gd name="connsiteX48" fmla="*/ 1502864 w 6436611"/>
              <a:gd name="connsiteY48" fmla="*/ 3406039 h 4419155"/>
              <a:gd name="connsiteX49" fmla="*/ 1502864 w 6436611"/>
              <a:gd name="connsiteY49" fmla="*/ 3408294 h 4419155"/>
              <a:gd name="connsiteX50" fmla="*/ 1515222 w 6436611"/>
              <a:gd name="connsiteY50" fmla="*/ 4051223 h 4419155"/>
              <a:gd name="connsiteX51" fmla="*/ 1502864 w 6436611"/>
              <a:gd name="connsiteY51" fmla="*/ 4060247 h 4419155"/>
              <a:gd name="connsiteX52" fmla="*/ 1500803 w 6436611"/>
              <a:gd name="connsiteY52" fmla="*/ 4057993 h 4419155"/>
              <a:gd name="connsiteX53" fmla="*/ 1513163 w 6436611"/>
              <a:gd name="connsiteY53" fmla="*/ 4048968 h 4419155"/>
              <a:gd name="connsiteX54" fmla="*/ 1515222 w 6436611"/>
              <a:gd name="connsiteY54" fmla="*/ 4051223 h 4419155"/>
              <a:gd name="connsiteX55" fmla="*/ 1521403 w 6436611"/>
              <a:gd name="connsiteY55" fmla="*/ 3708328 h 4419155"/>
              <a:gd name="connsiteX56" fmla="*/ 1496683 w 6436611"/>
              <a:gd name="connsiteY56" fmla="*/ 3726376 h 4419155"/>
              <a:gd name="connsiteX57" fmla="*/ 1500803 w 6436611"/>
              <a:gd name="connsiteY57" fmla="*/ 3712840 h 4419155"/>
              <a:gd name="connsiteX58" fmla="*/ 1509558 w 6436611"/>
              <a:gd name="connsiteY58" fmla="*/ 3706354 h 4419155"/>
              <a:gd name="connsiteX59" fmla="*/ 1521403 w 6436611"/>
              <a:gd name="connsiteY59" fmla="*/ 3708328 h 4419155"/>
              <a:gd name="connsiteX60" fmla="*/ 1544062 w 6436611"/>
              <a:gd name="connsiteY60" fmla="*/ 3688026 h 4419155"/>
              <a:gd name="connsiteX61" fmla="*/ 1539942 w 6436611"/>
              <a:gd name="connsiteY61" fmla="*/ 3692538 h 4419155"/>
              <a:gd name="connsiteX62" fmla="*/ 1533764 w 6436611"/>
              <a:gd name="connsiteY62" fmla="*/ 3697050 h 4419155"/>
              <a:gd name="connsiteX63" fmla="*/ 1531703 w 6436611"/>
              <a:gd name="connsiteY63" fmla="*/ 3694792 h 4419155"/>
              <a:gd name="connsiteX64" fmla="*/ 1544062 w 6436611"/>
              <a:gd name="connsiteY64" fmla="*/ 3688026 h 4419155"/>
              <a:gd name="connsiteX65" fmla="*/ 1563267 w 6436611"/>
              <a:gd name="connsiteY65" fmla="*/ 4241450 h 4419155"/>
              <a:gd name="connsiteX66" fmla="*/ 1562601 w 6436611"/>
              <a:gd name="connsiteY66" fmla="*/ 4240721 h 4419155"/>
              <a:gd name="connsiteX67" fmla="*/ 1556423 w 6436611"/>
              <a:gd name="connsiteY67" fmla="*/ 4245233 h 4419155"/>
              <a:gd name="connsiteX68" fmla="*/ 1556955 w 6436611"/>
              <a:gd name="connsiteY68" fmla="*/ 4245815 h 4419155"/>
              <a:gd name="connsiteX69" fmla="*/ 1572903 w 6436611"/>
              <a:gd name="connsiteY69" fmla="*/ 3234588 h 4419155"/>
              <a:gd name="connsiteX70" fmla="*/ 1564663 w 6436611"/>
              <a:gd name="connsiteY70" fmla="*/ 3239100 h 4419155"/>
              <a:gd name="connsiteX71" fmla="*/ 1567237 w 6436611"/>
              <a:gd name="connsiteY71" fmla="*/ 3233460 h 4419155"/>
              <a:gd name="connsiteX72" fmla="*/ 1572903 w 6436611"/>
              <a:gd name="connsiteY72" fmla="*/ 3234588 h 4419155"/>
              <a:gd name="connsiteX73" fmla="*/ 1597624 w 6436611"/>
              <a:gd name="connsiteY73" fmla="*/ 3254894 h 4419155"/>
              <a:gd name="connsiteX74" fmla="*/ 1581144 w 6436611"/>
              <a:gd name="connsiteY74" fmla="*/ 3275196 h 4419155"/>
              <a:gd name="connsiteX75" fmla="*/ 1597624 w 6436611"/>
              <a:gd name="connsiteY75" fmla="*/ 3254894 h 4419155"/>
              <a:gd name="connsiteX76" fmla="*/ 1609983 w 6436611"/>
              <a:gd name="connsiteY76" fmla="*/ 3651932 h 4419155"/>
              <a:gd name="connsiteX77" fmla="*/ 1597624 w 6436611"/>
              <a:gd name="connsiteY77" fmla="*/ 3665466 h 4419155"/>
              <a:gd name="connsiteX78" fmla="*/ 1544062 w 6436611"/>
              <a:gd name="connsiteY78" fmla="*/ 3708328 h 4419155"/>
              <a:gd name="connsiteX79" fmla="*/ 1529644 w 6436611"/>
              <a:gd name="connsiteY79" fmla="*/ 3721863 h 4419155"/>
              <a:gd name="connsiteX80" fmla="*/ 1525523 w 6436611"/>
              <a:gd name="connsiteY80" fmla="*/ 3724118 h 4419155"/>
              <a:gd name="connsiteX81" fmla="*/ 1488442 w 6436611"/>
              <a:gd name="connsiteY81" fmla="*/ 3748934 h 4419155"/>
              <a:gd name="connsiteX82" fmla="*/ 1467842 w 6436611"/>
              <a:gd name="connsiteY82" fmla="*/ 3757958 h 4419155"/>
              <a:gd name="connsiteX83" fmla="*/ 1535822 w 6436611"/>
              <a:gd name="connsiteY83" fmla="*/ 3703816 h 4419155"/>
              <a:gd name="connsiteX84" fmla="*/ 1556423 w 6436611"/>
              <a:gd name="connsiteY84" fmla="*/ 3688026 h 4419155"/>
              <a:gd name="connsiteX85" fmla="*/ 1562601 w 6436611"/>
              <a:gd name="connsiteY85" fmla="*/ 3674490 h 4419155"/>
              <a:gd name="connsiteX86" fmla="*/ 1566722 w 6436611"/>
              <a:gd name="connsiteY86" fmla="*/ 3672234 h 4419155"/>
              <a:gd name="connsiteX87" fmla="*/ 1579085 w 6436611"/>
              <a:gd name="connsiteY87" fmla="*/ 3665466 h 4419155"/>
              <a:gd name="connsiteX88" fmla="*/ 1577023 w 6436611"/>
              <a:gd name="connsiteY88" fmla="*/ 3665466 h 4419155"/>
              <a:gd name="connsiteX89" fmla="*/ 1605864 w 6436611"/>
              <a:gd name="connsiteY89" fmla="*/ 3651932 h 4419155"/>
              <a:gd name="connsiteX90" fmla="*/ 1609983 w 6436611"/>
              <a:gd name="connsiteY90" fmla="*/ 3651932 h 4419155"/>
              <a:gd name="connsiteX91" fmla="*/ 1628523 w 6436611"/>
              <a:gd name="connsiteY91" fmla="*/ 3193984 h 4419155"/>
              <a:gd name="connsiteX92" fmla="*/ 1622344 w 6436611"/>
              <a:gd name="connsiteY92" fmla="*/ 3198493 h 4419155"/>
              <a:gd name="connsiteX93" fmla="*/ 1612042 w 6436611"/>
              <a:gd name="connsiteY93" fmla="*/ 3205263 h 4419155"/>
              <a:gd name="connsiteX94" fmla="*/ 1628523 w 6436611"/>
              <a:gd name="connsiteY94" fmla="*/ 3193984 h 4419155"/>
              <a:gd name="connsiteX95" fmla="*/ 1675903 w 6436611"/>
              <a:gd name="connsiteY95" fmla="*/ 3620348 h 4419155"/>
              <a:gd name="connsiteX96" fmla="*/ 1663545 w 6436611"/>
              <a:gd name="connsiteY96" fmla="*/ 3633884 h 4419155"/>
              <a:gd name="connsiteX97" fmla="*/ 1661483 w 6436611"/>
              <a:gd name="connsiteY97" fmla="*/ 3629372 h 4419155"/>
              <a:gd name="connsiteX98" fmla="*/ 1665604 w 6436611"/>
              <a:gd name="connsiteY98" fmla="*/ 3624860 h 4419155"/>
              <a:gd name="connsiteX99" fmla="*/ 1667665 w 6436611"/>
              <a:gd name="connsiteY99" fmla="*/ 3622603 h 4419155"/>
              <a:gd name="connsiteX100" fmla="*/ 1675903 w 6436611"/>
              <a:gd name="connsiteY100" fmla="*/ 3620348 h 4419155"/>
              <a:gd name="connsiteX101" fmla="*/ 1793324 w 6436611"/>
              <a:gd name="connsiteY101" fmla="*/ 3649674 h 4419155"/>
              <a:gd name="connsiteX102" fmla="*/ 1791265 w 6436611"/>
              <a:gd name="connsiteY102" fmla="*/ 3640652 h 4419155"/>
              <a:gd name="connsiteX103" fmla="*/ 1793324 w 6436611"/>
              <a:gd name="connsiteY103" fmla="*/ 3640652 h 4419155"/>
              <a:gd name="connsiteX104" fmla="*/ 1793324 w 6436611"/>
              <a:gd name="connsiteY104" fmla="*/ 3649674 h 4419155"/>
              <a:gd name="connsiteX105" fmla="*/ 1834525 w 6436611"/>
              <a:gd name="connsiteY105" fmla="*/ 3818867 h 4419155"/>
              <a:gd name="connsiteX106" fmla="*/ 1828347 w 6436611"/>
              <a:gd name="connsiteY106" fmla="*/ 3823379 h 4419155"/>
              <a:gd name="connsiteX107" fmla="*/ 1826285 w 6436611"/>
              <a:gd name="connsiteY107" fmla="*/ 3821124 h 4419155"/>
              <a:gd name="connsiteX108" fmla="*/ 1832467 w 6436611"/>
              <a:gd name="connsiteY108" fmla="*/ 3816613 h 4419155"/>
              <a:gd name="connsiteX109" fmla="*/ 1834525 w 6436611"/>
              <a:gd name="connsiteY109" fmla="*/ 3818867 h 4419155"/>
              <a:gd name="connsiteX110" fmla="*/ 1923684 w 6436611"/>
              <a:gd name="connsiteY110" fmla="*/ 4070248 h 4419155"/>
              <a:gd name="connsiteX111" fmla="*/ 1913886 w 6436611"/>
              <a:gd name="connsiteY111" fmla="*/ 4076685 h 4419155"/>
              <a:gd name="connsiteX112" fmla="*/ 1914866 w 6436611"/>
              <a:gd name="connsiteY112" fmla="*/ 4078295 h 4419155"/>
              <a:gd name="connsiteX113" fmla="*/ 1925858 w 6436611"/>
              <a:gd name="connsiteY113" fmla="*/ 4068264 h 4419155"/>
              <a:gd name="connsiteX114" fmla="*/ 1923684 w 6436611"/>
              <a:gd name="connsiteY114" fmla="*/ 4070248 h 4419155"/>
              <a:gd name="connsiteX115" fmla="*/ 1925167 w 6436611"/>
              <a:gd name="connsiteY115" fmla="*/ 4069274 h 4419155"/>
              <a:gd name="connsiteX116" fmla="*/ 1931347 w 6436611"/>
              <a:gd name="connsiteY116" fmla="*/ 4080552 h 4419155"/>
              <a:gd name="connsiteX117" fmla="*/ 1931347 w 6436611"/>
              <a:gd name="connsiteY117" fmla="*/ 4078295 h 4419155"/>
              <a:gd name="connsiteX118" fmla="*/ 1927226 w 6436611"/>
              <a:gd name="connsiteY118" fmla="*/ 4085063 h 4419155"/>
              <a:gd name="connsiteX119" fmla="*/ 1931347 w 6436611"/>
              <a:gd name="connsiteY119" fmla="*/ 4080552 h 4419155"/>
              <a:gd name="connsiteX120" fmla="*/ 1991953 w 6436611"/>
              <a:gd name="connsiteY120" fmla="*/ 4021688 h 4419155"/>
              <a:gd name="connsiteX121" fmla="*/ 1989027 w 6436611"/>
              <a:gd name="connsiteY121" fmla="*/ 4021898 h 4419155"/>
              <a:gd name="connsiteX122" fmla="*/ 1978726 w 6436611"/>
              <a:gd name="connsiteY122" fmla="*/ 4026410 h 4419155"/>
              <a:gd name="connsiteX123" fmla="*/ 1969457 w 6436611"/>
              <a:gd name="connsiteY123" fmla="*/ 4032896 h 4419155"/>
              <a:gd name="connsiteX124" fmla="*/ 1966927 w 6436611"/>
              <a:gd name="connsiteY124" fmla="*/ 4032357 h 4419155"/>
              <a:gd name="connsiteX125" fmla="*/ 1941647 w 6436611"/>
              <a:gd name="connsiteY125" fmla="*/ 4048968 h 4419155"/>
              <a:gd name="connsiteX126" fmla="*/ 1932866 w 6436611"/>
              <a:gd name="connsiteY126" fmla="*/ 4054147 h 4419155"/>
              <a:gd name="connsiteX127" fmla="*/ 1931347 w 6436611"/>
              <a:gd name="connsiteY127" fmla="*/ 4060247 h 4419155"/>
              <a:gd name="connsiteX128" fmla="*/ 1925858 w 6436611"/>
              <a:gd name="connsiteY128" fmla="*/ 4068264 h 4419155"/>
              <a:gd name="connsiteX129" fmla="*/ 1927226 w 6436611"/>
              <a:gd name="connsiteY129" fmla="*/ 4067016 h 4419155"/>
              <a:gd name="connsiteX130" fmla="*/ 1933408 w 6436611"/>
              <a:gd name="connsiteY130" fmla="*/ 4062504 h 4419155"/>
              <a:gd name="connsiteX131" fmla="*/ 1949888 w 6436611"/>
              <a:gd name="connsiteY131" fmla="*/ 4055736 h 4419155"/>
              <a:gd name="connsiteX132" fmla="*/ 2046706 w 6436611"/>
              <a:gd name="connsiteY132" fmla="*/ 3135330 h 4419155"/>
              <a:gd name="connsiteX133" fmla="*/ 2044647 w 6436611"/>
              <a:gd name="connsiteY133" fmla="*/ 3137585 h 4419155"/>
              <a:gd name="connsiteX134" fmla="*/ 2042588 w 6436611"/>
              <a:gd name="connsiteY134" fmla="*/ 3135330 h 4419155"/>
              <a:gd name="connsiteX135" fmla="*/ 2046706 w 6436611"/>
              <a:gd name="connsiteY135" fmla="*/ 3135330 h 4419155"/>
              <a:gd name="connsiteX136" fmla="*/ 2073488 w 6436611"/>
              <a:gd name="connsiteY136" fmla="*/ 3124049 h 4419155"/>
              <a:gd name="connsiteX137" fmla="*/ 2069368 w 6436611"/>
              <a:gd name="connsiteY137" fmla="*/ 3130818 h 4419155"/>
              <a:gd name="connsiteX138" fmla="*/ 2071427 w 6436611"/>
              <a:gd name="connsiteY138" fmla="*/ 3124049 h 4419155"/>
              <a:gd name="connsiteX139" fmla="*/ 2073488 w 6436611"/>
              <a:gd name="connsiteY139" fmla="*/ 3124049 h 4419155"/>
              <a:gd name="connsiteX140" fmla="*/ 2281549 w 6436611"/>
              <a:gd name="connsiteY140" fmla="*/ 4073783 h 4419155"/>
              <a:gd name="connsiteX141" fmla="*/ 2275371 w 6436611"/>
              <a:gd name="connsiteY141" fmla="*/ 4080552 h 4419155"/>
              <a:gd name="connsiteX142" fmla="*/ 2279491 w 6436611"/>
              <a:gd name="connsiteY142" fmla="*/ 4071529 h 4419155"/>
              <a:gd name="connsiteX143" fmla="*/ 2281549 w 6436611"/>
              <a:gd name="connsiteY143" fmla="*/ 4073783 h 4419155"/>
              <a:gd name="connsiteX144" fmla="*/ 2413392 w 6436611"/>
              <a:gd name="connsiteY144" fmla="*/ 4281325 h 4419155"/>
              <a:gd name="connsiteX145" fmla="*/ 2403091 w 6436611"/>
              <a:gd name="connsiteY145" fmla="*/ 4285837 h 4419155"/>
              <a:gd name="connsiteX146" fmla="*/ 2411330 w 6436611"/>
              <a:gd name="connsiteY146" fmla="*/ 4276814 h 4419155"/>
              <a:gd name="connsiteX147" fmla="*/ 2413392 w 6436611"/>
              <a:gd name="connsiteY147" fmla="*/ 4281325 h 4419155"/>
              <a:gd name="connsiteX148" fmla="*/ 2414936 w 6436611"/>
              <a:gd name="connsiteY148" fmla="*/ 4303039 h 4419155"/>
              <a:gd name="connsiteX149" fmla="*/ 2413392 w 6436611"/>
              <a:gd name="connsiteY149" fmla="*/ 4312909 h 4419155"/>
              <a:gd name="connsiteX150" fmla="*/ 2413392 w 6436611"/>
              <a:gd name="connsiteY150" fmla="*/ 4294863 h 4419155"/>
              <a:gd name="connsiteX151" fmla="*/ 2414936 w 6436611"/>
              <a:gd name="connsiteY151" fmla="*/ 4303039 h 4419155"/>
              <a:gd name="connsiteX152" fmla="*/ 2425752 w 6436611"/>
              <a:gd name="connsiteY152" fmla="*/ 4279071 h 4419155"/>
              <a:gd name="connsiteX153" fmla="*/ 2423691 w 6436611"/>
              <a:gd name="connsiteY153" fmla="*/ 4281325 h 4419155"/>
              <a:gd name="connsiteX154" fmla="*/ 2419571 w 6436611"/>
              <a:gd name="connsiteY154" fmla="*/ 4274559 h 4419155"/>
              <a:gd name="connsiteX155" fmla="*/ 2421632 w 6436611"/>
              <a:gd name="connsiteY155" fmla="*/ 4272305 h 4419155"/>
              <a:gd name="connsiteX156" fmla="*/ 2425752 w 6436611"/>
              <a:gd name="connsiteY156" fmla="*/ 4279071 h 4419155"/>
              <a:gd name="connsiteX157" fmla="*/ 2462830 w 6436611"/>
              <a:gd name="connsiteY157" fmla="*/ 4308397 h 4419155"/>
              <a:gd name="connsiteX158" fmla="*/ 2442230 w 6436611"/>
              <a:gd name="connsiteY158" fmla="*/ 4330956 h 4419155"/>
              <a:gd name="connsiteX159" fmla="*/ 2440171 w 6436611"/>
              <a:gd name="connsiteY159" fmla="*/ 4328701 h 4419155"/>
              <a:gd name="connsiteX160" fmla="*/ 2446353 w 6436611"/>
              <a:gd name="connsiteY160" fmla="*/ 4317420 h 4419155"/>
              <a:gd name="connsiteX161" fmla="*/ 2444291 w 6436611"/>
              <a:gd name="connsiteY161" fmla="*/ 4315166 h 4419155"/>
              <a:gd name="connsiteX162" fmla="*/ 2433992 w 6436611"/>
              <a:gd name="connsiteY162" fmla="*/ 4321932 h 4419155"/>
              <a:gd name="connsiteX163" fmla="*/ 2442230 w 6436611"/>
              <a:gd name="connsiteY163" fmla="*/ 4301630 h 4419155"/>
              <a:gd name="connsiteX164" fmla="*/ 2450473 w 6436611"/>
              <a:gd name="connsiteY164" fmla="*/ 4310654 h 4419155"/>
              <a:gd name="connsiteX165" fmla="*/ 2462830 w 6436611"/>
              <a:gd name="connsiteY165" fmla="*/ 4306142 h 4419155"/>
              <a:gd name="connsiteX166" fmla="*/ 2462830 w 6436611"/>
              <a:gd name="connsiteY166" fmla="*/ 4308397 h 4419155"/>
              <a:gd name="connsiteX167" fmla="*/ 2497853 w 6436611"/>
              <a:gd name="connsiteY167" fmla="*/ 4344492 h 4419155"/>
              <a:gd name="connsiteX168" fmla="*/ 2479312 w 6436611"/>
              <a:gd name="connsiteY168" fmla="*/ 4360281 h 4419155"/>
              <a:gd name="connsiteX169" fmla="*/ 2497853 w 6436611"/>
              <a:gd name="connsiteY169" fmla="*/ 4344492 h 4419155"/>
              <a:gd name="connsiteX170" fmla="*/ 2504032 w 6436611"/>
              <a:gd name="connsiteY170" fmla="*/ 4378328 h 4419155"/>
              <a:gd name="connsiteX171" fmla="*/ 2495794 w 6436611"/>
              <a:gd name="connsiteY171" fmla="*/ 4389610 h 4419155"/>
              <a:gd name="connsiteX172" fmla="*/ 2504032 w 6436611"/>
              <a:gd name="connsiteY172" fmla="*/ 4378328 h 4419155"/>
              <a:gd name="connsiteX173" fmla="*/ 2626780 w 6436611"/>
              <a:gd name="connsiteY173" fmla="*/ 4360905 h 4419155"/>
              <a:gd name="connsiteX174" fmla="*/ 2623016 w 6436611"/>
              <a:gd name="connsiteY174" fmla="*/ 4359669 h 4419155"/>
              <a:gd name="connsiteX175" fmla="*/ 2620939 w 6436611"/>
              <a:gd name="connsiteY175" fmla="*/ 4360419 h 4419155"/>
              <a:gd name="connsiteX176" fmla="*/ 2617333 w 6436611"/>
              <a:gd name="connsiteY176" fmla="*/ 4369308 h 4419155"/>
              <a:gd name="connsiteX177" fmla="*/ 2619443 w 6436611"/>
              <a:gd name="connsiteY177" fmla="*/ 4368317 h 4419155"/>
              <a:gd name="connsiteX178" fmla="*/ 2621453 w 6436611"/>
              <a:gd name="connsiteY178" fmla="*/ 4364796 h 4419155"/>
              <a:gd name="connsiteX179" fmla="*/ 2646173 w 6436611"/>
              <a:gd name="connsiteY179" fmla="*/ 4351260 h 4419155"/>
              <a:gd name="connsiteX180" fmla="*/ 2633813 w 6436611"/>
              <a:gd name="connsiteY180" fmla="*/ 4358026 h 4419155"/>
              <a:gd name="connsiteX181" fmla="*/ 2646173 w 6436611"/>
              <a:gd name="connsiteY181" fmla="*/ 4351260 h 4419155"/>
              <a:gd name="connsiteX182" fmla="*/ 2662654 w 6436611"/>
              <a:gd name="connsiteY182" fmla="*/ 4382841 h 4419155"/>
              <a:gd name="connsiteX183" fmla="*/ 2660595 w 6436611"/>
              <a:gd name="connsiteY183" fmla="*/ 4380587 h 4419155"/>
              <a:gd name="connsiteX184" fmla="*/ 2652353 w 6436611"/>
              <a:gd name="connsiteY184" fmla="*/ 4387353 h 4419155"/>
              <a:gd name="connsiteX185" fmla="*/ 2662654 w 6436611"/>
              <a:gd name="connsiteY185" fmla="*/ 4382841 h 4419155"/>
              <a:gd name="connsiteX186" fmla="*/ 2670894 w 6436611"/>
              <a:gd name="connsiteY186" fmla="*/ 4328701 h 4419155"/>
              <a:gd name="connsiteX187" fmla="*/ 2670893 w 6436611"/>
              <a:gd name="connsiteY187" fmla="*/ 4328701 h 4419155"/>
              <a:gd name="connsiteX188" fmla="*/ 2664392 w 6436611"/>
              <a:gd name="connsiteY188" fmla="*/ 4332261 h 4419155"/>
              <a:gd name="connsiteX189" fmla="*/ 2703855 w 6436611"/>
              <a:gd name="connsiteY189" fmla="*/ 4319677 h 4419155"/>
              <a:gd name="connsiteX190" fmla="*/ 2697673 w 6436611"/>
              <a:gd name="connsiteY190" fmla="*/ 4317420 h 4419155"/>
              <a:gd name="connsiteX191" fmla="*/ 2697673 w 6436611"/>
              <a:gd name="connsiteY191" fmla="*/ 4324190 h 4419155"/>
              <a:gd name="connsiteX192" fmla="*/ 2701794 w 6436611"/>
              <a:gd name="connsiteY192" fmla="*/ 4324190 h 4419155"/>
              <a:gd name="connsiteX193" fmla="*/ 2703855 w 6436611"/>
              <a:gd name="connsiteY193" fmla="*/ 4319677 h 4419155"/>
              <a:gd name="connsiteX194" fmla="*/ 2798615 w 6436611"/>
              <a:gd name="connsiteY194" fmla="*/ 4288095 h 4419155"/>
              <a:gd name="connsiteX195" fmla="*/ 2796556 w 6436611"/>
              <a:gd name="connsiteY195" fmla="*/ 4285837 h 4419155"/>
              <a:gd name="connsiteX196" fmla="*/ 2769774 w 6436611"/>
              <a:gd name="connsiteY196" fmla="*/ 4303884 h 4419155"/>
              <a:gd name="connsiteX197" fmla="*/ 2798615 w 6436611"/>
              <a:gd name="connsiteY197" fmla="*/ 4288095 h 4419155"/>
              <a:gd name="connsiteX198" fmla="*/ 2858354 w 6436611"/>
              <a:gd name="connsiteY198" fmla="*/ 4254254 h 4419155"/>
              <a:gd name="connsiteX199" fmla="*/ 2852176 w 6436611"/>
              <a:gd name="connsiteY199" fmla="*/ 4252000 h 4419155"/>
              <a:gd name="connsiteX200" fmla="*/ 2817156 w 6436611"/>
              <a:gd name="connsiteY200" fmla="*/ 4272305 h 4419155"/>
              <a:gd name="connsiteX201" fmla="*/ 2802735 w 6436611"/>
              <a:gd name="connsiteY201" fmla="*/ 4285837 h 4419155"/>
              <a:gd name="connsiteX202" fmla="*/ 2839815 w 6436611"/>
              <a:gd name="connsiteY202" fmla="*/ 4270048 h 4419155"/>
              <a:gd name="connsiteX203" fmla="*/ 2858354 w 6436611"/>
              <a:gd name="connsiteY203" fmla="*/ 4254254 h 4419155"/>
              <a:gd name="connsiteX204" fmla="*/ 2893376 w 6436611"/>
              <a:gd name="connsiteY204" fmla="*/ 4220417 h 4419155"/>
              <a:gd name="connsiteX205" fmla="*/ 2862477 w 6436611"/>
              <a:gd name="connsiteY205" fmla="*/ 4245233 h 4419155"/>
              <a:gd name="connsiteX206" fmla="*/ 2893376 w 6436611"/>
              <a:gd name="connsiteY206" fmla="*/ 4220417 h 4419155"/>
              <a:gd name="connsiteX207" fmla="*/ 2911915 w 6436611"/>
              <a:gd name="connsiteY207" fmla="*/ 4173043 h 4419155"/>
              <a:gd name="connsiteX208" fmla="*/ 2909856 w 6436611"/>
              <a:gd name="connsiteY208" fmla="*/ 4177555 h 4419155"/>
              <a:gd name="connsiteX209" fmla="*/ 2903676 w 6436611"/>
              <a:gd name="connsiteY209" fmla="*/ 4177555 h 4419155"/>
              <a:gd name="connsiteX210" fmla="*/ 2903676 w 6436611"/>
              <a:gd name="connsiteY210" fmla="*/ 4170789 h 4419155"/>
              <a:gd name="connsiteX211" fmla="*/ 2911915 w 6436611"/>
              <a:gd name="connsiteY211" fmla="*/ 4173043 h 4419155"/>
              <a:gd name="connsiteX212" fmla="*/ 2920156 w 6436611"/>
              <a:gd name="connsiteY212" fmla="*/ 4213651 h 4419155"/>
              <a:gd name="connsiteX213" fmla="*/ 2918097 w 6436611"/>
              <a:gd name="connsiteY213" fmla="*/ 4211393 h 4419155"/>
              <a:gd name="connsiteX214" fmla="*/ 2911915 w 6436611"/>
              <a:gd name="connsiteY214" fmla="*/ 4215904 h 4419155"/>
              <a:gd name="connsiteX215" fmla="*/ 2913977 w 6436611"/>
              <a:gd name="connsiteY215" fmla="*/ 4218162 h 4419155"/>
              <a:gd name="connsiteX216" fmla="*/ 2920156 w 6436611"/>
              <a:gd name="connsiteY216" fmla="*/ 4213651 h 4419155"/>
              <a:gd name="connsiteX217" fmla="*/ 2934577 w 6436611"/>
              <a:gd name="connsiteY217" fmla="*/ 4159507 h 4419155"/>
              <a:gd name="connsiteX218" fmla="*/ 2913977 w 6436611"/>
              <a:gd name="connsiteY218" fmla="*/ 4168532 h 4419155"/>
              <a:gd name="connsiteX219" fmla="*/ 2932516 w 6436611"/>
              <a:gd name="connsiteY219" fmla="*/ 4157251 h 4419155"/>
              <a:gd name="connsiteX220" fmla="*/ 2934577 w 6436611"/>
              <a:gd name="connsiteY220" fmla="*/ 4159507 h 4419155"/>
              <a:gd name="connsiteX221" fmla="*/ 2934577 w 6436611"/>
              <a:gd name="connsiteY221" fmla="*/ 4197857 h 4419155"/>
              <a:gd name="connsiteX222" fmla="*/ 2928396 w 6436611"/>
              <a:gd name="connsiteY222" fmla="*/ 4202370 h 4419155"/>
              <a:gd name="connsiteX223" fmla="*/ 2928396 w 6436611"/>
              <a:gd name="connsiteY223" fmla="*/ 4206881 h 4419155"/>
              <a:gd name="connsiteX224" fmla="*/ 2932516 w 6436611"/>
              <a:gd name="connsiteY224" fmla="*/ 4204627 h 4419155"/>
              <a:gd name="connsiteX225" fmla="*/ 2934577 w 6436611"/>
              <a:gd name="connsiteY225" fmla="*/ 4197857 h 4419155"/>
              <a:gd name="connsiteX226" fmla="*/ 2979899 w 6436611"/>
              <a:gd name="connsiteY226" fmla="*/ 4168532 h 4419155"/>
              <a:gd name="connsiteX227" fmla="*/ 2965477 w 6436611"/>
              <a:gd name="connsiteY227" fmla="*/ 4168532 h 4419155"/>
              <a:gd name="connsiteX228" fmla="*/ 2979899 w 6436611"/>
              <a:gd name="connsiteY228" fmla="*/ 4168532 h 4419155"/>
              <a:gd name="connsiteX229" fmla="*/ 3002558 w 6436611"/>
              <a:gd name="connsiteY229" fmla="*/ 4060247 h 4419155"/>
              <a:gd name="connsiteX230" fmla="*/ 2986077 w 6436611"/>
              <a:gd name="connsiteY230" fmla="*/ 4073783 h 4419155"/>
              <a:gd name="connsiteX231" fmla="*/ 2994317 w 6436611"/>
              <a:gd name="connsiteY231" fmla="*/ 4055736 h 4419155"/>
              <a:gd name="connsiteX232" fmla="*/ 3002558 w 6436611"/>
              <a:gd name="connsiteY232" fmla="*/ 4060247 h 4419155"/>
              <a:gd name="connsiteX233" fmla="*/ 3012856 w 6436611"/>
              <a:gd name="connsiteY233" fmla="*/ 4053481 h 4419155"/>
              <a:gd name="connsiteX234" fmla="*/ 3002558 w 6436611"/>
              <a:gd name="connsiteY234" fmla="*/ 4062504 h 4419155"/>
              <a:gd name="connsiteX235" fmla="*/ 3003845 w 6436611"/>
              <a:gd name="connsiteY235" fmla="*/ 4052916 h 4419155"/>
              <a:gd name="connsiteX236" fmla="*/ 3012856 w 6436611"/>
              <a:gd name="connsiteY236" fmla="*/ 4053481 h 4419155"/>
              <a:gd name="connsiteX237" fmla="*/ 3025003 w 6436611"/>
              <a:gd name="connsiteY237" fmla="*/ 4140210 h 4419155"/>
              <a:gd name="connsiteX238" fmla="*/ 3023406 w 6436611"/>
              <a:gd name="connsiteY238" fmla="*/ 4138086 h 4419155"/>
              <a:gd name="connsiteX239" fmla="*/ 3016977 w 6436611"/>
              <a:gd name="connsiteY239" fmla="*/ 4143718 h 4419155"/>
              <a:gd name="connsiteX240" fmla="*/ 3023672 w 6436611"/>
              <a:gd name="connsiteY240" fmla="*/ 4143436 h 4419155"/>
              <a:gd name="connsiteX241" fmla="*/ 3039636 w 6436611"/>
              <a:gd name="connsiteY241" fmla="*/ 4078295 h 4419155"/>
              <a:gd name="connsiteX242" fmla="*/ 3037577 w 6436611"/>
              <a:gd name="connsiteY242" fmla="*/ 4089576 h 4419155"/>
              <a:gd name="connsiteX243" fmla="*/ 3004616 w 6436611"/>
              <a:gd name="connsiteY243" fmla="*/ 4116647 h 4419155"/>
              <a:gd name="connsiteX244" fmla="*/ 2998438 w 6436611"/>
              <a:gd name="connsiteY244" fmla="*/ 4118901 h 4419155"/>
              <a:gd name="connsiteX245" fmla="*/ 2996376 w 6436611"/>
              <a:gd name="connsiteY245" fmla="*/ 4114390 h 4419155"/>
              <a:gd name="connsiteX246" fmla="*/ 3039636 w 6436611"/>
              <a:gd name="connsiteY246" fmla="*/ 4078295 h 4419155"/>
              <a:gd name="connsiteX247" fmla="*/ 3054058 w 6436611"/>
              <a:gd name="connsiteY247" fmla="*/ 4060247 h 4419155"/>
              <a:gd name="connsiteX248" fmla="*/ 3049938 w 6436611"/>
              <a:gd name="connsiteY248" fmla="*/ 4064761 h 4419155"/>
              <a:gd name="connsiteX249" fmla="*/ 3014915 w 6436611"/>
              <a:gd name="connsiteY249" fmla="*/ 4085063 h 4419155"/>
              <a:gd name="connsiteX250" fmla="*/ 2992256 w 6436611"/>
              <a:gd name="connsiteY250" fmla="*/ 4105365 h 4419155"/>
              <a:gd name="connsiteX251" fmla="*/ 2981957 w 6436611"/>
              <a:gd name="connsiteY251" fmla="*/ 4100854 h 4419155"/>
              <a:gd name="connsiteX252" fmla="*/ 3004616 w 6436611"/>
              <a:gd name="connsiteY252" fmla="*/ 4082806 h 4419155"/>
              <a:gd name="connsiteX253" fmla="*/ 3039636 w 6436611"/>
              <a:gd name="connsiteY253" fmla="*/ 4057993 h 4419155"/>
              <a:gd name="connsiteX254" fmla="*/ 3049938 w 6436611"/>
              <a:gd name="connsiteY254" fmla="*/ 4055736 h 4419155"/>
              <a:gd name="connsiteX255" fmla="*/ 3054058 w 6436611"/>
              <a:gd name="connsiteY255" fmla="*/ 4060247 h 4419155"/>
              <a:gd name="connsiteX256" fmla="*/ 3064356 w 6436611"/>
              <a:gd name="connsiteY256" fmla="*/ 4030921 h 4419155"/>
              <a:gd name="connsiteX257" fmla="*/ 3039636 w 6436611"/>
              <a:gd name="connsiteY257" fmla="*/ 4044457 h 4419155"/>
              <a:gd name="connsiteX258" fmla="*/ 3058177 w 6436611"/>
              <a:gd name="connsiteY258" fmla="*/ 4012874 h 4419155"/>
              <a:gd name="connsiteX259" fmla="*/ 3062297 w 6436611"/>
              <a:gd name="connsiteY259" fmla="*/ 4015132 h 4419155"/>
              <a:gd name="connsiteX260" fmla="*/ 3064356 w 6436611"/>
              <a:gd name="connsiteY260" fmla="*/ 4030921 h 4419155"/>
              <a:gd name="connsiteX261" fmla="*/ 3078778 w 6436611"/>
              <a:gd name="connsiteY261" fmla="*/ 4008362 h 4419155"/>
              <a:gd name="connsiteX262" fmla="*/ 3072599 w 6436611"/>
              <a:gd name="connsiteY262" fmla="*/ 4012874 h 4419155"/>
              <a:gd name="connsiteX263" fmla="*/ 3070538 w 6436611"/>
              <a:gd name="connsiteY263" fmla="*/ 4010619 h 4419155"/>
              <a:gd name="connsiteX264" fmla="*/ 3074658 w 6436611"/>
              <a:gd name="connsiteY264" fmla="*/ 4001596 h 4419155"/>
              <a:gd name="connsiteX265" fmla="*/ 3078778 w 6436611"/>
              <a:gd name="connsiteY265" fmla="*/ 4008362 h 4419155"/>
              <a:gd name="connsiteX266" fmla="*/ 3097317 w 6436611"/>
              <a:gd name="connsiteY266" fmla="*/ 4046714 h 4419155"/>
              <a:gd name="connsiteX267" fmla="*/ 3093197 w 6436611"/>
              <a:gd name="connsiteY267" fmla="*/ 4053481 h 4419155"/>
              <a:gd name="connsiteX268" fmla="*/ 3062297 w 6436611"/>
              <a:gd name="connsiteY268" fmla="*/ 4069274 h 4419155"/>
              <a:gd name="connsiteX269" fmla="*/ 3056116 w 6436611"/>
              <a:gd name="connsiteY269" fmla="*/ 4073783 h 4419155"/>
              <a:gd name="connsiteX270" fmla="*/ 3049938 w 6436611"/>
              <a:gd name="connsiteY270" fmla="*/ 4073783 h 4419155"/>
              <a:gd name="connsiteX271" fmla="*/ 3047879 w 6436611"/>
              <a:gd name="connsiteY271" fmla="*/ 4069274 h 4419155"/>
              <a:gd name="connsiteX272" fmla="*/ 3072599 w 6436611"/>
              <a:gd name="connsiteY272" fmla="*/ 4048968 h 4419155"/>
              <a:gd name="connsiteX273" fmla="*/ 3078778 w 6436611"/>
              <a:gd name="connsiteY273" fmla="*/ 4037691 h 4419155"/>
              <a:gd name="connsiteX274" fmla="*/ 3084957 w 6436611"/>
              <a:gd name="connsiteY274" fmla="*/ 4026410 h 4419155"/>
              <a:gd name="connsiteX275" fmla="*/ 3087018 w 6436611"/>
              <a:gd name="connsiteY275" fmla="*/ 4030921 h 4419155"/>
              <a:gd name="connsiteX276" fmla="*/ 3084957 w 6436611"/>
              <a:gd name="connsiteY276" fmla="*/ 4037691 h 4419155"/>
              <a:gd name="connsiteX277" fmla="*/ 3089077 w 6436611"/>
              <a:gd name="connsiteY277" fmla="*/ 4035434 h 4419155"/>
              <a:gd name="connsiteX278" fmla="*/ 3095259 w 6436611"/>
              <a:gd name="connsiteY278" fmla="*/ 4044457 h 4419155"/>
              <a:gd name="connsiteX279" fmla="*/ 3097317 w 6436611"/>
              <a:gd name="connsiteY279" fmla="*/ 4046714 h 4419155"/>
              <a:gd name="connsiteX280" fmla="*/ 3101438 w 6436611"/>
              <a:gd name="connsiteY280" fmla="*/ 4080552 h 4419155"/>
              <a:gd name="connsiteX281" fmla="*/ 3097317 w 6436611"/>
              <a:gd name="connsiteY281" fmla="*/ 4080552 h 4419155"/>
              <a:gd name="connsiteX282" fmla="*/ 3097317 w 6436611"/>
              <a:gd name="connsiteY282" fmla="*/ 4078295 h 4419155"/>
              <a:gd name="connsiteX283" fmla="*/ 3101438 w 6436611"/>
              <a:gd name="connsiteY283" fmla="*/ 4078295 h 4419155"/>
              <a:gd name="connsiteX284" fmla="*/ 3101438 w 6436611"/>
              <a:gd name="connsiteY284" fmla="*/ 4080552 h 4419155"/>
              <a:gd name="connsiteX285" fmla="*/ 3187959 w 6436611"/>
              <a:gd name="connsiteY285" fmla="*/ 3954220 h 4419155"/>
              <a:gd name="connsiteX286" fmla="*/ 3181777 w 6436611"/>
              <a:gd name="connsiteY286" fmla="*/ 3956477 h 4419155"/>
              <a:gd name="connsiteX287" fmla="*/ 3181777 w 6436611"/>
              <a:gd name="connsiteY287" fmla="*/ 3954220 h 4419155"/>
              <a:gd name="connsiteX288" fmla="*/ 3187959 w 6436611"/>
              <a:gd name="connsiteY288" fmla="*/ 3951965 h 4419155"/>
              <a:gd name="connsiteX289" fmla="*/ 3187959 w 6436611"/>
              <a:gd name="connsiteY289" fmla="*/ 3954220 h 4419155"/>
              <a:gd name="connsiteX290" fmla="*/ 3190018 w 6436611"/>
              <a:gd name="connsiteY290" fmla="*/ 3920382 h 4419155"/>
              <a:gd name="connsiteX291" fmla="*/ 3185898 w 6436611"/>
              <a:gd name="connsiteY291" fmla="*/ 3922640 h 4419155"/>
              <a:gd name="connsiteX292" fmla="*/ 3185898 w 6436611"/>
              <a:gd name="connsiteY292" fmla="*/ 3918128 h 4419155"/>
              <a:gd name="connsiteX293" fmla="*/ 3190018 w 6436611"/>
              <a:gd name="connsiteY293" fmla="*/ 3920382 h 4419155"/>
              <a:gd name="connsiteX294" fmla="*/ 3235339 w 6436611"/>
              <a:gd name="connsiteY294" fmla="*/ 4089576 h 4419155"/>
              <a:gd name="connsiteX295" fmla="*/ 3232259 w 6436611"/>
              <a:gd name="connsiteY295" fmla="*/ 4086203 h 4419155"/>
              <a:gd name="connsiteX296" fmla="*/ 3231219 w 6436611"/>
              <a:gd name="connsiteY296" fmla="*/ 4087318 h 4419155"/>
              <a:gd name="connsiteX297" fmla="*/ 3231219 w 6436611"/>
              <a:gd name="connsiteY297" fmla="*/ 4088447 h 4419155"/>
              <a:gd name="connsiteX298" fmla="*/ 3245638 w 6436611"/>
              <a:gd name="connsiteY298" fmla="*/ 4103111 h 4419155"/>
              <a:gd name="connsiteX299" fmla="*/ 3241084 w 6436611"/>
              <a:gd name="connsiteY299" fmla="*/ 4094799 h 4419155"/>
              <a:gd name="connsiteX300" fmla="*/ 3239459 w 6436611"/>
              <a:gd name="connsiteY300" fmla="*/ 4097470 h 4419155"/>
              <a:gd name="connsiteX301" fmla="*/ 3239459 w 6436611"/>
              <a:gd name="connsiteY301" fmla="*/ 4101983 h 4419155"/>
              <a:gd name="connsiteX302" fmla="*/ 3241518 w 6436611"/>
              <a:gd name="connsiteY302" fmla="*/ 4103111 h 4419155"/>
              <a:gd name="connsiteX303" fmla="*/ 3239459 w 6436611"/>
              <a:gd name="connsiteY303" fmla="*/ 4104464 h 4419155"/>
              <a:gd name="connsiteX304" fmla="*/ 3239459 w 6436611"/>
              <a:gd name="connsiteY304" fmla="*/ 4105365 h 4419155"/>
              <a:gd name="connsiteX305" fmla="*/ 3245638 w 6436611"/>
              <a:gd name="connsiteY305" fmla="*/ 4103111 h 4419155"/>
              <a:gd name="connsiteX306" fmla="*/ 3284239 w 6436611"/>
              <a:gd name="connsiteY306" fmla="*/ 3898060 h 4419155"/>
              <a:gd name="connsiteX307" fmla="*/ 3274479 w 6436611"/>
              <a:gd name="connsiteY307" fmla="*/ 3902335 h 4419155"/>
              <a:gd name="connsiteX308" fmla="*/ 3272420 w 6436611"/>
              <a:gd name="connsiteY308" fmla="*/ 3904589 h 4419155"/>
              <a:gd name="connsiteX309" fmla="*/ 3268300 w 6436611"/>
              <a:gd name="connsiteY309" fmla="*/ 3913616 h 4419155"/>
              <a:gd name="connsiteX310" fmla="*/ 3270359 w 6436611"/>
              <a:gd name="connsiteY310" fmla="*/ 3911359 h 4419155"/>
              <a:gd name="connsiteX311" fmla="*/ 3286836 w 6436611"/>
              <a:gd name="connsiteY311" fmla="*/ 3895572 h 4419155"/>
              <a:gd name="connsiteX312" fmla="*/ 3284239 w 6436611"/>
              <a:gd name="connsiteY312" fmla="*/ 3898060 h 4419155"/>
              <a:gd name="connsiteX313" fmla="*/ 3284780 w 6436611"/>
              <a:gd name="connsiteY313" fmla="*/ 3897823 h 4419155"/>
              <a:gd name="connsiteX314" fmla="*/ 3286839 w 6436611"/>
              <a:gd name="connsiteY314" fmla="*/ 3895569 h 4419155"/>
              <a:gd name="connsiteX315" fmla="*/ 3286839 w 6436611"/>
              <a:gd name="connsiteY315" fmla="*/ 3895567 h 4419155"/>
              <a:gd name="connsiteX316" fmla="*/ 3286836 w 6436611"/>
              <a:gd name="connsiteY316" fmla="*/ 3895572 h 4419155"/>
              <a:gd name="connsiteX317" fmla="*/ 3356880 w 6436611"/>
              <a:gd name="connsiteY317" fmla="*/ 3870752 h 4419155"/>
              <a:gd name="connsiteX318" fmla="*/ 3354819 w 6436611"/>
              <a:gd name="connsiteY318" fmla="*/ 3875264 h 4419155"/>
              <a:gd name="connsiteX319" fmla="*/ 3352760 w 6436611"/>
              <a:gd name="connsiteY319" fmla="*/ 3877521 h 4419155"/>
              <a:gd name="connsiteX320" fmla="*/ 3350701 w 6436611"/>
              <a:gd name="connsiteY320" fmla="*/ 3875264 h 4419155"/>
              <a:gd name="connsiteX321" fmla="*/ 3356880 w 6436611"/>
              <a:gd name="connsiteY321" fmla="*/ 3870752 h 4419155"/>
              <a:gd name="connsiteX322" fmla="*/ 3363059 w 6436611"/>
              <a:gd name="connsiteY322" fmla="*/ 3900080 h 4419155"/>
              <a:gd name="connsiteX323" fmla="*/ 3358939 w 6436611"/>
              <a:gd name="connsiteY323" fmla="*/ 3902335 h 4419155"/>
              <a:gd name="connsiteX324" fmla="*/ 3361000 w 6436611"/>
              <a:gd name="connsiteY324" fmla="*/ 3900080 h 4419155"/>
              <a:gd name="connsiteX325" fmla="*/ 3363059 w 6436611"/>
              <a:gd name="connsiteY325" fmla="*/ 3900080 h 4419155"/>
              <a:gd name="connsiteX326" fmla="*/ 3466062 w 6436611"/>
              <a:gd name="connsiteY326" fmla="*/ 3891057 h 4419155"/>
              <a:gd name="connsiteX327" fmla="*/ 3447519 w 6436611"/>
              <a:gd name="connsiteY327" fmla="*/ 3900080 h 4419155"/>
              <a:gd name="connsiteX328" fmla="*/ 3449582 w 6436611"/>
              <a:gd name="connsiteY328" fmla="*/ 3895569 h 4419155"/>
              <a:gd name="connsiteX329" fmla="*/ 3443403 w 6436611"/>
              <a:gd name="connsiteY329" fmla="*/ 3897823 h 4419155"/>
              <a:gd name="connsiteX330" fmla="*/ 3439282 w 6436611"/>
              <a:gd name="connsiteY330" fmla="*/ 3893312 h 4419155"/>
              <a:gd name="connsiteX331" fmla="*/ 3439282 w 6436611"/>
              <a:gd name="connsiteY331" fmla="*/ 3888799 h 4419155"/>
              <a:gd name="connsiteX332" fmla="*/ 3449582 w 6436611"/>
              <a:gd name="connsiteY332" fmla="*/ 3884287 h 4419155"/>
              <a:gd name="connsiteX333" fmla="*/ 3453702 w 6436611"/>
              <a:gd name="connsiteY333" fmla="*/ 3882033 h 4419155"/>
              <a:gd name="connsiteX334" fmla="*/ 3466062 w 6436611"/>
              <a:gd name="connsiteY334" fmla="*/ 3891057 h 4419155"/>
              <a:gd name="connsiteX335" fmla="*/ 3474301 w 6436611"/>
              <a:gd name="connsiteY335" fmla="*/ 4033179 h 4419155"/>
              <a:gd name="connsiteX336" fmla="*/ 3461942 w 6436611"/>
              <a:gd name="connsiteY336" fmla="*/ 4057993 h 4419155"/>
              <a:gd name="connsiteX337" fmla="*/ 3474301 w 6436611"/>
              <a:gd name="connsiteY337" fmla="*/ 4033179 h 4419155"/>
              <a:gd name="connsiteX338" fmla="*/ 3478423 w 6436611"/>
              <a:gd name="connsiteY338" fmla="*/ 4177555 h 4419155"/>
              <a:gd name="connsiteX339" fmla="*/ 3472241 w 6436611"/>
              <a:gd name="connsiteY339" fmla="*/ 4193349 h 4419155"/>
              <a:gd name="connsiteX340" fmla="*/ 3478423 w 6436611"/>
              <a:gd name="connsiteY340" fmla="*/ 4177555 h 4419155"/>
              <a:gd name="connsiteX341" fmla="*/ 3536103 w 6436611"/>
              <a:gd name="connsiteY341" fmla="*/ 4301630 h 4419155"/>
              <a:gd name="connsiteX342" fmla="*/ 3529922 w 6436611"/>
              <a:gd name="connsiteY342" fmla="*/ 4317420 h 4419155"/>
              <a:gd name="connsiteX343" fmla="*/ 3536103 w 6436611"/>
              <a:gd name="connsiteY343" fmla="*/ 4301630 h 4419155"/>
              <a:gd name="connsiteX344" fmla="*/ 3552581 w 6436611"/>
              <a:gd name="connsiteY344" fmla="*/ 4012874 h 4419155"/>
              <a:gd name="connsiteX345" fmla="*/ 3550522 w 6436611"/>
              <a:gd name="connsiteY345" fmla="*/ 4028664 h 4419155"/>
              <a:gd name="connsiteX346" fmla="*/ 3531983 w 6436611"/>
              <a:gd name="connsiteY346" fmla="*/ 4057993 h 4419155"/>
              <a:gd name="connsiteX347" fmla="*/ 3523740 w 6436611"/>
              <a:gd name="connsiteY347" fmla="*/ 4064761 h 4419155"/>
              <a:gd name="connsiteX348" fmla="*/ 3529922 w 6436611"/>
              <a:gd name="connsiteY348" fmla="*/ 4060247 h 4419155"/>
              <a:gd name="connsiteX349" fmla="*/ 3519621 w 6436611"/>
              <a:gd name="connsiteY349" fmla="*/ 4073783 h 4419155"/>
              <a:gd name="connsiteX350" fmla="*/ 3515503 w 6436611"/>
              <a:gd name="connsiteY350" fmla="*/ 4073783 h 4419155"/>
              <a:gd name="connsiteX351" fmla="*/ 3517562 w 6436611"/>
              <a:gd name="connsiteY351" fmla="*/ 4060247 h 4419155"/>
              <a:gd name="connsiteX352" fmla="*/ 3525801 w 6436611"/>
              <a:gd name="connsiteY352" fmla="*/ 4037691 h 4419155"/>
              <a:gd name="connsiteX353" fmla="*/ 3525801 w 6436611"/>
              <a:gd name="connsiteY353" fmla="*/ 4033179 h 4419155"/>
              <a:gd name="connsiteX354" fmla="*/ 3542282 w 6436611"/>
              <a:gd name="connsiteY354" fmla="*/ 4010619 h 4419155"/>
              <a:gd name="connsiteX355" fmla="*/ 3552581 w 6436611"/>
              <a:gd name="connsiteY355" fmla="*/ 4012874 h 4419155"/>
              <a:gd name="connsiteX356" fmla="*/ 3579363 w 6436611"/>
              <a:gd name="connsiteY356" fmla="*/ 4324190 h 4419155"/>
              <a:gd name="connsiteX357" fmla="*/ 3573181 w 6436611"/>
              <a:gd name="connsiteY357" fmla="*/ 4326444 h 4419155"/>
              <a:gd name="connsiteX358" fmla="*/ 3567003 w 6436611"/>
              <a:gd name="connsiteY358" fmla="*/ 4339979 h 4419155"/>
              <a:gd name="connsiteX359" fmla="*/ 3579363 w 6436611"/>
              <a:gd name="connsiteY359" fmla="*/ 4324190 h 4419155"/>
              <a:gd name="connsiteX360" fmla="*/ 3614383 w 6436611"/>
              <a:gd name="connsiteY360" fmla="*/ 4136949 h 4419155"/>
              <a:gd name="connsiteX361" fmla="*/ 3608203 w 6436611"/>
              <a:gd name="connsiteY361" fmla="*/ 4152739 h 4419155"/>
              <a:gd name="connsiteX362" fmla="*/ 3577302 w 6436611"/>
              <a:gd name="connsiteY362" fmla="*/ 4197857 h 4419155"/>
              <a:gd name="connsiteX363" fmla="*/ 3573181 w 6436611"/>
              <a:gd name="connsiteY363" fmla="*/ 4197857 h 4419155"/>
              <a:gd name="connsiteX364" fmla="*/ 3575243 w 6436611"/>
              <a:gd name="connsiteY364" fmla="*/ 4184322 h 4419155"/>
              <a:gd name="connsiteX365" fmla="*/ 3579363 w 6436611"/>
              <a:gd name="connsiteY365" fmla="*/ 4175298 h 4419155"/>
              <a:gd name="connsiteX366" fmla="*/ 3581422 w 6436611"/>
              <a:gd name="connsiteY366" fmla="*/ 4177555 h 4419155"/>
              <a:gd name="connsiteX367" fmla="*/ 3589662 w 6436611"/>
              <a:gd name="connsiteY367" fmla="*/ 4166277 h 4419155"/>
              <a:gd name="connsiteX368" fmla="*/ 3587603 w 6436611"/>
              <a:gd name="connsiteY368" fmla="*/ 4164020 h 4419155"/>
              <a:gd name="connsiteX369" fmla="*/ 3583483 w 6436611"/>
              <a:gd name="connsiteY369" fmla="*/ 4170789 h 4419155"/>
              <a:gd name="connsiteX370" fmla="*/ 3585542 w 6436611"/>
              <a:gd name="connsiteY370" fmla="*/ 4161762 h 4419155"/>
              <a:gd name="connsiteX371" fmla="*/ 3604084 w 6436611"/>
              <a:gd name="connsiteY371" fmla="*/ 4134694 h 4419155"/>
              <a:gd name="connsiteX372" fmla="*/ 3614383 w 6436611"/>
              <a:gd name="connsiteY372" fmla="*/ 4136949 h 4419155"/>
              <a:gd name="connsiteX373" fmla="*/ 3639103 w 6436611"/>
              <a:gd name="connsiteY373" fmla="*/ 4252000 h 4419155"/>
              <a:gd name="connsiteX374" fmla="*/ 3634983 w 6436611"/>
              <a:gd name="connsiteY374" fmla="*/ 4265535 h 4419155"/>
              <a:gd name="connsiteX375" fmla="*/ 3639103 w 6436611"/>
              <a:gd name="connsiteY375" fmla="*/ 4252000 h 4419155"/>
              <a:gd name="connsiteX376" fmla="*/ 3641162 w 6436611"/>
              <a:gd name="connsiteY376" fmla="*/ 4098599 h 4419155"/>
              <a:gd name="connsiteX377" fmla="*/ 3639103 w 6436611"/>
              <a:gd name="connsiteY377" fmla="*/ 4103111 h 4419155"/>
              <a:gd name="connsiteX378" fmla="*/ 3637042 w 6436611"/>
              <a:gd name="connsiteY378" fmla="*/ 4103111 h 4419155"/>
              <a:gd name="connsiteX379" fmla="*/ 3641162 w 6436611"/>
              <a:gd name="connsiteY379" fmla="*/ 4098599 h 4419155"/>
              <a:gd name="connsiteX380" fmla="*/ 3651464 w 6436611"/>
              <a:gd name="connsiteY380" fmla="*/ 4209138 h 4419155"/>
              <a:gd name="connsiteX381" fmla="*/ 3647344 w 6436611"/>
              <a:gd name="connsiteY381" fmla="*/ 4209138 h 4419155"/>
              <a:gd name="connsiteX382" fmla="*/ 3647344 w 6436611"/>
              <a:gd name="connsiteY382" fmla="*/ 4213651 h 4419155"/>
              <a:gd name="connsiteX383" fmla="*/ 3651464 w 6436611"/>
              <a:gd name="connsiteY383" fmla="*/ 4209138 h 4419155"/>
              <a:gd name="connsiteX384" fmla="*/ 3653522 w 6436611"/>
              <a:gd name="connsiteY384" fmla="*/ 4114390 h 4419155"/>
              <a:gd name="connsiteX385" fmla="*/ 3639103 w 6436611"/>
              <a:gd name="connsiteY385" fmla="*/ 4130180 h 4419155"/>
              <a:gd name="connsiteX386" fmla="*/ 3653522 w 6436611"/>
              <a:gd name="connsiteY386" fmla="*/ 4114390 h 4419155"/>
              <a:gd name="connsiteX387" fmla="*/ 3653522 w 6436611"/>
              <a:gd name="connsiteY387" fmla="*/ 4234328 h 4419155"/>
              <a:gd name="connsiteX388" fmla="*/ 3653069 w 6436611"/>
              <a:gd name="connsiteY388" fmla="*/ 4234246 h 4419155"/>
              <a:gd name="connsiteX389" fmla="*/ 3648631 w 6436611"/>
              <a:gd name="connsiteY389" fmla="*/ 4238747 h 4419155"/>
              <a:gd name="connsiteX390" fmla="*/ 3643223 w 6436611"/>
              <a:gd name="connsiteY390" fmla="*/ 4247487 h 4419155"/>
              <a:gd name="connsiteX391" fmla="*/ 3762703 w 6436611"/>
              <a:gd name="connsiteY391" fmla="*/ 4082806 h 4419155"/>
              <a:gd name="connsiteX392" fmla="*/ 3742106 w 6436611"/>
              <a:gd name="connsiteY392" fmla="*/ 4103111 h 4419155"/>
              <a:gd name="connsiteX393" fmla="*/ 3737983 w 6436611"/>
              <a:gd name="connsiteY393" fmla="*/ 4107623 h 4419155"/>
              <a:gd name="connsiteX394" fmla="*/ 3725622 w 6436611"/>
              <a:gd name="connsiteY394" fmla="*/ 4123413 h 4419155"/>
              <a:gd name="connsiteX395" fmla="*/ 3748285 w 6436611"/>
              <a:gd name="connsiteY395" fmla="*/ 4087318 h 4419155"/>
              <a:gd name="connsiteX396" fmla="*/ 3762703 w 6436611"/>
              <a:gd name="connsiteY396" fmla="*/ 4082806 h 4419155"/>
              <a:gd name="connsiteX397" fmla="*/ 3779183 w 6436611"/>
              <a:gd name="connsiteY397" fmla="*/ 4051223 h 4419155"/>
              <a:gd name="connsiteX398" fmla="*/ 3775064 w 6436611"/>
              <a:gd name="connsiteY398" fmla="*/ 4057993 h 4419155"/>
              <a:gd name="connsiteX399" fmla="*/ 3777122 w 6436611"/>
              <a:gd name="connsiteY399" fmla="*/ 4048968 h 4419155"/>
              <a:gd name="connsiteX400" fmla="*/ 3779183 w 6436611"/>
              <a:gd name="connsiteY400" fmla="*/ 4051223 h 4419155"/>
              <a:gd name="connsiteX401" fmla="*/ 4065527 w 6436611"/>
              <a:gd name="connsiteY401" fmla="*/ 3967758 h 4419155"/>
              <a:gd name="connsiteX402" fmla="*/ 3981066 w 6436611"/>
              <a:gd name="connsiteY402" fmla="*/ 4017386 h 4419155"/>
              <a:gd name="connsiteX403" fmla="*/ 4065527 w 6436611"/>
              <a:gd name="connsiteY403" fmla="*/ 3967758 h 4419155"/>
              <a:gd name="connsiteX404" fmla="*/ 5171757 w 6436611"/>
              <a:gd name="connsiteY404" fmla="*/ 3006744 h 4419155"/>
              <a:gd name="connsiteX405" fmla="*/ 5159397 w 6436611"/>
              <a:gd name="connsiteY405" fmla="*/ 3011256 h 4419155"/>
              <a:gd name="connsiteX406" fmla="*/ 5159397 w 6436611"/>
              <a:gd name="connsiteY406" fmla="*/ 3008998 h 4419155"/>
              <a:gd name="connsiteX407" fmla="*/ 5151157 w 6436611"/>
              <a:gd name="connsiteY407" fmla="*/ 3006744 h 4419155"/>
              <a:gd name="connsiteX408" fmla="*/ 5165579 w 6436611"/>
              <a:gd name="connsiteY408" fmla="*/ 3004489 h 4419155"/>
              <a:gd name="connsiteX409" fmla="*/ 5171757 w 6436611"/>
              <a:gd name="connsiteY409" fmla="*/ 3006744 h 4419155"/>
              <a:gd name="connsiteX410" fmla="*/ 5196477 w 6436611"/>
              <a:gd name="connsiteY410" fmla="*/ 2975160 h 4419155"/>
              <a:gd name="connsiteX411" fmla="*/ 5194418 w 6436611"/>
              <a:gd name="connsiteY411" fmla="*/ 2977418 h 4419155"/>
              <a:gd name="connsiteX412" fmla="*/ 5190299 w 6436611"/>
              <a:gd name="connsiteY412" fmla="*/ 2977418 h 4419155"/>
              <a:gd name="connsiteX413" fmla="*/ 5182056 w 6436611"/>
              <a:gd name="connsiteY413" fmla="*/ 2986440 h 4419155"/>
              <a:gd name="connsiteX414" fmla="*/ 5171757 w 6436611"/>
              <a:gd name="connsiteY414" fmla="*/ 2993208 h 4419155"/>
              <a:gd name="connsiteX415" fmla="*/ 5171757 w 6436611"/>
              <a:gd name="connsiteY415" fmla="*/ 2979672 h 4419155"/>
              <a:gd name="connsiteX416" fmla="*/ 5173818 w 6436611"/>
              <a:gd name="connsiteY416" fmla="*/ 2977418 h 4419155"/>
              <a:gd name="connsiteX417" fmla="*/ 5192357 w 6436611"/>
              <a:gd name="connsiteY417" fmla="*/ 2968394 h 4419155"/>
              <a:gd name="connsiteX418" fmla="*/ 5196477 w 6436611"/>
              <a:gd name="connsiteY418" fmla="*/ 2968394 h 4419155"/>
              <a:gd name="connsiteX419" fmla="*/ 5188238 w 6436611"/>
              <a:gd name="connsiteY419" fmla="*/ 2972904 h 4419155"/>
              <a:gd name="connsiteX420" fmla="*/ 5196477 w 6436611"/>
              <a:gd name="connsiteY420" fmla="*/ 2975160 h 4419155"/>
              <a:gd name="connsiteX421" fmla="*/ 5466341 w 6436611"/>
              <a:gd name="connsiteY421" fmla="*/ 2717988 h 4419155"/>
              <a:gd name="connsiteX422" fmla="*/ 5458098 w 6436611"/>
              <a:gd name="connsiteY422" fmla="*/ 2720245 h 4419155"/>
              <a:gd name="connsiteX423" fmla="*/ 5458100 w 6436611"/>
              <a:gd name="connsiteY423" fmla="*/ 2720245 h 4419155"/>
              <a:gd name="connsiteX424" fmla="*/ 5466341 w 6436611"/>
              <a:gd name="connsiteY424" fmla="*/ 2717988 h 4419155"/>
              <a:gd name="connsiteX425" fmla="*/ 5472521 w 6436611"/>
              <a:gd name="connsiteY425" fmla="*/ 2742804 h 4419155"/>
              <a:gd name="connsiteX426" fmla="*/ 5464282 w 6436611"/>
              <a:gd name="connsiteY426" fmla="*/ 2745058 h 4419155"/>
              <a:gd name="connsiteX427" fmla="*/ 5462220 w 6436611"/>
              <a:gd name="connsiteY427" fmla="*/ 2747316 h 4419155"/>
              <a:gd name="connsiteX428" fmla="*/ 5468402 w 6436611"/>
              <a:gd name="connsiteY428" fmla="*/ 2738292 h 4419155"/>
              <a:gd name="connsiteX429" fmla="*/ 5472521 w 6436611"/>
              <a:gd name="connsiteY429" fmla="*/ 2742804 h 4419155"/>
              <a:gd name="connsiteX430" fmla="*/ 5476639 w 6436611"/>
              <a:gd name="connsiteY430" fmla="*/ 2751828 h 4419155"/>
              <a:gd name="connsiteX431" fmla="*/ 5468402 w 6436611"/>
              <a:gd name="connsiteY431" fmla="*/ 2754082 h 4419155"/>
              <a:gd name="connsiteX432" fmla="*/ 5460159 w 6436611"/>
              <a:gd name="connsiteY432" fmla="*/ 2754082 h 4419155"/>
              <a:gd name="connsiteX433" fmla="*/ 5474580 w 6436611"/>
              <a:gd name="connsiteY433" fmla="*/ 2747316 h 4419155"/>
              <a:gd name="connsiteX434" fmla="*/ 5476639 w 6436611"/>
              <a:gd name="connsiteY434" fmla="*/ 2751828 h 4419155"/>
              <a:gd name="connsiteX435" fmla="*/ 5497239 w 6436611"/>
              <a:gd name="connsiteY435" fmla="*/ 2871388 h 4419155"/>
              <a:gd name="connsiteX436" fmla="*/ 5497239 w 6436611"/>
              <a:gd name="connsiteY436" fmla="*/ 2869133 h 4419155"/>
              <a:gd name="connsiteX437" fmla="*/ 5486941 w 6436611"/>
              <a:gd name="connsiteY437" fmla="*/ 2871388 h 4419155"/>
              <a:gd name="connsiteX438" fmla="*/ 5486941 w 6436611"/>
              <a:gd name="connsiteY438" fmla="*/ 2878158 h 4419155"/>
              <a:gd name="connsiteX439" fmla="*/ 5497239 w 6436611"/>
              <a:gd name="connsiteY439" fmla="*/ 2871388 h 4419155"/>
              <a:gd name="connsiteX440" fmla="*/ 5513720 w 6436611"/>
              <a:gd name="connsiteY440" fmla="*/ 2887180 h 4419155"/>
              <a:gd name="connsiteX441" fmla="*/ 5482821 w 6436611"/>
              <a:gd name="connsiteY441" fmla="*/ 2896205 h 4419155"/>
              <a:gd name="connsiteX442" fmla="*/ 5425139 w 6436611"/>
              <a:gd name="connsiteY442" fmla="*/ 2907482 h 4419155"/>
              <a:gd name="connsiteX443" fmla="*/ 5404539 w 6436611"/>
              <a:gd name="connsiteY443" fmla="*/ 2911994 h 4419155"/>
              <a:gd name="connsiteX444" fmla="*/ 5396298 w 6436611"/>
              <a:gd name="connsiteY444" fmla="*/ 2916507 h 4419155"/>
              <a:gd name="connsiteX445" fmla="*/ 5369519 w 6436611"/>
              <a:gd name="connsiteY445" fmla="*/ 2934554 h 4419155"/>
              <a:gd name="connsiteX446" fmla="*/ 5367457 w 6436611"/>
              <a:gd name="connsiteY446" fmla="*/ 2936811 h 4419155"/>
              <a:gd name="connsiteX447" fmla="*/ 5371578 w 6436611"/>
              <a:gd name="connsiteY447" fmla="*/ 2943578 h 4419155"/>
              <a:gd name="connsiteX448" fmla="*/ 5365399 w 6436611"/>
              <a:gd name="connsiteY448" fmla="*/ 2948090 h 4419155"/>
              <a:gd name="connsiteX449" fmla="*/ 5350980 w 6436611"/>
              <a:gd name="connsiteY449" fmla="*/ 2950347 h 4419155"/>
              <a:gd name="connsiteX450" fmla="*/ 5344798 w 6436611"/>
              <a:gd name="connsiteY450" fmla="*/ 2950347 h 4419155"/>
              <a:gd name="connsiteX451" fmla="*/ 5346860 w 6436611"/>
              <a:gd name="connsiteY451" fmla="*/ 2943578 h 4419155"/>
              <a:gd name="connsiteX452" fmla="*/ 5330380 w 6436611"/>
              <a:gd name="connsiteY452" fmla="*/ 2945836 h 4419155"/>
              <a:gd name="connsiteX453" fmla="*/ 5266520 w 6436611"/>
              <a:gd name="connsiteY453" fmla="*/ 2968394 h 4419155"/>
              <a:gd name="connsiteX454" fmla="*/ 5264458 w 6436611"/>
              <a:gd name="connsiteY454" fmla="*/ 2968394 h 4419155"/>
              <a:gd name="connsiteX455" fmla="*/ 5241799 w 6436611"/>
              <a:gd name="connsiteY455" fmla="*/ 2972904 h 4419155"/>
              <a:gd name="connsiteX456" fmla="*/ 5196477 w 6436611"/>
              <a:gd name="connsiteY456" fmla="*/ 2981930 h 4419155"/>
              <a:gd name="connsiteX457" fmla="*/ 5221198 w 6436611"/>
              <a:gd name="connsiteY457" fmla="*/ 2972904 h 4419155"/>
              <a:gd name="connsiteX458" fmla="*/ 5221198 w 6436611"/>
              <a:gd name="connsiteY458" fmla="*/ 2970649 h 4419155"/>
              <a:gd name="connsiteX459" fmla="*/ 5208838 w 6436611"/>
              <a:gd name="connsiteY459" fmla="*/ 2970649 h 4419155"/>
              <a:gd name="connsiteX460" fmla="*/ 5208838 w 6436611"/>
              <a:gd name="connsiteY460" fmla="*/ 2968394 h 4419155"/>
              <a:gd name="connsiteX461" fmla="*/ 5210897 w 6436611"/>
              <a:gd name="connsiteY461" fmla="*/ 2963883 h 4419155"/>
              <a:gd name="connsiteX462" fmla="*/ 5210897 w 6436611"/>
              <a:gd name="connsiteY462" fmla="*/ 2961625 h 4419155"/>
              <a:gd name="connsiteX463" fmla="*/ 5239738 w 6436611"/>
              <a:gd name="connsiteY463" fmla="*/ 2954858 h 4419155"/>
              <a:gd name="connsiteX464" fmla="*/ 5311838 w 6436611"/>
              <a:gd name="connsiteY464" fmla="*/ 2939066 h 4419155"/>
              <a:gd name="connsiteX465" fmla="*/ 5348918 w 6436611"/>
              <a:gd name="connsiteY465" fmla="*/ 2932300 h 4419155"/>
              <a:gd name="connsiteX466" fmla="*/ 5383938 w 6436611"/>
              <a:gd name="connsiteY466" fmla="*/ 2923276 h 4419155"/>
              <a:gd name="connsiteX467" fmla="*/ 5392178 w 6436611"/>
              <a:gd name="connsiteY467" fmla="*/ 2918764 h 4419155"/>
              <a:gd name="connsiteX468" fmla="*/ 5383938 w 6436611"/>
              <a:gd name="connsiteY468" fmla="*/ 2916507 h 4419155"/>
              <a:gd name="connsiteX469" fmla="*/ 5353039 w 6436611"/>
              <a:gd name="connsiteY469" fmla="*/ 2923276 h 4419155"/>
              <a:gd name="connsiteX470" fmla="*/ 5260338 w 6436611"/>
              <a:gd name="connsiteY470" fmla="*/ 2943578 h 4419155"/>
              <a:gd name="connsiteX471" fmla="*/ 5254157 w 6436611"/>
              <a:gd name="connsiteY471" fmla="*/ 2943578 h 4419155"/>
              <a:gd name="connsiteX472" fmla="*/ 5274757 w 6436611"/>
              <a:gd name="connsiteY472" fmla="*/ 2934554 h 4419155"/>
              <a:gd name="connsiteX473" fmla="*/ 5295357 w 6436611"/>
              <a:gd name="connsiteY473" fmla="*/ 2930042 h 4419155"/>
              <a:gd name="connsiteX474" fmla="*/ 5315957 w 6436611"/>
              <a:gd name="connsiteY474" fmla="*/ 2925530 h 4419155"/>
              <a:gd name="connsiteX475" fmla="*/ 5338620 w 6436611"/>
              <a:gd name="connsiteY475" fmla="*/ 2921018 h 4419155"/>
              <a:gd name="connsiteX476" fmla="*/ 5359220 w 6436611"/>
              <a:gd name="connsiteY476" fmla="*/ 2916507 h 4419155"/>
              <a:gd name="connsiteX477" fmla="*/ 5379821 w 6436611"/>
              <a:gd name="connsiteY477" fmla="*/ 2911994 h 4419155"/>
              <a:gd name="connsiteX478" fmla="*/ 5377759 w 6436611"/>
              <a:gd name="connsiteY478" fmla="*/ 2905228 h 4419155"/>
              <a:gd name="connsiteX479" fmla="*/ 5423080 w 6436611"/>
              <a:gd name="connsiteY479" fmla="*/ 2896205 h 4419155"/>
              <a:gd name="connsiteX480" fmla="*/ 5423080 w 6436611"/>
              <a:gd name="connsiteY480" fmla="*/ 2898460 h 4419155"/>
              <a:gd name="connsiteX481" fmla="*/ 5418960 w 6436611"/>
              <a:gd name="connsiteY481" fmla="*/ 2900716 h 4419155"/>
              <a:gd name="connsiteX482" fmla="*/ 5423080 w 6436611"/>
              <a:gd name="connsiteY482" fmla="*/ 2902971 h 4419155"/>
              <a:gd name="connsiteX483" fmla="*/ 5480759 w 6436611"/>
              <a:gd name="connsiteY483" fmla="*/ 2891692 h 4419155"/>
              <a:gd name="connsiteX484" fmla="*/ 5511661 w 6436611"/>
              <a:gd name="connsiteY484" fmla="*/ 2887180 h 4419155"/>
              <a:gd name="connsiteX485" fmla="*/ 5513720 w 6436611"/>
              <a:gd name="connsiteY485" fmla="*/ 2887180 h 4419155"/>
              <a:gd name="connsiteX486" fmla="*/ 5532262 w 6436611"/>
              <a:gd name="connsiteY486" fmla="*/ 2812736 h 4419155"/>
              <a:gd name="connsiteX487" fmla="*/ 5526080 w 6436611"/>
              <a:gd name="connsiteY487" fmla="*/ 2810480 h 4419155"/>
              <a:gd name="connsiteX488" fmla="*/ 5526080 w 6436611"/>
              <a:gd name="connsiteY488" fmla="*/ 2796944 h 4419155"/>
              <a:gd name="connsiteX489" fmla="*/ 5532262 w 6436611"/>
              <a:gd name="connsiteY489" fmla="*/ 2812736 h 4419155"/>
              <a:gd name="connsiteX490" fmla="*/ 5540502 w 6436611"/>
              <a:gd name="connsiteY490" fmla="*/ 2751828 h 4419155"/>
              <a:gd name="connsiteX491" fmla="*/ 5530200 w 6436611"/>
              <a:gd name="connsiteY491" fmla="*/ 2754082 h 4419155"/>
              <a:gd name="connsiteX492" fmla="*/ 5538441 w 6436611"/>
              <a:gd name="connsiteY492" fmla="*/ 2747316 h 4419155"/>
              <a:gd name="connsiteX493" fmla="*/ 5540502 w 6436611"/>
              <a:gd name="connsiteY493" fmla="*/ 2747316 h 4419155"/>
              <a:gd name="connsiteX494" fmla="*/ 5540502 w 6436611"/>
              <a:gd name="connsiteY494" fmla="*/ 2751828 h 4419155"/>
              <a:gd name="connsiteX495" fmla="*/ 5556982 w 6436611"/>
              <a:gd name="connsiteY495" fmla="*/ 2866878 h 4419155"/>
              <a:gd name="connsiteX496" fmla="*/ 5536382 w 6436611"/>
              <a:gd name="connsiteY496" fmla="*/ 2875903 h 4419155"/>
              <a:gd name="connsiteX497" fmla="*/ 5526080 w 6436611"/>
              <a:gd name="connsiteY497" fmla="*/ 2878158 h 4419155"/>
              <a:gd name="connsiteX498" fmla="*/ 5517840 w 6436611"/>
              <a:gd name="connsiteY498" fmla="*/ 2878158 h 4419155"/>
              <a:gd name="connsiteX499" fmla="*/ 5546680 w 6436611"/>
              <a:gd name="connsiteY499" fmla="*/ 2869133 h 4419155"/>
              <a:gd name="connsiteX500" fmla="*/ 5556982 w 6436611"/>
              <a:gd name="connsiteY500" fmla="*/ 2866878 h 4419155"/>
              <a:gd name="connsiteX501" fmla="*/ 5569340 w 6436611"/>
              <a:gd name="connsiteY501" fmla="*/ 2643544 h 4419155"/>
              <a:gd name="connsiteX502" fmla="*/ 5561102 w 6436611"/>
              <a:gd name="connsiteY502" fmla="*/ 2645800 h 4419155"/>
              <a:gd name="connsiteX503" fmla="*/ 5559041 w 6436611"/>
              <a:gd name="connsiteY503" fmla="*/ 2645800 h 4419155"/>
              <a:gd name="connsiteX504" fmla="*/ 5569340 w 6436611"/>
              <a:gd name="connsiteY504" fmla="*/ 2643544 h 4419155"/>
              <a:gd name="connsiteX505" fmla="*/ 5569340 w 6436611"/>
              <a:gd name="connsiteY505" fmla="*/ 2729269 h 4419155"/>
              <a:gd name="connsiteX506" fmla="*/ 5540502 w 6436611"/>
              <a:gd name="connsiteY506" fmla="*/ 2740547 h 4419155"/>
              <a:gd name="connsiteX507" fmla="*/ 5538441 w 6436611"/>
              <a:gd name="connsiteY507" fmla="*/ 2740547 h 4419155"/>
              <a:gd name="connsiteX508" fmla="*/ 5536382 w 6436611"/>
              <a:gd name="connsiteY508" fmla="*/ 2733780 h 4419155"/>
              <a:gd name="connsiteX509" fmla="*/ 5550801 w 6436611"/>
              <a:gd name="connsiteY509" fmla="*/ 2729269 h 4419155"/>
              <a:gd name="connsiteX510" fmla="*/ 5569340 w 6436611"/>
              <a:gd name="connsiteY510" fmla="*/ 2729269 h 4419155"/>
              <a:gd name="connsiteX511" fmla="*/ 5589941 w 6436611"/>
              <a:gd name="connsiteY511" fmla="*/ 2936811 h 4419155"/>
              <a:gd name="connsiteX512" fmla="*/ 5587588 w 6436611"/>
              <a:gd name="connsiteY512" fmla="*/ 2931656 h 4419155"/>
              <a:gd name="connsiteX513" fmla="*/ 5585823 w 6436611"/>
              <a:gd name="connsiteY513" fmla="*/ 2932300 h 4419155"/>
              <a:gd name="connsiteX514" fmla="*/ 5583762 w 6436611"/>
              <a:gd name="connsiteY514" fmla="*/ 2933426 h 4419155"/>
              <a:gd name="connsiteX515" fmla="*/ 5583762 w 6436611"/>
              <a:gd name="connsiteY515" fmla="*/ 2934554 h 4419155"/>
              <a:gd name="connsiteX516" fmla="*/ 5589941 w 6436611"/>
              <a:gd name="connsiteY516" fmla="*/ 2936811 h 4419155"/>
              <a:gd name="connsiteX517" fmla="*/ 5598180 w 6436611"/>
              <a:gd name="connsiteY517" fmla="*/ 2778898 h 4419155"/>
              <a:gd name="connsiteX518" fmla="*/ 5583762 w 6436611"/>
              <a:gd name="connsiteY518" fmla="*/ 2785666 h 4419155"/>
              <a:gd name="connsiteX519" fmla="*/ 5581700 w 6436611"/>
              <a:gd name="connsiteY519" fmla="*/ 2783408 h 4419155"/>
              <a:gd name="connsiteX520" fmla="*/ 5594060 w 6436611"/>
              <a:gd name="connsiteY520" fmla="*/ 2776642 h 4419155"/>
              <a:gd name="connsiteX521" fmla="*/ 5598180 w 6436611"/>
              <a:gd name="connsiteY521" fmla="*/ 2778898 h 4419155"/>
              <a:gd name="connsiteX522" fmla="*/ 5618781 w 6436611"/>
              <a:gd name="connsiteY522" fmla="*/ 2927788 h 4419155"/>
              <a:gd name="connsiteX523" fmla="*/ 5612602 w 6436611"/>
              <a:gd name="connsiteY523" fmla="*/ 2930042 h 4419155"/>
              <a:gd name="connsiteX524" fmla="*/ 5616723 w 6436611"/>
              <a:gd name="connsiteY524" fmla="*/ 2927788 h 4419155"/>
              <a:gd name="connsiteX525" fmla="*/ 5618781 w 6436611"/>
              <a:gd name="connsiteY525" fmla="*/ 2927788 h 4419155"/>
              <a:gd name="connsiteX526" fmla="*/ 5624962 w 6436611"/>
              <a:gd name="connsiteY526" fmla="*/ 2607449 h 4419155"/>
              <a:gd name="connsiteX527" fmla="*/ 5618781 w 6436611"/>
              <a:gd name="connsiteY527" fmla="*/ 2611960 h 4419155"/>
              <a:gd name="connsiteX528" fmla="*/ 5612602 w 6436611"/>
              <a:gd name="connsiteY528" fmla="*/ 2611960 h 4419155"/>
              <a:gd name="connsiteX529" fmla="*/ 5624962 w 6436611"/>
              <a:gd name="connsiteY529" fmla="*/ 2607449 h 4419155"/>
              <a:gd name="connsiteX530" fmla="*/ 5629082 w 6436611"/>
              <a:gd name="connsiteY530" fmla="*/ 2853344 h 4419155"/>
              <a:gd name="connsiteX531" fmla="*/ 5618781 w 6436611"/>
              <a:gd name="connsiteY531" fmla="*/ 2857856 h 4419155"/>
              <a:gd name="connsiteX532" fmla="*/ 5604362 w 6436611"/>
              <a:gd name="connsiteY532" fmla="*/ 2862367 h 4419155"/>
              <a:gd name="connsiteX533" fmla="*/ 5600242 w 6436611"/>
              <a:gd name="connsiteY533" fmla="*/ 2862367 h 4419155"/>
              <a:gd name="connsiteX534" fmla="*/ 5567281 w 6436611"/>
              <a:gd name="connsiteY534" fmla="*/ 2869133 h 4419155"/>
              <a:gd name="connsiteX535" fmla="*/ 5567281 w 6436611"/>
              <a:gd name="connsiteY535" fmla="*/ 2864622 h 4419155"/>
              <a:gd name="connsiteX536" fmla="*/ 5583762 w 6436611"/>
              <a:gd name="connsiteY536" fmla="*/ 2860110 h 4419155"/>
              <a:gd name="connsiteX537" fmla="*/ 5610541 w 6436611"/>
              <a:gd name="connsiteY537" fmla="*/ 2853344 h 4419155"/>
              <a:gd name="connsiteX538" fmla="*/ 5629082 w 6436611"/>
              <a:gd name="connsiteY538" fmla="*/ 2853344 h 4419155"/>
              <a:gd name="connsiteX539" fmla="*/ 5639382 w 6436611"/>
              <a:gd name="connsiteY539" fmla="*/ 2774387 h 4419155"/>
              <a:gd name="connsiteX540" fmla="*/ 5618781 w 6436611"/>
              <a:gd name="connsiteY540" fmla="*/ 2778898 h 4419155"/>
              <a:gd name="connsiteX541" fmla="*/ 5620840 w 6436611"/>
              <a:gd name="connsiteY541" fmla="*/ 2774387 h 4419155"/>
              <a:gd name="connsiteX542" fmla="*/ 5622901 w 6436611"/>
              <a:gd name="connsiteY542" fmla="*/ 2767618 h 4419155"/>
              <a:gd name="connsiteX543" fmla="*/ 5627021 w 6436611"/>
              <a:gd name="connsiteY543" fmla="*/ 2767618 h 4419155"/>
              <a:gd name="connsiteX544" fmla="*/ 5639382 w 6436611"/>
              <a:gd name="connsiteY544" fmla="*/ 2769873 h 4419155"/>
              <a:gd name="connsiteX545" fmla="*/ 5639382 w 6436611"/>
              <a:gd name="connsiteY545" fmla="*/ 2774387 h 4419155"/>
              <a:gd name="connsiteX546" fmla="*/ 5655862 w 6436611"/>
              <a:gd name="connsiteY546" fmla="*/ 2900716 h 4419155"/>
              <a:gd name="connsiteX547" fmla="*/ 5641440 w 6436611"/>
              <a:gd name="connsiteY547" fmla="*/ 2907482 h 4419155"/>
              <a:gd name="connsiteX548" fmla="*/ 5655862 w 6436611"/>
              <a:gd name="connsiteY548" fmla="*/ 2900716 h 4419155"/>
              <a:gd name="connsiteX549" fmla="*/ 5672342 w 6436611"/>
              <a:gd name="connsiteY549" fmla="*/ 2778898 h 4419155"/>
              <a:gd name="connsiteX550" fmla="*/ 5670281 w 6436611"/>
              <a:gd name="connsiteY550" fmla="*/ 2783408 h 4419155"/>
              <a:gd name="connsiteX551" fmla="*/ 5655862 w 6436611"/>
              <a:gd name="connsiteY551" fmla="*/ 2783408 h 4419155"/>
              <a:gd name="connsiteX552" fmla="*/ 5655862 w 6436611"/>
              <a:gd name="connsiteY552" fmla="*/ 2781153 h 4419155"/>
              <a:gd name="connsiteX553" fmla="*/ 5672342 w 6436611"/>
              <a:gd name="connsiteY553" fmla="*/ 2778898 h 4419155"/>
              <a:gd name="connsiteX554" fmla="*/ 5678523 w 6436611"/>
              <a:gd name="connsiteY554" fmla="*/ 2763106 h 4419155"/>
              <a:gd name="connsiteX555" fmla="*/ 5666160 w 6436611"/>
              <a:gd name="connsiteY555" fmla="*/ 2767618 h 4419155"/>
              <a:gd name="connsiteX556" fmla="*/ 5659982 w 6436611"/>
              <a:gd name="connsiteY556" fmla="*/ 2767618 h 4419155"/>
              <a:gd name="connsiteX557" fmla="*/ 5678523 w 6436611"/>
              <a:gd name="connsiteY557" fmla="*/ 2763106 h 4419155"/>
              <a:gd name="connsiteX558" fmla="*/ 5697062 w 6436611"/>
              <a:gd name="connsiteY558" fmla="*/ 2893947 h 4419155"/>
              <a:gd name="connsiteX559" fmla="*/ 5676462 w 6436611"/>
              <a:gd name="connsiteY559" fmla="*/ 2900716 h 4419155"/>
              <a:gd name="connsiteX560" fmla="*/ 5678523 w 6436611"/>
              <a:gd name="connsiteY560" fmla="*/ 2896205 h 4419155"/>
              <a:gd name="connsiteX561" fmla="*/ 5678523 w 6436611"/>
              <a:gd name="connsiteY561" fmla="*/ 2893947 h 4419155"/>
              <a:gd name="connsiteX562" fmla="*/ 5690881 w 6436611"/>
              <a:gd name="connsiteY562" fmla="*/ 2889438 h 4419155"/>
              <a:gd name="connsiteX563" fmla="*/ 5692942 w 6436611"/>
              <a:gd name="connsiteY563" fmla="*/ 2889438 h 4419155"/>
              <a:gd name="connsiteX564" fmla="*/ 5695001 w 6436611"/>
              <a:gd name="connsiteY564" fmla="*/ 2891692 h 4419155"/>
              <a:gd name="connsiteX565" fmla="*/ 5697062 w 6436611"/>
              <a:gd name="connsiteY565" fmla="*/ 2891692 h 4419155"/>
              <a:gd name="connsiteX566" fmla="*/ 5697062 w 6436611"/>
              <a:gd name="connsiteY566" fmla="*/ 2893947 h 4419155"/>
              <a:gd name="connsiteX567" fmla="*/ 5719722 w 6436611"/>
              <a:gd name="connsiteY567" fmla="*/ 2695429 h 4419155"/>
              <a:gd name="connsiteX568" fmla="*/ 5717205 w 6436611"/>
              <a:gd name="connsiteY568" fmla="*/ 2695930 h 4419155"/>
              <a:gd name="connsiteX569" fmla="*/ 5713543 w 6436611"/>
              <a:gd name="connsiteY569" fmla="*/ 2699940 h 4419155"/>
              <a:gd name="connsiteX570" fmla="*/ 5690881 w 6436611"/>
              <a:gd name="connsiteY570" fmla="*/ 2702198 h 4419155"/>
              <a:gd name="connsiteX571" fmla="*/ 5688823 w 6436611"/>
              <a:gd name="connsiteY571" fmla="*/ 2702198 h 4419155"/>
              <a:gd name="connsiteX572" fmla="*/ 5686762 w 6436611"/>
              <a:gd name="connsiteY572" fmla="*/ 2702198 h 4419155"/>
              <a:gd name="connsiteX573" fmla="*/ 5674403 w 6436611"/>
              <a:gd name="connsiteY573" fmla="*/ 2704452 h 4419155"/>
              <a:gd name="connsiteX574" fmla="*/ 5717205 w 6436611"/>
              <a:gd name="connsiteY574" fmla="*/ 2695930 h 4419155"/>
              <a:gd name="connsiteX575" fmla="*/ 5717663 w 6436611"/>
              <a:gd name="connsiteY575" fmla="*/ 2695429 h 4419155"/>
              <a:gd name="connsiteX576" fmla="*/ 5719722 w 6436611"/>
              <a:gd name="connsiteY576" fmla="*/ 2695429 h 4419155"/>
              <a:gd name="connsiteX577" fmla="*/ 5723842 w 6436611"/>
              <a:gd name="connsiteY577" fmla="*/ 2717988 h 4419155"/>
              <a:gd name="connsiteX578" fmla="*/ 5715601 w 6436611"/>
              <a:gd name="connsiteY578" fmla="*/ 2720245 h 4419155"/>
              <a:gd name="connsiteX579" fmla="*/ 5709423 w 6436611"/>
              <a:gd name="connsiteY579" fmla="*/ 2720245 h 4419155"/>
              <a:gd name="connsiteX580" fmla="*/ 5707362 w 6436611"/>
              <a:gd name="connsiteY580" fmla="*/ 2720245 h 4419155"/>
              <a:gd name="connsiteX581" fmla="*/ 5682641 w 6436611"/>
              <a:gd name="connsiteY581" fmla="*/ 2720245 h 4419155"/>
              <a:gd name="connsiteX582" fmla="*/ 5699121 w 6436611"/>
              <a:gd name="connsiteY582" fmla="*/ 2713476 h 4419155"/>
              <a:gd name="connsiteX583" fmla="*/ 5719722 w 6436611"/>
              <a:gd name="connsiteY583" fmla="*/ 2715734 h 4419155"/>
              <a:gd name="connsiteX584" fmla="*/ 5723842 w 6436611"/>
              <a:gd name="connsiteY584" fmla="*/ 2717988 h 4419155"/>
              <a:gd name="connsiteX585" fmla="*/ 5736203 w 6436611"/>
              <a:gd name="connsiteY585" fmla="*/ 2884924 h 4419155"/>
              <a:gd name="connsiteX586" fmla="*/ 5717663 w 6436611"/>
              <a:gd name="connsiteY586" fmla="*/ 2889438 h 4419155"/>
              <a:gd name="connsiteX587" fmla="*/ 5736203 w 6436611"/>
              <a:gd name="connsiteY587" fmla="*/ 2884924 h 4419155"/>
              <a:gd name="connsiteX588" fmla="*/ 5738262 w 6436611"/>
              <a:gd name="connsiteY588" fmla="*/ 1714115 h 4419155"/>
              <a:gd name="connsiteX589" fmla="*/ 5713543 w 6436611"/>
              <a:gd name="connsiteY589" fmla="*/ 1718627 h 4419155"/>
              <a:gd name="connsiteX590" fmla="*/ 5713543 w 6436611"/>
              <a:gd name="connsiteY590" fmla="*/ 1716370 h 4419155"/>
              <a:gd name="connsiteX591" fmla="*/ 5719722 w 6436611"/>
              <a:gd name="connsiteY591" fmla="*/ 1711857 h 4419155"/>
              <a:gd name="connsiteX592" fmla="*/ 5738262 w 6436611"/>
              <a:gd name="connsiteY592" fmla="*/ 1714115 h 4419155"/>
              <a:gd name="connsiteX593" fmla="*/ 5738262 w 6436611"/>
              <a:gd name="connsiteY593" fmla="*/ 2799200 h 4419155"/>
              <a:gd name="connsiteX594" fmla="*/ 5736203 w 6436611"/>
              <a:gd name="connsiteY594" fmla="*/ 2801455 h 4419155"/>
              <a:gd name="connsiteX595" fmla="*/ 5734141 w 6436611"/>
              <a:gd name="connsiteY595" fmla="*/ 2801455 h 4419155"/>
              <a:gd name="connsiteX596" fmla="*/ 5738262 w 6436611"/>
              <a:gd name="connsiteY596" fmla="*/ 2799200 h 4419155"/>
              <a:gd name="connsiteX597" fmla="*/ 5746503 w 6436611"/>
              <a:gd name="connsiteY597" fmla="*/ 2731524 h 4419155"/>
              <a:gd name="connsiteX598" fmla="*/ 5742383 w 6436611"/>
              <a:gd name="connsiteY598" fmla="*/ 2733780 h 4419155"/>
              <a:gd name="connsiteX599" fmla="*/ 5736203 w 6436611"/>
              <a:gd name="connsiteY599" fmla="*/ 2733780 h 4419155"/>
              <a:gd name="connsiteX600" fmla="*/ 5746503 w 6436611"/>
              <a:gd name="connsiteY600" fmla="*/ 2731524 h 4419155"/>
              <a:gd name="connsiteX601" fmla="*/ 5750624 w 6436611"/>
              <a:gd name="connsiteY601" fmla="*/ 2711222 h 4419155"/>
              <a:gd name="connsiteX602" fmla="*/ 5736203 w 6436611"/>
              <a:gd name="connsiteY602" fmla="*/ 2713476 h 4419155"/>
              <a:gd name="connsiteX603" fmla="*/ 5732082 w 6436611"/>
              <a:gd name="connsiteY603" fmla="*/ 2708964 h 4419155"/>
              <a:gd name="connsiteX604" fmla="*/ 5744442 w 6436611"/>
              <a:gd name="connsiteY604" fmla="*/ 2706709 h 4419155"/>
              <a:gd name="connsiteX605" fmla="*/ 5750624 w 6436611"/>
              <a:gd name="connsiteY605" fmla="*/ 2711222 h 4419155"/>
              <a:gd name="connsiteX606" fmla="*/ 5762982 w 6436611"/>
              <a:gd name="connsiteY606" fmla="*/ 2555564 h 4419155"/>
              <a:gd name="connsiteX607" fmla="*/ 5752683 w 6436611"/>
              <a:gd name="connsiteY607" fmla="*/ 2557818 h 4419155"/>
              <a:gd name="connsiteX608" fmla="*/ 5750624 w 6436611"/>
              <a:gd name="connsiteY608" fmla="*/ 2557818 h 4419155"/>
              <a:gd name="connsiteX609" fmla="*/ 5746503 w 6436611"/>
              <a:gd name="connsiteY609" fmla="*/ 2557818 h 4419155"/>
              <a:gd name="connsiteX610" fmla="*/ 5762982 w 6436611"/>
              <a:gd name="connsiteY610" fmla="*/ 2555564 h 4419155"/>
              <a:gd name="connsiteX611" fmla="*/ 5769163 w 6436611"/>
              <a:gd name="connsiteY611" fmla="*/ 1702834 h 4419155"/>
              <a:gd name="connsiteX612" fmla="*/ 5754742 w 6436611"/>
              <a:gd name="connsiteY612" fmla="*/ 1714115 h 4419155"/>
              <a:gd name="connsiteX613" fmla="*/ 5754742 w 6436611"/>
              <a:gd name="connsiteY613" fmla="*/ 1711857 h 4419155"/>
              <a:gd name="connsiteX614" fmla="*/ 5769163 w 6436611"/>
              <a:gd name="connsiteY614" fmla="*/ 1702834 h 4419155"/>
              <a:gd name="connsiteX615" fmla="*/ 5773283 w 6436611"/>
              <a:gd name="connsiteY615" fmla="*/ 2546540 h 4419155"/>
              <a:gd name="connsiteX616" fmla="*/ 5767105 w 6436611"/>
              <a:gd name="connsiteY616" fmla="*/ 2555564 h 4419155"/>
              <a:gd name="connsiteX617" fmla="*/ 5760923 w 6436611"/>
              <a:gd name="connsiteY617" fmla="*/ 2551052 h 4419155"/>
              <a:gd name="connsiteX618" fmla="*/ 5773283 w 6436611"/>
              <a:gd name="connsiteY618" fmla="*/ 2546540 h 4419155"/>
              <a:gd name="connsiteX619" fmla="*/ 5775342 w 6436611"/>
              <a:gd name="connsiteY619" fmla="*/ 2760851 h 4419155"/>
              <a:gd name="connsiteX620" fmla="*/ 5773283 w 6436611"/>
              <a:gd name="connsiteY620" fmla="*/ 2763106 h 4419155"/>
              <a:gd name="connsiteX621" fmla="*/ 5771224 w 6436611"/>
              <a:gd name="connsiteY621" fmla="*/ 2760851 h 4419155"/>
              <a:gd name="connsiteX622" fmla="*/ 5775342 w 6436611"/>
              <a:gd name="connsiteY622" fmla="*/ 2760851 h 4419155"/>
              <a:gd name="connsiteX623" fmla="*/ 5777403 w 6436611"/>
              <a:gd name="connsiteY623" fmla="*/ 2620984 h 4419155"/>
              <a:gd name="connsiteX624" fmla="*/ 5777403 w 6436611"/>
              <a:gd name="connsiteY624" fmla="*/ 2618730 h 4419155"/>
              <a:gd name="connsiteX625" fmla="*/ 5775342 w 6436611"/>
              <a:gd name="connsiteY625" fmla="*/ 2618730 h 4419155"/>
              <a:gd name="connsiteX626" fmla="*/ 5777403 w 6436611"/>
              <a:gd name="connsiteY626" fmla="*/ 2620984 h 4419155"/>
              <a:gd name="connsiteX627" fmla="*/ 5800062 w 6436611"/>
              <a:gd name="connsiteY627" fmla="*/ 2636778 h 4419155"/>
              <a:gd name="connsiteX628" fmla="*/ 5795942 w 6436611"/>
              <a:gd name="connsiteY628" fmla="*/ 2636778 h 4419155"/>
              <a:gd name="connsiteX629" fmla="*/ 5798003 w 6436611"/>
              <a:gd name="connsiteY629" fmla="*/ 2634520 h 4419155"/>
              <a:gd name="connsiteX630" fmla="*/ 5800062 w 6436611"/>
              <a:gd name="connsiteY630" fmla="*/ 2636778 h 4419155"/>
              <a:gd name="connsiteX631" fmla="*/ 5804183 w 6436611"/>
              <a:gd name="connsiteY631" fmla="*/ 2851086 h 4419155"/>
              <a:gd name="connsiteX632" fmla="*/ 5767105 w 6436611"/>
              <a:gd name="connsiteY632" fmla="*/ 2862367 h 4419155"/>
              <a:gd name="connsiteX633" fmla="*/ 5773283 w 6436611"/>
              <a:gd name="connsiteY633" fmla="*/ 2857856 h 4419155"/>
              <a:gd name="connsiteX634" fmla="*/ 5781523 w 6436611"/>
              <a:gd name="connsiteY634" fmla="*/ 2855598 h 4419155"/>
              <a:gd name="connsiteX635" fmla="*/ 5804183 w 6436611"/>
              <a:gd name="connsiteY635" fmla="*/ 2851086 h 4419155"/>
              <a:gd name="connsiteX636" fmla="*/ 5808303 w 6436611"/>
              <a:gd name="connsiteY636" fmla="*/ 2501422 h 4419155"/>
              <a:gd name="connsiteX637" fmla="*/ 5798003 w 6436611"/>
              <a:gd name="connsiteY637" fmla="*/ 2499167 h 4419155"/>
              <a:gd name="connsiteX638" fmla="*/ 5789764 w 6436611"/>
              <a:gd name="connsiteY638" fmla="*/ 2501422 h 4419155"/>
              <a:gd name="connsiteX639" fmla="*/ 5808303 w 6436611"/>
              <a:gd name="connsiteY639" fmla="*/ 2496910 h 4419155"/>
              <a:gd name="connsiteX640" fmla="*/ 5808303 w 6436611"/>
              <a:gd name="connsiteY640" fmla="*/ 2501422 h 4419155"/>
              <a:gd name="connsiteX641" fmla="*/ 5816542 w 6436611"/>
              <a:gd name="connsiteY641" fmla="*/ 2623242 h 4419155"/>
              <a:gd name="connsiteX642" fmla="*/ 5791825 w 6436611"/>
              <a:gd name="connsiteY642" fmla="*/ 2625496 h 4419155"/>
              <a:gd name="connsiteX643" fmla="*/ 5785644 w 6436611"/>
              <a:gd name="connsiteY643" fmla="*/ 2627754 h 4419155"/>
              <a:gd name="connsiteX644" fmla="*/ 5785644 w 6436611"/>
              <a:gd name="connsiteY644" fmla="*/ 2632265 h 4419155"/>
              <a:gd name="connsiteX645" fmla="*/ 5771224 w 6436611"/>
              <a:gd name="connsiteY645" fmla="*/ 2634520 h 4419155"/>
              <a:gd name="connsiteX646" fmla="*/ 5746503 w 6436611"/>
              <a:gd name="connsiteY646" fmla="*/ 2645800 h 4419155"/>
              <a:gd name="connsiteX647" fmla="*/ 5727962 w 6436611"/>
              <a:gd name="connsiteY647" fmla="*/ 2648056 h 4419155"/>
              <a:gd name="connsiteX648" fmla="*/ 5705303 w 6436611"/>
              <a:gd name="connsiteY648" fmla="*/ 2652567 h 4419155"/>
              <a:gd name="connsiteX649" fmla="*/ 5701183 w 6436611"/>
              <a:gd name="connsiteY649" fmla="*/ 2654825 h 4419155"/>
              <a:gd name="connsiteX650" fmla="*/ 5674403 w 6436611"/>
              <a:gd name="connsiteY650" fmla="*/ 2661591 h 4419155"/>
              <a:gd name="connsiteX651" fmla="*/ 5657923 w 6436611"/>
              <a:gd name="connsiteY651" fmla="*/ 2661591 h 4419155"/>
              <a:gd name="connsiteX652" fmla="*/ 5655862 w 6436611"/>
              <a:gd name="connsiteY652" fmla="*/ 2663848 h 4419155"/>
              <a:gd name="connsiteX653" fmla="*/ 5655862 w 6436611"/>
              <a:gd name="connsiteY653" fmla="*/ 2666102 h 4419155"/>
              <a:gd name="connsiteX654" fmla="*/ 5604362 w 6436611"/>
              <a:gd name="connsiteY654" fmla="*/ 2679638 h 4419155"/>
              <a:gd name="connsiteX655" fmla="*/ 5598180 w 6436611"/>
              <a:gd name="connsiteY655" fmla="*/ 2681893 h 4419155"/>
              <a:gd name="connsiteX656" fmla="*/ 5594060 w 6436611"/>
              <a:gd name="connsiteY656" fmla="*/ 2681893 h 4419155"/>
              <a:gd name="connsiteX657" fmla="*/ 5565223 w 6436611"/>
              <a:gd name="connsiteY657" fmla="*/ 2688662 h 4419155"/>
              <a:gd name="connsiteX658" fmla="*/ 5542560 w 6436611"/>
              <a:gd name="connsiteY658" fmla="*/ 2688662 h 4419155"/>
              <a:gd name="connsiteX659" fmla="*/ 5536382 w 6436611"/>
              <a:gd name="connsiteY659" fmla="*/ 2688662 h 4419155"/>
              <a:gd name="connsiteX660" fmla="*/ 5503421 w 6436611"/>
              <a:gd name="connsiteY660" fmla="*/ 2699940 h 4419155"/>
              <a:gd name="connsiteX661" fmla="*/ 5513720 w 6436611"/>
              <a:gd name="connsiteY661" fmla="*/ 2704452 h 4419155"/>
              <a:gd name="connsiteX662" fmla="*/ 5486941 w 6436611"/>
              <a:gd name="connsiteY662" fmla="*/ 2711222 h 4419155"/>
              <a:gd name="connsiteX663" fmla="*/ 5482014 w 6436611"/>
              <a:gd name="connsiteY663" fmla="*/ 2711600 h 4419155"/>
              <a:gd name="connsiteX664" fmla="*/ 5453980 w 6436611"/>
              <a:gd name="connsiteY664" fmla="*/ 2724756 h 4419155"/>
              <a:gd name="connsiteX665" fmla="*/ 5440859 w 6436611"/>
              <a:gd name="connsiteY665" fmla="*/ 2727256 h 4419155"/>
              <a:gd name="connsiteX666" fmla="*/ 5439561 w 6436611"/>
              <a:gd name="connsiteY666" fmla="*/ 2731524 h 4419155"/>
              <a:gd name="connsiteX667" fmla="*/ 5453980 w 6436611"/>
              <a:gd name="connsiteY667" fmla="*/ 2731524 h 4419155"/>
              <a:gd name="connsiteX668" fmla="*/ 5453980 w 6436611"/>
              <a:gd name="connsiteY668" fmla="*/ 2733780 h 4419155"/>
              <a:gd name="connsiteX669" fmla="*/ 5439561 w 6436611"/>
              <a:gd name="connsiteY669" fmla="*/ 2733780 h 4419155"/>
              <a:gd name="connsiteX670" fmla="*/ 5423080 w 6436611"/>
              <a:gd name="connsiteY670" fmla="*/ 2738292 h 4419155"/>
              <a:gd name="connsiteX671" fmla="*/ 5419867 w 6436611"/>
              <a:gd name="connsiteY671" fmla="*/ 2731254 h 4419155"/>
              <a:gd name="connsiteX672" fmla="*/ 5406600 w 6436611"/>
              <a:gd name="connsiteY672" fmla="*/ 2733780 h 4419155"/>
              <a:gd name="connsiteX673" fmla="*/ 5401450 w 6436611"/>
              <a:gd name="connsiteY673" fmla="*/ 2734626 h 4419155"/>
              <a:gd name="connsiteX674" fmla="*/ 5399283 w 6436611"/>
              <a:gd name="connsiteY674" fmla="*/ 2731422 h 4419155"/>
              <a:gd name="connsiteX675" fmla="*/ 5398360 w 6436611"/>
              <a:gd name="connsiteY675" fmla="*/ 2731524 h 4419155"/>
              <a:gd name="connsiteX676" fmla="*/ 5396298 w 6436611"/>
              <a:gd name="connsiteY676" fmla="*/ 2729269 h 4419155"/>
              <a:gd name="connsiteX677" fmla="*/ 5396298 w 6436611"/>
              <a:gd name="connsiteY677" fmla="*/ 2727011 h 4419155"/>
              <a:gd name="connsiteX678" fmla="*/ 5399283 w 6436611"/>
              <a:gd name="connsiteY678" fmla="*/ 2731422 h 4419155"/>
              <a:gd name="connsiteX679" fmla="*/ 5418960 w 6436611"/>
              <a:gd name="connsiteY679" fmla="*/ 2729269 h 4419155"/>
              <a:gd name="connsiteX680" fmla="*/ 5419867 w 6436611"/>
              <a:gd name="connsiteY680" fmla="*/ 2731254 h 4419155"/>
              <a:gd name="connsiteX681" fmla="*/ 5440859 w 6436611"/>
              <a:gd name="connsiteY681" fmla="*/ 2727256 h 4419155"/>
              <a:gd name="connsiteX682" fmla="*/ 5441619 w 6436611"/>
              <a:gd name="connsiteY682" fmla="*/ 2724756 h 4419155"/>
              <a:gd name="connsiteX683" fmla="*/ 5458098 w 6436611"/>
              <a:gd name="connsiteY683" fmla="*/ 2720245 h 4419155"/>
              <a:gd name="connsiteX684" fmla="*/ 5456039 w 6436611"/>
              <a:gd name="connsiteY684" fmla="*/ 2720245 h 4419155"/>
              <a:gd name="connsiteX685" fmla="*/ 5472263 w 6436611"/>
              <a:gd name="connsiteY685" fmla="*/ 2712350 h 4419155"/>
              <a:gd name="connsiteX686" fmla="*/ 5482014 w 6436611"/>
              <a:gd name="connsiteY686" fmla="*/ 2711600 h 4419155"/>
              <a:gd name="connsiteX687" fmla="*/ 5482821 w 6436611"/>
              <a:gd name="connsiteY687" fmla="*/ 2711222 h 4419155"/>
              <a:gd name="connsiteX688" fmla="*/ 5466341 w 6436611"/>
              <a:gd name="connsiteY688" fmla="*/ 2708964 h 4419155"/>
              <a:gd name="connsiteX689" fmla="*/ 5429259 w 6436611"/>
              <a:gd name="connsiteY689" fmla="*/ 2708964 h 4419155"/>
              <a:gd name="connsiteX690" fmla="*/ 5458100 w 6436611"/>
              <a:gd name="connsiteY690" fmla="*/ 2699940 h 4419155"/>
              <a:gd name="connsiteX691" fmla="*/ 5489000 w 6436611"/>
              <a:gd name="connsiteY691" fmla="*/ 2688662 h 4419155"/>
              <a:gd name="connsiteX692" fmla="*/ 5491061 w 6436611"/>
              <a:gd name="connsiteY692" fmla="*/ 2686404 h 4419155"/>
              <a:gd name="connsiteX693" fmla="*/ 5480759 w 6436611"/>
              <a:gd name="connsiteY693" fmla="*/ 2684150 h 4419155"/>
              <a:gd name="connsiteX694" fmla="*/ 5491061 w 6436611"/>
              <a:gd name="connsiteY694" fmla="*/ 2675127 h 4419155"/>
              <a:gd name="connsiteX695" fmla="*/ 5482821 w 6436611"/>
              <a:gd name="connsiteY695" fmla="*/ 2670614 h 4419155"/>
              <a:gd name="connsiteX696" fmla="*/ 5491061 w 6436611"/>
              <a:gd name="connsiteY696" fmla="*/ 2668358 h 4419155"/>
              <a:gd name="connsiteX697" fmla="*/ 5517840 w 6436611"/>
              <a:gd name="connsiteY697" fmla="*/ 2661591 h 4419155"/>
              <a:gd name="connsiteX698" fmla="*/ 5521960 w 6436611"/>
              <a:gd name="connsiteY698" fmla="*/ 2661591 h 4419155"/>
              <a:gd name="connsiteX699" fmla="*/ 5577580 w 6436611"/>
              <a:gd name="connsiteY699" fmla="*/ 2645800 h 4419155"/>
              <a:gd name="connsiteX700" fmla="*/ 5598180 w 6436611"/>
              <a:gd name="connsiteY700" fmla="*/ 2634520 h 4419155"/>
              <a:gd name="connsiteX701" fmla="*/ 5627021 w 6436611"/>
              <a:gd name="connsiteY701" fmla="*/ 2625496 h 4419155"/>
              <a:gd name="connsiteX702" fmla="*/ 5659982 w 6436611"/>
              <a:gd name="connsiteY702" fmla="*/ 2618730 h 4419155"/>
              <a:gd name="connsiteX703" fmla="*/ 5662041 w 6436611"/>
              <a:gd name="connsiteY703" fmla="*/ 2618730 h 4419155"/>
              <a:gd name="connsiteX704" fmla="*/ 5659982 w 6436611"/>
              <a:gd name="connsiteY704" fmla="*/ 2623242 h 4419155"/>
              <a:gd name="connsiteX705" fmla="*/ 5664102 w 6436611"/>
              <a:gd name="connsiteY705" fmla="*/ 2634520 h 4419155"/>
              <a:gd name="connsiteX706" fmla="*/ 5674403 w 6436611"/>
              <a:gd name="connsiteY706" fmla="*/ 2632265 h 4419155"/>
              <a:gd name="connsiteX707" fmla="*/ 5736203 w 6436611"/>
              <a:gd name="connsiteY707" fmla="*/ 2616472 h 4419155"/>
              <a:gd name="connsiteX708" fmla="*/ 5750624 w 6436611"/>
              <a:gd name="connsiteY708" fmla="*/ 2614218 h 4419155"/>
              <a:gd name="connsiteX709" fmla="*/ 5748562 w 6436611"/>
              <a:gd name="connsiteY709" fmla="*/ 2618730 h 4419155"/>
              <a:gd name="connsiteX710" fmla="*/ 5738262 w 6436611"/>
              <a:gd name="connsiteY710" fmla="*/ 2632265 h 4419155"/>
              <a:gd name="connsiteX711" fmla="*/ 5725903 w 6436611"/>
              <a:gd name="connsiteY711" fmla="*/ 2634520 h 4419155"/>
              <a:gd name="connsiteX712" fmla="*/ 5715601 w 6436611"/>
              <a:gd name="connsiteY712" fmla="*/ 2636778 h 4419155"/>
              <a:gd name="connsiteX713" fmla="*/ 5717663 w 6436611"/>
              <a:gd name="connsiteY713" fmla="*/ 2639032 h 4419155"/>
              <a:gd name="connsiteX714" fmla="*/ 5767105 w 6436611"/>
              <a:gd name="connsiteY714" fmla="*/ 2634520 h 4419155"/>
              <a:gd name="connsiteX715" fmla="*/ 5771224 w 6436611"/>
              <a:gd name="connsiteY715" fmla="*/ 2630008 h 4419155"/>
              <a:gd name="connsiteX716" fmla="*/ 5750624 w 6436611"/>
              <a:gd name="connsiteY716" fmla="*/ 2625496 h 4419155"/>
              <a:gd name="connsiteX717" fmla="*/ 5760923 w 6436611"/>
              <a:gd name="connsiteY717" fmla="*/ 2614218 h 4419155"/>
              <a:gd name="connsiteX718" fmla="*/ 5769163 w 6436611"/>
              <a:gd name="connsiteY718" fmla="*/ 2616472 h 4419155"/>
              <a:gd name="connsiteX719" fmla="*/ 5806244 w 6436611"/>
              <a:gd name="connsiteY719" fmla="*/ 2616472 h 4419155"/>
              <a:gd name="connsiteX720" fmla="*/ 5814485 w 6436611"/>
              <a:gd name="connsiteY720" fmla="*/ 2614218 h 4419155"/>
              <a:gd name="connsiteX721" fmla="*/ 5816542 w 6436611"/>
              <a:gd name="connsiteY721" fmla="*/ 2623242 h 4419155"/>
              <a:gd name="connsiteX722" fmla="*/ 5822724 w 6436611"/>
              <a:gd name="connsiteY722" fmla="*/ 2794689 h 4419155"/>
              <a:gd name="connsiteX723" fmla="*/ 5816542 w 6436611"/>
              <a:gd name="connsiteY723" fmla="*/ 2794689 h 4419155"/>
              <a:gd name="connsiteX724" fmla="*/ 5818604 w 6436611"/>
              <a:gd name="connsiteY724" fmla="*/ 2792432 h 4419155"/>
              <a:gd name="connsiteX725" fmla="*/ 5822724 w 6436611"/>
              <a:gd name="connsiteY725" fmla="*/ 2792432 h 4419155"/>
              <a:gd name="connsiteX726" fmla="*/ 5822724 w 6436611"/>
              <a:gd name="connsiteY726" fmla="*/ 2794689 h 4419155"/>
              <a:gd name="connsiteX727" fmla="*/ 5826842 w 6436611"/>
              <a:gd name="connsiteY727" fmla="*/ 1698322 h 4419155"/>
              <a:gd name="connsiteX728" fmla="*/ 5824783 w 6436611"/>
              <a:gd name="connsiteY728" fmla="*/ 1705092 h 4419155"/>
              <a:gd name="connsiteX729" fmla="*/ 5814485 w 6436611"/>
              <a:gd name="connsiteY729" fmla="*/ 1705092 h 4419155"/>
              <a:gd name="connsiteX730" fmla="*/ 5826842 w 6436611"/>
              <a:gd name="connsiteY730" fmla="*/ 1698322 h 4419155"/>
              <a:gd name="connsiteX731" fmla="*/ 5826842 w 6436611"/>
              <a:gd name="connsiteY731" fmla="*/ 2481120 h 4419155"/>
              <a:gd name="connsiteX732" fmla="*/ 5793883 w 6436611"/>
              <a:gd name="connsiteY732" fmla="*/ 2490142 h 4419155"/>
              <a:gd name="connsiteX733" fmla="*/ 5789764 w 6436611"/>
              <a:gd name="connsiteY733" fmla="*/ 2494656 h 4419155"/>
              <a:gd name="connsiteX734" fmla="*/ 5787703 w 6436611"/>
              <a:gd name="connsiteY734" fmla="*/ 2494656 h 4419155"/>
              <a:gd name="connsiteX735" fmla="*/ 5758862 w 6436611"/>
              <a:gd name="connsiteY735" fmla="*/ 2496910 h 4419155"/>
              <a:gd name="connsiteX736" fmla="*/ 5744442 w 6436611"/>
              <a:gd name="connsiteY736" fmla="*/ 2496910 h 4419155"/>
              <a:gd name="connsiteX737" fmla="*/ 5771224 w 6436611"/>
              <a:gd name="connsiteY737" fmla="*/ 2487886 h 4419155"/>
              <a:gd name="connsiteX738" fmla="*/ 5789764 w 6436611"/>
              <a:gd name="connsiteY738" fmla="*/ 2483374 h 4419155"/>
              <a:gd name="connsiteX739" fmla="*/ 5812423 w 6436611"/>
              <a:gd name="connsiteY739" fmla="*/ 2476608 h 4419155"/>
              <a:gd name="connsiteX740" fmla="*/ 5822724 w 6436611"/>
              <a:gd name="connsiteY740" fmla="*/ 2476608 h 4419155"/>
              <a:gd name="connsiteX741" fmla="*/ 5826842 w 6436611"/>
              <a:gd name="connsiteY741" fmla="*/ 2478862 h 4419155"/>
              <a:gd name="connsiteX742" fmla="*/ 5826842 w 6436611"/>
              <a:gd name="connsiteY742" fmla="*/ 2481120 h 4419155"/>
              <a:gd name="connsiteX743" fmla="*/ 5830965 w 6436611"/>
              <a:gd name="connsiteY743" fmla="*/ 2733780 h 4419155"/>
              <a:gd name="connsiteX744" fmla="*/ 5822724 w 6436611"/>
              <a:gd name="connsiteY744" fmla="*/ 2736036 h 4419155"/>
              <a:gd name="connsiteX745" fmla="*/ 5783582 w 6436611"/>
              <a:gd name="connsiteY745" fmla="*/ 2736036 h 4419155"/>
              <a:gd name="connsiteX746" fmla="*/ 5798003 w 6436611"/>
              <a:gd name="connsiteY746" fmla="*/ 2733780 h 4419155"/>
              <a:gd name="connsiteX747" fmla="*/ 5828903 w 6436611"/>
              <a:gd name="connsiteY747" fmla="*/ 2731524 h 4419155"/>
              <a:gd name="connsiteX748" fmla="*/ 5830965 w 6436611"/>
              <a:gd name="connsiteY748" fmla="*/ 2733780 h 4419155"/>
              <a:gd name="connsiteX749" fmla="*/ 5833023 w 6436611"/>
              <a:gd name="connsiteY749" fmla="*/ 2884924 h 4419155"/>
              <a:gd name="connsiteX750" fmla="*/ 5833023 w 6436611"/>
              <a:gd name="connsiteY750" fmla="*/ 2882669 h 4419155"/>
              <a:gd name="connsiteX751" fmla="*/ 5828903 w 6436611"/>
              <a:gd name="connsiteY751" fmla="*/ 2882669 h 4419155"/>
              <a:gd name="connsiteX752" fmla="*/ 5828903 w 6436611"/>
              <a:gd name="connsiteY752" fmla="*/ 2884924 h 4419155"/>
              <a:gd name="connsiteX753" fmla="*/ 5833023 w 6436611"/>
              <a:gd name="connsiteY753" fmla="*/ 2884924 h 4419155"/>
              <a:gd name="connsiteX754" fmla="*/ 5837144 w 6436611"/>
              <a:gd name="connsiteY754" fmla="*/ 2596170 h 4419155"/>
              <a:gd name="connsiteX755" fmla="*/ 5828903 w 6436611"/>
              <a:gd name="connsiteY755" fmla="*/ 2602936 h 4419155"/>
              <a:gd name="connsiteX756" fmla="*/ 5826842 w 6436611"/>
              <a:gd name="connsiteY756" fmla="*/ 2605194 h 4419155"/>
              <a:gd name="connsiteX757" fmla="*/ 5820663 w 6436611"/>
              <a:gd name="connsiteY757" fmla="*/ 2605194 h 4419155"/>
              <a:gd name="connsiteX758" fmla="*/ 5814485 w 6436611"/>
              <a:gd name="connsiteY758" fmla="*/ 2611960 h 4419155"/>
              <a:gd name="connsiteX759" fmla="*/ 5806244 w 6436611"/>
              <a:gd name="connsiteY759" fmla="*/ 2609706 h 4419155"/>
              <a:gd name="connsiteX760" fmla="*/ 5798003 w 6436611"/>
              <a:gd name="connsiteY760" fmla="*/ 2607449 h 4419155"/>
              <a:gd name="connsiteX761" fmla="*/ 5793883 w 6436611"/>
              <a:gd name="connsiteY761" fmla="*/ 2609706 h 4419155"/>
              <a:gd name="connsiteX762" fmla="*/ 5791825 w 6436611"/>
              <a:gd name="connsiteY762" fmla="*/ 2609706 h 4419155"/>
              <a:gd name="connsiteX763" fmla="*/ 5791825 w 6436611"/>
              <a:gd name="connsiteY763" fmla="*/ 2607449 h 4419155"/>
              <a:gd name="connsiteX764" fmla="*/ 5798003 w 6436611"/>
              <a:gd name="connsiteY764" fmla="*/ 2607449 h 4419155"/>
              <a:gd name="connsiteX765" fmla="*/ 5818604 w 6436611"/>
              <a:gd name="connsiteY765" fmla="*/ 2600682 h 4419155"/>
              <a:gd name="connsiteX766" fmla="*/ 5837144 w 6436611"/>
              <a:gd name="connsiteY766" fmla="*/ 2596170 h 4419155"/>
              <a:gd name="connsiteX767" fmla="*/ 5851562 w 6436611"/>
              <a:gd name="connsiteY767" fmla="*/ 2616472 h 4419155"/>
              <a:gd name="connsiteX768" fmla="*/ 5847442 w 6436611"/>
              <a:gd name="connsiteY768" fmla="*/ 2614218 h 4419155"/>
              <a:gd name="connsiteX769" fmla="*/ 5849503 w 6436611"/>
              <a:gd name="connsiteY769" fmla="*/ 2611960 h 4419155"/>
              <a:gd name="connsiteX770" fmla="*/ 5851562 w 6436611"/>
              <a:gd name="connsiteY770" fmla="*/ 2614218 h 4419155"/>
              <a:gd name="connsiteX771" fmla="*/ 5851562 w 6436611"/>
              <a:gd name="connsiteY771" fmla="*/ 2616472 h 4419155"/>
              <a:gd name="connsiteX772" fmla="*/ 5851562 w 6436611"/>
              <a:gd name="connsiteY772" fmla="*/ 2625496 h 4419155"/>
              <a:gd name="connsiteX773" fmla="*/ 5830965 w 6436611"/>
              <a:gd name="connsiteY773" fmla="*/ 2630008 h 4419155"/>
              <a:gd name="connsiteX774" fmla="*/ 5816542 w 6436611"/>
              <a:gd name="connsiteY774" fmla="*/ 2630008 h 4419155"/>
              <a:gd name="connsiteX775" fmla="*/ 5834827 w 6436611"/>
              <a:gd name="connsiteY775" fmla="*/ 2624370 h 4419155"/>
              <a:gd name="connsiteX776" fmla="*/ 5851562 w 6436611"/>
              <a:gd name="connsiteY776" fmla="*/ 2625496 h 4419155"/>
              <a:gd name="connsiteX777" fmla="*/ 5853624 w 6436611"/>
              <a:gd name="connsiteY777" fmla="*/ 2729269 h 4419155"/>
              <a:gd name="connsiteX778" fmla="*/ 5851562 w 6436611"/>
              <a:gd name="connsiteY778" fmla="*/ 2731524 h 4419155"/>
              <a:gd name="connsiteX779" fmla="*/ 5849503 w 6436611"/>
              <a:gd name="connsiteY779" fmla="*/ 2731524 h 4419155"/>
              <a:gd name="connsiteX780" fmla="*/ 5849503 w 6436611"/>
              <a:gd name="connsiteY780" fmla="*/ 2729269 h 4419155"/>
              <a:gd name="connsiteX781" fmla="*/ 5853624 w 6436611"/>
              <a:gd name="connsiteY781" fmla="*/ 2729269 h 4419155"/>
              <a:gd name="connsiteX782" fmla="*/ 5853863 w 6436611"/>
              <a:gd name="connsiteY782" fmla="*/ 2704557 h 4419155"/>
              <a:gd name="connsiteX783" fmla="*/ 5853624 w 6436611"/>
              <a:gd name="connsiteY783" fmla="*/ 2702198 h 4419155"/>
              <a:gd name="connsiteX784" fmla="*/ 5850334 w 6436611"/>
              <a:gd name="connsiteY784" fmla="*/ 2701940 h 4419155"/>
              <a:gd name="connsiteX785" fmla="*/ 5851562 w 6436611"/>
              <a:gd name="connsiteY785" fmla="*/ 2704452 h 4419155"/>
              <a:gd name="connsiteX786" fmla="*/ 5853624 w 6436611"/>
              <a:gd name="connsiteY786" fmla="*/ 2704452 h 4419155"/>
              <a:gd name="connsiteX787" fmla="*/ 5861864 w 6436611"/>
              <a:gd name="connsiteY787" fmla="*/ 2560075 h 4419155"/>
              <a:gd name="connsiteX788" fmla="*/ 5824783 w 6436611"/>
              <a:gd name="connsiteY788" fmla="*/ 2580377 h 4419155"/>
              <a:gd name="connsiteX789" fmla="*/ 5775342 w 6436611"/>
              <a:gd name="connsiteY789" fmla="*/ 2589402 h 4419155"/>
              <a:gd name="connsiteX790" fmla="*/ 5717663 w 6436611"/>
              <a:gd name="connsiteY790" fmla="*/ 2598424 h 4419155"/>
              <a:gd name="connsiteX791" fmla="*/ 5711482 w 6436611"/>
              <a:gd name="connsiteY791" fmla="*/ 2598424 h 4419155"/>
              <a:gd name="connsiteX792" fmla="*/ 5692942 w 6436611"/>
              <a:gd name="connsiteY792" fmla="*/ 2607449 h 4419155"/>
              <a:gd name="connsiteX793" fmla="*/ 5688823 w 6436611"/>
              <a:gd name="connsiteY793" fmla="*/ 2607449 h 4419155"/>
              <a:gd name="connsiteX794" fmla="*/ 5633203 w 6436611"/>
              <a:gd name="connsiteY794" fmla="*/ 2611960 h 4419155"/>
              <a:gd name="connsiteX795" fmla="*/ 5641440 w 6436611"/>
              <a:gd name="connsiteY795" fmla="*/ 2602936 h 4419155"/>
              <a:gd name="connsiteX796" fmla="*/ 5653803 w 6436611"/>
              <a:gd name="connsiteY796" fmla="*/ 2600682 h 4419155"/>
              <a:gd name="connsiteX797" fmla="*/ 5651742 w 6436611"/>
              <a:gd name="connsiteY797" fmla="*/ 2596170 h 4419155"/>
              <a:gd name="connsiteX798" fmla="*/ 5664102 w 6436611"/>
              <a:gd name="connsiteY798" fmla="*/ 2591658 h 4419155"/>
              <a:gd name="connsiteX799" fmla="*/ 5678523 w 6436611"/>
              <a:gd name="connsiteY799" fmla="*/ 2593913 h 4419155"/>
              <a:gd name="connsiteX800" fmla="*/ 5678523 w 6436611"/>
              <a:gd name="connsiteY800" fmla="*/ 2589402 h 4419155"/>
              <a:gd name="connsiteX801" fmla="*/ 5690881 w 6436611"/>
              <a:gd name="connsiteY801" fmla="*/ 2591658 h 4419155"/>
              <a:gd name="connsiteX802" fmla="*/ 5703242 w 6436611"/>
              <a:gd name="connsiteY802" fmla="*/ 2591658 h 4419155"/>
              <a:gd name="connsiteX803" fmla="*/ 5725903 w 6436611"/>
              <a:gd name="connsiteY803" fmla="*/ 2589402 h 4419155"/>
              <a:gd name="connsiteX804" fmla="*/ 5727962 w 6436611"/>
              <a:gd name="connsiteY804" fmla="*/ 2587147 h 4419155"/>
              <a:gd name="connsiteX805" fmla="*/ 5775342 w 6436611"/>
              <a:gd name="connsiteY805" fmla="*/ 2575868 h 4419155"/>
              <a:gd name="connsiteX806" fmla="*/ 5853624 w 6436611"/>
              <a:gd name="connsiteY806" fmla="*/ 2562334 h 4419155"/>
              <a:gd name="connsiteX807" fmla="*/ 5861864 w 6436611"/>
              <a:gd name="connsiteY807" fmla="*/ 2560075 h 4419155"/>
              <a:gd name="connsiteX808" fmla="*/ 5865985 w 6436611"/>
              <a:gd name="connsiteY808" fmla="*/ 2677384 h 4419155"/>
              <a:gd name="connsiteX809" fmla="*/ 5861864 w 6436611"/>
              <a:gd name="connsiteY809" fmla="*/ 2679638 h 4419155"/>
              <a:gd name="connsiteX810" fmla="*/ 5861864 w 6436611"/>
              <a:gd name="connsiteY810" fmla="*/ 2677384 h 4419155"/>
              <a:gd name="connsiteX811" fmla="*/ 5863926 w 6436611"/>
              <a:gd name="connsiteY811" fmla="*/ 2677384 h 4419155"/>
              <a:gd name="connsiteX812" fmla="*/ 5865985 w 6436611"/>
              <a:gd name="connsiteY812" fmla="*/ 2677384 h 4419155"/>
              <a:gd name="connsiteX813" fmla="*/ 5874224 w 6436611"/>
              <a:gd name="connsiteY813" fmla="*/ 2388628 h 4419155"/>
              <a:gd name="connsiteX814" fmla="*/ 5872163 w 6436611"/>
              <a:gd name="connsiteY814" fmla="*/ 2393140 h 4419155"/>
              <a:gd name="connsiteX815" fmla="*/ 5870104 w 6436611"/>
              <a:gd name="connsiteY815" fmla="*/ 2393140 h 4419155"/>
              <a:gd name="connsiteX816" fmla="*/ 5870104 w 6436611"/>
              <a:gd name="connsiteY816" fmla="*/ 2388628 h 4419155"/>
              <a:gd name="connsiteX817" fmla="*/ 5874224 w 6436611"/>
              <a:gd name="connsiteY817" fmla="*/ 2388628 h 4419155"/>
              <a:gd name="connsiteX818" fmla="*/ 5878344 w 6436611"/>
              <a:gd name="connsiteY818" fmla="*/ 2749571 h 4419155"/>
              <a:gd name="connsiteX819" fmla="*/ 5859805 w 6436611"/>
              <a:gd name="connsiteY819" fmla="*/ 2749571 h 4419155"/>
              <a:gd name="connsiteX820" fmla="*/ 5857744 w 6436611"/>
              <a:gd name="connsiteY820" fmla="*/ 2749571 h 4419155"/>
              <a:gd name="connsiteX821" fmla="*/ 5853624 w 6436611"/>
              <a:gd name="connsiteY821" fmla="*/ 2749571 h 4419155"/>
              <a:gd name="connsiteX822" fmla="*/ 5847442 w 6436611"/>
              <a:gd name="connsiteY822" fmla="*/ 2751828 h 4419155"/>
              <a:gd name="connsiteX823" fmla="*/ 5843324 w 6436611"/>
              <a:gd name="connsiteY823" fmla="*/ 2756340 h 4419155"/>
              <a:gd name="connsiteX824" fmla="*/ 5847442 w 6436611"/>
              <a:gd name="connsiteY824" fmla="*/ 2756340 h 4419155"/>
              <a:gd name="connsiteX825" fmla="*/ 5841263 w 6436611"/>
              <a:gd name="connsiteY825" fmla="*/ 2760851 h 4419155"/>
              <a:gd name="connsiteX826" fmla="*/ 5800062 w 6436611"/>
              <a:gd name="connsiteY826" fmla="*/ 2767618 h 4419155"/>
              <a:gd name="connsiteX827" fmla="*/ 5839205 w 6436611"/>
              <a:gd name="connsiteY827" fmla="*/ 2765364 h 4419155"/>
              <a:gd name="connsiteX828" fmla="*/ 5839205 w 6436611"/>
              <a:gd name="connsiteY828" fmla="*/ 2767618 h 4419155"/>
              <a:gd name="connsiteX829" fmla="*/ 5791825 w 6436611"/>
              <a:gd name="connsiteY829" fmla="*/ 2772130 h 4419155"/>
              <a:gd name="connsiteX830" fmla="*/ 5769163 w 6436611"/>
              <a:gd name="connsiteY830" fmla="*/ 2776642 h 4419155"/>
              <a:gd name="connsiteX831" fmla="*/ 5719722 w 6436611"/>
              <a:gd name="connsiteY831" fmla="*/ 2785666 h 4419155"/>
              <a:gd name="connsiteX832" fmla="*/ 5717663 w 6436611"/>
              <a:gd name="connsiteY832" fmla="*/ 2787920 h 4419155"/>
              <a:gd name="connsiteX833" fmla="*/ 5711482 w 6436611"/>
              <a:gd name="connsiteY833" fmla="*/ 2805968 h 4419155"/>
              <a:gd name="connsiteX834" fmla="*/ 5664102 w 6436611"/>
              <a:gd name="connsiteY834" fmla="*/ 2812736 h 4419155"/>
              <a:gd name="connsiteX835" fmla="*/ 5651742 w 6436611"/>
              <a:gd name="connsiteY835" fmla="*/ 2812736 h 4419155"/>
              <a:gd name="connsiteX836" fmla="*/ 5622901 w 6436611"/>
              <a:gd name="connsiteY836" fmla="*/ 2819502 h 4419155"/>
              <a:gd name="connsiteX837" fmla="*/ 5600242 w 6436611"/>
              <a:gd name="connsiteY837" fmla="*/ 2819502 h 4419155"/>
              <a:gd name="connsiteX838" fmla="*/ 5594060 w 6436611"/>
              <a:gd name="connsiteY838" fmla="*/ 2819502 h 4419155"/>
              <a:gd name="connsiteX839" fmla="*/ 5577580 w 6436611"/>
              <a:gd name="connsiteY839" fmla="*/ 2824016 h 4419155"/>
              <a:gd name="connsiteX840" fmla="*/ 5592001 w 6436611"/>
              <a:gd name="connsiteY840" fmla="*/ 2812736 h 4419155"/>
              <a:gd name="connsiteX841" fmla="*/ 5579641 w 6436611"/>
              <a:gd name="connsiteY841" fmla="*/ 2812736 h 4419155"/>
              <a:gd name="connsiteX842" fmla="*/ 5573460 w 6436611"/>
              <a:gd name="connsiteY842" fmla="*/ 2812736 h 4419155"/>
              <a:gd name="connsiteX843" fmla="*/ 5546680 w 6436611"/>
              <a:gd name="connsiteY843" fmla="*/ 2826272 h 4419155"/>
              <a:gd name="connsiteX844" fmla="*/ 5545034 w 6436611"/>
              <a:gd name="connsiteY844" fmla="*/ 2828076 h 4419155"/>
              <a:gd name="connsiteX845" fmla="*/ 5546680 w 6436611"/>
              <a:gd name="connsiteY845" fmla="*/ 2828527 h 4419155"/>
              <a:gd name="connsiteX846" fmla="*/ 5543644 w 6436611"/>
              <a:gd name="connsiteY846" fmla="*/ 2831022 h 4419155"/>
              <a:gd name="connsiteX847" fmla="*/ 5552860 w 6436611"/>
              <a:gd name="connsiteY847" fmla="*/ 2833038 h 4419155"/>
              <a:gd name="connsiteX848" fmla="*/ 5563161 w 6436611"/>
              <a:gd name="connsiteY848" fmla="*/ 2830784 h 4419155"/>
              <a:gd name="connsiteX849" fmla="*/ 5587882 w 6436611"/>
              <a:gd name="connsiteY849" fmla="*/ 2835296 h 4419155"/>
              <a:gd name="connsiteX850" fmla="*/ 5629082 w 6436611"/>
              <a:gd name="connsiteY850" fmla="*/ 2830784 h 4419155"/>
              <a:gd name="connsiteX851" fmla="*/ 5598180 w 6436611"/>
              <a:gd name="connsiteY851" fmla="*/ 2839808 h 4419155"/>
              <a:gd name="connsiteX852" fmla="*/ 5575521 w 6436611"/>
              <a:gd name="connsiteY852" fmla="*/ 2846574 h 4419155"/>
              <a:gd name="connsiteX853" fmla="*/ 5567281 w 6436611"/>
              <a:gd name="connsiteY853" fmla="*/ 2848831 h 4419155"/>
              <a:gd name="connsiteX854" fmla="*/ 5550801 w 6436611"/>
              <a:gd name="connsiteY854" fmla="*/ 2853344 h 4419155"/>
              <a:gd name="connsiteX855" fmla="*/ 5538441 w 6436611"/>
              <a:gd name="connsiteY855" fmla="*/ 2864622 h 4419155"/>
              <a:gd name="connsiteX856" fmla="*/ 5524021 w 6436611"/>
              <a:gd name="connsiteY856" fmla="*/ 2871388 h 4419155"/>
              <a:gd name="connsiteX857" fmla="*/ 5486941 w 6436611"/>
              <a:gd name="connsiteY857" fmla="*/ 2878158 h 4419155"/>
              <a:gd name="connsiteX858" fmla="*/ 5480759 w 6436611"/>
              <a:gd name="connsiteY858" fmla="*/ 2880414 h 4419155"/>
              <a:gd name="connsiteX859" fmla="*/ 5474580 w 6436611"/>
              <a:gd name="connsiteY859" fmla="*/ 2882669 h 4419155"/>
              <a:gd name="connsiteX860" fmla="*/ 5472521 w 6436611"/>
              <a:gd name="connsiteY860" fmla="*/ 2882669 h 4419155"/>
              <a:gd name="connsiteX861" fmla="*/ 5427200 w 6436611"/>
              <a:gd name="connsiteY861" fmla="*/ 2889438 h 4419155"/>
              <a:gd name="connsiteX862" fmla="*/ 5348918 w 6436611"/>
              <a:gd name="connsiteY862" fmla="*/ 2902971 h 4419155"/>
              <a:gd name="connsiteX863" fmla="*/ 5346860 w 6436611"/>
              <a:gd name="connsiteY863" fmla="*/ 2900716 h 4419155"/>
              <a:gd name="connsiteX864" fmla="*/ 5353039 w 6436611"/>
              <a:gd name="connsiteY864" fmla="*/ 2898460 h 4419155"/>
              <a:gd name="connsiteX865" fmla="*/ 5375700 w 6436611"/>
              <a:gd name="connsiteY865" fmla="*/ 2891692 h 4419155"/>
              <a:gd name="connsiteX866" fmla="*/ 5429259 w 6436611"/>
              <a:gd name="connsiteY866" fmla="*/ 2873645 h 4419155"/>
              <a:gd name="connsiteX867" fmla="*/ 5427200 w 6436611"/>
              <a:gd name="connsiteY867" fmla="*/ 2875903 h 4419155"/>
              <a:gd name="connsiteX868" fmla="*/ 5429259 w 6436611"/>
              <a:gd name="connsiteY868" fmla="*/ 2878158 h 4419155"/>
              <a:gd name="connsiteX869" fmla="*/ 5435438 w 6436611"/>
              <a:gd name="connsiteY869" fmla="*/ 2875903 h 4419155"/>
              <a:gd name="connsiteX870" fmla="*/ 5433380 w 6436611"/>
              <a:gd name="connsiteY870" fmla="*/ 2871388 h 4419155"/>
              <a:gd name="connsiteX871" fmla="*/ 5468402 w 6436611"/>
              <a:gd name="connsiteY871" fmla="*/ 2860110 h 4419155"/>
              <a:gd name="connsiteX872" fmla="*/ 5489000 w 6436611"/>
              <a:gd name="connsiteY872" fmla="*/ 2848831 h 4419155"/>
              <a:gd name="connsiteX873" fmla="*/ 5515782 w 6436611"/>
              <a:gd name="connsiteY873" fmla="*/ 2844320 h 4419155"/>
              <a:gd name="connsiteX874" fmla="*/ 5536382 w 6436611"/>
              <a:gd name="connsiteY874" fmla="*/ 2835296 h 4419155"/>
              <a:gd name="connsiteX875" fmla="*/ 5538441 w 6436611"/>
              <a:gd name="connsiteY875" fmla="*/ 2835296 h 4419155"/>
              <a:gd name="connsiteX876" fmla="*/ 5543644 w 6436611"/>
              <a:gd name="connsiteY876" fmla="*/ 2831022 h 4419155"/>
              <a:gd name="connsiteX877" fmla="*/ 5542560 w 6436611"/>
              <a:gd name="connsiteY877" fmla="*/ 2830784 h 4419155"/>
              <a:gd name="connsiteX878" fmla="*/ 5545034 w 6436611"/>
              <a:gd name="connsiteY878" fmla="*/ 2828076 h 4419155"/>
              <a:gd name="connsiteX879" fmla="*/ 5538441 w 6436611"/>
              <a:gd name="connsiteY879" fmla="*/ 2826272 h 4419155"/>
              <a:gd name="connsiteX880" fmla="*/ 5536382 w 6436611"/>
              <a:gd name="connsiteY880" fmla="*/ 2826272 h 4419155"/>
              <a:gd name="connsiteX881" fmla="*/ 5528139 w 6436611"/>
              <a:gd name="connsiteY881" fmla="*/ 2826272 h 4419155"/>
              <a:gd name="connsiteX882" fmla="*/ 5521960 w 6436611"/>
              <a:gd name="connsiteY882" fmla="*/ 2826272 h 4419155"/>
              <a:gd name="connsiteX883" fmla="*/ 5559041 w 6436611"/>
              <a:gd name="connsiteY883" fmla="*/ 2812736 h 4419155"/>
              <a:gd name="connsiteX884" fmla="*/ 5561102 w 6436611"/>
              <a:gd name="connsiteY884" fmla="*/ 2799200 h 4419155"/>
              <a:gd name="connsiteX885" fmla="*/ 5569340 w 6436611"/>
              <a:gd name="connsiteY885" fmla="*/ 2799200 h 4419155"/>
              <a:gd name="connsiteX886" fmla="*/ 5602301 w 6436611"/>
              <a:gd name="connsiteY886" fmla="*/ 2792432 h 4419155"/>
              <a:gd name="connsiteX887" fmla="*/ 5627021 w 6436611"/>
              <a:gd name="connsiteY887" fmla="*/ 2785666 h 4419155"/>
              <a:gd name="connsiteX888" fmla="*/ 5624962 w 6436611"/>
              <a:gd name="connsiteY888" fmla="*/ 2794689 h 4419155"/>
              <a:gd name="connsiteX889" fmla="*/ 5612602 w 6436611"/>
              <a:gd name="connsiteY889" fmla="*/ 2799200 h 4419155"/>
              <a:gd name="connsiteX890" fmla="*/ 5598180 w 6436611"/>
              <a:gd name="connsiteY890" fmla="*/ 2805968 h 4419155"/>
              <a:gd name="connsiteX891" fmla="*/ 5604362 w 6436611"/>
              <a:gd name="connsiteY891" fmla="*/ 2810480 h 4419155"/>
              <a:gd name="connsiteX892" fmla="*/ 5627021 w 6436611"/>
              <a:gd name="connsiteY892" fmla="*/ 2808225 h 4419155"/>
              <a:gd name="connsiteX893" fmla="*/ 5641440 w 6436611"/>
              <a:gd name="connsiteY893" fmla="*/ 2803714 h 4419155"/>
              <a:gd name="connsiteX894" fmla="*/ 5643501 w 6436611"/>
              <a:gd name="connsiteY894" fmla="*/ 2805968 h 4419155"/>
              <a:gd name="connsiteX895" fmla="*/ 5645560 w 6436611"/>
              <a:gd name="connsiteY895" fmla="*/ 2803714 h 4419155"/>
              <a:gd name="connsiteX896" fmla="*/ 5674403 w 6436611"/>
              <a:gd name="connsiteY896" fmla="*/ 2796944 h 4419155"/>
              <a:gd name="connsiteX897" fmla="*/ 5697062 w 6436611"/>
              <a:gd name="connsiteY897" fmla="*/ 2790178 h 4419155"/>
              <a:gd name="connsiteX898" fmla="*/ 5721783 w 6436611"/>
              <a:gd name="connsiteY898" fmla="*/ 2781153 h 4419155"/>
              <a:gd name="connsiteX899" fmla="*/ 5748562 w 6436611"/>
              <a:gd name="connsiteY899" fmla="*/ 2774387 h 4419155"/>
              <a:gd name="connsiteX900" fmla="*/ 5775342 w 6436611"/>
              <a:gd name="connsiteY900" fmla="*/ 2767618 h 4419155"/>
              <a:gd name="connsiteX901" fmla="*/ 5795942 w 6436611"/>
              <a:gd name="connsiteY901" fmla="*/ 2760851 h 4419155"/>
              <a:gd name="connsiteX902" fmla="*/ 5828903 w 6436611"/>
              <a:gd name="connsiteY902" fmla="*/ 2758594 h 4419155"/>
              <a:gd name="connsiteX903" fmla="*/ 5833023 w 6436611"/>
              <a:gd name="connsiteY903" fmla="*/ 2754082 h 4419155"/>
              <a:gd name="connsiteX904" fmla="*/ 5812423 w 6436611"/>
              <a:gd name="connsiteY904" fmla="*/ 2749571 h 4419155"/>
              <a:gd name="connsiteX905" fmla="*/ 5828903 w 6436611"/>
              <a:gd name="connsiteY905" fmla="*/ 2745058 h 4419155"/>
              <a:gd name="connsiteX906" fmla="*/ 5839205 w 6436611"/>
              <a:gd name="connsiteY906" fmla="*/ 2745058 h 4419155"/>
              <a:gd name="connsiteX907" fmla="*/ 5859805 w 6436611"/>
              <a:gd name="connsiteY907" fmla="*/ 2745058 h 4419155"/>
              <a:gd name="connsiteX908" fmla="*/ 5876283 w 6436611"/>
              <a:gd name="connsiteY908" fmla="*/ 2745058 h 4419155"/>
              <a:gd name="connsiteX909" fmla="*/ 5878344 w 6436611"/>
              <a:gd name="connsiteY909" fmla="*/ 2749571 h 4419155"/>
              <a:gd name="connsiteX910" fmla="*/ 5884526 w 6436611"/>
              <a:gd name="connsiteY910" fmla="*/ 164310 h 4419155"/>
              <a:gd name="connsiteX911" fmla="*/ 5882465 w 6436611"/>
              <a:gd name="connsiteY911" fmla="*/ 164310 h 4419155"/>
              <a:gd name="connsiteX912" fmla="*/ 5884526 w 6436611"/>
              <a:gd name="connsiteY912" fmla="*/ 162056 h 4419155"/>
              <a:gd name="connsiteX913" fmla="*/ 5884526 w 6436611"/>
              <a:gd name="connsiteY913" fmla="*/ 164310 h 4419155"/>
              <a:gd name="connsiteX914" fmla="*/ 5890705 w 6436611"/>
              <a:gd name="connsiteY914" fmla="*/ 2805968 h 4419155"/>
              <a:gd name="connsiteX915" fmla="*/ 5861864 w 6436611"/>
              <a:gd name="connsiteY915" fmla="*/ 2810480 h 4419155"/>
              <a:gd name="connsiteX916" fmla="*/ 5833023 w 6436611"/>
              <a:gd name="connsiteY916" fmla="*/ 2817248 h 4419155"/>
              <a:gd name="connsiteX917" fmla="*/ 5791825 w 6436611"/>
              <a:gd name="connsiteY917" fmla="*/ 2830784 h 4419155"/>
              <a:gd name="connsiteX918" fmla="*/ 5742383 w 6436611"/>
              <a:gd name="connsiteY918" fmla="*/ 2846574 h 4419155"/>
              <a:gd name="connsiteX919" fmla="*/ 5721783 w 6436611"/>
              <a:gd name="connsiteY919" fmla="*/ 2851086 h 4419155"/>
              <a:gd name="connsiteX920" fmla="*/ 5744442 w 6436611"/>
              <a:gd name="connsiteY920" fmla="*/ 2842062 h 4419155"/>
              <a:gd name="connsiteX921" fmla="*/ 5783582 w 6436611"/>
              <a:gd name="connsiteY921" fmla="*/ 2830784 h 4419155"/>
              <a:gd name="connsiteX922" fmla="*/ 5787703 w 6436611"/>
              <a:gd name="connsiteY922" fmla="*/ 2821760 h 4419155"/>
              <a:gd name="connsiteX923" fmla="*/ 5752683 w 6436611"/>
              <a:gd name="connsiteY923" fmla="*/ 2830784 h 4419155"/>
              <a:gd name="connsiteX924" fmla="*/ 5754742 w 6436611"/>
              <a:gd name="connsiteY924" fmla="*/ 2826272 h 4419155"/>
              <a:gd name="connsiteX925" fmla="*/ 5785644 w 6436611"/>
              <a:gd name="connsiteY925" fmla="*/ 2821760 h 4419155"/>
              <a:gd name="connsiteX926" fmla="*/ 5798003 w 6436611"/>
              <a:gd name="connsiteY926" fmla="*/ 2819502 h 4419155"/>
              <a:gd name="connsiteX927" fmla="*/ 5812423 w 6436611"/>
              <a:gd name="connsiteY927" fmla="*/ 2812736 h 4419155"/>
              <a:gd name="connsiteX928" fmla="*/ 5830965 w 6436611"/>
              <a:gd name="connsiteY928" fmla="*/ 2812736 h 4419155"/>
              <a:gd name="connsiteX929" fmla="*/ 5845383 w 6436611"/>
              <a:gd name="connsiteY929" fmla="*/ 2810480 h 4419155"/>
              <a:gd name="connsiteX930" fmla="*/ 5843324 w 6436611"/>
              <a:gd name="connsiteY930" fmla="*/ 2812736 h 4419155"/>
              <a:gd name="connsiteX931" fmla="*/ 5868042 w 6436611"/>
              <a:gd name="connsiteY931" fmla="*/ 2808225 h 4419155"/>
              <a:gd name="connsiteX932" fmla="*/ 5890705 w 6436611"/>
              <a:gd name="connsiteY932" fmla="*/ 2805968 h 4419155"/>
              <a:gd name="connsiteX933" fmla="*/ 5896883 w 6436611"/>
              <a:gd name="connsiteY933" fmla="*/ 2611960 h 4419155"/>
              <a:gd name="connsiteX934" fmla="*/ 5888644 w 6436611"/>
              <a:gd name="connsiteY934" fmla="*/ 2614218 h 4419155"/>
              <a:gd name="connsiteX935" fmla="*/ 5891991 w 6436611"/>
              <a:gd name="connsiteY935" fmla="*/ 2611397 h 4419155"/>
              <a:gd name="connsiteX936" fmla="*/ 5896883 w 6436611"/>
              <a:gd name="connsiteY936" fmla="*/ 2611960 h 4419155"/>
              <a:gd name="connsiteX937" fmla="*/ 5903065 w 6436611"/>
              <a:gd name="connsiteY937" fmla="*/ 2855598 h 4419155"/>
              <a:gd name="connsiteX938" fmla="*/ 5896883 w 6436611"/>
              <a:gd name="connsiteY938" fmla="*/ 2851086 h 4419155"/>
              <a:gd name="connsiteX939" fmla="*/ 5894824 w 6436611"/>
              <a:gd name="connsiteY939" fmla="*/ 2851086 h 4419155"/>
              <a:gd name="connsiteX940" fmla="*/ 5892763 w 6436611"/>
              <a:gd name="connsiteY940" fmla="*/ 2853344 h 4419155"/>
              <a:gd name="connsiteX941" fmla="*/ 5888644 w 6436611"/>
              <a:gd name="connsiteY941" fmla="*/ 2857856 h 4419155"/>
              <a:gd name="connsiteX942" fmla="*/ 5903065 w 6436611"/>
              <a:gd name="connsiteY942" fmla="*/ 2855598 h 4419155"/>
              <a:gd name="connsiteX943" fmla="*/ 5911305 w 6436611"/>
              <a:gd name="connsiteY943" fmla="*/ 2833038 h 4419155"/>
              <a:gd name="connsiteX944" fmla="*/ 5892763 w 6436611"/>
              <a:gd name="connsiteY944" fmla="*/ 2837550 h 4419155"/>
              <a:gd name="connsiteX945" fmla="*/ 5865985 w 6436611"/>
              <a:gd name="connsiteY945" fmla="*/ 2837550 h 4419155"/>
              <a:gd name="connsiteX946" fmla="*/ 5884526 w 6436611"/>
              <a:gd name="connsiteY946" fmla="*/ 2830784 h 4419155"/>
              <a:gd name="connsiteX947" fmla="*/ 5896370 w 6436611"/>
              <a:gd name="connsiteY947" fmla="*/ 2824298 h 4419155"/>
              <a:gd name="connsiteX948" fmla="*/ 5911305 w 6436611"/>
              <a:gd name="connsiteY948" fmla="*/ 2826272 h 4419155"/>
              <a:gd name="connsiteX949" fmla="*/ 5911305 w 6436611"/>
              <a:gd name="connsiteY949" fmla="*/ 2833038 h 4419155"/>
              <a:gd name="connsiteX950" fmla="*/ 5913364 w 6436611"/>
              <a:gd name="connsiteY950" fmla="*/ 2575868 h 4419155"/>
              <a:gd name="connsiteX951" fmla="*/ 5911305 w 6436611"/>
              <a:gd name="connsiteY951" fmla="*/ 2578122 h 4419155"/>
              <a:gd name="connsiteX952" fmla="*/ 5909244 w 6436611"/>
              <a:gd name="connsiteY952" fmla="*/ 2575868 h 4419155"/>
              <a:gd name="connsiteX953" fmla="*/ 5911305 w 6436611"/>
              <a:gd name="connsiteY953" fmla="*/ 2575868 h 4419155"/>
              <a:gd name="connsiteX954" fmla="*/ 5913364 w 6436611"/>
              <a:gd name="connsiteY954" fmla="*/ 2575868 h 4419155"/>
              <a:gd name="connsiteX955" fmla="*/ 5915426 w 6436611"/>
              <a:gd name="connsiteY955" fmla="*/ 2751828 h 4419155"/>
              <a:gd name="connsiteX956" fmla="*/ 5876283 w 6436611"/>
              <a:gd name="connsiteY956" fmla="*/ 2754082 h 4419155"/>
              <a:gd name="connsiteX957" fmla="*/ 5896625 w 6436611"/>
              <a:gd name="connsiteY957" fmla="*/ 2748726 h 4419155"/>
              <a:gd name="connsiteX958" fmla="*/ 5915426 w 6436611"/>
              <a:gd name="connsiteY958" fmla="*/ 2751828 h 4419155"/>
              <a:gd name="connsiteX959" fmla="*/ 5917483 w 6436611"/>
              <a:gd name="connsiteY959" fmla="*/ 2600682 h 4419155"/>
              <a:gd name="connsiteX960" fmla="*/ 5849503 w 6436611"/>
              <a:gd name="connsiteY960" fmla="*/ 2602936 h 4419155"/>
              <a:gd name="connsiteX961" fmla="*/ 5845383 w 6436611"/>
              <a:gd name="connsiteY961" fmla="*/ 2596170 h 4419155"/>
              <a:gd name="connsiteX962" fmla="*/ 5876283 w 6436611"/>
              <a:gd name="connsiteY962" fmla="*/ 2593913 h 4419155"/>
              <a:gd name="connsiteX963" fmla="*/ 5894824 w 6436611"/>
              <a:gd name="connsiteY963" fmla="*/ 2596170 h 4419155"/>
              <a:gd name="connsiteX964" fmla="*/ 5917483 w 6436611"/>
              <a:gd name="connsiteY964" fmla="*/ 2600682 h 4419155"/>
              <a:gd name="connsiteX965" fmla="*/ 5921604 w 6436611"/>
              <a:gd name="connsiteY965" fmla="*/ 2763106 h 4419155"/>
              <a:gd name="connsiteX966" fmla="*/ 5901003 w 6436611"/>
              <a:gd name="connsiteY966" fmla="*/ 2772130 h 4419155"/>
              <a:gd name="connsiteX967" fmla="*/ 5888644 w 6436611"/>
              <a:gd name="connsiteY967" fmla="*/ 2772130 h 4419155"/>
              <a:gd name="connsiteX968" fmla="*/ 5865985 w 6436611"/>
              <a:gd name="connsiteY968" fmla="*/ 2772130 h 4419155"/>
              <a:gd name="connsiteX969" fmla="*/ 5857744 w 6436611"/>
              <a:gd name="connsiteY969" fmla="*/ 2772130 h 4419155"/>
              <a:gd name="connsiteX970" fmla="*/ 5855683 w 6436611"/>
              <a:gd name="connsiteY970" fmla="*/ 2772130 h 4419155"/>
              <a:gd name="connsiteX971" fmla="*/ 5843324 w 6436611"/>
              <a:gd name="connsiteY971" fmla="*/ 2772130 h 4419155"/>
              <a:gd name="connsiteX972" fmla="*/ 5847442 w 6436611"/>
              <a:gd name="connsiteY972" fmla="*/ 2767618 h 4419155"/>
              <a:gd name="connsiteX973" fmla="*/ 5853624 w 6436611"/>
              <a:gd name="connsiteY973" fmla="*/ 2765364 h 4419155"/>
              <a:gd name="connsiteX974" fmla="*/ 5847442 w 6436611"/>
              <a:gd name="connsiteY974" fmla="*/ 2765364 h 4419155"/>
              <a:gd name="connsiteX975" fmla="*/ 5855683 w 6436611"/>
              <a:gd name="connsiteY975" fmla="*/ 2756340 h 4419155"/>
              <a:gd name="connsiteX976" fmla="*/ 5903065 w 6436611"/>
              <a:gd name="connsiteY976" fmla="*/ 2765364 h 4419155"/>
              <a:gd name="connsiteX977" fmla="*/ 5905124 w 6436611"/>
              <a:gd name="connsiteY977" fmla="*/ 2765364 h 4419155"/>
              <a:gd name="connsiteX978" fmla="*/ 5921604 w 6436611"/>
              <a:gd name="connsiteY978" fmla="*/ 2763106 h 4419155"/>
              <a:gd name="connsiteX979" fmla="*/ 5923665 w 6436611"/>
              <a:gd name="connsiteY979" fmla="*/ 1700579 h 4419155"/>
              <a:gd name="connsiteX980" fmla="*/ 5919542 w 6436611"/>
              <a:gd name="connsiteY980" fmla="*/ 1702834 h 4419155"/>
              <a:gd name="connsiteX981" fmla="*/ 5915426 w 6436611"/>
              <a:gd name="connsiteY981" fmla="*/ 1702834 h 4419155"/>
              <a:gd name="connsiteX982" fmla="*/ 5917999 w 6436611"/>
              <a:gd name="connsiteY982" fmla="*/ 1696067 h 4419155"/>
              <a:gd name="connsiteX983" fmla="*/ 5923665 w 6436611"/>
              <a:gd name="connsiteY983" fmla="*/ 1696068 h 4419155"/>
              <a:gd name="connsiteX984" fmla="*/ 5923665 w 6436611"/>
              <a:gd name="connsiteY984" fmla="*/ 1700579 h 4419155"/>
              <a:gd name="connsiteX985" fmla="*/ 5936026 w 6436611"/>
              <a:gd name="connsiteY985" fmla="*/ 162056 h 4419155"/>
              <a:gd name="connsiteX986" fmla="*/ 5913364 w 6436611"/>
              <a:gd name="connsiteY986" fmla="*/ 173335 h 4419155"/>
              <a:gd name="connsiteX987" fmla="*/ 5913364 w 6436611"/>
              <a:gd name="connsiteY987" fmla="*/ 168823 h 4419155"/>
              <a:gd name="connsiteX988" fmla="*/ 5936026 w 6436611"/>
              <a:gd name="connsiteY988" fmla="*/ 162056 h 4419155"/>
              <a:gd name="connsiteX989" fmla="*/ 5948386 w 6436611"/>
              <a:gd name="connsiteY989" fmla="*/ 2510444 h 4419155"/>
              <a:gd name="connsiteX990" fmla="*/ 5944263 w 6436611"/>
              <a:gd name="connsiteY990" fmla="*/ 2512702 h 4419155"/>
              <a:gd name="connsiteX991" fmla="*/ 5919542 w 6436611"/>
              <a:gd name="connsiteY991" fmla="*/ 2521726 h 4419155"/>
              <a:gd name="connsiteX992" fmla="*/ 5917483 w 6436611"/>
              <a:gd name="connsiteY992" fmla="*/ 2521726 h 4419155"/>
              <a:gd name="connsiteX993" fmla="*/ 5870104 w 6436611"/>
              <a:gd name="connsiteY993" fmla="*/ 2526238 h 4419155"/>
              <a:gd name="connsiteX994" fmla="*/ 5868042 w 6436611"/>
              <a:gd name="connsiteY994" fmla="*/ 2526238 h 4419155"/>
              <a:gd name="connsiteX995" fmla="*/ 5802124 w 6436611"/>
              <a:gd name="connsiteY995" fmla="*/ 2530750 h 4419155"/>
              <a:gd name="connsiteX996" fmla="*/ 5777403 w 6436611"/>
              <a:gd name="connsiteY996" fmla="*/ 2537516 h 4419155"/>
              <a:gd name="connsiteX997" fmla="*/ 5730023 w 6436611"/>
              <a:gd name="connsiteY997" fmla="*/ 2542028 h 4419155"/>
              <a:gd name="connsiteX998" fmla="*/ 5746503 w 6436611"/>
              <a:gd name="connsiteY998" fmla="*/ 2533004 h 4419155"/>
              <a:gd name="connsiteX999" fmla="*/ 5828903 w 6436611"/>
              <a:gd name="connsiteY999" fmla="*/ 2519469 h 4419155"/>
              <a:gd name="connsiteX1000" fmla="*/ 5841263 w 6436611"/>
              <a:gd name="connsiteY1000" fmla="*/ 2517214 h 4419155"/>
              <a:gd name="connsiteX1001" fmla="*/ 5903065 w 6436611"/>
              <a:gd name="connsiteY1001" fmla="*/ 2505933 h 4419155"/>
              <a:gd name="connsiteX1002" fmla="*/ 5948386 w 6436611"/>
              <a:gd name="connsiteY1002" fmla="*/ 2510444 h 4419155"/>
              <a:gd name="connsiteX1003" fmla="*/ 5950445 w 6436611"/>
              <a:gd name="connsiteY1003" fmla="*/ 229734 h 4419155"/>
              <a:gd name="connsiteX1004" fmla="*/ 5946324 w 6436611"/>
              <a:gd name="connsiteY1004" fmla="*/ 227477 h 4419155"/>
              <a:gd name="connsiteX1005" fmla="*/ 5948386 w 6436611"/>
              <a:gd name="connsiteY1005" fmla="*/ 225222 h 4419155"/>
              <a:gd name="connsiteX1006" fmla="*/ 5950445 w 6436611"/>
              <a:gd name="connsiteY1006" fmla="*/ 229734 h 4419155"/>
              <a:gd name="connsiteX1007" fmla="*/ 5950445 w 6436611"/>
              <a:gd name="connsiteY1007" fmla="*/ 1761489 h 4419155"/>
              <a:gd name="connsiteX1008" fmla="*/ 5944263 w 6436611"/>
              <a:gd name="connsiteY1008" fmla="*/ 1763742 h 4419155"/>
              <a:gd name="connsiteX1009" fmla="*/ 5931906 w 6436611"/>
              <a:gd name="connsiteY1009" fmla="*/ 1761489 h 4419155"/>
              <a:gd name="connsiteX1010" fmla="*/ 5929844 w 6436611"/>
              <a:gd name="connsiteY1010" fmla="*/ 1759231 h 4419155"/>
              <a:gd name="connsiteX1011" fmla="*/ 5950445 w 6436611"/>
              <a:gd name="connsiteY1011" fmla="*/ 1761489 h 4419155"/>
              <a:gd name="connsiteX1012" fmla="*/ 5962805 w 6436611"/>
              <a:gd name="connsiteY1012" fmla="*/ 2607449 h 4419155"/>
              <a:gd name="connsiteX1013" fmla="*/ 5960744 w 6436611"/>
              <a:gd name="connsiteY1013" fmla="*/ 2609706 h 4419155"/>
              <a:gd name="connsiteX1014" fmla="*/ 5944263 w 6436611"/>
              <a:gd name="connsiteY1014" fmla="*/ 2616472 h 4419155"/>
              <a:gd name="connsiteX1015" fmla="*/ 5940143 w 6436611"/>
              <a:gd name="connsiteY1015" fmla="*/ 2618730 h 4419155"/>
              <a:gd name="connsiteX1016" fmla="*/ 5936026 w 6436611"/>
              <a:gd name="connsiteY1016" fmla="*/ 2618730 h 4419155"/>
              <a:gd name="connsiteX1017" fmla="*/ 5933965 w 6436611"/>
              <a:gd name="connsiteY1017" fmla="*/ 2620984 h 4419155"/>
              <a:gd name="connsiteX1018" fmla="*/ 5898945 w 6436611"/>
              <a:gd name="connsiteY1018" fmla="*/ 2623242 h 4419155"/>
              <a:gd name="connsiteX1019" fmla="*/ 5905124 w 6436611"/>
              <a:gd name="connsiteY1019" fmla="*/ 2616472 h 4419155"/>
              <a:gd name="connsiteX1020" fmla="*/ 5915426 w 6436611"/>
              <a:gd name="connsiteY1020" fmla="*/ 2611960 h 4419155"/>
              <a:gd name="connsiteX1021" fmla="*/ 5946324 w 6436611"/>
              <a:gd name="connsiteY1021" fmla="*/ 2605194 h 4419155"/>
              <a:gd name="connsiteX1022" fmla="*/ 5962805 w 6436611"/>
              <a:gd name="connsiteY1022" fmla="*/ 2607449 h 4419155"/>
              <a:gd name="connsiteX1023" fmla="*/ 5964863 w 6436611"/>
              <a:gd name="connsiteY1023" fmla="*/ 2781153 h 4419155"/>
              <a:gd name="connsiteX1024" fmla="*/ 5956626 w 6436611"/>
              <a:gd name="connsiteY1024" fmla="*/ 2785666 h 4419155"/>
              <a:gd name="connsiteX1025" fmla="*/ 5964863 w 6436611"/>
              <a:gd name="connsiteY1025" fmla="*/ 2781153 h 4419155"/>
              <a:gd name="connsiteX1026" fmla="*/ 5973104 w 6436611"/>
              <a:gd name="connsiteY1026" fmla="*/ 2693174 h 4419155"/>
              <a:gd name="connsiteX1027" fmla="*/ 5962805 w 6436611"/>
              <a:gd name="connsiteY1027" fmla="*/ 2699940 h 4419155"/>
              <a:gd name="connsiteX1028" fmla="*/ 5911305 w 6436611"/>
              <a:gd name="connsiteY1028" fmla="*/ 2702198 h 4419155"/>
              <a:gd name="connsiteX1029" fmla="*/ 5917483 w 6436611"/>
              <a:gd name="connsiteY1029" fmla="*/ 2697686 h 4419155"/>
              <a:gd name="connsiteX1030" fmla="*/ 5863926 w 6436611"/>
              <a:gd name="connsiteY1030" fmla="*/ 2708964 h 4419155"/>
              <a:gd name="connsiteX1031" fmla="*/ 5853863 w 6436611"/>
              <a:gd name="connsiteY1031" fmla="*/ 2704557 h 4419155"/>
              <a:gd name="connsiteX1032" fmla="*/ 5854138 w 6436611"/>
              <a:gd name="connsiteY1032" fmla="*/ 2707272 h 4419155"/>
              <a:gd name="connsiteX1033" fmla="*/ 5851562 w 6436611"/>
              <a:gd name="connsiteY1033" fmla="*/ 2708964 h 4419155"/>
              <a:gd name="connsiteX1034" fmla="*/ 5833023 w 6436611"/>
              <a:gd name="connsiteY1034" fmla="*/ 2713476 h 4419155"/>
              <a:gd name="connsiteX1035" fmla="*/ 5806244 w 6436611"/>
              <a:gd name="connsiteY1035" fmla="*/ 2713476 h 4419155"/>
              <a:gd name="connsiteX1036" fmla="*/ 5824783 w 6436611"/>
              <a:gd name="connsiteY1036" fmla="*/ 2706709 h 4419155"/>
              <a:gd name="connsiteX1037" fmla="*/ 5839205 w 6436611"/>
              <a:gd name="connsiteY1037" fmla="*/ 2701070 h 4419155"/>
              <a:gd name="connsiteX1038" fmla="*/ 5850334 w 6436611"/>
              <a:gd name="connsiteY1038" fmla="*/ 2701940 h 4419155"/>
              <a:gd name="connsiteX1039" fmla="*/ 5847701 w 6436611"/>
              <a:gd name="connsiteY1039" fmla="*/ 2696558 h 4419155"/>
              <a:gd name="connsiteX1040" fmla="*/ 5839205 w 6436611"/>
              <a:gd name="connsiteY1040" fmla="*/ 2695429 h 4419155"/>
              <a:gd name="connsiteX1041" fmla="*/ 5791825 w 6436611"/>
              <a:gd name="connsiteY1041" fmla="*/ 2702198 h 4419155"/>
              <a:gd name="connsiteX1042" fmla="*/ 5777403 w 6436611"/>
              <a:gd name="connsiteY1042" fmla="*/ 2706709 h 4419155"/>
              <a:gd name="connsiteX1043" fmla="*/ 5769163 w 6436611"/>
              <a:gd name="connsiteY1043" fmla="*/ 2706709 h 4419155"/>
              <a:gd name="connsiteX1044" fmla="*/ 5762982 w 6436611"/>
              <a:gd name="connsiteY1044" fmla="*/ 2702198 h 4419155"/>
              <a:gd name="connsiteX1045" fmla="*/ 5781523 w 6436611"/>
              <a:gd name="connsiteY1045" fmla="*/ 2693174 h 4419155"/>
              <a:gd name="connsiteX1046" fmla="*/ 5783582 w 6436611"/>
              <a:gd name="connsiteY1046" fmla="*/ 2690916 h 4419155"/>
              <a:gd name="connsiteX1047" fmla="*/ 5833023 w 6436611"/>
              <a:gd name="connsiteY1047" fmla="*/ 2690916 h 4419155"/>
              <a:gd name="connsiteX1048" fmla="*/ 5841263 w 6436611"/>
              <a:gd name="connsiteY1048" fmla="*/ 2690916 h 4419155"/>
              <a:gd name="connsiteX1049" fmla="*/ 5863926 w 6436611"/>
              <a:gd name="connsiteY1049" fmla="*/ 2679638 h 4419155"/>
              <a:gd name="connsiteX1050" fmla="*/ 5886585 w 6436611"/>
              <a:gd name="connsiteY1050" fmla="*/ 2686404 h 4419155"/>
              <a:gd name="connsiteX1051" fmla="*/ 5890705 w 6436611"/>
              <a:gd name="connsiteY1051" fmla="*/ 2681893 h 4419155"/>
              <a:gd name="connsiteX1052" fmla="*/ 5898945 w 6436611"/>
              <a:gd name="connsiteY1052" fmla="*/ 2677384 h 4419155"/>
              <a:gd name="connsiteX1053" fmla="*/ 5911305 w 6436611"/>
              <a:gd name="connsiteY1053" fmla="*/ 2675127 h 4419155"/>
              <a:gd name="connsiteX1054" fmla="*/ 5913364 w 6436611"/>
              <a:gd name="connsiteY1054" fmla="*/ 2675127 h 4419155"/>
              <a:gd name="connsiteX1055" fmla="*/ 5925724 w 6436611"/>
              <a:gd name="connsiteY1055" fmla="*/ 2675127 h 4419155"/>
              <a:gd name="connsiteX1056" fmla="*/ 5927785 w 6436611"/>
              <a:gd name="connsiteY1056" fmla="*/ 2679638 h 4419155"/>
              <a:gd name="connsiteX1057" fmla="*/ 5936026 w 6436611"/>
              <a:gd name="connsiteY1057" fmla="*/ 2684150 h 4419155"/>
              <a:gd name="connsiteX1058" fmla="*/ 5942204 w 6436611"/>
              <a:gd name="connsiteY1058" fmla="*/ 2681893 h 4419155"/>
              <a:gd name="connsiteX1059" fmla="*/ 5936026 w 6436611"/>
              <a:gd name="connsiteY1059" fmla="*/ 2693174 h 4419155"/>
              <a:gd name="connsiteX1060" fmla="*/ 5973104 w 6436611"/>
              <a:gd name="connsiteY1060" fmla="*/ 2693174 h 4419155"/>
              <a:gd name="connsiteX1061" fmla="*/ 5983406 w 6436611"/>
              <a:gd name="connsiteY1061" fmla="*/ 155287 h 4419155"/>
              <a:gd name="connsiteX1062" fmla="*/ 5968983 w 6436611"/>
              <a:gd name="connsiteY1062" fmla="*/ 162056 h 4419155"/>
              <a:gd name="connsiteX1063" fmla="*/ 5956626 w 6436611"/>
              <a:gd name="connsiteY1063" fmla="*/ 182358 h 4419155"/>
              <a:gd name="connsiteX1064" fmla="*/ 5962805 w 6436611"/>
              <a:gd name="connsiteY1064" fmla="*/ 189127 h 4419155"/>
              <a:gd name="connsiteX1065" fmla="*/ 5948386 w 6436611"/>
              <a:gd name="connsiteY1065" fmla="*/ 202663 h 4419155"/>
              <a:gd name="connsiteX1066" fmla="*/ 5940143 w 6436611"/>
              <a:gd name="connsiteY1066" fmla="*/ 211686 h 4419155"/>
              <a:gd name="connsiteX1067" fmla="*/ 5938085 w 6436611"/>
              <a:gd name="connsiteY1067" fmla="*/ 204917 h 4419155"/>
              <a:gd name="connsiteX1068" fmla="*/ 5940143 w 6436611"/>
              <a:gd name="connsiteY1068" fmla="*/ 191382 h 4419155"/>
              <a:gd name="connsiteX1069" fmla="*/ 5933965 w 6436611"/>
              <a:gd name="connsiteY1069" fmla="*/ 198150 h 4419155"/>
              <a:gd name="connsiteX1070" fmla="*/ 5925724 w 6436611"/>
              <a:gd name="connsiteY1070" fmla="*/ 186870 h 4419155"/>
              <a:gd name="connsiteX1071" fmla="*/ 5954565 w 6436611"/>
              <a:gd name="connsiteY1071" fmla="*/ 159799 h 4419155"/>
              <a:gd name="connsiteX1072" fmla="*/ 5938085 w 6436611"/>
              <a:gd name="connsiteY1072" fmla="*/ 159799 h 4419155"/>
              <a:gd name="connsiteX1073" fmla="*/ 5950445 w 6436611"/>
              <a:gd name="connsiteY1073" fmla="*/ 146263 h 4419155"/>
              <a:gd name="connsiteX1074" fmla="*/ 5942204 w 6436611"/>
              <a:gd name="connsiteY1074" fmla="*/ 139497 h 4419155"/>
              <a:gd name="connsiteX1075" fmla="*/ 5946324 w 6436611"/>
              <a:gd name="connsiteY1075" fmla="*/ 128218 h 4419155"/>
              <a:gd name="connsiteX1076" fmla="*/ 5940143 w 6436611"/>
              <a:gd name="connsiteY1076" fmla="*/ 137242 h 4419155"/>
              <a:gd name="connsiteX1077" fmla="*/ 5929844 w 6436611"/>
              <a:gd name="connsiteY1077" fmla="*/ 134985 h 4419155"/>
              <a:gd name="connsiteX1078" fmla="*/ 5925724 w 6436611"/>
              <a:gd name="connsiteY1078" fmla="*/ 141751 h 4419155"/>
              <a:gd name="connsiteX1079" fmla="*/ 5919542 w 6436611"/>
              <a:gd name="connsiteY1079" fmla="*/ 139497 h 4419155"/>
              <a:gd name="connsiteX1080" fmla="*/ 5917483 w 6436611"/>
              <a:gd name="connsiteY1080" fmla="*/ 146263 h 4419155"/>
              <a:gd name="connsiteX1081" fmla="*/ 5915426 w 6436611"/>
              <a:gd name="connsiteY1081" fmla="*/ 139497 h 4419155"/>
              <a:gd name="connsiteX1082" fmla="*/ 5919542 w 6436611"/>
              <a:gd name="connsiteY1082" fmla="*/ 130472 h 4419155"/>
              <a:gd name="connsiteX1083" fmla="*/ 5952506 w 6436611"/>
              <a:gd name="connsiteY1083" fmla="*/ 110172 h 4419155"/>
              <a:gd name="connsiteX1084" fmla="*/ 5952506 w 6436611"/>
              <a:gd name="connsiteY1084" fmla="*/ 121449 h 4419155"/>
              <a:gd name="connsiteX1085" fmla="*/ 5954565 w 6436611"/>
              <a:gd name="connsiteY1085" fmla="*/ 130472 h 4419155"/>
              <a:gd name="connsiteX1086" fmla="*/ 5962805 w 6436611"/>
              <a:gd name="connsiteY1086" fmla="*/ 137242 h 4419155"/>
              <a:gd name="connsiteX1087" fmla="*/ 5958685 w 6436611"/>
              <a:gd name="connsiteY1087" fmla="*/ 157544 h 4419155"/>
              <a:gd name="connsiteX1088" fmla="*/ 5983406 w 6436611"/>
              <a:gd name="connsiteY1088" fmla="*/ 155287 h 4419155"/>
              <a:gd name="connsiteX1089" fmla="*/ 5987526 w 6436611"/>
              <a:gd name="connsiteY1089" fmla="*/ 2738292 h 4419155"/>
              <a:gd name="connsiteX1090" fmla="*/ 5954565 w 6436611"/>
              <a:gd name="connsiteY1090" fmla="*/ 2747316 h 4419155"/>
              <a:gd name="connsiteX1091" fmla="*/ 5966925 w 6436611"/>
              <a:gd name="connsiteY1091" fmla="*/ 2733780 h 4419155"/>
              <a:gd name="connsiteX1092" fmla="*/ 5977226 w 6436611"/>
              <a:gd name="connsiteY1092" fmla="*/ 2736036 h 4419155"/>
              <a:gd name="connsiteX1093" fmla="*/ 5987526 w 6436611"/>
              <a:gd name="connsiteY1093" fmla="*/ 2738292 h 4419155"/>
              <a:gd name="connsiteX1094" fmla="*/ 5991645 w 6436611"/>
              <a:gd name="connsiteY1094" fmla="*/ 2591658 h 4419155"/>
              <a:gd name="connsiteX1095" fmla="*/ 5979285 w 6436611"/>
              <a:gd name="connsiteY1095" fmla="*/ 2598424 h 4419155"/>
              <a:gd name="connsiteX1096" fmla="*/ 5977226 w 6436611"/>
              <a:gd name="connsiteY1096" fmla="*/ 2598424 h 4419155"/>
              <a:gd name="connsiteX1097" fmla="*/ 5971045 w 6436611"/>
              <a:gd name="connsiteY1097" fmla="*/ 2596170 h 4419155"/>
              <a:gd name="connsiteX1098" fmla="*/ 5979285 w 6436611"/>
              <a:gd name="connsiteY1098" fmla="*/ 2591658 h 4419155"/>
              <a:gd name="connsiteX1099" fmla="*/ 5991645 w 6436611"/>
              <a:gd name="connsiteY1099" fmla="*/ 2591658 h 4419155"/>
              <a:gd name="connsiteX1100" fmla="*/ 6006065 w 6436611"/>
              <a:gd name="connsiteY1100" fmla="*/ 209429 h 4419155"/>
              <a:gd name="connsiteX1101" fmla="*/ 6001945 w 6436611"/>
              <a:gd name="connsiteY1101" fmla="*/ 218452 h 4419155"/>
              <a:gd name="connsiteX1102" fmla="*/ 5999886 w 6436611"/>
              <a:gd name="connsiteY1102" fmla="*/ 229734 h 4419155"/>
              <a:gd name="connsiteX1103" fmla="*/ 5991645 w 6436611"/>
              <a:gd name="connsiteY1103" fmla="*/ 231988 h 4419155"/>
              <a:gd name="connsiteX1104" fmla="*/ 5987526 w 6436611"/>
              <a:gd name="connsiteY1104" fmla="*/ 225222 h 4419155"/>
              <a:gd name="connsiteX1105" fmla="*/ 5968983 w 6436611"/>
              <a:gd name="connsiteY1105" fmla="*/ 243267 h 4419155"/>
              <a:gd name="connsiteX1106" fmla="*/ 5964863 w 6436611"/>
              <a:gd name="connsiteY1106" fmla="*/ 241013 h 4419155"/>
              <a:gd name="connsiteX1107" fmla="*/ 5966925 w 6436611"/>
              <a:gd name="connsiteY1107" fmla="*/ 238758 h 4419155"/>
              <a:gd name="connsiteX1108" fmla="*/ 5987526 w 6436611"/>
              <a:gd name="connsiteY1108" fmla="*/ 222965 h 4419155"/>
              <a:gd name="connsiteX1109" fmla="*/ 5999886 w 6436611"/>
              <a:gd name="connsiteY1109" fmla="*/ 213941 h 4419155"/>
              <a:gd name="connsiteX1110" fmla="*/ 5997824 w 6436611"/>
              <a:gd name="connsiteY1110" fmla="*/ 211686 h 4419155"/>
              <a:gd name="connsiteX1111" fmla="*/ 6006065 w 6436611"/>
              <a:gd name="connsiteY1111" fmla="*/ 209429 h 4419155"/>
              <a:gd name="connsiteX1112" fmla="*/ 6008126 w 6436611"/>
              <a:gd name="connsiteY1112" fmla="*/ 2772130 h 4419155"/>
              <a:gd name="connsiteX1113" fmla="*/ 5995765 w 6436611"/>
              <a:gd name="connsiteY1113" fmla="*/ 2774387 h 4419155"/>
              <a:gd name="connsiteX1114" fmla="*/ 6006065 w 6436611"/>
              <a:gd name="connsiteY1114" fmla="*/ 2774387 h 4419155"/>
              <a:gd name="connsiteX1115" fmla="*/ 6008126 w 6436611"/>
              <a:gd name="connsiteY1115" fmla="*/ 2772130 h 4419155"/>
              <a:gd name="connsiteX1116" fmla="*/ 6010185 w 6436611"/>
              <a:gd name="connsiteY1116" fmla="*/ 2345767 h 4419155"/>
              <a:gd name="connsiteX1117" fmla="*/ 5993704 w 6436611"/>
              <a:gd name="connsiteY1117" fmla="*/ 2345767 h 4419155"/>
              <a:gd name="connsiteX1118" fmla="*/ 5997824 w 6436611"/>
              <a:gd name="connsiteY1118" fmla="*/ 2345767 h 4419155"/>
              <a:gd name="connsiteX1119" fmla="*/ 5999886 w 6436611"/>
              <a:gd name="connsiteY1119" fmla="*/ 2345767 h 4419155"/>
              <a:gd name="connsiteX1120" fmla="*/ 6010185 w 6436611"/>
              <a:gd name="connsiteY1120" fmla="*/ 2345767 h 4419155"/>
              <a:gd name="connsiteX1121" fmla="*/ 6010185 w 6436611"/>
              <a:gd name="connsiteY1121" fmla="*/ 2672869 h 4419155"/>
              <a:gd name="connsiteX1122" fmla="*/ 5995765 w 6436611"/>
              <a:gd name="connsiteY1122" fmla="*/ 2681893 h 4419155"/>
              <a:gd name="connsiteX1123" fmla="*/ 5966925 w 6436611"/>
              <a:gd name="connsiteY1123" fmla="*/ 2672869 h 4419155"/>
              <a:gd name="connsiteX1124" fmla="*/ 5946324 w 6436611"/>
              <a:gd name="connsiteY1124" fmla="*/ 2679638 h 4419155"/>
              <a:gd name="connsiteX1125" fmla="*/ 5940143 w 6436611"/>
              <a:gd name="connsiteY1125" fmla="*/ 2675127 h 4419155"/>
              <a:gd name="connsiteX1126" fmla="*/ 5954565 w 6436611"/>
              <a:gd name="connsiteY1126" fmla="*/ 2663848 h 4419155"/>
              <a:gd name="connsiteX1127" fmla="*/ 5968983 w 6436611"/>
              <a:gd name="connsiteY1127" fmla="*/ 2661591 h 4419155"/>
              <a:gd name="connsiteX1128" fmla="*/ 5985465 w 6436611"/>
              <a:gd name="connsiteY1128" fmla="*/ 2663848 h 4419155"/>
              <a:gd name="connsiteX1129" fmla="*/ 5983406 w 6436611"/>
              <a:gd name="connsiteY1129" fmla="*/ 2666102 h 4419155"/>
              <a:gd name="connsiteX1130" fmla="*/ 5991645 w 6436611"/>
              <a:gd name="connsiteY1130" fmla="*/ 2666102 h 4419155"/>
              <a:gd name="connsiteX1131" fmla="*/ 5997824 w 6436611"/>
              <a:gd name="connsiteY1131" fmla="*/ 2668358 h 4419155"/>
              <a:gd name="connsiteX1132" fmla="*/ 6010185 w 6436611"/>
              <a:gd name="connsiteY1132" fmla="*/ 2672869 h 4419155"/>
              <a:gd name="connsiteX1133" fmla="*/ 6014304 w 6436611"/>
              <a:gd name="connsiteY1133" fmla="*/ 2756340 h 4419155"/>
              <a:gd name="connsiteX1134" fmla="*/ 5948386 w 6436611"/>
              <a:gd name="connsiteY1134" fmla="*/ 2769873 h 4419155"/>
              <a:gd name="connsiteX1135" fmla="*/ 5952506 w 6436611"/>
              <a:gd name="connsiteY1135" fmla="*/ 2765364 h 4419155"/>
              <a:gd name="connsiteX1136" fmla="*/ 5956626 w 6436611"/>
              <a:gd name="connsiteY1136" fmla="*/ 2765364 h 4419155"/>
              <a:gd name="connsiteX1137" fmla="*/ 5973104 w 6436611"/>
              <a:gd name="connsiteY1137" fmla="*/ 2763106 h 4419155"/>
              <a:gd name="connsiteX1138" fmla="*/ 5971045 w 6436611"/>
              <a:gd name="connsiteY1138" fmla="*/ 2763106 h 4419155"/>
              <a:gd name="connsiteX1139" fmla="*/ 5999886 w 6436611"/>
              <a:gd name="connsiteY1139" fmla="*/ 2756340 h 4419155"/>
              <a:gd name="connsiteX1140" fmla="*/ 6014304 w 6436611"/>
              <a:gd name="connsiteY1140" fmla="*/ 2756340 h 4419155"/>
              <a:gd name="connsiteX1141" fmla="*/ 6014564 w 6436611"/>
              <a:gd name="connsiteY1141" fmla="*/ 251447 h 4419155"/>
              <a:gd name="connsiteX1142" fmla="*/ 6012244 w 6436611"/>
              <a:gd name="connsiteY1142" fmla="*/ 241013 h 4419155"/>
              <a:gd name="connsiteX1143" fmla="*/ 5998154 w 6436611"/>
              <a:gd name="connsiteY1143" fmla="*/ 246155 h 4419155"/>
              <a:gd name="connsiteX1144" fmla="*/ 5999574 w 6436611"/>
              <a:gd name="connsiteY1144" fmla="*/ 258581 h 4419155"/>
              <a:gd name="connsiteX1145" fmla="*/ 6006065 w 6436611"/>
              <a:gd name="connsiteY1145" fmla="*/ 256802 h 4419155"/>
              <a:gd name="connsiteX1146" fmla="*/ 6014564 w 6436611"/>
              <a:gd name="connsiteY1146" fmla="*/ 251447 h 4419155"/>
              <a:gd name="connsiteX1147" fmla="*/ 6020486 w 6436611"/>
              <a:gd name="connsiteY1147" fmla="*/ 184616 h 4419155"/>
              <a:gd name="connsiteX1148" fmla="*/ 6014304 w 6436611"/>
              <a:gd name="connsiteY1148" fmla="*/ 186870 h 4419155"/>
              <a:gd name="connsiteX1149" fmla="*/ 6014304 w 6436611"/>
              <a:gd name="connsiteY1149" fmla="*/ 184616 h 4419155"/>
              <a:gd name="connsiteX1150" fmla="*/ 6020486 w 6436611"/>
              <a:gd name="connsiteY1150" fmla="*/ 184616 h 4419155"/>
              <a:gd name="connsiteX1151" fmla="*/ 6032654 w 6436611"/>
              <a:gd name="connsiteY1151" fmla="*/ 219684 h 4419155"/>
              <a:gd name="connsiteX1152" fmla="*/ 6030785 w 6436611"/>
              <a:gd name="connsiteY1152" fmla="*/ 220707 h 4419155"/>
              <a:gd name="connsiteX1153" fmla="*/ 6030785 w 6436611"/>
              <a:gd name="connsiteY1153" fmla="*/ 222965 h 4419155"/>
              <a:gd name="connsiteX1154" fmla="*/ 6024606 w 6436611"/>
              <a:gd name="connsiteY1154" fmla="*/ 229734 h 4419155"/>
              <a:gd name="connsiteX1155" fmla="*/ 6021859 w 6436611"/>
              <a:gd name="connsiteY1155" fmla="*/ 223716 h 4419155"/>
              <a:gd name="connsiteX1156" fmla="*/ 6020486 w 6436611"/>
              <a:gd name="connsiteY1156" fmla="*/ 225222 h 4419155"/>
              <a:gd name="connsiteX1157" fmla="*/ 6012244 w 6436611"/>
              <a:gd name="connsiteY1157" fmla="*/ 241013 h 4419155"/>
              <a:gd name="connsiteX1158" fmla="*/ 6027695 w 6436611"/>
              <a:gd name="connsiteY1158" fmla="*/ 228887 h 4419155"/>
              <a:gd name="connsiteX1159" fmla="*/ 6032844 w 6436611"/>
              <a:gd name="connsiteY1159" fmla="*/ 1804350 h 4419155"/>
              <a:gd name="connsiteX1160" fmla="*/ 6030785 w 6436611"/>
              <a:gd name="connsiteY1160" fmla="*/ 1813373 h 4419155"/>
              <a:gd name="connsiteX1161" fmla="*/ 6032844 w 6436611"/>
              <a:gd name="connsiteY1161" fmla="*/ 1804350 h 4419155"/>
              <a:gd name="connsiteX1162" fmla="*/ 6043145 w 6436611"/>
              <a:gd name="connsiteY1162" fmla="*/ 213941 h 4419155"/>
              <a:gd name="connsiteX1163" fmla="*/ 6043145 w 6436611"/>
              <a:gd name="connsiteY1163" fmla="*/ 211686 h 4419155"/>
              <a:gd name="connsiteX1164" fmla="*/ 6036965 w 6436611"/>
              <a:gd name="connsiteY1164" fmla="*/ 211686 h 4419155"/>
              <a:gd name="connsiteX1165" fmla="*/ 6032654 w 6436611"/>
              <a:gd name="connsiteY1165" fmla="*/ 219684 h 4419155"/>
              <a:gd name="connsiteX1166" fmla="*/ 6054685 w 6436611"/>
              <a:gd name="connsiteY1166" fmla="*/ 96520 h 4419155"/>
              <a:gd name="connsiteX1167" fmla="*/ 6051386 w 6436611"/>
              <a:gd name="connsiteY1167" fmla="*/ 99455 h 4419155"/>
              <a:gd name="connsiteX1168" fmla="*/ 6043145 w 6436611"/>
              <a:gd name="connsiteY1168" fmla="*/ 110172 h 4419155"/>
              <a:gd name="connsiteX1169" fmla="*/ 6036965 w 6436611"/>
              <a:gd name="connsiteY1169" fmla="*/ 107914 h 4419155"/>
              <a:gd name="connsiteX1170" fmla="*/ 6029662 w 6436611"/>
              <a:gd name="connsiteY1170" fmla="*/ 125244 h 4419155"/>
              <a:gd name="connsiteX1171" fmla="*/ 6030785 w 6436611"/>
              <a:gd name="connsiteY1171" fmla="*/ 123706 h 4419155"/>
              <a:gd name="connsiteX1172" fmla="*/ 6032844 w 6436611"/>
              <a:gd name="connsiteY1172" fmla="*/ 125961 h 4419155"/>
              <a:gd name="connsiteX1173" fmla="*/ 6032844 w 6436611"/>
              <a:gd name="connsiteY1173" fmla="*/ 128218 h 4419155"/>
              <a:gd name="connsiteX1174" fmla="*/ 6030785 w 6436611"/>
              <a:gd name="connsiteY1174" fmla="*/ 134985 h 4419155"/>
              <a:gd name="connsiteX1175" fmla="*/ 6049327 w 6436611"/>
              <a:gd name="connsiteY1175" fmla="*/ 114683 h 4419155"/>
              <a:gd name="connsiteX1176" fmla="*/ 6055506 w 6436611"/>
              <a:gd name="connsiteY1176" fmla="*/ 277108 h 4419155"/>
              <a:gd name="connsiteX1177" fmla="*/ 6053445 w 6436611"/>
              <a:gd name="connsiteY1177" fmla="*/ 274849 h 4419155"/>
              <a:gd name="connsiteX1178" fmla="*/ 6047265 w 6436611"/>
              <a:gd name="connsiteY1178" fmla="*/ 279362 h 4419155"/>
              <a:gd name="connsiteX1179" fmla="*/ 6049327 w 6436611"/>
              <a:gd name="connsiteY1179" fmla="*/ 281619 h 4419155"/>
              <a:gd name="connsiteX1180" fmla="*/ 6055506 w 6436611"/>
              <a:gd name="connsiteY1180" fmla="*/ 277108 h 4419155"/>
              <a:gd name="connsiteX1181" fmla="*/ 6055506 w 6436611"/>
              <a:gd name="connsiteY1181" fmla="*/ 1556200 h 4419155"/>
              <a:gd name="connsiteX1182" fmla="*/ 6051386 w 6436611"/>
              <a:gd name="connsiteY1182" fmla="*/ 1556200 h 4419155"/>
              <a:gd name="connsiteX1183" fmla="*/ 6051386 w 6436611"/>
              <a:gd name="connsiteY1183" fmla="*/ 1560712 h 4419155"/>
              <a:gd name="connsiteX1184" fmla="*/ 6055506 w 6436611"/>
              <a:gd name="connsiteY1184" fmla="*/ 1556200 h 4419155"/>
              <a:gd name="connsiteX1185" fmla="*/ 6061685 w 6436611"/>
              <a:gd name="connsiteY1185" fmla="*/ 2724756 h 4419155"/>
              <a:gd name="connsiteX1186" fmla="*/ 6051386 w 6436611"/>
              <a:gd name="connsiteY1186" fmla="*/ 2727011 h 4419155"/>
              <a:gd name="connsiteX1187" fmla="*/ 6049327 w 6436611"/>
              <a:gd name="connsiteY1187" fmla="*/ 2724756 h 4419155"/>
              <a:gd name="connsiteX1188" fmla="*/ 6061685 w 6436611"/>
              <a:gd name="connsiteY1188" fmla="*/ 2724756 h 4419155"/>
              <a:gd name="connsiteX1189" fmla="*/ 6092586 w 6436611"/>
              <a:gd name="connsiteY1189" fmla="*/ 1984820 h 4419155"/>
              <a:gd name="connsiteX1190" fmla="*/ 6082285 w 6436611"/>
              <a:gd name="connsiteY1190" fmla="*/ 1984820 h 4419155"/>
              <a:gd name="connsiteX1191" fmla="*/ 6090525 w 6436611"/>
              <a:gd name="connsiteY1191" fmla="*/ 1980309 h 4419155"/>
              <a:gd name="connsiteX1192" fmla="*/ 6092586 w 6436611"/>
              <a:gd name="connsiteY1192" fmla="*/ 1984820 h 4419155"/>
              <a:gd name="connsiteX1193" fmla="*/ 6092586 w 6436611"/>
              <a:gd name="connsiteY1193" fmla="*/ 2729269 h 4419155"/>
              <a:gd name="connsiteX1194" fmla="*/ 6092586 w 6436611"/>
              <a:gd name="connsiteY1194" fmla="*/ 2727011 h 4419155"/>
              <a:gd name="connsiteX1195" fmla="*/ 6088467 w 6436611"/>
              <a:gd name="connsiteY1195" fmla="*/ 2727011 h 4419155"/>
              <a:gd name="connsiteX1196" fmla="*/ 6092586 w 6436611"/>
              <a:gd name="connsiteY1196" fmla="*/ 2729269 h 4419155"/>
              <a:gd name="connsiteX1197" fmla="*/ 6107006 w 6436611"/>
              <a:gd name="connsiteY1197" fmla="*/ 128218 h 4419155"/>
              <a:gd name="connsiteX1198" fmla="*/ 6104945 w 6436611"/>
              <a:gd name="connsiteY1198" fmla="*/ 125961 h 4419155"/>
              <a:gd name="connsiteX1199" fmla="*/ 6096706 w 6436611"/>
              <a:gd name="connsiteY1199" fmla="*/ 132727 h 4419155"/>
              <a:gd name="connsiteX1200" fmla="*/ 6098765 w 6436611"/>
              <a:gd name="connsiteY1200" fmla="*/ 137242 h 4419155"/>
              <a:gd name="connsiteX1201" fmla="*/ 6107006 w 6436611"/>
              <a:gd name="connsiteY1201" fmla="*/ 128218 h 4419155"/>
              <a:gd name="connsiteX1202" fmla="*/ 6115245 w 6436611"/>
              <a:gd name="connsiteY1202" fmla="*/ 2833038 h 4419155"/>
              <a:gd name="connsiteX1203" fmla="*/ 6111126 w 6436611"/>
              <a:gd name="connsiteY1203" fmla="*/ 2830784 h 4419155"/>
              <a:gd name="connsiteX1204" fmla="*/ 6109067 w 6436611"/>
              <a:gd name="connsiteY1204" fmla="*/ 2833038 h 4419155"/>
              <a:gd name="connsiteX1205" fmla="*/ 6113187 w 6436611"/>
              <a:gd name="connsiteY1205" fmla="*/ 2835296 h 4419155"/>
              <a:gd name="connsiteX1206" fmla="*/ 6115245 w 6436611"/>
              <a:gd name="connsiteY1206" fmla="*/ 2833038 h 4419155"/>
              <a:gd name="connsiteX1207" fmla="*/ 6121427 w 6436611"/>
              <a:gd name="connsiteY1207" fmla="*/ 89866 h 4419155"/>
              <a:gd name="connsiteX1208" fmla="*/ 6110096 w 6436611"/>
              <a:gd name="connsiteY1208" fmla="*/ 92404 h 4419155"/>
              <a:gd name="connsiteX1209" fmla="*/ 6107739 w 6436611"/>
              <a:gd name="connsiteY1209" fmla="*/ 97436 h 4419155"/>
              <a:gd name="connsiteX1210" fmla="*/ 6113187 w 6436611"/>
              <a:gd name="connsiteY1210" fmla="*/ 103402 h 4419155"/>
              <a:gd name="connsiteX1211" fmla="*/ 6114642 w 6436611"/>
              <a:gd name="connsiteY1211" fmla="*/ 102871 h 4419155"/>
              <a:gd name="connsiteX1212" fmla="*/ 6131726 w 6436611"/>
              <a:gd name="connsiteY1212" fmla="*/ 103402 h 4419155"/>
              <a:gd name="connsiteX1213" fmla="*/ 6131726 w 6436611"/>
              <a:gd name="connsiteY1213" fmla="*/ 96636 h 4419155"/>
              <a:gd name="connsiteX1214" fmla="*/ 6114642 w 6436611"/>
              <a:gd name="connsiteY1214" fmla="*/ 102871 h 4419155"/>
              <a:gd name="connsiteX1215" fmla="*/ 6113187 w 6436611"/>
              <a:gd name="connsiteY1215" fmla="*/ 105659 h 4419155"/>
              <a:gd name="connsiteX1216" fmla="*/ 6104945 w 6436611"/>
              <a:gd name="connsiteY1216" fmla="*/ 103402 h 4419155"/>
              <a:gd name="connsiteX1217" fmla="*/ 6107739 w 6436611"/>
              <a:gd name="connsiteY1217" fmla="*/ 97436 h 4419155"/>
              <a:gd name="connsiteX1218" fmla="*/ 6106749 w 6436611"/>
              <a:gd name="connsiteY1218" fmla="*/ 96352 h 4419155"/>
              <a:gd name="connsiteX1219" fmla="*/ 6104945 w 6436611"/>
              <a:gd name="connsiteY1219" fmla="*/ 87612 h 4419155"/>
              <a:gd name="connsiteX1220" fmla="*/ 6115245 w 6436611"/>
              <a:gd name="connsiteY1220" fmla="*/ 78588 h 4419155"/>
              <a:gd name="connsiteX1221" fmla="*/ 6121427 w 6436611"/>
              <a:gd name="connsiteY1221" fmla="*/ 44748 h 4419155"/>
              <a:gd name="connsiteX1222" fmla="*/ 6115245 w 6436611"/>
              <a:gd name="connsiteY1222" fmla="*/ 42494 h 4419155"/>
              <a:gd name="connsiteX1223" fmla="*/ 6122799 w 6436611"/>
              <a:gd name="connsiteY1223" fmla="*/ 33469 h 4419155"/>
              <a:gd name="connsiteX1224" fmla="*/ 6117307 w 6436611"/>
              <a:gd name="connsiteY1224" fmla="*/ 33469 h 4419155"/>
              <a:gd name="connsiteX1225" fmla="*/ 6113187 w 6436611"/>
              <a:gd name="connsiteY1225" fmla="*/ 19934 h 4419155"/>
              <a:gd name="connsiteX1226" fmla="*/ 6102886 w 6436611"/>
              <a:gd name="connsiteY1226" fmla="*/ 37981 h 4419155"/>
              <a:gd name="connsiteX1227" fmla="*/ 6069927 w 6436611"/>
              <a:gd name="connsiteY1227" fmla="*/ 83100 h 4419155"/>
              <a:gd name="connsiteX1228" fmla="*/ 6067866 w 6436611"/>
              <a:gd name="connsiteY1228" fmla="*/ 83100 h 4419155"/>
              <a:gd name="connsiteX1229" fmla="*/ 6054734 w 6436611"/>
              <a:gd name="connsiteY1229" fmla="*/ 96354 h 4419155"/>
              <a:gd name="connsiteX1230" fmla="*/ 6054685 w 6436611"/>
              <a:gd name="connsiteY1230" fmla="*/ 96520 h 4419155"/>
              <a:gd name="connsiteX1231" fmla="*/ 6059626 w 6436611"/>
              <a:gd name="connsiteY1231" fmla="*/ 92123 h 4419155"/>
              <a:gd name="connsiteX1232" fmla="*/ 6082285 w 6436611"/>
              <a:gd name="connsiteY1232" fmla="*/ 94378 h 4419155"/>
              <a:gd name="connsiteX1233" fmla="*/ 6082285 w 6436611"/>
              <a:gd name="connsiteY1233" fmla="*/ 98890 h 4419155"/>
              <a:gd name="connsiteX1234" fmla="*/ 6078165 w 6436611"/>
              <a:gd name="connsiteY1234" fmla="*/ 103402 h 4419155"/>
              <a:gd name="connsiteX1235" fmla="*/ 6076106 w 6436611"/>
              <a:gd name="connsiteY1235" fmla="*/ 137242 h 4419155"/>
              <a:gd name="connsiteX1236" fmla="*/ 6092586 w 6436611"/>
              <a:gd name="connsiteY1236" fmla="*/ 128218 h 4419155"/>
              <a:gd name="connsiteX1237" fmla="*/ 6098765 w 6436611"/>
              <a:gd name="connsiteY1237" fmla="*/ 123706 h 4419155"/>
              <a:gd name="connsiteX1238" fmla="*/ 6131726 w 6436611"/>
              <a:gd name="connsiteY1238" fmla="*/ 103402 h 4419155"/>
              <a:gd name="connsiteX1239" fmla="*/ 6137908 w 6436611"/>
              <a:gd name="connsiteY1239" fmla="*/ 2580377 h 4419155"/>
              <a:gd name="connsiteX1240" fmla="*/ 6131726 w 6436611"/>
              <a:gd name="connsiteY1240" fmla="*/ 2582634 h 4419155"/>
              <a:gd name="connsiteX1241" fmla="*/ 6131726 w 6436611"/>
              <a:gd name="connsiteY1241" fmla="*/ 2580377 h 4419155"/>
              <a:gd name="connsiteX1242" fmla="*/ 6137908 w 6436611"/>
              <a:gd name="connsiteY1242" fmla="*/ 2580377 h 4419155"/>
              <a:gd name="connsiteX1243" fmla="*/ 6137908 w 6436611"/>
              <a:gd name="connsiteY1243" fmla="*/ 2828527 h 4419155"/>
              <a:gd name="connsiteX1244" fmla="*/ 6129665 w 6436611"/>
              <a:gd name="connsiteY1244" fmla="*/ 2830784 h 4419155"/>
              <a:gd name="connsiteX1245" fmla="*/ 6131726 w 6436611"/>
              <a:gd name="connsiteY1245" fmla="*/ 2835296 h 4419155"/>
              <a:gd name="connsiteX1246" fmla="*/ 6133788 w 6436611"/>
              <a:gd name="connsiteY1246" fmla="*/ 2835296 h 4419155"/>
              <a:gd name="connsiteX1247" fmla="*/ 6137908 w 6436611"/>
              <a:gd name="connsiteY1247" fmla="*/ 2828527 h 4419155"/>
              <a:gd name="connsiteX1248" fmla="*/ 6146145 w 6436611"/>
              <a:gd name="connsiteY1248" fmla="*/ 17677 h 4419155"/>
              <a:gd name="connsiteX1249" fmla="*/ 6146145 w 6436611"/>
              <a:gd name="connsiteY1249" fmla="*/ 170 h 4419155"/>
              <a:gd name="connsiteX1250" fmla="*/ 6132232 w 6436611"/>
              <a:gd name="connsiteY1250" fmla="*/ 8452 h 4419155"/>
              <a:gd name="connsiteX1251" fmla="*/ 6129665 w 6436611"/>
              <a:gd name="connsiteY1251" fmla="*/ 10910 h 4419155"/>
              <a:gd name="connsiteX1252" fmla="*/ 6129665 w 6436611"/>
              <a:gd name="connsiteY1252" fmla="*/ 15422 h 4419155"/>
              <a:gd name="connsiteX1253" fmla="*/ 6137908 w 6436611"/>
              <a:gd name="connsiteY1253" fmla="*/ 10910 h 4419155"/>
              <a:gd name="connsiteX1254" fmla="*/ 6137908 w 6436611"/>
              <a:gd name="connsiteY1254" fmla="*/ 15422 h 4419155"/>
              <a:gd name="connsiteX1255" fmla="*/ 6122799 w 6436611"/>
              <a:gd name="connsiteY1255" fmla="*/ 33469 h 4419155"/>
              <a:gd name="connsiteX1256" fmla="*/ 6135847 w 6436611"/>
              <a:gd name="connsiteY1256" fmla="*/ 33469 h 4419155"/>
              <a:gd name="connsiteX1257" fmla="*/ 6136801 w 6436611"/>
              <a:gd name="connsiteY1257" fmla="*/ 32324 h 4419155"/>
              <a:gd name="connsiteX1258" fmla="*/ 6131726 w 6436611"/>
              <a:gd name="connsiteY1258" fmla="*/ 31212 h 4419155"/>
              <a:gd name="connsiteX1259" fmla="*/ 6146145 w 6436611"/>
              <a:gd name="connsiteY1259" fmla="*/ 17677 h 4419155"/>
              <a:gd name="connsiteX1260" fmla="*/ 6146431 w 6436611"/>
              <a:gd name="connsiteY1260" fmla="*/ 0 h 4419155"/>
              <a:gd name="connsiteX1261" fmla="*/ 6146145 w 6436611"/>
              <a:gd name="connsiteY1261" fmla="*/ 0 h 4419155"/>
              <a:gd name="connsiteX1262" fmla="*/ 6146145 w 6436611"/>
              <a:gd name="connsiteY1262" fmla="*/ 170 h 4419155"/>
              <a:gd name="connsiteX1263" fmla="*/ 6156447 w 6436611"/>
              <a:gd name="connsiteY1263" fmla="*/ 1926166 h 4419155"/>
              <a:gd name="connsiteX1264" fmla="*/ 6137908 w 6436611"/>
              <a:gd name="connsiteY1264" fmla="*/ 1939702 h 4419155"/>
              <a:gd name="connsiteX1265" fmla="*/ 6156447 w 6436611"/>
              <a:gd name="connsiteY1265" fmla="*/ 1926166 h 4419155"/>
              <a:gd name="connsiteX1266" fmla="*/ 6168006 w 6436611"/>
              <a:gd name="connsiteY1266" fmla="*/ 14401 h 4419155"/>
              <a:gd name="connsiteX1267" fmla="*/ 6160567 w 6436611"/>
              <a:gd name="connsiteY1267" fmla="*/ 10910 h 4419155"/>
              <a:gd name="connsiteX1268" fmla="*/ 6146662 w 6436611"/>
              <a:gd name="connsiteY1268" fmla="*/ 20498 h 4419155"/>
              <a:gd name="connsiteX1269" fmla="*/ 6136801 w 6436611"/>
              <a:gd name="connsiteY1269" fmla="*/ 32324 h 4419155"/>
              <a:gd name="connsiteX1270" fmla="*/ 6142027 w 6436611"/>
              <a:gd name="connsiteY1270" fmla="*/ 33469 h 4419155"/>
              <a:gd name="connsiteX1271" fmla="*/ 6166745 w 6436611"/>
              <a:gd name="connsiteY1271" fmla="*/ 15422 h 4419155"/>
              <a:gd name="connsiteX1272" fmla="*/ 6185318 w 6436611"/>
              <a:gd name="connsiteY1272" fmla="*/ 0 h 4419155"/>
              <a:gd name="connsiteX1273" fmla="*/ 6183054 w 6436611"/>
              <a:gd name="connsiteY1273" fmla="*/ 0 h 4419155"/>
              <a:gd name="connsiteX1274" fmla="*/ 6183226 w 6436611"/>
              <a:gd name="connsiteY1274" fmla="*/ 1886 h 4419155"/>
              <a:gd name="connsiteX1275" fmla="*/ 6203113 w 6436611"/>
              <a:gd name="connsiteY1275" fmla="*/ 0 h 4419155"/>
              <a:gd name="connsiteX1276" fmla="*/ 6185800 w 6436611"/>
              <a:gd name="connsiteY1276" fmla="*/ 0 h 4419155"/>
              <a:gd name="connsiteX1277" fmla="*/ 6168006 w 6436611"/>
              <a:gd name="connsiteY1277" fmla="*/ 14401 h 4419155"/>
              <a:gd name="connsiteX1278" fmla="*/ 6174986 w 6436611"/>
              <a:gd name="connsiteY1278" fmla="*/ 17677 h 4419155"/>
              <a:gd name="connsiteX1279" fmla="*/ 6186317 w 6436611"/>
              <a:gd name="connsiteY1279" fmla="*/ 8655 h 4419155"/>
              <a:gd name="connsiteX1280" fmla="*/ 6207947 w 6436611"/>
              <a:gd name="connsiteY1280" fmla="*/ 1919400 h 4419155"/>
              <a:gd name="connsiteX1281" fmla="*/ 6201768 w 6436611"/>
              <a:gd name="connsiteY1281" fmla="*/ 1921657 h 4419155"/>
              <a:gd name="connsiteX1282" fmla="*/ 6142027 w 6436611"/>
              <a:gd name="connsiteY1282" fmla="*/ 1921657 h 4419155"/>
              <a:gd name="connsiteX1283" fmla="*/ 6131726 w 6436611"/>
              <a:gd name="connsiteY1283" fmla="*/ 1923912 h 4419155"/>
              <a:gd name="connsiteX1284" fmla="*/ 6117307 w 6436611"/>
              <a:gd name="connsiteY1284" fmla="*/ 1923912 h 4419155"/>
              <a:gd name="connsiteX1285" fmla="*/ 6123486 w 6436611"/>
              <a:gd name="connsiteY1285" fmla="*/ 1921657 h 4419155"/>
              <a:gd name="connsiteX1286" fmla="*/ 6115245 w 6436611"/>
              <a:gd name="connsiteY1286" fmla="*/ 1923912 h 4419155"/>
              <a:gd name="connsiteX1287" fmla="*/ 6115245 w 6436611"/>
              <a:gd name="connsiteY1287" fmla="*/ 1919400 h 4419155"/>
              <a:gd name="connsiteX1288" fmla="*/ 6137908 w 6436611"/>
              <a:gd name="connsiteY1288" fmla="*/ 1917146 h 4419155"/>
              <a:gd name="connsiteX1289" fmla="*/ 6154386 w 6436611"/>
              <a:gd name="connsiteY1289" fmla="*/ 1912631 h 4419155"/>
              <a:gd name="connsiteX1290" fmla="*/ 6166745 w 6436611"/>
              <a:gd name="connsiteY1290" fmla="*/ 1912631 h 4419155"/>
              <a:gd name="connsiteX1291" fmla="*/ 6191466 w 6436611"/>
              <a:gd name="connsiteY1291" fmla="*/ 1914889 h 4419155"/>
              <a:gd name="connsiteX1292" fmla="*/ 6207947 w 6436611"/>
              <a:gd name="connsiteY1292" fmla="*/ 1919400 h 4419155"/>
              <a:gd name="connsiteX1293" fmla="*/ 6207947 w 6436611"/>
              <a:gd name="connsiteY1293" fmla="*/ 1944218 h 4419155"/>
              <a:gd name="connsiteX1294" fmla="*/ 6201768 w 6436611"/>
              <a:gd name="connsiteY1294" fmla="*/ 1944218 h 4419155"/>
              <a:gd name="connsiteX1295" fmla="*/ 6201768 w 6436611"/>
              <a:gd name="connsiteY1295" fmla="*/ 1939702 h 4419155"/>
              <a:gd name="connsiteX1296" fmla="*/ 6207947 w 6436611"/>
              <a:gd name="connsiteY1296" fmla="*/ 1939702 h 4419155"/>
              <a:gd name="connsiteX1297" fmla="*/ 6207947 w 6436611"/>
              <a:gd name="connsiteY1297" fmla="*/ 1944218 h 4419155"/>
              <a:gd name="connsiteX1298" fmla="*/ 6212067 w 6436611"/>
              <a:gd name="connsiteY1298" fmla="*/ 1975797 h 4419155"/>
              <a:gd name="connsiteX1299" fmla="*/ 6207947 w 6436611"/>
              <a:gd name="connsiteY1299" fmla="*/ 1980309 h 4419155"/>
              <a:gd name="connsiteX1300" fmla="*/ 6205888 w 6436611"/>
              <a:gd name="connsiteY1300" fmla="*/ 1978054 h 4419155"/>
              <a:gd name="connsiteX1301" fmla="*/ 6210008 w 6436611"/>
              <a:gd name="connsiteY1301" fmla="*/ 1973542 h 4419155"/>
              <a:gd name="connsiteX1302" fmla="*/ 6212067 w 6436611"/>
              <a:gd name="connsiteY1302" fmla="*/ 1975797 h 4419155"/>
              <a:gd name="connsiteX1303" fmla="*/ 6226488 w 6436611"/>
              <a:gd name="connsiteY1303" fmla="*/ 1903610 h 4419155"/>
              <a:gd name="connsiteX1304" fmla="*/ 6220307 w 6436611"/>
              <a:gd name="connsiteY1304" fmla="*/ 1903610 h 4419155"/>
              <a:gd name="connsiteX1305" fmla="*/ 6191466 w 6436611"/>
              <a:gd name="connsiteY1305" fmla="*/ 1903610 h 4419155"/>
              <a:gd name="connsiteX1306" fmla="*/ 6189408 w 6436611"/>
              <a:gd name="connsiteY1306" fmla="*/ 1903610 h 4419155"/>
              <a:gd name="connsiteX1307" fmla="*/ 6152327 w 6436611"/>
              <a:gd name="connsiteY1307" fmla="*/ 1905864 h 4419155"/>
              <a:gd name="connsiteX1308" fmla="*/ 6142027 w 6436611"/>
              <a:gd name="connsiteY1308" fmla="*/ 1903610 h 4419155"/>
              <a:gd name="connsiteX1309" fmla="*/ 6144086 w 6436611"/>
              <a:gd name="connsiteY1309" fmla="*/ 1899098 h 4419155"/>
              <a:gd name="connsiteX1310" fmla="*/ 6162628 w 6436611"/>
              <a:gd name="connsiteY1310" fmla="*/ 1899098 h 4419155"/>
              <a:gd name="connsiteX1311" fmla="*/ 6226488 w 6436611"/>
              <a:gd name="connsiteY1311" fmla="*/ 1903610 h 4419155"/>
              <a:gd name="connsiteX1312" fmla="*/ 6228547 w 6436611"/>
              <a:gd name="connsiteY1312" fmla="*/ 1930682 h 4419155"/>
              <a:gd name="connsiteX1313" fmla="*/ 6224427 w 6436611"/>
              <a:gd name="connsiteY1313" fmla="*/ 1937448 h 4419155"/>
              <a:gd name="connsiteX1314" fmla="*/ 6210008 w 6436611"/>
              <a:gd name="connsiteY1314" fmla="*/ 1937448 h 4419155"/>
              <a:gd name="connsiteX1315" fmla="*/ 6210008 w 6436611"/>
              <a:gd name="connsiteY1315" fmla="*/ 1932936 h 4419155"/>
              <a:gd name="connsiteX1316" fmla="*/ 6224427 w 6436611"/>
              <a:gd name="connsiteY1316" fmla="*/ 1926166 h 4419155"/>
              <a:gd name="connsiteX1317" fmla="*/ 6228547 w 6436611"/>
              <a:gd name="connsiteY1317" fmla="*/ 1930682 h 4419155"/>
              <a:gd name="connsiteX1318" fmla="*/ 6245027 w 6436611"/>
              <a:gd name="connsiteY1318" fmla="*/ 1824652 h 4419155"/>
              <a:gd name="connsiteX1319" fmla="*/ 6245027 w 6436611"/>
              <a:gd name="connsiteY1319" fmla="*/ 1820142 h 4419155"/>
              <a:gd name="connsiteX1320" fmla="*/ 6242966 w 6436611"/>
              <a:gd name="connsiteY1320" fmla="*/ 1820142 h 4419155"/>
              <a:gd name="connsiteX1321" fmla="*/ 6245027 w 6436611"/>
              <a:gd name="connsiteY1321" fmla="*/ 1824652 h 4419155"/>
              <a:gd name="connsiteX1322" fmla="*/ 6300647 w 6436611"/>
              <a:gd name="connsiteY1322" fmla="*/ 2002869 h 4419155"/>
              <a:gd name="connsiteX1323" fmla="*/ 6290349 w 6436611"/>
              <a:gd name="connsiteY1323" fmla="*/ 2007380 h 4419155"/>
              <a:gd name="connsiteX1324" fmla="*/ 6295498 w 6436611"/>
              <a:gd name="connsiteY1324" fmla="*/ 2001741 h 4419155"/>
              <a:gd name="connsiteX1325" fmla="*/ 6300647 w 6436611"/>
              <a:gd name="connsiteY1325" fmla="*/ 2002869 h 4419155"/>
              <a:gd name="connsiteX1326" fmla="*/ 6302709 w 6436611"/>
              <a:gd name="connsiteY1326" fmla="*/ 1921657 h 4419155"/>
              <a:gd name="connsiteX1327" fmla="*/ 6280047 w 6436611"/>
              <a:gd name="connsiteY1327" fmla="*/ 1941959 h 4419155"/>
              <a:gd name="connsiteX1328" fmla="*/ 6257388 w 6436611"/>
              <a:gd name="connsiteY1328" fmla="*/ 1944218 h 4419155"/>
              <a:gd name="connsiteX1329" fmla="*/ 6259447 w 6436611"/>
              <a:gd name="connsiteY1329" fmla="*/ 1935191 h 4419155"/>
              <a:gd name="connsiteX1330" fmla="*/ 6263566 w 6436611"/>
              <a:gd name="connsiteY1330" fmla="*/ 1935191 h 4419155"/>
              <a:gd name="connsiteX1331" fmla="*/ 6284167 w 6436611"/>
              <a:gd name="connsiteY1331" fmla="*/ 1926166 h 4419155"/>
              <a:gd name="connsiteX1332" fmla="*/ 6280047 w 6436611"/>
              <a:gd name="connsiteY1332" fmla="*/ 1921657 h 4419155"/>
              <a:gd name="connsiteX1333" fmla="*/ 6302709 w 6436611"/>
              <a:gd name="connsiteY1333" fmla="*/ 1921657 h 4419155"/>
              <a:gd name="connsiteX1334" fmla="*/ 6304768 w 6436611"/>
              <a:gd name="connsiteY1334" fmla="*/ 1939702 h 4419155"/>
              <a:gd name="connsiteX1335" fmla="*/ 6296527 w 6436611"/>
              <a:gd name="connsiteY1335" fmla="*/ 1944218 h 4419155"/>
              <a:gd name="connsiteX1336" fmla="*/ 6296527 w 6436611"/>
              <a:gd name="connsiteY1336" fmla="*/ 1939702 h 4419155"/>
              <a:gd name="connsiteX1337" fmla="*/ 6304768 w 6436611"/>
              <a:gd name="connsiteY1337" fmla="*/ 1939702 h 4419155"/>
              <a:gd name="connsiteX1338" fmla="*/ 6317127 w 6436611"/>
              <a:gd name="connsiteY1338" fmla="*/ 1919400 h 4419155"/>
              <a:gd name="connsiteX1339" fmla="*/ 6313931 w 6436611"/>
              <a:gd name="connsiteY1339" fmla="*/ 1919984 h 4419155"/>
              <a:gd name="connsiteX1340" fmla="*/ 6312248 w 6436611"/>
              <a:gd name="connsiteY1340" fmla="*/ 1924741 h 4419155"/>
              <a:gd name="connsiteX1341" fmla="*/ 6327429 w 6436611"/>
              <a:gd name="connsiteY1341" fmla="*/ 1987078 h 4419155"/>
              <a:gd name="connsiteX1342" fmla="*/ 6325368 w 6436611"/>
              <a:gd name="connsiteY1342" fmla="*/ 1993844 h 4419155"/>
              <a:gd name="connsiteX1343" fmla="*/ 6323309 w 6436611"/>
              <a:gd name="connsiteY1343" fmla="*/ 1989333 h 4419155"/>
              <a:gd name="connsiteX1344" fmla="*/ 6325368 w 6436611"/>
              <a:gd name="connsiteY1344" fmla="*/ 1984820 h 4419155"/>
              <a:gd name="connsiteX1345" fmla="*/ 6327429 w 6436611"/>
              <a:gd name="connsiteY1345" fmla="*/ 1987078 h 4419155"/>
              <a:gd name="connsiteX1346" fmla="*/ 6341848 w 6436611"/>
              <a:gd name="connsiteY1346" fmla="*/ 1982566 h 4419155"/>
              <a:gd name="connsiteX1347" fmla="*/ 6333608 w 6436611"/>
              <a:gd name="connsiteY1347" fmla="*/ 1982566 h 4419155"/>
              <a:gd name="connsiteX1348" fmla="*/ 6333608 w 6436611"/>
              <a:gd name="connsiteY1348" fmla="*/ 1980309 h 4419155"/>
              <a:gd name="connsiteX1349" fmla="*/ 6341848 w 6436611"/>
              <a:gd name="connsiteY1349" fmla="*/ 1978054 h 4419155"/>
              <a:gd name="connsiteX1350" fmla="*/ 6341848 w 6436611"/>
              <a:gd name="connsiteY1350" fmla="*/ 1982566 h 4419155"/>
              <a:gd name="connsiteX1351" fmla="*/ 6350088 w 6436611"/>
              <a:gd name="connsiteY1351" fmla="*/ 2002869 h 4419155"/>
              <a:gd name="connsiteX1352" fmla="*/ 6335667 w 6436611"/>
              <a:gd name="connsiteY1352" fmla="*/ 2009637 h 4419155"/>
              <a:gd name="connsiteX1353" fmla="*/ 6319189 w 6436611"/>
              <a:gd name="connsiteY1353" fmla="*/ 2009637 h 4419155"/>
              <a:gd name="connsiteX1354" fmla="*/ 6304768 w 6436611"/>
              <a:gd name="connsiteY1354" fmla="*/ 2007380 h 4419155"/>
              <a:gd name="connsiteX1355" fmla="*/ 6329746 w 6436611"/>
              <a:gd name="connsiteY1355" fmla="*/ 2000895 h 4419155"/>
              <a:gd name="connsiteX1356" fmla="*/ 6350088 w 6436611"/>
              <a:gd name="connsiteY1356" fmla="*/ 2002869 h 4419155"/>
              <a:gd name="connsiteX1357" fmla="*/ 6356268 w 6436611"/>
              <a:gd name="connsiteY1357" fmla="*/ 2034451 h 4419155"/>
              <a:gd name="connsiteX1358" fmla="*/ 6356268 w 6436611"/>
              <a:gd name="connsiteY1358" fmla="*/ 2032196 h 4419155"/>
              <a:gd name="connsiteX1359" fmla="*/ 6352147 w 6436611"/>
              <a:gd name="connsiteY1359" fmla="*/ 2034451 h 4419155"/>
              <a:gd name="connsiteX1360" fmla="*/ 6354209 w 6436611"/>
              <a:gd name="connsiteY1360" fmla="*/ 2041217 h 4419155"/>
              <a:gd name="connsiteX1361" fmla="*/ 6356268 w 6436611"/>
              <a:gd name="connsiteY1361" fmla="*/ 2034451 h 4419155"/>
              <a:gd name="connsiteX1362" fmla="*/ 6436611 w 6436611"/>
              <a:gd name="connsiteY1362" fmla="*/ 1860747 h 4419155"/>
              <a:gd name="connsiteX1363" fmla="*/ 6409829 w 6436611"/>
              <a:gd name="connsiteY1363" fmla="*/ 1856234 h 4419155"/>
              <a:gd name="connsiteX1364" fmla="*/ 6282108 w 6436611"/>
              <a:gd name="connsiteY1364" fmla="*/ 1849468 h 4419155"/>
              <a:gd name="connsiteX1365" fmla="*/ 6236788 w 6436611"/>
              <a:gd name="connsiteY1365" fmla="*/ 1849468 h 4419155"/>
              <a:gd name="connsiteX1366" fmla="*/ 6187347 w 6436611"/>
              <a:gd name="connsiteY1366" fmla="*/ 1833675 h 4419155"/>
              <a:gd name="connsiteX1367" fmla="*/ 6174986 w 6436611"/>
              <a:gd name="connsiteY1367" fmla="*/ 1826909 h 4419155"/>
              <a:gd name="connsiteX1368" fmla="*/ 6199706 w 6436611"/>
              <a:gd name="connsiteY1368" fmla="*/ 1820142 h 4419155"/>
              <a:gd name="connsiteX1369" fmla="*/ 6234729 w 6436611"/>
              <a:gd name="connsiteY1369" fmla="*/ 1817886 h 4419155"/>
              <a:gd name="connsiteX1370" fmla="*/ 6267686 w 6436611"/>
              <a:gd name="connsiteY1370" fmla="*/ 1815631 h 4419155"/>
              <a:gd name="connsiteX1371" fmla="*/ 6343909 w 6436611"/>
              <a:gd name="connsiteY1371" fmla="*/ 1817886 h 4419155"/>
              <a:gd name="connsiteX1372" fmla="*/ 6265627 w 6436611"/>
              <a:gd name="connsiteY1372" fmla="*/ 1806607 h 4419155"/>
              <a:gd name="connsiteX1373" fmla="*/ 6253268 w 6436611"/>
              <a:gd name="connsiteY1373" fmla="*/ 1797582 h 4419155"/>
              <a:gd name="connsiteX1374" fmla="*/ 6275929 w 6436611"/>
              <a:gd name="connsiteY1374" fmla="*/ 1786302 h 4419155"/>
              <a:gd name="connsiteX1375" fmla="*/ 6280047 w 6436611"/>
              <a:gd name="connsiteY1375" fmla="*/ 1779535 h 4419155"/>
              <a:gd name="connsiteX1376" fmla="*/ 6277988 w 6436611"/>
              <a:gd name="connsiteY1376" fmla="*/ 1772766 h 4419155"/>
              <a:gd name="connsiteX1377" fmla="*/ 6259447 w 6436611"/>
              <a:gd name="connsiteY1377" fmla="*/ 1768255 h 4419155"/>
              <a:gd name="connsiteX1378" fmla="*/ 6210008 w 6436611"/>
              <a:gd name="connsiteY1378" fmla="*/ 1781790 h 4419155"/>
              <a:gd name="connsiteX1379" fmla="*/ 6187347 w 6436611"/>
              <a:gd name="connsiteY1379" fmla="*/ 1786302 h 4419155"/>
              <a:gd name="connsiteX1380" fmla="*/ 6080226 w 6436611"/>
              <a:gd name="connsiteY1380" fmla="*/ 1790814 h 4419155"/>
              <a:gd name="connsiteX1381" fmla="*/ 6051386 w 6436611"/>
              <a:gd name="connsiteY1381" fmla="*/ 1788560 h 4419155"/>
              <a:gd name="connsiteX1382" fmla="*/ 6047265 w 6436611"/>
              <a:gd name="connsiteY1382" fmla="*/ 1788560 h 4419155"/>
              <a:gd name="connsiteX1383" fmla="*/ 6047265 w 6436611"/>
              <a:gd name="connsiteY1383" fmla="*/ 1786302 h 4419155"/>
              <a:gd name="connsiteX1384" fmla="*/ 6039026 w 6436611"/>
              <a:gd name="connsiteY1384" fmla="*/ 1788560 h 4419155"/>
              <a:gd name="connsiteX1385" fmla="*/ 6039026 w 6436611"/>
              <a:gd name="connsiteY1385" fmla="*/ 1790814 h 4419155"/>
              <a:gd name="connsiteX1386" fmla="*/ 6026665 w 6436611"/>
              <a:gd name="connsiteY1386" fmla="*/ 1790814 h 4419155"/>
              <a:gd name="connsiteX1387" fmla="*/ 6020486 w 6436611"/>
              <a:gd name="connsiteY1387" fmla="*/ 1797582 h 4419155"/>
              <a:gd name="connsiteX1388" fmla="*/ 6010185 w 6436611"/>
              <a:gd name="connsiteY1388" fmla="*/ 1797582 h 4419155"/>
              <a:gd name="connsiteX1389" fmla="*/ 6012244 w 6436611"/>
              <a:gd name="connsiteY1389" fmla="*/ 1793071 h 4419155"/>
              <a:gd name="connsiteX1390" fmla="*/ 6020486 w 6436611"/>
              <a:gd name="connsiteY1390" fmla="*/ 1788560 h 4419155"/>
              <a:gd name="connsiteX1391" fmla="*/ 6016367 w 6436611"/>
              <a:gd name="connsiteY1391" fmla="*/ 1768255 h 4419155"/>
              <a:gd name="connsiteX1392" fmla="*/ 6012244 w 6436611"/>
              <a:gd name="connsiteY1392" fmla="*/ 1766000 h 4419155"/>
              <a:gd name="connsiteX1393" fmla="*/ 6016367 w 6436611"/>
              <a:gd name="connsiteY1393" fmla="*/ 1761489 h 4419155"/>
              <a:gd name="connsiteX1394" fmla="*/ 6001945 w 6436611"/>
              <a:gd name="connsiteY1394" fmla="*/ 1763742 h 4419155"/>
              <a:gd name="connsiteX1395" fmla="*/ 5989584 w 6436611"/>
              <a:gd name="connsiteY1395" fmla="*/ 1759231 h 4419155"/>
              <a:gd name="connsiteX1396" fmla="*/ 5999886 w 6436611"/>
              <a:gd name="connsiteY1396" fmla="*/ 1759231 h 4419155"/>
              <a:gd name="connsiteX1397" fmla="*/ 6030785 w 6436611"/>
              <a:gd name="connsiteY1397" fmla="*/ 1752464 h 4419155"/>
              <a:gd name="connsiteX1398" fmla="*/ 6146145 w 6436611"/>
              <a:gd name="connsiteY1398" fmla="*/ 1743440 h 4419155"/>
              <a:gd name="connsiteX1399" fmla="*/ 6158508 w 6436611"/>
              <a:gd name="connsiteY1399" fmla="*/ 1736672 h 4419155"/>
              <a:gd name="connsiteX1400" fmla="*/ 6144086 w 6436611"/>
              <a:gd name="connsiteY1400" fmla="*/ 1720882 h 4419155"/>
              <a:gd name="connsiteX1401" fmla="*/ 6119366 w 6436611"/>
              <a:gd name="connsiteY1401" fmla="*/ 1718627 h 4419155"/>
              <a:gd name="connsiteX1402" fmla="*/ 6104945 w 6436611"/>
              <a:gd name="connsiteY1402" fmla="*/ 1707346 h 4419155"/>
              <a:gd name="connsiteX1403" fmla="*/ 6109067 w 6436611"/>
              <a:gd name="connsiteY1403" fmla="*/ 1705092 h 4419155"/>
              <a:gd name="connsiteX1404" fmla="*/ 6125545 w 6436611"/>
              <a:gd name="connsiteY1404" fmla="*/ 1700579 h 4419155"/>
              <a:gd name="connsiteX1405" fmla="*/ 6117307 w 6436611"/>
              <a:gd name="connsiteY1405" fmla="*/ 1696068 h 4419155"/>
              <a:gd name="connsiteX1406" fmla="*/ 6111126 w 6436611"/>
              <a:gd name="connsiteY1406" fmla="*/ 1696068 h 4419155"/>
              <a:gd name="connsiteX1407" fmla="*/ 6109067 w 6436611"/>
              <a:gd name="connsiteY1407" fmla="*/ 1693811 h 4419155"/>
              <a:gd name="connsiteX1408" fmla="*/ 6109067 w 6436611"/>
              <a:gd name="connsiteY1408" fmla="*/ 1696068 h 4419155"/>
              <a:gd name="connsiteX1409" fmla="*/ 6067866 w 6436611"/>
              <a:gd name="connsiteY1409" fmla="*/ 1689298 h 4419155"/>
              <a:gd name="connsiteX1410" fmla="*/ 6026665 w 6436611"/>
              <a:gd name="connsiteY1410" fmla="*/ 1687044 h 4419155"/>
              <a:gd name="connsiteX1411" fmla="*/ 5993704 w 6436611"/>
              <a:gd name="connsiteY1411" fmla="*/ 1682532 h 4419155"/>
              <a:gd name="connsiteX1412" fmla="*/ 5999886 w 6436611"/>
              <a:gd name="connsiteY1412" fmla="*/ 1671251 h 4419155"/>
              <a:gd name="connsiteX1413" fmla="*/ 5979285 w 6436611"/>
              <a:gd name="connsiteY1413" fmla="*/ 1680275 h 4419155"/>
              <a:gd name="connsiteX1414" fmla="*/ 5983406 w 6436611"/>
              <a:gd name="connsiteY1414" fmla="*/ 1682532 h 4419155"/>
              <a:gd name="connsiteX1415" fmla="*/ 5966925 w 6436611"/>
              <a:gd name="connsiteY1415" fmla="*/ 1680275 h 4419155"/>
              <a:gd name="connsiteX1416" fmla="*/ 5966925 w 6436611"/>
              <a:gd name="connsiteY1416" fmla="*/ 1678020 h 4419155"/>
              <a:gd name="connsiteX1417" fmla="*/ 5964863 w 6436611"/>
              <a:gd name="connsiteY1417" fmla="*/ 1675762 h 4419155"/>
              <a:gd name="connsiteX1418" fmla="*/ 5964863 w 6436611"/>
              <a:gd name="connsiteY1418" fmla="*/ 1678020 h 4419155"/>
              <a:gd name="connsiteX1419" fmla="*/ 5931906 w 6436611"/>
              <a:gd name="connsiteY1419" fmla="*/ 1675762 h 4419155"/>
              <a:gd name="connsiteX1420" fmla="*/ 5925724 w 6436611"/>
              <a:gd name="connsiteY1420" fmla="*/ 1675762 h 4419155"/>
              <a:gd name="connsiteX1421" fmla="*/ 5913364 w 6436611"/>
              <a:gd name="connsiteY1421" fmla="*/ 1678020 h 4419155"/>
              <a:gd name="connsiteX1422" fmla="*/ 5909244 w 6436611"/>
              <a:gd name="connsiteY1422" fmla="*/ 1675762 h 4419155"/>
              <a:gd name="connsiteX1423" fmla="*/ 5909244 w 6436611"/>
              <a:gd name="connsiteY1423" fmla="*/ 1671251 h 4419155"/>
              <a:gd name="connsiteX1424" fmla="*/ 5890705 w 6436611"/>
              <a:gd name="connsiteY1424" fmla="*/ 1675762 h 4419155"/>
              <a:gd name="connsiteX1425" fmla="*/ 5884526 w 6436611"/>
              <a:gd name="connsiteY1425" fmla="*/ 1680275 h 4419155"/>
              <a:gd name="connsiteX1426" fmla="*/ 5855683 w 6436611"/>
              <a:gd name="connsiteY1426" fmla="*/ 1684786 h 4419155"/>
              <a:gd name="connsiteX1427" fmla="*/ 5830965 w 6436611"/>
              <a:gd name="connsiteY1427" fmla="*/ 1684786 h 4419155"/>
              <a:gd name="connsiteX1428" fmla="*/ 5833023 w 6436611"/>
              <a:gd name="connsiteY1428" fmla="*/ 1668996 h 4419155"/>
              <a:gd name="connsiteX1429" fmla="*/ 5837144 w 6436611"/>
              <a:gd name="connsiteY1429" fmla="*/ 1668996 h 4419155"/>
              <a:gd name="connsiteX1430" fmla="*/ 5837144 w 6436611"/>
              <a:gd name="connsiteY1430" fmla="*/ 1673508 h 4419155"/>
              <a:gd name="connsiteX1431" fmla="*/ 5847442 w 6436611"/>
              <a:gd name="connsiteY1431" fmla="*/ 1668996 h 4419155"/>
              <a:gd name="connsiteX1432" fmla="*/ 5913364 w 6436611"/>
              <a:gd name="connsiteY1432" fmla="*/ 1666739 h 4419155"/>
              <a:gd name="connsiteX1433" fmla="*/ 5905124 w 6436611"/>
              <a:gd name="connsiteY1433" fmla="*/ 1657715 h 4419155"/>
              <a:gd name="connsiteX1434" fmla="*/ 5940143 w 6436611"/>
              <a:gd name="connsiteY1434" fmla="*/ 1659973 h 4419155"/>
              <a:gd name="connsiteX1435" fmla="*/ 5938085 w 6436611"/>
              <a:gd name="connsiteY1435" fmla="*/ 1653203 h 4419155"/>
              <a:gd name="connsiteX1436" fmla="*/ 5942204 w 6436611"/>
              <a:gd name="connsiteY1436" fmla="*/ 1653203 h 4419155"/>
              <a:gd name="connsiteX1437" fmla="*/ 6119366 w 6436611"/>
              <a:gd name="connsiteY1437" fmla="*/ 1671251 h 4419155"/>
              <a:gd name="connsiteX1438" fmla="*/ 6139967 w 6436611"/>
              <a:gd name="connsiteY1438" fmla="*/ 1671251 h 4419155"/>
              <a:gd name="connsiteX1439" fmla="*/ 6129665 w 6436611"/>
              <a:gd name="connsiteY1439" fmla="*/ 1662228 h 4419155"/>
              <a:gd name="connsiteX1440" fmla="*/ 6137908 w 6436611"/>
              <a:gd name="connsiteY1440" fmla="*/ 1657715 h 4419155"/>
              <a:gd name="connsiteX1441" fmla="*/ 6121427 w 6436611"/>
              <a:gd name="connsiteY1441" fmla="*/ 1657715 h 4419155"/>
              <a:gd name="connsiteX1442" fmla="*/ 6092586 w 6436611"/>
              <a:gd name="connsiteY1442" fmla="*/ 1650949 h 4419155"/>
              <a:gd name="connsiteX1443" fmla="*/ 6094645 w 6436611"/>
              <a:gd name="connsiteY1443" fmla="*/ 1639669 h 4419155"/>
              <a:gd name="connsiteX1444" fmla="*/ 6086406 w 6436611"/>
              <a:gd name="connsiteY1444" fmla="*/ 1648692 h 4419155"/>
              <a:gd name="connsiteX1445" fmla="*/ 5979285 w 6436611"/>
              <a:gd name="connsiteY1445" fmla="*/ 1639669 h 4419155"/>
              <a:gd name="connsiteX1446" fmla="*/ 5958685 w 6436611"/>
              <a:gd name="connsiteY1446" fmla="*/ 1637414 h 4419155"/>
              <a:gd name="connsiteX1447" fmla="*/ 5954565 w 6436611"/>
              <a:gd name="connsiteY1447" fmla="*/ 1632901 h 4419155"/>
              <a:gd name="connsiteX1448" fmla="*/ 5946324 w 6436611"/>
              <a:gd name="connsiteY1448" fmla="*/ 1614854 h 4419155"/>
              <a:gd name="connsiteX1449" fmla="*/ 6057565 w 6436611"/>
              <a:gd name="connsiteY1449" fmla="*/ 1585529 h 4419155"/>
              <a:gd name="connsiteX1450" fmla="*/ 6026665 w 6436611"/>
              <a:gd name="connsiteY1450" fmla="*/ 1585529 h 4419155"/>
              <a:gd name="connsiteX1451" fmla="*/ 6028726 w 6436611"/>
              <a:gd name="connsiteY1451" fmla="*/ 1581016 h 4419155"/>
              <a:gd name="connsiteX1452" fmla="*/ 6020486 w 6436611"/>
              <a:gd name="connsiteY1452" fmla="*/ 1581016 h 4419155"/>
              <a:gd name="connsiteX1453" fmla="*/ 6026665 w 6436611"/>
              <a:gd name="connsiteY1453" fmla="*/ 1567482 h 4419155"/>
              <a:gd name="connsiteX1454" fmla="*/ 6026665 w 6436611"/>
              <a:gd name="connsiteY1454" fmla="*/ 1558457 h 4419155"/>
              <a:gd name="connsiteX1455" fmla="*/ 6043145 w 6436611"/>
              <a:gd name="connsiteY1455" fmla="*/ 1549434 h 4419155"/>
              <a:gd name="connsiteX1456" fmla="*/ 6022545 w 6436611"/>
              <a:gd name="connsiteY1456" fmla="*/ 1551689 h 4419155"/>
              <a:gd name="connsiteX1457" fmla="*/ 6018425 w 6436611"/>
              <a:gd name="connsiteY1457" fmla="*/ 1547176 h 4419155"/>
              <a:gd name="connsiteX1458" fmla="*/ 6014304 w 6436611"/>
              <a:gd name="connsiteY1458" fmla="*/ 1542664 h 4419155"/>
              <a:gd name="connsiteX1459" fmla="*/ 6063746 w 6436611"/>
              <a:gd name="connsiteY1459" fmla="*/ 1538153 h 4419155"/>
              <a:gd name="connsiteX1460" fmla="*/ 6107006 w 6436611"/>
              <a:gd name="connsiteY1460" fmla="*/ 1531387 h 4419155"/>
              <a:gd name="connsiteX1461" fmla="*/ 6107006 w 6436611"/>
              <a:gd name="connsiteY1461" fmla="*/ 1522362 h 4419155"/>
              <a:gd name="connsiteX1462" fmla="*/ 6076106 w 6436611"/>
              <a:gd name="connsiteY1462" fmla="*/ 1522362 h 4419155"/>
              <a:gd name="connsiteX1463" fmla="*/ 6080226 w 6436611"/>
              <a:gd name="connsiteY1463" fmla="*/ 1513339 h 4419155"/>
              <a:gd name="connsiteX1464" fmla="*/ 6074045 w 6436611"/>
              <a:gd name="connsiteY1464" fmla="*/ 1506570 h 4419155"/>
              <a:gd name="connsiteX1465" fmla="*/ 6084347 w 6436611"/>
              <a:gd name="connsiteY1465" fmla="*/ 1502060 h 4419155"/>
              <a:gd name="connsiteX1466" fmla="*/ 6067866 w 6436611"/>
              <a:gd name="connsiteY1466" fmla="*/ 1502060 h 4419155"/>
              <a:gd name="connsiteX1467" fmla="*/ 6055506 w 6436611"/>
              <a:gd name="connsiteY1467" fmla="*/ 1524617 h 4419155"/>
              <a:gd name="connsiteX1468" fmla="*/ 6026665 w 6436611"/>
              <a:gd name="connsiteY1468" fmla="*/ 1520106 h 4419155"/>
              <a:gd name="connsiteX1469" fmla="*/ 6024606 w 6436611"/>
              <a:gd name="connsiteY1469" fmla="*/ 1517851 h 4419155"/>
              <a:gd name="connsiteX1470" fmla="*/ 6030785 w 6436611"/>
              <a:gd name="connsiteY1470" fmla="*/ 1511081 h 4419155"/>
              <a:gd name="connsiteX1471" fmla="*/ 6016367 w 6436611"/>
              <a:gd name="connsiteY1471" fmla="*/ 1517851 h 4419155"/>
              <a:gd name="connsiteX1472" fmla="*/ 5993704 w 6436611"/>
              <a:gd name="connsiteY1472" fmla="*/ 1531387 h 4419155"/>
              <a:gd name="connsiteX1473" fmla="*/ 5989584 w 6436611"/>
              <a:gd name="connsiteY1473" fmla="*/ 1531387 h 4419155"/>
              <a:gd name="connsiteX1474" fmla="*/ 5983406 w 6436611"/>
              <a:gd name="connsiteY1474" fmla="*/ 1531387 h 4419155"/>
              <a:gd name="connsiteX1475" fmla="*/ 5940143 w 6436611"/>
              <a:gd name="connsiteY1475" fmla="*/ 1526874 h 4419155"/>
              <a:gd name="connsiteX1476" fmla="*/ 5948386 w 6436611"/>
              <a:gd name="connsiteY1476" fmla="*/ 1524617 h 4419155"/>
              <a:gd name="connsiteX1477" fmla="*/ 5886585 w 6436611"/>
              <a:gd name="connsiteY1477" fmla="*/ 1520106 h 4419155"/>
              <a:gd name="connsiteX1478" fmla="*/ 5890705 w 6436611"/>
              <a:gd name="connsiteY1478" fmla="*/ 1515596 h 4419155"/>
              <a:gd name="connsiteX1479" fmla="*/ 5903065 w 6436611"/>
              <a:gd name="connsiteY1479" fmla="*/ 1513339 h 4419155"/>
              <a:gd name="connsiteX1480" fmla="*/ 5923665 w 6436611"/>
              <a:gd name="connsiteY1480" fmla="*/ 1511081 h 4419155"/>
              <a:gd name="connsiteX1481" fmla="*/ 5923665 w 6436611"/>
              <a:gd name="connsiteY1481" fmla="*/ 1508828 h 4419155"/>
              <a:gd name="connsiteX1482" fmla="*/ 5925724 w 6436611"/>
              <a:gd name="connsiteY1482" fmla="*/ 1508828 h 4419155"/>
              <a:gd name="connsiteX1483" fmla="*/ 5936026 w 6436611"/>
              <a:gd name="connsiteY1483" fmla="*/ 1504315 h 4419155"/>
              <a:gd name="connsiteX1484" fmla="*/ 5944263 w 6436611"/>
              <a:gd name="connsiteY1484" fmla="*/ 1499804 h 4419155"/>
              <a:gd name="connsiteX1485" fmla="*/ 5956626 w 6436611"/>
              <a:gd name="connsiteY1485" fmla="*/ 1495292 h 4419155"/>
              <a:gd name="connsiteX1486" fmla="*/ 5948386 w 6436611"/>
              <a:gd name="connsiteY1486" fmla="*/ 1493037 h 4419155"/>
              <a:gd name="connsiteX1487" fmla="*/ 5925724 w 6436611"/>
              <a:gd name="connsiteY1487" fmla="*/ 1504315 h 4419155"/>
              <a:gd name="connsiteX1488" fmla="*/ 5921604 w 6436611"/>
              <a:gd name="connsiteY1488" fmla="*/ 1499804 h 4419155"/>
              <a:gd name="connsiteX1489" fmla="*/ 5923665 w 6436611"/>
              <a:gd name="connsiteY1489" fmla="*/ 1497549 h 4419155"/>
              <a:gd name="connsiteX1490" fmla="*/ 5931906 w 6436611"/>
              <a:gd name="connsiteY1490" fmla="*/ 1490779 h 4419155"/>
              <a:gd name="connsiteX1491" fmla="*/ 5946324 w 6436611"/>
              <a:gd name="connsiteY1491" fmla="*/ 1477243 h 4419155"/>
              <a:gd name="connsiteX1492" fmla="*/ 5956626 w 6436611"/>
              <a:gd name="connsiteY1492" fmla="*/ 1474990 h 4419155"/>
              <a:gd name="connsiteX1493" fmla="*/ 5962805 w 6436611"/>
              <a:gd name="connsiteY1493" fmla="*/ 1459196 h 4419155"/>
              <a:gd name="connsiteX1494" fmla="*/ 5944263 w 6436611"/>
              <a:gd name="connsiteY1494" fmla="*/ 1472732 h 4419155"/>
              <a:gd name="connsiteX1495" fmla="*/ 5940143 w 6436611"/>
              <a:gd name="connsiteY1495" fmla="*/ 1468220 h 4419155"/>
              <a:gd name="connsiteX1496" fmla="*/ 6010185 w 6436611"/>
              <a:gd name="connsiteY1496" fmla="*/ 1400546 h 4419155"/>
              <a:gd name="connsiteX1497" fmla="*/ 6063746 w 6436611"/>
              <a:gd name="connsiteY1497" fmla="*/ 1348657 h 4419155"/>
              <a:gd name="connsiteX1498" fmla="*/ 6222366 w 6436611"/>
              <a:gd name="connsiteY1498" fmla="*/ 1231352 h 4419155"/>
              <a:gd name="connsiteX1499" fmla="*/ 6228547 w 6436611"/>
              <a:gd name="connsiteY1499" fmla="*/ 1226840 h 4419155"/>
              <a:gd name="connsiteX1500" fmla="*/ 6298588 w 6436611"/>
              <a:gd name="connsiteY1500" fmla="*/ 1161419 h 4419155"/>
              <a:gd name="connsiteX1501" fmla="*/ 6343909 w 6436611"/>
              <a:gd name="connsiteY1501" fmla="*/ 1100508 h 4419155"/>
              <a:gd name="connsiteX1502" fmla="*/ 6368630 w 6436611"/>
              <a:gd name="connsiteY1502" fmla="*/ 1062159 h 4419155"/>
              <a:gd name="connsiteX1503" fmla="*/ 6370689 w 6436611"/>
              <a:gd name="connsiteY1503" fmla="*/ 1055393 h 4419155"/>
              <a:gd name="connsiteX1504" fmla="*/ 6380988 w 6436611"/>
              <a:gd name="connsiteY1504" fmla="*/ 1032833 h 4419155"/>
              <a:gd name="connsiteX1505" fmla="*/ 6399530 w 6436611"/>
              <a:gd name="connsiteY1505" fmla="*/ 983202 h 4419155"/>
              <a:gd name="connsiteX1506" fmla="*/ 6391289 w 6436611"/>
              <a:gd name="connsiteY1506" fmla="*/ 901990 h 4419155"/>
              <a:gd name="connsiteX1507" fmla="*/ 6391289 w 6436611"/>
              <a:gd name="connsiteY1507" fmla="*/ 895223 h 4419155"/>
              <a:gd name="connsiteX1508" fmla="*/ 6391289 w 6436611"/>
              <a:gd name="connsiteY1508" fmla="*/ 870410 h 4419155"/>
              <a:gd name="connsiteX1509" fmla="*/ 6383050 w 6436611"/>
              <a:gd name="connsiteY1509" fmla="*/ 843338 h 4419155"/>
              <a:gd name="connsiteX1510" fmla="*/ 6368630 w 6436611"/>
              <a:gd name="connsiteY1510" fmla="*/ 818521 h 4419155"/>
              <a:gd name="connsiteX1511" fmla="*/ 6356268 w 6436611"/>
              <a:gd name="connsiteY1511" fmla="*/ 800474 h 4419155"/>
              <a:gd name="connsiteX1512" fmla="*/ 6329488 w 6436611"/>
              <a:gd name="connsiteY1512" fmla="*/ 755358 h 4419155"/>
              <a:gd name="connsiteX1513" fmla="*/ 6315070 w 6436611"/>
              <a:gd name="connsiteY1513" fmla="*/ 730541 h 4419155"/>
              <a:gd name="connsiteX1514" fmla="*/ 6286229 w 6436611"/>
              <a:gd name="connsiteY1514" fmla="*/ 694448 h 4419155"/>
              <a:gd name="connsiteX1515" fmla="*/ 6282108 w 6436611"/>
              <a:gd name="connsiteY1515" fmla="*/ 689935 h 4419155"/>
              <a:gd name="connsiteX1516" fmla="*/ 6265627 w 6436611"/>
              <a:gd name="connsiteY1516" fmla="*/ 667378 h 4419155"/>
              <a:gd name="connsiteX1517" fmla="*/ 6226488 w 6436611"/>
              <a:gd name="connsiteY1517" fmla="*/ 635795 h 4419155"/>
              <a:gd name="connsiteX1518" fmla="*/ 6216186 w 6436611"/>
              <a:gd name="connsiteY1518" fmla="*/ 626772 h 4419155"/>
              <a:gd name="connsiteX1519" fmla="*/ 6189408 w 6436611"/>
              <a:gd name="connsiteY1519" fmla="*/ 613236 h 4419155"/>
              <a:gd name="connsiteX1520" fmla="*/ 6158508 w 6436611"/>
              <a:gd name="connsiteY1520" fmla="*/ 604213 h 4419155"/>
              <a:gd name="connsiteX1521" fmla="*/ 6131726 w 6436611"/>
              <a:gd name="connsiteY1521" fmla="*/ 595188 h 4419155"/>
              <a:gd name="connsiteX1522" fmla="*/ 6092586 w 6436611"/>
              <a:gd name="connsiteY1522" fmla="*/ 595188 h 4419155"/>
              <a:gd name="connsiteX1523" fmla="*/ 6049327 w 6436611"/>
              <a:gd name="connsiteY1523" fmla="*/ 606468 h 4419155"/>
              <a:gd name="connsiteX1524" fmla="*/ 5907185 w 6436611"/>
              <a:gd name="connsiteY1524" fmla="*/ 676400 h 4419155"/>
              <a:gd name="connsiteX1525" fmla="*/ 5861864 w 6436611"/>
              <a:gd name="connsiteY1525" fmla="*/ 696704 h 4419155"/>
              <a:gd name="connsiteX1526" fmla="*/ 5845383 w 6436611"/>
              <a:gd name="connsiteY1526" fmla="*/ 703470 h 4419155"/>
              <a:gd name="connsiteX1527" fmla="*/ 5847442 w 6436611"/>
              <a:gd name="connsiteY1527" fmla="*/ 687680 h 4419155"/>
              <a:gd name="connsiteX1528" fmla="*/ 5855683 w 6436611"/>
              <a:gd name="connsiteY1528" fmla="*/ 660610 h 4419155"/>
              <a:gd name="connsiteX1529" fmla="*/ 5890705 w 6436611"/>
              <a:gd name="connsiteY1529" fmla="*/ 570372 h 4419155"/>
              <a:gd name="connsiteX1530" fmla="*/ 5896883 w 6436611"/>
              <a:gd name="connsiteY1530" fmla="*/ 565860 h 4419155"/>
              <a:gd name="connsiteX1531" fmla="*/ 5907185 w 6436611"/>
              <a:gd name="connsiteY1531" fmla="*/ 556839 h 4419155"/>
              <a:gd name="connsiteX1532" fmla="*/ 5921604 w 6436611"/>
              <a:gd name="connsiteY1532" fmla="*/ 536535 h 4419155"/>
              <a:gd name="connsiteX1533" fmla="*/ 5903065 w 6436611"/>
              <a:gd name="connsiteY1533" fmla="*/ 543303 h 4419155"/>
              <a:gd name="connsiteX1534" fmla="*/ 5905124 w 6436611"/>
              <a:gd name="connsiteY1534" fmla="*/ 538792 h 4419155"/>
              <a:gd name="connsiteX1535" fmla="*/ 5923665 w 6436611"/>
              <a:gd name="connsiteY1535" fmla="*/ 491416 h 4419155"/>
              <a:gd name="connsiteX1536" fmla="*/ 5952506 w 6436611"/>
              <a:gd name="connsiteY1536" fmla="*/ 477880 h 4419155"/>
              <a:gd name="connsiteX1537" fmla="*/ 5946324 w 6436611"/>
              <a:gd name="connsiteY1537" fmla="*/ 475626 h 4419155"/>
              <a:gd name="connsiteX1538" fmla="*/ 5927785 w 6436611"/>
              <a:gd name="connsiteY1538" fmla="*/ 480138 h 4419155"/>
              <a:gd name="connsiteX1539" fmla="*/ 5952506 w 6436611"/>
              <a:gd name="connsiteY1539" fmla="*/ 421484 h 4419155"/>
              <a:gd name="connsiteX1540" fmla="*/ 5968983 w 6436611"/>
              <a:gd name="connsiteY1540" fmla="*/ 374110 h 4419155"/>
              <a:gd name="connsiteX1541" fmla="*/ 5989584 w 6436611"/>
              <a:gd name="connsiteY1541" fmla="*/ 310944 h 4419155"/>
              <a:gd name="connsiteX1542" fmla="*/ 5997824 w 6436611"/>
              <a:gd name="connsiteY1542" fmla="*/ 304178 h 4419155"/>
              <a:gd name="connsiteX1543" fmla="*/ 6018425 w 6436611"/>
              <a:gd name="connsiteY1543" fmla="*/ 295155 h 4419155"/>
              <a:gd name="connsiteX1544" fmla="*/ 6014304 w 6436611"/>
              <a:gd name="connsiteY1544" fmla="*/ 310944 h 4419155"/>
              <a:gd name="connsiteX1545" fmla="*/ 6034906 w 6436611"/>
              <a:gd name="connsiteY1545" fmla="*/ 290642 h 4419155"/>
              <a:gd name="connsiteX1546" fmla="*/ 6026665 w 6436611"/>
              <a:gd name="connsiteY1546" fmla="*/ 288385 h 4419155"/>
              <a:gd name="connsiteX1547" fmla="*/ 6041087 w 6436611"/>
              <a:gd name="connsiteY1547" fmla="*/ 268083 h 4419155"/>
              <a:gd name="connsiteX1548" fmla="*/ 6053445 w 6436611"/>
              <a:gd name="connsiteY1548" fmla="*/ 274849 h 4419155"/>
              <a:gd name="connsiteX1549" fmla="*/ 6061685 w 6436611"/>
              <a:gd name="connsiteY1549" fmla="*/ 281619 h 4419155"/>
              <a:gd name="connsiteX1550" fmla="*/ 6076106 w 6436611"/>
              <a:gd name="connsiteY1550" fmla="*/ 268083 h 4419155"/>
              <a:gd name="connsiteX1551" fmla="*/ 6071986 w 6436611"/>
              <a:gd name="connsiteY1551" fmla="*/ 256802 h 4419155"/>
              <a:gd name="connsiteX1552" fmla="*/ 6053445 w 6436611"/>
              <a:gd name="connsiteY1552" fmla="*/ 254547 h 4419155"/>
              <a:gd name="connsiteX1553" fmla="*/ 6059626 w 6436611"/>
              <a:gd name="connsiteY1553" fmla="*/ 245524 h 4419155"/>
              <a:gd name="connsiteX1554" fmla="*/ 6043145 w 6436611"/>
              <a:gd name="connsiteY1554" fmla="*/ 259060 h 4419155"/>
              <a:gd name="connsiteX1555" fmla="*/ 6041087 w 6436611"/>
              <a:gd name="connsiteY1555" fmla="*/ 263572 h 4419155"/>
              <a:gd name="connsiteX1556" fmla="*/ 6036965 w 6436611"/>
              <a:gd name="connsiteY1556" fmla="*/ 265826 h 4419155"/>
              <a:gd name="connsiteX1557" fmla="*/ 6016367 w 6436611"/>
              <a:gd name="connsiteY1557" fmla="*/ 277108 h 4419155"/>
              <a:gd name="connsiteX1558" fmla="*/ 6022545 w 6436611"/>
              <a:gd name="connsiteY1558" fmla="*/ 263572 h 4419155"/>
              <a:gd name="connsiteX1559" fmla="*/ 6014304 w 6436611"/>
              <a:gd name="connsiteY1559" fmla="*/ 263572 h 4419155"/>
              <a:gd name="connsiteX1560" fmla="*/ 5999886 w 6436611"/>
              <a:gd name="connsiteY1560" fmla="*/ 274849 h 4419155"/>
              <a:gd name="connsiteX1561" fmla="*/ 5999886 w 6436611"/>
              <a:gd name="connsiteY1561" fmla="*/ 261314 h 4419155"/>
              <a:gd name="connsiteX1562" fmla="*/ 5999574 w 6436611"/>
              <a:gd name="connsiteY1562" fmla="*/ 258581 h 4419155"/>
              <a:gd name="connsiteX1563" fmla="*/ 5997824 w 6436611"/>
              <a:gd name="connsiteY1563" fmla="*/ 259060 h 4419155"/>
              <a:gd name="connsiteX1564" fmla="*/ 5987526 w 6436611"/>
              <a:gd name="connsiteY1564" fmla="*/ 250036 h 4419155"/>
              <a:gd name="connsiteX1565" fmla="*/ 5998154 w 6436611"/>
              <a:gd name="connsiteY1565" fmla="*/ 246155 h 4419155"/>
              <a:gd name="connsiteX1566" fmla="*/ 5997824 w 6436611"/>
              <a:gd name="connsiteY1566" fmla="*/ 243267 h 4419155"/>
              <a:gd name="connsiteX1567" fmla="*/ 6016367 w 6436611"/>
              <a:gd name="connsiteY1567" fmla="*/ 220707 h 4419155"/>
              <a:gd name="connsiteX1568" fmla="*/ 6020486 w 6436611"/>
              <a:gd name="connsiteY1568" fmla="*/ 220707 h 4419155"/>
              <a:gd name="connsiteX1569" fmla="*/ 6021859 w 6436611"/>
              <a:gd name="connsiteY1569" fmla="*/ 223716 h 4419155"/>
              <a:gd name="connsiteX1570" fmla="*/ 6022545 w 6436611"/>
              <a:gd name="connsiteY1570" fmla="*/ 222965 h 4419155"/>
              <a:gd name="connsiteX1571" fmla="*/ 6026665 w 6436611"/>
              <a:gd name="connsiteY1571" fmla="*/ 220707 h 4419155"/>
              <a:gd name="connsiteX1572" fmla="*/ 6036965 w 6436611"/>
              <a:gd name="connsiteY1572" fmla="*/ 211686 h 4419155"/>
              <a:gd name="connsiteX1573" fmla="*/ 6032844 w 6436611"/>
              <a:gd name="connsiteY1573" fmla="*/ 211686 h 4419155"/>
              <a:gd name="connsiteX1574" fmla="*/ 6034906 w 6436611"/>
              <a:gd name="connsiteY1574" fmla="*/ 207175 h 4419155"/>
              <a:gd name="connsiteX1575" fmla="*/ 6034906 w 6436611"/>
              <a:gd name="connsiteY1575" fmla="*/ 204917 h 4419155"/>
              <a:gd name="connsiteX1576" fmla="*/ 6032844 w 6436611"/>
              <a:gd name="connsiteY1576" fmla="*/ 204917 h 4419155"/>
              <a:gd name="connsiteX1577" fmla="*/ 6032844 w 6436611"/>
              <a:gd name="connsiteY1577" fmla="*/ 175592 h 4419155"/>
              <a:gd name="connsiteX1578" fmla="*/ 6034906 w 6436611"/>
              <a:gd name="connsiteY1578" fmla="*/ 173335 h 4419155"/>
              <a:gd name="connsiteX1579" fmla="*/ 6036965 w 6436611"/>
              <a:gd name="connsiteY1579" fmla="*/ 168823 h 4419155"/>
              <a:gd name="connsiteX1580" fmla="*/ 6032844 w 6436611"/>
              <a:gd name="connsiteY1580" fmla="*/ 164310 h 4419155"/>
              <a:gd name="connsiteX1581" fmla="*/ 6028726 w 6436611"/>
              <a:gd name="connsiteY1581" fmla="*/ 159799 h 4419155"/>
              <a:gd name="connsiteX1582" fmla="*/ 6032844 w 6436611"/>
              <a:gd name="connsiteY1582" fmla="*/ 153033 h 4419155"/>
              <a:gd name="connsiteX1583" fmla="*/ 6024606 w 6436611"/>
              <a:gd name="connsiteY1583" fmla="*/ 137242 h 4419155"/>
              <a:gd name="connsiteX1584" fmla="*/ 6029662 w 6436611"/>
              <a:gd name="connsiteY1584" fmla="*/ 125244 h 4419155"/>
              <a:gd name="connsiteX1585" fmla="*/ 6022545 w 6436611"/>
              <a:gd name="connsiteY1585" fmla="*/ 134985 h 4419155"/>
              <a:gd name="connsiteX1586" fmla="*/ 6018425 w 6436611"/>
              <a:gd name="connsiteY1586" fmla="*/ 132727 h 4419155"/>
              <a:gd name="connsiteX1587" fmla="*/ 6008126 w 6436611"/>
              <a:gd name="connsiteY1587" fmla="*/ 141751 h 4419155"/>
              <a:gd name="connsiteX1588" fmla="*/ 6016367 w 6436611"/>
              <a:gd name="connsiteY1588" fmla="*/ 144008 h 4419155"/>
              <a:gd name="connsiteX1589" fmla="*/ 6012244 w 6436611"/>
              <a:gd name="connsiteY1589" fmla="*/ 148520 h 4419155"/>
              <a:gd name="connsiteX1590" fmla="*/ 5997824 w 6436611"/>
              <a:gd name="connsiteY1590" fmla="*/ 144008 h 4419155"/>
              <a:gd name="connsiteX1591" fmla="*/ 5991645 w 6436611"/>
              <a:gd name="connsiteY1591" fmla="*/ 150778 h 4419155"/>
              <a:gd name="connsiteX1592" fmla="*/ 5989584 w 6436611"/>
              <a:gd name="connsiteY1592" fmla="*/ 148520 h 4419155"/>
              <a:gd name="connsiteX1593" fmla="*/ 5968983 w 6436611"/>
              <a:gd name="connsiteY1593" fmla="*/ 107914 h 4419155"/>
              <a:gd name="connsiteX1594" fmla="*/ 5983406 w 6436611"/>
              <a:gd name="connsiteY1594" fmla="*/ 98890 h 4419155"/>
              <a:gd name="connsiteX1595" fmla="*/ 5983406 w 6436611"/>
              <a:gd name="connsiteY1595" fmla="*/ 101147 h 4419155"/>
              <a:gd name="connsiteX1596" fmla="*/ 5985465 w 6436611"/>
              <a:gd name="connsiteY1596" fmla="*/ 119192 h 4419155"/>
              <a:gd name="connsiteX1597" fmla="*/ 5991645 w 6436611"/>
              <a:gd name="connsiteY1597" fmla="*/ 112426 h 4419155"/>
              <a:gd name="connsiteX1598" fmla="*/ 6012244 w 6436611"/>
              <a:gd name="connsiteY1598" fmla="*/ 110172 h 4419155"/>
              <a:gd name="connsiteX1599" fmla="*/ 5997824 w 6436611"/>
              <a:gd name="connsiteY1599" fmla="*/ 105659 h 4419155"/>
              <a:gd name="connsiteX1600" fmla="*/ 6001945 w 6436611"/>
              <a:gd name="connsiteY1600" fmla="*/ 101147 h 4419155"/>
              <a:gd name="connsiteX1601" fmla="*/ 6006065 w 6436611"/>
              <a:gd name="connsiteY1601" fmla="*/ 92123 h 4419155"/>
              <a:gd name="connsiteX1602" fmla="*/ 6008126 w 6436611"/>
              <a:gd name="connsiteY1602" fmla="*/ 83100 h 4419155"/>
              <a:gd name="connsiteX1603" fmla="*/ 6010185 w 6436611"/>
              <a:gd name="connsiteY1603" fmla="*/ 80843 h 4419155"/>
              <a:gd name="connsiteX1604" fmla="*/ 6018425 w 6436611"/>
              <a:gd name="connsiteY1604" fmla="*/ 80843 h 4419155"/>
              <a:gd name="connsiteX1605" fmla="*/ 6028726 w 6436611"/>
              <a:gd name="connsiteY1605" fmla="*/ 78588 h 4419155"/>
              <a:gd name="connsiteX1606" fmla="*/ 6065804 w 6436611"/>
              <a:gd name="connsiteY1606" fmla="*/ 51517 h 4419155"/>
              <a:gd name="connsiteX1607" fmla="*/ 6086406 w 6436611"/>
              <a:gd name="connsiteY1607" fmla="*/ 35724 h 4419155"/>
              <a:gd name="connsiteX1608" fmla="*/ 6132232 w 6436611"/>
              <a:gd name="connsiteY1608" fmla="*/ 8452 h 4419155"/>
              <a:gd name="connsiteX1609" fmla="*/ 6141053 w 6436611"/>
              <a:gd name="connsiteY1609" fmla="*/ 0 h 4419155"/>
              <a:gd name="connsiteX1610" fmla="*/ 0 w 6436611"/>
              <a:gd name="connsiteY1610" fmla="*/ 0 h 4419155"/>
              <a:gd name="connsiteX1611" fmla="*/ 0 w 6436611"/>
              <a:gd name="connsiteY1611" fmla="*/ 199016 h 4419155"/>
              <a:gd name="connsiteX1612" fmla="*/ 13470 w 6436611"/>
              <a:gd name="connsiteY1612" fmla="*/ 189127 h 4419155"/>
              <a:gd name="connsiteX1613" fmla="*/ 0 w 6436611"/>
              <a:gd name="connsiteY1613" fmla="*/ 206500 h 4419155"/>
              <a:gd name="connsiteX1614" fmla="*/ 0 w 6436611"/>
              <a:gd name="connsiteY1614" fmla="*/ 3498582 h 4419155"/>
              <a:gd name="connsiteX1615" fmla="*/ 2653 w 6436611"/>
              <a:gd name="connsiteY1615" fmla="*/ 3499657 h 4419155"/>
              <a:gd name="connsiteX1616" fmla="*/ 13470 w 6436611"/>
              <a:gd name="connsiteY1616" fmla="*/ 3512066 h 4419155"/>
              <a:gd name="connsiteX1617" fmla="*/ 27889 w 6436611"/>
              <a:gd name="connsiteY1617" fmla="*/ 3525598 h 4419155"/>
              <a:gd name="connsiteX1618" fmla="*/ 44369 w 6436611"/>
              <a:gd name="connsiteY1618" fmla="*/ 3541392 h 4419155"/>
              <a:gd name="connsiteX1619" fmla="*/ 69089 w 6436611"/>
              <a:gd name="connsiteY1619" fmla="*/ 3545904 h 4419155"/>
              <a:gd name="connsiteX1620" fmla="*/ 91748 w 6436611"/>
              <a:gd name="connsiteY1620" fmla="*/ 3541392 h 4419155"/>
              <a:gd name="connsiteX1621" fmla="*/ 116469 w 6436611"/>
              <a:gd name="connsiteY1621" fmla="*/ 3534625 h 4419155"/>
              <a:gd name="connsiteX1622" fmla="*/ 141189 w 6436611"/>
              <a:gd name="connsiteY1622" fmla="*/ 3530111 h 4419155"/>
              <a:gd name="connsiteX1623" fmla="*/ 165910 w 6436611"/>
              <a:gd name="connsiteY1623" fmla="*/ 3518832 h 4419155"/>
              <a:gd name="connsiteX1624" fmla="*/ 213290 w 6436611"/>
              <a:gd name="connsiteY1624" fmla="*/ 3491762 h 4419155"/>
              <a:gd name="connsiteX1625" fmla="*/ 252430 w 6436611"/>
              <a:gd name="connsiteY1625" fmla="*/ 3462436 h 4419155"/>
              <a:gd name="connsiteX1626" fmla="*/ 295692 w 6436611"/>
              <a:gd name="connsiteY1626" fmla="*/ 3484994 h 4419155"/>
              <a:gd name="connsiteX1627" fmla="*/ 359553 w 6436611"/>
              <a:gd name="connsiteY1627" fmla="*/ 3448900 h 4419155"/>
              <a:gd name="connsiteX1628" fmla="*/ 369851 w 6436611"/>
              <a:gd name="connsiteY1628" fmla="*/ 3448900 h 4419155"/>
              <a:gd name="connsiteX1629" fmla="*/ 378092 w 6436611"/>
              <a:gd name="connsiteY1629" fmla="*/ 3442131 h 4419155"/>
              <a:gd name="connsiteX1630" fmla="*/ 392513 w 6436611"/>
              <a:gd name="connsiteY1630" fmla="*/ 3433107 h 4419155"/>
              <a:gd name="connsiteX1631" fmla="*/ 402812 w 6436611"/>
              <a:gd name="connsiteY1631" fmla="*/ 3430852 h 4419155"/>
              <a:gd name="connsiteX1632" fmla="*/ 481094 w 6436611"/>
              <a:gd name="connsiteY1632" fmla="*/ 3387992 h 4419155"/>
              <a:gd name="connsiteX1633" fmla="*/ 489334 w 6436611"/>
              <a:gd name="connsiteY1633" fmla="*/ 3381223 h 4419155"/>
              <a:gd name="connsiteX1634" fmla="*/ 522295 w 6436611"/>
              <a:gd name="connsiteY1634" fmla="*/ 3356408 h 4419155"/>
              <a:gd name="connsiteX1635" fmla="*/ 536713 w 6436611"/>
              <a:gd name="connsiteY1635" fmla="*/ 3349640 h 4419155"/>
              <a:gd name="connsiteX1636" fmla="*/ 567613 w 6436611"/>
              <a:gd name="connsiteY1636" fmla="*/ 3331592 h 4419155"/>
              <a:gd name="connsiteX1637" fmla="*/ 579974 w 6436611"/>
              <a:gd name="connsiteY1637" fmla="*/ 3315802 h 4419155"/>
              <a:gd name="connsiteX1638" fmla="*/ 594395 w 6436611"/>
              <a:gd name="connsiteY1638" fmla="*/ 3313545 h 4419155"/>
              <a:gd name="connsiteX1639" fmla="*/ 612934 w 6436611"/>
              <a:gd name="connsiteY1639" fmla="*/ 3302266 h 4419155"/>
              <a:gd name="connsiteX1640" fmla="*/ 621174 w 6436611"/>
              <a:gd name="connsiteY1640" fmla="*/ 3309036 h 4419155"/>
              <a:gd name="connsiteX1641" fmla="*/ 631474 w 6436611"/>
              <a:gd name="connsiteY1641" fmla="*/ 3318056 h 4419155"/>
              <a:gd name="connsiteX1642" fmla="*/ 645895 w 6436611"/>
              <a:gd name="connsiteY1642" fmla="*/ 3320314 h 4419155"/>
              <a:gd name="connsiteX1643" fmla="*/ 658255 w 6436611"/>
              <a:gd name="connsiteY1643" fmla="*/ 3318056 h 4419155"/>
              <a:gd name="connsiteX1644" fmla="*/ 672674 w 6436611"/>
              <a:gd name="connsiteY1644" fmla="*/ 3313545 h 4419155"/>
              <a:gd name="connsiteX1645" fmla="*/ 687096 w 6436611"/>
              <a:gd name="connsiteY1645" fmla="*/ 3311290 h 4419155"/>
              <a:gd name="connsiteX1646" fmla="*/ 701515 w 6436611"/>
              <a:gd name="connsiteY1646" fmla="*/ 3304520 h 4419155"/>
              <a:gd name="connsiteX1647" fmla="*/ 724174 w 6436611"/>
              <a:gd name="connsiteY1647" fmla="*/ 3290988 h 4419155"/>
              <a:gd name="connsiteX1648" fmla="*/ 736534 w 6436611"/>
              <a:gd name="connsiteY1648" fmla="*/ 3300009 h 4419155"/>
              <a:gd name="connsiteX1649" fmla="*/ 753015 w 6436611"/>
              <a:gd name="connsiteY1649" fmla="*/ 3318056 h 4419155"/>
              <a:gd name="connsiteX1650" fmla="*/ 713875 w 6436611"/>
              <a:gd name="connsiteY1650" fmla="*/ 3381223 h 4419155"/>
              <a:gd name="connsiteX1651" fmla="*/ 732415 w 6436611"/>
              <a:gd name="connsiteY1651" fmla="*/ 3394758 h 4419155"/>
              <a:gd name="connsiteX1652" fmla="*/ 738595 w 6436611"/>
              <a:gd name="connsiteY1652" fmla="*/ 3403782 h 4419155"/>
              <a:gd name="connsiteX1653" fmla="*/ 755076 w 6436611"/>
              <a:gd name="connsiteY1653" fmla="*/ 3419572 h 4419155"/>
              <a:gd name="connsiteX1654" fmla="*/ 771556 w 6436611"/>
              <a:gd name="connsiteY1654" fmla="*/ 3424084 h 4419155"/>
              <a:gd name="connsiteX1655" fmla="*/ 781856 w 6436611"/>
              <a:gd name="connsiteY1655" fmla="*/ 3424084 h 4419155"/>
              <a:gd name="connsiteX1656" fmla="*/ 794216 w 6436611"/>
              <a:gd name="connsiteY1656" fmla="*/ 3428596 h 4419155"/>
              <a:gd name="connsiteX1657" fmla="*/ 808638 w 6436611"/>
              <a:gd name="connsiteY1657" fmla="*/ 3439876 h 4419155"/>
              <a:gd name="connsiteX1658" fmla="*/ 814816 w 6436611"/>
              <a:gd name="connsiteY1658" fmla="*/ 3439876 h 4419155"/>
              <a:gd name="connsiteX1659" fmla="*/ 820995 w 6436611"/>
              <a:gd name="connsiteY1659" fmla="*/ 3437620 h 4419155"/>
              <a:gd name="connsiteX1660" fmla="*/ 831297 w 6436611"/>
              <a:gd name="connsiteY1660" fmla="*/ 3439876 h 4419155"/>
              <a:gd name="connsiteX1661" fmla="*/ 843657 w 6436611"/>
              <a:gd name="connsiteY1661" fmla="*/ 3442131 h 4419155"/>
              <a:gd name="connsiteX1662" fmla="*/ 849836 w 6436611"/>
              <a:gd name="connsiteY1662" fmla="*/ 3439876 h 4419155"/>
              <a:gd name="connsiteX1663" fmla="*/ 880738 w 6436611"/>
              <a:gd name="connsiteY1663" fmla="*/ 3453412 h 4419155"/>
              <a:gd name="connsiteX1664" fmla="*/ 901338 w 6436611"/>
              <a:gd name="connsiteY1664" fmla="*/ 3455667 h 4419155"/>
              <a:gd name="connsiteX1665" fmla="*/ 919877 w 6436611"/>
              <a:gd name="connsiteY1665" fmla="*/ 3455667 h 4419155"/>
              <a:gd name="connsiteX1666" fmla="*/ 930177 w 6436611"/>
              <a:gd name="connsiteY1666" fmla="*/ 3466947 h 4419155"/>
              <a:gd name="connsiteX1667" fmla="*/ 936357 w 6436611"/>
              <a:gd name="connsiteY1667" fmla="*/ 3482738 h 4419155"/>
              <a:gd name="connsiteX1668" fmla="*/ 934297 w 6436611"/>
              <a:gd name="connsiteY1668" fmla="*/ 3494019 h 4419155"/>
              <a:gd name="connsiteX1669" fmla="*/ 932238 w 6436611"/>
              <a:gd name="connsiteY1669" fmla="*/ 3507554 h 4419155"/>
              <a:gd name="connsiteX1670" fmla="*/ 938416 w 6436611"/>
              <a:gd name="connsiteY1670" fmla="*/ 3518832 h 4419155"/>
              <a:gd name="connsiteX1671" fmla="*/ 946657 w 6436611"/>
              <a:gd name="connsiteY1671" fmla="*/ 3525598 h 4419155"/>
              <a:gd name="connsiteX1672" fmla="*/ 969318 w 6436611"/>
              <a:gd name="connsiteY1672" fmla="*/ 3516578 h 4419155"/>
              <a:gd name="connsiteX1673" fmla="*/ 975497 w 6436611"/>
              <a:gd name="connsiteY1673" fmla="*/ 3507554 h 4419155"/>
              <a:gd name="connsiteX1674" fmla="*/ 1000218 w 6436611"/>
              <a:gd name="connsiteY1674" fmla="*/ 3482738 h 4419155"/>
              <a:gd name="connsiteX1675" fmla="*/ 1000218 w 6436611"/>
              <a:gd name="connsiteY1675" fmla="*/ 3475969 h 4419155"/>
              <a:gd name="connsiteX1676" fmla="*/ 996098 w 6436611"/>
              <a:gd name="connsiteY1676" fmla="*/ 3469202 h 4419155"/>
              <a:gd name="connsiteX1677" fmla="*/ 1004338 w 6436611"/>
              <a:gd name="connsiteY1677" fmla="*/ 3455667 h 4419155"/>
              <a:gd name="connsiteX1678" fmla="*/ 1014637 w 6436611"/>
              <a:gd name="connsiteY1678" fmla="*/ 3448900 h 4419155"/>
              <a:gd name="connsiteX1679" fmla="*/ 1016698 w 6436611"/>
              <a:gd name="connsiteY1679" fmla="*/ 3446643 h 4419155"/>
              <a:gd name="connsiteX1680" fmla="*/ 1055838 w 6436611"/>
              <a:gd name="connsiteY1680" fmla="*/ 3421829 h 4419155"/>
              <a:gd name="connsiteX1681" fmla="*/ 1062019 w 6436611"/>
              <a:gd name="connsiteY1681" fmla="*/ 3421829 h 4419155"/>
              <a:gd name="connsiteX1682" fmla="*/ 1070259 w 6436611"/>
              <a:gd name="connsiteY1682" fmla="*/ 3424084 h 4419155"/>
              <a:gd name="connsiteX1683" fmla="*/ 1090860 w 6436611"/>
              <a:gd name="connsiteY1683" fmla="*/ 3439876 h 4419155"/>
              <a:gd name="connsiteX1684" fmla="*/ 1097039 w 6436611"/>
              <a:gd name="connsiteY1684" fmla="*/ 3444388 h 4419155"/>
              <a:gd name="connsiteX1685" fmla="*/ 1117639 w 6436611"/>
              <a:gd name="connsiteY1685" fmla="*/ 3453412 h 4419155"/>
              <a:gd name="connsiteX1686" fmla="*/ 1134120 w 6436611"/>
              <a:gd name="connsiteY1686" fmla="*/ 3462436 h 4419155"/>
              <a:gd name="connsiteX1687" fmla="*/ 1134120 w 6436611"/>
              <a:gd name="connsiteY1687" fmla="*/ 3480483 h 4419155"/>
              <a:gd name="connsiteX1688" fmla="*/ 1158841 w 6436611"/>
              <a:gd name="connsiteY1688" fmla="*/ 3478226 h 4419155"/>
              <a:gd name="connsiteX1689" fmla="*/ 1162960 w 6436611"/>
              <a:gd name="connsiteY1689" fmla="*/ 3498528 h 4419155"/>
              <a:gd name="connsiteX1690" fmla="*/ 1177380 w 6436611"/>
              <a:gd name="connsiteY1690" fmla="*/ 3514321 h 4419155"/>
              <a:gd name="connsiteX1691" fmla="*/ 1185619 w 6436611"/>
              <a:gd name="connsiteY1691" fmla="*/ 3516578 h 4419155"/>
              <a:gd name="connsiteX1692" fmla="*/ 1200039 w 6436611"/>
              <a:gd name="connsiteY1692" fmla="*/ 3532368 h 4419155"/>
              <a:gd name="connsiteX1693" fmla="*/ 1206220 w 6436611"/>
              <a:gd name="connsiteY1693" fmla="*/ 3539136 h 4419155"/>
              <a:gd name="connsiteX1694" fmla="*/ 1220639 w 6436611"/>
              <a:gd name="connsiteY1694" fmla="*/ 3543646 h 4419155"/>
              <a:gd name="connsiteX1695" fmla="*/ 1160898 w 6436611"/>
              <a:gd name="connsiteY1695" fmla="*/ 3577486 h 4419155"/>
              <a:gd name="connsiteX1696" fmla="*/ 1179441 w 6436611"/>
              <a:gd name="connsiteY1696" fmla="*/ 3591022 h 4419155"/>
              <a:gd name="connsiteX1697" fmla="*/ 1187680 w 6436611"/>
              <a:gd name="connsiteY1697" fmla="*/ 3591022 h 4419155"/>
              <a:gd name="connsiteX1698" fmla="*/ 1185619 w 6436611"/>
              <a:gd name="connsiteY1698" fmla="*/ 3604556 h 4419155"/>
              <a:gd name="connsiteX1699" fmla="*/ 1187680 w 6436611"/>
              <a:gd name="connsiteY1699" fmla="*/ 3609070 h 4419155"/>
              <a:gd name="connsiteX1700" fmla="*/ 1195918 w 6436611"/>
              <a:gd name="connsiteY1700" fmla="*/ 3597788 h 4419155"/>
              <a:gd name="connsiteX1701" fmla="*/ 1197980 w 6436611"/>
              <a:gd name="connsiteY1701" fmla="*/ 3597788 h 4419155"/>
              <a:gd name="connsiteX1702" fmla="*/ 1193860 w 6436611"/>
              <a:gd name="connsiteY1702" fmla="*/ 3636141 h 4419155"/>
              <a:gd name="connsiteX1703" fmla="*/ 1204161 w 6436611"/>
              <a:gd name="connsiteY1703" fmla="*/ 3631626 h 4419155"/>
              <a:gd name="connsiteX1704" fmla="*/ 1212398 w 6436611"/>
              <a:gd name="connsiteY1704" fmla="*/ 3633884 h 4419155"/>
              <a:gd name="connsiteX1705" fmla="*/ 1208282 w 6436611"/>
              <a:gd name="connsiteY1705" fmla="*/ 3638396 h 4419155"/>
              <a:gd name="connsiteX1706" fmla="*/ 1202100 w 6436611"/>
              <a:gd name="connsiteY1706" fmla="*/ 3638396 h 4419155"/>
              <a:gd name="connsiteX1707" fmla="*/ 1206220 w 6436611"/>
              <a:gd name="connsiteY1707" fmla="*/ 3651932 h 4419155"/>
              <a:gd name="connsiteX1708" fmla="*/ 1191798 w 6436611"/>
              <a:gd name="connsiteY1708" fmla="*/ 3665466 h 4419155"/>
              <a:gd name="connsiteX1709" fmla="*/ 1185619 w 6436611"/>
              <a:gd name="connsiteY1709" fmla="*/ 3663209 h 4419155"/>
              <a:gd name="connsiteX1710" fmla="*/ 1193860 w 6436611"/>
              <a:gd name="connsiteY1710" fmla="*/ 3647418 h 4419155"/>
              <a:gd name="connsiteX1711" fmla="*/ 1177380 w 6436611"/>
              <a:gd name="connsiteY1711" fmla="*/ 3649674 h 4419155"/>
              <a:gd name="connsiteX1712" fmla="*/ 1171198 w 6436611"/>
              <a:gd name="connsiteY1712" fmla="*/ 3642907 h 4419155"/>
              <a:gd name="connsiteX1713" fmla="*/ 1167080 w 6436611"/>
              <a:gd name="connsiteY1713" fmla="*/ 3649674 h 4419155"/>
              <a:gd name="connsiteX1714" fmla="*/ 1165019 w 6436611"/>
              <a:gd name="connsiteY1714" fmla="*/ 3667720 h 4419155"/>
              <a:gd name="connsiteX1715" fmla="*/ 1171198 w 6436611"/>
              <a:gd name="connsiteY1715" fmla="*/ 3676745 h 4419155"/>
              <a:gd name="connsiteX1716" fmla="*/ 1154720 w 6436611"/>
              <a:gd name="connsiteY1716" fmla="*/ 3692538 h 4419155"/>
              <a:gd name="connsiteX1717" fmla="*/ 1146480 w 6436611"/>
              <a:gd name="connsiteY1717" fmla="*/ 3699304 h 4419155"/>
              <a:gd name="connsiteX1718" fmla="*/ 1125880 w 6436611"/>
              <a:gd name="connsiteY1718" fmla="*/ 3717352 h 4419155"/>
              <a:gd name="connsiteX1719" fmla="*/ 1107338 w 6436611"/>
              <a:gd name="connsiteY1719" fmla="*/ 3730887 h 4419155"/>
              <a:gd name="connsiteX1720" fmla="*/ 1117639 w 6436611"/>
              <a:gd name="connsiteY1720" fmla="*/ 3730887 h 4419155"/>
              <a:gd name="connsiteX1721" fmla="*/ 1144419 w 6436611"/>
              <a:gd name="connsiteY1721" fmla="*/ 3710585 h 4419155"/>
              <a:gd name="connsiteX1722" fmla="*/ 1162960 w 6436611"/>
              <a:gd name="connsiteY1722" fmla="*/ 3694792 h 4419155"/>
              <a:gd name="connsiteX1723" fmla="*/ 1173259 w 6436611"/>
              <a:gd name="connsiteY1723" fmla="*/ 3683514 h 4419155"/>
              <a:gd name="connsiteX1724" fmla="*/ 1173259 w 6436611"/>
              <a:gd name="connsiteY1724" fmla="*/ 3692538 h 4419155"/>
              <a:gd name="connsiteX1725" fmla="*/ 1177380 w 6436611"/>
              <a:gd name="connsiteY1725" fmla="*/ 3692538 h 4419155"/>
              <a:gd name="connsiteX1726" fmla="*/ 1154720 w 6436611"/>
              <a:gd name="connsiteY1726" fmla="*/ 3715096 h 4419155"/>
              <a:gd name="connsiteX1727" fmla="*/ 1179441 w 6436611"/>
              <a:gd name="connsiteY1727" fmla="*/ 3697050 h 4419155"/>
              <a:gd name="connsiteX1728" fmla="*/ 1187680 w 6436611"/>
              <a:gd name="connsiteY1728" fmla="*/ 3690281 h 4419155"/>
              <a:gd name="connsiteX1729" fmla="*/ 1193860 w 6436611"/>
              <a:gd name="connsiteY1729" fmla="*/ 3692538 h 4419155"/>
              <a:gd name="connsiteX1730" fmla="*/ 1160898 w 6436611"/>
              <a:gd name="connsiteY1730" fmla="*/ 3724118 h 4419155"/>
              <a:gd name="connsiteX1731" fmla="*/ 1171198 w 6436611"/>
              <a:gd name="connsiteY1731" fmla="*/ 3724118 h 4419155"/>
              <a:gd name="connsiteX1732" fmla="*/ 1136181 w 6436611"/>
              <a:gd name="connsiteY1732" fmla="*/ 3746678 h 4419155"/>
              <a:gd name="connsiteX1733" fmla="*/ 1123818 w 6436611"/>
              <a:gd name="connsiteY1733" fmla="*/ 3769236 h 4419155"/>
              <a:gd name="connsiteX1734" fmla="*/ 1113519 w 6436611"/>
              <a:gd name="connsiteY1734" fmla="*/ 3780518 h 4419155"/>
              <a:gd name="connsiteX1735" fmla="*/ 1140298 w 6436611"/>
              <a:gd name="connsiteY1735" fmla="*/ 3778260 h 4419155"/>
              <a:gd name="connsiteX1736" fmla="*/ 1121759 w 6436611"/>
              <a:gd name="connsiteY1736" fmla="*/ 3796307 h 4419155"/>
              <a:gd name="connsiteX1737" fmla="*/ 1107338 w 6436611"/>
              <a:gd name="connsiteY1737" fmla="*/ 3812100 h 4419155"/>
              <a:gd name="connsiteX1738" fmla="*/ 1130000 w 6436611"/>
              <a:gd name="connsiteY1738" fmla="*/ 3803074 h 4419155"/>
              <a:gd name="connsiteX1739" fmla="*/ 1152659 w 6436611"/>
              <a:gd name="connsiteY1739" fmla="*/ 3791796 h 4419155"/>
              <a:gd name="connsiteX1740" fmla="*/ 1160898 w 6436611"/>
              <a:gd name="connsiteY1740" fmla="*/ 3787284 h 4419155"/>
              <a:gd name="connsiteX1741" fmla="*/ 1183561 w 6436611"/>
              <a:gd name="connsiteY1741" fmla="*/ 3780518 h 4419155"/>
              <a:gd name="connsiteX1742" fmla="*/ 1156779 w 6436611"/>
              <a:gd name="connsiteY1742" fmla="*/ 3796307 h 4419155"/>
              <a:gd name="connsiteX1743" fmla="*/ 1154720 w 6436611"/>
              <a:gd name="connsiteY1743" fmla="*/ 3800820 h 4419155"/>
              <a:gd name="connsiteX1744" fmla="*/ 1154720 w 6436611"/>
              <a:gd name="connsiteY1744" fmla="*/ 3803074 h 4419155"/>
              <a:gd name="connsiteX1745" fmla="*/ 1197980 w 6436611"/>
              <a:gd name="connsiteY1745" fmla="*/ 3814355 h 4419155"/>
              <a:gd name="connsiteX1746" fmla="*/ 1214460 w 6436611"/>
              <a:gd name="connsiteY1746" fmla="*/ 3812100 h 4419155"/>
              <a:gd name="connsiteX1747" fmla="*/ 1272141 w 6436611"/>
              <a:gd name="connsiteY1747" fmla="*/ 3789541 h 4419155"/>
              <a:gd name="connsiteX1748" fmla="*/ 1280382 w 6436611"/>
              <a:gd name="connsiteY1748" fmla="*/ 3787284 h 4419155"/>
              <a:gd name="connsiteX1749" fmla="*/ 1317460 w 6436611"/>
              <a:gd name="connsiteY1749" fmla="*/ 3769236 h 4419155"/>
              <a:gd name="connsiteX1750" fmla="*/ 1350421 w 6436611"/>
              <a:gd name="connsiteY1750" fmla="*/ 3753446 h 4419155"/>
              <a:gd name="connsiteX1751" fmla="*/ 1358660 w 6436611"/>
              <a:gd name="connsiteY1751" fmla="*/ 3748934 h 4419155"/>
              <a:gd name="connsiteX1752" fmla="*/ 1393683 w 6436611"/>
              <a:gd name="connsiteY1752" fmla="*/ 3733142 h 4419155"/>
              <a:gd name="connsiteX1753" fmla="*/ 1401921 w 6436611"/>
              <a:gd name="connsiteY1753" fmla="*/ 3730887 h 4419155"/>
              <a:gd name="connsiteX1754" fmla="*/ 1395742 w 6436611"/>
              <a:gd name="connsiteY1754" fmla="*/ 3744423 h 4419155"/>
              <a:gd name="connsiteX1755" fmla="*/ 1408102 w 6436611"/>
              <a:gd name="connsiteY1755" fmla="*/ 3737656 h 4419155"/>
              <a:gd name="connsiteX1756" fmla="*/ 1445183 w 6436611"/>
              <a:gd name="connsiteY1756" fmla="*/ 3706070 h 4419155"/>
              <a:gd name="connsiteX1757" fmla="*/ 1447242 w 6436611"/>
              <a:gd name="connsiteY1757" fmla="*/ 3703816 h 4419155"/>
              <a:gd name="connsiteX1758" fmla="*/ 1453423 w 6436611"/>
              <a:gd name="connsiteY1758" fmla="*/ 3699304 h 4419155"/>
              <a:gd name="connsiteX1759" fmla="*/ 1463722 w 6436611"/>
              <a:gd name="connsiteY1759" fmla="*/ 3692538 h 4419155"/>
              <a:gd name="connsiteX1760" fmla="*/ 1484322 w 6436611"/>
              <a:gd name="connsiteY1760" fmla="*/ 3683514 h 4419155"/>
              <a:gd name="connsiteX1761" fmla="*/ 1461663 w 6436611"/>
              <a:gd name="connsiteY1761" fmla="*/ 3703816 h 4419155"/>
              <a:gd name="connsiteX1762" fmla="*/ 1457543 w 6436611"/>
              <a:gd name="connsiteY1762" fmla="*/ 3708328 h 4419155"/>
              <a:gd name="connsiteX1763" fmla="*/ 1426641 w 6436611"/>
              <a:gd name="connsiteY1763" fmla="*/ 3733142 h 4419155"/>
              <a:gd name="connsiteX1764" fmla="*/ 1430762 w 6436611"/>
              <a:gd name="connsiteY1764" fmla="*/ 3751189 h 4419155"/>
              <a:gd name="connsiteX1765" fmla="*/ 1420462 w 6436611"/>
              <a:gd name="connsiteY1765" fmla="*/ 3737656 h 4419155"/>
              <a:gd name="connsiteX1766" fmla="*/ 1379262 w 6436611"/>
              <a:gd name="connsiteY1766" fmla="*/ 3773748 h 4419155"/>
              <a:gd name="connsiteX1767" fmla="*/ 1401921 w 6436611"/>
              <a:gd name="connsiteY1767" fmla="*/ 3773748 h 4419155"/>
              <a:gd name="connsiteX1768" fmla="*/ 1412222 w 6436611"/>
              <a:gd name="connsiteY1768" fmla="*/ 3755700 h 4419155"/>
              <a:gd name="connsiteX1769" fmla="*/ 1412222 w 6436611"/>
              <a:gd name="connsiteY1769" fmla="*/ 3771494 h 4419155"/>
              <a:gd name="connsiteX1770" fmla="*/ 1449301 w 6436611"/>
              <a:gd name="connsiteY1770" fmla="*/ 3742168 h 4419155"/>
              <a:gd name="connsiteX1771" fmla="*/ 1445183 w 6436611"/>
              <a:gd name="connsiteY1771" fmla="*/ 3753446 h 4419155"/>
              <a:gd name="connsiteX1772" fmla="*/ 1389562 w 6436611"/>
              <a:gd name="connsiteY1772" fmla="*/ 3800820 h 4419155"/>
              <a:gd name="connsiteX1773" fmla="*/ 1379262 w 6436611"/>
              <a:gd name="connsiteY1773" fmla="*/ 3823379 h 4419155"/>
              <a:gd name="connsiteX1774" fmla="*/ 1449301 w 6436611"/>
              <a:gd name="connsiteY1774" fmla="*/ 3771494 h 4419155"/>
              <a:gd name="connsiteX1775" fmla="*/ 1451362 w 6436611"/>
              <a:gd name="connsiteY1775" fmla="*/ 3773748 h 4419155"/>
              <a:gd name="connsiteX1776" fmla="*/ 1385443 w 6436611"/>
              <a:gd name="connsiteY1776" fmla="*/ 3827891 h 4419155"/>
              <a:gd name="connsiteX1777" fmla="*/ 1406041 w 6436611"/>
              <a:gd name="connsiteY1777" fmla="*/ 3821124 h 4419155"/>
              <a:gd name="connsiteX1778" fmla="*/ 1387501 w 6436611"/>
              <a:gd name="connsiteY1778" fmla="*/ 3839172 h 4419155"/>
              <a:gd name="connsiteX1779" fmla="*/ 1379262 w 6436611"/>
              <a:gd name="connsiteY1779" fmla="*/ 3845938 h 4419155"/>
              <a:gd name="connsiteX1780" fmla="*/ 1360723 w 6436611"/>
              <a:gd name="connsiteY1780" fmla="*/ 3854962 h 4419155"/>
              <a:gd name="connsiteX1781" fmla="*/ 1352482 w 6436611"/>
              <a:gd name="connsiteY1781" fmla="*/ 3861728 h 4419155"/>
              <a:gd name="connsiteX1782" fmla="*/ 1317460 w 6436611"/>
              <a:gd name="connsiteY1782" fmla="*/ 3870752 h 4419155"/>
              <a:gd name="connsiteX1783" fmla="*/ 1294801 w 6436611"/>
              <a:gd name="connsiteY1783" fmla="*/ 3879776 h 4419155"/>
              <a:gd name="connsiteX1784" fmla="*/ 1239180 w 6436611"/>
              <a:gd name="connsiteY1784" fmla="*/ 3900080 h 4419155"/>
              <a:gd name="connsiteX1785" fmla="*/ 1212398 w 6436611"/>
              <a:gd name="connsiteY1785" fmla="*/ 3915871 h 4419155"/>
              <a:gd name="connsiteX1786" fmla="*/ 1261840 w 6436611"/>
              <a:gd name="connsiteY1786" fmla="*/ 3902335 h 4419155"/>
              <a:gd name="connsiteX1787" fmla="*/ 1282441 w 6436611"/>
              <a:gd name="connsiteY1787" fmla="*/ 3895569 h 4419155"/>
              <a:gd name="connsiteX1788" fmla="*/ 1331882 w 6436611"/>
              <a:gd name="connsiteY1788" fmla="*/ 3882033 h 4419155"/>
              <a:gd name="connsiteX1789" fmla="*/ 1362781 w 6436611"/>
              <a:gd name="connsiteY1789" fmla="*/ 3870752 h 4419155"/>
              <a:gd name="connsiteX1790" fmla="*/ 1348362 w 6436611"/>
              <a:gd name="connsiteY1790" fmla="*/ 3891057 h 4419155"/>
              <a:gd name="connsiteX1791" fmla="*/ 1342180 w 6436611"/>
              <a:gd name="connsiteY1791" fmla="*/ 3904589 h 4419155"/>
              <a:gd name="connsiteX1792" fmla="*/ 1383382 w 6436611"/>
              <a:gd name="connsiteY1792" fmla="*/ 3873010 h 4419155"/>
              <a:gd name="connsiteX1793" fmla="*/ 1387501 w 6436611"/>
              <a:gd name="connsiteY1793" fmla="*/ 3875264 h 4419155"/>
              <a:gd name="connsiteX1794" fmla="*/ 1377200 w 6436611"/>
              <a:gd name="connsiteY1794" fmla="*/ 3897823 h 4419155"/>
              <a:gd name="connsiteX1795" fmla="*/ 1364842 w 6436611"/>
              <a:gd name="connsiteY1795" fmla="*/ 3897823 h 4419155"/>
              <a:gd name="connsiteX1796" fmla="*/ 1352482 w 6436611"/>
              <a:gd name="connsiteY1796" fmla="*/ 3906846 h 4419155"/>
              <a:gd name="connsiteX1797" fmla="*/ 1350421 w 6436611"/>
              <a:gd name="connsiteY1797" fmla="*/ 3906846 h 4419155"/>
              <a:gd name="connsiteX1798" fmla="*/ 1350421 w 6436611"/>
              <a:gd name="connsiteY1798" fmla="*/ 3909104 h 4419155"/>
              <a:gd name="connsiteX1799" fmla="*/ 1336001 w 6436611"/>
              <a:gd name="connsiteY1799" fmla="*/ 3918128 h 4419155"/>
              <a:gd name="connsiteX1800" fmla="*/ 1350421 w 6436611"/>
              <a:gd name="connsiteY1800" fmla="*/ 3922640 h 4419155"/>
              <a:gd name="connsiteX1801" fmla="*/ 1354541 w 6436611"/>
              <a:gd name="connsiteY1801" fmla="*/ 3927148 h 4419155"/>
              <a:gd name="connsiteX1802" fmla="*/ 1360723 w 6436611"/>
              <a:gd name="connsiteY1802" fmla="*/ 3920382 h 4419155"/>
              <a:gd name="connsiteX1803" fmla="*/ 1379262 w 6436611"/>
              <a:gd name="connsiteY1803" fmla="*/ 3913616 h 4419155"/>
              <a:gd name="connsiteX1804" fmla="*/ 1368962 w 6436611"/>
              <a:gd name="connsiteY1804" fmla="*/ 3924894 h 4419155"/>
              <a:gd name="connsiteX1805" fmla="*/ 1362781 w 6436611"/>
              <a:gd name="connsiteY1805" fmla="*/ 3927148 h 4419155"/>
              <a:gd name="connsiteX1806" fmla="*/ 1340121 w 6436611"/>
              <a:gd name="connsiteY1806" fmla="*/ 3949708 h 4419155"/>
              <a:gd name="connsiteX1807" fmla="*/ 1346301 w 6436611"/>
              <a:gd name="connsiteY1807" fmla="*/ 3958732 h 4419155"/>
              <a:gd name="connsiteX1808" fmla="*/ 1352482 w 6436611"/>
              <a:gd name="connsiteY1808" fmla="*/ 3956477 h 4419155"/>
              <a:gd name="connsiteX1809" fmla="*/ 1356600 w 6436611"/>
              <a:gd name="connsiteY1809" fmla="*/ 3942942 h 4419155"/>
              <a:gd name="connsiteX1810" fmla="*/ 1389562 w 6436611"/>
              <a:gd name="connsiteY1810" fmla="*/ 3915871 h 4419155"/>
              <a:gd name="connsiteX1811" fmla="*/ 1397801 w 6436611"/>
              <a:gd name="connsiteY1811" fmla="*/ 3909104 h 4419155"/>
              <a:gd name="connsiteX1812" fmla="*/ 1439001 w 6436611"/>
              <a:gd name="connsiteY1812" fmla="*/ 3895569 h 4419155"/>
              <a:gd name="connsiteX1813" fmla="*/ 1418401 w 6436611"/>
              <a:gd name="connsiteY1813" fmla="*/ 3915871 h 4419155"/>
              <a:gd name="connsiteX1814" fmla="*/ 1397801 w 6436611"/>
              <a:gd name="connsiteY1814" fmla="*/ 3929406 h 4419155"/>
              <a:gd name="connsiteX1815" fmla="*/ 1385443 w 6436611"/>
              <a:gd name="connsiteY1815" fmla="*/ 3949708 h 4419155"/>
              <a:gd name="connsiteX1816" fmla="*/ 1383382 w 6436611"/>
              <a:gd name="connsiteY1816" fmla="*/ 3954220 h 4419155"/>
              <a:gd name="connsiteX1817" fmla="*/ 1371021 w 6436611"/>
              <a:gd name="connsiteY1817" fmla="*/ 3967758 h 4419155"/>
              <a:gd name="connsiteX1818" fmla="*/ 1375141 w 6436611"/>
              <a:gd name="connsiteY1818" fmla="*/ 3967758 h 4419155"/>
              <a:gd name="connsiteX1819" fmla="*/ 1414283 w 6436611"/>
              <a:gd name="connsiteY1819" fmla="*/ 3956477 h 4419155"/>
              <a:gd name="connsiteX1820" fmla="*/ 1430762 w 6436611"/>
              <a:gd name="connsiteY1820" fmla="*/ 3949708 h 4419155"/>
              <a:gd name="connsiteX1821" fmla="*/ 1461663 w 6436611"/>
              <a:gd name="connsiteY1821" fmla="*/ 3929406 h 4419155"/>
              <a:gd name="connsiteX1822" fmla="*/ 1471962 w 6436611"/>
              <a:gd name="connsiteY1822" fmla="*/ 3924894 h 4419155"/>
              <a:gd name="connsiteX1823" fmla="*/ 1484322 w 6436611"/>
              <a:gd name="connsiteY1823" fmla="*/ 3915871 h 4419155"/>
              <a:gd name="connsiteX1824" fmla="*/ 1486383 w 6436611"/>
              <a:gd name="connsiteY1824" fmla="*/ 3927148 h 4419155"/>
              <a:gd name="connsiteX1825" fmla="*/ 1494621 w 6436611"/>
              <a:gd name="connsiteY1825" fmla="*/ 3911359 h 4419155"/>
              <a:gd name="connsiteX1826" fmla="*/ 1504923 w 6436611"/>
              <a:gd name="connsiteY1826" fmla="*/ 3920382 h 4419155"/>
              <a:gd name="connsiteX1827" fmla="*/ 1471962 w 6436611"/>
              <a:gd name="connsiteY1827" fmla="*/ 3945199 h 4419155"/>
              <a:gd name="connsiteX1828" fmla="*/ 1478144 w 6436611"/>
              <a:gd name="connsiteY1828" fmla="*/ 3951965 h 4419155"/>
              <a:gd name="connsiteX1829" fmla="*/ 1459601 w 6436611"/>
              <a:gd name="connsiteY1829" fmla="*/ 3965501 h 4419155"/>
              <a:gd name="connsiteX1830" fmla="*/ 1447242 w 6436611"/>
              <a:gd name="connsiteY1830" fmla="*/ 3974524 h 4419155"/>
              <a:gd name="connsiteX1831" fmla="*/ 1432823 w 6436611"/>
              <a:gd name="connsiteY1831" fmla="*/ 4003851 h 4419155"/>
              <a:gd name="connsiteX1832" fmla="*/ 1418401 w 6436611"/>
              <a:gd name="connsiteY1832" fmla="*/ 4006108 h 4419155"/>
              <a:gd name="connsiteX1833" fmla="*/ 1401921 w 6436611"/>
              <a:gd name="connsiteY1833" fmla="*/ 4030921 h 4419155"/>
              <a:gd name="connsiteX1834" fmla="*/ 1395742 w 6436611"/>
              <a:gd name="connsiteY1834" fmla="*/ 4042202 h 4419155"/>
              <a:gd name="connsiteX1835" fmla="*/ 1387501 w 6436611"/>
              <a:gd name="connsiteY1835" fmla="*/ 4039945 h 4419155"/>
              <a:gd name="connsiteX1836" fmla="*/ 1366901 w 6436611"/>
              <a:gd name="connsiteY1836" fmla="*/ 4055736 h 4419155"/>
              <a:gd name="connsiteX1837" fmla="*/ 1360723 w 6436611"/>
              <a:gd name="connsiteY1837" fmla="*/ 4060247 h 4419155"/>
              <a:gd name="connsiteX1838" fmla="*/ 1327762 w 6436611"/>
              <a:gd name="connsiteY1838" fmla="*/ 4087318 h 4419155"/>
              <a:gd name="connsiteX1839" fmla="*/ 1321582 w 6436611"/>
              <a:gd name="connsiteY1839" fmla="*/ 4094088 h 4419155"/>
              <a:gd name="connsiteX1840" fmla="*/ 1325700 w 6436611"/>
              <a:gd name="connsiteY1840" fmla="*/ 4096342 h 4419155"/>
              <a:gd name="connsiteX1841" fmla="*/ 1387501 w 6436611"/>
              <a:gd name="connsiteY1841" fmla="*/ 4057993 h 4419155"/>
              <a:gd name="connsiteX1842" fmla="*/ 1373082 w 6436611"/>
              <a:gd name="connsiteY1842" fmla="*/ 4071529 h 4419155"/>
              <a:gd name="connsiteX1843" fmla="*/ 1358660 w 6436611"/>
              <a:gd name="connsiteY1843" fmla="*/ 4085063 h 4419155"/>
              <a:gd name="connsiteX1844" fmla="*/ 1358660 w 6436611"/>
              <a:gd name="connsiteY1844" fmla="*/ 4087318 h 4419155"/>
              <a:gd name="connsiteX1845" fmla="*/ 1391621 w 6436611"/>
              <a:gd name="connsiteY1845" fmla="*/ 4064761 h 4419155"/>
              <a:gd name="connsiteX1846" fmla="*/ 1362781 w 6436611"/>
              <a:gd name="connsiteY1846" fmla="*/ 4091833 h 4419155"/>
              <a:gd name="connsiteX1847" fmla="*/ 1331882 w 6436611"/>
              <a:gd name="connsiteY1847" fmla="*/ 4116647 h 4419155"/>
              <a:gd name="connsiteX1848" fmla="*/ 1333940 w 6436611"/>
              <a:gd name="connsiteY1848" fmla="*/ 4118901 h 4419155"/>
              <a:gd name="connsiteX1849" fmla="*/ 1383382 w 6436611"/>
              <a:gd name="connsiteY1849" fmla="*/ 4091833 h 4419155"/>
              <a:gd name="connsiteX1850" fmla="*/ 1377200 w 6436611"/>
              <a:gd name="connsiteY1850" fmla="*/ 4109878 h 4419155"/>
              <a:gd name="connsiteX1851" fmla="*/ 1395742 w 6436611"/>
              <a:gd name="connsiteY1851" fmla="*/ 4105365 h 4419155"/>
              <a:gd name="connsiteX1852" fmla="*/ 1401921 w 6436611"/>
              <a:gd name="connsiteY1852" fmla="*/ 4087318 h 4419155"/>
              <a:gd name="connsiteX1853" fmla="*/ 1436942 w 6436611"/>
              <a:gd name="connsiteY1853" fmla="*/ 4078295 h 4419155"/>
              <a:gd name="connsiteX1854" fmla="*/ 1443121 w 6436611"/>
              <a:gd name="connsiteY1854" fmla="*/ 4073783 h 4419155"/>
              <a:gd name="connsiteX1855" fmla="*/ 1463722 w 6436611"/>
              <a:gd name="connsiteY1855" fmla="*/ 4060247 h 4419155"/>
              <a:gd name="connsiteX1856" fmla="*/ 1465783 w 6436611"/>
              <a:gd name="connsiteY1856" fmla="*/ 4062504 h 4419155"/>
              <a:gd name="connsiteX1857" fmla="*/ 1465053 w 6436611"/>
              <a:gd name="connsiteY1857" fmla="*/ 4063572 h 4419155"/>
              <a:gd name="connsiteX1858" fmla="*/ 1474021 w 6436611"/>
              <a:gd name="connsiteY1858" fmla="*/ 4062504 h 4419155"/>
              <a:gd name="connsiteX1859" fmla="*/ 1466040 w 6436611"/>
              <a:gd name="connsiteY1859" fmla="*/ 4071527 h 4419155"/>
              <a:gd name="connsiteX1860" fmla="*/ 1458706 w 6436611"/>
              <a:gd name="connsiteY1860" fmla="*/ 4072838 h 4419155"/>
              <a:gd name="connsiteX1861" fmla="*/ 1453423 w 6436611"/>
              <a:gd name="connsiteY1861" fmla="*/ 4080552 h 4419155"/>
              <a:gd name="connsiteX1862" fmla="*/ 1432823 w 6436611"/>
              <a:gd name="connsiteY1862" fmla="*/ 4091833 h 4419155"/>
              <a:gd name="connsiteX1863" fmla="*/ 1424582 w 6436611"/>
              <a:gd name="connsiteY1863" fmla="*/ 4098599 h 4419155"/>
              <a:gd name="connsiteX1864" fmla="*/ 1403982 w 6436611"/>
              <a:gd name="connsiteY1864" fmla="*/ 4123413 h 4419155"/>
              <a:gd name="connsiteX1865" fmla="*/ 1397801 w 6436611"/>
              <a:gd name="connsiteY1865" fmla="*/ 4136949 h 4419155"/>
              <a:gd name="connsiteX1866" fmla="*/ 1391621 w 6436611"/>
              <a:gd name="connsiteY1866" fmla="*/ 4127925 h 4419155"/>
              <a:gd name="connsiteX1867" fmla="*/ 1377200 w 6436611"/>
              <a:gd name="connsiteY1867" fmla="*/ 4143718 h 4419155"/>
              <a:gd name="connsiteX1868" fmla="*/ 1358660 w 6436611"/>
              <a:gd name="connsiteY1868" fmla="*/ 4168532 h 4419155"/>
              <a:gd name="connsiteX1869" fmla="*/ 1340121 w 6436611"/>
              <a:gd name="connsiteY1869" fmla="*/ 4179809 h 4419155"/>
              <a:gd name="connsiteX1870" fmla="*/ 1333940 w 6436611"/>
              <a:gd name="connsiteY1870" fmla="*/ 4184322 h 4419155"/>
              <a:gd name="connsiteX1871" fmla="*/ 1375141 w 6436611"/>
              <a:gd name="connsiteY1871" fmla="*/ 4166277 h 4419155"/>
              <a:gd name="connsiteX1872" fmla="*/ 1377200 w 6436611"/>
              <a:gd name="connsiteY1872" fmla="*/ 4177555 h 4419155"/>
              <a:gd name="connsiteX1873" fmla="*/ 1387501 w 6436611"/>
              <a:gd name="connsiteY1873" fmla="*/ 4179809 h 4419155"/>
              <a:gd name="connsiteX1874" fmla="*/ 1379262 w 6436611"/>
              <a:gd name="connsiteY1874" fmla="*/ 4173043 h 4419155"/>
              <a:gd name="connsiteX1875" fmla="*/ 1412222 w 6436611"/>
              <a:gd name="connsiteY1875" fmla="*/ 4143718 h 4419155"/>
              <a:gd name="connsiteX1876" fmla="*/ 1430762 w 6436611"/>
              <a:gd name="connsiteY1876" fmla="*/ 4139205 h 4419155"/>
              <a:gd name="connsiteX1877" fmla="*/ 1445183 w 6436611"/>
              <a:gd name="connsiteY1877" fmla="*/ 4121158 h 4419155"/>
              <a:gd name="connsiteX1878" fmla="*/ 1463722 w 6436611"/>
              <a:gd name="connsiteY1878" fmla="*/ 4109878 h 4419155"/>
              <a:gd name="connsiteX1879" fmla="*/ 1430762 w 6436611"/>
              <a:gd name="connsiteY1879" fmla="*/ 4154996 h 4419155"/>
              <a:gd name="connsiteX1880" fmla="*/ 1418401 w 6436611"/>
              <a:gd name="connsiteY1880" fmla="*/ 4166277 h 4419155"/>
              <a:gd name="connsiteX1881" fmla="*/ 1397801 w 6436611"/>
              <a:gd name="connsiteY1881" fmla="*/ 4191091 h 4419155"/>
              <a:gd name="connsiteX1882" fmla="*/ 1391621 w 6436611"/>
              <a:gd name="connsiteY1882" fmla="*/ 4200115 h 4419155"/>
              <a:gd name="connsiteX1883" fmla="*/ 1418401 w 6436611"/>
              <a:gd name="connsiteY1883" fmla="*/ 4193349 h 4419155"/>
              <a:gd name="connsiteX1884" fmla="*/ 1422521 w 6436611"/>
              <a:gd name="connsiteY1884" fmla="*/ 4209138 h 4419155"/>
              <a:gd name="connsiteX1885" fmla="*/ 1412222 w 6436611"/>
              <a:gd name="connsiteY1885" fmla="*/ 4209138 h 4419155"/>
              <a:gd name="connsiteX1886" fmla="*/ 1406041 w 6436611"/>
              <a:gd name="connsiteY1886" fmla="*/ 4222674 h 4419155"/>
              <a:gd name="connsiteX1887" fmla="*/ 1389562 w 6436611"/>
              <a:gd name="connsiteY1887" fmla="*/ 4238464 h 4419155"/>
              <a:gd name="connsiteX1888" fmla="*/ 1375141 w 6436611"/>
              <a:gd name="connsiteY1888" fmla="*/ 4227185 h 4419155"/>
              <a:gd name="connsiteX1889" fmla="*/ 1358660 w 6436611"/>
              <a:gd name="connsiteY1889" fmla="*/ 4249746 h 4419155"/>
              <a:gd name="connsiteX1890" fmla="*/ 1368962 w 6436611"/>
              <a:gd name="connsiteY1890" fmla="*/ 4258766 h 4419155"/>
              <a:gd name="connsiteX1891" fmla="*/ 1379262 w 6436611"/>
              <a:gd name="connsiteY1891" fmla="*/ 4261023 h 4419155"/>
              <a:gd name="connsiteX1892" fmla="*/ 1406041 w 6436611"/>
              <a:gd name="connsiteY1892" fmla="*/ 4249746 h 4419155"/>
              <a:gd name="connsiteX1893" fmla="*/ 1416342 w 6436611"/>
              <a:gd name="connsiteY1893" fmla="*/ 4249746 h 4419155"/>
              <a:gd name="connsiteX1894" fmla="*/ 1385443 w 6436611"/>
              <a:gd name="connsiteY1894" fmla="*/ 4272305 h 4419155"/>
              <a:gd name="connsiteX1895" fmla="*/ 1377200 w 6436611"/>
              <a:gd name="connsiteY1895" fmla="*/ 4276814 h 4419155"/>
              <a:gd name="connsiteX1896" fmla="*/ 1336001 w 6436611"/>
              <a:gd name="connsiteY1896" fmla="*/ 4299373 h 4419155"/>
              <a:gd name="connsiteX1897" fmla="*/ 1323641 w 6436611"/>
              <a:gd name="connsiteY1897" fmla="*/ 4299373 h 4419155"/>
              <a:gd name="connsiteX1898" fmla="*/ 1321582 w 6436611"/>
              <a:gd name="connsiteY1898" fmla="*/ 4301630 h 4419155"/>
              <a:gd name="connsiteX1899" fmla="*/ 1323641 w 6436611"/>
              <a:gd name="connsiteY1899" fmla="*/ 4315166 h 4419155"/>
              <a:gd name="connsiteX1900" fmla="*/ 1403982 w 6436611"/>
              <a:gd name="connsiteY1900" fmla="*/ 4272305 h 4419155"/>
              <a:gd name="connsiteX1901" fmla="*/ 1397801 w 6436611"/>
              <a:gd name="connsiteY1901" fmla="*/ 4283582 h 4419155"/>
              <a:gd name="connsiteX1902" fmla="*/ 1418401 w 6436611"/>
              <a:gd name="connsiteY1902" fmla="*/ 4274559 h 4419155"/>
              <a:gd name="connsiteX1903" fmla="*/ 1441062 w 6436611"/>
              <a:gd name="connsiteY1903" fmla="*/ 4263280 h 4419155"/>
              <a:gd name="connsiteX1904" fmla="*/ 1463722 w 6436611"/>
              <a:gd name="connsiteY1904" fmla="*/ 4256512 h 4419155"/>
              <a:gd name="connsiteX1905" fmla="*/ 1471962 w 6436611"/>
              <a:gd name="connsiteY1905" fmla="*/ 4249746 h 4419155"/>
              <a:gd name="connsiteX1906" fmla="*/ 1467842 w 6436611"/>
              <a:gd name="connsiteY1906" fmla="*/ 4240721 h 4419155"/>
              <a:gd name="connsiteX1907" fmla="*/ 1463722 w 6436611"/>
              <a:gd name="connsiteY1907" fmla="*/ 4233953 h 4419155"/>
              <a:gd name="connsiteX1908" fmla="*/ 1482264 w 6436611"/>
              <a:gd name="connsiteY1908" fmla="*/ 4245233 h 4419155"/>
              <a:gd name="connsiteX1909" fmla="*/ 1535822 w 6436611"/>
              <a:gd name="connsiteY1909" fmla="*/ 4218162 h 4419155"/>
              <a:gd name="connsiteX1910" fmla="*/ 1537883 w 6436611"/>
              <a:gd name="connsiteY1910" fmla="*/ 4220417 h 4419155"/>
              <a:gd name="connsiteX1911" fmla="*/ 1531703 w 6436611"/>
              <a:gd name="connsiteY1911" fmla="*/ 4224929 h 4419155"/>
              <a:gd name="connsiteX1912" fmla="*/ 1502864 w 6436611"/>
              <a:gd name="connsiteY1912" fmla="*/ 4252000 h 4419155"/>
              <a:gd name="connsiteX1913" fmla="*/ 1515222 w 6436611"/>
              <a:gd name="connsiteY1913" fmla="*/ 4249746 h 4419155"/>
              <a:gd name="connsiteX1914" fmla="*/ 1556423 w 6436611"/>
              <a:gd name="connsiteY1914" fmla="*/ 4231695 h 4419155"/>
              <a:gd name="connsiteX1915" fmla="*/ 1570844 w 6436611"/>
              <a:gd name="connsiteY1915" fmla="*/ 4236210 h 4419155"/>
              <a:gd name="connsiteX1916" fmla="*/ 1563267 w 6436611"/>
              <a:gd name="connsiteY1916" fmla="*/ 4241450 h 4419155"/>
              <a:gd name="connsiteX1917" fmla="*/ 1564663 w 6436611"/>
              <a:gd name="connsiteY1917" fmla="*/ 4242976 h 4419155"/>
              <a:gd name="connsiteX1918" fmla="*/ 1558484 w 6436611"/>
              <a:gd name="connsiteY1918" fmla="*/ 4247487 h 4419155"/>
              <a:gd name="connsiteX1919" fmla="*/ 1556955 w 6436611"/>
              <a:gd name="connsiteY1919" fmla="*/ 4245815 h 4419155"/>
              <a:gd name="connsiteX1920" fmla="*/ 1531703 w 6436611"/>
              <a:gd name="connsiteY1920" fmla="*/ 4263280 h 4419155"/>
              <a:gd name="connsiteX1921" fmla="*/ 1533764 w 6436611"/>
              <a:gd name="connsiteY1921" fmla="*/ 4263280 h 4419155"/>
              <a:gd name="connsiteX1922" fmla="*/ 1595565 w 6436611"/>
              <a:gd name="connsiteY1922" fmla="*/ 4231695 h 4419155"/>
              <a:gd name="connsiteX1923" fmla="*/ 1642945 w 6436611"/>
              <a:gd name="connsiteY1923" fmla="*/ 4206881 h 4419155"/>
              <a:gd name="connsiteX1924" fmla="*/ 1647065 w 6436611"/>
              <a:gd name="connsiteY1924" fmla="*/ 4209138 h 4419155"/>
              <a:gd name="connsiteX1925" fmla="*/ 1636763 w 6436611"/>
              <a:gd name="connsiteY1925" fmla="*/ 4220417 h 4419155"/>
              <a:gd name="connsiteX1926" fmla="*/ 1682085 w 6436611"/>
              <a:gd name="connsiteY1926" fmla="*/ 4204627 h 4419155"/>
              <a:gd name="connsiteX1927" fmla="*/ 1671785 w 6436611"/>
              <a:gd name="connsiteY1927" fmla="*/ 4218162 h 4419155"/>
              <a:gd name="connsiteX1928" fmla="*/ 1692386 w 6436611"/>
              <a:gd name="connsiteY1928" fmla="*/ 4206881 h 4419155"/>
              <a:gd name="connsiteX1929" fmla="*/ 1708863 w 6436611"/>
              <a:gd name="connsiteY1929" fmla="*/ 4191091 h 4419155"/>
              <a:gd name="connsiteX1930" fmla="*/ 1710925 w 6436611"/>
              <a:gd name="connsiteY1930" fmla="*/ 4200115 h 4419155"/>
              <a:gd name="connsiteX1931" fmla="*/ 1729465 w 6436611"/>
              <a:gd name="connsiteY1931" fmla="*/ 4188834 h 4419155"/>
              <a:gd name="connsiteX1932" fmla="*/ 1750065 w 6436611"/>
              <a:gd name="connsiteY1932" fmla="*/ 4173043 h 4419155"/>
              <a:gd name="connsiteX1933" fmla="*/ 1752126 w 6436611"/>
              <a:gd name="connsiteY1933" fmla="*/ 4170789 h 4419155"/>
              <a:gd name="connsiteX1934" fmla="*/ 1785087 w 6436611"/>
              <a:gd name="connsiteY1934" fmla="*/ 4152739 h 4419155"/>
              <a:gd name="connsiteX1935" fmla="*/ 1776847 w 6436611"/>
              <a:gd name="connsiteY1935" fmla="*/ 4161762 h 4419155"/>
              <a:gd name="connsiteX1936" fmla="*/ 1830406 w 6436611"/>
              <a:gd name="connsiteY1936" fmla="*/ 4127925 h 4419155"/>
              <a:gd name="connsiteX1937" fmla="*/ 1824226 w 6436611"/>
              <a:gd name="connsiteY1937" fmla="*/ 4118901 h 4419155"/>
              <a:gd name="connsiteX1938" fmla="*/ 1846886 w 6436611"/>
              <a:gd name="connsiteY1938" fmla="*/ 4116647 h 4419155"/>
              <a:gd name="connsiteX1939" fmla="*/ 1869547 w 6436611"/>
              <a:gd name="connsiteY1939" fmla="*/ 4105365 h 4419155"/>
              <a:gd name="connsiteX1940" fmla="*/ 1883966 w 6436611"/>
              <a:gd name="connsiteY1940" fmla="*/ 4096342 h 4419155"/>
              <a:gd name="connsiteX1941" fmla="*/ 1898388 w 6436611"/>
              <a:gd name="connsiteY1941" fmla="*/ 4073783 h 4419155"/>
              <a:gd name="connsiteX1942" fmla="*/ 1904567 w 6436611"/>
              <a:gd name="connsiteY1942" fmla="*/ 4082806 h 4419155"/>
              <a:gd name="connsiteX1943" fmla="*/ 1913886 w 6436611"/>
              <a:gd name="connsiteY1943" fmla="*/ 4076685 h 4419155"/>
              <a:gd name="connsiteX1944" fmla="*/ 1910232 w 6436611"/>
              <a:gd name="connsiteY1944" fmla="*/ 4070683 h 4419155"/>
              <a:gd name="connsiteX1945" fmla="*/ 1914866 w 6436611"/>
              <a:gd name="connsiteY1945" fmla="*/ 4064761 h 4419155"/>
              <a:gd name="connsiteX1946" fmla="*/ 1932866 w 6436611"/>
              <a:gd name="connsiteY1946" fmla="*/ 4054147 h 4419155"/>
              <a:gd name="connsiteX1947" fmla="*/ 1934437 w 6436611"/>
              <a:gd name="connsiteY1947" fmla="*/ 4047842 h 4419155"/>
              <a:gd name="connsiteX1948" fmla="*/ 1943706 w 6436611"/>
              <a:gd name="connsiteY1948" fmla="*/ 4042202 h 4419155"/>
              <a:gd name="connsiteX1949" fmla="*/ 1960186 w 6436611"/>
              <a:gd name="connsiteY1949" fmla="*/ 4030921 h 4419155"/>
              <a:gd name="connsiteX1950" fmla="*/ 1966927 w 6436611"/>
              <a:gd name="connsiteY1950" fmla="*/ 4032357 h 4419155"/>
              <a:gd name="connsiteX1951" fmla="*/ 1972547 w 6436611"/>
              <a:gd name="connsiteY1951" fmla="*/ 4028664 h 4419155"/>
              <a:gd name="connsiteX1952" fmla="*/ 1974606 w 6436611"/>
              <a:gd name="connsiteY1952" fmla="*/ 4021898 h 4419155"/>
              <a:gd name="connsiteX1953" fmla="*/ 1982846 w 6436611"/>
              <a:gd name="connsiteY1953" fmla="*/ 4010619 h 4419155"/>
              <a:gd name="connsiteX1954" fmla="*/ 1986968 w 6436611"/>
              <a:gd name="connsiteY1954" fmla="*/ 4017386 h 4419155"/>
              <a:gd name="connsiteX1955" fmla="*/ 2003447 w 6436611"/>
              <a:gd name="connsiteY1955" fmla="*/ 4008362 h 4419155"/>
              <a:gd name="connsiteX1956" fmla="*/ 2005508 w 6436611"/>
              <a:gd name="connsiteY1956" fmla="*/ 4010619 h 4419155"/>
              <a:gd name="connsiteX1957" fmla="*/ 1997268 w 6436611"/>
              <a:gd name="connsiteY1957" fmla="*/ 4017386 h 4419155"/>
              <a:gd name="connsiteX1958" fmla="*/ 1991953 w 6436611"/>
              <a:gd name="connsiteY1958" fmla="*/ 4021688 h 4419155"/>
              <a:gd name="connsiteX1959" fmla="*/ 2004735 w 6436611"/>
              <a:gd name="connsiteY1959" fmla="*/ 4020770 h 4419155"/>
              <a:gd name="connsiteX1960" fmla="*/ 2015807 w 6436611"/>
              <a:gd name="connsiteY1960" fmla="*/ 4012874 h 4419155"/>
              <a:gd name="connsiteX1961" fmla="*/ 2174429 w 6436611"/>
              <a:gd name="connsiteY1961" fmla="*/ 4017386 h 4419155"/>
              <a:gd name="connsiteX1962" fmla="*/ 2209448 w 6436611"/>
              <a:gd name="connsiteY1962" fmla="*/ 3997084 h 4419155"/>
              <a:gd name="connsiteX1963" fmla="*/ 2215630 w 6436611"/>
              <a:gd name="connsiteY1963" fmla="*/ 3994826 h 4419155"/>
              <a:gd name="connsiteX1964" fmla="*/ 2225929 w 6436611"/>
              <a:gd name="connsiteY1964" fmla="*/ 3990317 h 4419155"/>
              <a:gd name="connsiteX1965" fmla="*/ 2273309 w 6436611"/>
              <a:gd name="connsiteY1965" fmla="*/ 3954220 h 4419155"/>
              <a:gd name="connsiteX1966" fmla="*/ 2283610 w 6436611"/>
              <a:gd name="connsiteY1966" fmla="*/ 3951965 h 4419155"/>
              <a:gd name="connsiteX1967" fmla="*/ 2283610 w 6436611"/>
              <a:gd name="connsiteY1967" fmla="*/ 3954220 h 4419155"/>
              <a:gd name="connsiteX1968" fmla="*/ 2263010 w 6436611"/>
              <a:gd name="connsiteY1968" fmla="*/ 3983549 h 4419155"/>
              <a:gd name="connsiteX1969" fmla="*/ 2283610 w 6436611"/>
              <a:gd name="connsiteY1969" fmla="*/ 3997084 h 4419155"/>
              <a:gd name="connsiteX1970" fmla="*/ 2275371 w 6436611"/>
              <a:gd name="connsiteY1970" fmla="*/ 4028664 h 4419155"/>
              <a:gd name="connsiteX1971" fmla="*/ 2273309 w 6436611"/>
              <a:gd name="connsiteY1971" fmla="*/ 4046714 h 4419155"/>
              <a:gd name="connsiteX1972" fmla="*/ 2265071 w 6436611"/>
              <a:gd name="connsiteY1972" fmla="*/ 4039945 h 4419155"/>
              <a:gd name="connsiteX1973" fmla="*/ 2234169 w 6436611"/>
              <a:gd name="connsiteY1973" fmla="*/ 4069274 h 4419155"/>
              <a:gd name="connsiteX1974" fmla="*/ 2236230 w 6436611"/>
              <a:gd name="connsiteY1974" fmla="*/ 4071529 h 4419155"/>
              <a:gd name="connsiteX1975" fmla="*/ 2250650 w 6436611"/>
              <a:gd name="connsiteY1975" fmla="*/ 4062504 h 4419155"/>
              <a:gd name="connsiteX1976" fmla="*/ 2252709 w 6436611"/>
              <a:gd name="connsiteY1976" fmla="*/ 4064761 h 4419155"/>
              <a:gd name="connsiteX1977" fmla="*/ 2242409 w 6436611"/>
              <a:gd name="connsiteY1977" fmla="*/ 4073783 h 4419155"/>
              <a:gd name="connsiteX1978" fmla="*/ 2263010 w 6436611"/>
              <a:gd name="connsiteY1978" fmla="*/ 4091833 h 4419155"/>
              <a:gd name="connsiteX1979" fmla="*/ 2256828 w 6436611"/>
              <a:gd name="connsiteY1979" fmla="*/ 4103111 h 4419155"/>
              <a:gd name="connsiteX1980" fmla="*/ 2271250 w 6436611"/>
              <a:gd name="connsiteY1980" fmla="*/ 4103111 h 4419155"/>
              <a:gd name="connsiteX1981" fmla="*/ 2244471 w 6436611"/>
              <a:gd name="connsiteY1981" fmla="*/ 4134694 h 4419155"/>
              <a:gd name="connsiteX1982" fmla="*/ 2256828 w 6436611"/>
              <a:gd name="connsiteY1982" fmla="*/ 4134694 h 4419155"/>
              <a:gd name="connsiteX1983" fmla="*/ 2242409 w 6436611"/>
              <a:gd name="connsiteY1983" fmla="*/ 4154996 h 4419155"/>
              <a:gd name="connsiteX1984" fmla="*/ 2244471 w 6436611"/>
              <a:gd name="connsiteY1984" fmla="*/ 4157251 h 4419155"/>
              <a:gd name="connsiteX1985" fmla="*/ 2279491 w 6436611"/>
              <a:gd name="connsiteY1985" fmla="*/ 4130180 h 4419155"/>
              <a:gd name="connsiteX1986" fmla="*/ 2277430 w 6436611"/>
              <a:gd name="connsiteY1986" fmla="*/ 4145973 h 4419155"/>
              <a:gd name="connsiteX1987" fmla="*/ 2287730 w 6436611"/>
              <a:gd name="connsiteY1987" fmla="*/ 4141460 h 4419155"/>
              <a:gd name="connsiteX1988" fmla="*/ 2289791 w 6436611"/>
              <a:gd name="connsiteY1988" fmla="*/ 4159507 h 4419155"/>
              <a:gd name="connsiteX1989" fmla="*/ 2250650 w 6436611"/>
              <a:gd name="connsiteY1989" fmla="*/ 4206881 h 4419155"/>
              <a:gd name="connsiteX1990" fmla="*/ 2277430 w 6436611"/>
              <a:gd name="connsiteY1990" fmla="*/ 4188834 h 4419155"/>
              <a:gd name="connsiteX1991" fmla="*/ 2306269 w 6436611"/>
              <a:gd name="connsiteY1991" fmla="*/ 4173043 h 4419155"/>
              <a:gd name="connsiteX1992" fmla="*/ 2283610 w 6436611"/>
              <a:gd name="connsiteY1992" fmla="*/ 4197857 h 4419155"/>
              <a:gd name="connsiteX1993" fmla="*/ 2263010 w 6436611"/>
              <a:gd name="connsiteY1993" fmla="*/ 4218162 h 4419155"/>
              <a:gd name="connsiteX1994" fmla="*/ 2312451 w 6436611"/>
              <a:gd name="connsiteY1994" fmla="*/ 4188834 h 4419155"/>
              <a:gd name="connsiteX1995" fmla="*/ 2304211 w 6436611"/>
              <a:gd name="connsiteY1995" fmla="*/ 4200115 h 4419155"/>
              <a:gd name="connsiteX1996" fmla="*/ 2339230 w 6436611"/>
              <a:gd name="connsiteY1996" fmla="*/ 4193349 h 4419155"/>
              <a:gd name="connsiteX1997" fmla="*/ 2349530 w 6436611"/>
              <a:gd name="connsiteY1997" fmla="*/ 4204627 h 4419155"/>
              <a:gd name="connsiteX1998" fmla="*/ 2357773 w 6436611"/>
              <a:gd name="connsiteY1998" fmla="*/ 4220417 h 4419155"/>
              <a:gd name="connsiteX1999" fmla="*/ 2351591 w 6436611"/>
              <a:gd name="connsiteY1999" fmla="*/ 4247487 h 4419155"/>
              <a:gd name="connsiteX2000" fmla="*/ 2306269 w 6436611"/>
              <a:gd name="connsiteY2000" fmla="*/ 4290350 h 4419155"/>
              <a:gd name="connsiteX2001" fmla="*/ 2322750 w 6436611"/>
              <a:gd name="connsiteY2001" fmla="*/ 4281325 h 4419155"/>
              <a:gd name="connsiteX2002" fmla="*/ 2324809 w 6436611"/>
              <a:gd name="connsiteY2002" fmla="*/ 4283582 h 4419155"/>
              <a:gd name="connsiteX2003" fmla="*/ 2314510 w 6436611"/>
              <a:gd name="connsiteY2003" fmla="*/ 4292607 h 4419155"/>
              <a:gd name="connsiteX2004" fmla="*/ 2322750 w 6436611"/>
              <a:gd name="connsiteY2004" fmla="*/ 4290350 h 4419155"/>
              <a:gd name="connsiteX2005" fmla="*/ 2351591 w 6436611"/>
              <a:gd name="connsiteY2005" fmla="*/ 4267793 h 4419155"/>
              <a:gd name="connsiteX2006" fmla="*/ 2382493 w 6436611"/>
              <a:gd name="connsiteY2006" fmla="*/ 4242976 h 4419155"/>
              <a:gd name="connsiteX2007" fmla="*/ 2380432 w 6436611"/>
              <a:gd name="connsiteY2007" fmla="*/ 4265535 h 4419155"/>
              <a:gd name="connsiteX2008" fmla="*/ 2361892 w 6436611"/>
              <a:gd name="connsiteY2008" fmla="*/ 4290350 h 4419155"/>
              <a:gd name="connsiteX2009" fmla="*/ 2370130 w 6436611"/>
              <a:gd name="connsiteY2009" fmla="*/ 4292607 h 4419155"/>
              <a:gd name="connsiteX2010" fmla="*/ 2368071 w 6436611"/>
              <a:gd name="connsiteY2010" fmla="*/ 4303884 h 4419155"/>
              <a:gd name="connsiteX2011" fmla="*/ 2388671 w 6436611"/>
              <a:gd name="connsiteY2011" fmla="*/ 4301630 h 4419155"/>
              <a:gd name="connsiteX2012" fmla="*/ 2380432 w 6436611"/>
              <a:gd name="connsiteY2012" fmla="*/ 4315166 h 4419155"/>
              <a:gd name="connsiteX2013" fmla="*/ 2384551 w 6436611"/>
              <a:gd name="connsiteY2013" fmla="*/ 4330956 h 4419155"/>
              <a:gd name="connsiteX2014" fmla="*/ 2405152 w 6436611"/>
              <a:gd name="connsiteY2014" fmla="*/ 4308397 h 4419155"/>
              <a:gd name="connsiteX2015" fmla="*/ 2415451 w 6436611"/>
              <a:gd name="connsiteY2015" fmla="*/ 4319677 h 4419155"/>
              <a:gd name="connsiteX2016" fmla="*/ 2394850 w 6436611"/>
              <a:gd name="connsiteY2016" fmla="*/ 4342237 h 4419155"/>
              <a:gd name="connsiteX2017" fmla="*/ 2407210 w 6436611"/>
              <a:gd name="connsiteY2017" fmla="*/ 4346749 h 4419155"/>
              <a:gd name="connsiteX2018" fmla="*/ 2396912 w 6436611"/>
              <a:gd name="connsiteY2018" fmla="*/ 4362539 h 4419155"/>
              <a:gd name="connsiteX2019" fmla="*/ 2415451 w 6436611"/>
              <a:gd name="connsiteY2019" fmla="*/ 4349003 h 4419155"/>
              <a:gd name="connsiteX2020" fmla="*/ 2401032 w 6436611"/>
              <a:gd name="connsiteY2020" fmla="*/ 4376074 h 4419155"/>
              <a:gd name="connsiteX2021" fmla="*/ 2423691 w 6436611"/>
              <a:gd name="connsiteY2021" fmla="*/ 4358026 h 4419155"/>
              <a:gd name="connsiteX2022" fmla="*/ 2448412 w 6436611"/>
              <a:gd name="connsiteY2022" fmla="*/ 4360281 h 4419155"/>
              <a:gd name="connsiteX2023" fmla="*/ 2433992 w 6436611"/>
              <a:gd name="connsiteY2023" fmla="*/ 4364796 h 4419155"/>
              <a:gd name="connsiteX2024" fmla="*/ 2462830 w 6436611"/>
              <a:gd name="connsiteY2024" fmla="*/ 4380587 h 4419155"/>
              <a:gd name="connsiteX2025" fmla="*/ 2440171 w 6436611"/>
              <a:gd name="connsiteY2025" fmla="*/ 4400889 h 4419155"/>
              <a:gd name="connsiteX2026" fmla="*/ 2485492 w 6436611"/>
              <a:gd name="connsiteY2026" fmla="*/ 4385098 h 4419155"/>
              <a:gd name="connsiteX2027" fmla="*/ 2487551 w 6436611"/>
              <a:gd name="connsiteY2027" fmla="*/ 4394121 h 4419155"/>
              <a:gd name="connsiteX2028" fmla="*/ 2504032 w 6436611"/>
              <a:gd name="connsiteY2028" fmla="*/ 4389610 h 4419155"/>
              <a:gd name="connsiteX2029" fmla="*/ 2508151 w 6436611"/>
              <a:gd name="connsiteY2029" fmla="*/ 4396379 h 4419155"/>
              <a:gd name="connsiteX2030" fmla="*/ 2551412 w 6436611"/>
              <a:gd name="connsiteY2030" fmla="*/ 4373819 h 4419155"/>
              <a:gd name="connsiteX2031" fmla="*/ 2520512 w 6436611"/>
              <a:gd name="connsiteY2031" fmla="*/ 4400889 h 4419155"/>
              <a:gd name="connsiteX2032" fmla="*/ 2493732 w 6436611"/>
              <a:gd name="connsiteY2032" fmla="*/ 4418936 h 4419155"/>
              <a:gd name="connsiteX2033" fmla="*/ 2541112 w 6436611"/>
              <a:gd name="connsiteY2033" fmla="*/ 4400889 h 4419155"/>
              <a:gd name="connsiteX2034" fmla="*/ 2588494 w 6436611"/>
              <a:gd name="connsiteY2034" fmla="*/ 4376074 h 4419155"/>
              <a:gd name="connsiteX2035" fmla="*/ 2610381 w 6436611"/>
              <a:gd name="connsiteY2035" fmla="*/ 4364232 h 4419155"/>
              <a:gd name="connsiteX2036" fmla="*/ 2620939 w 6436611"/>
              <a:gd name="connsiteY2036" fmla="*/ 4360419 h 4419155"/>
              <a:gd name="connsiteX2037" fmla="*/ 2621453 w 6436611"/>
              <a:gd name="connsiteY2037" fmla="*/ 4359154 h 4419155"/>
              <a:gd name="connsiteX2038" fmla="*/ 2623016 w 6436611"/>
              <a:gd name="connsiteY2038" fmla="*/ 4359669 h 4419155"/>
              <a:gd name="connsiteX2039" fmla="*/ 2633813 w 6436611"/>
              <a:gd name="connsiteY2039" fmla="*/ 4355770 h 4419155"/>
              <a:gd name="connsiteX2040" fmla="*/ 2626780 w 6436611"/>
              <a:gd name="connsiteY2040" fmla="*/ 4360905 h 4419155"/>
              <a:gd name="connsiteX2041" fmla="*/ 2631755 w 6436611"/>
              <a:gd name="connsiteY2041" fmla="*/ 4362539 h 4419155"/>
              <a:gd name="connsiteX2042" fmla="*/ 2619443 w 6436611"/>
              <a:gd name="connsiteY2042" fmla="*/ 4368317 h 4419155"/>
              <a:gd name="connsiteX2043" fmla="*/ 2617592 w 6436611"/>
              <a:gd name="connsiteY2043" fmla="*/ 4371562 h 4419155"/>
              <a:gd name="connsiteX2044" fmla="*/ 2615274 w 6436611"/>
              <a:gd name="connsiteY2044" fmla="*/ 4378328 h 4419155"/>
              <a:gd name="connsiteX2045" fmla="*/ 2600853 w 6436611"/>
              <a:gd name="connsiteY2045" fmla="*/ 4387353 h 4419155"/>
              <a:gd name="connsiteX2046" fmla="*/ 2644112 w 6436611"/>
              <a:gd name="connsiteY2046" fmla="*/ 4367051 h 4419155"/>
              <a:gd name="connsiteX2047" fmla="*/ 2654414 w 6436611"/>
              <a:gd name="connsiteY2047" fmla="*/ 4358026 h 4419155"/>
              <a:gd name="connsiteX2048" fmla="*/ 2656475 w 6436611"/>
              <a:gd name="connsiteY2048" fmla="*/ 4349003 h 4419155"/>
              <a:gd name="connsiteX2049" fmla="*/ 2654414 w 6436611"/>
              <a:gd name="connsiteY2049" fmla="*/ 4337724 h 4419155"/>
              <a:gd name="connsiteX2050" fmla="*/ 2664392 w 6436611"/>
              <a:gd name="connsiteY2050" fmla="*/ 4332261 h 4419155"/>
              <a:gd name="connsiteX2051" fmla="*/ 2650294 w 6436611"/>
              <a:gd name="connsiteY2051" fmla="*/ 4339979 h 4419155"/>
              <a:gd name="connsiteX2052" fmla="*/ 2657504 w 6436611"/>
              <a:gd name="connsiteY2052" fmla="*/ 4326727 h 4419155"/>
              <a:gd name="connsiteX2053" fmla="*/ 2670893 w 6436611"/>
              <a:gd name="connsiteY2053" fmla="*/ 4328701 h 4419155"/>
              <a:gd name="connsiteX2054" fmla="*/ 2683254 w 6436611"/>
              <a:gd name="connsiteY2054" fmla="*/ 4321932 h 4419155"/>
              <a:gd name="connsiteX2055" fmla="*/ 2707974 w 6436611"/>
              <a:gd name="connsiteY2055" fmla="*/ 4301630 h 4419155"/>
              <a:gd name="connsiteX2056" fmla="*/ 2710033 w 6436611"/>
              <a:gd name="connsiteY2056" fmla="*/ 4299373 h 4419155"/>
              <a:gd name="connsiteX2057" fmla="*/ 2714154 w 6436611"/>
              <a:gd name="connsiteY2057" fmla="*/ 4306142 h 4419155"/>
              <a:gd name="connsiteX2058" fmla="*/ 2738874 w 6436611"/>
              <a:gd name="connsiteY2058" fmla="*/ 4292607 h 4419155"/>
              <a:gd name="connsiteX2059" fmla="*/ 2740933 w 6436611"/>
              <a:gd name="connsiteY2059" fmla="*/ 4301630 h 4419155"/>
              <a:gd name="connsiteX2060" fmla="*/ 2755354 w 6436611"/>
              <a:gd name="connsiteY2060" fmla="*/ 4299373 h 4419155"/>
              <a:gd name="connsiteX2061" fmla="*/ 2747115 w 6436611"/>
              <a:gd name="connsiteY2061" fmla="*/ 4310654 h 4419155"/>
              <a:gd name="connsiteX2062" fmla="*/ 2769774 w 6436611"/>
              <a:gd name="connsiteY2062" fmla="*/ 4294863 h 4419155"/>
              <a:gd name="connsiteX2063" fmla="*/ 2784195 w 6436611"/>
              <a:gd name="connsiteY2063" fmla="*/ 4279071 h 4419155"/>
              <a:gd name="connsiteX2064" fmla="*/ 2802735 w 6436611"/>
              <a:gd name="connsiteY2064" fmla="*/ 4272305 h 4419155"/>
              <a:gd name="connsiteX2065" fmla="*/ 2806854 w 6436611"/>
              <a:gd name="connsiteY2065" fmla="*/ 4270048 h 4419155"/>
              <a:gd name="connsiteX2066" fmla="*/ 2823335 w 6436611"/>
              <a:gd name="connsiteY2066" fmla="*/ 4252000 h 4419155"/>
              <a:gd name="connsiteX2067" fmla="*/ 2827455 w 6436611"/>
              <a:gd name="connsiteY2067" fmla="*/ 4261023 h 4419155"/>
              <a:gd name="connsiteX2068" fmla="*/ 2829513 w 6436611"/>
              <a:gd name="connsiteY2068" fmla="*/ 4258766 h 4419155"/>
              <a:gd name="connsiteX2069" fmla="*/ 2827455 w 6436611"/>
              <a:gd name="connsiteY2069" fmla="*/ 4252000 h 4419155"/>
              <a:gd name="connsiteX2070" fmla="*/ 2858354 w 6436611"/>
              <a:gd name="connsiteY2070" fmla="*/ 4231695 h 4419155"/>
              <a:gd name="connsiteX2071" fmla="*/ 2860415 w 6436611"/>
              <a:gd name="connsiteY2071" fmla="*/ 4233953 h 4419155"/>
              <a:gd name="connsiteX2072" fmla="*/ 2852176 w 6436611"/>
              <a:gd name="connsiteY2072" fmla="*/ 4245233 h 4419155"/>
              <a:gd name="connsiteX2073" fmla="*/ 2854234 w 6436611"/>
              <a:gd name="connsiteY2073" fmla="*/ 4247487 h 4419155"/>
              <a:gd name="connsiteX2074" fmla="*/ 2889256 w 6436611"/>
              <a:gd name="connsiteY2074" fmla="*/ 4222674 h 4419155"/>
              <a:gd name="connsiteX2075" fmla="*/ 2887195 w 6436611"/>
              <a:gd name="connsiteY2075" fmla="*/ 4206881 h 4419155"/>
              <a:gd name="connsiteX2076" fmla="*/ 2907795 w 6436611"/>
              <a:gd name="connsiteY2076" fmla="*/ 4211393 h 4419155"/>
              <a:gd name="connsiteX2077" fmla="*/ 2918097 w 6436611"/>
              <a:gd name="connsiteY2077" fmla="*/ 4200115 h 4419155"/>
              <a:gd name="connsiteX2078" fmla="*/ 2920156 w 6436611"/>
              <a:gd name="connsiteY2078" fmla="*/ 4197857 h 4419155"/>
              <a:gd name="connsiteX2079" fmla="*/ 2969597 w 6436611"/>
              <a:gd name="connsiteY2079" fmla="*/ 4159507 h 4419155"/>
              <a:gd name="connsiteX2080" fmla="*/ 2971656 w 6436611"/>
              <a:gd name="connsiteY2080" fmla="*/ 4159507 h 4419155"/>
              <a:gd name="connsiteX2081" fmla="*/ 2967536 w 6436611"/>
              <a:gd name="connsiteY2081" fmla="*/ 4152739 h 4419155"/>
              <a:gd name="connsiteX2082" fmla="*/ 2979899 w 6436611"/>
              <a:gd name="connsiteY2082" fmla="*/ 4132437 h 4419155"/>
              <a:gd name="connsiteX2083" fmla="*/ 2994317 w 6436611"/>
              <a:gd name="connsiteY2083" fmla="*/ 4148230 h 4419155"/>
              <a:gd name="connsiteX2084" fmla="*/ 3004616 w 6436611"/>
              <a:gd name="connsiteY2084" fmla="*/ 4139205 h 4419155"/>
              <a:gd name="connsiteX2085" fmla="*/ 3018521 w 6436611"/>
              <a:gd name="connsiteY2085" fmla="*/ 4131591 h 4419155"/>
              <a:gd name="connsiteX2086" fmla="*/ 3023406 w 6436611"/>
              <a:gd name="connsiteY2086" fmla="*/ 4138086 h 4419155"/>
              <a:gd name="connsiteX2087" fmla="*/ 3027278 w 6436611"/>
              <a:gd name="connsiteY2087" fmla="*/ 4134694 h 4419155"/>
              <a:gd name="connsiteX2088" fmla="*/ 3025003 w 6436611"/>
              <a:gd name="connsiteY2088" fmla="*/ 4140210 h 4419155"/>
              <a:gd name="connsiteX2089" fmla="*/ 3029336 w 6436611"/>
              <a:gd name="connsiteY2089" fmla="*/ 4145973 h 4419155"/>
              <a:gd name="connsiteX2090" fmla="*/ 3041697 w 6436611"/>
              <a:gd name="connsiteY2090" fmla="*/ 4121158 h 4419155"/>
              <a:gd name="connsiteX2091" fmla="*/ 3062297 w 6436611"/>
              <a:gd name="connsiteY2091" fmla="*/ 4103111 h 4419155"/>
              <a:gd name="connsiteX2092" fmla="*/ 3058177 w 6436611"/>
              <a:gd name="connsiteY2092" fmla="*/ 4118901 h 4419155"/>
              <a:gd name="connsiteX2093" fmla="*/ 3060236 w 6436611"/>
              <a:gd name="connsiteY2093" fmla="*/ 4121158 h 4419155"/>
              <a:gd name="connsiteX2094" fmla="*/ 3076717 w 6436611"/>
              <a:gd name="connsiteY2094" fmla="*/ 4109878 h 4419155"/>
              <a:gd name="connsiteX2095" fmla="*/ 3087018 w 6436611"/>
              <a:gd name="connsiteY2095" fmla="*/ 4098599 h 4419155"/>
              <a:gd name="connsiteX2096" fmla="*/ 3087018 w 6436611"/>
              <a:gd name="connsiteY2096" fmla="*/ 4103111 h 4419155"/>
              <a:gd name="connsiteX2097" fmla="*/ 3089077 w 6436611"/>
              <a:gd name="connsiteY2097" fmla="*/ 4109878 h 4419155"/>
              <a:gd name="connsiteX2098" fmla="*/ 3115859 w 6436611"/>
              <a:gd name="connsiteY2098" fmla="*/ 4105365 h 4419155"/>
              <a:gd name="connsiteX2099" fmla="*/ 3119979 w 6436611"/>
              <a:gd name="connsiteY2099" fmla="*/ 4123413 h 4419155"/>
              <a:gd name="connsiteX2100" fmla="*/ 3130277 w 6436611"/>
              <a:gd name="connsiteY2100" fmla="*/ 4152739 h 4419155"/>
              <a:gd name="connsiteX2101" fmla="*/ 3148817 w 6436611"/>
              <a:gd name="connsiteY2101" fmla="*/ 4168532 h 4419155"/>
              <a:gd name="connsiteX2102" fmla="*/ 3163239 w 6436611"/>
              <a:gd name="connsiteY2102" fmla="*/ 4161762 h 4419155"/>
              <a:gd name="connsiteX2103" fmla="*/ 3185898 w 6436611"/>
              <a:gd name="connsiteY2103" fmla="*/ 4148230 h 4419155"/>
              <a:gd name="connsiteX2104" fmla="*/ 3229161 w 6436611"/>
              <a:gd name="connsiteY2104" fmla="*/ 4107623 h 4419155"/>
              <a:gd name="connsiteX2105" fmla="*/ 3231219 w 6436611"/>
              <a:gd name="connsiteY2105" fmla="*/ 4109878 h 4419155"/>
              <a:gd name="connsiteX2106" fmla="*/ 3239459 w 6436611"/>
              <a:gd name="connsiteY2106" fmla="*/ 4104464 h 4419155"/>
              <a:gd name="connsiteX2107" fmla="*/ 3239459 w 6436611"/>
              <a:gd name="connsiteY2107" fmla="*/ 4101983 h 4419155"/>
              <a:gd name="connsiteX2108" fmla="*/ 3237400 w 6436611"/>
              <a:gd name="connsiteY2108" fmla="*/ 4100854 h 4419155"/>
              <a:gd name="connsiteX2109" fmla="*/ 3239459 w 6436611"/>
              <a:gd name="connsiteY2109" fmla="*/ 4097470 h 4419155"/>
              <a:gd name="connsiteX2110" fmla="*/ 3239459 w 6436611"/>
              <a:gd name="connsiteY2110" fmla="*/ 4091833 h 4419155"/>
              <a:gd name="connsiteX2111" fmla="*/ 3241084 w 6436611"/>
              <a:gd name="connsiteY2111" fmla="*/ 4094799 h 4419155"/>
              <a:gd name="connsiteX2112" fmla="*/ 3241518 w 6436611"/>
              <a:gd name="connsiteY2112" fmla="*/ 4094088 h 4419155"/>
              <a:gd name="connsiteX2113" fmla="*/ 3241518 w 6436611"/>
              <a:gd name="connsiteY2113" fmla="*/ 4089576 h 4419155"/>
              <a:gd name="connsiteX2114" fmla="*/ 3235339 w 6436611"/>
              <a:gd name="connsiteY2114" fmla="*/ 4089576 h 4419155"/>
              <a:gd name="connsiteX2115" fmla="*/ 3231219 w 6436611"/>
              <a:gd name="connsiteY2115" fmla="*/ 4089576 h 4419155"/>
              <a:gd name="connsiteX2116" fmla="*/ 3231219 w 6436611"/>
              <a:gd name="connsiteY2116" fmla="*/ 4088447 h 4419155"/>
              <a:gd name="connsiteX2117" fmla="*/ 3227099 w 6436611"/>
              <a:gd name="connsiteY2117" fmla="*/ 4087318 h 4419155"/>
              <a:gd name="connsiteX2118" fmla="*/ 3231219 w 6436611"/>
              <a:gd name="connsiteY2118" fmla="*/ 4082806 h 4419155"/>
              <a:gd name="connsiteX2119" fmla="*/ 3231219 w 6436611"/>
              <a:gd name="connsiteY2119" fmla="*/ 4085063 h 4419155"/>
              <a:gd name="connsiteX2120" fmla="*/ 3232259 w 6436611"/>
              <a:gd name="connsiteY2120" fmla="*/ 4086203 h 4419155"/>
              <a:gd name="connsiteX2121" fmla="*/ 3244093 w 6436611"/>
              <a:gd name="connsiteY2121" fmla="*/ 4073501 h 4419155"/>
              <a:gd name="connsiteX2122" fmla="*/ 3247700 w 6436611"/>
              <a:gd name="connsiteY2122" fmla="*/ 4064761 h 4419155"/>
              <a:gd name="connsiteX2123" fmla="*/ 3241518 w 6436611"/>
              <a:gd name="connsiteY2123" fmla="*/ 4060247 h 4419155"/>
              <a:gd name="connsiteX2124" fmla="*/ 3239459 w 6436611"/>
              <a:gd name="connsiteY2124" fmla="*/ 4030921 h 4419155"/>
              <a:gd name="connsiteX2125" fmla="*/ 3247700 w 6436611"/>
              <a:gd name="connsiteY2125" fmla="*/ 4001596 h 4419155"/>
              <a:gd name="connsiteX2126" fmla="*/ 3241518 w 6436611"/>
              <a:gd name="connsiteY2126" fmla="*/ 3992572 h 4419155"/>
              <a:gd name="connsiteX2127" fmla="*/ 3237400 w 6436611"/>
              <a:gd name="connsiteY2127" fmla="*/ 3994826 h 4419155"/>
              <a:gd name="connsiteX2128" fmla="*/ 3231219 w 6436611"/>
              <a:gd name="connsiteY2128" fmla="*/ 4008362 h 4419155"/>
              <a:gd name="connsiteX2129" fmla="*/ 3229161 w 6436611"/>
              <a:gd name="connsiteY2129" fmla="*/ 4001596 h 4419155"/>
              <a:gd name="connsiteX2130" fmla="*/ 3241518 w 6436611"/>
              <a:gd name="connsiteY2130" fmla="*/ 3983549 h 4419155"/>
              <a:gd name="connsiteX2131" fmla="*/ 3249758 w 6436611"/>
              <a:gd name="connsiteY2131" fmla="*/ 3983549 h 4419155"/>
              <a:gd name="connsiteX2132" fmla="*/ 3278598 w 6436611"/>
              <a:gd name="connsiteY2132" fmla="*/ 3929406 h 4419155"/>
              <a:gd name="connsiteX2133" fmla="*/ 3274479 w 6436611"/>
              <a:gd name="connsiteY2133" fmla="*/ 3922640 h 4419155"/>
              <a:gd name="connsiteX2134" fmla="*/ 3258000 w 6436611"/>
              <a:gd name="connsiteY2134" fmla="*/ 3938430 h 4419155"/>
              <a:gd name="connsiteX2135" fmla="*/ 3241518 w 6436611"/>
              <a:gd name="connsiteY2135" fmla="*/ 3956477 h 4419155"/>
              <a:gd name="connsiteX2136" fmla="*/ 3245638 w 6436611"/>
              <a:gd name="connsiteY2136" fmla="*/ 3936173 h 4419155"/>
              <a:gd name="connsiteX2137" fmla="*/ 3247700 w 6436611"/>
              <a:gd name="connsiteY2137" fmla="*/ 3936173 h 4419155"/>
              <a:gd name="connsiteX2138" fmla="*/ 3251820 w 6436611"/>
              <a:gd name="connsiteY2138" fmla="*/ 3936173 h 4419155"/>
              <a:gd name="connsiteX2139" fmla="*/ 3268300 w 6436611"/>
              <a:gd name="connsiteY2139" fmla="*/ 3913616 h 4419155"/>
              <a:gd name="connsiteX2140" fmla="*/ 3260059 w 6436611"/>
              <a:gd name="connsiteY2140" fmla="*/ 3918128 h 4419155"/>
              <a:gd name="connsiteX2141" fmla="*/ 3251820 w 6436611"/>
              <a:gd name="connsiteY2141" fmla="*/ 3922640 h 4419155"/>
              <a:gd name="connsiteX2142" fmla="*/ 3243579 w 6436611"/>
              <a:gd name="connsiteY2142" fmla="*/ 3929406 h 4419155"/>
              <a:gd name="connsiteX2143" fmla="*/ 3239459 w 6436611"/>
              <a:gd name="connsiteY2143" fmla="*/ 3931661 h 4419155"/>
              <a:gd name="connsiteX2144" fmla="*/ 3239459 w 6436611"/>
              <a:gd name="connsiteY2144" fmla="*/ 3933918 h 4419155"/>
              <a:gd name="connsiteX2145" fmla="*/ 3231219 w 6436611"/>
              <a:gd name="connsiteY2145" fmla="*/ 3945199 h 4419155"/>
              <a:gd name="connsiteX2146" fmla="*/ 3225038 w 6436611"/>
              <a:gd name="connsiteY2146" fmla="*/ 3945199 h 4419155"/>
              <a:gd name="connsiteX2147" fmla="*/ 3231219 w 6436611"/>
              <a:gd name="connsiteY2147" fmla="*/ 3927148 h 4419155"/>
              <a:gd name="connsiteX2148" fmla="*/ 3208559 w 6436611"/>
              <a:gd name="connsiteY2148" fmla="*/ 3945199 h 4419155"/>
              <a:gd name="connsiteX2149" fmla="*/ 3194138 w 6436611"/>
              <a:gd name="connsiteY2149" fmla="*/ 3942942 h 4419155"/>
              <a:gd name="connsiteX2150" fmla="*/ 3202379 w 6436611"/>
              <a:gd name="connsiteY2150" fmla="*/ 3933918 h 4419155"/>
              <a:gd name="connsiteX2151" fmla="*/ 3264180 w 6436611"/>
              <a:gd name="connsiteY2151" fmla="*/ 3884287 h 4419155"/>
              <a:gd name="connsiteX2152" fmla="*/ 3264180 w 6436611"/>
              <a:gd name="connsiteY2152" fmla="*/ 3886545 h 4419155"/>
              <a:gd name="connsiteX2153" fmla="*/ 3274479 w 6436611"/>
              <a:gd name="connsiteY2153" fmla="*/ 3879776 h 4419155"/>
              <a:gd name="connsiteX2154" fmla="*/ 3276540 w 6436611"/>
              <a:gd name="connsiteY2154" fmla="*/ 3879776 h 4419155"/>
              <a:gd name="connsiteX2155" fmla="*/ 3288900 w 6436611"/>
              <a:gd name="connsiteY2155" fmla="*/ 3888799 h 4419155"/>
              <a:gd name="connsiteX2156" fmla="*/ 3293018 w 6436611"/>
              <a:gd name="connsiteY2156" fmla="*/ 3886545 h 4419155"/>
              <a:gd name="connsiteX2157" fmla="*/ 3288385 w 6436611"/>
              <a:gd name="connsiteY2157" fmla="*/ 3892748 h 4419155"/>
              <a:gd name="connsiteX2158" fmla="*/ 3286839 w 6436611"/>
              <a:gd name="connsiteY2158" fmla="*/ 3895567 h 4419155"/>
              <a:gd name="connsiteX2159" fmla="*/ 3288900 w 6436611"/>
              <a:gd name="connsiteY2159" fmla="*/ 3893312 h 4419155"/>
              <a:gd name="connsiteX2160" fmla="*/ 3307439 w 6436611"/>
              <a:gd name="connsiteY2160" fmla="*/ 3875264 h 4419155"/>
              <a:gd name="connsiteX2161" fmla="*/ 3305380 w 6436611"/>
              <a:gd name="connsiteY2161" fmla="*/ 3882033 h 4419155"/>
              <a:gd name="connsiteX2162" fmla="*/ 3315680 w 6436611"/>
              <a:gd name="connsiteY2162" fmla="*/ 3875264 h 4419155"/>
              <a:gd name="connsiteX2163" fmla="*/ 3311559 w 6436611"/>
              <a:gd name="connsiteY2163" fmla="*/ 3893312 h 4419155"/>
              <a:gd name="connsiteX2164" fmla="*/ 3330101 w 6436611"/>
              <a:gd name="connsiteY2164" fmla="*/ 3882033 h 4419155"/>
              <a:gd name="connsiteX2165" fmla="*/ 3319800 w 6436611"/>
              <a:gd name="connsiteY2165" fmla="*/ 3897823 h 4419155"/>
              <a:gd name="connsiteX2166" fmla="*/ 3319800 w 6436611"/>
              <a:gd name="connsiteY2166" fmla="*/ 3904589 h 4419155"/>
              <a:gd name="connsiteX2167" fmla="*/ 3336280 w 6436611"/>
              <a:gd name="connsiteY2167" fmla="*/ 3906846 h 4419155"/>
              <a:gd name="connsiteX2168" fmla="*/ 3352760 w 6436611"/>
              <a:gd name="connsiteY2168" fmla="*/ 3888799 h 4419155"/>
              <a:gd name="connsiteX2169" fmla="*/ 3363059 w 6436611"/>
              <a:gd name="connsiteY2169" fmla="*/ 3891057 h 4419155"/>
              <a:gd name="connsiteX2170" fmla="*/ 3350701 w 6436611"/>
              <a:gd name="connsiteY2170" fmla="*/ 3911359 h 4419155"/>
              <a:gd name="connsiteX2171" fmla="*/ 3363059 w 6436611"/>
              <a:gd name="connsiteY2171" fmla="*/ 3924894 h 4419155"/>
              <a:gd name="connsiteX2172" fmla="*/ 3361000 w 6436611"/>
              <a:gd name="connsiteY2172" fmla="*/ 3927148 h 4419155"/>
              <a:gd name="connsiteX2173" fmla="*/ 3354819 w 6436611"/>
              <a:gd name="connsiteY2173" fmla="*/ 3933918 h 4419155"/>
              <a:gd name="connsiteX2174" fmla="*/ 3334219 w 6436611"/>
              <a:gd name="connsiteY2174" fmla="*/ 3947454 h 4419155"/>
              <a:gd name="connsiteX2175" fmla="*/ 3317739 w 6436611"/>
              <a:gd name="connsiteY2175" fmla="*/ 3976779 h 4419155"/>
              <a:gd name="connsiteX2176" fmla="*/ 3338339 w 6436611"/>
              <a:gd name="connsiteY2176" fmla="*/ 3963247 h 4419155"/>
              <a:gd name="connsiteX2177" fmla="*/ 3367180 w 6436611"/>
              <a:gd name="connsiteY2177" fmla="*/ 3936173 h 4419155"/>
              <a:gd name="connsiteX2178" fmla="*/ 3373361 w 6436611"/>
              <a:gd name="connsiteY2178" fmla="*/ 3929406 h 4419155"/>
              <a:gd name="connsiteX2179" fmla="*/ 3377481 w 6436611"/>
              <a:gd name="connsiteY2179" fmla="*/ 3929406 h 4419155"/>
              <a:gd name="connsiteX2180" fmla="*/ 3385721 w 6436611"/>
              <a:gd name="connsiteY2180" fmla="*/ 3915871 h 4419155"/>
              <a:gd name="connsiteX2181" fmla="*/ 3383660 w 6436611"/>
              <a:gd name="connsiteY2181" fmla="*/ 3915871 h 4419155"/>
              <a:gd name="connsiteX2182" fmla="*/ 3381601 w 6436611"/>
              <a:gd name="connsiteY2182" fmla="*/ 3906846 h 4419155"/>
              <a:gd name="connsiteX2183" fmla="*/ 3387780 w 6436611"/>
              <a:gd name="connsiteY2183" fmla="*/ 3900080 h 4419155"/>
              <a:gd name="connsiteX2184" fmla="*/ 3404260 w 6436611"/>
              <a:gd name="connsiteY2184" fmla="*/ 3893312 h 4419155"/>
              <a:gd name="connsiteX2185" fmla="*/ 3414562 w 6436611"/>
              <a:gd name="connsiteY2185" fmla="*/ 3902335 h 4419155"/>
              <a:gd name="connsiteX2186" fmla="*/ 3412500 w 6436611"/>
              <a:gd name="connsiteY2186" fmla="*/ 3904589 h 4419155"/>
              <a:gd name="connsiteX2187" fmla="*/ 3400140 w 6436611"/>
              <a:gd name="connsiteY2187" fmla="*/ 3918128 h 4419155"/>
              <a:gd name="connsiteX2188" fmla="*/ 3375419 w 6436611"/>
              <a:gd name="connsiteY2188" fmla="*/ 3945199 h 4419155"/>
              <a:gd name="connsiteX2189" fmla="*/ 3371300 w 6436611"/>
              <a:gd name="connsiteY2189" fmla="*/ 3954220 h 4419155"/>
              <a:gd name="connsiteX2190" fmla="*/ 3352760 w 6436611"/>
              <a:gd name="connsiteY2190" fmla="*/ 3972267 h 4419155"/>
              <a:gd name="connsiteX2191" fmla="*/ 3350701 w 6436611"/>
              <a:gd name="connsiteY2191" fmla="*/ 3981292 h 4419155"/>
              <a:gd name="connsiteX2192" fmla="*/ 3379539 w 6436611"/>
              <a:gd name="connsiteY2192" fmla="*/ 3956477 h 4419155"/>
              <a:gd name="connsiteX2193" fmla="*/ 3381858 w 6436611"/>
              <a:gd name="connsiteY2193" fmla="*/ 3953093 h 4419155"/>
              <a:gd name="connsiteX2194" fmla="*/ 3379884 w 6436611"/>
              <a:gd name="connsiteY2194" fmla="*/ 3950211 h 4419155"/>
              <a:gd name="connsiteX2195" fmla="*/ 3377481 w 6436611"/>
              <a:gd name="connsiteY2195" fmla="*/ 3951965 h 4419155"/>
              <a:gd name="connsiteX2196" fmla="*/ 3379539 w 6436611"/>
              <a:gd name="connsiteY2196" fmla="*/ 3949708 h 4419155"/>
              <a:gd name="connsiteX2197" fmla="*/ 3379884 w 6436611"/>
              <a:gd name="connsiteY2197" fmla="*/ 3950211 h 4419155"/>
              <a:gd name="connsiteX2198" fmla="*/ 3383660 w 6436611"/>
              <a:gd name="connsiteY2198" fmla="*/ 3947454 h 4419155"/>
              <a:gd name="connsiteX2199" fmla="*/ 3420741 w 6436611"/>
              <a:gd name="connsiteY2199" fmla="*/ 3909104 h 4419155"/>
              <a:gd name="connsiteX2200" fmla="*/ 3422802 w 6436611"/>
              <a:gd name="connsiteY2200" fmla="*/ 3906846 h 4419155"/>
              <a:gd name="connsiteX2201" fmla="*/ 3428981 w 6436611"/>
              <a:gd name="connsiteY2201" fmla="*/ 3913616 h 4419155"/>
              <a:gd name="connsiteX2202" fmla="*/ 3412500 w 6436611"/>
              <a:gd name="connsiteY2202" fmla="*/ 3931661 h 4419155"/>
              <a:gd name="connsiteX2203" fmla="*/ 3391900 w 6436611"/>
              <a:gd name="connsiteY2203" fmla="*/ 3956477 h 4419155"/>
              <a:gd name="connsiteX2204" fmla="*/ 3391900 w 6436611"/>
              <a:gd name="connsiteY2204" fmla="*/ 3960990 h 4419155"/>
              <a:gd name="connsiteX2205" fmla="*/ 3373361 w 6436611"/>
              <a:gd name="connsiteY2205" fmla="*/ 3979037 h 4419155"/>
              <a:gd name="connsiteX2206" fmla="*/ 3404260 w 6436611"/>
              <a:gd name="connsiteY2206" fmla="*/ 3960990 h 4419155"/>
              <a:gd name="connsiteX2207" fmla="*/ 3412500 w 6436611"/>
              <a:gd name="connsiteY2207" fmla="*/ 3972267 h 4419155"/>
              <a:gd name="connsiteX2208" fmla="*/ 3424861 w 6436611"/>
              <a:gd name="connsiteY2208" fmla="*/ 3983549 h 4419155"/>
              <a:gd name="connsiteX2209" fmla="*/ 3428981 w 6436611"/>
              <a:gd name="connsiteY2209" fmla="*/ 3988060 h 4419155"/>
              <a:gd name="connsiteX2210" fmla="*/ 3428981 w 6436611"/>
              <a:gd name="connsiteY2210" fmla="*/ 3990317 h 4419155"/>
              <a:gd name="connsiteX2211" fmla="*/ 3420741 w 6436611"/>
              <a:gd name="connsiteY2211" fmla="*/ 3994826 h 4419155"/>
              <a:gd name="connsiteX2212" fmla="*/ 3426920 w 6436611"/>
              <a:gd name="connsiteY2212" fmla="*/ 4003851 h 4419155"/>
              <a:gd name="connsiteX2213" fmla="*/ 3424861 w 6436611"/>
              <a:gd name="connsiteY2213" fmla="*/ 4010619 h 4419155"/>
              <a:gd name="connsiteX2214" fmla="*/ 3406319 w 6436611"/>
              <a:gd name="connsiteY2214" fmla="*/ 4035434 h 4419155"/>
              <a:gd name="connsiteX2215" fmla="*/ 3435160 w 6436611"/>
              <a:gd name="connsiteY2215" fmla="*/ 4051223 h 4419155"/>
              <a:gd name="connsiteX2216" fmla="*/ 3437221 w 6436611"/>
              <a:gd name="connsiteY2216" fmla="*/ 4051223 h 4419155"/>
              <a:gd name="connsiteX2217" fmla="*/ 3435160 w 6436611"/>
              <a:gd name="connsiteY2217" fmla="*/ 4057993 h 4419155"/>
              <a:gd name="connsiteX2218" fmla="*/ 3431039 w 6436611"/>
              <a:gd name="connsiteY2218" fmla="*/ 4076040 h 4419155"/>
              <a:gd name="connsiteX2219" fmla="*/ 3412500 w 6436611"/>
              <a:gd name="connsiteY2219" fmla="*/ 4094088 h 4419155"/>
              <a:gd name="connsiteX2220" fmla="*/ 3410439 w 6436611"/>
              <a:gd name="connsiteY2220" fmla="*/ 4103111 h 4419155"/>
              <a:gd name="connsiteX2221" fmla="*/ 3431039 w 6436611"/>
              <a:gd name="connsiteY2221" fmla="*/ 4087318 h 4419155"/>
              <a:gd name="connsiteX2222" fmla="*/ 3433101 w 6436611"/>
              <a:gd name="connsiteY2222" fmla="*/ 4098599 h 4419155"/>
              <a:gd name="connsiteX2223" fmla="*/ 3453702 w 6436611"/>
              <a:gd name="connsiteY2223" fmla="*/ 4150484 h 4419155"/>
              <a:gd name="connsiteX2224" fmla="*/ 3445462 w 6436611"/>
              <a:gd name="connsiteY2224" fmla="*/ 4175298 h 4419155"/>
              <a:gd name="connsiteX2225" fmla="*/ 3445462 w 6436611"/>
              <a:gd name="connsiteY2225" fmla="*/ 4184322 h 4419155"/>
              <a:gd name="connsiteX2226" fmla="*/ 3455760 w 6436611"/>
              <a:gd name="connsiteY2226" fmla="*/ 4184322 h 4419155"/>
              <a:gd name="connsiteX2227" fmla="*/ 3457821 w 6436611"/>
              <a:gd name="connsiteY2227" fmla="*/ 4179809 h 4419155"/>
              <a:gd name="connsiteX2228" fmla="*/ 3461942 w 6436611"/>
              <a:gd name="connsiteY2228" fmla="*/ 4184322 h 4419155"/>
              <a:gd name="connsiteX2229" fmla="*/ 3470182 w 6436611"/>
              <a:gd name="connsiteY2229" fmla="*/ 4184322 h 4419155"/>
              <a:gd name="connsiteX2230" fmla="*/ 3468121 w 6436611"/>
              <a:gd name="connsiteY2230" fmla="*/ 4191091 h 4419155"/>
              <a:gd name="connsiteX2231" fmla="*/ 3468121 w 6436611"/>
              <a:gd name="connsiteY2231" fmla="*/ 4188834 h 4419155"/>
              <a:gd name="connsiteX2232" fmla="*/ 3466062 w 6436611"/>
              <a:gd name="connsiteY2232" fmla="*/ 4186579 h 4419155"/>
              <a:gd name="connsiteX2233" fmla="*/ 3461942 w 6436611"/>
              <a:gd name="connsiteY2233" fmla="*/ 4191091 h 4419155"/>
              <a:gd name="connsiteX2234" fmla="*/ 3464000 w 6436611"/>
              <a:gd name="connsiteY2234" fmla="*/ 4195603 h 4419155"/>
              <a:gd name="connsiteX2235" fmla="*/ 3466062 w 6436611"/>
              <a:gd name="connsiteY2235" fmla="*/ 4193349 h 4419155"/>
              <a:gd name="connsiteX2236" fmla="*/ 3466062 w 6436611"/>
              <a:gd name="connsiteY2236" fmla="*/ 4195603 h 4419155"/>
              <a:gd name="connsiteX2237" fmla="*/ 3466062 w 6436611"/>
              <a:gd name="connsiteY2237" fmla="*/ 4204627 h 4419155"/>
              <a:gd name="connsiteX2238" fmla="*/ 3480481 w 6436611"/>
              <a:gd name="connsiteY2238" fmla="*/ 4191091 h 4419155"/>
              <a:gd name="connsiteX2239" fmla="*/ 3486662 w 6436611"/>
              <a:gd name="connsiteY2239" fmla="*/ 4204627 h 4419155"/>
              <a:gd name="connsiteX2240" fmla="*/ 3488721 w 6436611"/>
              <a:gd name="connsiteY2240" fmla="*/ 4206881 h 4419155"/>
              <a:gd name="connsiteX2241" fmla="*/ 3488721 w 6436611"/>
              <a:gd name="connsiteY2241" fmla="*/ 4213651 h 4419155"/>
              <a:gd name="connsiteX2242" fmla="*/ 3488721 w 6436611"/>
              <a:gd name="connsiteY2242" fmla="*/ 4218162 h 4419155"/>
              <a:gd name="connsiteX2243" fmla="*/ 3490782 w 6436611"/>
              <a:gd name="connsiteY2243" fmla="*/ 4222674 h 4419155"/>
              <a:gd name="connsiteX2244" fmla="*/ 3505201 w 6436611"/>
              <a:gd name="connsiteY2244" fmla="*/ 4261023 h 4419155"/>
              <a:gd name="connsiteX2245" fmla="*/ 3505201 w 6436611"/>
              <a:gd name="connsiteY2245" fmla="*/ 4265535 h 4419155"/>
              <a:gd name="connsiteX2246" fmla="*/ 3509321 w 6436611"/>
              <a:gd name="connsiteY2246" fmla="*/ 4267793 h 4419155"/>
              <a:gd name="connsiteX2247" fmla="*/ 3509321 w 6436611"/>
              <a:gd name="connsiteY2247" fmla="*/ 4265535 h 4419155"/>
              <a:gd name="connsiteX2248" fmla="*/ 3513442 w 6436611"/>
              <a:gd name="connsiteY2248" fmla="*/ 4270048 h 4419155"/>
              <a:gd name="connsiteX2249" fmla="*/ 3505201 w 6436611"/>
              <a:gd name="connsiteY2249" fmla="*/ 4294863 h 4419155"/>
              <a:gd name="connsiteX2250" fmla="*/ 3505201 w 6436611"/>
              <a:gd name="connsiteY2250" fmla="*/ 4303884 h 4419155"/>
              <a:gd name="connsiteX2251" fmla="*/ 3515503 w 6436611"/>
              <a:gd name="connsiteY2251" fmla="*/ 4303884 h 4419155"/>
              <a:gd name="connsiteX2252" fmla="*/ 3517562 w 6436611"/>
              <a:gd name="connsiteY2252" fmla="*/ 4299373 h 4419155"/>
              <a:gd name="connsiteX2253" fmla="*/ 3521682 w 6436611"/>
              <a:gd name="connsiteY2253" fmla="*/ 4303884 h 4419155"/>
              <a:gd name="connsiteX2254" fmla="*/ 3529922 w 6436611"/>
              <a:gd name="connsiteY2254" fmla="*/ 4303884 h 4419155"/>
              <a:gd name="connsiteX2255" fmla="*/ 3525801 w 6436611"/>
              <a:gd name="connsiteY2255" fmla="*/ 4312909 h 4419155"/>
              <a:gd name="connsiteX2256" fmla="*/ 3525801 w 6436611"/>
              <a:gd name="connsiteY2256" fmla="*/ 4321932 h 4419155"/>
              <a:gd name="connsiteX2257" fmla="*/ 3540221 w 6436611"/>
              <a:gd name="connsiteY2257" fmla="*/ 4308397 h 4419155"/>
              <a:gd name="connsiteX2258" fmla="*/ 3546403 w 6436611"/>
              <a:gd name="connsiteY2258" fmla="*/ 4321932 h 4419155"/>
              <a:gd name="connsiteX2259" fmla="*/ 3548462 w 6436611"/>
              <a:gd name="connsiteY2259" fmla="*/ 4328701 h 4419155"/>
              <a:gd name="connsiteX2260" fmla="*/ 3548462 w 6436611"/>
              <a:gd name="connsiteY2260" fmla="*/ 4337724 h 4419155"/>
              <a:gd name="connsiteX2261" fmla="*/ 3556703 w 6436611"/>
              <a:gd name="connsiteY2261" fmla="*/ 4344492 h 4419155"/>
              <a:gd name="connsiteX2262" fmla="*/ 3567003 w 6436611"/>
              <a:gd name="connsiteY2262" fmla="*/ 4339979 h 4419155"/>
              <a:gd name="connsiteX2263" fmla="*/ 3573181 w 6436611"/>
              <a:gd name="connsiteY2263" fmla="*/ 4326444 h 4419155"/>
              <a:gd name="connsiteX2264" fmla="*/ 3579363 w 6436611"/>
              <a:gd name="connsiteY2264" fmla="*/ 4315166 h 4419155"/>
              <a:gd name="connsiteX2265" fmla="*/ 3581422 w 6436611"/>
              <a:gd name="connsiteY2265" fmla="*/ 4324190 h 4419155"/>
              <a:gd name="connsiteX2266" fmla="*/ 3591721 w 6436611"/>
              <a:gd name="connsiteY2266" fmla="*/ 4301630 h 4419155"/>
              <a:gd name="connsiteX2267" fmla="*/ 3583483 w 6436611"/>
              <a:gd name="connsiteY2267" fmla="*/ 4306142 h 4419155"/>
              <a:gd name="connsiteX2268" fmla="*/ 3602022 w 6436611"/>
              <a:gd name="connsiteY2268" fmla="*/ 4279071 h 4419155"/>
              <a:gd name="connsiteX2269" fmla="*/ 3614383 w 6436611"/>
              <a:gd name="connsiteY2269" fmla="*/ 4258766 h 4419155"/>
              <a:gd name="connsiteX2270" fmla="*/ 3622623 w 6436611"/>
              <a:gd name="connsiteY2270" fmla="*/ 4252000 h 4419155"/>
              <a:gd name="connsiteX2271" fmla="*/ 3620562 w 6436611"/>
              <a:gd name="connsiteY2271" fmla="*/ 4256512 h 4419155"/>
              <a:gd name="connsiteX2272" fmla="*/ 3651464 w 6436611"/>
              <a:gd name="connsiteY2272" fmla="*/ 4211393 h 4419155"/>
              <a:gd name="connsiteX2273" fmla="*/ 3645282 w 6436611"/>
              <a:gd name="connsiteY2273" fmla="*/ 4215904 h 4419155"/>
              <a:gd name="connsiteX2274" fmla="*/ 3655583 w 6436611"/>
              <a:gd name="connsiteY2274" fmla="*/ 4197857 h 4419155"/>
              <a:gd name="connsiteX2275" fmla="*/ 3661762 w 6436611"/>
              <a:gd name="connsiteY2275" fmla="*/ 4186579 h 4419155"/>
              <a:gd name="connsiteX2276" fmla="*/ 3657642 w 6436611"/>
              <a:gd name="connsiteY2276" fmla="*/ 4197857 h 4419155"/>
              <a:gd name="connsiteX2277" fmla="*/ 3657642 w 6436611"/>
              <a:gd name="connsiteY2277" fmla="*/ 4202370 h 4419155"/>
              <a:gd name="connsiteX2278" fmla="*/ 3665883 w 6436611"/>
              <a:gd name="connsiteY2278" fmla="*/ 4195603 h 4419155"/>
              <a:gd name="connsiteX2279" fmla="*/ 3711203 w 6436611"/>
              <a:gd name="connsiteY2279" fmla="*/ 4127925 h 4419155"/>
              <a:gd name="connsiteX2280" fmla="*/ 3696785 w 6436611"/>
              <a:gd name="connsiteY2280" fmla="*/ 4139205 h 4419155"/>
              <a:gd name="connsiteX2281" fmla="*/ 3674122 w 6436611"/>
              <a:gd name="connsiteY2281" fmla="*/ 4173043 h 4419155"/>
              <a:gd name="connsiteX2282" fmla="*/ 3663824 w 6436611"/>
              <a:gd name="connsiteY2282" fmla="*/ 4184322 h 4419155"/>
              <a:gd name="connsiteX2283" fmla="*/ 3667944 w 6436611"/>
              <a:gd name="connsiteY2283" fmla="*/ 4164020 h 4419155"/>
              <a:gd name="connsiteX2284" fmla="*/ 3649405 w 6436611"/>
              <a:gd name="connsiteY2284" fmla="*/ 4182068 h 4419155"/>
              <a:gd name="connsiteX2285" fmla="*/ 3651464 w 6436611"/>
              <a:gd name="connsiteY2285" fmla="*/ 4175298 h 4419155"/>
              <a:gd name="connsiteX2286" fmla="*/ 3688544 w 6436611"/>
              <a:gd name="connsiteY2286" fmla="*/ 4121158 h 4419155"/>
              <a:gd name="connsiteX2287" fmla="*/ 3711203 w 6436611"/>
              <a:gd name="connsiteY2287" fmla="*/ 4112135 h 4419155"/>
              <a:gd name="connsiteX2288" fmla="*/ 3715324 w 6436611"/>
              <a:gd name="connsiteY2288" fmla="*/ 4112135 h 4419155"/>
              <a:gd name="connsiteX2289" fmla="*/ 3713265 w 6436611"/>
              <a:gd name="connsiteY2289" fmla="*/ 4127925 h 4419155"/>
              <a:gd name="connsiteX2290" fmla="*/ 3727684 w 6436611"/>
              <a:gd name="connsiteY2290" fmla="*/ 4112135 h 4419155"/>
              <a:gd name="connsiteX2291" fmla="*/ 3725622 w 6436611"/>
              <a:gd name="connsiteY2291" fmla="*/ 4118901 h 4419155"/>
              <a:gd name="connsiteX2292" fmla="*/ 3678242 w 6436611"/>
              <a:gd name="connsiteY2292" fmla="*/ 4188834 h 4419155"/>
              <a:gd name="connsiteX2293" fmla="*/ 3651464 w 6436611"/>
              <a:gd name="connsiteY2293" fmla="*/ 4233953 h 4419155"/>
              <a:gd name="connsiteX2294" fmla="*/ 3653069 w 6436611"/>
              <a:gd name="connsiteY2294" fmla="*/ 4234246 h 4419155"/>
              <a:gd name="connsiteX2295" fmla="*/ 3655583 w 6436611"/>
              <a:gd name="connsiteY2295" fmla="*/ 4231695 h 4419155"/>
              <a:gd name="connsiteX2296" fmla="*/ 3653522 w 6436611"/>
              <a:gd name="connsiteY2296" fmla="*/ 4234328 h 4419155"/>
              <a:gd name="connsiteX2297" fmla="*/ 3663824 w 6436611"/>
              <a:gd name="connsiteY2297" fmla="*/ 4236210 h 4419155"/>
              <a:gd name="connsiteX2298" fmla="*/ 3680305 w 6436611"/>
              <a:gd name="connsiteY2298" fmla="*/ 4215904 h 4419155"/>
              <a:gd name="connsiteX2299" fmla="*/ 3694723 w 6436611"/>
              <a:gd name="connsiteY2299" fmla="*/ 4200115 h 4419155"/>
              <a:gd name="connsiteX2300" fmla="*/ 3705022 w 6436611"/>
              <a:gd name="connsiteY2300" fmla="*/ 4188834 h 4419155"/>
              <a:gd name="connsiteX2301" fmla="*/ 3717385 w 6436611"/>
              <a:gd name="connsiteY2301" fmla="*/ 4166277 h 4419155"/>
              <a:gd name="connsiteX2302" fmla="*/ 3756524 w 6436611"/>
              <a:gd name="connsiteY2302" fmla="*/ 4112135 h 4419155"/>
              <a:gd name="connsiteX2303" fmla="*/ 3773005 w 6436611"/>
              <a:gd name="connsiteY2303" fmla="*/ 4096342 h 4419155"/>
              <a:gd name="connsiteX2304" fmla="*/ 3779183 w 6436611"/>
              <a:gd name="connsiteY2304" fmla="*/ 4085063 h 4419155"/>
              <a:gd name="connsiteX2305" fmla="*/ 3789485 w 6436611"/>
              <a:gd name="connsiteY2305" fmla="*/ 4069274 h 4419155"/>
              <a:gd name="connsiteX2306" fmla="*/ 3793605 w 6436611"/>
              <a:gd name="connsiteY2306" fmla="*/ 4069274 h 4419155"/>
              <a:gd name="connsiteX2307" fmla="*/ 3787424 w 6436611"/>
              <a:gd name="connsiteY2307" fmla="*/ 4080552 h 4419155"/>
              <a:gd name="connsiteX2308" fmla="*/ 3799784 w 6436611"/>
              <a:gd name="connsiteY2308" fmla="*/ 4069274 h 4419155"/>
              <a:gd name="connsiteX2309" fmla="*/ 3814206 w 6436611"/>
              <a:gd name="connsiteY2309" fmla="*/ 4069274 h 4419155"/>
              <a:gd name="connsiteX2310" fmla="*/ 3777122 w 6436611"/>
              <a:gd name="connsiteY2310" fmla="*/ 4118901 h 4419155"/>
              <a:gd name="connsiteX2311" fmla="*/ 3711203 w 6436611"/>
              <a:gd name="connsiteY2311" fmla="*/ 4209138 h 4419155"/>
              <a:gd name="connsiteX2312" fmla="*/ 3705022 w 6436611"/>
              <a:gd name="connsiteY2312" fmla="*/ 4220417 h 4419155"/>
              <a:gd name="connsiteX2313" fmla="*/ 3711203 w 6436611"/>
              <a:gd name="connsiteY2313" fmla="*/ 4215904 h 4419155"/>
              <a:gd name="connsiteX2314" fmla="*/ 3766824 w 6436611"/>
              <a:gd name="connsiteY2314" fmla="*/ 4148230 h 4419155"/>
              <a:gd name="connsiteX2315" fmla="*/ 3770944 w 6436611"/>
              <a:gd name="connsiteY2315" fmla="*/ 4143718 h 4419155"/>
              <a:gd name="connsiteX2316" fmla="*/ 3799784 w 6436611"/>
              <a:gd name="connsiteY2316" fmla="*/ 4105365 h 4419155"/>
              <a:gd name="connsiteX2317" fmla="*/ 3820385 w 6436611"/>
              <a:gd name="connsiteY2317" fmla="*/ 4078295 h 4419155"/>
              <a:gd name="connsiteX2318" fmla="*/ 3824505 w 6436611"/>
              <a:gd name="connsiteY2318" fmla="*/ 4073783 h 4419155"/>
              <a:gd name="connsiteX2319" fmla="*/ 3851285 w 6436611"/>
              <a:gd name="connsiteY2319" fmla="*/ 4073783 h 4419155"/>
              <a:gd name="connsiteX2320" fmla="*/ 3908965 w 6436611"/>
              <a:gd name="connsiteY2320" fmla="*/ 4057993 h 4419155"/>
              <a:gd name="connsiteX2321" fmla="*/ 3966647 w 6436611"/>
              <a:gd name="connsiteY2321" fmla="*/ 4037691 h 4419155"/>
              <a:gd name="connsiteX2322" fmla="*/ 3976946 w 6436611"/>
              <a:gd name="connsiteY2322" fmla="*/ 4035434 h 4419155"/>
              <a:gd name="connsiteX2323" fmla="*/ 4057286 w 6436611"/>
              <a:gd name="connsiteY2323" fmla="*/ 3992572 h 4419155"/>
              <a:gd name="connsiteX2324" fmla="*/ 4094367 w 6436611"/>
              <a:gd name="connsiteY2324" fmla="*/ 3967758 h 4419155"/>
              <a:gd name="connsiteX2325" fmla="*/ 4158227 w 6436611"/>
              <a:gd name="connsiteY2325" fmla="*/ 3920382 h 4419155"/>
              <a:gd name="connsiteX2326" fmla="*/ 4222088 w 6436611"/>
              <a:gd name="connsiteY2326" fmla="*/ 3866243 h 4419155"/>
              <a:gd name="connsiteX2327" fmla="*/ 4263288 w 6436611"/>
              <a:gd name="connsiteY2327" fmla="*/ 3830145 h 4419155"/>
              <a:gd name="connsiteX2328" fmla="*/ 4316850 w 6436611"/>
              <a:gd name="connsiteY2328" fmla="*/ 3789541 h 4419155"/>
              <a:gd name="connsiteX2329" fmla="*/ 4366291 w 6436611"/>
              <a:gd name="connsiteY2329" fmla="*/ 3760212 h 4419155"/>
              <a:gd name="connsiteX2330" fmla="*/ 4448691 w 6436611"/>
              <a:gd name="connsiteY2330" fmla="*/ 3708328 h 4419155"/>
              <a:gd name="connsiteX2331" fmla="*/ 4450751 w 6436611"/>
              <a:gd name="connsiteY2331" fmla="*/ 3706070 h 4419155"/>
              <a:gd name="connsiteX2332" fmla="*/ 4454871 w 6436611"/>
              <a:gd name="connsiteY2332" fmla="*/ 3703816 h 4419155"/>
              <a:gd name="connsiteX2333" fmla="*/ 4469290 w 6436611"/>
              <a:gd name="connsiteY2333" fmla="*/ 3703816 h 4419155"/>
              <a:gd name="connsiteX2334" fmla="*/ 4477531 w 6436611"/>
              <a:gd name="connsiteY2334" fmla="*/ 3701558 h 4419155"/>
              <a:gd name="connsiteX2335" fmla="*/ 4510491 w 6436611"/>
              <a:gd name="connsiteY2335" fmla="*/ 3685768 h 4419155"/>
              <a:gd name="connsiteX2336" fmla="*/ 4629971 w 6436611"/>
              <a:gd name="connsiteY2336" fmla="*/ 3507554 h 4419155"/>
              <a:gd name="connsiteX2337" fmla="*/ 4658812 w 6436611"/>
              <a:gd name="connsiteY2337" fmla="*/ 3487249 h 4419155"/>
              <a:gd name="connsiteX2338" fmla="*/ 4667053 w 6436611"/>
              <a:gd name="connsiteY2338" fmla="*/ 3480483 h 4419155"/>
              <a:gd name="connsiteX2339" fmla="*/ 4724734 w 6436611"/>
              <a:gd name="connsiteY2339" fmla="*/ 3444388 h 4419155"/>
              <a:gd name="connsiteX2340" fmla="*/ 4778295 w 6436611"/>
              <a:gd name="connsiteY2340" fmla="*/ 3412805 h 4419155"/>
              <a:gd name="connsiteX2341" fmla="*/ 4811253 w 6436611"/>
              <a:gd name="connsiteY2341" fmla="*/ 3385734 h 4419155"/>
              <a:gd name="connsiteX2342" fmla="*/ 4835974 w 6436611"/>
              <a:gd name="connsiteY2342" fmla="*/ 3376710 h 4419155"/>
              <a:gd name="connsiteX2343" fmla="*/ 4850395 w 6436611"/>
              <a:gd name="connsiteY2343" fmla="*/ 3372198 h 4419155"/>
              <a:gd name="connsiteX2344" fmla="*/ 4844213 w 6436611"/>
              <a:gd name="connsiteY2344" fmla="*/ 3367687 h 4419155"/>
              <a:gd name="connsiteX2345" fmla="*/ 4854515 w 6436611"/>
              <a:gd name="connsiteY2345" fmla="*/ 3358663 h 4419155"/>
              <a:gd name="connsiteX2346" fmla="*/ 4918375 w 6436611"/>
              <a:gd name="connsiteY2346" fmla="*/ 3324825 h 4419155"/>
              <a:gd name="connsiteX2347" fmla="*/ 4951333 w 6436611"/>
              <a:gd name="connsiteY2347" fmla="*/ 3306778 h 4419155"/>
              <a:gd name="connsiteX2348" fmla="*/ 5062576 w 6436611"/>
              <a:gd name="connsiteY2348" fmla="*/ 3254894 h 4419155"/>
              <a:gd name="connsiteX2349" fmla="*/ 5083177 w 6436611"/>
              <a:gd name="connsiteY2349" fmla="*/ 3243612 h 4419155"/>
              <a:gd name="connsiteX2350" fmla="*/ 5107897 w 6436611"/>
              <a:gd name="connsiteY2350" fmla="*/ 3227822 h 4419155"/>
              <a:gd name="connsiteX2351" fmla="*/ 5118196 w 6436611"/>
              <a:gd name="connsiteY2351" fmla="*/ 3221054 h 4419155"/>
              <a:gd name="connsiteX2352" fmla="*/ 5142916 w 6436611"/>
              <a:gd name="connsiteY2352" fmla="*/ 3205263 h 4419155"/>
              <a:gd name="connsiteX2353" fmla="*/ 5266520 w 6436611"/>
              <a:gd name="connsiteY2353" fmla="*/ 3153378 h 4419155"/>
              <a:gd name="connsiteX2354" fmla="*/ 5353039 w 6436611"/>
              <a:gd name="connsiteY2354" fmla="*/ 3117283 h 4419155"/>
              <a:gd name="connsiteX2355" fmla="*/ 5398360 w 6436611"/>
              <a:gd name="connsiteY2355" fmla="*/ 3099236 h 4419155"/>
              <a:gd name="connsiteX2356" fmla="*/ 5396298 w 6436611"/>
              <a:gd name="connsiteY2356" fmla="*/ 3101490 h 4419155"/>
              <a:gd name="connsiteX2357" fmla="*/ 5416898 w 6436611"/>
              <a:gd name="connsiteY2357" fmla="*/ 3094724 h 4419155"/>
              <a:gd name="connsiteX2358" fmla="*/ 5416898 w 6436611"/>
              <a:gd name="connsiteY2358" fmla="*/ 3092469 h 4419155"/>
              <a:gd name="connsiteX2359" fmla="*/ 5433380 w 6436611"/>
              <a:gd name="connsiteY2359" fmla="*/ 3085700 h 4419155"/>
              <a:gd name="connsiteX2360" fmla="*/ 5441619 w 6436611"/>
              <a:gd name="connsiteY2360" fmla="*/ 3087954 h 4419155"/>
              <a:gd name="connsiteX2361" fmla="*/ 5464282 w 6436611"/>
              <a:gd name="connsiteY2361" fmla="*/ 3074418 h 4419155"/>
              <a:gd name="connsiteX2362" fmla="*/ 5445739 w 6436611"/>
              <a:gd name="connsiteY2362" fmla="*/ 3078934 h 4419155"/>
              <a:gd name="connsiteX2363" fmla="*/ 5466341 w 6436611"/>
              <a:gd name="connsiteY2363" fmla="*/ 3065398 h 4419155"/>
              <a:gd name="connsiteX2364" fmla="*/ 5484880 w 6436611"/>
              <a:gd name="connsiteY2364" fmla="*/ 3054116 h 4419155"/>
              <a:gd name="connsiteX2365" fmla="*/ 5519901 w 6436611"/>
              <a:gd name="connsiteY2365" fmla="*/ 3045093 h 4419155"/>
              <a:gd name="connsiteX2366" fmla="*/ 5530200 w 6436611"/>
              <a:gd name="connsiteY2366" fmla="*/ 3049605 h 4419155"/>
              <a:gd name="connsiteX2367" fmla="*/ 5604362 w 6436611"/>
              <a:gd name="connsiteY2367" fmla="*/ 3024791 h 4419155"/>
              <a:gd name="connsiteX2368" fmla="*/ 5633203 w 6436611"/>
              <a:gd name="connsiteY2368" fmla="*/ 2999974 h 4419155"/>
              <a:gd name="connsiteX2369" fmla="*/ 5637323 w 6436611"/>
              <a:gd name="connsiteY2369" fmla="*/ 2997720 h 4419155"/>
              <a:gd name="connsiteX2370" fmla="*/ 5647621 w 6436611"/>
              <a:gd name="connsiteY2370" fmla="*/ 3002232 h 4419155"/>
              <a:gd name="connsiteX2371" fmla="*/ 5649683 w 6436611"/>
              <a:gd name="connsiteY2371" fmla="*/ 2988696 h 4419155"/>
              <a:gd name="connsiteX2372" fmla="*/ 5633203 w 6436611"/>
              <a:gd name="connsiteY2372" fmla="*/ 2988696 h 4419155"/>
              <a:gd name="connsiteX2373" fmla="*/ 5645560 w 6436611"/>
              <a:gd name="connsiteY2373" fmla="*/ 2975160 h 4419155"/>
              <a:gd name="connsiteX2374" fmla="*/ 5610541 w 6436611"/>
              <a:gd name="connsiteY2374" fmla="*/ 2984185 h 4419155"/>
              <a:gd name="connsiteX2375" fmla="*/ 5550801 w 6436611"/>
              <a:gd name="connsiteY2375" fmla="*/ 3006744 h 4419155"/>
              <a:gd name="connsiteX2376" fmla="*/ 5517840 w 6436611"/>
              <a:gd name="connsiteY2376" fmla="*/ 3022534 h 4419155"/>
              <a:gd name="connsiteX2377" fmla="*/ 5497239 w 6436611"/>
              <a:gd name="connsiteY2377" fmla="*/ 3024791 h 4419155"/>
              <a:gd name="connsiteX2378" fmla="*/ 5425139 w 6436611"/>
              <a:gd name="connsiteY2378" fmla="*/ 3049605 h 4419155"/>
              <a:gd name="connsiteX2379" fmla="*/ 5416898 w 6436611"/>
              <a:gd name="connsiteY2379" fmla="*/ 3051863 h 4419155"/>
              <a:gd name="connsiteX2380" fmla="*/ 5388059 w 6436611"/>
              <a:gd name="connsiteY2380" fmla="*/ 3063140 h 4419155"/>
              <a:gd name="connsiteX2381" fmla="*/ 5340679 w 6436611"/>
              <a:gd name="connsiteY2381" fmla="*/ 3076676 h 4419155"/>
              <a:gd name="connsiteX2382" fmla="*/ 5363338 w 6436611"/>
              <a:gd name="connsiteY2382" fmla="*/ 3056374 h 4419155"/>
              <a:gd name="connsiteX2383" fmla="*/ 5377759 w 6436611"/>
              <a:gd name="connsiteY2383" fmla="*/ 3045093 h 4419155"/>
              <a:gd name="connsiteX2384" fmla="*/ 5427200 w 6436611"/>
              <a:gd name="connsiteY2384" fmla="*/ 3018022 h 4419155"/>
              <a:gd name="connsiteX2385" fmla="*/ 5433380 w 6436611"/>
              <a:gd name="connsiteY2385" fmla="*/ 3015767 h 4419155"/>
              <a:gd name="connsiteX2386" fmla="*/ 5511661 w 6436611"/>
              <a:gd name="connsiteY2386" fmla="*/ 2977418 h 4419155"/>
              <a:gd name="connsiteX2387" fmla="*/ 5517840 w 6436611"/>
              <a:gd name="connsiteY2387" fmla="*/ 2968394 h 4419155"/>
              <a:gd name="connsiteX2388" fmla="*/ 5536382 w 6436611"/>
              <a:gd name="connsiteY2388" fmla="*/ 2957113 h 4419155"/>
              <a:gd name="connsiteX2389" fmla="*/ 5559041 w 6436611"/>
              <a:gd name="connsiteY2389" fmla="*/ 2952602 h 4419155"/>
              <a:gd name="connsiteX2390" fmla="*/ 5563161 w 6436611"/>
              <a:gd name="connsiteY2390" fmla="*/ 2950347 h 4419155"/>
              <a:gd name="connsiteX2391" fmla="*/ 5579641 w 6436611"/>
              <a:gd name="connsiteY2391" fmla="*/ 2945836 h 4419155"/>
              <a:gd name="connsiteX2392" fmla="*/ 5587882 w 6436611"/>
              <a:gd name="connsiteY2392" fmla="*/ 2939066 h 4419155"/>
              <a:gd name="connsiteX2393" fmla="*/ 5583762 w 6436611"/>
              <a:gd name="connsiteY2393" fmla="*/ 2934554 h 4419155"/>
              <a:gd name="connsiteX2394" fmla="*/ 5581700 w 6436611"/>
              <a:gd name="connsiteY2394" fmla="*/ 2934554 h 4419155"/>
              <a:gd name="connsiteX2395" fmla="*/ 5583762 w 6436611"/>
              <a:gd name="connsiteY2395" fmla="*/ 2933426 h 4419155"/>
              <a:gd name="connsiteX2396" fmla="*/ 5583762 w 6436611"/>
              <a:gd name="connsiteY2396" fmla="*/ 2927788 h 4419155"/>
              <a:gd name="connsiteX2397" fmla="*/ 5585823 w 6436611"/>
              <a:gd name="connsiteY2397" fmla="*/ 2927788 h 4419155"/>
              <a:gd name="connsiteX2398" fmla="*/ 5587588 w 6436611"/>
              <a:gd name="connsiteY2398" fmla="*/ 2931656 h 4419155"/>
              <a:gd name="connsiteX2399" fmla="*/ 5595092 w 6436611"/>
              <a:gd name="connsiteY2399" fmla="*/ 2928916 h 4419155"/>
              <a:gd name="connsiteX2400" fmla="*/ 5596121 w 6436611"/>
              <a:gd name="connsiteY2400" fmla="*/ 2927788 h 4419155"/>
              <a:gd name="connsiteX2401" fmla="*/ 5598180 w 6436611"/>
              <a:gd name="connsiteY2401" fmla="*/ 2927788 h 4419155"/>
              <a:gd name="connsiteX2402" fmla="*/ 5595092 w 6436611"/>
              <a:gd name="connsiteY2402" fmla="*/ 2928916 h 4419155"/>
              <a:gd name="connsiteX2403" fmla="*/ 5592001 w 6436611"/>
              <a:gd name="connsiteY2403" fmla="*/ 2932300 h 4419155"/>
              <a:gd name="connsiteX2404" fmla="*/ 5602301 w 6436611"/>
              <a:gd name="connsiteY2404" fmla="*/ 2934554 h 4419155"/>
              <a:gd name="connsiteX2405" fmla="*/ 5637323 w 6436611"/>
              <a:gd name="connsiteY2405" fmla="*/ 2916507 h 4419155"/>
              <a:gd name="connsiteX2406" fmla="*/ 5643501 w 6436611"/>
              <a:gd name="connsiteY2406" fmla="*/ 2914252 h 4419155"/>
              <a:gd name="connsiteX2407" fmla="*/ 5647621 w 6436611"/>
              <a:gd name="connsiteY2407" fmla="*/ 2916507 h 4419155"/>
              <a:gd name="connsiteX2408" fmla="*/ 5670281 w 6436611"/>
              <a:gd name="connsiteY2408" fmla="*/ 2914252 h 4419155"/>
              <a:gd name="connsiteX2409" fmla="*/ 5717663 w 6436611"/>
              <a:gd name="connsiteY2409" fmla="*/ 2900716 h 4419155"/>
              <a:gd name="connsiteX2410" fmla="*/ 5740323 w 6436611"/>
              <a:gd name="connsiteY2410" fmla="*/ 2893947 h 4419155"/>
              <a:gd name="connsiteX2411" fmla="*/ 5765043 w 6436611"/>
              <a:gd name="connsiteY2411" fmla="*/ 2884924 h 4419155"/>
              <a:gd name="connsiteX2412" fmla="*/ 5791825 w 6436611"/>
              <a:gd name="connsiteY2412" fmla="*/ 2878158 h 4419155"/>
              <a:gd name="connsiteX2413" fmla="*/ 5818604 w 6436611"/>
              <a:gd name="connsiteY2413" fmla="*/ 2871388 h 4419155"/>
              <a:gd name="connsiteX2414" fmla="*/ 5841263 w 6436611"/>
              <a:gd name="connsiteY2414" fmla="*/ 2864622 h 4419155"/>
              <a:gd name="connsiteX2415" fmla="*/ 5874224 w 6436611"/>
              <a:gd name="connsiteY2415" fmla="*/ 2851086 h 4419155"/>
              <a:gd name="connsiteX2416" fmla="*/ 5968983 w 6436611"/>
              <a:gd name="connsiteY2416" fmla="*/ 2846574 h 4419155"/>
              <a:gd name="connsiteX2417" fmla="*/ 6001945 w 6436611"/>
              <a:gd name="connsiteY2417" fmla="*/ 2839808 h 4419155"/>
              <a:gd name="connsiteX2418" fmla="*/ 6026665 w 6436611"/>
              <a:gd name="connsiteY2418" fmla="*/ 2837550 h 4419155"/>
              <a:gd name="connsiteX2419" fmla="*/ 6049327 w 6436611"/>
              <a:gd name="connsiteY2419" fmla="*/ 2842062 h 4419155"/>
              <a:gd name="connsiteX2420" fmla="*/ 6100827 w 6436611"/>
              <a:gd name="connsiteY2420" fmla="*/ 2839808 h 4419155"/>
              <a:gd name="connsiteX2421" fmla="*/ 6107006 w 6436611"/>
              <a:gd name="connsiteY2421" fmla="*/ 2835296 h 4419155"/>
              <a:gd name="connsiteX2422" fmla="*/ 6088467 w 6436611"/>
              <a:gd name="connsiteY2422" fmla="*/ 2830784 h 4419155"/>
              <a:gd name="connsiteX2423" fmla="*/ 6069927 w 6436611"/>
              <a:gd name="connsiteY2423" fmla="*/ 2828527 h 4419155"/>
              <a:gd name="connsiteX2424" fmla="*/ 6117307 w 6436611"/>
              <a:gd name="connsiteY2424" fmla="*/ 2828527 h 4419155"/>
              <a:gd name="connsiteX2425" fmla="*/ 6135847 w 6436611"/>
              <a:gd name="connsiteY2425" fmla="*/ 2814991 h 4419155"/>
              <a:gd name="connsiteX2426" fmla="*/ 6133788 w 6436611"/>
              <a:gd name="connsiteY2426" fmla="*/ 2808225 h 4419155"/>
              <a:gd name="connsiteX2427" fmla="*/ 6127606 w 6436611"/>
              <a:gd name="connsiteY2427" fmla="*/ 2803714 h 4419155"/>
              <a:gd name="connsiteX2428" fmla="*/ 6082285 w 6436611"/>
              <a:gd name="connsiteY2428" fmla="*/ 2796944 h 4419155"/>
              <a:gd name="connsiteX2429" fmla="*/ 6063746 w 6436611"/>
              <a:gd name="connsiteY2429" fmla="*/ 2794689 h 4419155"/>
              <a:gd name="connsiteX2430" fmla="*/ 6067866 w 6436611"/>
              <a:gd name="connsiteY2430" fmla="*/ 2792432 h 4419155"/>
              <a:gd name="connsiteX2431" fmla="*/ 6084347 w 6436611"/>
              <a:gd name="connsiteY2431" fmla="*/ 2778898 h 4419155"/>
              <a:gd name="connsiteX2432" fmla="*/ 6071986 w 6436611"/>
              <a:gd name="connsiteY2432" fmla="*/ 2781153 h 4419155"/>
              <a:gd name="connsiteX2433" fmla="*/ 5993704 w 6436611"/>
              <a:gd name="connsiteY2433" fmla="*/ 2796944 h 4419155"/>
              <a:gd name="connsiteX2434" fmla="*/ 5971045 w 6436611"/>
              <a:gd name="connsiteY2434" fmla="*/ 2803714 h 4419155"/>
              <a:gd name="connsiteX2435" fmla="*/ 5950445 w 6436611"/>
              <a:gd name="connsiteY2435" fmla="*/ 2801455 h 4419155"/>
              <a:gd name="connsiteX2436" fmla="*/ 5940143 w 6436611"/>
              <a:gd name="connsiteY2436" fmla="*/ 2803714 h 4419155"/>
              <a:gd name="connsiteX2437" fmla="*/ 5901003 w 6436611"/>
              <a:gd name="connsiteY2437" fmla="*/ 2805968 h 4419155"/>
              <a:gd name="connsiteX2438" fmla="*/ 5898945 w 6436611"/>
              <a:gd name="connsiteY2438" fmla="*/ 2805968 h 4419155"/>
              <a:gd name="connsiteX2439" fmla="*/ 5886585 w 6436611"/>
              <a:gd name="connsiteY2439" fmla="*/ 2796944 h 4419155"/>
              <a:gd name="connsiteX2440" fmla="*/ 5874224 w 6436611"/>
              <a:gd name="connsiteY2440" fmla="*/ 2799200 h 4419155"/>
              <a:gd name="connsiteX2441" fmla="*/ 5878344 w 6436611"/>
              <a:gd name="connsiteY2441" fmla="*/ 2796944 h 4419155"/>
              <a:gd name="connsiteX2442" fmla="*/ 5925724 w 6436611"/>
              <a:gd name="connsiteY2442" fmla="*/ 2783408 h 4419155"/>
              <a:gd name="connsiteX2443" fmla="*/ 5942204 w 6436611"/>
              <a:gd name="connsiteY2443" fmla="*/ 2778898 h 4419155"/>
              <a:gd name="connsiteX2444" fmla="*/ 5944263 w 6436611"/>
              <a:gd name="connsiteY2444" fmla="*/ 2778898 h 4419155"/>
              <a:gd name="connsiteX2445" fmla="*/ 5962805 w 6436611"/>
              <a:gd name="connsiteY2445" fmla="*/ 2778898 h 4419155"/>
              <a:gd name="connsiteX2446" fmla="*/ 5983406 w 6436611"/>
              <a:gd name="connsiteY2446" fmla="*/ 2772130 h 4419155"/>
              <a:gd name="connsiteX2447" fmla="*/ 5989584 w 6436611"/>
              <a:gd name="connsiteY2447" fmla="*/ 2769873 h 4419155"/>
              <a:gd name="connsiteX2448" fmla="*/ 6001945 w 6436611"/>
              <a:gd name="connsiteY2448" fmla="*/ 2769873 h 4419155"/>
              <a:gd name="connsiteX2449" fmla="*/ 6041087 w 6436611"/>
              <a:gd name="connsiteY2449" fmla="*/ 2774387 h 4419155"/>
              <a:gd name="connsiteX2450" fmla="*/ 6063746 w 6436611"/>
              <a:gd name="connsiteY2450" fmla="*/ 2781153 h 4419155"/>
              <a:gd name="connsiteX2451" fmla="*/ 6074045 w 6436611"/>
              <a:gd name="connsiteY2451" fmla="*/ 2776642 h 4419155"/>
              <a:gd name="connsiteX2452" fmla="*/ 6084347 w 6436611"/>
              <a:gd name="connsiteY2452" fmla="*/ 2765364 h 4419155"/>
              <a:gd name="connsiteX2453" fmla="*/ 6069927 w 6436611"/>
              <a:gd name="connsiteY2453" fmla="*/ 2758594 h 4419155"/>
              <a:gd name="connsiteX2454" fmla="*/ 6057565 w 6436611"/>
              <a:gd name="connsiteY2454" fmla="*/ 2749571 h 4419155"/>
              <a:gd name="connsiteX2455" fmla="*/ 6063746 w 6436611"/>
              <a:gd name="connsiteY2455" fmla="*/ 2736036 h 4419155"/>
              <a:gd name="connsiteX2456" fmla="*/ 6078165 w 6436611"/>
              <a:gd name="connsiteY2456" fmla="*/ 2733780 h 4419155"/>
              <a:gd name="connsiteX2457" fmla="*/ 6084347 w 6436611"/>
              <a:gd name="connsiteY2457" fmla="*/ 2729269 h 4419155"/>
              <a:gd name="connsiteX2458" fmla="*/ 6057565 w 6436611"/>
              <a:gd name="connsiteY2458" fmla="*/ 2727011 h 4419155"/>
              <a:gd name="connsiteX2459" fmla="*/ 6092586 w 6436611"/>
              <a:gd name="connsiteY2459" fmla="*/ 2715734 h 4419155"/>
              <a:gd name="connsiteX2460" fmla="*/ 6117307 w 6436611"/>
              <a:gd name="connsiteY2460" fmla="*/ 2699940 h 4419155"/>
              <a:gd name="connsiteX2461" fmla="*/ 6119366 w 6436611"/>
              <a:gd name="connsiteY2461" fmla="*/ 2699940 h 4419155"/>
              <a:gd name="connsiteX2462" fmla="*/ 6131726 w 6436611"/>
              <a:gd name="connsiteY2462" fmla="*/ 2695429 h 4419155"/>
              <a:gd name="connsiteX2463" fmla="*/ 6139967 w 6436611"/>
              <a:gd name="connsiteY2463" fmla="*/ 2693174 h 4419155"/>
              <a:gd name="connsiteX2464" fmla="*/ 6150265 w 6436611"/>
              <a:gd name="connsiteY2464" fmla="*/ 2690916 h 4419155"/>
              <a:gd name="connsiteX2465" fmla="*/ 6154386 w 6436611"/>
              <a:gd name="connsiteY2465" fmla="*/ 2686404 h 4419155"/>
              <a:gd name="connsiteX2466" fmla="*/ 6098765 w 6436611"/>
              <a:gd name="connsiteY2466" fmla="*/ 2702198 h 4419155"/>
              <a:gd name="connsiteX2467" fmla="*/ 6100827 w 6436611"/>
              <a:gd name="connsiteY2467" fmla="*/ 2704452 h 4419155"/>
              <a:gd name="connsiteX2468" fmla="*/ 6065804 w 6436611"/>
              <a:gd name="connsiteY2468" fmla="*/ 2711222 h 4419155"/>
              <a:gd name="connsiteX2469" fmla="*/ 6078165 w 6436611"/>
              <a:gd name="connsiteY2469" fmla="*/ 2702198 h 4419155"/>
              <a:gd name="connsiteX2470" fmla="*/ 6076106 w 6436611"/>
              <a:gd name="connsiteY2470" fmla="*/ 2695429 h 4419155"/>
              <a:gd name="connsiteX2471" fmla="*/ 6076106 w 6436611"/>
              <a:gd name="connsiteY2471" fmla="*/ 2690916 h 4419155"/>
              <a:gd name="connsiteX2472" fmla="*/ 6063746 w 6436611"/>
              <a:gd name="connsiteY2472" fmla="*/ 2690916 h 4419155"/>
              <a:gd name="connsiteX2473" fmla="*/ 6024606 w 6436611"/>
              <a:gd name="connsiteY2473" fmla="*/ 2684150 h 4419155"/>
              <a:gd name="connsiteX2474" fmla="*/ 6022545 w 6436611"/>
              <a:gd name="connsiteY2474" fmla="*/ 2684150 h 4419155"/>
              <a:gd name="connsiteX2475" fmla="*/ 6071986 w 6436611"/>
              <a:gd name="connsiteY2475" fmla="*/ 2672869 h 4419155"/>
              <a:gd name="connsiteX2476" fmla="*/ 6069927 w 6436611"/>
              <a:gd name="connsiteY2476" fmla="*/ 2677384 h 4419155"/>
              <a:gd name="connsiteX2477" fmla="*/ 6098765 w 6436611"/>
              <a:gd name="connsiteY2477" fmla="*/ 2672869 h 4419155"/>
              <a:gd name="connsiteX2478" fmla="*/ 6152327 w 6436611"/>
              <a:gd name="connsiteY2478" fmla="*/ 2661591 h 4419155"/>
              <a:gd name="connsiteX2479" fmla="*/ 6199706 w 6436611"/>
              <a:gd name="connsiteY2479" fmla="*/ 2650312 h 4419155"/>
              <a:gd name="connsiteX2480" fmla="*/ 6205888 w 6436611"/>
              <a:gd name="connsiteY2480" fmla="*/ 2645800 h 4419155"/>
              <a:gd name="connsiteX2481" fmla="*/ 6181167 w 6436611"/>
              <a:gd name="connsiteY2481" fmla="*/ 2648056 h 4419155"/>
              <a:gd name="connsiteX2482" fmla="*/ 6131726 w 6436611"/>
              <a:gd name="connsiteY2482" fmla="*/ 2657080 h 4419155"/>
              <a:gd name="connsiteX2483" fmla="*/ 6100827 w 6436611"/>
              <a:gd name="connsiteY2483" fmla="*/ 2659333 h 4419155"/>
              <a:gd name="connsiteX2484" fmla="*/ 6080226 w 6436611"/>
              <a:gd name="connsiteY2484" fmla="*/ 2666102 h 4419155"/>
              <a:gd name="connsiteX2485" fmla="*/ 6014304 w 6436611"/>
              <a:gd name="connsiteY2485" fmla="*/ 2672869 h 4419155"/>
              <a:gd name="connsiteX2486" fmla="*/ 6039026 w 6436611"/>
              <a:gd name="connsiteY2486" fmla="*/ 2663848 h 4419155"/>
              <a:gd name="connsiteX2487" fmla="*/ 6049327 w 6436611"/>
              <a:gd name="connsiteY2487" fmla="*/ 2659333 h 4419155"/>
              <a:gd name="connsiteX2488" fmla="*/ 6094645 w 6436611"/>
              <a:gd name="connsiteY2488" fmla="*/ 2657080 h 4419155"/>
              <a:gd name="connsiteX2489" fmla="*/ 6154386 w 6436611"/>
              <a:gd name="connsiteY2489" fmla="*/ 2645800 h 4419155"/>
              <a:gd name="connsiteX2490" fmla="*/ 6216186 w 6436611"/>
              <a:gd name="connsiteY2490" fmla="*/ 2639032 h 4419155"/>
              <a:gd name="connsiteX2491" fmla="*/ 6292407 w 6436611"/>
              <a:gd name="connsiteY2491" fmla="*/ 2625496 h 4419155"/>
              <a:gd name="connsiteX2492" fmla="*/ 6298588 w 6436611"/>
              <a:gd name="connsiteY2492" fmla="*/ 2616472 h 4419155"/>
              <a:gd name="connsiteX2493" fmla="*/ 6251209 w 6436611"/>
              <a:gd name="connsiteY2493" fmla="*/ 2620984 h 4419155"/>
              <a:gd name="connsiteX2494" fmla="*/ 6189408 w 6436611"/>
              <a:gd name="connsiteY2494" fmla="*/ 2630008 h 4419155"/>
              <a:gd name="connsiteX2495" fmla="*/ 6199706 w 6436611"/>
              <a:gd name="connsiteY2495" fmla="*/ 2627754 h 4419155"/>
              <a:gd name="connsiteX2496" fmla="*/ 6189408 w 6436611"/>
              <a:gd name="connsiteY2496" fmla="*/ 2623242 h 4419155"/>
              <a:gd name="connsiteX2497" fmla="*/ 6162628 w 6436611"/>
              <a:gd name="connsiteY2497" fmla="*/ 2625496 h 4419155"/>
              <a:gd name="connsiteX2498" fmla="*/ 6049327 w 6436611"/>
              <a:gd name="connsiteY2498" fmla="*/ 2645800 h 4419155"/>
              <a:gd name="connsiteX2499" fmla="*/ 6034906 w 6436611"/>
              <a:gd name="connsiteY2499" fmla="*/ 2648056 h 4419155"/>
              <a:gd name="connsiteX2500" fmla="*/ 6022545 w 6436611"/>
              <a:gd name="connsiteY2500" fmla="*/ 2643544 h 4419155"/>
              <a:gd name="connsiteX2501" fmla="*/ 6018425 w 6436611"/>
              <a:gd name="connsiteY2501" fmla="*/ 2641289 h 4419155"/>
              <a:gd name="connsiteX2502" fmla="*/ 6028726 w 6436611"/>
              <a:gd name="connsiteY2502" fmla="*/ 2639032 h 4419155"/>
              <a:gd name="connsiteX2503" fmla="*/ 6049327 w 6436611"/>
              <a:gd name="connsiteY2503" fmla="*/ 2627754 h 4419155"/>
              <a:gd name="connsiteX2504" fmla="*/ 6012244 w 6436611"/>
              <a:gd name="connsiteY2504" fmla="*/ 2634520 h 4419155"/>
              <a:gd name="connsiteX2505" fmla="*/ 6010185 w 6436611"/>
              <a:gd name="connsiteY2505" fmla="*/ 2632265 h 4419155"/>
              <a:gd name="connsiteX2506" fmla="*/ 6014304 w 6436611"/>
              <a:gd name="connsiteY2506" fmla="*/ 2625496 h 4419155"/>
              <a:gd name="connsiteX2507" fmla="*/ 6041087 w 6436611"/>
              <a:gd name="connsiteY2507" fmla="*/ 2623242 h 4419155"/>
              <a:gd name="connsiteX2508" fmla="*/ 6059626 w 6436611"/>
              <a:gd name="connsiteY2508" fmla="*/ 2618730 h 4419155"/>
              <a:gd name="connsiteX2509" fmla="*/ 6121427 w 6436611"/>
              <a:gd name="connsiteY2509" fmla="*/ 2607449 h 4419155"/>
              <a:gd name="connsiteX2510" fmla="*/ 6150265 w 6436611"/>
              <a:gd name="connsiteY2510" fmla="*/ 2600682 h 4419155"/>
              <a:gd name="connsiteX2511" fmla="*/ 6139967 w 6436611"/>
              <a:gd name="connsiteY2511" fmla="*/ 2600682 h 4419155"/>
              <a:gd name="connsiteX2512" fmla="*/ 6144086 w 6436611"/>
              <a:gd name="connsiteY2512" fmla="*/ 2598424 h 4419155"/>
              <a:gd name="connsiteX2513" fmla="*/ 6113187 w 6436611"/>
              <a:gd name="connsiteY2513" fmla="*/ 2589402 h 4419155"/>
              <a:gd name="connsiteX2514" fmla="*/ 6137908 w 6436611"/>
              <a:gd name="connsiteY2514" fmla="*/ 2589402 h 4419155"/>
              <a:gd name="connsiteX2515" fmla="*/ 6160567 w 6436611"/>
              <a:gd name="connsiteY2515" fmla="*/ 2582634 h 4419155"/>
              <a:gd name="connsiteX2516" fmla="*/ 6183226 w 6436611"/>
              <a:gd name="connsiteY2516" fmla="*/ 2578122 h 4419155"/>
              <a:gd name="connsiteX2517" fmla="*/ 6205888 w 6436611"/>
              <a:gd name="connsiteY2517" fmla="*/ 2571354 h 4419155"/>
              <a:gd name="connsiteX2518" fmla="*/ 6228547 w 6436611"/>
              <a:gd name="connsiteY2518" fmla="*/ 2566842 h 4419155"/>
              <a:gd name="connsiteX2519" fmla="*/ 6249147 w 6436611"/>
              <a:gd name="connsiteY2519" fmla="*/ 2557818 h 4419155"/>
              <a:gd name="connsiteX2520" fmla="*/ 6212067 w 6436611"/>
              <a:gd name="connsiteY2520" fmla="*/ 2557818 h 4419155"/>
              <a:gd name="connsiteX2521" fmla="*/ 6207947 w 6436611"/>
              <a:gd name="connsiteY2521" fmla="*/ 2542028 h 4419155"/>
              <a:gd name="connsiteX2522" fmla="*/ 6199706 w 6436611"/>
              <a:gd name="connsiteY2522" fmla="*/ 2539773 h 4419155"/>
              <a:gd name="connsiteX2523" fmla="*/ 6137908 w 6436611"/>
              <a:gd name="connsiteY2523" fmla="*/ 2546540 h 4419155"/>
              <a:gd name="connsiteX2524" fmla="*/ 6090525 w 6436611"/>
              <a:gd name="connsiteY2524" fmla="*/ 2557818 h 4419155"/>
              <a:gd name="connsiteX2525" fmla="*/ 6039026 w 6436611"/>
              <a:gd name="connsiteY2525" fmla="*/ 2564587 h 4419155"/>
              <a:gd name="connsiteX2526" fmla="*/ 6057565 w 6436611"/>
              <a:gd name="connsiteY2526" fmla="*/ 2566842 h 4419155"/>
              <a:gd name="connsiteX2527" fmla="*/ 6061685 w 6436611"/>
              <a:gd name="connsiteY2527" fmla="*/ 2566842 h 4419155"/>
              <a:gd name="connsiteX2528" fmla="*/ 6045206 w 6436611"/>
              <a:gd name="connsiteY2528" fmla="*/ 2571354 h 4419155"/>
              <a:gd name="connsiteX2529" fmla="*/ 6039026 w 6436611"/>
              <a:gd name="connsiteY2529" fmla="*/ 2584889 h 4419155"/>
              <a:gd name="connsiteX2530" fmla="*/ 6024606 w 6436611"/>
              <a:gd name="connsiteY2530" fmla="*/ 2578122 h 4419155"/>
              <a:gd name="connsiteX2531" fmla="*/ 6014304 w 6436611"/>
              <a:gd name="connsiteY2531" fmla="*/ 2575868 h 4419155"/>
              <a:gd name="connsiteX2532" fmla="*/ 6018425 w 6436611"/>
              <a:gd name="connsiteY2532" fmla="*/ 2566842 h 4419155"/>
              <a:gd name="connsiteX2533" fmla="*/ 5995765 w 6436611"/>
              <a:gd name="connsiteY2533" fmla="*/ 2569100 h 4419155"/>
              <a:gd name="connsiteX2534" fmla="*/ 5919542 w 6436611"/>
              <a:gd name="connsiteY2534" fmla="*/ 2569100 h 4419155"/>
              <a:gd name="connsiteX2535" fmla="*/ 5936026 w 6436611"/>
              <a:gd name="connsiteY2535" fmla="*/ 2553309 h 4419155"/>
              <a:gd name="connsiteX2536" fmla="*/ 5962805 w 6436611"/>
              <a:gd name="connsiteY2536" fmla="*/ 2537516 h 4419155"/>
              <a:gd name="connsiteX2537" fmla="*/ 5915426 w 6436611"/>
              <a:gd name="connsiteY2537" fmla="*/ 2539773 h 4419155"/>
              <a:gd name="connsiteX2538" fmla="*/ 5987526 w 6436611"/>
              <a:gd name="connsiteY2538" fmla="*/ 2526238 h 4419155"/>
              <a:gd name="connsiteX2539" fmla="*/ 6065804 w 6436611"/>
              <a:gd name="connsiteY2539" fmla="*/ 2492397 h 4419155"/>
              <a:gd name="connsiteX2540" fmla="*/ 6065804 w 6436611"/>
              <a:gd name="connsiteY2540" fmla="*/ 2487886 h 4419155"/>
              <a:gd name="connsiteX2541" fmla="*/ 6034906 w 6436611"/>
              <a:gd name="connsiteY2541" fmla="*/ 2487886 h 4419155"/>
              <a:gd name="connsiteX2542" fmla="*/ 5971045 w 6436611"/>
              <a:gd name="connsiteY2542" fmla="*/ 2494656 h 4419155"/>
              <a:gd name="connsiteX2543" fmla="*/ 5997824 w 6436611"/>
              <a:gd name="connsiteY2543" fmla="*/ 2490142 h 4419155"/>
              <a:gd name="connsiteX2544" fmla="*/ 6012244 w 6436611"/>
              <a:gd name="connsiteY2544" fmla="*/ 2487886 h 4419155"/>
              <a:gd name="connsiteX2545" fmla="*/ 6022545 w 6436611"/>
              <a:gd name="connsiteY2545" fmla="*/ 2478862 h 4419155"/>
              <a:gd name="connsiteX2546" fmla="*/ 6028726 w 6436611"/>
              <a:gd name="connsiteY2546" fmla="*/ 2474354 h 4419155"/>
              <a:gd name="connsiteX2547" fmla="*/ 6053445 w 6436611"/>
              <a:gd name="connsiteY2547" fmla="*/ 2481120 h 4419155"/>
              <a:gd name="connsiteX2548" fmla="*/ 6055506 w 6436611"/>
              <a:gd name="connsiteY2548" fmla="*/ 2472095 h 4419155"/>
              <a:gd name="connsiteX2549" fmla="*/ 6059626 w 6436611"/>
              <a:gd name="connsiteY2549" fmla="*/ 2465326 h 4419155"/>
              <a:gd name="connsiteX2550" fmla="*/ 6102886 w 6436611"/>
              <a:gd name="connsiteY2550" fmla="*/ 2454048 h 4419155"/>
              <a:gd name="connsiteX2551" fmla="*/ 6117307 w 6436611"/>
              <a:gd name="connsiteY2551" fmla="*/ 2454048 h 4419155"/>
              <a:gd name="connsiteX2552" fmla="*/ 6117307 w 6436611"/>
              <a:gd name="connsiteY2552" fmla="*/ 2456302 h 4419155"/>
              <a:gd name="connsiteX2553" fmla="*/ 6111126 w 6436611"/>
              <a:gd name="connsiteY2553" fmla="*/ 2458560 h 4419155"/>
              <a:gd name="connsiteX2554" fmla="*/ 6129665 w 6436611"/>
              <a:gd name="connsiteY2554" fmla="*/ 2460818 h 4419155"/>
              <a:gd name="connsiteX2555" fmla="*/ 6181167 w 6436611"/>
              <a:gd name="connsiteY2555" fmla="*/ 2463072 h 4419155"/>
              <a:gd name="connsiteX2556" fmla="*/ 6195586 w 6436611"/>
              <a:gd name="connsiteY2556" fmla="*/ 2469838 h 4419155"/>
              <a:gd name="connsiteX2557" fmla="*/ 6205888 w 6436611"/>
              <a:gd name="connsiteY2557" fmla="*/ 2474354 h 4419155"/>
              <a:gd name="connsiteX2558" fmla="*/ 6228547 w 6436611"/>
              <a:gd name="connsiteY2558" fmla="*/ 2490142 h 4419155"/>
              <a:gd name="connsiteX2559" fmla="*/ 6224427 w 6436611"/>
              <a:gd name="connsiteY2559" fmla="*/ 2503678 h 4419155"/>
              <a:gd name="connsiteX2560" fmla="*/ 6234729 w 6436611"/>
              <a:gd name="connsiteY2560" fmla="*/ 2501422 h 4419155"/>
              <a:gd name="connsiteX2561" fmla="*/ 6232667 w 6436611"/>
              <a:gd name="connsiteY2561" fmla="*/ 2478862 h 4419155"/>
              <a:gd name="connsiteX2562" fmla="*/ 6220307 w 6436611"/>
              <a:gd name="connsiteY2562" fmla="*/ 2467584 h 4419155"/>
              <a:gd name="connsiteX2563" fmla="*/ 6207947 w 6436611"/>
              <a:gd name="connsiteY2563" fmla="*/ 2463072 h 4419155"/>
              <a:gd name="connsiteX2564" fmla="*/ 6201768 w 6436611"/>
              <a:gd name="connsiteY2564" fmla="*/ 2460818 h 4419155"/>
              <a:gd name="connsiteX2565" fmla="*/ 6160567 w 6436611"/>
              <a:gd name="connsiteY2565" fmla="*/ 2451793 h 4419155"/>
              <a:gd name="connsiteX2566" fmla="*/ 6144086 w 6436611"/>
              <a:gd name="connsiteY2566" fmla="*/ 2449536 h 4419155"/>
              <a:gd name="connsiteX2567" fmla="*/ 6125545 w 6436611"/>
              <a:gd name="connsiteY2567" fmla="*/ 2445024 h 4419155"/>
              <a:gd name="connsiteX2568" fmla="*/ 6164687 w 6436611"/>
              <a:gd name="connsiteY2568" fmla="*/ 2440513 h 4419155"/>
              <a:gd name="connsiteX2569" fmla="*/ 6201768 w 6436611"/>
              <a:gd name="connsiteY2569" fmla="*/ 2429234 h 4419155"/>
              <a:gd name="connsiteX2570" fmla="*/ 6232667 w 6436611"/>
              <a:gd name="connsiteY2570" fmla="*/ 2426978 h 4419155"/>
              <a:gd name="connsiteX2571" fmla="*/ 6255329 w 6436611"/>
              <a:gd name="connsiteY2571" fmla="*/ 2426978 h 4419155"/>
              <a:gd name="connsiteX2572" fmla="*/ 6267686 w 6436611"/>
              <a:gd name="connsiteY2572" fmla="*/ 2429234 h 4419155"/>
              <a:gd name="connsiteX2573" fmla="*/ 6284167 w 6436611"/>
              <a:gd name="connsiteY2573" fmla="*/ 2424722 h 4419155"/>
              <a:gd name="connsiteX2574" fmla="*/ 6304768 w 6436611"/>
              <a:gd name="connsiteY2574" fmla="*/ 2429234 h 4419155"/>
              <a:gd name="connsiteX2575" fmla="*/ 6343909 w 6436611"/>
              <a:gd name="connsiteY2575" fmla="*/ 2420211 h 4419155"/>
              <a:gd name="connsiteX2576" fmla="*/ 6352147 w 6436611"/>
              <a:gd name="connsiteY2576" fmla="*/ 2411187 h 4419155"/>
              <a:gd name="connsiteX2577" fmla="*/ 6234729 w 6436611"/>
              <a:gd name="connsiteY2577" fmla="*/ 2408930 h 4419155"/>
              <a:gd name="connsiteX2578" fmla="*/ 6127606 w 6436611"/>
              <a:gd name="connsiteY2578" fmla="*/ 2429234 h 4419155"/>
              <a:gd name="connsiteX2579" fmla="*/ 6104945 w 6436611"/>
              <a:gd name="connsiteY2579" fmla="*/ 2429234 h 4419155"/>
              <a:gd name="connsiteX2580" fmla="*/ 6090525 w 6436611"/>
              <a:gd name="connsiteY2580" fmla="*/ 2436000 h 4419155"/>
              <a:gd name="connsiteX2581" fmla="*/ 6088467 w 6436611"/>
              <a:gd name="connsiteY2581" fmla="*/ 2436000 h 4419155"/>
              <a:gd name="connsiteX2582" fmla="*/ 6084347 w 6436611"/>
              <a:gd name="connsiteY2582" fmla="*/ 2426978 h 4419155"/>
              <a:gd name="connsiteX2583" fmla="*/ 6076106 w 6436611"/>
              <a:gd name="connsiteY2583" fmla="*/ 2426978 h 4419155"/>
              <a:gd name="connsiteX2584" fmla="*/ 6074045 w 6436611"/>
              <a:gd name="connsiteY2584" fmla="*/ 2420211 h 4419155"/>
              <a:gd name="connsiteX2585" fmla="*/ 6067866 w 6436611"/>
              <a:gd name="connsiteY2585" fmla="*/ 2420211 h 4419155"/>
              <a:gd name="connsiteX2586" fmla="*/ 6065804 w 6436611"/>
              <a:gd name="connsiteY2586" fmla="*/ 2417953 h 4419155"/>
              <a:gd name="connsiteX2587" fmla="*/ 6059626 w 6436611"/>
              <a:gd name="connsiteY2587" fmla="*/ 2411187 h 4419155"/>
              <a:gd name="connsiteX2588" fmla="*/ 6121427 w 6436611"/>
              <a:gd name="connsiteY2588" fmla="*/ 2402164 h 4419155"/>
              <a:gd name="connsiteX2589" fmla="*/ 6121427 w 6436611"/>
              <a:gd name="connsiteY2589" fmla="*/ 2390882 h 4419155"/>
              <a:gd name="connsiteX2590" fmla="*/ 6088467 w 6436611"/>
              <a:gd name="connsiteY2590" fmla="*/ 2395394 h 4419155"/>
              <a:gd name="connsiteX2591" fmla="*/ 6051386 w 6436611"/>
              <a:gd name="connsiteY2591" fmla="*/ 2404418 h 4419155"/>
              <a:gd name="connsiteX2592" fmla="*/ 6045206 w 6436611"/>
              <a:gd name="connsiteY2592" fmla="*/ 2397651 h 4419155"/>
              <a:gd name="connsiteX2593" fmla="*/ 6059626 w 6436611"/>
              <a:gd name="connsiteY2593" fmla="*/ 2390882 h 4419155"/>
              <a:gd name="connsiteX2594" fmla="*/ 6045206 w 6436611"/>
              <a:gd name="connsiteY2594" fmla="*/ 2370580 h 4419155"/>
              <a:gd name="connsiteX2595" fmla="*/ 6039026 w 6436611"/>
              <a:gd name="connsiteY2595" fmla="*/ 2366069 h 4419155"/>
              <a:gd name="connsiteX2596" fmla="*/ 6051386 w 6436611"/>
              <a:gd name="connsiteY2596" fmla="*/ 2361556 h 4419155"/>
              <a:gd name="connsiteX2597" fmla="*/ 6034906 w 6436611"/>
              <a:gd name="connsiteY2597" fmla="*/ 2357044 h 4419155"/>
              <a:gd name="connsiteX2598" fmla="*/ 6036965 w 6436611"/>
              <a:gd name="connsiteY2598" fmla="*/ 2345767 h 4419155"/>
              <a:gd name="connsiteX2599" fmla="*/ 6041087 w 6436611"/>
              <a:gd name="connsiteY2599" fmla="*/ 2341252 h 4419155"/>
              <a:gd name="connsiteX2600" fmla="*/ 6057565 w 6436611"/>
              <a:gd name="connsiteY2600" fmla="*/ 2348022 h 4419155"/>
              <a:gd name="connsiteX2601" fmla="*/ 6094645 w 6436611"/>
              <a:gd name="connsiteY2601" fmla="*/ 2334486 h 4419155"/>
              <a:gd name="connsiteX2602" fmla="*/ 6123486 w 6436611"/>
              <a:gd name="connsiteY2602" fmla="*/ 2336742 h 4419155"/>
              <a:gd name="connsiteX2603" fmla="*/ 6137908 w 6436611"/>
              <a:gd name="connsiteY2603" fmla="*/ 2343509 h 4419155"/>
              <a:gd name="connsiteX2604" fmla="*/ 6148206 w 6436611"/>
              <a:gd name="connsiteY2604" fmla="*/ 2348022 h 4419155"/>
              <a:gd name="connsiteX2605" fmla="*/ 6170866 w 6436611"/>
              <a:gd name="connsiteY2605" fmla="*/ 2363811 h 4419155"/>
              <a:gd name="connsiteX2606" fmla="*/ 6166745 w 6436611"/>
              <a:gd name="connsiteY2606" fmla="*/ 2377346 h 4419155"/>
              <a:gd name="connsiteX2607" fmla="*/ 6177047 w 6436611"/>
              <a:gd name="connsiteY2607" fmla="*/ 2375092 h 4419155"/>
              <a:gd name="connsiteX2608" fmla="*/ 6174986 w 6436611"/>
              <a:gd name="connsiteY2608" fmla="*/ 2352533 h 4419155"/>
              <a:gd name="connsiteX2609" fmla="*/ 6162628 w 6436611"/>
              <a:gd name="connsiteY2609" fmla="*/ 2341252 h 4419155"/>
              <a:gd name="connsiteX2610" fmla="*/ 6150265 w 6436611"/>
              <a:gd name="connsiteY2610" fmla="*/ 2336742 h 4419155"/>
              <a:gd name="connsiteX2611" fmla="*/ 6144086 w 6436611"/>
              <a:gd name="connsiteY2611" fmla="*/ 2334486 h 4419155"/>
              <a:gd name="connsiteX2612" fmla="*/ 6123486 w 6436611"/>
              <a:gd name="connsiteY2612" fmla="*/ 2327720 h 4419155"/>
              <a:gd name="connsiteX2613" fmla="*/ 6137908 w 6436611"/>
              <a:gd name="connsiteY2613" fmla="*/ 2316438 h 4419155"/>
              <a:gd name="connsiteX2614" fmla="*/ 6090525 w 6436611"/>
              <a:gd name="connsiteY2614" fmla="*/ 2325462 h 4419155"/>
              <a:gd name="connsiteX2615" fmla="*/ 6088467 w 6436611"/>
              <a:gd name="connsiteY2615" fmla="*/ 2325462 h 4419155"/>
              <a:gd name="connsiteX2616" fmla="*/ 6074045 w 6436611"/>
              <a:gd name="connsiteY2616" fmla="*/ 2320950 h 4419155"/>
              <a:gd name="connsiteX2617" fmla="*/ 6115245 w 6436611"/>
              <a:gd name="connsiteY2617" fmla="*/ 2316438 h 4419155"/>
              <a:gd name="connsiteX2618" fmla="*/ 6137908 w 6436611"/>
              <a:gd name="connsiteY2618" fmla="*/ 2316438 h 4419155"/>
              <a:gd name="connsiteX2619" fmla="*/ 6216186 w 6436611"/>
              <a:gd name="connsiteY2619" fmla="*/ 2309672 h 4419155"/>
              <a:gd name="connsiteX2620" fmla="*/ 6236788 w 6436611"/>
              <a:gd name="connsiteY2620" fmla="*/ 2300648 h 4419155"/>
              <a:gd name="connsiteX2621" fmla="*/ 6214128 w 6436611"/>
              <a:gd name="connsiteY2621" fmla="*/ 2284855 h 4419155"/>
              <a:gd name="connsiteX2622" fmla="*/ 6203827 w 6436611"/>
              <a:gd name="connsiteY2622" fmla="*/ 2287112 h 4419155"/>
              <a:gd name="connsiteX2623" fmla="*/ 6137908 w 6436611"/>
              <a:gd name="connsiteY2623" fmla="*/ 2291624 h 4419155"/>
              <a:gd name="connsiteX2624" fmla="*/ 6094645 w 6436611"/>
              <a:gd name="connsiteY2624" fmla="*/ 2291624 h 4419155"/>
              <a:gd name="connsiteX2625" fmla="*/ 6092586 w 6436611"/>
              <a:gd name="connsiteY2625" fmla="*/ 2291624 h 4419155"/>
              <a:gd name="connsiteX2626" fmla="*/ 6203827 w 6436611"/>
              <a:gd name="connsiteY2626" fmla="*/ 2260042 h 4419155"/>
              <a:gd name="connsiteX2627" fmla="*/ 6249147 w 6436611"/>
              <a:gd name="connsiteY2627" fmla="*/ 2217180 h 4419155"/>
              <a:gd name="connsiteX2628" fmla="*/ 6329488 w 6436611"/>
              <a:gd name="connsiteY2628" fmla="*/ 2185597 h 4419155"/>
              <a:gd name="connsiteX2629" fmla="*/ 6358329 w 6436611"/>
              <a:gd name="connsiteY2629" fmla="*/ 2068289 h 4419155"/>
              <a:gd name="connsiteX2630" fmla="*/ 6292407 w 6436611"/>
              <a:gd name="connsiteY2630" fmla="*/ 2063777 h 4419155"/>
              <a:gd name="connsiteX2631" fmla="*/ 6294468 w 6436611"/>
              <a:gd name="connsiteY2631" fmla="*/ 2038964 h 4419155"/>
              <a:gd name="connsiteX2632" fmla="*/ 6335667 w 6436611"/>
              <a:gd name="connsiteY2632" fmla="*/ 2036706 h 4419155"/>
              <a:gd name="connsiteX2633" fmla="*/ 6306829 w 6436611"/>
              <a:gd name="connsiteY2633" fmla="*/ 2029939 h 4419155"/>
              <a:gd name="connsiteX2634" fmla="*/ 6310947 w 6436611"/>
              <a:gd name="connsiteY2634" fmla="*/ 2027682 h 4419155"/>
              <a:gd name="connsiteX2635" fmla="*/ 6356268 w 6436611"/>
              <a:gd name="connsiteY2635" fmla="*/ 2023173 h 4419155"/>
              <a:gd name="connsiteX2636" fmla="*/ 6360388 w 6436611"/>
              <a:gd name="connsiteY2636" fmla="*/ 2014150 h 4419155"/>
              <a:gd name="connsiteX2637" fmla="*/ 6374809 w 6436611"/>
              <a:gd name="connsiteY2637" fmla="*/ 2025428 h 4419155"/>
              <a:gd name="connsiteX2638" fmla="*/ 6387170 w 6436611"/>
              <a:gd name="connsiteY2638" fmla="*/ 2009637 h 4419155"/>
              <a:gd name="connsiteX2639" fmla="*/ 6395409 w 6436611"/>
              <a:gd name="connsiteY2639" fmla="*/ 2007380 h 4419155"/>
              <a:gd name="connsiteX2640" fmla="*/ 6407770 w 6436611"/>
              <a:gd name="connsiteY2640" fmla="*/ 2005126 h 4419155"/>
              <a:gd name="connsiteX2641" fmla="*/ 6420130 w 6436611"/>
              <a:gd name="connsiteY2641" fmla="*/ 2005126 h 4419155"/>
              <a:gd name="connsiteX2642" fmla="*/ 6385108 w 6436611"/>
              <a:gd name="connsiteY2642" fmla="*/ 1998356 h 4419155"/>
              <a:gd name="connsiteX2643" fmla="*/ 6366569 w 6436611"/>
              <a:gd name="connsiteY2643" fmla="*/ 2002869 h 4419155"/>
              <a:gd name="connsiteX2644" fmla="*/ 6362449 w 6436611"/>
              <a:gd name="connsiteY2644" fmla="*/ 1989333 h 4419155"/>
              <a:gd name="connsiteX2645" fmla="*/ 6374809 w 6436611"/>
              <a:gd name="connsiteY2645" fmla="*/ 1980309 h 4419155"/>
              <a:gd name="connsiteX2646" fmla="*/ 6362449 w 6436611"/>
              <a:gd name="connsiteY2646" fmla="*/ 1980309 h 4419155"/>
              <a:gd name="connsiteX2647" fmla="*/ 6345968 w 6436611"/>
              <a:gd name="connsiteY2647" fmla="*/ 1975797 h 4419155"/>
              <a:gd name="connsiteX2648" fmla="*/ 6339787 w 6436611"/>
              <a:gd name="connsiteY2648" fmla="*/ 1957750 h 4419155"/>
              <a:gd name="connsiteX2649" fmla="*/ 6362449 w 6436611"/>
              <a:gd name="connsiteY2649" fmla="*/ 1955495 h 4419155"/>
              <a:gd name="connsiteX2650" fmla="*/ 6372748 w 6436611"/>
              <a:gd name="connsiteY2650" fmla="*/ 1950984 h 4419155"/>
              <a:gd name="connsiteX2651" fmla="*/ 6376868 w 6436611"/>
              <a:gd name="connsiteY2651" fmla="*/ 1944218 h 4419155"/>
              <a:gd name="connsiteX2652" fmla="*/ 6378929 w 6436611"/>
              <a:gd name="connsiteY2652" fmla="*/ 1935191 h 4419155"/>
              <a:gd name="connsiteX2653" fmla="*/ 6310947 w 6436611"/>
              <a:gd name="connsiteY2653" fmla="*/ 1928424 h 4419155"/>
              <a:gd name="connsiteX2654" fmla="*/ 6312248 w 6436611"/>
              <a:gd name="connsiteY2654" fmla="*/ 1924741 h 4419155"/>
              <a:gd name="connsiteX2655" fmla="*/ 6310947 w 6436611"/>
              <a:gd name="connsiteY2655" fmla="*/ 1926166 h 4419155"/>
              <a:gd name="connsiteX2656" fmla="*/ 6312492 w 6436611"/>
              <a:gd name="connsiteY2656" fmla="*/ 1920246 h 4419155"/>
              <a:gd name="connsiteX2657" fmla="*/ 6313931 w 6436611"/>
              <a:gd name="connsiteY2657" fmla="*/ 1919984 h 4419155"/>
              <a:gd name="connsiteX2658" fmla="*/ 6317128 w 6436611"/>
              <a:gd name="connsiteY2658" fmla="*/ 1910940 h 4419155"/>
              <a:gd name="connsiteX2659" fmla="*/ 6329488 w 6436611"/>
              <a:gd name="connsiteY2659" fmla="*/ 1903610 h 4419155"/>
              <a:gd name="connsiteX2660" fmla="*/ 6317127 w 6436611"/>
              <a:gd name="connsiteY2660" fmla="*/ 1901353 h 4419155"/>
              <a:gd name="connsiteX2661" fmla="*/ 6329488 w 6436611"/>
              <a:gd name="connsiteY2661" fmla="*/ 1896842 h 4419155"/>
              <a:gd name="connsiteX2662" fmla="*/ 6300647 w 6436611"/>
              <a:gd name="connsiteY2662" fmla="*/ 1894587 h 4419155"/>
              <a:gd name="connsiteX2663" fmla="*/ 6282108 w 6436611"/>
              <a:gd name="connsiteY2663" fmla="*/ 1896842 h 4419155"/>
              <a:gd name="connsiteX2664" fmla="*/ 6257388 w 6436611"/>
              <a:gd name="connsiteY2664" fmla="*/ 1903610 h 4419155"/>
              <a:gd name="connsiteX2665" fmla="*/ 6251209 w 6436611"/>
              <a:gd name="connsiteY2665" fmla="*/ 1903610 h 4419155"/>
              <a:gd name="connsiteX2666" fmla="*/ 6232667 w 6436611"/>
              <a:gd name="connsiteY2666" fmla="*/ 1901353 h 4419155"/>
              <a:gd name="connsiteX2667" fmla="*/ 6201768 w 6436611"/>
              <a:gd name="connsiteY2667" fmla="*/ 1899098 h 4419155"/>
              <a:gd name="connsiteX2668" fmla="*/ 6201768 w 6436611"/>
              <a:gd name="connsiteY2668" fmla="*/ 1894587 h 4419155"/>
              <a:gd name="connsiteX2669" fmla="*/ 6218245 w 6436611"/>
              <a:gd name="connsiteY2669" fmla="*/ 1894587 h 4419155"/>
              <a:gd name="connsiteX2670" fmla="*/ 6234729 w 6436611"/>
              <a:gd name="connsiteY2670" fmla="*/ 1883306 h 4419155"/>
              <a:gd name="connsiteX2671" fmla="*/ 6273868 w 6436611"/>
              <a:gd name="connsiteY2671" fmla="*/ 1883306 h 4419155"/>
              <a:gd name="connsiteX2672" fmla="*/ 6273868 w 6436611"/>
              <a:gd name="connsiteY2672" fmla="*/ 1887817 h 4419155"/>
              <a:gd name="connsiteX2673" fmla="*/ 6282108 w 6436611"/>
              <a:gd name="connsiteY2673" fmla="*/ 1883306 h 4419155"/>
              <a:gd name="connsiteX2674" fmla="*/ 6286229 w 6436611"/>
              <a:gd name="connsiteY2674" fmla="*/ 1883306 h 4419155"/>
              <a:gd name="connsiteX2675" fmla="*/ 6343909 w 6436611"/>
              <a:gd name="connsiteY2675" fmla="*/ 1883306 h 4419155"/>
              <a:gd name="connsiteX2676" fmla="*/ 6430429 w 6436611"/>
              <a:gd name="connsiteY2676" fmla="*/ 1867515 h 4419155"/>
              <a:gd name="connsiteX2677" fmla="*/ 6436611 w 6436611"/>
              <a:gd name="connsiteY2677" fmla="*/ 1860747 h 441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</a:cxnLst>
            <a:rect l="l" t="t" r="r" b="b"/>
            <a:pathLst>
              <a:path w="6436611" h="4419155">
                <a:moveTo>
                  <a:pt x="137070" y="908758"/>
                </a:moveTo>
                <a:cubicBezTo>
                  <a:pt x="135009" y="911013"/>
                  <a:pt x="132950" y="913271"/>
                  <a:pt x="130891" y="917782"/>
                </a:cubicBezTo>
                <a:cubicBezTo>
                  <a:pt x="130891" y="917782"/>
                  <a:pt x="130891" y="915524"/>
                  <a:pt x="130891" y="915524"/>
                </a:cubicBezTo>
                <a:cubicBezTo>
                  <a:pt x="126768" y="917782"/>
                  <a:pt x="122651" y="920037"/>
                  <a:pt x="120589" y="924548"/>
                </a:cubicBezTo>
                <a:cubicBezTo>
                  <a:pt x="126768" y="917782"/>
                  <a:pt x="130891" y="913271"/>
                  <a:pt x="137070" y="908758"/>
                </a:cubicBezTo>
                <a:close/>
                <a:moveTo>
                  <a:pt x="1206220" y="3500785"/>
                </a:moveTo>
                <a:cubicBezTo>
                  <a:pt x="1204161" y="3503040"/>
                  <a:pt x="1202100" y="3505296"/>
                  <a:pt x="1200039" y="3507554"/>
                </a:cubicBezTo>
                <a:cubicBezTo>
                  <a:pt x="1195918" y="3509809"/>
                  <a:pt x="1193860" y="3505296"/>
                  <a:pt x="1193860" y="3500785"/>
                </a:cubicBezTo>
                <a:cubicBezTo>
                  <a:pt x="1193860" y="3498528"/>
                  <a:pt x="1193860" y="3494019"/>
                  <a:pt x="1193860" y="3491762"/>
                </a:cubicBezTo>
                <a:cubicBezTo>
                  <a:pt x="1197980" y="3494019"/>
                  <a:pt x="1202100" y="3496274"/>
                  <a:pt x="1206220" y="3500785"/>
                </a:cubicBezTo>
                <a:close/>
                <a:moveTo>
                  <a:pt x="1216519" y="3789541"/>
                </a:moveTo>
                <a:cubicBezTo>
                  <a:pt x="1214460" y="3791796"/>
                  <a:pt x="1214460" y="3794052"/>
                  <a:pt x="1212398" y="3796307"/>
                </a:cubicBezTo>
                <a:cubicBezTo>
                  <a:pt x="1212398" y="3798565"/>
                  <a:pt x="1210341" y="3798565"/>
                  <a:pt x="1208282" y="3798565"/>
                </a:cubicBezTo>
                <a:cubicBezTo>
                  <a:pt x="1204161" y="3789541"/>
                  <a:pt x="1210341" y="3789541"/>
                  <a:pt x="1216519" y="3787284"/>
                </a:cubicBezTo>
                <a:cubicBezTo>
                  <a:pt x="1216519" y="3787284"/>
                  <a:pt x="1216519" y="3789541"/>
                  <a:pt x="1216519" y="3789541"/>
                </a:cubicBezTo>
                <a:close/>
                <a:moveTo>
                  <a:pt x="1268021" y="3401524"/>
                </a:moveTo>
                <a:cubicBezTo>
                  <a:pt x="1265960" y="3403782"/>
                  <a:pt x="1261840" y="3406039"/>
                  <a:pt x="1257720" y="3410550"/>
                </a:cubicBezTo>
                <a:cubicBezTo>
                  <a:pt x="1257720" y="3408294"/>
                  <a:pt x="1259782" y="3406039"/>
                  <a:pt x="1259782" y="3406039"/>
                </a:cubicBezTo>
                <a:cubicBezTo>
                  <a:pt x="1261840" y="3401524"/>
                  <a:pt x="1265960" y="3399270"/>
                  <a:pt x="1268021" y="3401524"/>
                </a:cubicBezTo>
                <a:close/>
                <a:moveTo>
                  <a:pt x="1465053" y="4063572"/>
                </a:moveTo>
                <a:lnTo>
                  <a:pt x="1462177" y="4063914"/>
                </a:lnTo>
                <a:cubicBezTo>
                  <a:pt x="1458057" y="4064760"/>
                  <a:pt x="1454453" y="4067015"/>
                  <a:pt x="1453423" y="4073783"/>
                </a:cubicBezTo>
                <a:lnTo>
                  <a:pt x="1458706" y="4072838"/>
                </a:lnTo>
                <a:close/>
                <a:moveTo>
                  <a:pt x="1480203" y="3381223"/>
                </a:moveTo>
                <a:cubicBezTo>
                  <a:pt x="1478144" y="3381223"/>
                  <a:pt x="1478144" y="3381223"/>
                  <a:pt x="1476082" y="3383480"/>
                </a:cubicBezTo>
                <a:cubicBezTo>
                  <a:pt x="1476082" y="3381223"/>
                  <a:pt x="1476082" y="3381223"/>
                  <a:pt x="1476082" y="3378968"/>
                </a:cubicBezTo>
                <a:cubicBezTo>
                  <a:pt x="1476082" y="3378968"/>
                  <a:pt x="1478144" y="3378968"/>
                  <a:pt x="1478144" y="3378968"/>
                </a:cubicBezTo>
                <a:cubicBezTo>
                  <a:pt x="1480203" y="3378968"/>
                  <a:pt x="1480203" y="3378968"/>
                  <a:pt x="1480203" y="3381223"/>
                </a:cubicBezTo>
                <a:close/>
                <a:moveTo>
                  <a:pt x="1498742" y="3351896"/>
                </a:moveTo>
                <a:cubicBezTo>
                  <a:pt x="1498742" y="3356408"/>
                  <a:pt x="1498742" y="3358663"/>
                  <a:pt x="1496683" y="3360921"/>
                </a:cubicBezTo>
                <a:cubicBezTo>
                  <a:pt x="1496683" y="3363174"/>
                  <a:pt x="1492562" y="3367687"/>
                  <a:pt x="1488442" y="3360921"/>
                </a:cubicBezTo>
                <a:cubicBezTo>
                  <a:pt x="1492562" y="3360921"/>
                  <a:pt x="1492562" y="3358663"/>
                  <a:pt x="1492562" y="3356408"/>
                </a:cubicBezTo>
                <a:cubicBezTo>
                  <a:pt x="1494621" y="3354151"/>
                  <a:pt x="1496683" y="3354151"/>
                  <a:pt x="1498742" y="3351896"/>
                </a:cubicBezTo>
                <a:close/>
                <a:moveTo>
                  <a:pt x="1502864" y="3320314"/>
                </a:moveTo>
                <a:cubicBezTo>
                  <a:pt x="1500803" y="3324825"/>
                  <a:pt x="1500803" y="3331592"/>
                  <a:pt x="1494621" y="3333849"/>
                </a:cubicBezTo>
                <a:cubicBezTo>
                  <a:pt x="1494621" y="3338361"/>
                  <a:pt x="1492562" y="3342874"/>
                  <a:pt x="1492562" y="3345127"/>
                </a:cubicBezTo>
                <a:cubicBezTo>
                  <a:pt x="1492562" y="3345127"/>
                  <a:pt x="1492562" y="3342874"/>
                  <a:pt x="1490501" y="3342874"/>
                </a:cubicBezTo>
                <a:cubicBezTo>
                  <a:pt x="1488442" y="3345127"/>
                  <a:pt x="1488442" y="3349640"/>
                  <a:pt x="1486383" y="3351896"/>
                </a:cubicBezTo>
                <a:cubicBezTo>
                  <a:pt x="1484322" y="3354151"/>
                  <a:pt x="1484322" y="3354151"/>
                  <a:pt x="1482264" y="3356408"/>
                </a:cubicBezTo>
                <a:cubicBezTo>
                  <a:pt x="1478144" y="3360921"/>
                  <a:pt x="1478144" y="3369944"/>
                  <a:pt x="1471962" y="3372198"/>
                </a:cubicBezTo>
                <a:cubicBezTo>
                  <a:pt x="1465783" y="3372198"/>
                  <a:pt x="1461663" y="3374456"/>
                  <a:pt x="1457543" y="3378968"/>
                </a:cubicBezTo>
                <a:cubicBezTo>
                  <a:pt x="1453423" y="3385734"/>
                  <a:pt x="1449301" y="3390246"/>
                  <a:pt x="1441062" y="3390246"/>
                </a:cubicBezTo>
                <a:cubicBezTo>
                  <a:pt x="1439001" y="3390246"/>
                  <a:pt x="1439001" y="3390246"/>
                  <a:pt x="1439001" y="3390246"/>
                </a:cubicBezTo>
                <a:cubicBezTo>
                  <a:pt x="1439001" y="3387992"/>
                  <a:pt x="1439001" y="3387992"/>
                  <a:pt x="1439001" y="3385734"/>
                </a:cubicBezTo>
                <a:cubicBezTo>
                  <a:pt x="1439001" y="3381223"/>
                  <a:pt x="1439001" y="3376710"/>
                  <a:pt x="1432823" y="3378968"/>
                </a:cubicBezTo>
                <a:cubicBezTo>
                  <a:pt x="1455482" y="3358663"/>
                  <a:pt x="1478144" y="3338361"/>
                  <a:pt x="1502864" y="3320314"/>
                </a:cubicBezTo>
                <a:close/>
                <a:moveTo>
                  <a:pt x="1502864" y="3408294"/>
                </a:moveTo>
                <a:cubicBezTo>
                  <a:pt x="1502864" y="3408294"/>
                  <a:pt x="1500803" y="3410550"/>
                  <a:pt x="1498742" y="3412805"/>
                </a:cubicBezTo>
                <a:cubicBezTo>
                  <a:pt x="1500803" y="3410550"/>
                  <a:pt x="1500803" y="3408294"/>
                  <a:pt x="1502864" y="3406039"/>
                </a:cubicBezTo>
                <a:cubicBezTo>
                  <a:pt x="1502864" y="3406039"/>
                  <a:pt x="1502864" y="3406039"/>
                  <a:pt x="1502864" y="3408294"/>
                </a:cubicBezTo>
                <a:close/>
                <a:moveTo>
                  <a:pt x="1515222" y="4051223"/>
                </a:moveTo>
                <a:cubicBezTo>
                  <a:pt x="1509042" y="4053481"/>
                  <a:pt x="1506984" y="4057993"/>
                  <a:pt x="1502864" y="4060247"/>
                </a:cubicBezTo>
                <a:cubicBezTo>
                  <a:pt x="1502864" y="4060247"/>
                  <a:pt x="1500803" y="4057993"/>
                  <a:pt x="1500803" y="4057993"/>
                </a:cubicBezTo>
                <a:cubicBezTo>
                  <a:pt x="1504923" y="4055736"/>
                  <a:pt x="1509042" y="4051223"/>
                  <a:pt x="1513163" y="4048968"/>
                </a:cubicBezTo>
                <a:cubicBezTo>
                  <a:pt x="1513163" y="4048968"/>
                  <a:pt x="1513163" y="4048968"/>
                  <a:pt x="1515222" y="4051223"/>
                </a:cubicBezTo>
                <a:close/>
                <a:moveTo>
                  <a:pt x="1521403" y="3708328"/>
                </a:moveTo>
                <a:cubicBezTo>
                  <a:pt x="1513163" y="3715096"/>
                  <a:pt x="1504923" y="3719608"/>
                  <a:pt x="1496683" y="3726376"/>
                </a:cubicBezTo>
                <a:cubicBezTo>
                  <a:pt x="1492562" y="3719608"/>
                  <a:pt x="1494621" y="3715096"/>
                  <a:pt x="1500803" y="3712840"/>
                </a:cubicBezTo>
                <a:cubicBezTo>
                  <a:pt x="1503894" y="3711712"/>
                  <a:pt x="1506468" y="3708328"/>
                  <a:pt x="1509558" y="3706354"/>
                </a:cubicBezTo>
                <a:cubicBezTo>
                  <a:pt x="1512648" y="3704380"/>
                  <a:pt x="1516252" y="3703816"/>
                  <a:pt x="1521403" y="3708328"/>
                </a:cubicBezTo>
                <a:close/>
                <a:moveTo>
                  <a:pt x="1544062" y="3688026"/>
                </a:moveTo>
                <a:cubicBezTo>
                  <a:pt x="1542003" y="3690281"/>
                  <a:pt x="1542003" y="3690281"/>
                  <a:pt x="1539942" y="3692538"/>
                </a:cubicBezTo>
                <a:cubicBezTo>
                  <a:pt x="1537883" y="3694792"/>
                  <a:pt x="1535822" y="3694792"/>
                  <a:pt x="1533764" y="3697050"/>
                </a:cubicBezTo>
                <a:cubicBezTo>
                  <a:pt x="1533764" y="3697050"/>
                  <a:pt x="1533764" y="3694792"/>
                  <a:pt x="1531703" y="3694792"/>
                </a:cubicBezTo>
                <a:cubicBezTo>
                  <a:pt x="1535822" y="3692538"/>
                  <a:pt x="1539942" y="3690281"/>
                  <a:pt x="1544062" y="3688026"/>
                </a:cubicBezTo>
                <a:close/>
                <a:moveTo>
                  <a:pt x="1563267" y="4241450"/>
                </a:moveTo>
                <a:lnTo>
                  <a:pt x="1562601" y="4240721"/>
                </a:lnTo>
                <a:cubicBezTo>
                  <a:pt x="1560542" y="4242976"/>
                  <a:pt x="1558484" y="4242976"/>
                  <a:pt x="1556423" y="4245233"/>
                </a:cubicBezTo>
                <a:lnTo>
                  <a:pt x="1556955" y="4245815"/>
                </a:lnTo>
                <a:close/>
                <a:moveTo>
                  <a:pt x="1572903" y="3234588"/>
                </a:moveTo>
                <a:cubicBezTo>
                  <a:pt x="1570844" y="3236846"/>
                  <a:pt x="1566722" y="3236846"/>
                  <a:pt x="1564663" y="3239100"/>
                </a:cubicBezTo>
                <a:cubicBezTo>
                  <a:pt x="1565692" y="3236844"/>
                  <a:pt x="1566207" y="3234588"/>
                  <a:pt x="1567237" y="3233460"/>
                </a:cubicBezTo>
                <a:cubicBezTo>
                  <a:pt x="1568268" y="3232332"/>
                  <a:pt x="1569812" y="3232332"/>
                  <a:pt x="1572903" y="3234588"/>
                </a:cubicBezTo>
                <a:close/>
                <a:moveTo>
                  <a:pt x="1597624" y="3254894"/>
                </a:moveTo>
                <a:cubicBezTo>
                  <a:pt x="1597624" y="3268428"/>
                  <a:pt x="1585263" y="3268428"/>
                  <a:pt x="1581144" y="3275196"/>
                </a:cubicBezTo>
                <a:cubicBezTo>
                  <a:pt x="1583202" y="3263916"/>
                  <a:pt x="1589383" y="3259405"/>
                  <a:pt x="1597624" y="3254894"/>
                </a:cubicBezTo>
                <a:close/>
                <a:moveTo>
                  <a:pt x="1609983" y="3651932"/>
                </a:moveTo>
                <a:cubicBezTo>
                  <a:pt x="1607922" y="3656443"/>
                  <a:pt x="1603803" y="3660954"/>
                  <a:pt x="1597624" y="3665466"/>
                </a:cubicBezTo>
                <a:cubicBezTo>
                  <a:pt x="1579085" y="3679002"/>
                  <a:pt x="1560542" y="3694792"/>
                  <a:pt x="1544062" y="3708328"/>
                </a:cubicBezTo>
                <a:cubicBezTo>
                  <a:pt x="1537883" y="3712840"/>
                  <a:pt x="1533764" y="3717352"/>
                  <a:pt x="1529644" y="3721863"/>
                </a:cubicBezTo>
                <a:cubicBezTo>
                  <a:pt x="1527582" y="3721863"/>
                  <a:pt x="1527582" y="3724118"/>
                  <a:pt x="1525523" y="3724118"/>
                </a:cubicBezTo>
                <a:cubicBezTo>
                  <a:pt x="1511101" y="3726376"/>
                  <a:pt x="1500803" y="3742168"/>
                  <a:pt x="1488442" y="3748934"/>
                </a:cubicBezTo>
                <a:cubicBezTo>
                  <a:pt x="1482264" y="3753446"/>
                  <a:pt x="1474021" y="3755700"/>
                  <a:pt x="1467842" y="3757958"/>
                </a:cubicBezTo>
                <a:cubicBezTo>
                  <a:pt x="1488442" y="3737656"/>
                  <a:pt x="1513163" y="3721863"/>
                  <a:pt x="1535822" y="3703816"/>
                </a:cubicBezTo>
                <a:cubicBezTo>
                  <a:pt x="1542003" y="3699304"/>
                  <a:pt x="1550244" y="3692538"/>
                  <a:pt x="1556423" y="3688026"/>
                </a:cubicBezTo>
                <a:cubicBezTo>
                  <a:pt x="1560542" y="3685768"/>
                  <a:pt x="1564663" y="3681256"/>
                  <a:pt x="1562601" y="3674490"/>
                </a:cubicBezTo>
                <a:cubicBezTo>
                  <a:pt x="1564663" y="3674490"/>
                  <a:pt x="1566722" y="3672234"/>
                  <a:pt x="1566722" y="3672234"/>
                </a:cubicBezTo>
                <a:cubicBezTo>
                  <a:pt x="1570844" y="3672234"/>
                  <a:pt x="1577023" y="3672234"/>
                  <a:pt x="1579085" y="3665466"/>
                </a:cubicBezTo>
                <a:cubicBezTo>
                  <a:pt x="1579085" y="3665466"/>
                  <a:pt x="1579085" y="3665466"/>
                  <a:pt x="1577023" y="3665466"/>
                </a:cubicBezTo>
                <a:cubicBezTo>
                  <a:pt x="1587322" y="3660954"/>
                  <a:pt x="1595565" y="3656443"/>
                  <a:pt x="1605864" y="3651932"/>
                </a:cubicBezTo>
                <a:cubicBezTo>
                  <a:pt x="1607922" y="3651932"/>
                  <a:pt x="1607922" y="3651932"/>
                  <a:pt x="1609983" y="3651932"/>
                </a:cubicBezTo>
                <a:close/>
                <a:moveTo>
                  <a:pt x="1628523" y="3193984"/>
                </a:moveTo>
                <a:cubicBezTo>
                  <a:pt x="1626465" y="3196238"/>
                  <a:pt x="1624403" y="3198493"/>
                  <a:pt x="1622344" y="3198493"/>
                </a:cubicBezTo>
                <a:cubicBezTo>
                  <a:pt x="1618224" y="3200752"/>
                  <a:pt x="1614104" y="3203006"/>
                  <a:pt x="1612042" y="3205263"/>
                </a:cubicBezTo>
                <a:cubicBezTo>
                  <a:pt x="1616163" y="3198493"/>
                  <a:pt x="1622344" y="3196238"/>
                  <a:pt x="1628523" y="3193984"/>
                </a:cubicBezTo>
                <a:close/>
                <a:moveTo>
                  <a:pt x="1675903" y="3620348"/>
                </a:moveTo>
                <a:cubicBezTo>
                  <a:pt x="1673844" y="3629372"/>
                  <a:pt x="1669724" y="3636141"/>
                  <a:pt x="1663545" y="3633884"/>
                </a:cubicBezTo>
                <a:cubicBezTo>
                  <a:pt x="1663545" y="3631626"/>
                  <a:pt x="1661483" y="3631626"/>
                  <a:pt x="1661483" y="3629372"/>
                </a:cubicBezTo>
                <a:cubicBezTo>
                  <a:pt x="1663545" y="3627114"/>
                  <a:pt x="1663545" y="3627114"/>
                  <a:pt x="1665604" y="3624860"/>
                </a:cubicBezTo>
                <a:cubicBezTo>
                  <a:pt x="1665604" y="3624860"/>
                  <a:pt x="1667665" y="3624860"/>
                  <a:pt x="1667665" y="3622603"/>
                </a:cubicBezTo>
                <a:cubicBezTo>
                  <a:pt x="1669724" y="3622603"/>
                  <a:pt x="1671785" y="3620348"/>
                  <a:pt x="1675903" y="3620348"/>
                </a:cubicBezTo>
                <a:close/>
                <a:moveTo>
                  <a:pt x="1793324" y="3649674"/>
                </a:moveTo>
                <a:cubicBezTo>
                  <a:pt x="1793324" y="3642907"/>
                  <a:pt x="1793324" y="3640652"/>
                  <a:pt x="1791265" y="3640652"/>
                </a:cubicBezTo>
                <a:cubicBezTo>
                  <a:pt x="1791265" y="3640652"/>
                  <a:pt x="1793324" y="3640652"/>
                  <a:pt x="1793324" y="3640652"/>
                </a:cubicBezTo>
                <a:cubicBezTo>
                  <a:pt x="1793324" y="3642907"/>
                  <a:pt x="1793324" y="3645162"/>
                  <a:pt x="1793324" y="3649674"/>
                </a:cubicBezTo>
                <a:close/>
                <a:moveTo>
                  <a:pt x="1834525" y="3818867"/>
                </a:moveTo>
                <a:cubicBezTo>
                  <a:pt x="1834525" y="3821124"/>
                  <a:pt x="1832467" y="3823379"/>
                  <a:pt x="1828347" y="3823379"/>
                </a:cubicBezTo>
                <a:cubicBezTo>
                  <a:pt x="1828347" y="3823379"/>
                  <a:pt x="1828347" y="3821124"/>
                  <a:pt x="1826285" y="3821124"/>
                </a:cubicBezTo>
                <a:cubicBezTo>
                  <a:pt x="1828347" y="3818867"/>
                  <a:pt x="1830406" y="3818867"/>
                  <a:pt x="1832467" y="3816613"/>
                </a:cubicBezTo>
                <a:cubicBezTo>
                  <a:pt x="1832467" y="3816613"/>
                  <a:pt x="1832467" y="3818867"/>
                  <a:pt x="1834525" y="3818867"/>
                </a:cubicBezTo>
                <a:close/>
                <a:moveTo>
                  <a:pt x="1923684" y="4070248"/>
                </a:moveTo>
                <a:lnTo>
                  <a:pt x="1913886" y="4076685"/>
                </a:lnTo>
                <a:lnTo>
                  <a:pt x="1914866" y="4078295"/>
                </a:lnTo>
                <a:close/>
                <a:moveTo>
                  <a:pt x="1925858" y="4068264"/>
                </a:moveTo>
                <a:lnTo>
                  <a:pt x="1923684" y="4070248"/>
                </a:lnTo>
                <a:lnTo>
                  <a:pt x="1925167" y="4069274"/>
                </a:lnTo>
                <a:close/>
                <a:moveTo>
                  <a:pt x="1931347" y="4080552"/>
                </a:moveTo>
                <a:cubicBezTo>
                  <a:pt x="1931347" y="4078295"/>
                  <a:pt x="1931347" y="4078295"/>
                  <a:pt x="1931347" y="4078295"/>
                </a:cubicBezTo>
                <a:cubicBezTo>
                  <a:pt x="1929288" y="4080552"/>
                  <a:pt x="1929288" y="4082806"/>
                  <a:pt x="1927226" y="4085063"/>
                </a:cubicBezTo>
                <a:cubicBezTo>
                  <a:pt x="1929288" y="4085063"/>
                  <a:pt x="1929288" y="4082806"/>
                  <a:pt x="1931347" y="4080552"/>
                </a:cubicBezTo>
                <a:close/>
                <a:moveTo>
                  <a:pt x="1991953" y="4021688"/>
                </a:moveTo>
                <a:lnTo>
                  <a:pt x="1989027" y="4021898"/>
                </a:lnTo>
                <a:cubicBezTo>
                  <a:pt x="1986968" y="4021898"/>
                  <a:pt x="1980788" y="4024155"/>
                  <a:pt x="1978726" y="4026410"/>
                </a:cubicBezTo>
                <a:cubicBezTo>
                  <a:pt x="1975637" y="4030922"/>
                  <a:pt x="1972547" y="4032614"/>
                  <a:pt x="1969457" y="4032896"/>
                </a:cubicBezTo>
                <a:lnTo>
                  <a:pt x="1966927" y="4032357"/>
                </a:lnTo>
                <a:lnTo>
                  <a:pt x="1941647" y="4048968"/>
                </a:lnTo>
                <a:lnTo>
                  <a:pt x="1932866" y="4054147"/>
                </a:lnTo>
                <a:lnTo>
                  <a:pt x="1931347" y="4060247"/>
                </a:lnTo>
                <a:lnTo>
                  <a:pt x="1925858" y="4068264"/>
                </a:lnTo>
                <a:lnTo>
                  <a:pt x="1927226" y="4067016"/>
                </a:lnTo>
                <a:cubicBezTo>
                  <a:pt x="1929288" y="4064761"/>
                  <a:pt x="1931347" y="4062504"/>
                  <a:pt x="1933408" y="4062504"/>
                </a:cubicBezTo>
                <a:cubicBezTo>
                  <a:pt x="1941647" y="4062504"/>
                  <a:pt x="1945768" y="4060247"/>
                  <a:pt x="1949888" y="4055736"/>
                </a:cubicBezTo>
                <a:close/>
                <a:moveTo>
                  <a:pt x="2046706" y="3135330"/>
                </a:moveTo>
                <a:cubicBezTo>
                  <a:pt x="2044647" y="3135330"/>
                  <a:pt x="2046706" y="3135330"/>
                  <a:pt x="2044647" y="3137585"/>
                </a:cubicBezTo>
                <a:cubicBezTo>
                  <a:pt x="2044647" y="3137585"/>
                  <a:pt x="2042588" y="3137585"/>
                  <a:pt x="2042588" y="3135330"/>
                </a:cubicBezTo>
                <a:cubicBezTo>
                  <a:pt x="2044647" y="3135330"/>
                  <a:pt x="2044647" y="3135330"/>
                  <a:pt x="2046706" y="3135330"/>
                </a:cubicBezTo>
                <a:close/>
                <a:moveTo>
                  <a:pt x="2073488" y="3124049"/>
                </a:moveTo>
                <a:cubicBezTo>
                  <a:pt x="2071427" y="3126307"/>
                  <a:pt x="2069368" y="3128562"/>
                  <a:pt x="2069368" y="3130818"/>
                </a:cubicBezTo>
                <a:cubicBezTo>
                  <a:pt x="2069368" y="3128562"/>
                  <a:pt x="2071427" y="3126307"/>
                  <a:pt x="2071427" y="3124049"/>
                </a:cubicBezTo>
                <a:cubicBezTo>
                  <a:pt x="2071427" y="3124049"/>
                  <a:pt x="2073488" y="3124049"/>
                  <a:pt x="2073488" y="3124049"/>
                </a:cubicBezTo>
                <a:close/>
                <a:moveTo>
                  <a:pt x="2281549" y="4073783"/>
                </a:moveTo>
                <a:cubicBezTo>
                  <a:pt x="2279491" y="4076040"/>
                  <a:pt x="2277430" y="4078295"/>
                  <a:pt x="2275371" y="4080552"/>
                </a:cubicBezTo>
                <a:cubicBezTo>
                  <a:pt x="2275371" y="4076040"/>
                  <a:pt x="2277430" y="4073783"/>
                  <a:pt x="2279491" y="4071529"/>
                </a:cubicBezTo>
                <a:cubicBezTo>
                  <a:pt x="2279491" y="4071529"/>
                  <a:pt x="2281549" y="4073783"/>
                  <a:pt x="2281549" y="4073783"/>
                </a:cubicBezTo>
                <a:close/>
                <a:moveTo>
                  <a:pt x="2413392" y="4281325"/>
                </a:moveTo>
                <a:cubicBezTo>
                  <a:pt x="2411330" y="4283582"/>
                  <a:pt x="2407210" y="4283582"/>
                  <a:pt x="2403091" y="4285837"/>
                </a:cubicBezTo>
                <a:cubicBezTo>
                  <a:pt x="2405152" y="4281325"/>
                  <a:pt x="2409272" y="4279071"/>
                  <a:pt x="2411330" y="4276814"/>
                </a:cubicBezTo>
                <a:cubicBezTo>
                  <a:pt x="2411330" y="4279071"/>
                  <a:pt x="2411330" y="4279071"/>
                  <a:pt x="2413392" y="4281325"/>
                </a:cubicBezTo>
                <a:close/>
                <a:moveTo>
                  <a:pt x="2414936" y="4303039"/>
                </a:moveTo>
                <a:cubicBezTo>
                  <a:pt x="2414936" y="4305577"/>
                  <a:pt x="2414422" y="4308396"/>
                  <a:pt x="2413392" y="4312909"/>
                </a:cubicBezTo>
                <a:cubicBezTo>
                  <a:pt x="2405152" y="4303884"/>
                  <a:pt x="2405152" y="4303884"/>
                  <a:pt x="2413392" y="4294863"/>
                </a:cubicBezTo>
                <a:cubicBezTo>
                  <a:pt x="2414422" y="4298246"/>
                  <a:pt x="2414936" y="4300502"/>
                  <a:pt x="2414936" y="4303039"/>
                </a:cubicBezTo>
                <a:close/>
                <a:moveTo>
                  <a:pt x="2425752" y="4279071"/>
                </a:moveTo>
                <a:cubicBezTo>
                  <a:pt x="2423691" y="4279071"/>
                  <a:pt x="2423691" y="4281325"/>
                  <a:pt x="2423691" y="4281325"/>
                </a:cubicBezTo>
                <a:cubicBezTo>
                  <a:pt x="2421632" y="4279071"/>
                  <a:pt x="2419571" y="4276814"/>
                  <a:pt x="2419571" y="4274559"/>
                </a:cubicBezTo>
                <a:cubicBezTo>
                  <a:pt x="2419571" y="4274559"/>
                  <a:pt x="2421632" y="4272305"/>
                  <a:pt x="2421632" y="4272305"/>
                </a:cubicBezTo>
                <a:cubicBezTo>
                  <a:pt x="2423691" y="4274559"/>
                  <a:pt x="2423691" y="4276814"/>
                  <a:pt x="2425752" y="4279071"/>
                </a:cubicBezTo>
                <a:close/>
                <a:moveTo>
                  <a:pt x="2462830" y="4308397"/>
                </a:moveTo>
                <a:cubicBezTo>
                  <a:pt x="2454593" y="4319677"/>
                  <a:pt x="2448412" y="4326444"/>
                  <a:pt x="2442230" y="4330956"/>
                </a:cubicBezTo>
                <a:cubicBezTo>
                  <a:pt x="2442230" y="4330956"/>
                  <a:pt x="2440171" y="4328701"/>
                  <a:pt x="2440171" y="4328701"/>
                </a:cubicBezTo>
                <a:cubicBezTo>
                  <a:pt x="2442230" y="4324190"/>
                  <a:pt x="2444291" y="4321932"/>
                  <a:pt x="2446353" y="4317420"/>
                </a:cubicBezTo>
                <a:cubicBezTo>
                  <a:pt x="2446353" y="4317420"/>
                  <a:pt x="2444291" y="4315166"/>
                  <a:pt x="2444291" y="4315166"/>
                </a:cubicBezTo>
                <a:cubicBezTo>
                  <a:pt x="2440171" y="4317420"/>
                  <a:pt x="2436051" y="4319677"/>
                  <a:pt x="2433992" y="4321932"/>
                </a:cubicBezTo>
                <a:cubicBezTo>
                  <a:pt x="2436051" y="4315166"/>
                  <a:pt x="2438110" y="4308397"/>
                  <a:pt x="2442230" y="4301630"/>
                </a:cubicBezTo>
                <a:cubicBezTo>
                  <a:pt x="2444291" y="4303884"/>
                  <a:pt x="2446353" y="4306142"/>
                  <a:pt x="2450473" y="4310654"/>
                </a:cubicBezTo>
                <a:cubicBezTo>
                  <a:pt x="2454593" y="4308397"/>
                  <a:pt x="2458710" y="4308397"/>
                  <a:pt x="2462830" y="4306142"/>
                </a:cubicBezTo>
                <a:cubicBezTo>
                  <a:pt x="2462830" y="4306142"/>
                  <a:pt x="2462830" y="4308397"/>
                  <a:pt x="2462830" y="4308397"/>
                </a:cubicBezTo>
                <a:close/>
                <a:moveTo>
                  <a:pt x="2497853" y="4344492"/>
                </a:moveTo>
                <a:cubicBezTo>
                  <a:pt x="2493732" y="4353515"/>
                  <a:pt x="2487551" y="4360281"/>
                  <a:pt x="2479312" y="4360281"/>
                </a:cubicBezTo>
                <a:cubicBezTo>
                  <a:pt x="2481373" y="4349003"/>
                  <a:pt x="2481373" y="4349003"/>
                  <a:pt x="2497853" y="4344492"/>
                </a:cubicBezTo>
                <a:close/>
                <a:moveTo>
                  <a:pt x="2504032" y="4378328"/>
                </a:moveTo>
                <a:cubicBezTo>
                  <a:pt x="2504032" y="4385098"/>
                  <a:pt x="2501973" y="4389610"/>
                  <a:pt x="2495794" y="4389610"/>
                </a:cubicBezTo>
                <a:cubicBezTo>
                  <a:pt x="2495794" y="4380587"/>
                  <a:pt x="2495794" y="4380587"/>
                  <a:pt x="2504032" y="4378328"/>
                </a:cubicBezTo>
                <a:close/>
                <a:moveTo>
                  <a:pt x="2626780" y="4360905"/>
                </a:moveTo>
                <a:lnTo>
                  <a:pt x="2623016" y="4359669"/>
                </a:lnTo>
                <a:lnTo>
                  <a:pt x="2620939" y="4360419"/>
                </a:lnTo>
                <a:lnTo>
                  <a:pt x="2617333" y="4369308"/>
                </a:lnTo>
                <a:lnTo>
                  <a:pt x="2619443" y="4368317"/>
                </a:lnTo>
                <a:lnTo>
                  <a:pt x="2621453" y="4364796"/>
                </a:lnTo>
                <a:close/>
                <a:moveTo>
                  <a:pt x="2646173" y="4351260"/>
                </a:moveTo>
                <a:cubicBezTo>
                  <a:pt x="2644112" y="4360281"/>
                  <a:pt x="2644112" y="4360281"/>
                  <a:pt x="2633813" y="4358026"/>
                </a:cubicBezTo>
                <a:cubicBezTo>
                  <a:pt x="2639994" y="4353515"/>
                  <a:pt x="2642053" y="4353515"/>
                  <a:pt x="2646173" y="4351260"/>
                </a:cubicBezTo>
                <a:close/>
                <a:moveTo>
                  <a:pt x="2662654" y="4382841"/>
                </a:moveTo>
                <a:cubicBezTo>
                  <a:pt x="2662654" y="4382841"/>
                  <a:pt x="2660595" y="4380587"/>
                  <a:pt x="2660595" y="4380587"/>
                </a:cubicBezTo>
                <a:cubicBezTo>
                  <a:pt x="2658533" y="4380587"/>
                  <a:pt x="2656475" y="4382841"/>
                  <a:pt x="2652353" y="4387353"/>
                </a:cubicBezTo>
                <a:cubicBezTo>
                  <a:pt x="2658533" y="4385098"/>
                  <a:pt x="2660595" y="4382841"/>
                  <a:pt x="2662654" y="4382841"/>
                </a:cubicBezTo>
                <a:close/>
                <a:moveTo>
                  <a:pt x="2670894" y="4328701"/>
                </a:moveTo>
                <a:lnTo>
                  <a:pt x="2670893" y="4328701"/>
                </a:lnTo>
                <a:lnTo>
                  <a:pt x="2664392" y="4332261"/>
                </a:lnTo>
                <a:close/>
                <a:moveTo>
                  <a:pt x="2703855" y="4319677"/>
                </a:moveTo>
                <a:cubicBezTo>
                  <a:pt x="2701794" y="4317420"/>
                  <a:pt x="2699735" y="4317420"/>
                  <a:pt x="2697673" y="4317420"/>
                </a:cubicBezTo>
                <a:cubicBezTo>
                  <a:pt x="2697673" y="4319677"/>
                  <a:pt x="2697673" y="4321932"/>
                  <a:pt x="2697673" y="4324190"/>
                </a:cubicBezTo>
                <a:cubicBezTo>
                  <a:pt x="2697673" y="4324190"/>
                  <a:pt x="2701794" y="4324190"/>
                  <a:pt x="2701794" y="4324190"/>
                </a:cubicBezTo>
                <a:cubicBezTo>
                  <a:pt x="2703855" y="4324190"/>
                  <a:pt x="2703855" y="4319677"/>
                  <a:pt x="2703855" y="4319677"/>
                </a:cubicBezTo>
                <a:close/>
                <a:moveTo>
                  <a:pt x="2798615" y="4288095"/>
                </a:moveTo>
                <a:cubicBezTo>
                  <a:pt x="2798615" y="4288095"/>
                  <a:pt x="2796556" y="4285837"/>
                  <a:pt x="2796556" y="4285837"/>
                </a:cubicBezTo>
                <a:cubicBezTo>
                  <a:pt x="2786254" y="4292607"/>
                  <a:pt x="2778014" y="4297118"/>
                  <a:pt x="2769774" y="4303884"/>
                </a:cubicBezTo>
                <a:cubicBezTo>
                  <a:pt x="2782134" y="4306142"/>
                  <a:pt x="2790374" y="4297118"/>
                  <a:pt x="2798615" y="4288095"/>
                </a:cubicBezTo>
                <a:close/>
                <a:moveTo>
                  <a:pt x="2858354" y="4254254"/>
                </a:moveTo>
                <a:cubicBezTo>
                  <a:pt x="2854234" y="4252000"/>
                  <a:pt x="2852176" y="4252000"/>
                  <a:pt x="2852176" y="4252000"/>
                </a:cubicBezTo>
                <a:cubicBezTo>
                  <a:pt x="2839815" y="4258766"/>
                  <a:pt x="2827455" y="4265535"/>
                  <a:pt x="2817156" y="4272305"/>
                </a:cubicBezTo>
                <a:cubicBezTo>
                  <a:pt x="2810974" y="4276814"/>
                  <a:pt x="2806854" y="4281325"/>
                  <a:pt x="2802735" y="4285837"/>
                </a:cubicBezTo>
                <a:cubicBezTo>
                  <a:pt x="2817156" y="4281325"/>
                  <a:pt x="2827455" y="4274559"/>
                  <a:pt x="2839815" y="4270048"/>
                </a:cubicBezTo>
                <a:cubicBezTo>
                  <a:pt x="2845997" y="4265535"/>
                  <a:pt x="2850115" y="4258766"/>
                  <a:pt x="2858354" y="4254254"/>
                </a:cubicBezTo>
                <a:close/>
                <a:moveTo>
                  <a:pt x="2893376" y="4220417"/>
                </a:moveTo>
                <a:cubicBezTo>
                  <a:pt x="2883075" y="4229440"/>
                  <a:pt x="2872776" y="4236210"/>
                  <a:pt x="2862477" y="4245233"/>
                </a:cubicBezTo>
                <a:cubicBezTo>
                  <a:pt x="2887195" y="4240721"/>
                  <a:pt x="2893376" y="4233953"/>
                  <a:pt x="2893376" y="4220417"/>
                </a:cubicBezTo>
                <a:close/>
                <a:moveTo>
                  <a:pt x="2911915" y="4173043"/>
                </a:moveTo>
                <a:cubicBezTo>
                  <a:pt x="2909856" y="4173043"/>
                  <a:pt x="2909856" y="4177555"/>
                  <a:pt x="2909856" y="4177555"/>
                </a:cubicBezTo>
                <a:cubicBezTo>
                  <a:pt x="2907795" y="4179809"/>
                  <a:pt x="2905737" y="4177555"/>
                  <a:pt x="2903676" y="4177555"/>
                </a:cubicBezTo>
                <a:cubicBezTo>
                  <a:pt x="2903676" y="4177555"/>
                  <a:pt x="2903676" y="4173043"/>
                  <a:pt x="2903676" y="4170789"/>
                </a:cubicBezTo>
                <a:cubicBezTo>
                  <a:pt x="2907795" y="4170789"/>
                  <a:pt x="2909856" y="4170789"/>
                  <a:pt x="2911915" y="4173043"/>
                </a:cubicBezTo>
                <a:close/>
                <a:moveTo>
                  <a:pt x="2920156" y="4213651"/>
                </a:moveTo>
                <a:cubicBezTo>
                  <a:pt x="2920156" y="4213651"/>
                  <a:pt x="2918097" y="4211393"/>
                  <a:pt x="2918097" y="4211393"/>
                </a:cubicBezTo>
                <a:cubicBezTo>
                  <a:pt x="2916036" y="4211393"/>
                  <a:pt x="2913977" y="4213651"/>
                  <a:pt x="2911915" y="4215904"/>
                </a:cubicBezTo>
                <a:cubicBezTo>
                  <a:pt x="2911915" y="4215904"/>
                  <a:pt x="2913977" y="4218162"/>
                  <a:pt x="2913977" y="4218162"/>
                </a:cubicBezTo>
                <a:cubicBezTo>
                  <a:pt x="2916036" y="4215904"/>
                  <a:pt x="2918097" y="4213651"/>
                  <a:pt x="2920156" y="4213651"/>
                </a:cubicBezTo>
                <a:close/>
                <a:moveTo>
                  <a:pt x="2934577" y="4159507"/>
                </a:moveTo>
                <a:cubicBezTo>
                  <a:pt x="2930458" y="4164020"/>
                  <a:pt x="2924276" y="4170789"/>
                  <a:pt x="2913977" y="4168532"/>
                </a:cubicBezTo>
                <a:cubicBezTo>
                  <a:pt x="2920156" y="4164020"/>
                  <a:pt x="2926335" y="4161762"/>
                  <a:pt x="2932516" y="4157251"/>
                </a:cubicBezTo>
                <a:cubicBezTo>
                  <a:pt x="2932516" y="4157251"/>
                  <a:pt x="2934577" y="4159507"/>
                  <a:pt x="2934577" y="4159507"/>
                </a:cubicBezTo>
                <a:close/>
                <a:moveTo>
                  <a:pt x="2934577" y="4197857"/>
                </a:moveTo>
                <a:cubicBezTo>
                  <a:pt x="2930458" y="4200115"/>
                  <a:pt x="2928396" y="4200115"/>
                  <a:pt x="2928396" y="4202370"/>
                </a:cubicBezTo>
                <a:cubicBezTo>
                  <a:pt x="2926335" y="4204627"/>
                  <a:pt x="2928396" y="4204627"/>
                  <a:pt x="2928396" y="4206881"/>
                </a:cubicBezTo>
                <a:cubicBezTo>
                  <a:pt x="2930458" y="4206881"/>
                  <a:pt x="2932516" y="4204627"/>
                  <a:pt x="2932516" y="4204627"/>
                </a:cubicBezTo>
                <a:cubicBezTo>
                  <a:pt x="2934577" y="4204627"/>
                  <a:pt x="2932516" y="4202370"/>
                  <a:pt x="2934577" y="4197857"/>
                </a:cubicBezTo>
                <a:close/>
                <a:moveTo>
                  <a:pt x="2979899" y="4168532"/>
                </a:moveTo>
                <a:cubicBezTo>
                  <a:pt x="2973717" y="4168532"/>
                  <a:pt x="2969597" y="4168532"/>
                  <a:pt x="2965477" y="4168532"/>
                </a:cubicBezTo>
                <a:cubicBezTo>
                  <a:pt x="2971656" y="4179809"/>
                  <a:pt x="2971656" y="4179809"/>
                  <a:pt x="2979899" y="4168532"/>
                </a:cubicBezTo>
                <a:close/>
                <a:moveTo>
                  <a:pt x="3002558" y="4060247"/>
                </a:moveTo>
                <a:cubicBezTo>
                  <a:pt x="2998438" y="4064761"/>
                  <a:pt x="2994317" y="4073783"/>
                  <a:pt x="2986077" y="4073783"/>
                </a:cubicBezTo>
                <a:cubicBezTo>
                  <a:pt x="2988136" y="4067016"/>
                  <a:pt x="2990197" y="4062504"/>
                  <a:pt x="2994317" y="4055736"/>
                </a:cubicBezTo>
                <a:cubicBezTo>
                  <a:pt x="2996376" y="4057993"/>
                  <a:pt x="3000497" y="4060247"/>
                  <a:pt x="3002558" y="4060247"/>
                </a:cubicBezTo>
                <a:close/>
                <a:moveTo>
                  <a:pt x="3012856" y="4053481"/>
                </a:moveTo>
                <a:cubicBezTo>
                  <a:pt x="3008736" y="4055736"/>
                  <a:pt x="3004616" y="4060247"/>
                  <a:pt x="3002558" y="4062504"/>
                </a:cubicBezTo>
                <a:cubicBezTo>
                  <a:pt x="3002558" y="4056864"/>
                  <a:pt x="3002558" y="4054043"/>
                  <a:pt x="3003845" y="4052916"/>
                </a:cubicBezTo>
                <a:cubicBezTo>
                  <a:pt x="3005132" y="4051788"/>
                  <a:pt x="3007707" y="4052352"/>
                  <a:pt x="3012856" y="4053481"/>
                </a:cubicBezTo>
                <a:close/>
                <a:moveTo>
                  <a:pt x="3025003" y="4140210"/>
                </a:moveTo>
                <a:lnTo>
                  <a:pt x="3023406" y="4138086"/>
                </a:lnTo>
                <a:lnTo>
                  <a:pt x="3016977" y="4143718"/>
                </a:lnTo>
                <a:cubicBezTo>
                  <a:pt x="3019037" y="4143718"/>
                  <a:pt x="3021612" y="4144282"/>
                  <a:pt x="3023672" y="4143436"/>
                </a:cubicBezTo>
                <a:close/>
                <a:moveTo>
                  <a:pt x="3039636" y="4078295"/>
                </a:moveTo>
                <a:cubicBezTo>
                  <a:pt x="3037577" y="4085063"/>
                  <a:pt x="3037577" y="4087318"/>
                  <a:pt x="3037577" y="4089576"/>
                </a:cubicBezTo>
                <a:cubicBezTo>
                  <a:pt x="3027278" y="4098599"/>
                  <a:pt x="3014915" y="4107623"/>
                  <a:pt x="3004616" y="4116647"/>
                </a:cubicBezTo>
                <a:cubicBezTo>
                  <a:pt x="3002558" y="4118901"/>
                  <a:pt x="3000497" y="4118901"/>
                  <a:pt x="2998438" y="4118901"/>
                </a:cubicBezTo>
                <a:cubicBezTo>
                  <a:pt x="2998438" y="4116647"/>
                  <a:pt x="2996376" y="4116647"/>
                  <a:pt x="2996376" y="4114390"/>
                </a:cubicBezTo>
                <a:cubicBezTo>
                  <a:pt x="3008736" y="4103111"/>
                  <a:pt x="3023158" y="4089576"/>
                  <a:pt x="3039636" y="4078295"/>
                </a:cubicBezTo>
                <a:close/>
                <a:moveTo>
                  <a:pt x="3054058" y="4060247"/>
                </a:moveTo>
                <a:cubicBezTo>
                  <a:pt x="3054058" y="4062504"/>
                  <a:pt x="3051999" y="4064761"/>
                  <a:pt x="3049938" y="4064761"/>
                </a:cubicBezTo>
                <a:cubicBezTo>
                  <a:pt x="3033457" y="4062504"/>
                  <a:pt x="3025217" y="4076040"/>
                  <a:pt x="3014915" y="4085063"/>
                </a:cubicBezTo>
                <a:cubicBezTo>
                  <a:pt x="3006677" y="4091833"/>
                  <a:pt x="3000497" y="4098599"/>
                  <a:pt x="2992256" y="4105365"/>
                </a:cubicBezTo>
                <a:cubicBezTo>
                  <a:pt x="2990197" y="4107623"/>
                  <a:pt x="2990197" y="4107623"/>
                  <a:pt x="2981957" y="4100854"/>
                </a:cubicBezTo>
                <a:cubicBezTo>
                  <a:pt x="2988136" y="4094088"/>
                  <a:pt x="2994317" y="4087318"/>
                  <a:pt x="3004616" y="4082806"/>
                </a:cubicBezTo>
                <a:cubicBezTo>
                  <a:pt x="3016977" y="4076040"/>
                  <a:pt x="3027278" y="4067016"/>
                  <a:pt x="3039636" y="4057993"/>
                </a:cubicBezTo>
                <a:cubicBezTo>
                  <a:pt x="3041697" y="4055736"/>
                  <a:pt x="3045817" y="4055736"/>
                  <a:pt x="3049938" y="4055736"/>
                </a:cubicBezTo>
                <a:cubicBezTo>
                  <a:pt x="3051999" y="4055736"/>
                  <a:pt x="3054058" y="4057993"/>
                  <a:pt x="3054058" y="4060247"/>
                </a:cubicBezTo>
                <a:close/>
                <a:moveTo>
                  <a:pt x="3064356" y="4030921"/>
                </a:moveTo>
                <a:cubicBezTo>
                  <a:pt x="3056116" y="4035434"/>
                  <a:pt x="3049938" y="4039945"/>
                  <a:pt x="3039636" y="4044457"/>
                </a:cubicBezTo>
                <a:cubicBezTo>
                  <a:pt x="3037577" y="4024155"/>
                  <a:pt x="3056116" y="4026410"/>
                  <a:pt x="3058177" y="4012874"/>
                </a:cubicBezTo>
                <a:cubicBezTo>
                  <a:pt x="3060236" y="4012874"/>
                  <a:pt x="3060236" y="4012874"/>
                  <a:pt x="3062297" y="4015132"/>
                </a:cubicBezTo>
                <a:cubicBezTo>
                  <a:pt x="3062297" y="4019643"/>
                  <a:pt x="3062297" y="4024155"/>
                  <a:pt x="3064356" y="4030921"/>
                </a:cubicBezTo>
                <a:close/>
                <a:moveTo>
                  <a:pt x="3078778" y="4008362"/>
                </a:moveTo>
                <a:cubicBezTo>
                  <a:pt x="3076717" y="4010619"/>
                  <a:pt x="3074658" y="4012874"/>
                  <a:pt x="3072599" y="4012874"/>
                </a:cubicBezTo>
                <a:cubicBezTo>
                  <a:pt x="3072599" y="4010619"/>
                  <a:pt x="3072599" y="4010619"/>
                  <a:pt x="3070538" y="4010619"/>
                </a:cubicBezTo>
                <a:cubicBezTo>
                  <a:pt x="3072599" y="4010619"/>
                  <a:pt x="3072599" y="4001596"/>
                  <a:pt x="3074658" y="4001596"/>
                </a:cubicBezTo>
                <a:cubicBezTo>
                  <a:pt x="3078778" y="4003851"/>
                  <a:pt x="3078778" y="4006108"/>
                  <a:pt x="3078778" y="4008362"/>
                </a:cubicBezTo>
                <a:close/>
                <a:moveTo>
                  <a:pt x="3097317" y="4046714"/>
                </a:moveTo>
                <a:cubicBezTo>
                  <a:pt x="3093197" y="4051223"/>
                  <a:pt x="3093197" y="4051223"/>
                  <a:pt x="3093197" y="4053481"/>
                </a:cubicBezTo>
                <a:cubicBezTo>
                  <a:pt x="3082898" y="4060247"/>
                  <a:pt x="3076717" y="4071529"/>
                  <a:pt x="3062297" y="4069274"/>
                </a:cubicBezTo>
                <a:cubicBezTo>
                  <a:pt x="3060236" y="4069274"/>
                  <a:pt x="3058177" y="4073783"/>
                  <a:pt x="3056116" y="4073783"/>
                </a:cubicBezTo>
                <a:cubicBezTo>
                  <a:pt x="3054058" y="4073783"/>
                  <a:pt x="3051999" y="4073783"/>
                  <a:pt x="3049938" y="4073783"/>
                </a:cubicBezTo>
                <a:cubicBezTo>
                  <a:pt x="3049938" y="4071529"/>
                  <a:pt x="3049938" y="4071529"/>
                  <a:pt x="3047879" y="4069274"/>
                </a:cubicBezTo>
                <a:cubicBezTo>
                  <a:pt x="3056116" y="4062504"/>
                  <a:pt x="3064356" y="4055736"/>
                  <a:pt x="3072599" y="4048968"/>
                </a:cubicBezTo>
                <a:cubicBezTo>
                  <a:pt x="3076717" y="4046714"/>
                  <a:pt x="3078778" y="4044457"/>
                  <a:pt x="3078778" y="4037691"/>
                </a:cubicBezTo>
                <a:cubicBezTo>
                  <a:pt x="3078778" y="4035434"/>
                  <a:pt x="3082898" y="4030921"/>
                  <a:pt x="3084957" y="4026410"/>
                </a:cubicBezTo>
                <a:cubicBezTo>
                  <a:pt x="3084957" y="4028664"/>
                  <a:pt x="3087018" y="4028664"/>
                  <a:pt x="3087018" y="4030921"/>
                </a:cubicBezTo>
                <a:cubicBezTo>
                  <a:pt x="3087018" y="4033179"/>
                  <a:pt x="3084957" y="4035434"/>
                  <a:pt x="3084957" y="4037691"/>
                </a:cubicBezTo>
                <a:cubicBezTo>
                  <a:pt x="3087018" y="4037691"/>
                  <a:pt x="3089077" y="4035434"/>
                  <a:pt x="3089077" y="4035434"/>
                </a:cubicBezTo>
                <a:cubicBezTo>
                  <a:pt x="3091138" y="4037691"/>
                  <a:pt x="3093197" y="4042202"/>
                  <a:pt x="3095259" y="4044457"/>
                </a:cubicBezTo>
                <a:cubicBezTo>
                  <a:pt x="3095259" y="4044457"/>
                  <a:pt x="3097317" y="4046714"/>
                  <a:pt x="3097317" y="4046714"/>
                </a:cubicBezTo>
                <a:close/>
                <a:moveTo>
                  <a:pt x="3101438" y="4080552"/>
                </a:moveTo>
                <a:cubicBezTo>
                  <a:pt x="3099379" y="4080552"/>
                  <a:pt x="3099379" y="4080552"/>
                  <a:pt x="3097317" y="4080552"/>
                </a:cubicBezTo>
                <a:cubicBezTo>
                  <a:pt x="3097317" y="4080552"/>
                  <a:pt x="3097317" y="4078295"/>
                  <a:pt x="3097317" y="4078295"/>
                </a:cubicBezTo>
                <a:cubicBezTo>
                  <a:pt x="3099379" y="4078295"/>
                  <a:pt x="3101438" y="4078295"/>
                  <a:pt x="3101438" y="4078295"/>
                </a:cubicBezTo>
                <a:cubicBezTo>
                  <a:pt x="3103499" y="4078295"/>
                  <a:pt x="3101438" y="4080552"/>
                  <a:pt x="3101438" y="4080552"/>
                </a:cubicBezTo>
                <a:close/>
                <a:moveTo>
                  <a:pt x="3187959" y="3954220"/>
                </a:moveTo>
                <a:cubicBezTo>
                  <a:pt x="3185898" y="3954220"/>
                  <a:pt x="3183839" y="3956477"/>
                  <a:pt x="3181777" y="3956477"/>
                </a:cubicBezTo>
                <a:cubicBezTo>
                  <a:pt x="3181777" y="3956477"/>
                  <a:pt x="3181777" y="3954220"/>
                  <a:pt x="3181777" y="3954220"/>
                </a:cubicBezTo>
                <a:cubicBezTo>
                  <a:pt x="3183839" y="3954220"/>
                  <a:pt x="3185898" y="3951965"/>
                  <a:pt x="3187959" y="3951965"/>
                </a:cubicBezTo>
                <a:cubicBezTo>
                  <a:pt x="3187959" y="3951965"/>
                  <a:pt x="3187959" y="3954220"/>
                  <a:pt x="3187959" y="3954220"/>
                </a:cubicBezTo>
                <a:close/>
                <a:moveTo>
                  <a:pt x="3190018" y="3920382"/>
                </a:moveTo>
                <a:cubicBezTo>
                  <a:pt x="3187959" y="3920382"/>
                  <a:pt x="3187959" y="3920382"/>
                  <a:pt x="3185898" y="3922640"/>
                </a:cubicBezTo>
                <a:cubicBezTo>
                  <a:pt x="3183839" y="3920382"/>
                  <a:pt x="3185898" y="3920382"/>
                  <a:pt x="3185898" y="3918128"/>
                </a:cubicBezTo>
                <a:cubicBezTo>
                  <a:pt x="3187959" y="3918128"/>
                  <a:pt x="3187959" y="3918128"/>
                  <a:pt x="3190018" y="3920382"/>
                </a:cubicBezTo>
                <a:close/>
                <a:moveTo>
                  <a:pt x="3235339" y="4089576"/>
                </a:moveTo>
                <a:lnTo>
                  <a:pt x="3232259" y="4086203"/>
                </a:lnTo>
                <a:lnTo>
                  <a:pt x="3231219" y="4087318"/>
                </a:lnTo>
                <a:lnTo>
                  <a:pt x="3231219" y="4088447"/>
                </a:lnTo>
                <a:close/>
                <a:moveTo>
                  <a:pt x="3245638" y="4103111"/>
                </a:moveTo>
                <a:lnTo>
                  <a:pt x="3241084" y="4094799"/>
                </a:lnTo>
                <a:lnTo>
                  <a:pt x="3239459" y="4097470"/>
                </a:lnTo>
                <a:lnTo>
                  <a:pt x="3239459" y="4101983"/>
                </a:lnTo>
                <a:lnTo>
                  <a:pt x="3241518" y="4103111"/>
                </a:lnTo>
                <a:lnTo>
                  <a:pt x="3239459" y="4104464"/>
                </a:lnTo>
                <a:lnTo>
                  <a:pt x="3239459" y="4105365"/>
                </a:lnTo>
                <a:cubicBezTo>
                  <a:pt x="3241518" y="4105365"/>
                  <a:pt x="3243579" y="4103111"/>
                  <a:pt x="3245638" y="4103111"/>
                </a:cubicBezTo>
                <a:close/>
                <a:moveTo>
                  <a:pt x="3284239" y="3898060"/>
                </a:moveTo>
                <a:lnTo>
                  <a:pt x="3274479" y="3902335"/>
                </a:lnTo>
                <a:cubicBezTo>
                  <a:pt x="3272420" y="3904589"/>
                  <a:pt x="3272420" y="3904589"/>
                  <a:pt x="3272420" y="3904589"/>
                </a:cubicBezTo>
                <a:cubicBezTo>
                  <a:pt x="3270359" y="3906846"/>
                  <a:pt x="3268300" y="3911359"/>
                  <a:pt x="3268300" y="3913616"/>
                </a:cubicBezTo>
                <a:cubicBezTo>
                  <a:pt x="3270359" y="3913616"/>
                  <a:pt x="3270359" y="3911359"/>
                  <a:pt x="3270359" y="3911359"/>
                </a:cubicBezTo>
                <a:close/>
                <a:moveTo>
                  <a:pt x="3286836" y="3895572"/>
                </a:moveTo>
                <a:lnTo>
                  <a:pt x="3284239" y="3898060"/>
                </a:lnTo>
                <a:lnTo>
                  <a:pt x="3284780" y="3897823"/>
                </a:lnTo>
                <a:close/>
                <a:moveTo>
                  <a:pt x="3286839" y="3895569"/>
                </a:moveTo>
                <a:lnTo>
                  <a:pt x="3286839" y="3895567"/>
                </a:lnTo>
                <a:lnTo>
                  <a:pt x="3286836" y="3895572"/>
                </a:lnTo>
                <a:close/>
                <a:moveTo>
                  <a:pt x="3356880" y="3870752"/>
                </a:moveTo>
                <a:cubicBezTo>
                  <a:pt x="3354819" y="3873010"/>
                  <a:pt x="3354819" y="3873010"/>
                  <a:pt x="3354819" y="3875264"/>
                </a:cubicBezTo>
                <a:cubicBezTo>
                  <a:pt x="3354819" y="3875264"/>
                  <a:pt x="3352760" y="3877521"/>
                  <a:pt x="3352760" y="3877521"/>
                </a:cubicBezTo>
                <a:cubicBezTo>
                  <a:pt x="3352760" y="3877521"/>
                  <a:pt x="3350701" y="3875264"/>
                  <a:pt x="3350701" y="3875264"/>
                </a:cubicBezTo>
                <a:cubicBezTo>
                  <a:pt x="3352760" y="3873010"/>
                  <a:pt x="3354819" y="3873010"/>
                  <a:pt x="3356880" y="3870752"/>
                </a:cubicBezTo>
                <a:close/>
                <a:moveTo>
                  <a:pt x="3363059" y="3900080"/>
                </a:moveTo>
                <a:cubicBezTo>
                  <a:pt x="3361000" y="3902335"/>
                  <a:pt x="3358939" y="3902335"/>
                  <a:pt x="3358939" y="3902335"/>
                </a:cubicBezTo>
                <a:cubicBezTo>
                  <a:pt x="3358939" y="3902335"/>
                  <a:pt x="3358939" y="3900080"/>
                  <a:pt x="3361000" y="3900080"/>
                </a:cubicBezTo>
                <a:cubicBezTo>
                  <a:pt x="3361000" y="3900080"/>
                  <a:pt x="3363059" y="3900080"/>
                  <a:pt x="3363059" y="3900080"/>
                </a:cubicBezTo>
                <a:close/>
                <a:moveTo>
                  <a:pt x="3466062" y="3891057"/>
                </a:moveTo>
                <a:cubicBezTo>
                  <a:pt x="3461942" y="3895569"/>
                  <a:pt x="3455760" y="3900080"/>
                  <a:pt x="3447519" y="3900080"/>
                </a:cubicBezTo>
                <a:cubicBezTo>
                  <a:pt x="3447519" y="3897823"/>
                  <a:pt x="3449582" y="3897823"/>
                  <a:pt x="3449582" y="3895569"/>
                </a:cubicBezTo>
                <a:cubicBezTo>
                  <a:pt x="3447519" y="3895569"/>
                  <a:pt x="3445462" y="3897823"/>
                  <a:pt x="3443403" y="3897823"/>
                </a:cubicBezTo>
                <a:cubicBezTo>
                  <a:pt x="3441341" y="3897823"/>
                  <a:pt x="3439282" y="3895569"/>
                  <a:pt x="3439282" y="3893312"/>
                </a:cubicBezTo>
                <a:cubicBezTo>
                  <a:pt x="3439282" y="3891057"/>
                  <a:pt x="3439282" y="3891057"/>
                  <a:pt x="3439282" y="3888799"/>
                </a:cubicBezTo>
                <a:cubicBezTo>
                  <a:pt x="3443403" y="3886545"/>
                  <a:pt x="3447519" y="3886545"/>
                  <a:pt x="3449582" y="3884287"/>
                </a:cubicBezTo>
                <a:cubicBezTo>
                  <a:pt x="3451641" y="3884287"/>
                  <a:pt x="3453702" y="3882033"/>
                  <a:pt x="3453702" y="3882033"/>
                </a:cubicBezTo>
                <a:cubicBezTo>
                  <a:pt x="3457821" y="3884287"/>
                  <a:pt x="3461942" y="3886545"/>
                  <a:pt x="3466062" y="3891057"/>
                </a:cubicBezTo>
                <a:close/>
                <a:moveTo>
                  <a:pt x="3474301" y="4033179"/>
                </a:moveTo>
                <a:cubicBezTo>
                  <a:pt x="3474301" y="4042202"/>
                  <a:pt x="3468121" y="4051223"/>
                  <a:pt x="3461942" y="4057993"/>
                </a:cubicBezTo>
                <a:cubicBezTo>
                  <a:pt x="3464000" y="4048968"/>
                  <a:pt x="3466062" y="4039945"/>
                  <a:pt x="3474301" y="4033179"/>
                </a:cubicBezTo>
                <a:close/>
                <a:moveTo>
                  <a:pt x="3478423" y="4177555"/>
                </a:moveTo>
                <a:cubicBezTo>
                  <a:pt x="3478423" y="4186579"/>
                  <a:pt x="3472241" y="4188834"/>
                  <a:pt x="3472241" y="4193349"/>
                </a:cubicBezTo>
                <a:cubicBezTo>
                  <a:pt x="3470182" y="4186579"/>
                  <a:pt x="3472241" y="4182068"/>
                  <a:pt x="3478423" y="4177555"/>
                </a:cubicBezTo>
                <a:close/>
                <a:moveTo>
                  <a:pt x="3536103" y="4301630"/>
                </a:moveTo>
                <a:cubicBezTo>
                  <a:pt x="3538162" y="4308397"/>
                  <a:pt x="3529922" y="4310654"/>
                  <a:pt x="3529922" y="4317420"/>
                </a:cubicBezTo>
                <a:cubicBezTo>
                  <a:pt x="3527860" y="4310654"/>
                  <a:pt x="3529922" y="4306142"/>
                  <a:pt x="3536103" y="4301630"/>
                </a:cubicBezTo>
                <a:close/>
                <a:moveTo>
                  <a:pt x="3552581" y="4012874"/>
                </a:moveTo>
                <a:cubicBezTo>
                  <a:pt x="3554642" y="4019643"/>
                  <a:pt x="3552581" y="4024155"/>
                  <a:pt x="3550522" y="4028664"/>
                </a:cubicBezTo>
                <a:cubicBezTo>
                  <a:pt x="3544341" y="4037691"/>
                  <a:pt x="3538162" y="4046714"/>
                  <a:pt x="3531983" y="4057993"/>
                </a:cubicBezTo>
                <a:cubicBezTo>
                  <a:pt x="3527860" y="4057993"/>
                  <a:pt x="3525801" y="4060247"/>
                  <a:pt x="3523740" y="4064761"/>
                </a:cubicBezTo>
                <a:cubicBezTo>
                  <a:pt x="3525801" y="4062504"/>
                  <a:pt x="3527860" y="4062504"/>
                  <a:pt x="3529922" y="4060247"/>
                </a:cubicBezTo>
                <a:cubicBezTo>
                  <a:pt x="3525801" y="4064761"/>
                  <a:pt x="3523740" y="4069274"/>
                  <a:pt x="3519621" y="4073783"/>
                </a:cubicBezTo>
                <a:cubicBezTo>
                  <a:pt x="3519621" y="4073783"/>
                  <a:pt x="3517562" y="4073783"/>
                  <a:pt x="3515503" y="4073783"/>
                </a:cubicBezTo>
                <a:cubicBezTo>
                  <a:pt x="3513442" y="4069274"/>
                  <a:pt x="3515503" y="4064761"/>
                  <a:pt x="3517562" y="4060247"/>
                </a:cubicBezTo>
                <a:cubicBezTo>
                  <a:pt x="3521682" y="4053481"/>
                  <a:pt x="3523740" y="4046714"/>
                  <a:pt x="3525801" y="4037691"/>
                </a:cubicBezTo>
                <a:cubicBezTo>
                  <a:pt x="3525801" y="4035434"/>
                  <a:pt x="3525801" y="4035434"/>
                  <a:pt x="3525801" y="4033179"/>
                </a:cubicBezTo>
                <a:cubicBezTo>
                  <a:pt x="3529922" y="4024155"/>
                  <a:pt x="3536103" y="4015132"/>
                  <a:pt x="3542282" y="4010619"/>
                </a:cubicBezTo>
                <a:cubicBezTo>
                  <a:pt x="3546403" y="4008362"/>
                  <a:pt x="3548462" y="4008362"/>
                  <a:pt x="3552581" y="4012874"/>
                </a:cubicBezTo>
                <a:close/>
                <a:moveTo>
                  <a:pt x="3579363" y="4324190"/>
                </a:moveTo>
                <a:cubicBezTo>
                  <a:pt x="3577302" y="4324190"/>
                  <a:pt x="3575243" y="4326444"/>
                  <a:pt x="3573181" y="4326444"/>
                </a:cubicBezTo>
                <a:cubicBezTo>
                  <a:pt x="3573181" y="4333211"/>
                  <a:pt x="3571123" y="4337724"/>
                  <a:pt x="3567003" y="4339979"/>
                </a:cubicBezTo>
                <a:cubicBezTo>
                  <a:pt x="3573181" y="4335468"/>
                  <a:pt x="3577302" y="4330956"/>
                  <a:pt x="3579363" y="4324190"/>
                </a:cubicBezTo>
                <a:close/>
                <a:moveTo>
                  <a:pt x="3614383" y="4136949"/>
                </a:moveTo>
                <a:cubicBezTo>
                  <a:pt x="3612321" y="4141460"/>
                  <a:pt x="3610262" y="4148230"/>
                  <a:pt x="3608203" y="4152739"/>
                </a:cubicBezTo>
                <a:cubicBezTo>
                  <a:pt x="3597902" y="4168532"/>
                  <a:pt x="3587603" y="4182068"/>
                  <a:pt x="3577302" y="4197857"/>
                </a:cubicBezTo>
                <a:cubicBezTo>
                  <a:pt x="3577302" y="4197857"/>
                  <a:pt x="3575243" y="4197857"/>
                  <a:pt x="3573181" y="4197857"/>
                </a:cubicBezTo>
                <a:cubicBezTo>
                  <a:pt x="3571123" y="4193349"/>
                  <a:pt x="3573181" y="4188834"/>
                  <a:pt x="3575243" y="4184322"/>
                </a:cubicBezTo>
                <a:cubicBezTo>
                  <a:pt x="3577302" y="4182068"/>
                  <a:pt x="3577302" y="4179809"/>
                  <a:pt x="3579363" y="4175298"/>
                </a:cubicBezTo>
                <a:cubicBezTo>
                  <a:pt x="3579363" y="4175298"/>
                  <a:pt x="3579363" y="4175298"/>
                  <a:pt x="3581422" y="4177555"/>
                </a:cubicBezTo>
                <a:cubicBezTo>
                  <a:pt x="3583483" y="4173043"/>
                  <a:pt x="3585542" y="4170789"/>
                  <a:pt x="3589662" y="4166277"/>
                </a:cubicBezTo>
                <a:cubicBezTo>
                  <a:pt x="3589662" y="4166277"/>
                  <a:pt x="3587603" y="4164020"/>
                  <a:pt x="3587603" y="4164020"/>
                </a:cubicBezTo>
                <a:cubicBezTo>
                  <a:pt x="3585542" y="4166277"/>
                  <a:pt x="3583483" y="4168532"/>
                  <a:pt x="3583483" y="4170789"/>
                </a:cubicBezTo>
                <a:cubicBezTo>
                  <a:pt x="3585542" y="4168532"/>
                  <a:pt x="3585542" y="4164020"/>
                  <a:pt x="3585542" y="4161762"/>
                </a:cubicBezTo>
                <a:cubicBezTo>
                  <a:pt x="3587603" y="4150484"/>
                  <a:pt x="3595844" y="4141460"/>
                  <a:pt x="3604084" y="4134694"/>
                </a:cubicBezTo>
                <a:cubicBezTo>
                  <a:pt x="3608203" y="4132437"/>
                  <a:pt x="3610262" y="4132437"/>
                  <a:pt x="3614383" y="4136949"/>
                </a:cubicBezTo>
                <a:close/>
                <a:moveTo>
                  <a:pt x="3639103" y="4252000"/>
                </a:moveTo>
                <a:cubicBezTo>
                  <a:pt x="3637042" y="4254254"/>
                  <a:pt x="3632922" y="4258766"/>
                  <a:pt x="3634983" y="4265535"/>
                </a:cubicBezTo>
                <a:cubicBezTo>
                  <a:pt x="3637042" y="4261023"/>
                  <a:pt x="3639103" y="4256512"/>
                  <a:pt x="3639103" y="4252000"/>
                </a:cubicBezTo>
                <a:close/>
                <a:moveTo>
                  <a:pt x="3641162" y="4098599"/>
                </a:moveTo>
                <a:cubicBezTo>
                  <a:pt x="3641162" y="4100854"/>
                  <a:pt x="3641162" y="4100854"/>
                  <a:pt x="3639103" y="4103111"/>
                </a:cubicBezTo>
                <a:cubicBezTo>
                  <a:pt x="3639103" y="4103111"/>
                  <a:pt x="3637042" y="4103111"/>
                  <a:pt x="3637042" y="4103111"/>
                </a:cubicBezTo>
                <a:cubicBezTo>
                  <a:pt x="3639103" y="4100854"/>
                  <a:pt x="3639103" y="4098599"/>
                  <a:pt x="3641162" y="4098599"/>
                </a:cubicBezTo>
                <a:close/>
                <a:moveTo>
                  <a:pt x="3651464" y="4209138"/>
                </a:moveTo>
                <a:cubicBezTo>
                  <a:pt x="3651464" y="4209138"/>
                  <a:pt x="3649405" y="4209138"/>
                  <a:pt x="3647344" y="4209138"/>
                </a:cubicBezTo>
                <a:cubicBezTo>
                  <a:pt x="3647344" y="4211393"/>
                  <a:pt x="3647344" y="4211393"/>
                  <a:pt x="3647344" y="4213651"/>
                </a:cubicBezTo>
                <a:cubicBezTo>
                  <a:pt x="3649405" y="4213651"/>
                  <a:pt x="3649405" y="4211393"/>
                  <a:pt x="3651464" y="4209138"/>
                </a:cubicBezTo>
                <a:close/>
                <a:moveTo>
                  <a:pt x="3653522" y="4114390"/>
                </a:moveTo>
                <a:cubicBezTo>
                  <a:pt x="3649405" y="4121158"/>
                  <a:pt x="3647344" y="4127925"/>
                  <a:pt x="3639103" y="4130180"/>
                </a:cubicBezTo>
                <a:cubicBezTo>
                  <a:pt x="3643223" y="4116647"/>
                  <a:pt x="3643223" y="4116647"/>
                  <a:pt x="3653522" y="4114390"/>
                </a:cubicBezTo>
                <a:close/>
                <a:moveTo>
                  <a:pt x="3653522" y="4234328"/>
                </a:moveTo>
                <a:lnTo>
                  <a:pt x="3653069" y="4234246"/>
                </a:lnTo>
                <a:lnTo>
                  <a:pt x="3648631" y="4238747"/>
                </a:lnTo>
                <a:cubicBezTo>
                  <a:pt x="3646828" y="4241848"/>
                  <a:pt x="3645283" y="4245232"/>
                  <a:pt x="3643223" y="4247487"/>
                </a:cubicBezTo>
                <a:close/>
                <a:moveTo>
                  <a:pt x="3762703" y="4082806"/>
                </a:moveTo>
                <a:cubicBezTo>
                  <a:pt x="3758583" y="4089576"/>
                  <a:pt x="3750343" y="4100854"/>
                  <a:pt x="3742106" y="4103111"/>
                </a:cubicBezTo>
                <a:cubicBezTo>
                  <a:pt x="3740044" y="4105365"/>
                  <a:pt x="3737983" y="4107623"/>
                  <a:pt x="3737983" y="4107623"/>
                </a:cubicBezTo>
                <a:cubicBezTo>
                  <a:pt x="3737983" y="4118901"/>
                  <a:pt x="3731804" y="4121158"/>
                  <a:pt x="3725622" y="4123413"/>
                </a:cubicBezTo>
                <a:cubicBezTo>
                  <a:pt x="3731804" y="4105365"/>
                  <a:pt x="3737983" y="4094088"/>
                  <a:pt x="3748285" y="4087318"/>
                </a:cubicBezTo>
                <a:cubicBezTo>
                  <a:pt x="3752404" y="4082806"/>
                  <a:pt x="3756524" y="4080552"/>
                  <a:pt x="3762703" y="4082806"/>
                </a:cubicBezTo>
                <a:close/>
                <a:moveTo>
                  <a:pt x="3779183" y="4051223"/>
                </a:moveTo>
                <a:cubicBezTo>
                  <a:pt x="3777122" y="4053481"/>
                  <a:pt x="3775064" y="4055736"/>
                  <a:pt x="3775064" y="4057993"/>
                </a:cubicBezTo>
                <a:cubicBezTo>
                  <a:pt x="3775064" y="4055736"/>
                  <a:pt x="3775064" y="4051223"/>
                  <a:pt x="3777122" y="4048968"/>
                </a:cubicBezTo>
                <a:cubicBezTo>
                  <a:pt x="3777122" y="4048968"/>
                  <a:pt x="3779183" y="4048968"/>
                  <a:pt x="3779183" y="4051223"/>
                </a:cubicBezTo>
                <a:close/>
                <a:moveTo>
                  <a:pt x="4065527" y="3967758"/>
                </a:moveTo>
                <a:cubicBezTo>
                  <a:pt x="4051108" y="3983549"/>
                  <a:pt x="4009906" y="4008362"/>
                  <a:pt x="3981066" y="4017386"/>
                </a:cubicBezTo>
                <a:cubicBezTo>
                  <a:pt x="4007845" y="3994826"/>
                  <a:pt x="4036686" y="3983549"/>
                  <a:pt x="4065527" y="3967758"/>
                </a:cubicBezTo>
                <a:close/>
                <a:moveTo>
                  <a:pt x="5171757" y="3006744"/>
                </a:moveTo>
                <a:cubicBezTo>
                  <a:pt x="5167637" y="3006744"/>
                  <a:pt x="5163517" y="3008998"/>
                  <a:pt x="5159397" y="3011256"/>
                </a:cubicBezTo>
                <a:cubicBezTo>
                  <a:pt x="5159397" y="3011256"/>
                  <a:pt x="5159397" y="3008998"/>
                  <a:pt x="5159397" y="3008998"/>
                </a:cubicBezTo>
                <a:cubicBezTo>
                  <a:pt x="5157336" y="3008998"/>
                  <a:pt x="5155277" y="3008998"/>
                  <a:pt x="5151157" y="3006744"/>
                </a:cubicBezTo>
                <a:cubicBezTo>
                  <a:pt x="5159397" y="3004489"/>
                  <a:pt x="5163517" y="3004489"/>
                  <a:pt x="5165579" y="3004489"/>
                </a:cubicBezTo>
                <a:cubicBezTo>
                  <a:pt x="5167637" y="3004489"/>
                  <a:pt x="5169698" y="3006744"/>
                  <a:pt x="5171757" y="3006744"/>
                </a:cubicBezTo>
                <a:close/>
                <a:moveTo>
                  <a:pt x="5196477" y="2975160"/>
                </a:moveTo>
                <a:cubicBezTo>
                  <a:pt x="5196477" y="2975160"/>
                  <a:pt x="5194418" y="2977418"/>
                  <a:pt x="5194418" y="2977418"/>
                </a:cubicBezTo>
                <a:cubicBezTo>
                  <a:pt x="5194418" y="2977418"/>
                  <a:pt x="5192357" y="2977418"/>
                  <a:pt x="5190299" y="2977418"/>
                </a:cubicBezTo>
                <a:cubicBezTo>
                  <a:pt x="5186177" y="2977418"/>
                  <a:pt x="5182056" y="2979672"/>
                  <a:pt x="5182056" y="2986440"/>
                </a:cubicBezTo>
                <a:cubicBezTo>
                  <a:pt x="5182056" y="2988696"/>
                  <a:pt x="5175877" y="2990954"/>
                  <a:pt x="5171757" y="2993208"/>
                </a:cubicBezTo>
                <a:cubicBezTo>
                  <a:pt x="5171757" y="2986440"/>
                  <a:pt x="5171757" y="2984185"/>
                  <a:pt x="5171757" y="2979672"/>
                </a:cubicBezTo>
                <a:cubicBezTo>
                  <a:pt x="5171757" y="2979672"/>
                  <a:pt x="5171757" y="2977418"/>
                  <a:pt x="5173818" y="2977418"/>
                </a:cubicBezTo>
                <a:cubicBezTo>
                  <a:pt x="5179997" y="2975160"/>
                  <a:pt x="5186177" y="2972904"/>
                  <a:pt x="5192357" y="2968394"/>
                </a:cubicBezTo>
                <a:cubicBezTo>
                  <a:pt x="5194418" y="2968394"/>
                  <a:pt x="5196477" y="2968394"/>
                  <a:pt x="5196477" y="2968394"/>
                </a:cubicBezTo>
                <a:cubicBezTo>
                  <a:pt x="5194418" y="2970649"/>
                  <a:pt x="5192357" y="2970649"/>
                  <a:pt x="5188238" y="2972904"/>
                </a:cubicBezTo>
                <a:cubicBezTo>
                  <a:pt x="5190299" y="2975160"/>
                  <a:pt x="5194418" y="2975160"/>
                  <a:pt x="5196477" y="2975160"/>
                </a:cubicBezTo>
                <a:close/>
                <a:moveTo>
                  <a:pt x="5466341" y="2717988"/>
                </a:moveTo>
                <a:lnTo>
                  <a:pt x="5458098" y="2720245"/>
                </a:lnTo>
                <a:lnTo>
                  <a:pt x="5458100" y="2720245"/>
                </a:lnTo>
                <a:cubicBezTo>
                  <a:pt x="5460159" y="2720245"/>
                  <a:pt x="5464282" y="2717988"/>
                  <a:pt x="5466341" y="2717988"/>
                </a:cubicBezTo>
                <a:close/>
                <a:moveTo>
                  <a:pt x="5472521" y="2742804"/>
                </a:moveTo>
                <a:cubicBezTo>
                  <a:pt x="5470460" y="2742804"/>
                  <a:pt x="5466341" y="2745058"/>
                  <a:pt x="5464282" y="2745058"/>
                </a:cubicBezTo>
                <a:cubicBezTo>
                  <a:pt x="5464282" y="2747316"/>
                  <a:pt x="5464282" y="2747316"/>
                  <a:pt x="5462220" y="2747316"/>
                </a:cubicBezTo>
                <a:cubicBezTo>
                  <a:pt x="5464282" y="2745058"/>
                  <a:pt x="5466341" y="2740547"/>
                  <a:pt x="5468402" y="2738292"/>
                </a:cubicBezTo>
                <a:cubicBezTo>
                  <a:pt x="5470460" y="2740547"/>
                  <a:pt x="5472521" y="2740547"/>
                  <a:pt x="5472521" y="2742804"/>
                </a:cubicBezTo>
                <a:close/>
                <a:moveTo>
                  <a:pt x="5476639" y="2751828"/>
                </a:moveTo>
                <a:cubicBezTo>
                  <a:pt x="5474580" y="2751828"/>
                  <a:pt x="5470460" y="2751828"/>
                  <a:pt x="5468402" y="2754082"/>
                </a:cubicBezTo>
                <a:cubicBezTo>
                  <a:pt x="5466341" y="2754082"/>
                  <a:pt x="5462220" y="2754082"/>
                  <a:pt x="5460159" y="2754082"/>
                </a:cubicBezTo>
                <a:cubicBezTo>
                  <a:pt x="5464282" y="2751828"/>
                  <a:pt x="5470460" y="2749571"/>
                  <a:pt x="5474580" y="2747316"/>
                </a:cubicBezTo>
                <a:cubicBezTo>
                  <a:pt x="5474580" y="2749571"/>
                  <a:pt x="5476639" y="2749571"/>
                  <a:pt x="5476639" y="2751828"/>
                </a:cubicBezTo>
                <a:close/>
                <a:moveTo>
                  <a:pt x="5497239" y="2871388"/>
                </a:moveTo>
                <a:cubicBezTo>
                  <a:pt x="5497239" y="2871388"/>
                  <a:pt x="5497239" y="2869133"/>
                  <a:pt x="5497239" y="2869133"/>
                </a:cubicBezTo>
                <a:cubicBezTo>
                  <a:pt x="5493121" y="2869133"/>
                  <a:pt x="5489000" y="2871388"/>
                  <a:pt x="5486941" y="2871388"/>
                </a:cubicBezTo>
                <a:cubicBezTo>
                  <a:pt x="5484880" y="2871388"/>
                  <a:pt x="5482821" y="2873645"/>
                  <a:pt x="5486941" y="2878158"/>
                </a:cubicBezTo>
                <a:cubicBezTo>
                  <a:pt x="5491061" y="2875903"/>
                  <a:pt x="5493121" y="2873645"/>
                  <a:pt x="5497239" y="2871388"/>
                </a:cubicBezTo>
                <a:close/>
                <a:moveTo>
                  <a:pt x="5513720" y="2887180"/>
                </a:moveTo>
                <a:cubicBezTo>
                  <a:pt x="5501360" y="2893947"/>
                  <a:pt x="5491061" y="2896205"/>
                  <a:pt x="5482821" y="2896205"/>
                </a:cubicBezTo>
                <a:cubicBezTo>
                  <a:pt x="5464282" y="2898460"/>
                  <a:pt x="5443680" y="2902971"/>
                  <a:pt x="5425139" y="2907482"/>
                </a:cubicBezTo>
                <a:cubicBezTo>
                  <a:pt x="5418960" y="2907482"/>
                  <a:pt x="5412779" y="2909740"/>
                  <a:pt x="5404539" y="2911994"/>
                </a:cubicBezTo>
                <a:cubicBezTo>
                  <a:pt x="5400421" y="2911994"/>
                  <a:pt x="5396298" y="2914252"/>
                  <a:pt x="5396298" y="2916507"/>
                </a:cubicBezTo>
                <a:cubicBezTo>
                  <a:pt x="5390120" y="2927788"/>
                  <a:pt x="5379821" y="2930042"/>
                  <a:pt x="5369519" y="2934554"/>
                </a:cubicBezTo>
                <a:cubicBezTo>
                  <a:pt x="5369519" y="2934554"/>
                  <a:pt x="5369519" y="2936811"/>
                  <a:pt x="5367457" y="2936811"/>
                </a:cubicBezTo>
                <a:cubicBezTo>
                  <a:pt x="5369519" y="2939066"/>
                  <a:pt x="5371578" y="2941323"/>
                  <a:pt x="5371578" y="2943578"/>
                </a:cubicBezTo>
                <a:cubicBezTo>
                  <a:pt x="5369519" y="2945836"/>
                  <a:pt x="5367457" y="2948090"/>
                  <a:pt x="5365399" y="2948090"/>
                </a:cubicBezTo>
                <a:cubicBezTo>
                  <a:pt x="5361279" y="2948090"/>
                  <a:pt x="5355100" y="2948090"/>
                  <a:pt x="5350980" y="2950347"/>
                </a:cubicBezTo>
                <a:cubicBezTo>
                  <a:pt x="5348918" y="2950347"/>
                  <a:pt x="5346860" y="2950347"/>
                  <a:pt x="5344798" y="2950347"/>
                </a:cubicBezTo>
                <a:cubicBezTo>
                  <a:pt x="5346860" y="2948090"/>
                  <a:pt x="5346860" y="2945836"/>
                  <a:pt x="5346860" y="2943578"/>
                </a:cubicBezTo>
                <a:cubicBezTo>
                  <a:pt x="5340679" y="2941323"/>
                  <a:pt x="5334500" y="2941323"/>
                  <a:pt x="5330380" y="2945836"/>
                </a:cubicBezTo>
                <a:cubicBezTo>
                  <a:pt x="5311838" y="2959370"/>
                  <a:pt x="5287120" y="2952602"/>
                  <a:pt x="5266520" y="2968394"/>
                </a:cubicBezTo>
                <a:cubicBezTo>
                  <a:pt x="5266520" y="2968394"/>
                  <a:pt x="5266520" y="2968394"/>
                  <a:pt x="5264458" y="2968394"/>
                </a:cubicBezTo>
                <a:cubicBezTo>
                  <a:pt x="5256218" y="2966138"/>
                  <a:pt x="5247977" y="2970649"/>
                  <a:pt x="5241799" y="2972904"/>
                </a:cubicBezTo>
                <a:cubicBezTo>
                  <a:pt x="5227377" y="2975160"/>
                  <a:pt x="5210897" y="2979672"/>
                  <a:pt x="5196477" y="2981930"/>
                </a:cubicBezTo>
                <a:cubicBezTo>
                  <a:pt x="5204718" y="2979672"/>
                  <a:pt x="5212958" y="2977418"/>
                  <a:pt x="5221198" y="2972904"/>
                </a:cubicBezTo>
                <a:cubicBezTo>
                  <a:pt x="5221198" y="2972904"/>
                  <a:pt x="5221198" y="2970649"/>
                  <a:pt x="5221198" y="2970649"/>
                </a:cubicBezTo>
                <a:cubicBezTo>
                  <a:pt x="5217079" y="2970649"/>
                  <a:pt x="5212958" y="2970649"/>
                  <a:pt x="5208838" y="2970649"/>
                </a:cubicBezTo>
                <a:cubicBezTo>
                  <a:pt x="5208838" y="2970649"/>
                  <a:pt x="5208838" y="2968394"/>
                  <a:pt x="5208838" y="2968394"/>
                </a:cubicBezTo>
                <a:cubicBezTo>
                  <a:pt x="5208838" y="2968394"/>
                  <a:pt x="5210897" y="2966138"/>
                  <a:pt x="5210897" y="2963883"/>
                </a:cubicBezTo>
                <a:cubicBezTo>
                  <a:pt x="5210897" y="2963883"/>
                  <a:pt x="5210897" y="2963883"/>
                  <a:pt x="5210897" y="2961625"/>
                </a:cubicBezTo>
                <a:cubicBezTo>
                  <a:pt x="5221198" y="2959370"/>
                  <a:pt x="5229438" y="2957113"/>
                  <a:pt x="5239738" y="2954858"/>
                </a:cubicBezTo>
                <a:cubicBezTo>
                  <a:pt x="5264458" y="2952602"/>
                  <a:pt x="5289179" y="2945836"/>
                  <a:pt x="5311838" y="2939066"/>
                </a:cubicBezTo>
                <a:cubicBezTo>
                  <a:pt x="5324198" y="2934554"/>
                  <a:pt x="5336559" y="2934554"/>
                  <a:pt x="5348918" y="2932300"/>
                </a:cubicBezTo>
                <a:cubicBezTo>
                  <a:pt x="5361279" y="2930042"/>
                  <a:pt x="5371578" y="2925530"/>
                  <a:pt x="5383938" y="2923276"/>
                </a:cubicBezTo>
                <a:cubicBezTo>
                  <a:pt x="5386000" y="2923276"/>
                  <a:pt x="5388059" y="2921018"/>
                  <a:pt x="5392178" y="2918764"/>
                </a:cubicBezTo>
                <a:cubicBezTo>
                  <a:pt x="5388059" y="2916507"/>
                  <a:pt x="5386000" y="2916507"/>
                  <a:pt x="5383938" y="2916507"/>
                </a:cubicBezTo>
                <a:cubicBezTo>
                  <a:pt x="5373639" y="2918764"/>
                  <a:pt x="5363338" y="2921018"/>
                  <a:pt x="5353039" y="2923276"/>
                </a:cubicBezTo>
                <a:cubicBezTo>
                  <a:pt x="5322139" y="2930042"/>
                  <a:pt x="5291237" y="2936811"/>
                  <a:pt x="5260338" y="2943578"/>
                </a:cubicBezTo>
                <a:cubicBezTo>
                  <a:pt x="5258279" y="2943578"/>
                  <a:pt x="5256218" y="2943578"/>
                  <a:pt x="5254157" y="2943578"/>
                </a:cubicBezTo>
                <a:cubicBezTo>
                  <a:pt x="5258279" y="2934554"/>
                  <a:pt x="5268578" y="2936811"/>
                  <a:pt x="5274757" y="2934554"/>
                </a:cubicBezTo>
                <a:cubicBezTo>
                  <a:pt x="5280938" y="2932300"/>
                  <a:pt x="5287120" y="2930042"/>
                  <a:pt x="5295357" y="2930042"/>
                </a:cubicBezTo>
                <a:cubicBezTo>
                  <a:pt x="5301539" y="2927788"/>
                  <a:pt x="5309779" y="2925530"/>
                  <a:pt x="5315957" y="2925530"/>
                </a:cubicBezTo>
                <a:cubicBezTo>
                  <a:pt x="5324198" y="2923276"/>
                  <a:pt x="5330380" y="2923276"/>
                  <a:pt x="5338620" y="2921018"/>
                </a:cubicBezTo>
                <a:cubicBezTo>
                  <a:pt x="5344798" y="2918764"/>
                  <a:pt x="5350980" y="2918764"/>
                  <a:pt x="5359220" y="2916507"/>
                </a:cubicBezTo>
                <a:cubicBezTo>
                  <a:pt x="5365399" y="2914252"/>
                  <a:pt x="5373639" y="2914252"/>
                  <a:pt x="5379821" y="2911994"/>
                </a:cubicBezTo>
                <a:cubicBezTo>
                  <a:pt x="5377759" y="2909740"/>
                  <a:pt x="5377759" y="2907482"/>
                  <a:pt x="5377759" y="2905228"/>
                </a:cubicBezTo>
                <a:cubicBezTo>
                  <a:pt x="5394239" y="2905228"/>
                  <a:pt x="5406600" y="2898460"/>
                  <a:pt x="5423080" y="2896205"/>
                </a:cubicBezTo>
                <a:cubicBezTo>
                  <a:pt x="5423080" y="2896205"/>
                  <a:pt x="5423080" y="2896205"/>
                  <a:pt x="5423080" y="2898460"/>
                </a:cubicBezTo>
                <a:cubicBezTo>
                  <a:pt x="5421019" y="2898460"/>
                  <a:pt x="5421019" y="2900716"/>
                  <a:pt x="5418960" y="2900716"/>
                </a:cubicBezTo>
                <a:cubicBezTo>
                  <a:pt x="5421019" y="2902971"/>
                  <a:pt x="5421019" y="2905228"/>
                  <a:pt x="5423080" y="2902971"/>
                </a:cubicBezTo>
                <a:cubicBezTo>
                  <a:pt x="5441619" y="2898460"/>
                  <a:pt x="5462220" y="2893947"/>
                  <a:pt x="5480759" y="2891692"/>
                </a:cubicBezTo>
                <a:cubicBezTo>
                  <a:pt x="5491061" y="2896205"/>
                  <a:pt x="5501360" y="2887180"/>
                  <a:pt x="5511661" y="2887180"/>
                </a:cubicBezTo>
                <a:cubicBezTo>
                  <a:pt x="5511661" y="2887180"/>
                  <a:pt x="5513720" y="2887180"/>
                  <a:pt x="5513720" y="2887180"/>
                </a:cubicBezTo>
                <a:close/>
                <a:moveTo>
                  <a:pt x="5532262" y="2812736"/>
                </a:moveTo>
                <a:cubicBezTo>
                  <a:pt x="5528139" y="2817248"/>
                  <a:pt x="5526080" y="2814991"/>
                  <a:pt x="5526080" y="2810480"/>
                </a:cubicBezTo>
                <a:cubicBezTo>
                  <a:pt x="5526080" y="2805968"/>
                  <a:pt x="5526080" y="2803714"/>
                  <a:pt x="5526080" y="2796944"/>
                </a:cubicBezTo>
                <a:cubicBezTo>
                  <a:pt x="5528139" y="2803714"/>
                  <a:pt x="5530200" y="2808225"/>
                  <a:pt x="5532262" y="2812736"/>
                </a:cubicBezTo>
                <a:close/>
                <a:moveTo>
                  <a:pt x="5540502" y="2751828"/>
                </a:moveTo>
                <a:cubicBezTo>
                  <a:pt x="5538441" y="2751828"/>
                  <a:pt x="5534321" y="2754082"/>
                  <a:pt x="5530200" y="2754082"/>
                </a:cubicBezTo>
                <a:cubicBezTo>
                  <a:pt x="5532262" y="2751828"/>
                  <a:pt x="5536382" y="2749571"/>
                  <a:pt x="5538441" y="2747316"/>
                </a:cubicBezTo>
                <a:cubicBezTo>
                  <a:pt x="5538441" y="2747316"/>
                  <a:pt x="5540502" y="2747316"/>
                  <a:pt x="5540502" y="2747316"/>
                </a:cubicBezTo>
                <a:cubicBezTo>
                  <a:pt x="5540502" y="2749571"/>
                  <a:pt x="5540502" y="2749571"/>
                  <a:pt x="5540502" y="2751828"/>
                </a:cubicBezTo>
                <a:close/>
                <a:moveTo>
                  <a:pt x="5556982" y="2866878"/>
                </a:moveTo>
                <a:cubicBezTo>
                  <a:pt x="5550801" y="2869133"/>
                  <a:pt x="5542560" y="2871388"/>
                  <a:pt x="5536382" y="2875903"/>
                </a:cubicBezTo>
                <a:cubicBezTo>
                  <a:pt x="5532262" y="2875903"/>
                  <a:pt x="5530200" y="2878158"/>
                  <a:pt x="5526080" y="2878158"/>
                </a:cubicBezTo>
                <a:cubicBezTo>
                  <a:pt x="5524021" y="2878158"/>
                  <a:pt x="5519901" y="2878158"/>
                  <a:pt x="5517840" y="2878158"/>
                </a:cubicBezTo>
                <a:cubicBezTo>
                  <a:pt x="5526080" y="2871388"/>
                  <a:pt x="5536382" y="2869133"/>
                  <a:pt x="5546680" y="2869133"/>
                </a:cubicBezTo>
                <a:cubicBezTo>
                  <a:pt x="5550801" y="2866878"/>
                  <a:pt x="5554921" y="2866878"/>
                  <a:pt x="5556982" y="2866878"/>
                </a:cubicBezTo>
                <a:close/>
                <a:moveTo>
                  <a:pt x="5569340" y="2643544"/>
                </a:moveTo>
                <a:cubicBezTo>
                  <a:pt x="5567281" y="2643544"/>
                  <a:pt x="5563161" y="2645800"/>
                  <a:pt x="5561102" y="2645800"/>
                </a:cubicBezTo>
                <a:cubicBezTo>
                  <a:pt x="5561102" y="2645800"/>
                  <a:pt x="5561102" y="2645800"/>
                  <a:pt x="5559041" y="2645800"/>
                </a:cubicBezTo>
                <a:cubicBezTo>
                  <a:pt x="5563161" y="2643544"/>
                  <a:pt x="5565223" y="2643544"/>
                  <a:pt x="5569340" y="2643544"/>
                </a:cubicBezTo>
                <a:close/>
                <a:moveTo>
                  <a:pt x="5569340" y="2729269"/>
                </a:moveTo>
                <a:cubicBezTo>
                  <a:pt x="5559041" y="2738292"/>
                  <a:pt x="5550801" y="2740547"/>
                  <a:pt x="5540502" y="2740547"/>
                </a:cubicBezTo>
                <a:cubicBezTo>
                  <a:pt x="5540502" y="2740547"/>
                  <a:pt x="5538441" y="2740547"/>
                  <a:pt x="5538441" y="2740547"/>
                </a:cubicBezTo>
                <a:cubicBezTo>
                  <a:pt x="5536382" y="2738292"/>
                  <a:pt x="5536382" y="2736036"/>
                  <a:pt x="5536382" y="2733780"/>
                </a:cubicBezTo>
                <a:cubicBezTo>
                  <a:pt x="5540502" y="2731524"/>
                  <a:pt x="5546680" y="2731524"/>
                  <a:pt x="5550801" y="2729269"/>
                </a:cubicBezTo>
                <a:cubicBezTo>
                  <a:pt x="5554921" y="2727011"/>
                  <a:pt x="5561102" y="2729269"/>
                  <a:pt x="5569340" y="2729269"/>
                </a:cubicBezTo>
                <a:close/>
                <a:moveTo>
                  <a:pt x="5589941" y="2936811"/>
                </a:moveTo>
                <a:lnTo>
                  <a:pt x="5587588" y="2931656"/>
                </a:lnTo>
                <a:lnTo>
                  <a:pt x="5585823" y="2932300"/>
                </a:lnTo>
                <a:lnTo>
                  <a:pt x="5583762" y="2933426"/>
                </a:lnTo>
                <a:lnTo>
                  <a:pt x="5583762" y="2934554"/>
                </a:lnTo>
                <a:cubicBezTo>
                  <a:pt x="5583762" y="2936811"/>
                  <a:pt x="5587882" y="2939066"/>
                  <a:pt x="5589941" y="2936811"/>
                </a:cubicBezTo>
                <a:close/>
                <a:moveTo>
                  <a:pt x="5598180" y="2778898"/>
                </a:moveTo>
                <a:cubicBezTo>
                  <a:pt x="5594060" y="2787920"/>
                  <a:pt x="5589941" y="2790178"/>
                  <a:pt x="5583762" y="2785666"/>
                </a:cubicBezTo>
                <a:cubicBezTo>
                  <a:pt x="5583762" y="2785666"/>
                  <a:pt x="5581700" y="2783408"/>
                  <a:pt x="5581700" y="2783408"/>
                </a:cubicBezTo>
                <a:cubicBezTo>
                  <a:pt x="5585823" y="2781153"/>
                  <a:pt x="5589941" y="2778898"/>
                  <a:pt x="5594060" y="2776642"/>
                </a:cubicBezTo>
                <a:cubicBezTo>
                  <a:pt x="5596121" y="2776642"/>
                  <a:pt x="5598180" y="2778898"/>
                  <a:pt x="5598180" y="2778898"/>
                </a:cubicBezTo>
                <a:close/>
                <a:moveTo>
                  <a:pt x="5618781" y="2927788"/>
                </a:moveTo>
                <a:cubicBezTo>
                  <a:pt x="5616723" y="2927788"/>
                  <a:pt x="5614660" y="2927788"/>
                  <a:pt x="5612602" y="2930042"/>
                </a:cubicBezTo>
                <a:cubicBezTo>
                  <a:pt x="5612602" y="2927788"/>
                  <a:pt x="5614660" y="2927788"/>
                  <a:pt x="5616723" y="2927788"/>
                </a:cubicBezTo>
                <a:cubicBezTo>
                  <a:pt x="5616723" y="2927788"/>
                  <a:pt x="5618781" y="2927788"/>
                  <a:pt x="5618781" y="2927788"/>
                </a:cubicBezTo>
                <a:close/>
                <a:moveTo>
                  <a:pt x="5624962" y="2607449"/>
                </a:moveTo>
                <a:cubicBezTo>
                  <a:pt x="5622901" y="2609706"/>
                  <a:pt x="5620840" y="2611960"/>
                  <a:pt x="5618781" y="2611960"/>
                </a:cubicBezTo>
                <a:cubicBezTo>
                  <a:pt x="5616723" y="2611960"/>
                  <a:pt x="5614660" y="2611960"/>
                  <a:pt x="5612602" y="2611960"/>
                </a:cubicBezTo>
                <a:cubicBezTo>
                  <a:pt x="5616723" y="2609706"/>
                  <a:pt x="5620840" y="2609706"/>
                  <a:pt x="5624962" y="2607449"/>
                </a:cubicBezTo>
                <a:close/>
                <a:moveTo>
                  <a:pt x="5629082" y="2853344"/>
                </a:moveTo>
                <a:cubicBezTo>
                  <a:pt x="5624962" y="2855598"/>
                  <a:pt x="5622901" y="2855598"/>
                  <a:pt x="5618781" y="2857856"/>
                </a:cubicBezTo>
                <a:cubicBezTo>
                  <a:pt x="5614660" y="2860110"/>
                  <a:pt x="5608482" y="2860110"/>
                  <a:pt x="5604362" y="2862367"/>
                </a:cubicBezTo>
                <a:cubicBezTo>
                  <a:pt x="5602301" y="2862367"/>
                  <a:pt x="5600242" y="2862367"/>
                  <a:pt x="5600242" y="2862367"/>
                </a:cubicBezTo>
                <a:cubicBezTo>
                  <a:pt x="5589941" y="2864622"/>
                  <a:pt x="5577580" y="2866878"/>
                  <a:pt x="5567281" y="2869133"/>
                </a:cubicBezTo>
                <a:cubicBezTo>
                  <a:pt x="5569340" y="2866878"/>
                  <a:pt x="5569340" y="2866878"/>
                  <a:pt x="5567281" y="2864622"/>
                </a:cubicBezTo>
                <a:cubicBezTo>
                  <a:pt x="5573460" y="2864622"/>
                  <a:pt x="5577580" y="2862367"/>
                  <a:pt x="5583762" y="2860110"/>
                </a:cubicBezTo>
                <a:cubicBezTo>
                  <a:pt x="5592001" y="2855598"/>
                  <a:pt x="5602301" y="2855598"/>
                  <a:pt x="5610541" y="2853344"/>
                </a:cubicBezTo>
                <a:cubicBezTo>
                  <a:pt x="5614660" y="2851086"/>
                  <a:pt x="5620840" y="2853344"/>
                  <a:pt x="5629082" y="2853344"/>
                </a:cubicBezTo>
                <a:close/>
                <a:moveTo>
                  <a:pt x="5639382" y="2774387"/>
                </a:moveTo>
                <a:cubicBezTo>
                  <a:pt x="5633203" y="2774387"/>
                  <a:pt x="5624962" y="2776642"/>
                  <a:pt x="5618781" y="2778898"/>
                </a:cubicBezTo>
                <a:cubicBezTo>
                  <a:pt x="5616723" y="2776642"/>
                  <a:pt x="5620840" y="2776642"/>
                  <a:pt x="5620840" y="2774387"/>
                </a:cubicBezTo>
                <a:cubicBezTo>
                  <a:pt x="5620840" y="2772130"/>
                  <a:pt x="5620840" y="2769873"/>
                  <a:pt x="5622901" y="2767618"/>
                </a:cubicBezTo>
                <a:cubicBezTo>
                  <a:pt x="5624962" y="2767618"/>
                  <a:pt x="5624962" y="2767618"/>
                  <a:pt x="5627021" y="2767618"/>
                </a:cubicBezTo>
                <a:cubicBezTo>
                  <a:pt x="5631141" y="2767618"/>
                  <a:pt x="5635262" y="2767618"/>
                  <a:pt x="5639382" y="2769873"/>
                </a:cubicBezTo>
                <a:cubicBezTo>
                  <a:pt x="5639382" y="2772130"/>
                  <a:pt x="5639382" y="2772130"/>
                  <a:pt x="5639382" y="2774387"/>
                </a:cubicBezTo>
                <a:close/>
                <a:moveTo>
                  <a:pt x="5655862" y="2900716"/>
                </a:moveTo>
                <a:cubicBezTo>
                  <a:pt x="5651742" y="2909740"/>
                  <a:pt x="5647621" y="2911994"/>
                  <a:pt x="5641440" y="2907482"/>
                </a:cubicBezTo>
                <a:cubicBezTo>
                  <a:pt x="5645560" y="2905228"/>
                  <a:pt x="5651742" y="2902971"/>
                  <a:pt x="5655862" y="2900716"/>
                </a:cubicBezTo>
                <a:close/>
                <a:moveTo>
                  <a:pt x="5672342" y="2778898"/>
                </a:moveTo>
                <a:cubicBezTo>
                  <a:pt x="5672342" y="2781153"/>
                  <a:pt x="5670281" y="2783408"/>
                  <a:pt x="5670281" y="2783408"/>
                </a:cubicBezTo>
                <a:cubicBezTo>
                  <a:pt x="5666160" y="2783408"/>
                  <a:pt x="5659982" y="2783408"/>
                  <a:pt x="5655862" y="2783408"/>
                </a:cubicBezTo>
                <a:cubicBezTo>
                  <a:pt x="5655862" y="2783408"/>
                  <a:pt x="5655862" y="2783408"/>
                  <a:pt x="5655862" y="2781153"/>
                </a:cubicBezTo>
                <a:cubicBezTo>
                  <a:pt x="5662041" y="2781153"/>
                  <a:pt x="5666160" y="2781153"/>
                  <a:pt x="5672342" y="2778898"/>
                </a:cubicBezTo>
                <a:close/>
                <a:moveTo>
                  <a:pt x="5678523" y="2763106"/>
                </a:moveTo>
                <a:cubicBezTo>
                  <a:pt x="5674403" y="2765364"/>
                  <a:pt x="5670281" y="2767618"/>
                  <a:pt x="5666160" y="2767618"/>
                </a:cubicBezTo>
                <a:cubicBezTo>
                  <a:pt x="5664102" y="2767618"/>
                  <a:pt x="5662041" y="2767618"/>
                  <a:pt x="5659982" y="2767618"/>
                </a:cubicBezTo>
                <a:cubicBezTo>
                  <a:pt x="5666160" y="2767618"/>
                  <a:pt x="5670281" y="2758594"/>
                  <a:pt x="5678523" y="2763106"/>
                </a:cubicBezTo>
                <a:close/>
                <a:moveTo>
                  <a:pt x="5697062" y="2893947"/>
                </a:moveTo>
                <a:cubicBezTo>
                  <a:pt x="5690881" y="2896205"/>
                  <a:pt x="5682641" y="2898460"/>
                  <a:pt x="5676462" y="2900716"/>
                </a:cubicBezTo>
                <a:cubicBezTo>
                  <a:pt x="5674403" y="2898460"/>
                  <a:pt x="5678523" y="2898460"/>
                  <a:pt x="5678523" y="2896205"/>
                </a:cubicBezTo>
                <a:cubicBezTo>
                  <a:pt x="5678523" y="2896205"/>
                  <a:pt x="5678523" y="2893947"/>
                  <a:pt x="5678523" y="2893947"/>
                </a:cubicBezTo>
                <a:cubicBezTo>
                  <a:pt x="5682641" y="2891692"/>
                  <a:pt x="5686762" y="2891692"/>
                  <a:pt x="5690881" y="2889438"/>
                </a:cubicBezTo>
                <a:cubicBezTo>
                  <a:pt x="5690881" y="2889438"/>
                  <a:pt x="5692942" y="2889438"/>
                  <a:pt x="5692942" y="2889438"/>
                </a:cubicBezTo>
                <a:cubicBezTo>
                  <a:pt x="5692942" y="2889438"/>
                  <a:pt x="5692942" y="2891692"/>
                  <a:pt x="5695001" y="2891692"/>
                </a:cubicBezTo>
                <a:cubicBezTo>
                  <a:pt x="5695001" y="2891692"/>
                  <a:pt x="5695001" y="2891692"/>
                  <a:pt x="5697062" y="2891692"/>
                </a:cubicBezTo>
                <a:cubicBezTo>
                  <a:pt x="5697062" y="2893947"/>
                  <a:pt x="5697062" y="2893947"/>
                  <a:pt x="5697062" y="2893947"/>
                </a:cubicBezTo>
                <a:close/>
                <a:moveTo>
                  <a:pt x="5719722" y="2695429"/>
                </a:moveTo>
                <a:lnTo>
                  <a:pt x="5717205" y="2695930"/>
                </a:lnTo>
                <a:lnTo>
                  <a:pt x="5713543" y="2699940"/>
                </a:lnTo>
                <a:cubicBezTo>
                  <a:pt x="5705303" y="2699940"/>
                  <a:pt x="5697062" y="2702198"/>
                  <a:pt x="5690881" y="2702198"/>
                </a:cubicBezTo>
                <a:cubicBezTo>
                  <a:pt x="5690881" y="2702198"/>
                  <a:pt x="5690881" y="2702198"/>
                  <a:pt x="5688823" y="2702198"/>
                </a:cubicBezTo>
                <a:cubicBezTo>
                  <a:pt x="5688823" y="2702198"/>
                  <a:pt x="5686762" y="2702198"/>
                  <a:pt x="5686762" y="2702198"/>
                </a:cubicBezTo>
                <a:cubicBezTo>
                  <a:pt x="5682641" y="2706709"/>
                  <a:pt x="5678523" y="2706709"/>
                  <a:pt x="5674403" y="2704452"/>
                </a:cubicBezTo>
                <a:lnTo>
                  <a:pt x="5717205" y="2695930"/>
                </a:lnTo>
                <a:lnTo>
                  <a:pt x="5717663" y="2695429"/>
                </a:lnTo>
                <a:cubicBezTo>
                  <a:pt x="5719722" y="2695429"/>
                  <a:pt x="5719722" y="2695429"/>
                  <a:pt x="5719722" y="2695429"/>
                </a:cubicBezTo>
                <a:close/>
                <a:moveTo>
                  <a:pt x="5723842" y="2717988"/>
                </a:moveTo>
                <a:cubicBezTo>
                  <a:pt x="5721783" y="2717988"/>
                  <a:pt x="5717663" y="2717988"/>
                  <a:pt x="5715601" y="2720245"/>
                </a:cubicBezTo>
                <a:cubicBezTo>
                  <a:pt x="5713543" y="2720245"/>
                  <a:pt x="5711482" y="2720245"/>
                  <a:pt x="5709423" y="2720245"/>
                </a:cubicBezTo>
                <a:cubicBezTo>
                  <a:pt x="5709423" y="2720245"/>
                  <a:pt x="5707362" y="2720245"/>
                  <a:pt x="5707362" y="2720245"/>
                </a:cubicBezTo>
                <a:cubicBezTo>
                  <a:pt x="5699121" y="2722500"/>
                  <a:pt x="5690881" y="2722500"/>
                  <a:pt x="5682641" y="2720245"/>
                </a:cubicBezTo>
                <a:cubicBezTo>
                  <a:pt x="5686762" y="2715734"/>
                  <a:pt x="5692942" y="2715734"/>
                  <a:pt x="5699121" y="2713476"/>
                </a:cubicBezTo>
                <a:cubicBezTo>
                  <a:pt x="5707362" y="2711222"/>
                  <a:pt x="5713543" y="2711222"/>
                  <a:pt x="5719722" y="2715734"/>
                </a:cubicBezTo>
                <a:cubicBezTo>
                  <a:pt x="5721783" y="2715734"/>
                  <a:pt x="5721783" y="2715734"/>
                  <a:pt x="5723842" y="2717988"/>
                </a:cubicBezTo>
                <a:close/>
                <a:moveTo>
                  <a:pt x="5736203" y="2884924"/>
                </a:moveTo>
                <a:cubicBezTo>
                  <a:pt x="5727962" y="2891692"/>
                  <a:pt x="5721783" y="2889438"/>
                  <a:pt x="5717663" y="2889438"/>
                </a:cubicBezTo>
                <a:cubicBezTo>
                  <a:pt x="5723842" y="2889438"/>
                  <a:pt x="5727962" y="2880414"/>
                  <a:pt x="5736203" y="2884924"/>
                </a:cubicBezTo>
                <a:close/>
                <a:moveTo>
                  <a:pt x="5738262" y="1714115"/>
                </a:moveTo>
                <a:cubicBezTo>
                  <a:pt x="5730023" y="1716370"/>
                  <a:pt x="5721783" y="1716370"/>
                  <a:pt x="5713543" y="1718627"/>
                </a:cubicBezTo>
                <a:cubicBezTo>
                  <a:pt x="5713543" y="1718627"/>
                  <a:pt x="5713543" y="1716370"/>
                  <a:pt x="5713543" y="1716370"/>
                </a:cubicBezTo>
                <a:cubicBezTo>
                  <a:pt x="5715601" y="1714115"/>
                  <a:pt x="5717663" y="1711857"/>
                  <a:pt x="5719722" y="1711857"/>
                </a:cubicBezTo>
                <a:cubicBezTo>
                  <a:pt x="5725903" y="1711857"/>
                  <a:pt x="5732082" y="1714115"/>
                  <a:pt x="5738262" y="1714115"/>
                </a:cubicBezTo>
                <a:close/>
                <a:moveTo>
                  <a:pt x="5738262" y="2799200"/>
                </a:moveTo>
                <a:cubicBezTo>
                  <a:pt x="5738262" y="2799200"/>
                  <a:pt x="5736203" y="2801455"/>
                  <a:pt x="5736203" y="2801455"/>
                </a:cubicBezTo>
                <a:cubicBezTo>
                  <a:pt x="5736203" y="2801455"/>
                  <a:pt x="5734141" y="2801455"/>
                  <a:pt x="5734141" y="2801455"/>
                </a:cubicBezTo>
                <a:cubicBezTo>
                  <a:pt x="5736203" y="2801455"/>
                  <a:pt x="5736203" y="2799200"/>
                  <a:pt x="5738262" y="2799200"/>
                </a:cubicBezTo>
                <a:close/>
                <a:moveTo>
                  <a:pt x="5746503" y="2731524"/>
                </a:moveTo>
                <a:cubicBezTo>
                  <a:pt x="5744442" y="2731524"/>
                  <a:pt x="5744442" y="2731524"/>
                  <a:pt x="5742383" y="2733780"/>
                </a:cubicBezTo>
                <a:cubicBezTo>
                  <a:pt x="5740323" y="2733780"/>
                  <a:pt x="5738262" y="2733780"/>
                  <a:pt x="5736203" y="2733780"/>
                </a:cubicBezTo>
                <a:cubicBezTo>
                  <a:pt x="5740323" y="2731524"/>
                  <a:pt x="5744442" y="2731524"/>
                  <a:pt x="5746503" y="2731524"/>
                </a:cubicBezTo>
                <a:close/>
                <a:moveTo>
                  <a:pt x="5750624" y="2711222"/>
                </a:moveTo>
                <a:cubicBezTo>
                  <a:pt x="5744442" y="2711222"/>
                  <a:pt x="5740323" y="2713476"/>
                  <a:pt x="5736203" y="2713476"/>
                </a:cubicBezTo>
                <a:cubicBezTo>
                  <a:pt x="5734141" y="2711222"/>
                  <a:pt x="5734141" y="2708964"/>
                  <a:pt x="5732082" y="2708964"/>
                </a:cubicBezTo>
                <a:cubicBezTo>
                  <a:pt x="5736203" y="2708964"/>
                  <a:pt x="5740323" y="2706709"/>
                  <a:pt x="5744442" y="2706709"/>
                </a:cubicBezTo>
                <a:cubicBezTo>
                  <a:pt x="5746503" y="2708964"/>
                  <a:pt x="5748562" y="2711222"/>
                  <a:pt x="5750624" y="2711222"/>
                </a:cubicBezTo>
                <a:close/>
                <a:moveTo>
                  <a:pt x="5762982" y="2555564"/>
                </a:moveTo>
                <a:cubicBezTo>
                  <a:pt x="5758862" y="2555564"/>
                  <a:pt x="5756803" y="2557818"/>
                  <a:pt x="5752683" y="2557818"/>
                </a:cubicBezTo>
                <a:cubicBezTo>
                  <a:pt x="5752683" y="2557818"/>
                  <a:pt x="5750624" y="2557818"/>
                  <a:pt x="5750624" y="2557818"/>
                </a:cubicBezTo>
                <a:cubicBezTo>
                  <a:pt x="5748562" y="2557818"/>
                  <a:pt x="5746503" y="2557818"/>
                  <a:pt x="5746503" y="2557818"/>
                </a:cubicBezTo>
                <a:cubicBezTo>
                  <a:pt x="5752683" y="2557818"/>
                  <a:pt x="5758862" y="2557818"/>
                  <a:pt x="5762982" y="2555564"/>
                </a:cubicBezTo>
                <a:close/>
                <a:moveTo>
                  <a:pt x="5769163" y="1702834"/>
                </a:moveTo>
                <a:cubicBezTo>
                  <a:pt x="5769163" y="1711857"/>
                  <a:pt x="5767105" y="1714115"/>
                  <a:pt x="5754742" y="1714115"/>
                </a:cubicBezTo>
                <a:cubicBezTo>
                  <a:pt x="5754742" y="1714115"/>
                  <a:pt x="5754742" y="1711857"/>
                  <a:pt x="5754742" y="1711857"/>
                </a:cubicBezTo>
                <a:cubicBezTo>
                  <a:pt x="5758862" y="1707346"/>
                  <a:pt x="5765043" y="1705092"/>
                  <a:pt x="5769163" y="1702834"/>
                </a:cubicBezTo>
                <a:close/>
                <a:moveTo>
                  <a:pt x="5773283" y="2546540"/>
                </a:moveTo>
                <a:cubicBezTo>
                  <a:pt x="5771224" y="2548798"/>
                  <a:pt x="5769163" y="2553309"/>
                  <a:pt x="5767105" y="2555564"/>
                </a:cubicBezTo>
                <a:cubicBezTo>
                  <a:pt x="5765043" y="2553309"/>
                  <a:pt x="5762982" y="2551052"/>
                  <a:pt x="5760923" y="2551052"/>
                </a:cubicBezTo>
                <a:cubicBezTo>
                  <a:pt x="5765043" y="2548798"/>
                  <a:pt x="5769163" y="2548798"/>
                  <a:pt x="5773283" y="2546540"/>
                </a:cubicBezTo>
                <a:close/>
                <a:moveTo>
                  <a:pt x="5775342" y="2760851"/>
                </a:moveTo>
                <a:cubicBezTo>
                  <a:pt x="5775342" y="2760851"/>
                  <a:pt x="5773283" y="2763106"/>
                  <a:pt x="5773283" y="2763106"/>
                </a:cubicBezTo>
                <a:cubicBezTo>
                  <a:pt x="5771224" y="2763106"/>
                  <a:pt x="5771224" y="2760851"/>
                  <a:pt x="5771224" y="2760851"/>
                </a:cubicBezTo>
                <a:cubicBezTo>
                  <a:pt x="5773283" y="2760851"/>
                  <a:pt x="5773283" y="2760851"/>
                  <a:pt x="5775342" y="2760851"/>
                </a:cubicBezTo>
                <a:close/>
                <a:moveTo>
                  <a:pt x="5777403" y="2620984"/>
                </a:moveTo>
                <a:cubicBezTo>
                  <a:pt x="5777403" y="2620984"/>
                  <a:pt x="5777403" y="2618730"/>
                  <a:pt x="5777403" y="2618730"/>
                </a:cubicBezTo>
                <a:cubicBezTo>
                  <a:pt x="5775342" y="2618730"/>
                  <a:pt x="5775342" y="2620984"/>
                  <a:pt x="5775342" y="2618730"/>
                </a:cubicBezTo>
                <a:cubicBezTo>
                  <a:pt x="5775342" y="2620984"/>
                  <a:pt x="5777403" y="2620984"/>
                  <a:pt x="5777403" y="2620984"/>
                </a:cubicBezTo>
                <a:close/>
                <a:moveTo>
                  <a:pt x="5800062" y="2636778"/>
                </a:moveTo>
                <a:cubicBezTo>
                  <a:pt x="5798003" y="2636778"/>
                  <a:pt x="5798003" y="2636778"/>
                  <a:pt x="5795942" y="2636778"/>
                </a:cubicBezTo>
                <a:cubicBezTo>
                  <a:pt x="5795942" y="2636778"/>
                  <a:pt x="5795942" y="2636778"/>
                  <a:pt x="5798003" y="2634520"/>
                </a:cubicBezTo>
                <a:cubicBezTo>
                  <a:pt x="5798003" y="2636778"/>
                  <a:pt x="5800062" y="2636778"/>
                  <a:pt x="5800062" y="2636778"/>
                </a:cubicBezTo>
                <a:close/>
                <a:moveTo>
                  <a:pt x="5804183" y="2851086"/>
                </a:moveTo>
                <a:cubicBezTo>
                  <a:pt x="5793883" y="2855598"/>
                  <a:pt x="5779462" y="2860110"/>
                  <a:pt x="5767105" y="2862367"/>
                </a:cubicBezTo>
                <a:cubicBezTo>
                  <a:pt x="5769163" y="2860110"/>
                  <a:pt x="5771224" y="2860110"/>
                  <a:pt x="5773283" y="2857856"/>
                </a:cubicBezTo>
                <a:cubicBezTo>
                  <a:pt x="5775342" y="2857856"/>
                  <a:pt x="5779462" y="2855598"/>
                  <a:pt x="5781523" y="2855598"/>
                </a:cubicBezTo>
                <a:cubicBezTo>
                  <a:pt x="5789764" y="2853344"/>
                  <a:pt x="5795942" y="2853344"/>
                  <a:pt x="5804183" y="2851086"/>
                </a:cubicBezTo>
                <a:close/>
                <a:moveTo>
                  <a:pt x="5808303" y="2501422"/>
                </a:moveTo>
                <a:cubicBezTo>
                  <a:pt x="5804183" y="2501422"/>
                  <a:pt x="5802124" y="2499167"/>
                  <a:pt x="5798003" y="2499167"/>
                </a:cubicBezTo>
                <a:cubicBezTo>
                  <a:pt x="5795942" y="2499167"/>
                  <a:pt x="5791825" y="2501422"/>
                  <a:pt x="5789764" y="2501422"/>
                </a:cubicBezTo>
                <a:cubicBezTo>
                  <a:pt x="5795942" y="2499167"/>
                  <a:pt x="5802124" y="2494656"/>
                  <a:pt x="5808303" y="2496910"/>
                </a:cubicBezTo>
                <a:cubicBezTo>
                  <a:pt x="5808303" y="2499167"/>
                  <a:pt x="5808303" y="2499167"/>
                  <a:pt x="5808303" y="2501422"/>
                </a:cubicBezTo>
                <a:close/>
                <a:moveTo>
                  <a:pt x="5816542" y="2623242"/>
                </a:moveTo>
                <a:cubicBezTo>
                  <a:pt x="5808303" y="2623242"/>
                  <a:pt x="5800062" y="2623242"/>
                  <a:pt x="5791825" y="2625496"/>
                </a:cubicBezTo>
                <a:cubicBezTo>
                  <a:pt x="5789764" y="2625496"/>
                  <a:pt x="5785644" y="2627754"/>
                  <a:pt x="5785644" y="2627754"/>
                </a:cubicBezTo>
                <a:cubicBezTo>
                  <a:pt x="5785644" y="2630008"/>
                  <a:pt x="5785644" y="2632265"/>
                  <a:pt x="5785644" y="2632265"/>
                </a:cubicBezTo>
                <a:cubicBezTo>
                  <a:pt x="5781523" y="2632265"/>
                  <a:pt x="5777403" y="2634520"/>
                  <a:pt x="5771224" y="2634520"/>
                </a:cubicBezTo>
                <a:cubicBezTo>
                  <a:pt x="5762982" y="2636778"/>
                  <a:pt x="5754742" y="2641289"/>
                  <a:pt x="5746503" y="2645800"/>
                </a:cubicBezTo>
                <a:cubicBezTo>
                  <a:pt x="5740323" y="2645800"/>
                  <a:pt x="5734141" y="2645800"/>
                  <a:pt x="5727962" y="2648056"/>
                </a:cubicBezTo>
                <a:cubicBezTo>
                  <a:pt x="5719722" y="2648056"/>
                  <a:pt x="5711482" y="2650312"/>
                  <a:pt x="5705303" y="2652567"/>
                </a:cubicBezTo>
                <a:cubicBezTo>
                  <a:pt x="5703242" y="2652567"/>
                  <a:pt x="5703242" y="2654825"/>
                  <a:pt x="5701183" y="2654825"/>
                </a:cubicBezTo>
                <a:cubicBezTo>
                  <a:pt x="5692942" y="2657080"/>
                  <a:pt x="5682641" y="2659333"/>
                  <a:pt x="5674403" y="2661591"/>
                </a:cubicBezTo>
                <a:cubicBezTo>
                  <a:pt x="5668222" y="2661591"/>
                  <a:pt x="5662041" y="2661591"/>
                  <a:pt x="5657923" y="2661591"/>
                </a:cubicBezTo>
                <a:cubicBezTo>
                  <a:pt x="5657923" y="2661591"/>
                  <a:pt x="5655862" y="2663848"/>
                  <a:pt x="5655862" y="2663848"/>
                </a:cubicBezTo>
                <a:cubicBezTo>
                  <a:pt x="5655862" y="2663848"/>
                  <a:pt x="5655862" y="2666102"/>
                  <a:pt x="5655862" y="2666102"/>
                </a:cubicBezTo>
                <a:cubicBezTo>
                  <a:pt x="5639382" y="2670614"/>
                  <a:pt x="5620840" y="2675127"/>
                  <a:pt x="5604362" y="2679638"/>
                </a:cubicBezTo>
                <a:cubicBezTo>
                  <a:pt x="5602301" y="2679638"/>
                  <a:pt x="5600242" y="2679638"/>
                  <a:pt x="5598180" y="2681893"/>
                </a:cubicBezTo>
                <a:cubicBezTo>
                  <a:pt x="5596121" y="2681893"/>
                  <a:pt x="5596121" y="2681893"/>
                  <a:pt x="5594060" y="2681893"/>
                </a:cubicBezTo>
                <a:cubicBezTo>
                  <a:pt x="5583762" y="2681893"/>
                  <a:pt x="5573460" y="2681893"/>
                  <a:pt x="5565223" y="2688662"/>
                </a:cubicBezTo>
                <a:cubicBezTo>
                  <a:pt x="5556982" y="2693174"/>
                  <a:pt x="5550801" y="2695429"/>
                  <a:pt x="5542560" y="2688662"/>
                </a:cubicBezTo>
                <a:cubicBezTo>
                  <a:pt x="5540502" y="2688662"/>
                  <a:pt x="5538441" y="2686404"/>
                  <a:pt x="5536382" y="2688662"/>
                </a:cubicBezTo>
                <a:cubicBezTo>
                  <a:pt x="5526080" y="2690916"/>
                  <a:pt x="5515782" y="2693174"/>
                  <a:pt x="5503421" y="2699940"/>
                </a:cubicBezTo>
                <a:cubicBezTo>
                  <a:pt x="5507541" y="2702198"/>
                  <a:pt x="5511661" y="2704452"/>
                  <a:pt x="5513720" y="2704452"/>
                </a:cubicBezTo>
                <a:cubicBezTo>
                  <a:pt x="5505480" y="2706709"/>
                  <a:pt x="5497239" y="2708964"/>
                  <a:pt x="5486941" y="2711222"/>
                </a:cubicBezTo>
                <a:lnTo>
                  <a:pt x="5482014" y="2711600"/>
                </a:lnTo>
                <a:lnTo>
                  <a:pt x="5453980" y="2724756"/>
                </a:lnTo>
                <a:lnTo>
                  <a:pt x="5440859" y="2727256"/>
                </a:lnTo>
                <a:lnTo>
                  <a:pt x="5439561" y="2731524"/>
                </a:lnTo>
                <a:cubicBezTo>
                  <a:pt x="5443680" y="2731524"/>
                  <a:pt x="5449860" y="2731524"/>
                  <a:pt x="5453980" y="2731524"/>
                </a:cubicBezTo>
                <a:cubicBezTo>
                  <a:pt x="5453980" y="2731524"/>
                  <a:pt x="5453980" y="2733780"/>
                  <a:pt x="5453980" y="2733780"/>
                </a:cubicBezTo>
                <a:cubicBezTo>
                  <a:pt x="5449860" y="2731524"/>
                  <a:pt x="5443680" y="2731524"/>
                  <a:pt x="5439561" y="2733780"/>
                </a:cubicBezTo>
                <a:cubicBezTo>
                  <a:pt x="5433380" y="2736036"/>
                  <a:pt x="5429259" y="2738292"/>
                  <a:pt x="5423080" y="2738292"/>
                </a:cubicBezTo>
                <a:lnTo>
                  <a:pt x="5419867" y="2731254"/>
                </a:lnTo>
                <a:lnTo>
                  <a:pt x="5406600" y="2733780"/>
                </a:lnTo>
                <a:cubicBezTo>
                  <a:pt x="5404540" y="2734908"/>
                  <a:pt x="5402996" y="2735472"/>
                  <a:pt x="5401450" y="2734626"/>
                </a:cubicBezTo>
                <a:lnTo>
                  <a:pt x="5399283" y="2731422"/>
                </a:lnTo>
                <a:lnTo>
                  <a:pt x="5398360" y="2731524"/>
                </a:lnTo>
                <a:cubicBezTo>
                  <a:pt x="5398360" y="2731524"/>
                  <a:pt x="5396298" y="2729269"/>
                  <a:pt x="5396298" y="2729269"/>
                </a:cubicBezTo>
                <a:cubicBezTo>
                  <a:pt x="5396298" y="2729269"/>
                  <a:pt x="5396298" y="2729269"/>
                  <a:pt x="5396298" y="2727011"/>
                </a:cubicBezTo>
                <a:lnTo>
                  <a:pt x="5399283" y="2731422"/>
                </a:lnTo>
                <a:lnTo>
                  <a:pt x="5418960" y="2729269"/>
                </a:lnTo>
                <a:lnTo>
                  <a:pt x="5419867" y="2731254"/>
                </a:lnTo>
                <a:lnTo>
                  <a:pt x="5440859" y="2727256"/>
                </a:lnTo>
                <a:lnTo>
                  <a:pt x="5441619" y="2724756"/>
                </a:lnTo>
                <a:lnTo>
                  <a:pt x="5458098" y="2720245"/>
                </a:lnTo>
                <a:lnTo>
                  <a:pt x="5456039" y="2720245"/>
                </a:lnTo>
                <a:cubicBezTo>
                  <a:pt x="5463250" y="2715734"/>
                  <a:pt x="5467885" y="2713478"/>
                  <a:pt x="5472263" y="2712350"/>
                </a:cubicBezTo>
                <a:lnTo>
                  <a:pt x="5482014" y="2711600"/>
                </a:lnTo>
                <a:lnTo>
                  <a:pt x="5482821" y="2711222"/>
                </a:lnTo>
                <a:cubicBezTo>
                  <a:pt x="5474580" y="2706709"/>
                  <a:pt x="5474580" y="2706709"/>
                  <a:pt x="5466341" y="2708964"/>
                </a:cubicBezTo>
                <a:cubicBezTo>
                  <a:pt x="5453980" y="2713476"/>
                  <a:pt x="5441619" y="2715734"/>
                  <a:pt x="5429259" y="2708964"/>
                </a:cubicBezTo>
                <a:cubicBezTo>
                  <a:pt x="5437500" y="2704452"/>
                  <a:pt x="5447801" y="2702198"/>
                  <a:pt x="5458100" y="2699940"/>
                </a:cubicBezTo>
                <a:cubicBezTo>
                  <a:pt x="5468402" y="2697686"/>
                  <a:pt x="5478700" y="2693174"/>
                  <a:pt x="5489000" y="2688662"/>
                </a:cubicBezTo>
                <a:cubicBezTo>
                  <a:pt x="5489000" y="2688662"/>
                  <a:pt x="5491061" y="2686404"/>
                  <a:pt x="5491061" y="2686404"/>
                </a:cubicBezTo>
                <a:cubicBezTo>
                  <a:pt x="5486941" y="2686404"/>
                  <a:pt x="5482821" y="2688662"/>
                  <a:pt x="5480759" y="2684150"/>
                </a:cubicBezTo>
                <a:cubicBezTo>
                  <a:pt x="5484880" y="2681893"/>
                  <a:pt x="5486941" y="2677384"/>
                  <a:pt x="5491061" y="2675127"/>
                </a:cubicBezTo>
                <a:cubicBezTo>
                  <a:pt x="5489000" y="2672869"/>
                  <a:pt x="5486941" y="2672869"/>
                  <a:pt x="5482821" y="2670614"/>
                </a:cubicBezTo>
                <a:cubicBezTo>
                  <a:pt x="5484880" y="2670614"/>
                  <a:pt x="5489000" y="2668358"/>
                  <a:pt x="5491061" y="2668358"/>
                </a:cubicBezTo>
                <a:cubicBezTo>
                  <a:pt x="5499301" y="2666102"/>
                  <a:pt x="5509600" y="2666102"/>
                  <a:pt x="5517840" y="2661591"/>
                </a:cubicBezTo>
                <a:cubicBezTo>
                  <a:pt x="5519901" y="2661591"/>
                  <a:pt x="5521960" y="2661591"/>
                  <a:pt x="5521960" y="2661591"/>
                </a:cubicBezTo>
                <a:cubicBezTo>
                  <a:pt x="5550801" y="2654825"/>
                  <a:pt x="5567281" y="2650312"/>
                  <a:pt x="5577580" y="2645800"/>
                </a:cubicBezTo>
                <a:cubicBezTo>
                  <a:pt x="5592001" y="2645800"/>
                  <a:pt x="5592001" y="2643544"/>
                  <a:pt x="5598180" y="2634520"/>
                </a:cubicBezTo>
                <a:cubicBezTo>
                  <a:pt x="5608482" y="2632265"/>
                  <a:pt x="5616723" y="2627754"/>
                  <a:pt x="5627021" y="2625496"/>
                </a:cubicBezTo>
                <a:cubicBezTo>
                  <a:pt x="5637323" y="2623242"/>
                  <a:pt x="5649683" y="2618730"/>
                  <a:pt x="5659982" y="2618730"/>
                </a:cubicBezTo>
                <a:cubicBezTo>
                  <a:pt x="5659982" y="2618730"/>
                  <a:pt x="5662041" y="2618730"/>
                  <a:pt x="5662041" y="2618730"/>
                </a:cubicBezTo>
                <a:cubicBezTo>
                  <a:pt x="5662041" y="2620984"/>
                  <a:pt x="5659982" y="2620984"/>
                  <a:pt x="5659982" y="2623242"/>
                </a:cubicBezTo>
                <a:cubicBezTo>
                  <a:pt x="5657923" y="2627754"/>
                  <a:pt x="5662041" y="2634520"/>
                  <a:pt x="5664102" y="2634520"/>
                </a:cubicBezTo>
                <a:cubicBezTo>
                  <a:pt x="5668222" y="2634520"/>
                  <a:pt x="5670281" y="2634520"/>
                  <a:pt x="5674403" y="2632265"/>
                </a:cubicBezTo>
                <a:cubicBezTo>
                  <a:pt x="5692942" y="2620984"/>
                  <a:pt x="5715601" y="2620984"/>
                  <a:pt x="5736203" y="2616472"/>
                </a:cubicBezTo>
                <a:cubicBezTo>
                  <a:pt x="5740323" y="2616472"/>
                  <a:pt x="5746503" y="2614218"/>
                  <a:pt x="5750624" y="2614218"/>
                </a:cubicBezTo>
                <a:cubicBezTo>
                  <a:pt x="5748562" y="2614218"/>
                  <a:pt x="5748562" y="2616472"/>
                  <a:pt x="5748562" y="2618730"/>
                </a:cubicBezTo>
                <a:cubicBezTo>
                  <a:pt x="5746503" y="2623242"/>
                  <a:pt x="5742383" y="2627754"/>
                  <a:pt x="5738262" y="2632265"/>
                </a:cubicBezTo>
                <a:cubicBezTo>
                  <a:pt x="5734141" y="2632265"/>
                  <a:pt x="5730023" y="2632265"/>
                  <a:pt x="5725903" y="2634520"/>
                </a:cubicBezTo>
                <a:cubicBezTo>
                  <a:pt x="5721783" y="2634520"/>
                  <a:pt x="5717663" y="2630008"/>
                  <a:pt x="5715601" y="2636778"/>
                </a:cubicBezTo>
                <a:cubicBezTo>
                  <a:pt x="5715601" y="2639032"/>
                  <a:pt x="5717663" y="2639032"/>
                  <a:pt x="5717663" y="2639032"/>
                </a:cubicBezTo>
                <a:cubicBezTo>
                  <a:pt x="5734141" y="2639032"/>
                  <a:pt x="5750624" y="2636778"/>
                  <a:pt x="5767105" y="2634520"/>
                </a:cubicBezTo>
                <a:cubicBezTo>
                  <a:pt x="5769163" y="2634520"/>
                  <a:pt x="5769163" y="2632265"/>
                  <a:pt x="5771224" y="2630008"/>
                </a:cubicBezTo>
                <a:cubicBezTo>
                  <a:pt x="5765043" y="2625496"/>
                  <a:pt x="5756803" y="2630008"/>
                  <a:pt x="5750624" y="2625496"/>
                </a:cubicBezTo>
                <a:cubicBezTo>
                  <a:pt x="5752683" y="2616472"/>
                  <a:pt x="5754742" y="2614218"/>
                  <a:pt x="5760923" y="2614218"/>
                </a:cubicBezTo>
                <a:cubicBezTo>
                  <a:pt x="5762982" y="2614218"/>
                  <a:pt x="5767105" y="2616472"/>
                  <a:pt x="5769163" y="2616472"/>
                </a:cubicBezTo>
                <a:cubicBezTo>
                  <a:pt x="5781523" y="2623242"/>
                  <a:pt x="5793883" y="2620984"/>
                  <a:pt x="5806244" y="2616472"/>
                </a:cubicBezTo>
                <a:cubicBezTo>
                  <a:pt x="5808303" y="2616472"/>
                  <a:pt x="5810364" y="2614218"/>
                  <a:pt x="5814485" y="2614218"/>
                </a:cubicBezTo>
                <a:cubicBezTo>
                  <a:pt x="5814485" y="2618730"/>
                  <a:pt x="5816542" y="2620984"/>
                  <a:pt x="5816542" y="2623242"/>
                </a:cubicBezTo>
                <a:close/>
                <a:moveTo>
                  <a:pt x="5822724" y="2794689"/>
                </a:moveTo>
                <a:cubicBezTo>
                  <a:pt x="5820663" y="2794689"/>
                  <a:pt x="5818604" y="2794689"/>
                  <a:pt x="5816542" y="2794689"/>
                </a:cubicBezTo>
                <a:cubicBezTo>
                  <a:pt x="5816542" y="2794689"/>
                  <a:pt x="5818604" y="2792432"/>
                  <a:pt x="5818604" y="2792432"/>
                </a:cubicBezTo>
                <a:cubicBezTo>
                  <a:pt x="5820663" y="2792432"/>
                  <a:pt x="5820663" y="2792432"/>
                  <a:pt x="5822724" y="2792432"/>
                </a:cubicBezTo>
                <a:cubicBezTo>
                  <a:pt x="5822724" y="2792432"/>
                  <a:pt x="5822724" y="2792432"/>
                  <a:pt x="5822724" y="2794689"/>
                </a:cubicBezTo>
                <a:close/>
                <a:moveTo>
                  <a:pt x="5826842" y="1698322"/>
                </a:moveTo>
                <a:cubicBezTo>
                  <a:pt x="5826842" y="1702834"/>
                  <a:pt x="5824783" y="1705092"/>
                  <a:pt x="5824783" y="1705092"/>
                </a:cubicBezTo>
                <a:cubicBezTo>
                  <a:pt x="5820663" y="1705092"/>
                  <a:pt x="5818604" y="1705092"/>
                  <a:pt x="5814485" y="1705092"/>
                </a:cubicBezTo>
                <a:cubicBezTo>
                  <a:pt x="5818604" y="1700579"/>
                  <a:pt x="5822724" y="1700579"/>
                  <a:pt x="5826842" y="1698322"/>
                </a:cubicBezTo>
                <a:close/>
                <a:moveTo>
                  <a:pt x="5826842" y="2481120"/>
                </a:moveTo>
                <a:cubicBezTo>
                  <a:pt x="5816542" y="2483374"/>
                  <a:pt x="5804183" y="2485631"/>
                  <a:pt x="5793883" y="2490142"/>
                </a:cubicBezTo>
                <a:cubicBezTo>
                  <a:pt x="5791825" y="2490142"/>
                  <a:pt x="5789764" y="2490142"/>
                  <a:pt x="5789764" y="2494656"/>
                </a:cubicBezTo>
                <a:cubicBezTo>
                  <a:pt x="5789764" y="2494656"/>
                  <a:pt x="5787703" y="2494656"/>
                  <a:pt x="5787703" y="2494656"/>
                </a:cubicBezTo>
                <a:cubicBezTo>
                  <a:pt x="5777403" y="2492397"/>
                  <a:pt x="5769163" y="2494656"/>
                  <a:pt x="5758862" y="2496910"/>
                </a:cubicBezTo>
                <a:cubicBezTo>
                  <a:pt x="5754742" y="2496910"/>
                  <a:pt x="5748562" y="2496910"/>
                  <a:pt x="5744442" y="2496910"/>
                </a:cubicBezTo>
                <a:cubicBezTo>
                  <a:pt x="5752683" y="2492397"/>
                  <a:pt x="5762982" y="2490142"/>
                  <a:pt x="5771224" y="2487886"/>
                </a:cubicBezTo>
                <a:cubicBezTo>
                  <a:pt x="5777403" y="2485631"/>
                  <a:pt x="5783582" y="2485631"/>
                  <a:pt x="5789764" y="2483374"/>
                </a:cubicBezTo>
                <a:cubicBezTo>
                  <a:pt x="5798003" y="2481120"/>
                  <a:pt x="5806244" y="2478862"/>
                  <a:pt x="5812423" y="2476608"/>
                </a:cubicBezTo>
                <a:cubicBezTo>
                  <a:pt x="5816542" y="2476608"/>
                  <a:pt x="5818604" y="2478862"/>
                  <a:pt x="5822724" y="2476608"/>
                </a:cubicBezTo>
                <a:cubicBezTo>
                  <a:pt x="5824783" y="2476608"/>
                  <a:pt x="5826842" y="2478862"/>
                  <a:pt x="5826842" y="2478862"/>
                </a:cubicBezTo>
                <a:cubicBezTo>
                  <a:pt x="5826842" y="2478862"/>
                  <a:pt x="5826842" y="2478862"/>
                  <a:pt x="5826842" y="2481120"/>
                </a:cubicBezTo>
                <a:close/>
                <a:moveTo>
                  <a:pt x="5830965" y="2733780"/>
                </a:moveTo>
                <a:cubicBezTo>
                  <a:pt x="5826842" y="2733780"/>
                  <a:pt x="5824783" y="2736036"/>
                  <a:pt x="5822724" y="2736036"/>
                </a:cubicBezTo>
                <a:cubicBezTo>
                  <a:pt x="5810364" y="2736036"/>
                  <a:pt x="5798003" y="2738292"/>
                  <a:pt x="5783582" y="2736036"/>
                </a:cubicBezTo>
                <a:cubicBezTo>
                  <a:pt x="5791825" y="2733780"/>
                  <a:pt x="5793883" y="2733780"/>
                  <a:pt x="5798003" y="2733780"/>
                </a:cubicBezTo>
                <a:cubicBezTo>
                  <a:pt x="5808303" y="2731524"/>
                  <a:pt x="5818604" y="2731524"/>
                  <a:pt x="5828903" y="2731524"/>
                </a:cubicBezTo>
                <a:cubicBezTo>
                  <a:pt x="5828903" y="2731524"/>
                  <a:pt x="5830965" y="2733780"/>
                  <a:pt x="5830965" y="2733780"/>
                </a:cubicBezTo>
                <a:close/>
                <a:moveTo>
                  <a:pt x="5833023" y="2884924"/>
                </a:moveTo>
                <a:cubicBezTo>
                  <a:pt x="5833023" y="2882669"/>
                  <a:pt x="5833023" y="2882669"/>
                  <a:pt x="5833023" y="2882669"/>
                </a:cubicBezTo>
                <a:cubicBezTo>
                  <a:pt x="5833023" y="2882669"/>
                  <a:pt x="5830965" y="2882669"/>
                  <a:pt x="5828903" y="2882669"/>
                </a:cubicBezTo>
                <a:cubicBezTo>
                  <a:pt x="5828903" y="2882669"/>
                  <a:pt x="5828903" y="2884924"/>
                  <a:pt x="5828903" y="2884924"/>
                </a:cubicBezTo>
                <a:cubicBezTo>
                  <a:pt x="5830965" y="2884924"/>
                  <a:pt x="5833023" y="2884924"/>
                  <a:pt x="5833023" y="2884924"/>
                </a:cubicBezTo>
                <a:close/>
                <a:moveTo>
                  <a:pt x="5837144" y="2596170"/>
                </a:moveTo>
                <a:cubicBezTo>
                  <a:pt x="5835085" y="2598424"/>
                  <a:pt x="5830965" y="2600682"/>
                  <a:pt x="5828903" y="2602936"/>
                </a:cubicBezTo>
                <a:cubicBezTo>
                  <a:pt x="5828903" y="2602936"/>
                  <a:pt x="5826842" y="2605194"/>
                  <a:pt x="5826842" y="2605194"/>
                </a:cubicBezTo>
                <a:cubicBezTo>
                  <a:pt x="5824783" y="2605194"/>
                  <a:pt x="5822724" y="2605194"/>
                  <a:pt x="5820663" y="2605194"/>
                </a:cubicBezTo>
                <a:cubicBezTo>
                  <a:pt x="5820663" y="2609706"/>
                  <a:pt x="5818604" y="2611960"/>
                  <a:pt x="5814485" y="2611960"/>
                </a:cubicBezTo>
                <a:cubicBezTo>
                  <a:pt x="5812423" y="2611960"/>
                  <a:pt x="5808303" y="2609706"/>
                  <a:pt x="5806244" y="2609706"/>
                </a:cubicBezTo>
                <a:cubicBezTo>
                  <a:pt x="5804183" y="2609706"/>
                  <a:pt x="5800062" y="2607449"/>
                  <a:pt x="5798003" y="2607449"/>
                </a:cubicBezTo>
                <a:cubicBezTo>
                  <a:pt x="5795942" y="2607449"/>
                  <a:pt x="5795942" y="2609706"/>
                  <a:pt x="5793883" y="2609706"/>
                </a:cubicBezTo>
                <a:cubicBezTo>
                  <a:pt x="5793883" y="2609706"/>
                  <a:pt x="5791825" y="2609706"/>
                  <a:pt x="5791825" y="2609706"/>
                </a:cubicBezTo>
                <a:cubicBezTo>
                  <a:pt x="5791825" y="2609706"/>
                  <a:pt x="5791825" y="2607449"/>
                  <a:pt x="5791825" y="2607449"/>
                </a:cubicBezTo>
                <a:cubicBezTo>
                  <a:pt x="5793883" y="2607449"/>
                  <a:pt x="5793883" y="2607449"/>
                  <a:pt x="5798003" y="2607449"/>
                </a:cubicBezTo>
                <a:cubicBezTo>
                  <a:pt x="5804183" y="2605194"/>
                  <a:pt x="5812423" y="2602936"/>
                  <a:pt x="5818604" y="2600682"/>
                </a:cubicBezTo>
                <a:cubicBezTo>
                  <a:pt x="5824783" y="2598424"/>
                  <a:pt x="5830965" y="2596170"/>
                  <a:pt x="5837144" y="2596170"/>
                </a:cubicBezTo>
                <a:close/>
                <a:moveTo>
                  <a:pt x="5851562" y="2616472"/>
                </a:moveTo>
                <a:cubicBezTo>
                  <a:pt x="5849503" y="2616472"/>
                  <a:pt x="5847442" y="2616472"/>
                  <a:pt x="5847442" y="2614218"/>
                </a:cubicBezTo>
                <a:cubicBezTo>
                  <a:pt x="5847442" y="2614218"/>
                  <a:pt x="5849503" y="2611960"/>
                  <a:pt x="5849503" y="2611960"/>
                </a:cubicBezTo>
                <a:cubicBezTo>
                  <a:pt x="5849503" y="2611960"/>
                  <a:pt x="5851562" y="2614218"/>
                  <a:pt x="5851562" y="2614218"/>
                </a:cubicBezTo>
                <a:cubicBezTo>
                  <a:pt x="5851562" y="2614218"/>
                  <a:pt x="5851562" y="2616472"/>
                  <a:pt x="5851562" y="2616472"/>
                </a:cubicBezTo>
                <a:close/>
                <a:moveTo>
                  <a:pt x="5851562" y="2625496"/>
                </a:moveTo>
                <a:cubicBezTo>
                  <a:pt x="5845383" y="2627754"/>
                  <a:pt x="5837144" y="2627754"/>
                  <a:pt x="5830965" y="2630008"/>
                </a:cubicBezTo>
                <a:cubicBezTo>
                  <a:pt x="5826842" y="2630008"/>
                  <a:pt x="5820663" y="2630008"/>
                  <a:pt x="5816542" y="2630008"/>
                </a:cubicBezTo>
                <a:cubicBezTo>
                  <a:pt x="5823754" y="2626626"/>
                  <a:pt x="5829420" y="2624933"/>
                  <a:pt x="5834827" y="2624370"/>
                </a:cubicBezTo>
                <a:cubicBezTo>
                  <a:pt x="5840235" y="2623805"/>
                  <a:pt x="5845383" y="2624368"/>
                  <a:pt x="5851562" y="2625496"/>
                </a:cubicBezTo>
                <a:close/>
                <a:moveTo>
                  <a:pt x="5853624" y="2729269"/>
                </a:moveTo>
                <a:cubicBezTo>
                  <a:pt x="5853624" y="2729269"/>
                  <a:pt x="5851562" y="2731524"/>
                  <a:pt x="5851562" y="2731524"/>
                </a:cubicBezTo>
                <a:cubicBezTo>
                  <a:pt x="5851562" y="2731524"/>
                  <a:pt x="5849503" y="2731524"/>
                  <a:pt x="5849503" y="2731524"/>
                </a:cubicBezTo>
                <a:cubicBezTo>
                  <a:pt x="5849503" y="2731524"/>
                  <a:pt x="5849503" y="2729269"/>
                  <a:pt x="5849503" y="2729269"/>
                </a:cubicBezTo>
                <a:cubicBezTo>
                  <a:pt x="5851562" y="2729269"/>
                  <a:pt x="5853624" y="2729269"/>
                  <a:pt x="5853624" y="2729269"/>
                </a:cubicBezTo>
                <a:close/>
                <a:moveTo>
                  <a:pt x="5853863" y="2704557"/>
                </a:moveTo>
                <a:lnTo>
                  <a:pt x="5853624" y="2702198"/>
                </a:lnTo>
                <a:lnTo>
                  <a:pt x="5850334" y="2701940"/>
                </a:lnTo>
                <a:lnTo>
                  <a:pt x="5851562" y="2704452"/>
                </a:lnTo>
                <a:cubicBezTo>
                  <a:pt x="5853624" y="2704452"/>
                  <a:pt x="5853624" y="2704452"/>
                  <a:pt x="5853624" y="2704452"/>
                </a:cubicBezTo>
                <a:close/>
                <a:moveTo>
                  <a:pt x="5861864" y="2560075"/>
                </a:moveTo>
                <a:cubicBezTo>
                  <a:pt x="5853624" y="2573611"/>
                  <a:pt x="5839205" y="2578122"/>
                  <a:pt x="5824783" y="2580377"/>
                </a:cubicBezTo>
                <a:cubicBezTo>
                  <a:pt x="5808303" y="2582634"/>
                  <a:pt x="5791825" y="2584889"/>
                  <a:pt x="5775342" y="2589402"/>
                </a:cubicBezTo>
                <a:cubicBezTo>
                  <a:pt x="5756803" y="2593913"/>
                  <a:pt x="5736203" y="2600682"/>
                  <a:pt x="5717663" y="2598424"/>
                </a:cubicBezTo>
                <a:cubicBezTo>
                  <a:pt x="5715601" y="2598424"/>
                  <a:pt x="5713543" y="2598424"/>
                  <a:pt x="5711482" y="2598424"/>
                </a:cubicBezTo>
                <a:cubicBezTo>
                  <a:pt x="5705303" y="2602936"/>
                  <a:pt x="5699121" y="2605194"/>
                  <a:pt x="5692942" y="2607449"/>
                </a:cubicBezTo>
                <a:cubicBezTo>
                  <a:pt x="5690881" y="2607449"/>
                  <a:pt x="5690881" y="2607449"/>
                  <a:pt x="5688823" y="2607449"/>
                </a:cubicBezTo>
                <a:cubicBezTo>
                  <a:pt x="5670281" y="2609706"/>
                  <a:pt x="5651742" y="2611960"/>
                  <a:pt x="5633203" y="2611960"/>
                </a:cubicBezTo>
                <a:cubicBezTo>
                  <a:pt x="5635262" y="2609706"/>
                  <a:pt x="5637323" y="2605194"/>
                  <a:pt x="5641440" y="2602936"/>
                </a:cubicBezTo>
                <a:cubicBezTo>
                  <a:pt x="5643501" y="2602936"/>
                  <a:pt x="5649683" y="2602936"/>
                  <a:pt x="5653803" y="2600682"/>
                </a:cubicBezTo>
                <a:cubicBezTo>
                  <a:pt x="5653803" y="2598424"/>
                  <a:pt x="5653803" y="2598424"/>
                  <a:pt x="5651742" y="2596170"/>
                </a:cubicBezTo>
                <a:cubicBezTo>
                  <a:pt x="5655862" y="2593913"/>
                  <a:pt x="5659982" y="2593913"/>
                  <a:pt x="5664102" y="2591658"/>
                </a:cubicBezTo>
                <a:cubicBezTo>
                  <a:pt x="5668222" y="2593913"/>
                  <a:pt x="5672342" y="2596170"/>
                  <a:pt x="5678523" y="2593913"/>
                </a:cubicBezTo>
                <a:cubicBezTo>
                  <a:pt x="5678523" y="2591658"/>
                  <a:pt x="5678523" y="2591658"/>
                  <a:pt x="5678523" y="2589402"/>
                </a:cubicBezTo>
                <a:cubicBezTo>
                  <a:pt x="5682641" y="2589402"/>
                  <a:pt x="5686762" y="2589402"/>
                  <a:pt x="5690881" y="2591658"/>
                </a:cubicBezTo>
                <a:cubicBezTo>
                  <a:pt x="5695001" y="2593913"/>
                  <a:pt x="5699121" y="2591658"/>
                  <a:pt x="5703242" y="2591658"/>
                </a:cubicBezTo>
                <a:cubicBezTo>
                  <a:pt x="5711482" y="2591658"/>
                  <a:pt x="5717663" y="2591658"/>
                  <a:pt x="5725903" y="2589402"/>
                </a:cubicBezTo>
                <a:cubicBezTo>
                  <a:pt x="5725903" y="2589402"/>
                  <a:pt x="5727962" y="2587147"/>
                  <a:pt x="5727962" y="2587147"/>
                </a:cubicBezTo>
                <a:cubicBezTo>
                  <a:pt x="5744442" y="2584889"/>
                  <a:pt x="5758862" y="2580377"/>
                  <a:pt x="5775342" y="2575868"/>
                </a:cubicBezTo>
                <a:cubicBezTo>
                  <a:pt x="5800062" y="2569100"/>
                  <a:pt x="5826842" y="2557818"/>
                  <a:pt x="5853624" y="2562334"/>
                </a:cubicBezTo>
                <a:cubicBezTo>
                  <a:pt x="5855683" y="2562334"/>
                  <a:pt x="5859805" y="2562334"/>
                  <a:pt x="5861864" y="2560075"/>
                </a:cubicBezTo>
                <a:close/>
                <a:moveTo>
                  <a:pt x="5865985" y="2677384"/>
                </a:moveTo>
                <a:cubicBezTo>
                  <a:pt x="5863926" y="2677384"/>
                  <a:pt x="5861864" y="2679638"/>
                  <a:pt x="5861864" y="2679638"/>
                </a:cubicBezTo>
                <a:cubicBezTo>
                  <a:pt x="5861864" y="2679638"/>
                  <a:pt x="5861864" y="2677384"/>
                  <a:pt x="5861864" y="2677384"/>
                </a:cubicBezTo>
                <a:cubicBezTo>
                  <a:pt x="5861864" y="2677384"/>
                  <a:pt x="5863926" y="2677384"/>
                  <a:pt x="5863926" y="2677384"/>
                </a:cubicBezTo>
                <a:cubicBezTo>
                  <a:pt x="5863926" y="2677384"/>
                  <a:pt x="5865985" y="2677384"/>
                  <a:pt x="5865985" y="2677384"/>
                </a:cubicBezTo>
                <a:close/>
                <a:moveTo>
                  <a:pt x="5874224" y="2388628"/>
                </a:moveTo>
                <a:cubicBezTo>
                  <a:pt x="5874224" y="2390882"/>
                  <a:pt x="5874224" y="2390882"/>
                  <a:pt x="5872163" y="2393140"/>
                </a:cubicBezTo>
                <a:cubicBezTo>
                  <a:pt x="5872163" y="2393140"/>
                  <a:pt x="5870104" y="2393140"/>
                  <a:pt x="5870104" y="2393140"/>
                </a:cubicBezTo>
                <a:cubicBezTo>
                  <a:pt x="5870104" y="2390882"/>
                  <a:pt x="5870104" y="2390882"/>
                  <a:pt x="5870104" y="2388628"/>
                </a:cubicBezTo>
                <a:cubicBezTo>
                  <a:pt x="5870104" y="2388628"/>
                  <a:pt x="5872163" y="2388628"/>
                  <a:pt x="5874224" y="2388628"/>
                </a:cubicBezTo>
                <a:close/>
                <a:moveTo>
                  <a:pt x="5878344" y="2749571"/>
                </a:moveTo>
                <a:cubicBezTo>
                  <a:pt x="5872163" y="2749571"/>
                  <a:pt x="5865985" y="2749571"/>
                  <a:pt x="5859805" y="2749571"/>
                </a:cubicBezTo>
                <a:cubicBezTo>
                  <a:pt x="5859805" y="2749571"/>
                  <a:pt x="5857744" y="2749571"/>
                  <a:pt x="5857744" y="2749571"/>
                </a:cubicBezTo>
                <a:cubicBezTo>
                  <a:pt x="5855683" y="2749571"/>
                  <a:pt x="5855683" y="2749571"/>
                  <a:pt x="5853624" y="2749571"/>
                </a:cubicBezTo>
                <a:cubicBezTo>
                  <a:pt x="5851562" y="2749571"/>
                  <a:pt x="5847442" y="2751828"/>
                  <a:pt x="5847442" y="2751828"/>
                </a:cubicBezTo>
                <a:cubicBezTo>
                  <a:pt x="5845383" y="2751828"/>
                  <a:pt x="5845383" y="2754082"/>
                  <a:pt x="5843324" y="2756340"/>
                </a:cubicBezTo>
                <a:cubicBezTo>
                  <a:pt x="5845383" y="2756340"/>
                  <a:pt x="5845383" y="2756340"/>
                  <a:pt x="5847442" y="2756340"/>
                </a:cubicBezTo>
                <a:cubicBezTo>
                  <a:pt x="5845383" y="2758594"/>
                  <a:pt x="5843324" y="2758594"/>
                  <a:pt x="5841263" y="2760851"/>
                </a:cubicBezTo>
                <a:cubicBezTo>
                  <a:pt x="5826842" y="2763106"/>
                  <a:pt x="5812423" y="2765364"/>
                  <a:pt x="5800062" y="2767618"/>
                </a:cubicBezTo>
                <a:cubicBezTo>
                  <a:pt x="5814485" y="2769873"/>
                  <a:pt x="5826842" y="2767618"/>
                  <a:pt x="5839205" y="2765364"/>
                </a:cubicBezTo>
                <a:cubicBezTo>
                  <a:pt x="5839205" y="2765364"/>
                  <a:pt x="5839205" y="2767618"/>
                  <a:pt x="5839205" y="2767618"/>
                </a:cubicBezTo>
                <a:cubicBezTo>
                  <a:pt x="5822724" y="2769873"/>
                  <a:pt x="5808303" y="2769873"/>
                  <a:pt x="5791825" y="2772130"/>
                </a:cubicBezTo>
                <a:cubicBezTo>
                  <a:pt x="5783582" y="2772130"/>
                  <a:pt x="5775342" y="2774387"/>
                  <a:pt x="5769163" y="2776642"/>
                </a:cubicBezTo>
                <a:cubicBezTo>
                  <a:pt x="5752683" y="2785666"/>
                  <a:pt x="5738262" y="2785666"/>
                  <a:pt x="5719722" y="2785666"/>
                </a:cubicBezTo>
                <a:cubicBezTo>
                  <a:pt x="5719722" y="2785666"/>
                  <a:pt x="5717663" y="2787920"/>
                  <a:pt x="5717663" y="2787920"/>
                </a:cubicBezTo>
                <a:cubicBezTo>
                  <a:pt x="5713543" y="2799200"/>
                  <a:pt x="5717663" y="2801455"/>
                  <a:pt x="5711482" y="2805968"/>
                </a:cubicBezTo>
                <a:cubicBezTo>
                  <a:pt x="5695001" y="2803714"/>
                  <a:pt x="5680582" y="2808225"/>
                  <a:pt x="5664102" y="2812736"/>
                </a:cubicBezTo>
                <a:cubicBezTo>
                  <a:pt x="5659982" y="2814991"/>
                  <a:pt x="5655862" y="2812736"/>
                  <a:pt x="5651742" y="2812736"/>
                </a:cubicBezTo>
                <a:cubicBezTo>
                  <a:pt x="5641440" y="2812736"/>
                  <a:pt x="5631141" y="2812736"/>
                  <a:pt x="5622901" y="2819502"/>
                </a:cubicBezTo>
                <a:cubicBezTo>
                  <a:pt x="5614660" y="2824016"/>
                  <a:pt x="5608482" y="2826272"/>
                  <a:pt x="5600242" y="2819502"/>
                </a:cubicBezTo>
                <a:cubicBezTo>
                  <a:pt x="5598180" y="2819502"/>
                  <a:pt x="5596121" y="2817248"/>
                  <a:pt x="5594060" y="2819502"/>
                </a:cubicBezTo>
                <a:cubicBezTo>
                  <a:pt x="5587882" y="2821760"/>
                  <a:pt x="5581700" y="2821760"/>
                  <a:pt x="5577580" y="2824016"/>
                </a:cubicBezTo>
                <a:cubicBezTo>
                  <a:pt x="5581700" y="2819502"/>
                  <a:pt x="5587882" y="2817248"/>
                  <a:pt x="5592001" y="2812736"/>
                </a:cubicBezTo>
                <a:cubicBezTo>
                  <a:pt x="5587882" y="2812736"/>
                  <a:pt x="5583762" y="2812736"/>
                  <a:pt x="5579641" y="2812736"/>
                </a:cubicBezTo>
                <a:cubicBezTo>
                  <a:pt x="5577580" y="2812736"/>
                  <a:pt x="5575521" y="2812736"/>
                  <a:pt x="5573460" y="2812736"/>
                </a:cubicBezTo>
                <a:cubicBezTo>
                  <a:pt x="5567281" y="2821760"/>
                  <a:pt x="5554921" y="2821760"/>
                  <a:pt x="5546680" y="2826272"/>
                </a:cubicBezTo>
                <a:lnTo>
                  <a:pt x="5545034" y="2828076"/>
                </a:lnTo>
                <a:lnTo>
                  <a:pt x="5546680" y="2828527"/>
                </a:lnTo>
                <a:lnTo>
                  <a:pt x="5543644" y="2831022"/>
                </a:lnTo>
                <a:lnTo>
                  <a:pt x="5552860" y="2833038"/>
                </a:lnTo>
                <a:cubicBezTo>
                  <a:pt x="5556982" y="2833038"/>
                  <a:pt x="5559041" y="2833038"/>
                  <a:pt x="5563161" y="2830784"/>
                </a:cubicBezTo>
                <a:cubicBezTo>
                  <a:pt x="5575521" y="2837550"/>
                  <a:pt x="5575521" y="2837550"/>
                  <a:pt x="5587882" y="2835296"/>
                </a:cubicBezTo>
                <a:cubicBezTo>
                  <a:pt x="5602301" y="2833038"/>
                  <a:pt x="5614660" y="2828527"/>
                  <a:pt x="5629082" y="2830784"/>
                </a:cubicBezTo>
                <a:cubicBezTo>
                  <a:pt x="5618781" y="2833038"/>
                  <a:pt x="5608482" y="2837550"/>
                  <a:pt x="5598180" y="2839808"/>
                </a:cubicBezTo>
                <a:cubicBezTo>
                  <a:pt x="5589941" y="2842062"/>
                  <a:pt x="5581700" y="2842062"/>
                  <a:pt x="5575521" y="2846574"/>
                </a:cubicBezTo>
                <a:cubicBezTo>
                  <a:pt x="5573460" y="2848831"/>
                  <a:pt x="5569340" y="2848831"/>
                  <a:pt x="5567281" y="2848831"/>
                </a:cubicBezTo>
                <a:cubicBezTo>
                  <a:pt x="5561102" y="2846574"/>
                  <a:pt x="5556982" y="2851086"/>
                  <a:pt x="5550801" y="2853344"/>
                </a:cubicBezTo>
                <a:cubicBezTo>
                  <a:pt x="5546680" y="2855598"/>
                  <a:pt x="5542560" y="2857856"/>
                  <a:pt x="5538441" y="2864622"/>
                </a:cubicBezTo>
                <a:cubicBezTo>
                  <a:pt x="5536382" y="2869133"/>
                  <a:pt x="5528139" y="2871388"/>
                  <a:pt x="5524021" y="2871388"/>
                </a:cubicBezTo>
                <a:cubicBezTo>
                  <a:pt x="5511661" y="2873645"/>
                  <a:pt x="5499301" y="2873645"/>
                  <a:pt x="5486941" y="2878158"/>
                </a:cubicBezTo>
                <a:cubicBezTo>
                  <a:pt x="5484880" y="2878158"/>
                  <a:pt x="5482821" y="2880414"/>
                  <a:pt x="5480759" y="2880414"/>
                </a:cubicBezTo>
                <a:cubicBezTo>
                  <a:pt x="5478700" y="2880414"/>
                  <a:pt x="5476639" y="2882669"/>
                  <a:pt x="5474580" y="2882669"/>
                </a:cubicBezTo>
                <a:cubicBezTo>
                  <a:pt x="5474580" y="2882669"/>
                  <a:pt x="5472521" y="2882669"/>
                  <a:pt x="5472521" y="2882669"/>
                </a:cubicBezTo>
                <a:cubicBezTo>
                  <a:pt x="5458100" y="2882669"/>
                  <a:pt x="5441619" y="2884924"/>
                  <a:pt x="5427200" y="2889438"/>
                </a:cubicBezTo>
                <a:cubicBezTo>
                  <a:pt x="5400421" y="2893947"/>
                  <a:pt x="5375700" y="2898460"/>
                  <a:pt x="5348918" y="2902971"/>
                </a:cubicBezTo>
                <a:cubicBezTo>
                  <a:pt x="5348918" y="2902971"/>
                  <a:pt x="5346860" y="2902971"/>
                  <a:pt x="5346860" y="2900716"/>
                </a:cubicBezTo>
                <a:cubicBezTo>
                  <a:pt x="5348918" y="2900716"/>
                  <a:pt x="5350980" y="2900716"/>
                  <a:pt x="5353039" y="2898460"/>
                </a:cubicBezTo>
                <a:cubicBezTo>
                  <a:pt x="5361279" y="2896205"/>
                  <a:pt x="5369519" y="2893947"/>
                  <a:pt x="5375700" y="2891692"/>
                </a:cubicBezTo>
                <a:cubicBezTo>
                  <a:pt x="5394239" y="2884924"/>
                  <a:pt x="5410720" y="2880414"/>
                  <a:pt x="5429259" y="2873645"/>
                </a:cubicBezTo>
                <a:cubicBezTo>
                  <a:pt x="5429259" y="2873645"/>
                  <a:pt x="5427200" y="2873645"/>
                  <a:pt x="5427200" y="2875903"/>
                </a:cubicBezTo>
                <a:cubicBezTo>
                  <a:pt x="5427200" y="2875903"/>
                  <a:pt x="5429259" y="2878158"/>
                  <a:pt x="5429259" y="2878158"/>
                </a:cubicBezTo>
                <a:cubicBezTo>
                  <a:pt x="5431321" y="2878158"/>
                  <a:pt x="5433380" y="2875903"/>
                  <a:pt x="5435438" y="2875903"/>
                </a:cubicBezTo>
                <a:cubicBezTo>
                  <a:pt x="5435438" y="2873645"/>
                  <a:pt x="5433380" y="2873645"/>
                  <a:pt x="5433380" y="2871388"/>
                </a:cubicBezTo>
                <a:cubicBezTo>
                  <a:pt x="5445739" y="2866878"/>
                  <a:pt x="5458100" y="2864622"/>
                  <a:pt x="5468402" y="2860110"/>
                </a:cubicBezTo>
                <a:cubicBezTo>
                  <a:pt x="5474580" y="2857856"/>
                  <a:pt x="5482821" y="2855598"/>
                  <a:pt x="5489000" y="2848831"/>
                </a:cubicBezTo>
                <a:cubicBezTo>
                  <a:pt x="5497239" y="2846574"/>
                  <a:pt x="5505480" y="2844320"/>
                  <a:pt x="5515782" y="2844320"/>
                </a:cubicBezTo>
                <a:cubicBezTo>
                  <a:pt x="5521960" y="2842062"/>
                  <a:pt x="5528139" y="2839808"/>
                  <a:pt x="5536382" y="2835296"/>
                </a:cubicBezTo>
                <a:cubicBezTo>
                  <a:pt x="5536382" y="2835296"/>
                  <a:pt x="5536382" y="2835296"/>
                  <a:pt x="5538441" y="2835296"/>
                </a:cubicBezTo>
                <a:lnTo>
                  <a:pt x="5543644" y="2831022"/>
                </a:lnTo>
                <a:lnTo>
                  <a:pt x="5542560" y="2830784"/>
                </a:lnTo>
                <a:lnTo>
                  <a:pt x="5545034" y="2828076"/>
                </a:lnTo>
                <a:lnTo>
                  <a:pt x="5538441" y="2826272"/>
                </a:lnTo>
                <a:cubicBezTo>
                  <a:pt x="5538441" y="2826272"/>
                  <a:pt x="5538441" y="2826272"/>
                  <a:pt x="5536382" y="2826272"/>
                </a:cubicBezTo>
                <a:cubicBezTo>
                  <a:pt x="5534321" y="2826272"/>
                  <a:pt x="5532262" y="2826272"/>
                  <a:pt x="5528139" y="2826272"/>
                </a:cubicBezTo>
                <a:cubicBezTo>
                  <a:pt x="5528139" y="2826272"/>
                  <a:pt x="5526080" y="2826272"/>
                  <a:pt x="5521960" y="2826272"/>
                </a:cubicBezTo>
                <a:cubicBezTo>
                  <a:pt x="5536382" y="2821760"/>
                  <a:pt x="5546680" y="2817248"/>
                  <a:pt x="5559041" y="2812736"/>
                </a:cubicBezTo>
                <a:cubicBezTo>
                  <a:pt x="5554921" y="2803714"/>
                  <a:pt x="5556982" y="2801455"/>
                  <a:pt x="5561102" y="2799200"/>
                </a:cubicBezTo>
                <a:cubicBezTo>
                  <a:pt x="5563161" y="2799200"/>
                  <a:pt x="5565223" y="2799200"/>
                  <a:pt x="5569340" y="2799200"/>
                </a:cubicBezTo>
                <a:cubicBezTo>
                  <a:pt x="5581700" y="2801455"/>
                  <a:pt x="5592001" y="2796944"/>
                  <a:pt x="5602301" y="2792432"/>
                </a:cubicBezTo>
                <a:cubicBezTo>
                  <a:pt x="5608482" y="2787920"/>
                  <a:pt x="5616723" y="2787920"/>
                  <a:pt x="5627021" y="2785666"/>
                </a:cubicBezTo>
                <a:cubicBezTo>
                  <a:pt x="5624962" y="2790178"/>
                  <a:pt x="5624962" y="2792432"/>
                  <a:pt x="5624962" y="2794689"/>
                </a:cubicBezTo>
                <a:cubicBezTo>
                  <a:pt x="5620840" y="2796944"/>
                  <a:pt x="5616723" y="2799200"/>
                  <a:pt x="5612602" y="2799200"/>
                </a:cubicBezTo>
                <a:cubicBezTo>
                  <a:pt x="5606421" y="2799200"/>
                  <a:pt x="5602301" y="2801455"/>
                  <a:pt x="5598180" y="2805968"/>
                </a:cubicBezTo>
                <a:cubicBezTo>
                  <a:pt x="5600242" y="2808225"/>
                  <a:pt x="5602301" y="2810480"/>
                  <a:pt x="5604362" y="2810480"/>
                </a:cubicBezTo>
                <a:cubicBezTo>
                  <a:pt x="5612602" y="2810480"/>
                  <a:pt x="5618781" y="2810480"/>
                  <a:pt x="5627021" y="2808225"/>
                </a:cubicBezTo>
                <a:cubicBezTo>
                  <a:pt x="5631141" y="2805968"/>
                  <a:pt x="5637323" y="2803714"/>
                  <a:pt x="5641440" y="2803714"/>
                </a:cubicBezTo>
                <a:cubicBezTo>
                  <a:pt x="5641440" y="2803714"/>
                  <a:pt x="5641440" y="2803714"/>
                  <a:pt x="5643501" y="2805968"/>
                </a:cubicBezTo>
                <a:cubicBezTo>
                  <a:pt x="5643501" y="2805968"/>
                  <a:pt x="5645560" y="2803714"/>
                  <a:pt x="5645560" y="2803714"/>
                </a:cubicBezTo>
                <a:cubicBezTo>
                  <a:pt x="5655862" y="2801455"/>
                  <a:pt x="5666160" y="2799200"/>
                  <a:pt x="5674403" y="2796944"/>
                </a:cubicBezTo>
                <a:cubicBezTo>
                  <a:pt x="5682641" y="2794689"/>
                  <a:pt x="5690881" y="2792432"/>
                  <a:pt x="5697062" y="2790178"/>
                </a:cubicBezTo>
                <a:cubicBezTo>
                  <a:pt x="5705303" y="2785666"/>
                  <a:pt x="5713543" y="2783408"/>
                  <a:pt x="5721783" y="2781153"/>
                </a:cubicBezTo>
                <a:cubicBezTo>
                  <a:pt x="5732082" y="2781153"/>
                  <a:pt x="5740323" y="2778898"/>
                  <a:pt x="5748562" y="2774387"/>
                </a:cubicBezTo>
                <a:cubicBezTo>
                  <a:pt x="5756803" y="2772130"/>
                  <a:pt x="5767105" y="2769873"/>
                  <a:pt x="5775342" y="2767618"/>
                </a:cubicBezTo>
                <a:cubicBezTo>
                  <a:pt x="5781523" y="2765364"/>
                  <a:pt x="5789764" y="2763106"/>
                  <a:pt x="5795942" y="2760851"/>
                </a:cubicBezTo>
                <a:cubicBezTo>
                  <a:pt x="5806244" y="2760851"/>
                  <a:pt x="5818604" y="2758594"/>
                  <a:pt x="5828903" y="2758594"/>
                </a:cubicBezTo>
                <a:cubicBezTo>
                  <a:pt x="5830965" y="2758594"/>
                  <a:pt x="5830965" y="2756340"/>
                  <a:pt x="5833023" y="2754082"/>
                </a:cubicBezTo>
                <a:cubicBezTo>
                  <a:pt x="5826842" y="2749571"/>
                  <a:pt x="5818604" y="2754082"/>
                  <a:pt x="5812423" y="2749571"/>
                </a:cubicBezTo>
                <a:cubicBezTo>
                  <a:pt x="5818604" y="2749571"/>
                  <a:pt x="5824783" y="2749571"/>
                  <a:pt x="5828903" y="2745058"/>
                </a:cubicBezTo>
                <a:cubicBezTo>
                  <a:pt x="5833023" y="2745058"/>
                  <a:pt x="5835085" y="2745058"/>
                  <a:pt x="5839205" y="2745058"/>
                </a:cubicBezTo>
                <a:cubicBezTo>
                  <a:pt x="5845383" y="2747316"/>
                  <a:pt x="5853624" y="2747316"/>
                  <a:pt x="5859805" y="2745058"/>
                </a:cubicBezTo>
                <a:cubicBezTo>
                  <a:pt x="5865985" y="2745058"/>
                  <a:pt x="5870104" y="2745058"/>
                  <a:pt x="5876283" y="2745058"/>
                </a:cubicBezTo>
                <a:cubicBezTo>
                  <a:pt x="5876283" y="2747316"/>
                  <a:pt x="5876283" y="2747316"/>
                  <a:pt x="5878344" y="2749571"/>
                </a:cubicBezTo>
                <a:close/>
                <a:moveTo>
                  <a:pt x="5884526" y="164310"/>
                </a:moveTo>
                <a:cubicBezTo>
                  <a:pt x="5882465" y="164310"/>
                  <a:pt x="5882465" y="164310"/>
                  <a:pt x="5882465" y="164310"/>
                </a:cubicBezTo>
                <a:cubicBezTo>
                  <a:pt x="5882465" y="164310"/>
                  <a:pt x="5882465" y="164310"/>
                  <a:pt x="5884526" y="162056"/>
                </a:cubicBezTo>
                <a:cubicBezTo>
                  <a:pt x="5882465" y="162056"/>
                  <a:pt x="5884526" y="164310"/>
                  <a:pt x="5884526" y="164310"/>
                </a:cubicBezTo>
                <a:close/>
                <a:moveTo>
                  <a:pt x="5890705" y="2805968"/>
                </a:moveTo>
                <a:cubicBezTo>
                  <a:pt x="5880403" y="2805968"/>
                  <a:pt x="5870104" y="2808225"/>
                  <a:pt x="5861864" y="2810480"/>
                </a:cubicBezTo>
                <a:cubicBezTo>
                  <a:pt x="5851562" y="2812736"/>
                  <a:pt x="5841263" y="2812736"/>
                  <a:pt x="5833023" y="2817248"/>
                </a:cubicBezTo>
                <a:cubicBezTo>
                  <a:pt x="5820663" y="2824016"/>
                  <a:pt x="5806244" y="2826272"/>
                  <a:pt x="5791825" y="2830784"/>
                </a:cubicBezTo>
                <a:cubicBezTo>
                  <a:pt x="5775342" y="2835296"/>
                  <a:pt x="5758862" y="2839808"/>
                  <a:pt x="5742383" y="2846574"/>
                </a:cubicBezTo>
                <a:cubicBezTo>
                  <a:pt x="5736203" y="2848831"/>
                  <a:pt x="5727962" y="2851086"/>
                  <a:pt x="5721783" y="2851086"/>
                </a:cubicBezTo>
                <a:cubicBezTo>
                  <a:pt x="5730023" y="2846574"/>
                  <a:pt x="5736203" y="2844320"/>
                  <a:pt x="5744442" y="2842062"/>
                </a:cubicBezTo>
                <a:cubicBezTo>
                  <a:pt x="5756803" y="2837550"/>
                  <a:pt x="5771224" y="2835296"/>
                  <a:pt x="5783582" y="2830784"/>
                </a:cubicBezTo>
                <a:cubicBezTo>
                  <a:pt x="5785644" y="2830784"/>
                  <a:pt x="5789764" y="2828527"/>
                  <a:pt x="5787703" y="2821760"/>
                </a:cubicBezTo>
                <a:cubicBezTo>
                  <a:pt x="5777403" y="2826272"/>
                  <a:pt x="5767105" y="2835296"/>
                  <a:pt x="5752683" y="2830784"/>
                </a:cubicBezTo>
                <a:cubicBezTo>
                  <a:pt x="5752683" y="2828527"/>
                  <a:pt x="5752683" y="2828527"/>
                  <a:pt x="5754742" y="2826272"/>
                </a:cubicBezTo>
                <a:cubicBezTo>
                  <a:pt x="5765043" y="2824016"/>
                  <a:pt x="5775342" y="2824016"/>
                  <a:pt x="5785644" y="2821760"/>
                </a:cubicBezTo>
                <a:cubicBezTo>
                  <a:pt x="5789764" y="2821760"/>
                  <a:pt x="5793883" y="2819502"/>
                  <a:pt x="5798003" y="2819502"/>
                </a:cubicBezTo>
                <a:cubicBezTo>
                  <a:pt x="5804183" y="2817248"/>
                  <a:pt x="5808303" y="2812736"/>
                  <a:pt x="5812423" y="2812736"/>
                </a:cubicBezTo>
                <a:cubicBezTo>
                  <a:pt x="5818604" y="2810480"/>
                  <a:pt x="5824783" y="2812736"/>
                  <a:pt x="5830965" y="2812736"/>
                </a:cubicBezTo>
                <a:cubicBezTo>
                  <a:pt x="5835085" y="2812736"/>
                  <a:pt x="5841263" y="2812736"/>
                  <a:pt x="5845383" y="2810480"/>
                </a:cubicBezTo>
                <a:cubicBezTo>
                  <a:pt x="5845383" y="2810480"/>
                  <a:pt x="5843324" y="2812736"/>
                  <a:pt x="5843324" y="2812736"/>
                </a:cubicBezTo>
                <a:cubicBezTo>
                  <a:pt x="5851562" y="2812736"/>
                  <a:pt x="5859805" y="2810480"/>
                  <a:pt x="5868042" y="2808225"/>
                </a:cubicBezTo>
                <a:cubicBezTo>
                  <a:pt x="5876283" y="2808225"/>
                  <a:pt x="5882465" y="2805968"/>
                  <a:pt x="5890705" y="2805968"/>
                </a:cubicBezTo>
                <a:close/>
                <a:moveTo>
                  <a:pt x="5896883" y="2611960"/>
                </a:moveTo>
                <a:cubicBezTo>
                  <a:pt x="5894824" y="2611960"/>
                  <a:pt x="5890705" y="2611960"/>
                  <a:pt x="5888644" y="2614218"/>
                </a:cubicBezTo>
                <a:cubicBezTo>
                  <a:pt x="5889675" y="2611962"/>
                  <a:pt x="5890705" y="2611397"/>
                  <a:pt x="5891991" y="2611397"/>
                </a:cubicBezTo>
                <a:cubicBezTo>
                  <a:pt x="5893279" y="2611397"/>
                  <a:pt x="5894823" y="2611960"/>
                  <a:pt x="5896883" y="2611960"/>
                </a:cubicBezTo>
                <a:close/>
                <a:moveTo>
                  <a:pt x="5903065" y="2855598"/>
                </a:moveTo>
                <a:cubicBezTo>
                  <a:pt x="5901003" y="2853344"/>
                  <a:pt x="5898945" y="2853344"/>
                  <a:pt x="5896883" y="2851086"/>
                </a:cubicBezTo>
                <a:cubicBezTo>
                  <a:pt x="5894824" y="2851086"/>
                  <a:pt x="5894824" y="2851086"/>
                  <a:pt x="5894824" y="2851086"/>
                </a:cubicBezTo>
                <a:cubicBezTo>
                  <a:pt x="5894824" y="2853344"/>
                  <a:pt x="5892763" y="2853344"/>
                  <a:pt x="5892763" y="2853344"/>
                </a:cubicBezTo>
                <a:cubicBezTo>
                  <a:pt x="5890705" y="2855598"/>
                  <a:pt x="5890705" y="2855598"/>
                  <a:pt x="5888644" y="2857856"/>
                </a:cubicBezTo>
                <a:cubicBezTo>
                  <a:pt x="5892763" y="2857856"/>
                  <a:pt x="5896883" y="2855598"/>
                  <a:pt x="5903065" y="2855598"/>
                </a:cubicBezTo>
                <a:close/>
                <a:moveTo>
                  <a:pt x="5911305" y="2833038"/>
                </a:moveTo>
                <a:cubicBezTo>
                  <a:pt x="5905124" y="2835296"/>
                  <a:pt x="5898945" y="2835296"/>
                  <a:pt x="5892763" y="2837550"/>
                </a:cubicBezTo>
                <a:cubicBezTo>
                  <a:pt x="5884526" y="2837550"/>
                  <a:pt x="5876283" y="2837550"/>
                  <a:pt x="5865985" y="2837550"/>
                </a:cubicBezTo>
                <a:cubicBezTo>
                  <a:pt x="5872163" y="2835296"/>
                  <a:pt x="5880403" y="2835296"/>
                  <a:pt x="5884526" y="2830784"/>
                </a:cubicBezTo>
                <a:cubicBezTo>
                  <a:pt x="5887615" y="2826272"/>
                  <a:pt x="5891734" y="2824580"/>
                  <a:pt x="5896370" y="2824298"/>
                </a:cubicBezTo>
                <a:cubicBezTo>
                  <a:pt x="5901004" y="2824016"/>
                  <a:pt x="5906154" y="2825144"/>
                  <a:pt x="5911305" y="2826272"/>
                </a:cubicBezTo>
                <a:cubicBezTo>
                  <a:pt x="5913364" y="2828527"/>
                  <a:pt x="5913364" y="2833038"/>
                  <a:pt x="5911305" y="2833038"/>
                </a:cubicBezTo>
                <a:close/>
                <a:moveTo>
                  <a:pt x="5913364" y="2575868"/>
                </a:moveTo>
                <a:cubicBezTo>
                  <a:pt x="5913364" y="2575868"/>
                  <a:pt x="5911305" y="2578122"/>
                  <a:pt x="5911305" y="2578122"/>
                </a:cubicBezTo>
                <a:cubicBezTo>
                  <a:pt x="5911305" y="2578122"/>
                  <a:pt x="5909244" y="2575868"/>
                  <a:pt x="5909244" y="2575868"/>
                </a:cubicBezTo>
                <a:cubicBezTo>
                  <a:pt x="5909244" y="2575868"/>
                  <a:pt x="5911305" y="2575868"/>
                  <a:pt x="5911305" y="2575868"/>
                </a:cubicBezTo>
                <a:cubicBezTo>
                  <a:pt x="5911305" y="2575868"/>
                  <a:pt x="5913364" y="2575868"/>
                  <a:pt x="5913364" y="2575868"/>
                </a:cubicBezTo>
                <a:close/>
                <a:moveTo>
                  <a:pt x="5915426" y="2751828"/>
                </a:moveTo>
                <a:cubicBezTo>
                  <a:pt x="5901003" y="2754082"/>
                  <a:pt x="5888644" y="2751828"/>
                  <a:pt x="5876283" y="2754082"/>
                </a:cubicBezTo>
                <a:cubicBezTo>
                  <a:pt x="5884523" y="2750699"/>
                  <a:pt x="5890703" y="2749008"/>
                  <a:pt x="5896625" y="2748726"/>
                </a:cubicBezTo>
                <a:cubicBezTo>
                  <a:pt x="5902548" y="2748444"/>
                  <a:pt x="5908214" y="2749572"/>
                  <a:pt x="5915426" y="2751828"/>
                </a:cubicBezTo>
                <a:close/>
                <a:moveTo>
                  <a:pt x="5917483" y="2600682"/>
                </a:moveTo>
                <a:cubicBezTo>
                  <a:pt x="5894824" y="2600682"/>
                  <a:pt x="5872163" y="2602936"/>
                  <a:pt x="5849503" y="2602936"/>
                </a:cubicBezTo>
                <a:cubicBezTo>
                  <a:pt x="5847442" y="2600682"/>
                  <a:pt x="5847442" y="2598424"/>
                  <a:pt x="5845383" y="2596170"/>
                </a:cubicBezTo>
                <a:cubicBezTo>
                  <a:pt x="5855683" y="2596170"/>
                  <a:pt x="5865985" y="2596170"/>
                  <a:pt x="5876283" y="2593913"/>
                </a:cubicBezTo>
                <a:cubicBezTo>
                  <a:pt x="5882465" y="2598424"/>
                  <a:pt x="5888644" y="2596170"/>
                  <a:pt x="5894824" y="2596170"/>
                </a:cubicBezTo>
                <a:cubicBezTo>
                  <a:pt x="5903065" y="2596170"/>
                  <a:pt x="5911305" y="2596170"/>
                  <a:pt x="5917483" y="2600682"/>
                </a:cubicBezTo>
                <a:close/>
                <a:moveTo>
                  <a:pt x="5921604" y="2763106"/>
                </a:moveTo>
                <a:cubicBezTo>
                  <a:pt x="5915426" y="2767618"/>
                  <a:pt x="5907185" y="2769873"/>
                  <a:pt x="5901003" y="2772130"/>
                </a:cubicBezTo>
                <a:cubicBezTo>
                  <a:pt x="5896883" y="2769873"/>
                  <a:pt x="5892763" y="2772130"/>
                  <a:pt x="5888644" y="2772130"/>
                </a:cubicBezTo>
                <a:cubicBezTo>
                  <a:pt x="5880403" y="2772130"/>
                  <a:pt x="5874224" y="2772130"/>
                  <a:pt x="5865985" y="2772130"/>
                </a:cubicBezTo>
                <a:cubicBezTo>
                  <a:pt x="5863926" y="2772130"/>
                  <a:pt x="5859805" y="2772130"/>
                  <a:pt x="5857744" y="2772130"/>
                </a:cubicBezTo>
                <a:cubicBezTo>
                  <a:pt x="5857744" y="2772130"/>
                  <a:pt x="5855683" y="2772130"/>
                  <a:pt x="5855683" y="2772130"/>
                </a:cubicBezTo>
                <a:cubicBezTo>
                  <a:pt x="5851562" y="2772130"/>
                  <a:pt x="5847442" y="2772130"/>
                  <a:pt x="5843324" y="2772130"/>
                </a:cubicBezTo>
                <a:cubicBezTo>
                  <a:pt x="5845383" y="2769873"/>
                  <a:pt x="5847442" y="2767618"/>
                  <a:pt x="5847442" y="2767618"/>
                </a:cubicBezTo>
                <a:cubicBezTo>
                  <a:pt x="5849503" y="2767618"/>
                  <a:pt x="5851562" y="2765364"/>
                  <a:pt x="5853624" y="2765364"/>
                </a:cubicBezTo>
                <a:cubicBezTo>
                  <a:pt x="5851562" y="2765364"/>
                  <a:pt x="5849503" y="2765364"/>
                  <a:pt x="5847442" y="2765364"/>
                </a:cubicBezTo>
                <a:cubicBezTo>
                  <a:pt x="5849503" y="2763106"/>
                  <a:pt x="5851562" y="2760851"/>
                  <a:pt x="5855683" y="2756340"/>
                </a:cubicBezTo>
                <a:cubicBezTo>
                  <a:pt x="5870104" y="2760851"/>
                  <a:pt x="5886585" y="2758594"/>
                  <a:pt x="5903065" y="2765364"/>
                </a:cubicBezTo>
                <a:cubicBezTo>
                  <a:pt x="5903065" y="2765364"/>
                  <a:pt x="5905124" y="2765364"/>
                  <a:pt x="5905124" y="2765364"/>
                </a:cubicBezTo>
                <a:cubicBezTo>
                  <a:pt x="5911305" y="2763106"/>
                  <a:pt x="5915426" y="2763106"/>
                  <a:pt x="5921604" y="2763106"/>
                </a:cubicBezTo>
                <a:close/>
                <a:moveTo>
                  <a:pt x="5923665" y="1700579"/>
                </a:moveTo>
                <a:cubicBezTo>
                  <a:pt x="5921604" y="1700579"/>
                  <a:pt x="5921604" y="1700579"/>
                  <a:pt x="5919542" y="1702834"/>
                </a:cubicBezTo>
                <a:cubicBezTo>
                  <a:pt x="5919542" y="1702834"/>
                  <a:pt x="5917483" y="1702834"/>
                  <a:pt x="5915426" y="1702834"/>
                </a:cubicBezTo>
                <a:cubicBezTo>
                  <a:pt x="5915426" y="1698322"/>
                  <a:pt x="5916454" y="1696631"/>
                  <a:pt x="5917999" y="1696067"/>
                </a:cubicBezTo>
                <a:cubicBezTo>
                  <a:pt x="5919544" y="1695503"/>
                  <a:pt x="5921604" y="1696068"/>
                  <a:pt x="5923665" y="1696068"/>
                </a:cubicBezTo>
                <a:cubicBezTo>
                  <a:pt x="5923665" y="1698322"/>
                  <a:pt x="5923665" y="1698322"/>
                  <a:pt x="5923665" y="1700579"/>
                </a:cubicBezTo>
                <a:close/>
                <a:moveTo>
                  <a:pt x="5936026" y="162056"/>
                </a:moveTo>
                <a:cubicBezTo>
                  <a:pt x="5929844" y="171080"/>
                  <a:pt x="5923665" y="175592"/>
                  <a:pt x="5913364" y="173335"/>
                </a:cubicBezTo>
                <a:cubicBezTo>
                  <a:pt x="5913364" y="171080"/>
                  <a:pt x="5913364" y="168823"/>
                  <a:pt x="5913364" y="168823"/>
                </a:cubicBezTo>
                <a:cubicBezTo>
                  <a:pt x="5921604" y="166568"/>
                  <a:pt x="5925724" y="157544"/>
                  <a:pt x="5936026" y="162056"/>
                </a:cubicBezTo>
                <a:close/>
                <a:moveTo>
                  <a:pt x="5948386" y="2510444"/>
                </a:moveTo>
                <a:cubicBezTo>
                  <a:pt x="5946324" y="2510444"/>
                  <a:pt x="5946324" y="2510444"/>
                  <a:pt x="5944263" y="2512702"/>
                </a:cubicBezTo>
                <a:cubicBezTo>
                  <a:pt x="5936026" y="2517214"/>
                  <a:pt x="5927785" y="2519469"/>
                  <a:pt x="5919542" y="2521726"/>
                </a:cubicBezTo>
                <a:cubicBezTo>
                  <a:pt x="5919542" y="2521726"/>
                  <a:pt x="5919542" y="2521726"/>
                  <a:pt x="5917483" y="2521726"/>
                </a:cubicBezTo>
                <a:cubicBezTo>
                  <a:pt x="5901003" y="2523980"/>
                  <a:pt x="5886585" y="2523980"/>
                  <a:pt x="5870104" y="2526238"/>
                </a:cubicBezTo>
                <a:cubicBezTo>
                  <a:pt x="5870104" y="2526238"/>
                  <a:pt x="5868042" y="2526238"/>
                  <a:pt x="5868042" y="2526238"/>
                </a:cubicBezTo>
                <a:cubicBezTo>
                  <a:pt x="5845383" y="2523980"/>
                  <a:pt x="5824783" y="2526238"/>
                  <a:pt x="5802124" y="2530750"/>
                </a:cubicBezTo>
                <a:cubicBezTo>
                  <a:pt x="5793883" y="2533004"/>
                  <a:pt x="5783582" y="2533004"/>
                  <a:pt x="5777403" y="2537516"/>
                </a:cubicBezTo>
                <a:cubicBezTo>
                  <a:pt x="5762982" y="2539773"/>
                  <a:pt x="5746503" y="2542028"/>
                  <a:pt x="5730023" y="2542028"/>
                </a:cubicBezTo>
                <a:cubicBezTo>
                  <a:pt x="5736203" y="2539773"/>
                  <a:pt x="5742383" y="2535262"/>
                  <a:pt x="5746503" y="2533004"/>
                </a:cubicBezTo>
                <a:cubicBezTo>
                  <a:pt x="5773283" y="2523980"/>
                  <a:pt x="5800062" y="2517214"/>
                  <a:pt x="5828903" y="2519469"/>
                </a:cubicBezTo>
                <a:cubicBezTo>
                  <a:pt x="5833023" y="2519469"/>
                  <a:pt x="5839205" y="2519469"/>
                  <a:pt x="5841263" y="2517214"/>
                </a:cubicBezTo>
                <a:cubicBezTo>
                  <a:pt x="5861864" y="2508190"/>
                  <a:pt x="5882465" y="2510444"/>
                  <a:pt x="5903065" y="2505933"/>
                </a:cubicBezTo>
                <a:cubicBezTo>
                  <a:pt x="5919542" y="2508190"/>
                  <a:pt x="5933965" y="2508190"/>
                  <a:pt x="5948386" y="2510444"/>
                </a:cubicBezTo>
                <a:close/>
                <a:moveTo>
                  <a:pt x="5950445" y="229734"/>
                </a:moveTo>
                <a:cubicBezTo>
                  <a:pt x="5948386" y="229734"/>
                  <a:pt x="5946324" y="229734"/>
                  <a:pt x="5946324" y="227477"/>
                </a:cubicBezTo>
                <a:cubicBezTo>
                  <a:pt x="5946324" y="227477"/>
                  <a:pt x="5948386" y="225222"/>
                  <a:pt x="5948386" y="225222"/>
                </a:cubicBezTo>
                <a:cubicBezTo>
                  <a:pt x="5948386" y="227477"/>
                  <a:pt x="5950445" y="229734"/>
                  <a:pt x="5950445" y="229734"/>
                </a:cubicBezTo>
                <a:close/>
                <a:moveTo>
                  <a:pt x="5950445" y="1761489"/>
                </a:moveTo>
                <a:cubicBezTo>
                  <a:pt x="5948386" y="1763742"/>
                  <a:pt x="5946324" y="1763742"/>
                  <a:pt x="5944263" y="1763742"/>
                </a:cubicBezTo>
                <a:cubicBezTo>
                  <a:pt x="5940143" y="1763742"/>
                  <a:pt x="5936026" y="1763742"/>
                  <a:pt x="5931906" y="1761489"/>
                </a:cubicBezTo>
                <a:cubicBezTo>
                  <a:pt x="5931906" y="1761489"/>
                  <a:pt x="5929844" y="1759231"/>
                  <a:pt x="5929844" y="1759231"/>
                </a:cubicBezTo>
                <a:cubicBezTo>
                  <a:pt x="5938085" y="1759231"/>
                  <a:pt x="5944263" y="1759231"/>
                  <a:pt x="5950445" y="1761489"/>
                </a:cubicBezTo>
                <a:close/>
                <a:moveTo>
                  <a:pt x="5962805" y="2607449"/>
                </a:moveTo>
                <a:cubicBezTo>
                  <a:pt x="5962805" y="2607449"/>
                  <a:pt x="5960744" y="2607449"/>
                  <a:pt x="5960744" y="2609706"/>
                </a:cubicBezTo>
                <a:cubicBezTo>
                  <a:pt x="5954565" y="2611960"/>
                  <a:pt x="5948386" y="2614218"/>
                  <a:pt x="5944263" y="2616472"/>
                </a:cubicBezTo>
                <a:cubicBezTo>
                  <a:pt x="5942204" y="2616472"/>
                  <a:pt x="5942204" y="2616472"/>
                  <a:pt x="5940143" y="2618730"/>
                </a:cubicBezTo>
                <a:cubicBezTo>
                  <a:pt x="5938085" y="2618730"/>
                  <a:pt x="5938085" y="2618730"/>
                  <a:pt x="5936026" y="2618730"/>
                </a:cubicBezTo>
                <a:cubicBezTo>
                  <a:pt x="5936026" y="2618730"/>
                  <a:pt x="5933965" y="2618730"/>
                  <a:pt x="5933965" y="2620984"/>
                </a:cubicBezTo>
                <a:cubicBezTo>
                  <a:pt x="5923665" y="2623242"/>
                  <a:pt x="5911305" y="2623242"/>
                  <a:pt x="5898945" y="2623242"/>
                </a:cubicBezTo>
                <a:cubicBezTo>
                  <a:pt x="5901003" y="2620984"/>
                  <a:pt x="5903065" y="2618730"/>
                  <a:pt x="5905124" y="2616472"/>
                </a:cubicBezTo>
                <a:cubicBezTo>
                  <a:pt x="5909244" y="2614218"/>
                  <a:pt x="5911305" y="2611960"/>
                  <a:pt x="5915426" y="2611960"/>
                </a:cubicBezTo>
                <a:cubicBezTo>
                  <a:pt x="5927785" y="2607449"/>
                  <a:pt x="5938085" y="2607449"/>
                  <a:pt x="5946324" y="2605194"/>
                </a:cubicBezTo>
                <a:cubicBezTo>
                  <a:pt x="5952506" y="2602936"/>
                  <a:pt x="5958685" y="2605194"/>
                  <a:pt x="5962805" y="2607449"/>
                </a:cubicBezTo>
                <a:close/>
                <a:moveTo>
                  <a:pt x="5964863" y="2781153"/>
                </a:moveTo>
                <a:cubicBezTo>
                  <a:pt x="5958685" y="2781153"/>
                  <a:pt x="5958685" y="2781153"/>
                  <a:pt x="5956626" y="2785666"/>
                </a:cubicBezTo>
                <a:cubicBezTo>
                  <a:pt x="5960744" y="2785666"/>
                  <a:pt x="5962805" y="2783408"/>
                  <a:pt x="5964863" y="2781153"/>
                </a:cubicBezTo>
                <a:close/>
                <a:moveTo>
                  <a:pt x="5973104" y="2693174"/>
                </a:moveTo>
                <a:cubicBezTo>
                  <a:pt x="5968983" y="2695429"/>
                  <a:pt x="5964863" y="2697686"/>
                  <a:pt x="5962805" y="2699940"/>
                </a:cubicBezTo>
                <a:cubicBezTo>
                  <a:pt x="5946324" y="2702198"/>
                  <a:pt x="5929844" y="2702198"/>
                  <a:pt x="5911305" y="2702198"/>
                </a:cubicBezTo>
                <a:cubicBezTo>
                  <a:pt x="5913364" y="2699940"/>
                  <a:pt x="5915426" y="2699940"/>
                  <a:pt x="5917483" y="2697686"/>
                </a:cubicBezTo>
                <a:cubicBezTo>
                  <a:pt x="5896883" y="2690916"/>
                  <a:pt x="5878344" y="2690916"/>
                  <a:pt x="5863926" y="2708964"/>
                </a:cubicBezTo>
                <a:lnTo>
                  <a:pt x="5853863" y="2704557"/>
                </a:lnTo>
                <a:lnTo>
                  <a:pt x="5854138" y="2707272"/>
                </a:lnTo>
                <a:cubicBezTo>
                  <a:pt x="5854137" y="2708400"/>
                  <a:pt x="5853622" y="2708964"/>
                  <a:pt x="5851562" y="2708964"/>
                </a:cubicBezTo>
                <a:cubicBezTo>
                  <a:pt x="5845383" y="2711222"/>
                  <a:pt x="5839205" y="2711222"/>
                  <a:pt x="5833023" y="2713476"/>
                </a:cubicBezTo>
                <a:cubicBezTo>
                  <a:pt x="5824783" y="2713476"/>
                  <a:pt x="5816542" y="2713476"/>
                  <a:pt x="5806244" y="2713476"/>
                </a:cubicBezTo>
                <a:cubicBezTo>
                  <a:pt x="5812423" y="2711222"/>
                  <a:pt x="5820663" y="2711222"/>
                  <a:pt x="5824783" y="2706709"/>
                </a:cubicBezTo>
                <a:cubicBezTo>
                  <a:pt x="5829934" y="2703326"/>
                  <a:pt x="5834569" y="2701633"/>
                  <a:pt x="5839205" y="2701070"/>
                </a:cubicBezTo>
                <a:lnTo>
                  <a:pt x="5850334" y="2701940"/>
                </a:lnTo>
                <a:lnTo>
                  <a:pt x="5847701" y="2696558"/>
                </a:lnTo>
                <a:cubicBezTo>
                  <a:pt x="5845899" y="2694866"/>
                  <a:pt x="5843323" y="2694301"/>
                  <a:pt x="5839205" y="2695429"/>
                </a:cubicBezTo>
                <a:cubicBezTo>
                  <a:pt x="5822724" y="2697686"/>
                  <a:pt x="5806244" y="2697686"/>
                  <a:pt x="5791825" y="2702198"/>
                </a:cubicBezTo>
                <a:cubicBezTo>
                  <a:pt x="5787703" y="2704452"/>
                  <a:pt x="5781523" y="2704452"/>
                  <a:pt x="5777403" y="2706709"/>
                </a:cubicBezTo>
                <a:cubicBezTo>
                  <a:pt x="5775342" y="2706709"/>
                  <a:pt x="5771224" y="2706709"/>
                  <a:pt x="5769163" y="2706709"/>
                </a:cubicBezTo>
                <a:cubicBezTo>
                  <a:pt x="5767105" y="2704452"/>
                  <a:pt x="5765043" y="2702198"/>
                  <a:pt x="5762982" y="2702198"/>
                </a:cubicBezTo>
                <a:cubicBezTo>
                  <a:pt x="5769163" y="2699940"/>
                  <a:pt x="5777403" y="2699940"/>
                  <a:pt x="5781523" y="2693174"/>
                </a:cubicBezTo>
                <a:cubicBezTo>
                  <a:pt x="5781523" y="2693174"/>
                  <a:pt x="5781523" y="2693174"/>
                  <a:pt x="5783582" y="2690916"/>
                </a:cubicBezTo>
                <a:cubicBezTo>
                  <a:pt x="5800062" y="2693174"/>
                  <a:pt x="5816542" y="2695429"/>
                  <a:pt x="5833023" y="2690916"/>
                </a:cubicBezTo>
                <a:cubicBezTo>
                  <a:pt x="5835085" y="2690916"/>
                  <a:pt x="5837144" y="2690916"/>
                  <a:pt x="5841263" y="2690916"/>
                </a:cubicBezTo>
                <a:cubicBezTo>
                  <a:pt x="5851562" y="2693174"/>
                  <a:pt x="5859805" y="2688662"/>
                  <a:pt x="5863926" y="2679638"/>
                </a:cubicBezTo>
                <a:cubicBezTo>
                  <a:pt x="5870104" y="2686404"/>
                  <a:pt x="5878344" y="2686404"/>
                  <a:pt x="5886585" y="2686404"/>
                </a:cubicBezTo>
                <a:cubicBezTo>
                  <a:pt x="5888644" y="2684150"/>
                  <a:pt x="5888644" y="2681893"/>
                  <a:pt x="5890705" y="2681893"/>
                </a:cubicBezTo>
                <a:cubicBezTo>
                  <a:pt x="5892763" y="2679638"/>
                  <a:pt x="5896883" y="2679638"/>
                  <a:pt x="5898945" y="2677384"/>
                </a:cubicBezTo>
                <a:cubicBezTo>
                  <a:pt x="5903065" y="2675127"/>
                  <a:pt x="5907185" y="2675127"/>
                  <a:pt x="5911305" y="2675127"/>
                </a:cubicBezTo>
                <a:cubicBezTo>
                  <a:pt x="5911305" y="2675127"/>
                  <a:pt x="5913364" y="2675127"/>
                  <a:pt x="5913364" y="2675127"/>
                </a:cubicBezTo>
                <a:cubicBezTo>
                  <a:pt x="5917483" y="2675127"/>
                  <a:pt x="5921604" y="2675127"/>
                  <a:pt x="5925724" y="2675127"/>
                </a:cubicBezTo>
                <a:cubicBezTo>
                  <a:pt x="5925724" y="2677384"/>
                  <a:pt x="5927785" y="2677384"/>
                  <a:pt x="5927785" y="2679638"/>
                </a:cubicBezTo>
                <a:cubicBezTo>
                  <a:pt x="5929844" y="2684150"/>
                  <a:pt x="5931906" y="2684150"/>
                  <a:pt x="5936026" y="2684150"/>
                </a:cubicBezTo>
                <a:cubicBezTo>
                  <a:pt x="5938085" y="2684150"/>
                  <a:pt x="5940143" y="2684150"/>
                  <a:pt x="5942204" y="2681893"/>
                </a:cubicBezTo>
                <a:cubicBezTo>
                  <a:pt x="5940143" y="2684150"/>
                  <a:pt x="5938085" y="2688662"/>
                  <a:pt x="5936026" y="2693174"/>
                </a:cubicBezTo>
                <a:cubicBezTo>
                  <a:pt x="5946324" y="2697686"/>
                  <a:pt x="5958685" y="2681893"/>
                  <a:pt x="5973104" y="2693174"/>
                </a:cubicBezTo>
                <a:close/>
                <a:moveTo>
                  <a:pt x="5983406" y="155287"/>
                </a:moveTo>
                <a:cubicBezTo>
                  <a:pt x="5979285" y="159799"/>
                  <a:pt x="5975165" y="164310"/>
                  <a:pt x="5968983" y="162056"/>
                </a:cubicBezTo>
                <a:cubicBezTo>
                  <a:pt x="5964863" y="168823"/>
                  <a:pt x="5960744" y="175592"/>
                  <a:pt x="5956626" y="182358"/>
                </a:cubicBezTo>
                <a:cubicBezTo>
                  <a:pt x="5956626" y="186870"/>
                  <a:pt x="5958685" y="186870"/>
                  <a:pt x="5962805" y="189127"/>
                </a:cubicBezTo>
                <a:cubicBezTo>
                  <a:pt x="5956626" y="193639"/>
                  <a:pt x="5950445" y="198150"/>
                  <a:pt x="5948386" y="202663"/>
                </a:cubicBezTo>
                <a:cubicBezTo>
                  <a:pt x="5946324" y="207175"/>
                  <a:pt x="5944263" y="209429"/>
                  <a:pt x="5940143" y="211686"/>
                </a:cubicBezTo>
                <a:cubicBezTo>
                  <a:pt x="5940143" y="209429"/>
                  <a:pt x="5938085" y="207175"/>
                  <a:pt x="5938085" y="204917"/>
                </a:cubicBezTo>
                <a:cubicBezTo>
                  <a:pt x="5940143" y="202663"/>
                  <a:pt x="5942204" y="198150"/>
                  <a:pt x="5940143" y="191382"/>
                </a:cubicBezTo>
                <a:cubicBezTo>
                  <a:pt x="5938085" y="193639"/>
                  <a:pt x="5936026" y="195894"/>
                  <a:pt x="5933965" y="198150"/>
                </a:cubicBezTo>
                <a:cubicBezTo>
                  <a:pt x="5931906" y="193639"/>
                  <a:pt x="5929844" y="191382"/>
                  <a:pt x="5925724" y="186870"/>
                </a:cubicBezTo>
                <a:cubicBezTo>
                  <a:pt x="5931906" y="173335"/>
                  <a:pt x="5942204" y="164310"/>
                  <a:pt x="5954565" y="159799"/>
                </a:cubicBezTo>
                <a:cubicBezTo>
                  <a:pt x="5948386" y="159799"/>
                  <a:pt x="5942204" y="159799"/>
                  <a:pt x="5938085" y="159799"/>
                </a:cubicBezTo>
                <a:cubicBezTo>
                  <a:pt x="5942204" y="155287"/>
                  <a:pt x="5946324" y="150778"/>
                  <a:pt x="5950445" y="146263"/>
                </a:cubicBezTo>
                <a:cubicBezTo>
                  <a:pt x="5948386" y="144008"/>
                  <a:pt x="5944263" y="141751"/>
                  <a:pt x="5942204" y="139497"/>
                </a:cubicBezTo>
                <a:cubicBezTo>
                  <a:pt x="5944263" y="137242"/>
                  <a:pt x="5946324" y="134985"/>
                  <a:pt x="5946324" y="128218"/>
                </a:cubicBezTo>
                <a:cubicBezTo>
                  <a:pt x="5944263" y="132727"/>
                  <a:pt x="5942204" y="134985"/>
                  <a:pt x="5940143" y="137242"/>
                </a:cubicBezTo>
                <a:cubicBezTo>
                  <a:pt x="5936026" y="137242"/>
                  <a:pt x="5933965" y="134985"/>
                  <a:pt x="5929844" y="134985"/>
                </a:cubicBezTo>
                <a:cubicBezTo>
                  <a:pt x="5927785" y="137242"/>
                  <a:pt x="5927785" y="139497"/>
                  <a:pt x="5925724" y="141751"/>
                </a:cubicBezTo>
                <a:cubicBezTo>
                  <a:pt x="5923665" y="141751"/>
                  <a:pt x="5921604" y="139497"/>
                  <a:pt x="5919542" y="139497"/>
                </a:cubicBezTo>
                <a:cubicBezTo>
                  <a:pt x="5919542" y="141751"/>
                  <a:pt x="5917483" y="144008"/>
                  <a:pt x="5917483" y="146263"/>
                </a:cubicBezTo>
                <a:cubicBezTo>
                  <a:pt x="5915426" y="144008"/>
                  <a:pt x="5915426" y="141751"/>
                  <a:pt x="5915426" y="139497"/>
                </a:cubicBezTo>
                <a:cubicBezTo>
                  <a:pt x="5917483" y="137242"/>
                  <a:pt x="5919542" y="132727"/>
                  <a:pt x="5919542" y="130472"/>
                </a:cubicBezTo>
                <a:cubicBezTo>
                  <a:pt x="5929844" y="123706"/>
                  <a:pt x="5942204" y="116938"/>
                  <a:pt x="5952506" y="110172"/>
                </a:cubicBezTo>
                <a:cubicBezTo>
                  <a:pt x="5954565" y="114683"/>
                  <a:pt x="5954565" y="116938"/>
                  <a:pt x="5952506" y="121449"/>
                </a:cubicBezTo>
                <a:cubicBezTo>
                  <a:pt x="5950445" y="123706"/>
                  <a:pt x="5952506" y="128218"/>
                  <a:pt x="5954565" y="130472"/>
                </a:cubicBezTo>
                <a:cubicBezTo>
                  <a:pt x="5956626" y="132727"/>
                  <a:pt x="5958685" y="134985"/>
                  <a:pt x="5962805" y="137242"/>
                </a:cubicBezTo>
                <a:cubicBezTo>
                  <a:pt x="5960744" y="144008"/>
                  <a:pt x="5960744" y="150778"/>
                  <a:pt x="5958685" y="157544"/>
                </a:cubicBezTo>
                <a:cubicBezTo>
                  <a:pt x="5966925" y="155287"/>
                  <a:pt x="5975165" y="155287"/>
                  <a:pt x="5983406" y="155287"/>
                </a:cubicBezTo>
                <a:close/>
                <a:moveTo>
                  <a:pt x="5987526" y="2738292"/>
                </a:moveTo>
                <a:cubicBezTo>
                  <a:pt x="5977226" y="2742804"/>
                  <a:pt x="5964863" y="2745058"/>
                  <a:pt x="5954565" y="2747316"/>
                </a:cubicBezTo>
                <a:cubicBezTo>
                  <a:pt x="5958685" y="2742804"/>
                  <a:pt x="5962805" y="2738292"/>
                  <a:pt x="5966925" y="2733780"/>
                </a:cubicBezTo>
                <a:cubicBezTo>
                  <a:pt x="5971045" y="2733780"/>
                  <a:pt x="5975165" y="2733780"/>
                  <a:pt x="5977226" y="2736036"/>
                </a:cubicBezTo>
                <a:cubicBezTo>
                  <a:pt x="5981344" y="2736036"/>
                  <a:pt x="5983406" y="2738292"/>
                  <a:pt x="5987526" y="2738292"/>
                </a:cubicBezTo>
                <a:close/>
                <a:moveTo>
                  <a:pt x="5991645" y="2591658"/>
                </a:moveTo>
                <a:cubicBezTo>
                  <a:pt x="5987526" y="2593913"/>
                  <a:pt x="5983406" y="2596170"/>
                  <a:pt x="5979285" y="2598424"/>
                </a:cubicBezTo>
                <a:cubicBezTo>
                  <a:pt x="5979285" y="2598424"/>
                  <a:pt x="5979285" y="2598424"/>
                  <a:pt x="5977226" y="2598424"/>
                </a:cubicBezTo>
                <a:cubicBezTo>
                  <a:pt x="5975165" y="2598424"/>
                  <a:pt x="5975165" y="2596170"/>
                  <a:pt x="5971045" y="2596170"/>
                </a:cubicBezTo>
                <a:cubicBezTo>
                  <a:pt x="5977226" y="2593913"/>
                  <a:pt x="5977226" y="2591658"/>
                  <a:pt x="5979285" y="2591658"/>
                </a:cubicBezTo>
                <a:cubicBezTo>
                  <a:pt x="5983406" y="2591658"/>
                  <a:pt x="5987526" y="2591658"/>
                  <a:pt x="5991645" y="2591658"/>
                </a:cubicBezTo>
                <a:close/>
                <a:moveTo>
                  <a:pt x="6006065" y="209429"/>
                </a:moveTo>
                <a:cubicBezTo>
                  <a:pt x="6004006" y="211686"/>
                  <a:pt x="6004006" y="216198"/>
                  <a:pt x="6001945" y="218452"/>
                </a:cubicBezTo>
                <a:cubicBezTo>
                  <a:pt x="5999886" y="222965"/>
                  <a:pt x="5999886" y="227477"/>
                  <a:pt x="5999886" y="229734"/>
                </a:cubicBezTo>
                <a:cubicBezTo>
                  <a:pt x="5995765" y="229734"/>
                  <a:pt x="5993704" y="231988"/>
                  <a:pt x="5991645" y="231988"/>
                </a:cubicBezTo>
                <a:cubicBezTo>
                  <a:pt x="5989584" y="229734"/>
                  <a:pt x="5989584" y="227477"/>
                  <a:pt x="5987526" y="225222"/>
                </a:cubicBezTo>
                <a:cubicBezTo>
                  <a:pt x="5983406" y="234243"/>
                  <a:pt x="5975165" y="236500"/>
                  <a:pt x="5968983" y="243267"/>
                </a:cubicBezTo>
                <a:cubicBezTo>
                  <a:pt x="5966925" y="243267"/>
                  <a:pt x="5966925" y="243267"/>
                  <a:pt x="5964863" y="241013"/>
                </a:cubicBezTo>
                <a:cubicBezTo>
                  <a:pt x="5964863" y="241013"/>
                  <a:pt x="5966925" y="238758"/>
                  <a:pt x="5966925" y="238758"/>
                </a:cubicBezTo>
                <a:cubicBezTo>
                  <a:pt x="5973104" y="231988"/>
                  <a:pt x="5981344" y="227477"/>
                  <a:pt x="5987526" y="222965"/>
                </a:cubicBezTo>
                <a:cubicBezTo>
                  <a:pt x="5991645" y="220707"/>
                  <a:pt x="5995765" y="216198"/>
                  <a:pt x="5999886" y="213941"/>
                </a:cubicBezTo>
                <a:cubicBezTo>
                  <a:pt x="5999886" y="213941"/>
                  <a:pt x="5999886" y="211686"/>
                  <a:pt x="5997824" y="211686"/>
                </a:cubicBezTo>
                <a:cubicBezTo>
                  <a:pt x="5999886" y="209429"/>
                  <a:pt x="6001945" y="207175"/>
                  <a:pt x="6006065" y="209429"/>
                </a:cubicBezTo>
                <a:close/>
                <a:moveTo>
                  <a:pt x="6008126" y="2772130"/>
                </a:moveTo>
                <a:cubicBezTo>
                  <a:pt x="6004006" y="2772130"/>
                  <a:pt x="5999886" y="2774387"/>
                  <a:pt x="5995765" y="2774387"/>
                </a:cubicBezTo>
                <a:cubicBezTo>
                  <a:pt x="5997824" y="2774387"/>
                  <a:pt x="6001945" y="2774387"/>
                  <a:pt x="6006065" y="2774387"/>
                </a:cubicBezTo>
                <a:cubicBezTo>
                  <a:pt x="6008126" y="2772130"/>
                  <a:pt x="6008126" y="2772130"/>
                  <a:pt x="6008126" y="2772130"/>
                </a:cubicBezTo>
                <a:close/>
                <a:moveTo>
                  <a:pt x="6010185" y="2345767"/>
                </a:moveTo>
                <a:cubicBezTo>
                  <a:pt x="6004006" y="2348022"/>
                  <a:pt x="5999886" y="2350278"/>
                  <a:pt x="5993704" y="2345767"/>
                </a:cubicBezTo>
                <a:cubicBezTo>
                  <a:pt x="5993704" y="2345767"/>
                  <a:pt x="5995765" y="2345767"/>
                  <a:pt x="5997824" y="2345767"/>
                </a:cubicBezTo>
                <a:cubicBezTo>
                  <a:pt x="5997824" y="2345767"/>
                  <a:pt x="5999886" y="2345767"/>
                  <a:pt x="5999886" y="2345767"/>
                </a:cubicBezTo>
                <a:cubicBezTo>
                  <a:pt x="6004006" y="2345767"/>
                  <a:pt x="6006065" y="2345767"/>
                  <a:pt x="6010185" y="2345767"/>
                </a:cubicBezTo>
                <a:close/>
                <a:moveTo>
                  <a:pt x="6010185" y="2672869"/>
                </a:moveTo>
                <a:cubicBezTo>
                  <a:pt x="6006065" y="2675127"/>
                  <a:pt x="5999886" y="2679638"/>
                  <a:pt x="5995765" y="2681893"/>
                </a:cubicBezTo>
                <a:cubicBezTo>
                  <a:pt x="5987526" y="2672869"/>
                  <a:pt x="5979285" y="2668358"/>
                  <a:pt x="5966925" y="2672869"/>
                </a:cubicBezTo>
                <a:cubicBezTo>
                  <a:pt x="5954565" y="2675127"/>
                  <a:pt x="5950445" y="2677384"/>
                  <a:pt x="5946324" y="2679638"/>
                </a:cubicBezTo>
                <a:cubicBezTo>
                  <a:pt x="5944263" y="2677384"/>
                  <a:pt x="5942204" y="2677384"/>
                  <a:pt x="5940143" y="2675127"/>
                </a:cubicBezTo>
                <a:cubicBezTo>
                  <a:pt x="5944263" y="2668358"/>
                  <a:pt x="5946324" y="2663848"/>
                  <a:pt x="5954565" y="2663848"/>
                </a:cubicBezTo>
                <a:cubicBezTo>
                  <a:pt x="5958685" y="2663848"/>
                  <a:pt x="5964863" y="2661591"/>
                  <a:pt x="5968983" y="2661591"/>
                </a:cubicBezTo>
                <a:cubicBezTo>
                  <a:pt x="5975165" y="2663848"/>
                  <a:pt x="5981344" y="2663848"/>
                  <a:pt x="5985465" y="2663848"/>
                </a:cubicBezTo>
                <a:cubicBezTo>
                  <a:pt x="5985465" y="2663848"/>
                  <a:pt x="5983406" y="2663848"/>
                  <a:pt x="5983406" y="2666102"/>
                </a:cubicBezTo>
                <a:cubicBezTo>
                  <a:pt x="5985465" y="2666102"/>
                  <a:pt x="5987526" y="2666102"/>
                  <a:pt x="5991645" y="2666102"/>
                </a:cubicBezTo>
                <a:cubicBezTo>
                  <a:pt x="5993704" y="2666102"/>
                  <a:pt x="5995765" y="2668358"/>
                  <a:pt x="5997824" y="2668358"/>
                </a:cubicBezTo>
                <a:cubicBezTo>
                  <a:pt x="6001945" y="2670614"/>
                  <a:pt x="6006065" y="2670614"/>
                  <a:pt x="6010185" y="2672869"/>
                </a:cubicBezTo>
                <a:close/>
                <a:moveTo>
                  <a:pt x="6014304" y="2756340"/>
                </a:moveTo>
                <a:cubicBezTo>
                  <a:pt x="5993704" y="2760851"/>
                  <a:pt x="5971045" y="2765364"/>
                  <a:pt x="5948386" y="2769873"/>
                </a:cubicBezTo>
                <a:cubicBezTo>
                  <a:pt x="5950445" y="2767618"/>
                  <a:pt x="5952506" y="2765364"/>
                  <a:pt x="5952506" y="2765364"/>
                </a:cubicBezTo>
                <a:cubicBezTo>
                  <a:pt x="5954565" y="2765364"/>
                  <a:pt x="5954565" y="2765364"/>
                  <a:pt x="5956626" y="2765364"/>
                </a:cubicBezTo>
                <a:cubicBezTo>
                  <a:pt x="5960744" y="2765364"/>
                  <a:pt x="5966925" y="2765364"/>
                  <a:pt x="5973104" y="2763106"/>
                </a:cubicBezTo>
                <a:cubicBezTo>
                  <a:pt x="5973104" y="2763106"/>
                  <a:pt x="5973104" y="2763106"/>
                  <a:pt x="5971045" y="2763106"/>
                </a:cubicBezTo>
                <a:cubicBezTo>
                  <a:pt x="5981344" y="2760851"/>
                  <a:pt x="5989584" y="2758594"/>
                  <a:pt x="5999886" y="2756340"/>
                </a:cubicBezTo>
                <a:cubicBezTo>
                  <a:pt x="6004006" y="2756340"/>
                  <a:pt x="6010185" y="2756340"/>
                  <a:pt x="6014304" y="2756340"/>
                </a:cubicBezTo>
                <a:close/>
                <a:moveTo>
                  <a:pt x="6014564" y="251447"/>
                </a:moveTo>
                <a:cubicBezTo>
                  <a:pt x="6015336" y="249473"/>
                  <a:pt x="6014305" y="246653"/>
                  <a:pt x="6012244" y="241013"/>
                </a:cubicBezTo>
                <a:lnTo>
                  <a:pt x="5998154" y="246155"/>
                </a:lnTo>
                <a:lnTo>
                  <a:pt x="5999574" y="258581"/>
                </a:lnTo>
                <a:lnTo>
                  <a:pt x="6006065" y="256802"/>
                </a:lnTo>
                <a:cubicBezTo>
                  <a:pt x="6011216" y="254547"/>
                  <a:pt x="6013791" y="253420"/>
                  <a:pt x="6014564" y="251447"/>
                </a:cubicBezTo>
                <a:close/>
                <a:moveTo>
                  <a:pt x="6020486" y="184616"/>
                </a:moveTo>
                <a:cubicBezTo>
                  <a:pt x="6020486" y="186870"/>
                  <a:pt x="6018425" y="186870"/>
                  <a:pt x="6014304" y="186870"/>
                </a:cubicBezTo>
                <a:cubicBezTo>
                  <a:pt x="6014304" y="186870"/>
                  <a:pt x="6014304" y="184616"/>
                  <a:pt x="6014304" y="184616"/>
                </a:cubicBezTo>
                <a:cubicBezTo>
                  <a:pt x="6016367" y="184616"/>
                  <a:pt x="6018425" y="184616"/>
                  <a:pt x="6020486" y="184616"/>
                </a:cubicBezTo>
                <a:close/>
                <a:moveTo>
                  <a:pt x="6032654" y="219684"/>
                </a:moveTo>
                <a:lnTo>
                  <a:pt x="6030785" y="220707"/>
                </a:lnTo>
                <a:cubicBezTo>
                  <a:pt x="6030785" y="220707"/>
                  <a:pt x="6030785" y="222965"/>
                  <a:pt x="6030785" y="222965"/>
                </a:cubicBezTo>
                <a:cubicBezTo>
                  <a:pt x="6028726" y="225222"/>
                  <a:pt x="6026665" y="227477"/>
                  <a:pt x="6024606" y="229734"/>
                </a:cubicBezTo>
                <a:lnTo>
                  <a:pt x="6021859" y="223716"/>
                </a:lnTo>
                <a:lnTo>
                  <a:pt x="6020486" y="225222"/>
                </a:lnTo>
                <a:cubicBezTo>
                  <a:pt x="6018425" y="229734"/>
                  <a:pt x="6014304" y="236500"/>
                  <a:pt x="6012244" y="241013"/>
                </a:cubicBezTo>
                <a:cubicBezTo>
                  <a:pt x="6019454" y="237628"/>
                  <a:pt x="6024090" y="233680"/>
                  <a:pt x="6027695" y="228887"/>
                </a:cubicBezTo>
                <a:close/>
                <a:moveTo>
                  <a:pt x="6032844" y="1804350"/>
                </a:moveTo>
                <a:cubicBezTo>
                  <a:pt x="6034906" y="1808862"/>
                  <a:pt x="6032844" y="1811116"/>
                  <a:pt x="6030785" y="1813373"/>
                </a:cubicBezTo>
                <a:cubicBezTo>
                  <a:pt x="6030785" y="1811116"/>
                  <a:pt x="6028726" y="1806607"/>
                  <a:pt x="6032844" y="1804350"/>
                </a:cubicBezTo>
                <a:close/>
                <a:moveTo>
                  <a:pt x="6043145" y="213941"/>
                </a:moveTo>
                <a:cubicBezTo>
                  <a:pt x="6043145" y="213941"/>
                  <a:pt x="6043145" y="211686"/>
                  <a:pt x="6043145" y="211686"/>
                </a:cubicBezTo>
                <a:lnTo>
                  <a:pt x="6036965" y="211686"/>
                </a:lnTo>
                <a:lnTo>
                  <a:pt x="6032654" y="219684"/>
                </a:lnTo>
                <a:close/>
                <a:moveTo>
                  <a:pt x="6054685" y="96520"/>
                </a:moveTo>
                <a:lnTo>
                  <a:pt x="6051386" y="99455"/>
                </a:lnTo>
                <a:cubicBezTo>
                  <a:pt x="6047781" y="101711"/>
                  <a:pt x="6044176" y="104531"/>
                  <a:pt x="6043145" y="110172"/>
                </a:cubicBezTo>
                <a:cubicBezTo>
                  <a:pt x="6041087" y="107914"/>
                  <a:pt x="6039026" y="107914"/>
                  <a:pt x="6036965" y="107914"/>
                </a:cubicBezTo>
                <a:lnTo>
                  <a:pt x="6029662" y="125244"/>
                </a:lnTo>
                <a:lnTo>
                  <a:pt x="6030785" y="123706"/>
                </a:lnTo>
                <a:cubicBezTo>
                  <a:pt x="6030785" y="125961"/>
                  <a:pt x="6032844" y="125961"/>
                  <a:pt x="6032844" y="125961"/>
                </a:cubicBezTo>
                <a:cubicBezTo>
                  <a:pt x="6032844" y="125961"/>
                  <a:pt x="6032844" y="128218"/>
                  <a:pt x="6032844" y="128218"/>
                </a:cubicBezTo>
                <a:cubicBezTo>
                  <a:pt x="6032844" y="130472"/>
                  <a:pt x="6032844" y="130472"/>
                  <a:pt x="6030785" y="134985"/>
                </a:cubicBezTo>
                <a:cubicBezTo>
                  <a:pt x="6041087" y="128218"/>
                  <a:pt x="6049327" y="125961"/>
                  <a:pt x="6049327" y="114683"/>
                </a:cubicBezTo>
                <a:close/>
                <a:moveTo>
                  <a:pt x="6055506" y="277108"/>
                </a:moveTo>
                <a:cubicBezTo>
                  <a:pt x="6055506" y="277108"/>
                  <a:pt x="6055506" y="274849"/>
                  <a:pt x="6053445" y="274849"/>
                </a:cubicBezTo>
                <a:cubicBezTo>
                  <a:pt x="6051386" y="277108"/>
                  <a:pt x="6049327" y="277108"/>
                  <a:pt x="6047265" y="279362"/>
                </a:cubicBezTo>
                <a:cubicBezTo>
                  <a:pt x="6047265" y="279362"/>
                  <a:pt x="6047265" y="281619"/>
                  <a:pt x="6049327" y="281619"/>
                </a:cubicBezTo>
                <a:cubicBezTo>
                  <a:pt x="6051386" y="279362"/>
                  <a:pt x="6053445" y="279362"/>
                  <a:pt x="6055506" y="277108"/>
                </a:cubicBezTo>
                <a:close/>
                <a:moveTo>
                  <a:pt x="6055506" y="1556200"/>
                </a:moveTo>
                <a:cubicBezTo>
                  <a:pt x="6053445" y="1556200"/>
                  <a:pt x="6051386" y="1556200"/>
                  <a:pt x="6051386" y="1556200"/>
                </a:cubicBezTo>
                <a:cubicBezTo>
                  <a:pt x="6051386" y="1558457"/>
                  <a:pt x="6051386" y="1558457"/>
                  <a:pt x="6051386" y="1560712"/>
                </a:cubicBezTo>
                <a:cubicBezTo>
                  <a:pt x="6053445" y="1560712"/>
                  <a:pt x="6055506" y="1565224"/>
                  <a:pt x="6055506" y="1556200"/>
                </a:cubicBezTo>
                <a:close/>
                <a:moveTo>
                  <a:pt x="6061685" y="2724756"/>
                </a:moveTo>
                <a:cubicBezTo>
                  <a:pt x="6057565" y="2724756"/>
                  <a:pt x="6055506" y="2724756"/>
                  <a:pt x="6051386" y="2727011"/>
                </a:cubicBezTo>
                <a:cubicBezTo>
                  <a:pt x="6051386" y="2727011"/>
                  <a:pt x="6049327" y="2724756"/>
                  <a:pt x="6049327" y="2724756"/>
                </a:cubicBezTo>
                <a:cubicBezTo>
                  <a:pt x="6053445" y="2722500"/>
                  <a:pt x="6057565" y="2722500"/>
                  <a:pt x="6061685" y="2724756"/>
                </a:cubicBezTo>
                <a:close/>
                <a:moveTo>
                  <a:pt x="6092586" y="1984820"/>
                </a:moveTo>
                <a:cubicBezTo>
                  <a:pt x="6088467" y="1984820"/>
                  <a:pt x="6086406" y="1984820"/>
                  <a:pt x="6082285" y="1984820"/>
                </a:cubicBezTo>
                <a:cubicBezTo>
                  <a:pt x="6086406" y="1984820"/>
                  <a:pt x="6088467" y="1982566"/>
                  <a:pt x="6090525" y="1980309"/>
                </a:cubicBezTo>
                <a:cubicBezTo>
                  <a:pt x="6092586" y="1982566"/>
                  <a:pt x="6092586" y="1982566"/>
                  <a:pt x="6092586" y="1984820"/>
                </a:cubicBezTo>
                <a:close/>
                <a:moveTo>
                  <a:pt x="6092586" y="2729269"/>
                </a:moveTo>
                <a:cubicBezTo>
                  <a:pt x="6092586" y="2729269"/>
                  <a:pt x="6092586" y="2727011"/>
                  <a:pt x="6092586" y="2727011"/>
                </a:cubicBezTo>
                <a:cubicBezTo>
                  <a:pt x="6090525" y="2727011"/>
                  <a:pt x="6090525" y="2727011"/>
                  <a:pt x="6088467" y="2727011"/>
                </a:cubicBezTo>
                <a:cubicBezTo>
                  <a:pt x="6090525" y="2727011"/>
                  <a:pt x="6090525" y="2729269"/>
                  <a:pt x="6092586" y="2729269"/>
                </a:cubicBezTo>
                <a:close/>
                <a:moveTo>
                  <a:pt x="6107006" y="128218"/>
                </a:moveTo>
                <a:cubicBezTo>
                  <a:pt x="6107006" y="128218"/>
                  <a:pt x="6104945" y="125961"/>
                  <a:pt x="6104945" y="125961"/>
                </a:cubicBezTo>
                <a:cubicBezTo>
                  <a:pt x="6102886" y="128218"/>
                  <a:pt x="6098765" y="130472"/>
                  <a:pt x="6096706" y="132727"/>
                </a:cubicBezTo>
                <a:cubicBezTo>
                  <a:pt x="6096706" y="134985"/>
                  <a:pt x="6098765" y="134985"/>
                  <a:pt x="6098765" y="137242"/>
                </a:cubicBezTo>
                <a:cubicBezTo>
                  <a:pt x="6100827" y="134985"/>
                  <a:pt x="6102886" y="132727"/>
                  <a:pt x="6107006" y="128218"/>
                </a:cubicBezTo>
                <a:close/>
                <a:moveTo>
                  <a:pt x="6115245" y="2833038"/>
                </a:moveTo>
                <a:cubicBezTo>
                  <a:pt x="6113187" y="2830784"/>
                  <a:pt x="6113187" y="2830784"/>
                  <a:pt x="6111126" y="2830784"/>
                </a:cubicBezTo>
                <a:cubicBezTo>
                  <a:pt x="6109067" y="2830784"/>
                  <a:pt x="6109067" y="2833038"/>
                  <a:pt x="6109067" y="2833038"/>
                </a:cubicBezTo>
                <a:cubicBezTo>
                  <a:pt x="6111126" y="2833038"/>
                  <a:pt x="6111126" y="2835296"/>
                  <a:pt x="6113187" y="2835296"/>
                </a:cubicBezTo>
                <a:cubicBezTo>
                  <a:pt x="6113187" y="2835296"/>
                  <a:pt x="6113187" y="2835296"/>
                  <a:pt x="6115245" y="2833038"/>
                </a:cubicBezTo>
                <a:close/>
                <a:moveTo>
                  <a:pt x="6121427" y="89866"/>
                </a:moveTo>
                <a:cubicBezTo>
                  <a:pt x="6116276" y="88740"/>
                  <a:pt x="6112671" y="89867"/>
                  <a:pt x="6110096" y="92404"/>
                </a:cubicBezTo>
                <a:lnTo>
                  <a:pt x="6107739" y="97436"/>
                </a:lnTo>
                <a:lnTo>
                  <a:pt x="6113187" y="103402"/>
                </a:lnTo>
                <a:lnTo>
                  <a:pt x="6114642" y="102871"/>
                </a:lnTo>
                <a:close/>
                <a:moveTo>
                  <a:pt x="6131726" y="103402"/>
                </a:moveTo>
                <a:cubicBezTo>
                  <a:pt x="6131726" y="101147"/>
                  <a:pt x="6131726" y="101147"/>
                  <a:pt x="6131726" y="96636"/>
                </a:cubicBezTo>
                <a:lnTo>
                  <a:pt x="6114642" y="102871"/>
                </a:lnTo>
                <a:lnTo>
                  <a:pt x="6113187" y="105659"/>
                </a:lnTo>
                <a:cubicBezTo>
                  <a:pt x="6111126" y="105659"/>
                  <a:pt x="6109067" y="103402"/>
                  <a:pt x="6104945" y="103402"/>
                </a:cubicBezTo>
                <a:lnTo>
                  <a:pt x="6107739" y="97436"/>
                </a:lnTo>
                <a:lnTo>
                  <a:pt x="6106749" y="96352"/>
                </a:lnTo>
                <a:cubicBezTo>
                  <a:pt x="6104946" y="93814"/>
                  <a:pt x="6103915" y="90995"/>
                  <a:pt x="6104945" y="87612"/>
                </a:cubicBezTo>
                <a:cubicBezTo>
                  <a:pt x="6107006" y="83100"/>
                  <a:pt x="6111126" y="80843"/>
                  <a:pt x="6115245" y="78588"/>
                </a:cubicBezTo>
                <a:cubicBezTo>
                  <a:pt x="6117307" y="67307"/>
                  <a:pt x="6119366" y="56028"/>
                  <a:pt x="6121427" y="44748"/>
                </a:cubicBezTo>
                <a:cubicBezTo>
                  <a:pt x="6121427" y="44748"/>
                  <a:pt x="6119366" y="44748"/>
                  <a:pt x="6115245" y="42494"/>
                </a:cubicBezTo>
                <a:lnTo>
                  <a:pt x="6122799" y="33469"/>
                </a:lnTo>
                <a:lnTo>
                  <a:pt x="6117307" y="33469"/>
                </a:lnTo>
                <a:cubicBezTo>
                  <a:pt x="6117307" y="28958"/>
                  <a:pt x="6123486" y="22192"/>
                  <a:pt x="6113187" y="19934"/>
                </a:cubicBezTo>
                <a:cubicBezTo>
                  <a:pt x="6109067" y="26703"/>
                  <a:pt x="6107006" y="31212"/>
                  <a:pt x="6102886" y="37981"/>
                </a:cubicBezTo>
                <a:cubicBezTo>
                  <a:pt x="6092586" y="53771"/>
                  <a:pt x="6080226" y="67307"/>
                  <a:pt x="6069927" y="83100"/>
                </a:cubicBezTo>
                <a:cubicBezTo>
                  <a:pt x="6069927" y="83100"/>
                  <a:pt x="6067866" y="83100"/>
                  <a:pt x="6067866" y="83100"/>
                </a:cubicBezTo>
                <a:cubicBezTo>
                  <a:pt x="6063746" y="87612"/>
                  <a:pt x="6058596" y="91560"/>
                  <a:pt x="6054734" y="96354"/>
                </a:cubicBezTo>
                <a:lnTo>
                  <a:pt x="6054685" y="96520"/>
                </a:lnTo>
                <a:lnTo>
                  <a:pt x="6059626" y="92123"/>
                </a:lnTo>
                <a:cubicBezTo>
                  <a:pt x="6067866" y="92123"/>
                  <a:pt x="6076106" y="94378"/>
                  <a:pt x="6082285" y="94378"/>
                </a:cubicBezTo>
                <a:cubicBezTo>
                  <a:pt x="6082285" y="96636"/>
                  <a:pt x="6082285" y="98890"/>
                  <a:pt x="6082285" y="98890"/>
                </a:cubicBezTo>
                <a:cubicBezTo>
                  <a:pt x="6080226" y="101147"/>
                  <a:pt x="6078165" y="101147"/>
                  <a:pt x="6078165" y="103402"/>
                </a:cubicBezTo>
                <a:cubicBezTo>
                  <a:pt x="6078165" y="114683"/>
                  <a:pt x="6076106" y="125961"/>
                  <a:pt x="6076106" y="137242"/>
                </a:cubicBezTo>
                <a:cubicBezTo>
                  <a:pt x="6082285" y="132727"/>
                  <a:pt x="6086406" y="130472"/>
                  <a:pt x="6092586" y="128218"/>
                </a:cubicBezTo>
                <a:cubicBezTo>
                  <a:pt x="6094645" y="125961"/>
                  <a:pt x="6096706" y="125961"/>
                  <a:pt x="6098765" y="123706"/>
                </a:cubicBezTo>
                <a:cubicBezTo>
                  <a:pt x="6109067" y="121449"/>
                  <a:pt x="6127606" y="110172"/>
                  <a:pt x="6131726" y="103402"/>
                </a:cubicBezTo>
                <a:close/>
                <a:moveTo>
                  <a:pt x="6137908" y="2580377"/>
                </a:moveTo>
                <a:cubicBezTo>
                  <a:pt x="6135847" y="2580377"/>
                  <a:pt x="6133788" y="2580377"/>
                  <a:pt x="6131726" y="2582634"/>
                </a:cubicBezTo>
                <a:cubicBezTo>
                  <a:pt x="6131726" y="2582634"/>
                  <a:pt x="6131726" y="2580377"/>
                  <a:pt x="6131726" y="2580377"/>
                </a:cubicBezTo>
                <a:cubicBezTo>
                  <a:pt x="6133788" y="2580377"/>
                  <a:pt x="6135847" y="2580377"/>
                  <a:pt x="6137908" y="2580377"/>
                </a:cubicBezTo>
                <a:close/>
                <a:moveTo>
                  <a:pt x="6137908" y="2828527"/>
                </a:moveTo>
                <a:cubicBezTo>
                  <a:pt x="6133788" y="2828527"/>
                  <a:pt x="6131726" y="2830784"/>
                  <a:pt x="6129665" y="2830784"/>
                </a:cubicBezTo>
                <a:cubicBezTo>
                  <a:pt x="6129665" y="2830784"/>
                  <a:pt x="6127606" y="2833038"/>
                  <a:pt x="6131726" y="2835296"/>
                </a:cubicBezTo>
                <a:cubicBezTo>
                  <a:pt x="6131726" y="2835296"/>
                  <a:pt x="6133788" y="2835296"/>
                  <a:pt x="6133788" y="2835296"/>
                </a:cubicBezTo>
                <a:cubicBezTo>
                  <a:pt x="6135847" y="2833038"/>
                  <a:pt x="6135847" y="2830784"/>
                  <a:pt x="6137908" y="2828527"/>
                </a:cubicBezTo>
                <a:close/>
                <a:moveTo>
                  <a:pt x="6146145" y="17677"/>
                </a:moveTo>
                <a:lnTo>
                  <a:pt x="6146145" y="170"/>
                </a:lnTo>
                <a:lnTo>
                  <a:pt x="6132232" y="8452"/>
                </a:lnTo>
                <a:lnTo>
                  <a:pt x="6129665" y="10910"/>
                </a:lnTo>
                <a:cubicBezTo>
                  <a:pt x="6129665" y="13167"/>
                  <a:pt x="6129665" y="13167"/>
                  <a:pt x="6129665" y="15422"/>
                </a:cubicBezTo>
                <a:cubicBezTo>
                  <a:pt x="6131726" y="13167"/>
                  <a:pt x="6135847" y="13167"/>
                  <a:pt x="6137908" y="10910"/>
                </a:cubicBezTo>
                <a:cubicBezTo>
                  <a:pt x="6137908" y="13167"/>
                  <a:pt x="6137908" y="13167"/>
                  <a:pt x="6137908" y="15422"/>
                </a:cubicBezTo>
                <a:lnTo>
                  <a:pt x="6122799" y="33469"/>
                </a:lnTo>
                <a:lnTo>
                  <a:pt x="6135847" y="33469"/>
                </a:lnTo>
                <a:lnTo>
                  <a:pt x="6136801" y="32324"/>
                </a:lnTo>
                <a:lnTo>
                  <a:pt x="6131726" y="31212"/>
                </a:lnTo>
                <a:cubicBezTo>
                  <a:pt x="6135847" y="26703"/>
                  <a:pt x="6144086" y="24446"/>
                  <a:pt x="6146145" y="17677"/>
                </a:cubicBezTo>
                <a:close/>
                <a:moveTo>
                  <a:pt x="6146431" y="0"/>
                </a:moveTo>
                <a:lnTo>
                  <a:pt x="6146145" y="0"/>
                </a:lnTo>
                <a:lnTo>
                  <a:pt x="6146145" y="170"/>
                </a:lnTo>
                <a:close/>
                <a:moveTo>
                  <a:pt x="6156447" y="1926166"/>
                </a:moveTo>
                <a:cubicBezTo>
                  <a:pt x="6154386" y="1937448"/>
                  <a:pt x="6148206" y="1939702"/>
                  <a:pt x="6137908" y="1939702"/>
                </a:cubicBezTo>
                <a:cubicBezTo>
                  <a:pt x="6142027" y="1923912"/>
                  <a:pt x="6152327" y="1937448"/>
                  <a:pt x="6156447" y="1926166"/>
                </a:cubicBezTo>
                <a:close/>
                <a:moveTo>
                  <a:pt x="6168006" y="14401"/>
                </a:moveTo>
                <a:lnTo>
                  <a:pt x="6160567" y="10910"/>
                </a:lnTo>
                <a:cubicBezTo>
                  <a:pt x="6156447" y="14293"/>
                  <a:pt x="6151297" y="17113"/>
                  <a:pt x="6146662" y="20498"/>
                </a:cubicBezTo>
                <a:lnTo>
                  <a:pt x="6136801" y="32324"/>
                </a:lnTo>
                <a:lnTo>
                  <a:pt x="6142027" y="33469"/>
                </a:lnTo>
                <a:cubicBezTo>
                  <a:pt x="6150265" y="28958"/>
                  <a:pt x="6158508" y="22192"/>
                  <a:pt x="6166745" y="15422"/>
                </a:cubicBezTo>
                <a:close/>
                <a:moveTo>
                  <a:pt x="6185318" y="0"/>
                </a:moveTo>
                <a:lnTo>
                  <a:pt x="6183054" y="0"/>
                </a:lnTo>
                <a:lnTo>
                  <a:pt x="6183226" y="1886"/>
                </a:lnTo>
                <a:close/>
                <a:moveTo>
                  <a:pt x="6203113" y="0"/>
                </a:moveTo>
                <a:lnTo>
                  <a:pt x="6185800" y="0"/>
                </a:lnTo>
                <a:lnTo>
                  <a:pt x="6168006" y="14401"/>
                </a:lnTo>
                <a:lnTo>
                  <a:pt x="6174986" y="17677"/>
                </a:lnTo>
                <a:cubicBezTo>
                  <a:pt x="6178077" y="15422"/>
                  <a:pt x="6181682" y="12039"/>
                  <a:pt x="6186317" y="8655"/>
                </a:cubicBezTo>
                <a:close/>
                <a:moveTo>
                  <a:pt x="6207947" y="1919400"/>
                </a:moveTo>
                <a:cubicBezTo>
                  <a:pt x="6205888" y="1919400"/>
                  <a:pt x="6203827" y="1921657"/>
                  <a:pt x="6201768" y="1921657"/>
                </a:cubicBezTo>
                <a:cubicBezTo>
                  <a:pt x="6181167" y="1921657"/>
                  <a:pt x="6160567" y="1921657"/>
                  <a:pt x="6142027" y="1921657"/>
                </a:cubicBezTo>
                <a:cubicBezTo>
                  <a:pt x="6137908" y="1921657"/>
                  <a:pt x="6135847" y="1923912"/>
                  <a:pt x="6131726" y="1923912"/>
                </a:cubicBezTo>
                <a:cubicBezTo>
                  <a:pt x="6127606" y="1923912"/>
                  <a:pt x="6123486" y="1923912"/>
                  <a:pt x="6117307" y="1923912"/>
                </a:cubicBezTo>
                <a:cubicBezTo>
                  <a:pt x="6119366" y="1923912"/>
                  <a:pt x="6121427" y="1921657"/>
                  <a:pt x="6123486" y="1921657"/>
                </a:cubicBezTo>
                <a:cubicBezTo>
                  <a:pt x="6119366" y="1921657"/>
                  <a:pt x="6117307" y="1923912"/>
                  <a:pt x="6115245" y="1923912"/>
                </a:cubicBezTo>
                <a:cubicBezTo>
                  <a:pt x="6115245" y="1921657"/>
                  <a:pt x="6115245" y="1919400"/>
                  <a:pt x="6115245" y="1919400"/>
                </a:cubicBezTo>
                <a:cubicBezTo>
                  <a:pt x="6121427" y="1914889"/>
                  <a:pt x="6129665" y="1914889"/>
                  <a:pt x="6137908" y="1917146"/>
                </a:cubicBezTo>
                <a:cubicBezTo>
                  <a:pt x="6142027" y="1917146"/>
                  <a:pt x="6148206" y="1914889"/>
                  <a:pt x="6154386" y="1912631"/>
                </a:cubicBezTo>
                <a:cubicBezTo>
                  <a:pt x="6158508" y="1912631"/>
                  <a:pt x="6162628" y="1912631"/>
                  <a:pt x="6166745" y="1912631"/>
                </a:cubicBezTo>
                <a:cubicBezTo>
                  <a:pt x="6174986" y="1912631"/>
                  <a:pt x="6183226" y="1912631"/>
                  <a:pt x="6191466" y="1914889"/>
                </a:cubicBezTo>
                <a:cubicBezTo>
                  <a:pt x="6195586" y="1914889"/>
                  <a:pt x="6201768" y="1917146"/>
                  <a:pt x="6207947" y="1919400"/>
                </a:cubicBezTo>
                <a:close/>
                <a:moveTo>
                  <a:pt x="6207947" y="1944218"/>
                </a:moveTo>
                <a:cubicBezTo>
                  <a:pt x="6205888" y="1944218"/>
                  <a:pt x="6203827" y="1944218"/>
                  <a:pt x="6201768" y="1944218"/>
                </a:cubicBezTo>
                <a:cubicBezTo>
                  <a:pt x="6201768" y="1941959"/>
                  <a:pt x="6201768" y="1939702"/>
                  <a:pt x="6201768" y="1939702"/>
                </a:cubicBezTo>
                <a:cubicBezTo>
                  <a:pt x="6203827" y="1939702"/>
                  <a:pt x="6205888" y="1939702"/>
                  <a:pt x="6207947" y="1939702"/>
                </a:cubicBezTo>
                <a:cubicBezTo>
                  <a:pt x="6207947" y="1941959"/>
                  <a:pt x="6207947" y="1941959"/>
                  <a:pt x="6207947" y="1944218"/>
                </a:cubicBezTo>
                <a:close/>
                <a:moveTo>
                  <a:pt x="6212067" y="1975797"/>
                </a:moveTo>
                <a:cubicBezTo>
                  <a:pt x="6210008" y="1975797"/>
                  <a:pt x="6207947" y="1978054"/>
                  <a:pt x="6207947" y="1980309"/>
                </a:cubicBezTo>
                <a:cubicBezTo>
                  <a:pt x="6207947" y="1980309"/>
                  <a:pt x="6205888" y="1978054"/>
                  <a:pt x="6205888" y="1978054"/>
                </a:cubicBezTo>
                <a:cubicBezTo>
                  <a:pt x="6207947" y="1975797"/>
                  <a:pt x="6207947" y="1973542"/>
                  <a:pt x="6210008" y="1973542"/>
                </a:cubicBezTo>
                <a:cubicBezTo>
                  <a:pt x="6210008" y="1973542"/>
                  <a:pt x="6210008" y="1975797"/>
                  <a:pt x="6212067" y="1975797"/>
                </a:cubicBezTo>
                <a:close/>
                <a:moveTo>
                  <a:pt x="6226488" y="1903610"/>
                </a:moveTo>
                <a:cubicBezTo>
                  <a:pt x="6224427" y="1903610"/>
                  <a:pt x="6222366" y="1903610"/>
                  <a:pt x="6220307" y="1903610"/>
                </a:cubicBezTo>
                <a:cubicBezTo>
                  <a:pt x="6212067" y="1905864"/>
                  <a:pt x="6201768" y="1910376"/>
                  <a:pt x="6191466" y="1903610"/>
                </a:cubicBezTo>
                <a:cubicBezTo>
                  <a:pt x="6191466" y="1903610"/>
                  <a:pt x="6189408" y="1903610"/>
                  <a:pt x="6189408" y="1903610"/>
                </a:cubicBezTo>
                <a:cubicBezTo>
                  <a:pt x="6177047" y="1908122"/>
                  <a:pt x="6164687" y="1905864"/>
                  <a:pt x="6152327" y="1905864"/>
                </a:cubicBezTo>
                <a:cubicBezTo>
                  <a:pt x="6150265" y="1905864"/>
                  <a:pt x="6146145" y="1903610"/>
                  <a:pt x="6142027" y="1903610"/>
                </a:cubicBezTo>
                <a:cubicBezTo>
                  <a:pt x="6142027" y="1901353"/>
                  <a:pt x="6142027" y="1899098"/>
                  <a:pt x="6144086" y="1899098"/>
                </a:cubicBezTo>
                <a:cubicBezTo>
                  <a:pt x="6150265" y="1899098"/>
                  <a:pt x="6156447" y="1899098"/>
                  <a:pt x="6162628" y="1899098"/>
                </a:cubicBezTo>
                <a:cubicBezTo>
                  <a:pt x="6183226" y="1901353"/>
                  <a:pt x="6205888" y="1903610"/>
                  <a:pt x="6226488" y="1903610"/>
                </a:cubicBezTo>
                <a:close/>
                <a:moveTo>
                  <a:pt x="6228547" y="1930682"/>
                </a:moveTo>
                <a:cubicBezTo>
                  <a:pt x="6226488" y="1932936"/>
                  <a:pt x="6226488" y="1937448"/>
                  <a:pt x="6224427" y="1937448"/>
                </a:cubicBezTo>
                <a:cubicBezTo>
                  <a:pt x="6220307" y="1937448"/>
                  <a:pt x="6214128" y="1937448"/>
                  <a:pt x="6210008" y="1937448"/>
                </a:cubicBezTo>
                <a:cubicBezTo>
                  <a:pt x="6210008" y="1935191"/>
                  <a:pt x="6210008" y="1932936"/>
                  <a:pt x="6210008" y="1932936"/>
                </a:cubicBezTo>
                <a:cubicBezTo>
                  <a:pt x="6214128" y="1928424"/>
                  <a:pt x="6218245" y="1926166"/>
                  <a:pt x="6224427" y="1926166"/>
                </a:cubicBezTo>
                <a:cubicBezTo>
                  <a:pt x="6226488" y="1926166"/>
                  <a:pt x="6226488" y="1928424"/>
                  <a:pt x="6228547" y="1930682"/>
                </a:cubicBezTo>
                <a:close/>
                <a:moveTo>
                  <a:pt x="6245027" y="1824652"/>
                </a:moveTo>
                <a:cubicBezTo>
                  <a:pt x="6245027" y="1822397"/>
                  <a:pt x="6245027" y="1822397"/>
                  <a:pt x="6245027" y="1820142"/>
                </a:cubicBezTo>
                <a:cubicBezTo>
                  <a:pt x="6245027" y="1820142"/>
                  <a:pt x="6242966" y="1820142"/>
                  <a:pt x="6242966" y="1820142"/>
                </a:cubicBezTo>
                <a:cubicBezTo>
                  <a:pt x="6242966" y="1822397"/>
                  <a:pt x="6245027" y="1822397"/>
                  <a:pt x="6245027" y="1824652"/>
                </a:cubicBezTo>
                <a:close/>
                <a:moveTo>
                  <a:pt x="6300647" y="2002869"/>
                </a:moveTo>
                <a:cubicBezTo>
                  <a:pt x="6298588" y="2009637"/>
                  <a:pt x="6294468" y="2009637"/>
                  <a:pt x="6290349" y="2007380"/>
                </a:cubicBezTo>
                <a:cubicBezTo>
                  <a:pt x="6292408" y="2003997"/>
                  <a:pt x="6293953" y="2002306"/>
                  <a:pt x="6295498" y="2001741"/>
                </a:cubicBezTo>
                <a:cubicBezTo>
                  <a:pt x="6297043" y="2001178"/>
                  <a:pt x="6298587" y="2001741"/>
                  <a:pt x="6300647" y="2002869"/>
                </a:cubicBezTo>
                <a:close/>
                <a:moveTo>
                  <a:pt x="6302709" y="1921657"/>
                </a:moveTo>
                <a:cubicBezTo>
                  <a:pt x="6294468" y="1928424"/>
                  <a:pt x="6286229" y="1935191"/>
                  <a:pt x="6280047" y="1941959"/>
                </a:cubicBezTo>
                <a:cubicBezTo>
                  <a:pt x="6271807" y="1948727"/>
                  <a:pt x="6265627" y="1946472"/>
                  <a:pt x="6257388" y="1944218"/>
                </a:cubicBezTo>
                <a:cubicBezTo>
                  <a:pt x="6255329" y="1939702"/>
                  <a:pt x="6255329" y="1935191"/>
                  <a:pt x="6259447" y="1935191"/>
                </a:cubicBezTo>
                <a:cubicBezTo>
                  <a:pt x="6261508" y="1935191"/>
                  <a:pt x="6263566" y="1935191"/>
                  <a:pt x="6263566" y="1935191"/>
                </a:cubicBezTo>
                <a:cubicBezTo>
                  <a:pt x="6271807" y="1941959"/>
                  <a:pt x="6277988" y="1937448"/>
                  <a:pt x="6284167" y="1926166"/>
                </a:cubicBezTo>
                <a:cubicBezTo>
                  <a:pt x="6284167" y="1926166"/>
                  <a:pt x="6282108" y="1923912"/>
                  <a:pt x="6280047" y="1921657"/>
                </a:cubicBezTo>
                <a:cubicBezTo>
                  <a:pt x="6288288" y="1921657"/>
                  <a:pt x="6294468" y="1921657"/>
                  <a:pt x="6302709" y="1921657"/>
                </a:cubicBezTo>
                <a:close/>
                <a:moveTo>
                  <a:pt x="6304768" y="1939702"/>
                </a:moveTo>
                <a:cubicBezTo>
                  <a:pt x="6302709" y="1941959"/>
                  <a:pt x="6300647" y="1941959"/>
                  <a:pt x="6296527" y="1944218"/>
                </a:cubicBezTo>
                <a:cubicBezTo>
                  <a:pt x="6296527" y="1941959"/>
                  <a:pt x="6296527" y="1941959"/>
                  <a:pt x="6296527" y="1939702"/>
                </a:cubicBezTo>
                <a:cubicBezTo>
                  <a:pt x="6298588" y="1939702"/>
                  <a:pt x="6300647" y="1937448"/>
                  <a:pt x="6304768" y="1939702"/>
                </a:cubicBezTo>
                <a:close/>
                <a:moveTo>
                  <a:pt x="6317127" y="1919400"/>
                </a:moveTo>
                <a:lnTo>
                  <a:pt x="6313931" y="1919984"/>
                </a:lnTo>
                <a:lnTo>
                  <a:pt x="6312248" y="1924741"/>
                </a:lnTo>
                <a:close/>
                <a:moveTo>
                  <a:pt x="6327429" y="1987078"/>
                </a:moveTo>
                <a:cubicBezTo>
                  <a:pt x="6327429" y="1987078"/>
                  <a:pt x="6327429" y="1989333"/>
                  <a:pt x="6325368" y="1993844"/>
                </a:cubicBezTo>
                <a:cubicBezTo>
                  <a:pt x="6325368" y="1991590"/>
                  <a:pt x="6323309" y="1989333"/>
                  <a:pt x="6323309" y="1989333"/>
                </a:cubicBezTo>
                <a:cubicBezTo>
                  <a:pt x="6323309" y="1989333"/>
                  <a:pt x="6323309" y="1987078"/>
                  <a:pt x="6325368" y="1984820"/>
                </a:cubicBezTo>
                <a:cubicBezTo>
                  <a:pt x="6325368" y="1984820"/>
                  <a:pt x="6327429" y="1987078"/>
                  <a:pt x="6327429" y="1987078"/>
                </a:cubicBezTo>
                <a:close/>
                <a:moveTo>
                  <a:pt x="6341848" y="1982566"/>
                </a:moveTo>
                <a:cubicBezTo>
                  <a:pt x="6339787" y="1982566"/>
                  <a:pt x="6337729" y="1982566"/>
                  <a:pt x="6333608" y="1982566"/>
                </a:cubicBezTo>
                <a:cubicBezTo>
                  <a:pt x="6333608" y="1982566"/>
                  <a:pt x="6333608" y="1980309"/>
                  <a:pt x="6333608" y="1980309"/>
                </a:cubicBezTo>
                <a:cubicBezTo>
                  <a:pt x="6337729" y="1978054"/>
                  <a:pt x="6339787" y="1978054"/>
                  <a:pt x="6341848" y="1978054"/>
                </a:cubicBezTo>
                <a:cubicBezTo>
                  <a:pt x="6341848" y="1980309"/>
                  <a:pt x="6341848" y="1980309"/>
                  <a:pt x="6341848" y="1982566"/>
                </a:cubicBezTo>
                <a:close/>
                <a:moveTo>
                  <a:pt x="6350088" y="2002869"/>
                </a:moveTo>
                <a:cubicBezTo>
                  <a:pt x="6345968" y="2009637"/>
                  <a:pt x="6341848" y="2009637"/>
                  <a:pt x="6335667" y="2009637"/>
                </a:cubicBezTo>
                <a:cubicBezTo>
                  <a:pt x="6329488" y="2009637"/>
                  <a:pt x="6325368" y="2009637"/>
                  <a:pt x="6319189" y="2009637"/>
                </a:cubicBezTo>
                <a:cubicBezTo>
                  <a:pt x="6315070" y="2009637"/>
                  <a:pt x="6308888" y="2016404"/>
                  <a:pt x="6304768" y="2007380"/>
                </a:cubicBezTo>
                <a:cubicBezTo>
                  <a:pt x="6311979" y="2003997"/>
                  <a:pt x="6321248" y="2001741"/>
                  <a:pt x="6329746" y="2000895"/>
                </a:cubicBezTo>
                <a:cubicBezTo>
                  <a:pt x="6338243" y="2000048"/>
                  <a:pt x="6345968" y="2000612"/>
                  <a:pt x="6350088" y="2002869"/>
                </a:cubicBezTo>
                <a:close/>
                <a:moveTo>
                  <a:pt x="6356268" y="2034451"/>
                </a:moveTo>
                <a:cubicBezTo>
                  <a:pt x="6356268" y="2034451"/>
                  <a:pt x="6356268" y="2032196"/>
                  <a:pt x="6356268" y="2032196"/>
                </a:cubicBezTo>
                <a:cubicBezTo>
                  <a:pt x="6356268" y="2032196"/>
                  <a:pt x="6354209" y="2032196"/>
                  <a:pt x="6352147" y="2034451"/>
                </a:cubicBezTo>
                <a:cubicBezTo>
                  <a:pt x="6352147" y="2034451"/>
                  <a:pt x="6352147" y="2036706"/>
                  <a:pt x="6354209" y="2041217"/>
                </a:cubicBezTo>
                <a:cubicBezTo>
                  <a:pt x="6356268" y="2036706"/>
                  <a:pt x="6356268" y="2036706"/>
                  <a:pt x="6356268" y="2034451"/>
                </a:cubicBezTo>
                <a:close/>
                <a:moveTo>
                  <a:pt x="6436611" y="1860747"/>
                </a:moveTo>
                <a:cubicBezTo>
                  <a:pt x="6426309" y="1858492"/>
                  <a:pt x="6418069" y="1856234"/>
                  <a:pt x="6409829" y="1856234"/>
                </a:cubicBezTo>
                <a:cubicBezTo>
                  <a:pt x="6366569" y="1853979"/>
                  <a:pt x="6325368" y="1851722"/>
                  <a:pt x="6282108" y="1849468"/>
                </a:cubicBezTo>
                <a:cubicBezTo>
                  <a:pt x="6267686" y="1849468"/>
                  <a:pt x="6251209" y="1849468"/>
                  <a:pt x="6236788" y="1849468"/>
                </a:cubicBezTo>
                <a:cubicBezTo>
                  <a:pt x="6224427" y="1829166"/>
                  <a:pt x="6203827" y="1840445"/>
                  <a:pt x="6187347" y="1833675"/>
                </a:cubicBezTo>
                <a:cubicBezTo>
                  <a:pt x="6185288" y="1833675"/>
                  <a:pt x="6183226" y="1831420"/>
                  <a:pt x="6174986" y="1826909"/>
                </a:cubicBezTo>
                <a:cubicBezTo>
                  <a:pt x="6187347" y="1824652"/>
                  <a:pt x="6193527" y="1820142"/>
                  <a:pt x="6199706" y="1820142"/>
                </a:cubicBezTo>
                <a:cubicBezTo>
                  <a:pt x="6212067" y="1822397"/>
                  <a:pt x="6222366" y="1820142"/>
                  <a:pt x="6234729" y="1817886"/>
                </a:cubicBezTo>
                <a:cubicBezTo>
                  <a:pt x="6245027" y="1815631"/>
                  <a:pt x="6255329" y="1815631"/>
                  <a:pt x="6267686" y="1815631"/>
                </a:cubicBezTo>
                <a:cubicBezTo>
                  <a:pt x="6292407" y="1815631"/>
                  <a:pt x="6319189" y="1815631"/>
                  <a:pt x="6343909" y="1817886"/>
                </a:cubicBezTo>
                <a:cubicBezTo>
                  <a:pt x="6317127" y="1808862"/>
                  <a:pt x="6292407" y="1806607"/>
                  <a:pt x="6265627" y="1806607"/>
                </a:cubicBezTo>
                <a:cubicBezTo>
                  <a:pt x="6259447" y="1806607"/>
                  <a:pt x="6255329" y="1806607"/>
                  <a:pt x="6253268" y="1797582"/>
                </a:cubicBezTo>
                <a:cubicBezTo>
                  <a:pt x="6257388" y="1784048"/>
                  <a:pt x="6269748" y="1790814"/>
                  <a:pt x="6275929" y="1786302"/>
                </a:cubicBezTo>
                <a:cubicBezTo>
                  <a:pt x="6277988" y="1784048"/>
                  <a:pt x="6277988" y="1781790"/>
                  <a:pt x="6280047" y="1779535"/>
                </a:cubicBezTo>
                <a:cubicBezTo>
                  <a:pt x="6280047" y="1777278"/>
                  <a:pt x="6277988" y="1775024"/>
                  <a:pt x="6277988" y="1772766"/>
                </a:cubicBezTo>
                <a:cubicBezTo>
                  <a:pt x="6271807" y="1770512"/>
                  <a:pt x="6265627" y="1768255"/>
                  <a:pt x="6259447" y="1768255"/>
                </a:cubicBezTo>
                <a:cubicBezTo>
                  <a:pt x="6242966" y="1772766"/>
                  <a:pt x="6226488" y="1777278"/>
                  <a:pt x="6210008" y="1781790"/>
                </a:cubicBezTo>
                <a:cubicBezTo>
                  <a:pt x="6201768" y="1784048"/>
                  <a:pt x="6195586" y="1786302"/>
                  <a:pt x="6187347" y="1786302"/>
                </a:cubicBezTo>
                <a:cubicBezTo>
                  <a:pt x="6152327" y="1784048"/>
                  <a:pt x="6117307" y="1786302"/>
                  <a:pt x="6080226" y="1790814"/>
                </a:cubicBezTo>
                <a:cubicBezTo>
                  <a:pt x="6069927" y="1790814"/>
                  <a:pt x="6061685" y="1790814"/>
                  <a:pt x="6051386" y="1788560"/>
                </a:cubicBezTo>
                <a:lnTo>
                  <a:pt x="6047265" y="1788560"/>
                </a:lnTo>
                <a:cubicBezTo>
                  <a:pt x="6047265" y="1788560"/>
                  <a:pt x="6047265" y="1786302"/>
                  <a:pt x="6047265" y="1786302"/>
                </a:cubicBezTo>
                <a:cubicBezTo>
                  <a:pt x="6045206" y="1786302"/>
                  <a:pt x="6043145" y="1786302"/>
                  <a:pt x="6039026" y="1788560"/>
                </a:cubicBezTo>
                <a:cubicBezTo>
                  <a:pt x="6039026" y="1788560"/>
                  <a:pt x="6039026" y="1788560"/>
                  <a:pt x="6039026" y="1790814"/>
                </a:cubicBezTo>
                <a:cubicBezTo>
                  <a:pt x="6036965" y="1788560"/>
                  <a:pt x="6030785" y="1786302"/>
                  <a:pt x="6026665" y="1790814"/>
                </a:cubicBezTo>
                <a:cubicBezTo>
                  <a:pt x="6024606" y="1793071"/>
                  <a:pt x="6022545" y="1795326"/>
                  <a:pt x="6020486" y="1797582"/>
                </a:cubicBezTo>
                <a:cubicBezTo>
                  <a:pt x="6016367" y="1797582"/>
                  <a:pt x="6014304" y="1797582"/>
                  <a:pt x="6010185" y="1797582"/>
                </a:cubicBezTo>
                <a:cubicBezTo>
                  <a:pt x="6010185" y="1795326"/>
                  <a:pt x="6012244" y="1795326"/>
                  <a:pt x="6012244" y="1793071"/>
                </a:cubicBezTo>
                <a:cubicBezTo>
                  <a:pt x="6014304" y="1790814"/>
                  <a:pt x="6018425" y="1790814"/>
                  <a:pt x="6020486" y="1788560"/>
                </a:cubicBezTo>
                <a:cubicBezTo>
                  <a:pt x="6026665" y="1779535"/>
                  <a:pt x="6024606" y="1770512"/>
                  <a:pt x="6016367" y="1768255"/>
                </a:cubicBezTo>
                <a:cubicBezTo>
                  <a:pt x="6014304" y="1768255"/>
                  <a:pt x="6014304" y="1768255"/>
                  <a:pt x="6012244" y="1766000"/>
                </a:cubicBezTo>
                <a:cubicBezTo>
                  <a:pt x="6014304" y="1766000"/>
                  <a:pt x="6014304" y="1763742"/>
                  <a:pt x="6016367" y="1761489"/>
                </a:cubicBezTo>
                <a:cubicBezTo>
                  <a:pt x="6010185" y="1761489"/>
                  <a:pt x="6006065" y="1761489"/>
                  <a:pt x="6001945" y="1763742"/>
                </a:cubicBezTo>
                <a:cubicBezTo>
                  <a:pt x="5997824" y="1763742"/>
                  <a:pt x="5993704" y="1761489"/>
                  <a:pt x="5989584" y="1759231"/>
                </a:cubicBezTo>
                <a:cubicBezTo>
                  <a:pt x="5993704" y="1759231"/>
                  <a:pt x="5995765" y="1759231"/>
                  <a:pt x="5999886" y="1759231"/>
                </a:cubicBezTo>
                <a:cubicBezTo>
                  <a:pt x="6010185" y="1759231"/>
                  <a:pt x="6020486" y="1754719"/>
                  <a:pt x="6030785" y="1752464"/>
                </a:cubicBezTo>
                <a:cubicBezTo>
                  <a:pt x="6069927" y="1747953"/>
                  <a:pt x="6107006" y="1745695"/>
                  <a:pt x="6146145" y="1743440"/>
                </a:cubicBezTo>
                <a:cubicBezTo>
                  <a:pt x="6150265" y="1743440"/>
                  <a:pt x="6152327" y="1741184"/>
                  <a:pt x="6158508" y="1736672"/>
                </a:cubicBezTo>
                <a:cubicBezTo>
                  <a:pt x="6152327" y="1729904"/>
                  <a:pt x="6148206" y="1725393"/>
                  <a:pt x="6144086" y="1720882"/>
                </a:cubicBezTo>
                <a:cubicBezTo>
                  <a:pt x="6135847" y="1720882"/>
                  <a:pt x="6127606" y="1720882"/>
                  <a:pt x="6119366" y="1718627"/>
                </a:cubicBezTo>
                <a:cubicBezTo>
                  <a:pt x="6113187" y="1716370"/>
                  <a:pt x="6109067" y="1711857"/>
                  <a:pt x="6104945" y="1707346"/>
                </a:cubicBezTo>
                <a:cubicBezTo>
                  <a:pt x="6107006" y="1707346"/>
                  <a:pt x="6109067" y="1705092"/>
                  <a:pt x="6109067" y="1705092"/>
                </a:cubicBezTo>
                <a:cubicBezTo>
                  <a:pt x="6115245" y="1702834"/>
                  <a:pt x="6119366" y="1702834"/>
                  <a:pt x="6125545" y="1700579"/>
                </a:cubicBezTo>
                <a:cubicBezTo>
                  <a:pt x="6123486" y="1691556"/>
                  <a:pt x="6119366" y="1693811"/>
                  <a:pt x="6117307" y="1696068"/>
                </a:cubicBezTo>
                <a:cubicBezTo>
                  <a:pt x="6115245" y="1696068"/>
                  <a:pt x="6113187" y="1700579"/>
                  <a:pt x="6111126" y="1696068"/>
                </a:cubicBezTo>
                <a:cubicBezTo>
                  <a:pt x="6111126" y="1696068"/>
                  <a:pt x="6109067" y="1693811"/>
                  <a:pt x="6109067" y="1693811"/>
                </a:cubicBezTo>
                <a:cubicBezTo>
                  <a:pt x="6109067" y="1693811"/>
                  <a:pt x="6109067" y="1696068"/>
                  <a:pt x="6109067" y="1696068"/>
                </a:cubicBezTo>
                <a:cubicBezTo>
                  <a:pt x="6096706" y="1691556"/>
                  <a:pt x="6082285" y="1689298"/>
                  <a:pt x="6067866" y="1689298"/>
                </a:cubicBezTo>
                <a:cubicBezTo>
                  <a:pt x="6053445" y="1689298"/>
                  <a:pt x="6039026" y="1689298"/>
                  <a:pt x="6026665" y="1687044"/>
                </a:cubicBezTo>
                <a:cubicBezTo>
                  <a:pt x="6016367" y="1687044"/>
                  <a:pt x="6004006" y="1684786"/>
                  <a:pt x="5993704" y="1682532"/>
                </a:cubicBezTo>
                <a:cubicBezTo>
                  <a:pt x="5995765" y="1680275"/>
                  <a:pt x="5997824" y="1675762"/>
                  <a:pt x="5999886" y="1671251"/>
                </a:cubicBezTo>
                <a:cubicBezTo>
                  <a:pt x="5991645" y="1673508"/>
                  <a:pt x="5985465" y="1675762"/>
                  <a:pt x="5979285" y="1680275"/>
                </a:cubicBezTo>
                <a:cubicBezTo>
                  <a:pt x="5981344" y="1680275"/>
                  <a:pt x="5981344" y="1682532"/>
                  <a:pt x="5983406" y="1682532"/>
                </a:cubicBezTo>
                <a:cubicBezTo>
                  <a:pt x="5977226" y="1682532"/>
                  <a:pt x="5971045" y="1680275"/>
                  <a:pt x="5966925" y="1680275"/>
                </a:cubicBezTo>
                <a:cubicBezTo>
                  <a:pt x="5966925" y="1680275"/>
                  <a:pt x="5966925" y="1678020"/>
                  <a:pt x="5966925" y="1678020"/>
                </a:cubicBezTo>
                <a:cubicBezTo>
                  <a:pt x="5966925" y="1678020"/>
                  <a:pt x="5964863" y="1678020"/>
                  <a:pt x="5964863" y="1675762"/>
                </a:cubicBezTo>
                <a:cubicBezTo>
                  <a:pt x="5964863" y="1675762"/>
                  <a:pt x="5964863" y="1678020"/>
                  <a:pt x="5964863" y="1678020"/>
                </a:cubicBezTo>
                <a:cubicBezTo>
                  <a:pt x="5954565" y="1675762"/>
                  <a:pt x="5942204" y="1675762"/>
                  <a:pt x="5931906" y="1675762"/>
                </a:cubicBezTo>
                <a:cubicBezTo>
                  <a:pt x="5929844" y="1675762"/>
                  <a:pt x="5927785" y="1675762"/>
                  <a:pt x="5925724" y="1675762"/>
                </a:cubicBezTo>
                <a:cubicBezTo>
                  <a:pt x="5921604" y="1675762"/>
                  <a:pt x="5917483" y="1675762"/>
                  <a:pt x="5913364" y="1678020"/>
                </a:cubicBezTo>
                <a:cubicBezTo>
                  <a:pt x="5911305" y="1678020"/>
                  <a:pt x="5911305" y="1675762"/>
                  <a:pt x="5909244" y="1675762"/>
                </a:cubicBezTo>
                <a:cubicBezTo>
                  <a:pt x="5909244" y="1673508"/>
                  <a:pt x="5909244" y="1673508"/>
                  <a:pt x="5909244" y="1671251"/>
                </a:cubicBezTo>
                <a:cubicBezTo>
                  <a:pt x="5903065" y="1673508"/>
                  <a:pt x="5896883" y="1668996"/>
                  <a:pt x="5890705" y="1675762"/>
                </a:cubicBezTo>
                <a:cubicBezTo>
                  <a:pt x="5888644" y="1678020"/>
                  <a:pt x="5886585" y="1680275"/>
                  <a:pt x="5884526" y="1680275"/>
                </a:cubicBezTo>
                <a:cubicBezTo>
                  <a:pt x="5874224" y="1678020"/>
                  <a:pt x="5865985" y="1680275"/>
                  <a:pt x="5855683" y="1684786"/>
                </a:cubicBezTo>
                <a:cubicBezTo>
                  <a:pt x="5847442" y="1684786"/>
                  <a:pt x="5839205" y="1684786"/>
                  <a:pt x="5830965" y="1684786"/>
                </a:cubicBezTo>
                <a:cubicBezTo>
                  <a:pt x="5830965" y="1680275"/>
                  <a:pt x="5830965" y="1673508"/>
                  <a:pt x="5833023" y="1668996"/>
                </a:cubicBezTo>
                <a:cubicBezTo>
                  <a:pt x="5835085" y="1668996"/>
                  <a:pt x="5835085" y="1668996"/>
                  <a:pt x="5837144" y="1668996"/>
                </a:cubicBezTo>
                <a:cubicBezTo>
                  <a:pt x="5837144" y="1671251"/>
                  <a:pt x="5835085" y="1673508"/>
                  <a:pt x="5837144" y="1673508"/>
                </a:cubicBezTo>
                <a:cubicBezTo>
                  <a:pt x="5841263" y="1673508"/>
                  <a:pt x="5845383" y="1671251"/>
                  <a:pt x="5847442" y="1668996"/>
                </a:cubicBezTo>
                <a:cubicBezTo>
                  <a:pt x="5868042" y="1671251"/>
                  <a:pt x="5890705" y="1666739"/>
                  <a:pt x="5913364" y="1666739"/>
                </a:cubicBezTo>
                <a:cubicBezTo>
                  <a:pt x="5911305" y="1662228"/>
                  <a:pt x="5909244" y="1659973"/>
                  <a:pt x="5905124" y="1657715"/>
                </a:cubicBezTo>
                <a:cubicBezTo>
                  <a:pt x="5917483" y="1657715"/>
                  <a:pt x="5929844" y="1659973"/>
                  <a:pt x="5940143" y="1659973"/>
                </a:cubicBezTo>
                <a:cubicBezTo>
                  <a:pt x="5942204" y="1655460"/>
                  <a:pt x="5940143" y="1653203"/>
                  <a:pt x="5938085" y="1653203"/>
                </a:cubicBezTo>
                <a:cubicBezTo>
                  <a:pt x="5940143" y="1653203"/>
                  <a:pt x="5940143" y="1653203"/>
                  <a:pt x="5942204" y="1653203"/>
                </a:cubicBezTo>
                <a:cubicBezTo>
                  <a:pt x="6001945" y="1659973"/>
                  <a:pt x="6059626" y="1664484"/>
                  <a:pt x="6119366" y="1671251"/>
                </a:cubicBezTo>
                <a:cubicBezTo>
                  <a:pt x="6123486" y="1671251"/>
                  <a:pt x="6129665" y="1671251"/>
                  <a:pt x="6139967" y="1671251"/>
                </a:cubicBezTo>
                <a:cubicBezTo>
                  <a:pt x="6133788" y="1666739"/>
                  <a:pt x="6131726" y="1662228"/>
                  <a:pt x="6129665" y="1662228"/>
                </a:cubicBezTo>
                <a:cubicBezTo>
                  <a:pt x="6131726" y="1662228"/>
                  <a:pt x="6133788" y="1659973"/>
                  <a:pt x="6137908" y="1657715"/>
                </a:cubicBezTo>
                <a:cubicBezTo>
                  <a:pt x="6131726" y="1657715"/>
                  <a:pt x="6127606" y="1657715"/>
                  <a:pt x="6121427" y="1657715"/>
                </a:cubicBezTo>
                <a:cubicBezTo>
                  <a:pt x="6111126" y="1655460"/>
                  <a:pt x="6102886" y="1653203"/>
                  <a:pt x="6092586" y="1650949"/>
                </a:cubicBezTo>
                <a:cubicBezTo>
                  <a:pt x="6092586" y="1648692"/>
                  <a:pt x="6094645" y="1644180"/>
                  <a:pt x="6094645" y="1639669"/>
                </a:cubicBezTo>
                <a:cubicBezTo>
                  <a:pt x="6090525" y="1641926"/>
                  <a:pt x="6088467" y="1646437"/>
                  <a:pt x="6086406" y="1648692"/>
                </a:cubicBezTo>
                <a:cubicBezTo>
                  <a:pt x="6051386" y="1644180"/>
                  <a:pt x="6014304" y="1641926"/>
                  <a:pt x="5979285" y="1639669"/>
                </a:cubicBezTo>
                <a:cubicBezTo>
                  <a:pt x="5973104" y="1639669"/>
                  <a:pt x="5964863" y="1637414"/>
                  <a:pt x="5958685" y="1637414"/>
                </a:cubicBezTo>
                <a:cubicBezTo>
                  <a:pt x="5956626" y="1637414"/>
                  <a:pt x="5954565" y="1635156"/>
                  <a:pt x="5954565" y="1632901"/>
                </a:cubicBezTo>
                <a:cubicBezTo>
                  <a:pt x="5952506" y="1628390"/>
                  <a:pt x="5950445" y="1621621"/>
                  <a:pt x="5946324" y="1614854"/>
                </a:cubicBezTo>
                <a:cubicBezTo>
                  <a:pt x="5983406" y="1603576"/>
                  <a:pt x="6018425" y="1601318"/>
                  <a:pt x="6057565" y="1585529"/>
                </a:cubicBezTo>
                <a:cubicBezTo>
                  <a:pt x="6045206" y="1581016"/>
                  <a:pt x="6036965" y="1585529"/>
                  <a:pt x="6026665" y="1585529"/>
                </a:cubicBezTo>
                <a:cubicBezTo>
                  <a:pt x="6026665" y="1585529"/>
                  <a:pt x="6028726" y="1583271"/>
                  <a:pt x="6028726" y="1581016"/>
                </a:cubicBezTo>
                <a:cubicBezTo>
                  <a:pt x="6026665" y="1581016"/>
                  <a:pt x="6022545" y="1581016"/>
                  <a:pt x="6020486" y="1581016"/>
                </a:cubicBezTo>
                <a:cubicBezTo>
                  <a:pt x="6022545" y="1576504"/>
                  <a:pt x="6024606" y="1571993"/>
                  <a:pt x="6026665" y="1567482"/>
                </a:cubicBezTo>
                <a:cubicBezTo>
                  <a:pt x="6026665" y="1565224"/>
                  <a:pt x="6026665" y="1560712"/>
                  <a:pt x="6026665" y="1558457"/>
                </a:cubicBezTo>
                <a:cubicBezTo>
                  <a:pt x="6032844" y="1556200"/>
                  <a:pt x="6039026" y="1551689"/>
                  <a:pt x="6043145" y="1549434"/>
                </a:cubicBezTo>
                <a:cubicBezTo>
                  <a:pt x="6036965" y="1549434"/>
                  <a:pt x="6030785" y="1551689"/>
                  <a:pt x="6022545" y="1551689"/>
                </a:cubicBezTo>
                <a:cubicBezTo>
                  <a:pt x="6020486" y="1549434"/>
                  <a:pt x="6020486" y="1549434"/>
                  <a:pt x="6018425" y="1547176"/>
                </a:cubicBezTo>
                <a:cubicBezTo>
                  <a:pt x="6018425" y="1544921"/>
                  <a:pt x="6016367" y="1544921"/>
                  <a:pt x="6014304" y="1542664"/>
                </a:cubicBezTo>
                <a:cubicBezTo>
                  <a:pt x="6030785" y="1540410"/>
                  <a:pt x="6047265" y="1540410"/>
                  <a:pt x="6063746" y="1538153"/>
                </a:cubicBezTo>
                <a:cubicBezTo>
                  <a:pt x="6078165" y="1535898"/>
                  <a:pt x="6092586" y="1533641"/>
                  <a:pt x="6107006" y="1531387"/>
                </a:cubicBezTo>
                <a:cubicBezTo>
                  <a:pt x="6107006" y="1526874"/>
                  <a:pt x="6107006" y="1524617"/>
                  <a:pt x="6107006" y="1522362"/>
                </a:cubicBezTo>
                <a:cubicBezTo>
                  <a:pt x="6096706" y="1522362"/>
                  <a:pt x="6086406" y="1524617"/>
                  <a:pt x="6076106" y="1522362"/>
                </a:cubicBezTo>
                <a:cubicBezTo>
                  <a:pt x="6078165" y="1517851"/>
                  <a:pt x="6080226" y="1515596"/>
                  <a:pt x="6080226" y="1513339"/>
                </a:cubicBezTo>
                <a:cubicBezTo>
                  <a:pt x="6078165" y="1511081"/>
                  <a:pt x="6076106" y="1508828"/>
                  <a:pt x="6074045" y="1506570"/>
                </a:cubicBezTo>
                <a:cubicBezTo>
                  <a:pt x="6078165" y="1504315"/>
                  <a:pt x="6080226" y="1504315"/>
                  <a:pt x="6084347" y="1502060"/>
                </a:cubicBezTo>
                <a:cubicBezTo>
                  <a:pt x="6078165" y="1499804"/>
                  <a:pt x="6071986" y="1493037"/>
                  <a:pt x="6067866" y="1502060"/>
                </a:cubicBezTo>
                <a:cubicBezTo>
                  <a:pt x="6071986" y="1522362"/>
                  <a:pt x="6069927" y="1524617"/>
                  <a:pt x="6055506" y="1524617"/>
                </a:cubicBezTo>
                <a:cubicBezTo>
                  <a:pt x="6045206" y="1524617"/>
                  <a:pt x="6036965" y="1522362"/>
                  <a:pt x="6026665" y="1520106"/>
                </a:cubicBezTo>
                <a:cubicBezTo>
                  <a:pt x="6026665" y="1520106"/>
                  <a:pt x="6026665" y="1517851"/>
                  <a:pt x="6024606" y="1517851"/>
                </a:cubicBezTo>
                <a:cubicBezTo>
                  <a:pt x="6026665" y="1515596"/>
                  <a:pt x="6028726" y="1513339"/>
                  <a:pt x="6030785" y="1511081"/>
                </a:cubicBezTo>
                <a:cubicBezTo>
                  <a:pt x="6024606" y="1511081"/>
                  <a:pt x="6018425" y="1513339"/>
                  <a:pt x="6016367" y="1517851"/>
                </a:cubicBezTo>
                <a:cubicBezTo>
                  <a:pt x="6010185" y="1529128"/>
                  <a:pt x="6004006" y="1529128"/>
                  <a:pt x="5993704" y="1531387"/>
                </a:cubicBezTo>
                <a:cubicBezTo>
                  <a:pt x="5991645" y="1531387"/>
                  <a:pt x="5991645" y="1531387"/>
                  <a:pt x="5989584" y="1531387"/>
                </a:cubicBezTo>
                <a:cubicBezTo>
                  <a:pt x="5987526" y="1531387"/>
                  <a:pt x="5985465" y="1531387"/>
                  <a:pt x="5983406" y="1531387"/>
                </a:cubicBezTo>
                <a:cubicBezTo>
                  <a:pt x="5968983" y="1529128"/>
                  <a:pt x="5954565" y="1526874"/>
                  <a:pt x="5940143" y="1526874"/>
                </a:cubicBezTo>
                <a:cubicBezTo>
                  <a:pt x="5942204" y="1526874"/>
                  <a:pt x="5944263" y="1524617"/>
                  <a:pt x="5948386" y="1524617"/>
                </a:cubicBezTo>
                <a:cubicBezTo>
                  <a:pt x="5927785" y="1526874"/>
                  <a:pt x="5907185" y="1524617"/>
                  <a:pt x="5886585" y="1520106"/>
                </a:cubicBezTo>
                <a:cubicBezTo>
                  <a:pt x="5888644" y="1517851"/>
                  <a:pt x="5890705" y="1517851"/>
                  <a:pt x="5890705" y="1515596"/>
                </a:cubicBezTo>
                <a:cubicBezTo>
                  <a:pt x="5894824" y="1515596"/>
                  <a:pt x="5898945" y="1513339"/>
                  <a:pt x="5903065" y="1513339"/>
                </a:cubicBezTo>
                <a:cubicBezTo>
                  <a:pt x="5909244" y="1513339"/>
                  <a:pt x="5917483" y="1511081"/>
                  <a:pt x="5923665" y="1511081"/>
                </a:cubicBezTo>
                <a:cubicBezTo>
                  <a:pt x="5923665" y="1511081"/>
                  <a:pt x="5923665" y="1511081"/>
                  <a:pt x="5923665" y="1508828"/>
                </a:cubicBezTo>
                <a:cubicBezTo>
                  <a:pt x="5923665" y="1508828"/>
                  <a:pt x="5925724" y="1508828"/>
                  <a:pt x="5925724" y="1508828"/>
                </a:cubicBezTo>
                <a:cubicBezTo>
                  <a:pt x="5929844" y="1508828"/>
                  <a:pt x="5933965" y="1506570"/>
                  <a:pt x="5936026" y="1504315"/>
                </a:cubicBezTo>
                <a:cubicBezTo>
                  <a:pt x="5938085" y="1499804"/>
                  <a:pt x="5940143" y="1499804"/>
                  <a:pt x="5944263" y="1499804"/>
                </a:cubicBezTo>
                <a:cubicBezTo>
                  <a:pt x="5946324" y="1499804"/>
                  <a:pt x="5950445" y="1497549"/>
                  <a:pt x="5956626" y="1495292"/>
                </a:cubicBezTo>
                <a:cubicBezTo>
                  <a:pt x="5952506" y="1493037"/>
                  <a:pt x="5950445" y="1490779"/>
                  <a:pt x="5948386" y="1493037"/>
                </a:cubicBezTo>
                <a:cubicBezTo>
                  <a:pt x="5940143" y="1495292"/>
                  <a:pt x="5933965" y="1499804"/>
                  <a:pt x="5925724" y="1504315"/>
                </a:cubicBezTo>
                <a:cubicBezTo>
                  <a:pt x="5925724" y="1502060"/>
                  <a:pt x="5923665" y="1502060"/>
                  <a:pt x="5921604" y="1499804"/>
                </a:cubicBezTo>
                <a:cubicBezTo>
                  <a:pt x="5921604" y="1499804"/>
                  <a:pt x="5923665" y="1497549"/>
                  <a:pt x="5923665" y="1497549"/>
                </a:cubicBezTo>
                <a:cubicBezTo>
                  <a:pt x="5925724" y="1495292"/>
                  <a:pt x="5929844" y="1493037"/>
                  <a:pt x="5931906" y="1490779"/>
                </a:cubicBezTo>
                <a:cubicBezTo>
                  <a:pt x="5933965" y="1479502"/>
                  <a:pt x="5940143" y="1479502"/>
                  <a:pt x="5946324" y="1477243"/>
                </a:cubicBezTo>
                <a:cubicBezTo>
                  <a:pt x="5950445" y="1477243"/>
                  <a:pt x="5954565" y="1474990"/>
                  <a:pt x="5956626" y="1474990"/>
                </a:cubicBezTo>
                <a:cubicBezTo>
                  <a:pt x="5960744" y="1472732"/>
                  <a:pt x="5962805" y="1468220"/>
                  <a:pt x="5962805" y="1459196"/>
                </a:cubicBezTo>
                <a:cubicBezTo>
                  <a:pt x="5956626" y="1463709"/>
                  <a:pt x="5950445" y="1468220"/>
                  <a:pt x="5944263" y="1472732"/>
                </a:cubicBezTo>
                <a:cubicBezTo>
                  <a:pt x="5942204" y="1470477"/>
                  <a:pt x="5942204" y="1468220"/>
                  <a:pt x="5940143" y="1468220"/>
                </a:cubicBezTo>
                <a:cubicBezTo>
                  <a:pt x="5962805" y="1445661"/>
                  <a:pt x="5987526" y="1423101"/>
                  <a:pt x="6010185" y="1400546"/>
                </a:cubicBezTo>
                <a:cubicBezTo>
                  <a:pt x="6028726" y="1382498"/>
                  <a:pt x="6047265" y="1366706"/>
                  <a:pt x="6063746" y="1348657"/>
                </a:cubicBezTo>
                <a:cubicBezTo>
                  <a:pt x="6088467" y="1321586"/>
                  <a:pt x="6199706" y="1260678"/>
                  <a:pt x="6222366" y="1231352"/>
                </a:cubicBezTo>
                <a:cubicBezTo>
                  <a:pt x="6224427" y="1229095"/>
                  <a:pt x="6226488" y="1229095"/>
                  <a:pt x="6228547" y="1226840"/>
                </a:cubicBezTo>
                <a:cubicBezTo>
                  <a:pt x="6251209" y="1206535"/>
                  <a:pt x="6275929" y="1186234"/>
                  <a:pt x="6298588" y="1161419"/>
                </a:cubicBezTo>
                <a:cubicBezTo>
                  <a:pt x="6315070" y="1143372"/>
                  <a:pt x="6329488" y="1120813"/>
                  <a:pt x="6343909" y="1100508"/>
                </a:cubicBezTo>
                <a:cubicBezTo>
                  <a:pt x="6352147" y="1089230"/>
                  <a:pt x="6360388" y="1075694"/>
                  <a:pt x="6368630" y="1062159"/>
                </a:cubicBezTo>
                <a:cubicBezTo>
                  <a:pt x="6370689" y="1059904"/>
                  <a:pt x="6370689" y="1057648"/>
                  <a:pt x="6370689" y="1055393"/>
                </a:cubicBezTo>
                <a:cubicBezTo>
                  <a:pt x="6374809" y="1046369"/>
                  <a:pt x="6376868" y="1037344"/>
                  <a:pt x="6380988" y="1032833"/>
                </a:cubicBezTo>
                <a:cubicBezTo>
                  <a:pt x="6391289" y="1017040"/>
                  <a:pt x="6399530" y="1001251"/>
                  <a:pt x="6399530" y="983202"/>
                </a:cubicBezTo>
                <a:cubicBezTo>
                  <a:pt x="6401588" y="956132"/>
                  <a:pt x="6405709" y="929061"/>
                  <a:pt x="6391289" y="901990"/>
                </a:cubicBezTo>
                <a:cubicBezTo>
                  <a:pt x="6389228" y="899735"/>
                  <a:pt x="6391289" y="897477"/>
                  <a:pt x="6391289" y="895223"/>
                </a:cubicBezTo>
                <a:cubicBezTo>
                  <a:pt x="6391289" y="886199"/>
                  <a:pt x="6393348" y="877176"/>
                  <a:pt x="6391289" y="870410"/>
                </a:cubicBezTo>
                <a:cubicBezTo>
                  <a:pt x="6389228" y="861386"/>
                  <a:pt x="6385108" y="852359"/>
                  <a:pt x="6383050" y="843338"/>
                </a:cubicBezTo>
                <a:cubicBezTo>
                  <a:pt x="6380988" y="834314"/>
                  <a:pt x="6374809" y="827545"/>
                  <a:pt x="6368630" y="818521"/>
                </a:cubicBezTo>
                <a:cubicBezTo>
                  <a:pt x="6364507" y="811755"/>
                  <a:pt x="6360388" y="807243"/>
                  <a:pt x="6356268" y="800474"/>
                </a:cubicBezTo>
                <a:cubicBezTo>
                  <a:pt x="6348030" y="784683"/>
                  <a:pt x="6341848" y="766636"/>
                  <a:pt x="6329488" y="755358"/>
                </a:cubicBezTo>
                <a:cubicBezTo>
                  <a:pt x="6323309" y="748590"/>
                  <a:pt x="6319189" y="739565"/>
                  <a:pt x="6315070" y="730541"/>
                </a:cubicBezTo>
                <a:cubicBezTo>
                  <a:pt x="6306829" y="717006"/>
                  <a:pt x="6302709" y="698959"/>
                  <a:pt x="6286229" y="694448"/>
                </a:cubicBezTo>
                <a:cubicBezTo>
                  <a:pt x="6284167" y="694448"/>
                  <a:pt x="6282108" y="692193"/>
                  <a:pt x="6282108" y="689935"/>
                </a:cubicBezTo>
                <a:cubicBezTo>
                  <a:pt x="6280047" y="678657"/>
                  <a:pt x="6271807" y="674146"/>
                  <a:pt x="6265627" y="667378"/>
                </a:cubicBezTo>
                <a:cubicBezTo>
                  <a:pt x="6255329" y="653842"/>
                  <a:pt x="6240907" y="642562"/>
                  <a:pt x="6226488" y="635795"/>
                </a:cubicBezTo>
                <a:cubicBezTo>
                  <a:pt x="6222366" y="633538"/>
                  <a:pt x="6218245" y="631283"/>
                  <a:pt x="6216186" y="626772"/>
                </a:cubicBezTo>
                <a:cubicBezTo>
                  <a:pt x="6207947" y="620003"/>
                  <a:pt x="6201768" y="610979"/>
                  <a:pt x="6189408" y="613236"/>
                </a:cubicBezTo>
                <a:cubicBezTo>
                  <a:pt x="6177047" y="615490"/>
                  <a:pt x="6166745" y="610979"/>
                  <a:pt x="6158508" y="604213"/>
                </a:cubicBezTo>
                <a:cubicBezTo>
                  <a:pt x="6150265" y="597443"/>
                  <a:pt x="6142027" y="595188"/>
                  <a:pt x="6131726" y="595188"/>
                </a:cubicBezTo>
                <a:cubicBezTo>
                  <a:pt x="6119366" y="595188"/>
                  <a:pt x="6104945" y="592932"/>
                  <a:pt x="6092586" y="595188"/>
                </a:cubicBezTo>
                <a:cubicBezTo>
                  <a:pt x="6078165" y="597443"/>
                  <a:pt x="6063746" y="604213"/>
                  <a:pt x="6049327" y="606468"/>
                </a:cubicBezTo>
                <a:cubicBezTo>
                  <a:pt x="6026665" y="613236"/>
                  <a:pt x="5929844" y="669633"/>
                  <a:pt x="5907185" y="676400"/>
                </a:cubicBezTo>
                <a:cubicBezTo>
                  <a:pt x="5890705" y="680912"/>
                  <a:pt x="5876283" y="689935"/>
                  <a:pt x="5861864" y="696704"/>
                </a:cubicBezTo>
                <a:cubicBezTo>
                  <a:pt x="5857744" y="698959"/>
                  <a:pt x="5853624" y="698959"/>
                  <a:pt x="5845383" y="703470"/>
                </a:cubicBezTo>
                <a:cubicBezTo>
                  <a:pt x="5845383" y="696704"/>
                  <a:pt x="5845383" y="692193"/>
                  <a:pt x="5847442" y="687680"/>
                </a:cubicBezTo>
                <a:cubicBezTo>
                  <a:pt x="5849503" y="678657"/>
                  <a:pt x="5853624" y="669633"/>
                  <a:pt x="5855683" y="660610"/>
                </a:cubicBezTo>
                <a:cubicBezTo>
                  <a:pt x="5868042" y="631283"/>
                  <a:pt x="5878344" y="601955"/>
                  <a:pt x="5890705" y="570372"/>
                </a:cubicBezTo>
                <a:cubicBezTo>
                  <a:pt x="5892763" y="568118"/>
                  <a:pt x="5894824" y="565860"/>
                  <a:pt x="5896883" y="565860"/>
                </a:cubicBezTo>
                <a:cubicBezTo>
                  <a:pt x="5901003" y="563605"/>
                  <a:pt x="5905124" y="561348"/>
                  <a:pt x="5907185" y="556839"/>
                </a:cubicBezTo>
                <a:cubicBezTo>
                  <a:pt x="5911305" y="550070"/>
                  <a:pt x="5913364" y="541046"/>
                  <a:pt x="5921604" y="536535"/>
                </a:cubicBezTo>
                <a:cubicBezTo>
                  <a:pt x="5913364" y="534280"/>
                  <a:pt x="5907185" y="538792"/>
                  <a:pt x="5903065" y="543303"/>
                </a:cubicBezTo>
                <a:cubicBezTo>
                  <a:pt x="5903065" y="541046"/>
                  <a:pt x="5905124" y="538792"/>
                  <a:pt x="5905124" y="538792"/>
                </a:cubicBezTo>
                <a:cubicBezTo>
                  <a:pt x="5911305" y="522999"/>
                  <a:pt x="5917483" y="507208"/>
                  <a:pt x="5923665" y="491416"/>
                </a:cubicBezTo>
                <a:cubicBezTo>
                  <a:pt x="5933965" y="489161"/>
                  <a:pt x="5944263" y="484650"/>
                  <a:pt x="5952506" y="477880"/>
                </a:cubicBezTo>
                <a:cubicBezTo>
                  <a:pt x="5950445" y="477880"/>
                  <a:pt x="5948386" y="475626"/>
                  <a:pt x="5946324" y="475626"/>
                </a:cubicBezTo>
                <a:cubicBezTo>
                  <a:pt x="5940143" y="475626"/>
                  <a:pt x="5933965" y="477880"/>
                  <a:pt x="5927785" y="480138"/>
                </a:cubicBezTo>
                <a:cubicBezTo>
                  <a:pt x="5936026" y="462090"/>
                  <a:pt x="5944263" y="441788"/>
                  <a:pt x="5952506" y="421484"/>
                </a:cubicBezTo>
                <a:cubicBezTo>
                  <a:pt x="5958685" y="405694"/>
                  <a:pt x="5960744" y="389901"/>
                  <a:pt x="5968983" y="374110"/>
                </a:cubicBezTo>
                <a:cubicBezTo>
                  <a:pt x="5979285" y="353808"/>
                  <a:pt x="5983406" y="331250"/>
                  <a:pt x="5989584" y="310944"/>
                </a:cubicBezTo>
                <a:cubicBezTo>
                  <a:pt x="5993704" y="308690"/>
                  <a:pt x="5995765" y="306432"/>
                  <a:pt x="5997824" y="304178"/>
                </a:cubicBezTo>
                <a:cubicBezTo>
                  <a:pt x="6004006" y="299666"/>
                  <a:pt x="6008126" y="292897"/>
                  <a:pt x="6018425" y="295155"/>
                </a:cubicBezTo>
                <a:cubicBezTo>
                  <a:pt x="6016367" y="301921"/>
                  <a:pt x="6014304" y="306432"/>
                  <a:pt x="6014304" y="310944"/>
                </a:cubicBezTo>
                <a:cubicBezTo>
                  <a:pt x="6028726" y="310944"/>
                  <a:pt x="6032844" y="301921"/>
                  <a:pt x="6034906" y="290642"/>
                </a:cubicBezTo>
                <a:cubicBezTo>
                  <a:pt x="6032844" y="290642"/>
                  <a:pt x="6030785" y="288385"/>
                  <a:pt x="6026665" y="288385"/>
                </a:cubicBezTo>
                <a:cubicBezTo>
                  <a:pt x="6028726" y="279362"/>
                  <a:pt x="6034906" y="272595"/>
                  <a:pt x="6041087" y="268083"/>
                </a:cubicBezTo>
                <a:cubicBezTo>
                  <a:pt x="6045206" y="270338"/>
                  <a:pt x="6051386" y="274849"/>
                  <a:pt x="6053445" y="274849"/>
                </a:cubicBezTo>
                <a:cubicBezTo>
                  <a:pt x="6055506" y="277108"/>
                  <a:pt x="6057565" y="279362"/>
                  <a:pt x="6061685" y="281619"/>
                </a:cubicBezTo>
                <a:cubicBezTo>
                  <a:pt x="6065804" y="277108"/>
                  <a:pt x="6071986" y="274849"/>
                  <a:pt x="6076106" y="268083"/>
                </a:cubicBezTo>
                <a:cubicBezTo>
                  <a:pt x="6080226" y="263572"/>
                  <a:pt x="6078165" y="256802"/>
                  <a:pt x="6071986" y="256802"/>
                </a:cubicBezTo>
                <a:cubicBezTo>
                  <a:pt x="6065804" y="256802"/>
                  <a:pt x="6059626" y="254547"/>
                  <a:pt x="6053445" y="254547"/>
                </a:cubicBezTo>
                <a:cubicBezTo>
                  <a:pt x="6055506" y="252293"/>
                  <a:pt x="6057565" y="247779"/>
                  <a:pt x="6059626" y="245524"/>
                </a:cubicBezTo>
                <a:cubicBezTo>
                  <a:pt x="6053445" y="247779"/>
                  <a:pt x="6045206" y="247779"/>
                  <a:pt x="6043145" y="259060"/>
                </a:cubicBezTo>
                <a:cubicBezTo>
                  <a:pt x="6043145" y="261314"/>
                  <a:pt x="6041087" y="261314"/>
                  <a:pt x="6041087" y="263572"/>
                </a:cubicBezTo>
                <a:cubicBezTo>
                  <a:pt x="6039026" y="263572"/>
                  <a:pt x="6039026" y="265826"/>
                  <a:pt x="6036965" y="265826"/>
                </a:cubicBezTo>
                <a:cubicBezTo>
                  <a:pt x="6028726" y="268083"/>
                  <a:pt x="6022545" y="272595"/>
                  <a:pt x="6016367" y="277108"/>
                </a:cubicBezTo>
                <a:cubicBezTo>
                  <a:pt x="6018425" y="272595"/>
                  <a:pt x="6020486" y="268083"/>
                  <a:pt x="6022545" y="263572"/>
                </a:cubicBezTo>
                <a:cubicBezTo>
                  <a:pt x="6020486" y="263572"/>
                  <a:pt x="6016367" y="263572"/>
                  <a:pt x="6014304" y="263572"/>
                </a:cubicBezTo>
                <a:cubicBezTo>
                  <a:pt x="6010185" y="265826"/>
                  <a:pt x="6006065" y="270338"/>
                  <a:pt x="5999886" y="274849"/>
                </a:cubicBezTo>
                <a:cubicBezTo>
                  <a:pt x="5999886" y="270338"/>
                  <a:pt x="5999886" y="265826"/>
                  <a:pt x="5999886" y="261314"/>
                </a:cubicBezTo>
                <a:lnTo>
                  <a:pt x="5999574" y="258581"/>
                </a:lnTo>
                <a:lnTo>
                  <a:pt x="5997824" y="259060"/>
                </a:lnTo>
                <a:cubicBezTo>
                  <a:pt x="5993704" y="254547"/>
                  <a:pt x="5991645" y="252293"/>
                  <a:pt x="5987526" y="250036"/>
                </a:cubicBezTo>
                <a:lnTo>
                  <a:pt x="5998154" y="246155"/>
                </a:lnTo>
                <a:lnTo>
                  <a:pt x="5997824" y="243267"/>
                </a:lnTo>
                <a:cubicBezTo>
                  <a:pt x="6004006" y="236500"/>
                  <a:pt x="6010185" y="227477"/>
                  <a:pt x="6016367" y="220707"/>
                </a:cubicBezTo>
                <a:cubicBezTo>
                  <a:pt x="6016367" y="220707"/>
                  <a:pt x="6018425" y="220707"/>
                  <a:pt x="6020486" y="220707"/>
                </a:cubicBezTo>
                <a:lnTo>
                  <a:pt x="6021859" y="223716"/>
                </a:lnTo>
                <a:lnTo>
                  <a:pt x="6022545" y="222965"/>
                </a:lnTo>
                <a:cubicBezTo>
                  <a:pt x="6024606" y="222965"/>
                  <a:pt x="6024606" y="222965"/>
                  <a:pt x="6026665" y="220707"/>
                </a:cubicBezTo>
                <a:cubicBezTo>
                  <a:pt x="6030785" y="218452"/>
                  <a:pt x="6028726" y="211686"/>
                  <a:pt x="6036965" y="211686"/>
                </a:cubicBezTo>
                <a:lnTo>
                  <a:pt x="6032844" y="211686"/>
                </a:lnTo>
                <a:cubicBezTo>
                  <a:pt x="6032844" y="209429"/>
                  <a:pt x="6034906" y="207175"/>
                  <a:pt x="6034906" y="207175"/>
                </a:cubicBezTo>
                <a:cubicBezTo>
                  <a:pt x="6034906" y="207175"/>
                  <a:pt x="6034906" y="204917"/>
                  <a:pt x="6034906" y="204917"/>
                </a:cubicBezTo>
                <a:cubicBezTo>
                  <a:pt x="6034906" y="204917"/>
                  <a:pt x="6032844" y="204917"/>
                  <a:pt x="6032844" y="204917"/>
                </a:cubicBezTo>
                <a:cubicBezTo>
                  <a:pt x="6032844" y="195894"/>
                  <a:pt x="6032844" y="184616"/>
                  <a:pt x="6032844" y="175592"/>
                </a:cubicBezTo>
                <a:cubicBezTo>
                  <a:pt x="6032844" y="175592"/>
                  <a:pt x="6034906" y="173335"/>
                  <a:pt x="6034906" y="173335"/>
                </a:cubicBezTo>
                <a:cubicBezTo>
                  <a:pt x="6034906" y="173335"/>
                  <a:pt x="6036965" y="171080"/>
                  <a:pt x="6036965" y="168823"/>
                </a:cubicBezTo>
                <a:cubicBezTo>
                  <a:pt x="6034906" y="166568"/>
                  <a:pt x="6034906" y="164310"/>
                  <a:pt x="6032844" y="164310"/>
                </a:cubicBezTo>
                <a:cubicBezTo>
                  <a:pt x="6030785" y="162056"/>
                  <a:pt x="6030785" y="159799"/>
                  <a:pt x="6028726" y="159799"/>
                </a:cubicBezTo>
                <a:cubicBezTo>
                  <a:pt x="6030785" y="155287"/>
                  <a:pt x="6032844" y="153033"/>
                  <a:pt x="6032844" y="153033"/>
                </a:cubicBezTo>
                <a:cubicBezTo>
                  <a:pt x="6028726" y="146263"/>
                  <a:pt x="6026665" y="141751"/>
                  <a:pt x="6024606" y="137242"/>
                </a:cubicBezTo>
                <a:lnTo>
                  <a:pt x="6029662" y="125244"/>
                </a:lnTo>
                <a:lnTo>
                  <a:pt x="6022545" y="134985"/>
                </a:lnTo>
                <a:cubicBezTo>
                  <a:pt x="6020486" y="132727"/>
                  <a:pt x="6018425" y="132727"/>
                  <a:pt x="6018425" y="132727"/>
                </a:cubicBezTo>
                <a:cubicBezTo>
                  <a:pt x="6014304" y="134985"/>
                  <a:pt x="6008126" y="134985"/>
                  <a:pt x="6008126" y="141751"/>
                </a:cubicBezTo>
                <a:cubicBezTo>
                  <a:pt x="6012244" y="144008"/>
                  <a:pt x="6014304" y="144008"/>
                  <a:pt x="6016367" y="144008"/>
                </a:cubicBezTo>
                <a:cubicBezTo>
                  <a:pt x="6014304" y="146263"/>
                  <a:pt x="6014304" y="146263"/>
                  <a:pt x="6012244" y="148520"/>
                </a:cubicBezTo>
                <a:cubicBezTo>
                  <a:pt x="6006065" y="146263"/>
                  <a:pt x="6001945" y="144008"/>
                  <a:pt x="5997824" y="144008"/>
                </a:cubicBezTo>
                <a:cubicBezTo>
                  <a:pt x="5995765" y="146263"/>
                  <a:pt x="5993704" y="148520"/>
                  <a:pt x="5991645" y="150778"/>
                </a:cubicBezTo>
                <a:cubicBezTo>
                  <a:pt x="5991645" y="150778"/>
                  <a:pt x="5991645" y="148520"/>
                  <a:pt x="5989584" y="148520"/>
                </a:cubicBezTo>
                <a:cubicBezTo>
                  <a:pt x="5979285" y="137242"/>
                  <a:pt x="5971045" y="123706"/>
                  <a:pt x="5968983" y="107914"/>
                </a:cubicBezTo>
                <a:cubicBezTo>
                  <a:pt x="5973104" y="105659"/>
                  <a:pt x="5979285" y="101147"/>
                  <a:pt x="5983406" y="98890"/>
                </a:cubicBezTo>
                <a:cubicBezTo>
                  <a:pt x="5983406" y="98890"/>
                  <a:pt x="5983406" y="98890"/>
                  <a:pt x="5983406" y="101147"/>
                </a:cubicBezTo>
                <a:cubicBezTo>
                  <a:pt x="5981344" y="105659"/>
                  <a:pt x="5983406" y="110172"/>
                  <a:pt x="5985465" y="119192"/>
                </a:cubicBezTo>
                <a:cubicBezTo>
                  <a:pt x="5987526" y="116938"/>
                  <a:pt x="5989584" y="114683"/>
                  <a:pt x="5991645" y="112426"/>
                </a:cubicBezTo>
                <a:cubicBezTo>
                  <a:pt x="6004006" y="116938"/>
                  <a:pt x="6004006" y="116938"/>
                  <a:pt x="6012244" y="110172"/>
                </a:cubicBezTo>
                <a:cubicBezTo>
                  <a:pt x="6008126" y="105659"/>
                  <a:pt x="6004006" y="105659"/>
                  <a:pt x="5997824" y="105659"/>
                </a:cubicBezTo>
                <a:cubicBezTo>
                  <a:pt x="5999886" y="103402"/>
                  <a:pt x="5999886" y="103402"/>
                  <a:pt x="6001945" y="101147"/>
                </a:cubicBezTo>
                <a:cubicBezTo>
                  <a:pt x="6004006" y="98890"/>
                  <a:pt x="6006065" y="96636"/>
                  <a:pt x="6006065" y="92123"/>
                </a:cubicBezTo>
                <a:cubicBezTo>
                  <a:pt x="6006065" y="87612"/>
                  <a:pt x="6008126" y="85355"/>
                  <a:pt x="6008126" y="83100"/>
                </a:cubicBezTo>
                <a:cubicBezTo>
                  <a:pt x="6008126" y="83100"/>
                  <a:pt x="6010185" y="83100"/>
                  <a:pt x="6010185" y="80843"/>
                </a:cubicBezTo>
                <a:cubicBezTo>
                  <a:pt x="6012244" y="80843"/>
                  <a:pt x="6014304" y="80843"/>
                  <a:pt x="6018425" y="80843"/>
                </a:cubicBezTo>
                <a:cubicBezTo>
                  <a:pt x="6022545" y="80843"/>
                  <a:pt x="6026665" y="80843"/>
                  <a:pt x="6028726" y="78588"/>
                </a:cubicBezTo>
                <a:cubicBezTo>
                  <a:pt x="6041087" y="69564"/>
                  <a:pt x="6053445" y="60541"/>
                  <a:pt x="6065804" y="51517"/>
                </a:cubicBezTo>
                <a:cubicBezTo>
                  <a:pt x="6071986" y="47005"/>
                  <a:pt x="6080226" y="40236"/>
                  <a:pt x="6086406" y="35724"/>
                </a:cubicBezTo>
                <a:lnTo>
                  <a:pt x="6132232" y="8452"/>
                </a:lnTo>
                <a:lnTo>
                  <a:pt x="6141053" y="0"/>
                </a:lnTo>
                <a:lnTo>
                  <a:pt x="0" y="0"/>
                </a:lnTo>
                <a:lnTo>
                  <a:pt x="0" y="199016"/>
                </a:lnTo>
                <a:lnTo>
                  <a:pt x="13470" y="189127"/>
                </a:lnTo>
                <a:lnTo>
                  <a:pt x="0" y="206500"/>
                </a:lnTo>
                <a:lnTo>
                  <a:pt x="0" y="3498582"/>
                </a:lnTo>
                <a:lnTo>
                  <a:pt x="2653" y="3499657"/>
                </a:lnTo>
                <a:cubicBezTo>
                  <a:pt x="6773" y="3502478"/>
                  <a:pt x="10379" y="3506426"/>
                  <a:pt x="13470" y="3512066"/>
                </a:cubicBezTo>
                <a:cubicBezTo>
                  <a:pt x="15528" y="3518832"/>
                  <a:pt x="25830" y="3518832"/>
                  <a:pt x="27889" y="3525598"/>
                </a:cubicBezTo>
                <a:cubicBezTo>
                  <a:pt x="29950" y="3534625"/>
                  <a:pt x="40248" y="3536880"/>
                  <a:pt x="44369" y="3541392"/>
                </a:cubicBezTo>
                <a:cubicBezTo>
                  <a:pt x="50550" y="3548158"/>
                  <a:pt x="58788" y="3552670"/>
                  <a:pt x="69089" y="3545904"/>
                </a:cubicBezTo>
                <a:cubicBezTo>
                  <a:pt x="75268" y="3541392"/>
                  <a:pt x="83509" y="3545904"/>
                  <a:pt x="91748" y="3541392"/>
                </a:cubicBezTo>
                <a:cubicBezTo>
                  <a:pt x="99989" y="3536880"/>
                  <a:pt x="108229" y="3532368"/>
                  <a:pt x="116469" y="3534625"/>
                </a:cubicBezTo>
                <a:cubicBezTo>
                  <a:pt x="124710" y="3530111"/>
                  <a:pt x="132950" y="3532368"/>
                  <a:pt x="141189" y="3530111"/>
                </a:cubicBezTo>
                <a:cubicBezTo>
                  <a:pt x="149430" y="3527856"/>
                  <a:pt x="157670" y="3523344"/>
                  <a:pt x="165910" y="3518832"/>
                </a:cubicBezTo>
                <a:cubicBezTo>
                  <a:pt x="182391" y="3509809"/>
                  <a:pt x="196810" y="3500785"/>
                  <a:pt x="213290" y="3491762"/>
                </a:cubicBezTo>
                <a:cubicBezTo>
                  <a:pt x="227710" y="3482738"/>
                  <a:pt x="244190" y="3480483"/>
                  <a:pt x="252430" y="3462436"/>
                </a:cubicBezTo>
                <a:cubicBezTo>
                  <a:pt x="252430" y="3460178"/>
                  <a:pt x="293630" y="3484994"/>
                  <a:pt x="295692" y="3484994"/>
                </a:cubicBezTo>
                <a:cubicBezTo>
                  <a:pt x="316292" y="3473714"/>
                  <a:pt x="338951" y="3460178"/>
                  <a:pt x="359553" y="3448900"/>
                </a:cubicBezTo>
                <a:cubicBezTo>
                  <a:pt x="361610" y="3446643"/>
                  <a:pt x="367792" y="3448900"/>
                  <a:pt x="369851" y="3448900"/>
                </a:cubicBezTo>
                <a:cubicBezTo>
                  <a:pt x="373971" y="3448900"/>
                  <a:pt x="376033" y="3446643"/>
                  <a:pt x="378092" y="3442131"/>
                </a:cubicBezTo>
                <a:cubicBezTo>
                  <a:pt x="380153" y="3435365"/>
                  <a:pt x="386331" y="3433107"/>
                  <a:pt x="392513" y="3433107"/>
                </a:cubicBezTo>
                <a:cubicBezTo>
                  <a:pt x="396633" y="3433107"/>
                  <a:pt x="400753" y="3433107"/>
                  <a:pt x="402812" y="3430852"/>
                </a:cubicBezTo>
                <a:cubicBezTo>
                  <a:pt x="429594" y="3417318"/>
                  <a:pt x="454312" y="3401524"/>
                  <a:pt x="481094" y="3387992"/>
                </a:cubicBezTo>
                <a:cubicBezTo>
                  <a:pt x="485214" y="3385734"/>
                  <a:pt x="489334" y="3383480"/>
                  <a:pt x="489334" y="3381223"/>
                </a:cubicBezTo>
                <a:cubicBezTo>
                  <a:pt x="495513" y="3365432"/>
                  <a:pt x="511994" y="3363174"/>
                  <a:pt x="522295" y="3356408"/>
                </a:cubicBezTo>
                <a:cubicBezTo>
                  <a:pt x="526412" y="3354151"/>
                  <a:pt x="530533" y="3351896"/>
                  <a:pt x="536713" y="3349640"/>
                </a:cubicBezTo>
                <a:cubicBezTo>
                  <a:pt x="547013" y="3342874"/>
                  <a:pt x="557314" y="3338361"/>
                  <a:pt x="567613" y="3331592"/>
                </a:cubicBezTo>
                <a:cubicBezTo>
                  <a:pt x="573795" y="3329338"/>
                  <a:pt x="577915" y="3322568"/>
                  <a:pt x="579974" y="3315802"/>
                </a:cubicBezTo>
                <a:cubicBezTo>
                  <a:pt x="584094" y="3315802"/>
                  <a:pt x="590275" y="3318056"/>
                  <a:pt x="594395" y="3313545"/>
                </a:cubicBezTo>
                <a:cubicBezTo>
                  <a:pt x="600574" y="3309036"/>
                  <a:pt x="606755" y="3306778"/>
                  <a:pt x="612934" y="3302266"/>
                </a:cubicBezTo>
                <a:cubicBezTo>
                  <a:pt x="614995" y="3306778"/>
                  <a:pt x="619113" y="3306778"/>
                  <a:pt x="621174" y="3309036"/>
                </a:cubicBezTo>
                <a:cubicBezTo>
                  <a:pt x="623233" y="3313545"/>
                  <a:pt x="627356" y="3315802"/>
                  <a:pt x="631474" y="3318056"/>
                </a:cubicBezTo>
                <a:cubicBezTo>
                  <a:pt x="635593" y="3322568"/>
                  <a:pt x="639713" y="3324825"/>
                  <a:pt x="645895" y="3320314"/>
                </a:cubicBezTo>
                <a:cubicBezTo>
                  <a:pt x="650015" y="3318056"/>
                  <a:pt x="654135" y="3320314"/>
                  <a:pt x="658255" y="3318056"/>
                </a:cubicBezTo>
                <a:cubicBezTo>
                  <a:pt x="662376" y="3315802"/>
                  <a:pt x="666495" y="3313545"/>
                  <a:pt x="672674" y="3313545"/>
                </a:cubicBezTo>
                <a:cubicBezTo>
                  <a:pt x="676795" y="3311290"/>
                  <a:pt x="682976" y="3311290"/>
                  <a:pt x="687096" y="3311290"/>
                </a:cubicBezTo>
                <a:cubicBezTo>
                  <a:pt x="691215" y="3309036"/>
                  <a:pt x="697395" y="3306778"/>
                  <a:pt x="701515" y="3304520"/>
                </a:cubicBezTo>
                <a:cubicBezTo>
                  <a:pt x="709755" y="3300009"/>
                  <a:pt x="717995" y="3295500"/>
                  <a:pt x="724174" y="3290988"/>
                </a:cubicBezTo>
                <a:cubicBezTo>
                  <a:pt x="728295" y="3295500"/>
                  <a:pt x="730356" y="3297754"/>
                  <a:pt x="736534" y="3300009"/>
                </a:cubicBezTo>
                <a:cubicBezTo>
                  <a:pt x="740654" y="3306778"/>
                  <a:pt x="744775" y="3313545"/>
                  <a:pt x="753015" y="3318056"/>
                </a:cubicBezTo>
                <a:cubicBezTo>
                  <a:pt x="759197" y="3320314"/>
                  <a:pt x="707697" y="3378968"/>
                  <a:pt x="713875" y="3381223"/>
                </a:cubicBezTo>
                <a:cubicBezTo>
                  <a:pt x="720056" y="3385734"/>
                  <a:pt x="726236" y="3390246"/>
                  <a:pt x="732415" y="3394758"/>
                </a:cubicBezTo>
                <a:cubicBezTo>
                  <a:pt x="734476" y="3397016"/>
                  <a:pt x="738595" y="3401524"/>
                  <a:pt x="738595" y="3403782"/>
                </a:cubicBezTo>
                <a:cubicBezTo>
                  <a:pt x="742716" y="3412805"/>
                  <a:pt x="746836" y="3417318"/>
                  <a:pt x="755076" y="3419572"/>
                </a:cubicBezTo>
                <a:cubicBezTo>
                  <a:pt x="759197" y="3426341"/>
                  <a:pt x="765375" y="3426341"/>
                  <a:pt x="771556" y="3424084"/>
                </a:cubicBezTo>
                <a:cubicBezTo>
                  <a:pt x="775677" y="3424084"/>
                  <a:pt x="779797" y="3426341"/>
                  <a:pt x="781856" y="3424084"/>
                </a:cubicBezTo>
                <a:cubicBezTo>
                  <a:pt x="788036" y="3421829"/>
                  <a:pt x="790095" y="3424084"/>
                  <a:pt x="794216" y="3428596"/>
                </a:cubicBezTo>
                <a:cubicBezTo>
                  <a:pt x="798336" y="3433107"/>
                  <a:pt x="804515" y="3435365"/>
                  <a:pt x="808638" y="3439876"/>
                </a:cubicBezTo>
                <a:cubicBezTo>
                  <a:pt x="808638" y="3442131"/>
                  <a:pt x="812758" y="3439876"/>
                  <a:pt x="814816" y="3439876"/>
                </a:cubicBezTo>
                <a:cubicBezTo>
                  <a:pt x="816875" y="3439876"/>
                  <a:pt x="818936" y="3437620"/>
                  <a:pt x="820995" y="3437620"/>
                </a:cubicBezTo>
                <a:cubicBezTo>
                  <a:pt x="825115" y="3435365"/>
                  <a:pt x="829236" y="3437620"/>
                  <a:pt x="831297" y="3439876"/>
                </a:cubicBezTo>
                <a:cubicBezTo>
                  <a:pt x="835417" y="3444388"/>
                  <a:pt x="839536" y="3444388"/>
                  <a:pt x="843657" y="3442131"/>
                </a:cubicBezTo>
                <a:cubicBezTo>
                  <a:pt x="845716" y="3439876"/>
                  <a:pt x="847777" y="3437620"/>
                  <a:pt x="849836" y="3439876"/>
                </a:cubicBezTo>
                <a:cubicBezTo>
                  <a:pt x="860138" y="3442131"/>
                  <a:pt x="872497" y="3442131"/>
                  <a:pt x="880738" y="3453412"/>
                </a:cubicBezTo>
                <a:cubicBezTo>
                  <a:pt x="886916" y="3457924"/>
                  <a:pt x="895157" y="3460178"/>
                  <a:pt x="901338" y="3455667"/>
                </a:cubicBezTo>
                <a:cubicBezTo>
                  <a:pt x="907517" y="3451154"/>
                  <a:pt x="913698" y="3453412"/>
                  <a:pt x="919877" y="3455667"/>
                </a:cubicBezTo>
                <a:cubicBezTo>
                  <a:pt x="926059" y="3457924"/>
                  <a:pt x="928118" y="3462436"/>
                  <a:pt x="930177" y="3466947"/>
                </a:cubicBezTo>
                <a:cubicBezTo>
                  <a:pt x="932238" y="3471460"/>
                  <a:pt x="934297" y="3475969"/>
                  <a:pt x="936357" y="3482738"/>
                </a:cubicBezTo>
                <a:cubicBezTo>
                  <a:pt x="938416" y="3487249"/>
                  <a:pt x="936357" y="3491762"/>
                  <a:pt x="934297" y="3494019"/>
                </a:cubicBezTo>
                <a:cubicBezTo>
                  <a:pt x="930177" y="3498528"/>
                  <a:pt x="930177" y="3503040"/>
                  <a:pt x="932238" y="3507554"/>
                </a:cubicBezTo>
                <a:cubicBezTo>
                  <a:pt x="934297" y="3512066"/>
                  <a:pt x="936357" y="3514321"/>
                  <a:pt x="938416" y="3518832"/>
                </a:cubicBezTo>
                <a:cubicBezTo>
                  <a:pt x="940477" y="3523344"/>
                  <a:pt x="944598" y="3523344"/>
                  <a:pt x="946657" y="3525598"/>
                </a:cubicBezTo>
                <a:cubicBezTo>
                  <a:pt x="956958" y="3527856"/>
                  <a:pt x="963137" y="3525598"/>
                  <a:pt x="969318" y="3516578"/>
                </a:cubicBezTo>
                <a:cubicBezTo>
                  <a:pt x="971377" y="3514321"/>
                  <a:pt x="971377" y="3509809"/>
                  <a:pt x="975497" y="3507554"/>
                </a:cubicBezTo>
                <a:cubicBezTo>
                  <a:pt x="985799" y="3500785"/>
                  <a:pt x="987857" y="3487249"/>
                  <a:pt x="1000218" y="3482738"/>
                </a:cubicBezTo>
                <a:cubicBezTo>
                  <a:pt x="1002277" y="3482738"/>
                  <a:pt x="1002277" y="3478226"/>
                  <a:pt x="1000218" y="3475969"/>
                </a:cubicBezTo>
                <a:cubicBezTo>
                  <a:pt x="1000218" y="3473714"/>
                  <a:pt x="998159" y="3471460"/>
                  <a:pt x="996098" y="3469202"/>
                </a:cubicBezTo>
                <a:cubicBezTo>
                  <a:pt x="994039" y="3460178"/>
                  <a:pt x="996098" y="3455667"/>
                  <a:pt x="1004338" y="3455667"/>
                </a:cubicBezTo>
                <a:cubicBezTo>
                  <a:pt x="1010516" y="3455667"/>
                  <a:pt x="1012578" y="3453412"/>
                  <a:pt x="1014637" y="3448900"/>
                </a:cubicBezTo>
                <a:cubicBezTo>
                  <a:pt x="1014637" y="3446643"/>
                  <a:pt x="1016698" y="3446643"/>
                  <a:pt x="1016698" y="3446643"/>
                </a:cubicBezTo>
                <a:cubicBezTo>
                  <a:pt x="1029059" y="3437620"/>
                  <a:pt x="1043477" y="3430852"/>
                  <a:pt x="1055838" y="3421829"/>
                </a:cubicBezTo>
                <a:cubicBezTo>
                  <a:pt x="1057899" y="3419572"/>
                  <a:pt x="1059957" y="3419572"/>
                  <a:pt x="1062019" y="3421829"/>
                </a:cubicBezTo>
                <a:cubicBezTo>
                  <a:pt x="1064078" y="3421829"/>
                  <a:pt x="1066139" y="3424084"/>
                  <a:pt x="1070259" y="3424084"/>
                </a:cubicBezTo>
                <a:cubicBezTo>
                  <a:pt x="1078500" y="3426341"/>
                  <a:pt x="1086739" y="3428596"/>
                  <a:pt x="1090860" y="3439876"/>
                </a:cubicBezTo>
                <a:cubicBezTo>
                  <a:pt x="1090860" y="3442131"/>
                  <a:pt x="1094977" y="3444388"/>
                  <a:pt x="1097039" y="3444388"/>
                </a:cubicBezTo>
                <a:cubicBezTo>
                  <a:pt x="1103218" y="3446643"/>
                  <a:pt x="1113519" y="3448900"/>
                  <a:pt x="1117639" y="3453412"/>
                </a:cubicBezTo>
                <a:cubicBezTo>
                  <a:pt x="1121759" y="3457924"/>
                  <a:pt x="1127939" y="3460178"/>
                  <a:pt x="1134120" y="3462436"/>
                </a:cubicBezTo>
                <a:cubicBezTo>
                  <a:pt x="1134120" y="3466947"/>
                  <a:pt x="1134120" y="3473714"/>
                  <a:pt x="1134120" y="3480483"/>
                </a:cubicBezTo>
                <a:cubicBezTo>
                  <a:pt x="1144419" y="3473714"/>
                  <a:pt x="1150600" y="3473714"/>
                  <a:pt x="1158841" y="3478226"/>
                </a:cubicBezTo>
                <a:cubicBezTo>
                  <a:pt x="1160898" y="3484994"/>
                  <a:pt x="1160898" y="3491762"/>
                  <a:pt x="1162960" y="3498528"/>
                </a:cubicBezTo>
                <a:cubicBezTo>
                  <a:pt x="1165019" y="3507554"/>
                  <a:pt x="1169139" y="3512066"/>
                  <a:pt x="1177380" y="3514321"/>
                </a:cubicBezTo>
                <a:cubicBezTo>
                  <a:pt x="1179441" y="3514321"/>
                  <a:pt x="1183561" y="3514321"/>
                  <a:pt x="1185619" y="3516578"/>
                </a:cubicBezTo>
                <a:cubicBezTo>
                  <a:pt x="1191798" y="3518832"/>
                  <a:pt x="1200039" y="3521087"/>
                  <a:pt x="1200039" y="3532368"/>
                </a:cubicBezTo>
                <a:cubicBezTo>
                  <a:pt x="1200039" y="3534625"/>
                  <a:pt x="1204161" y="3536880"/>
                  <a:pt x="1206220" y="3539136"/>
                </a:cubicBezTo>
                <a:cubicBezTo>
                  <a:pt x="1210341" y="3541392"/>
                  <a:pt x="1214460" y="3541392"/>
                  <a:pt x="1220639" y="3543646"/>
                </a:cubicBezTo>
                <a:cubicBezTo>
                  <a:pt x="1220639" y="3548158"/>
                  <a:pt x="1160898" y="3577486"/>
                  <a:pt x="1160898" y="3577486"/>
                </a:cubicBezTo>
                <a:cubicBezTo>
                  <a:pt x="1167080" y="3581999"/>
                  <a:pt x="1173259" y="3588765"/>
                  <a:pt x="1179441" y="3591022"/>
                </a:cubicBezTo>
                <a:cubicBezTo>
                  <a:pt x="1181500" y="3593276"/>
                  <a:pt x="1185619" y="3593276"/>
                  <a:pt x="1187680" y="3591022"/>
                </a:cubicBezTo>
                <a:cubicBezTo>
                  <a:pt x="1185619" y="3595534"/>
                  <a:pt x="1185619" y="3600042"/>
                  <a:pt x="1185619" y="3604556"/>
                </a:cubicBezTo>
                <a:cubicBezTo>
                  <a:pt x="1185619" y="3606812"/>
                  <a:pt x="1187680" y="3606812"/>
                  <a:pt x="1187680" y="3609070"/>
                </a:cubicBezTo>
                <a:cubicBezTo>
                  <a:pt x="1189739" y="3604556"/>
                  <a:pt x="1191798" y="3597788"/>
                  <a:pt x="1195918" y="3597788"/>
                </a:cubicBezTo>
                <a:cubicBezTo>
                  <a:pt x="1195918" y="3597788"/>
                  <a:pt x="1195918" y="3597788"/>
                  <a:pt x="1197980" y="3597788"/>
                </a:cubicBezTo>
                <a:cubicBezTo>
                  <a:pt x="1197980" y="3611324"/>
                  <a:pt x="1191798" y="3622603"/>
                  <a:pt x="1193860" y="3636141"/>
                </a:cubicBezTo>
                <a:cubicBezTo>
                  <a:pt x="1197980" y="3633884"/>
                  <a:pt x="1202100" y="3631626"/>
                  <a:pt x="1204161" y="3631626"/>
                </a:cubicBezTo>
                <a:cubicBezTo>
                  <a:pt x="1206220" y="3631626"/>
                  <a:pt x="1210341" y="3633884"/>
                  <a:pt x="1212398" y="3633884"/>
                </a:cubicBezTo>
                <a:cubicBezTo>
                  <a:pt x="1210341" y="3636141"/>
                  <a:pt x="1210341" y="3636141"/>
                  <a:pt x="1208282" y="3638396"/>
                </a:cubicBezTo>
                <a:cubicBezTo>
                  <a:pt x="1206220" y="3638396"/>
                  <a:pt x="1204161" y="3638396"/>
                  <a:pt x="1202100" y="3638396"/>
                </a:cubicBezTo>
                <a:cubicBezTo>
                  <a:pt x="1200039" y="3645162"/>
                  <a:pt x="1202100" y="3647418"/>
                  <a:pt x="1206220" y="3651932"/>
                </a:cubicBezTo>
                <a:cubicBezTo>
                  <a:pt x="1204161" y="3658698"/>
                  <a:pt x="1197980" y="3660954"/>
                  <a:pt x="1191798" y="3665466"/>
                </a:cubicBezTo>
                <a:cubicBezTo>
                  <a:pt x="1189739" y="3665466"/>
                  <a:pt x="1187680" y="3665466"/>
                  <a:pt x="1185619" y="3663209"/>
                </a:cubicBezTo>
                <a:cubicBezTo>
                  <a:pt x="1187680" y="3658698"/>
                  <a:pt x="1191798" y="3654185"/>
                  <a:pt x="1193860" y="3647418"/>
                </a:cubicBezTo>
                <a:cubicBezTo>
                  <a:pt x="1187680" y="3647418"/>
                  <a:pt x="1181500" y="3649674"/>
                  <a:pt x="1177380" y="3649674"/>
                </a:cubicBezTo>
                <a:cubicBezTo>
                  <a:pt x="1175321" y="3645162"/>
                  <a:pt x="1175321" y="3640652"/>
                  <a:pt x="1171198" y="3642907"/>
                </a:cubicBezTo>
                <a:cubicBezTo>
                  <a:pt x="1169139" y="3642907"/>
                  <a:pt x="1167080" y="3647418"/>
                  <a:pt x="1167080" y="3649674"/>
                </a:cubicBezTo>
                <a:cubicBezTo>
                  <a:pt x="1165019" y="3656443"/>
                  <a:pt x="1165019" y="3660954"/>
                  <a:pt x="1165019" y="3667720"/>
                </a:cubicBezTo>
                <a:cubicBezTo>
                  <a:pt x="1167080" y="3669979"/>
                  <a:pt x="1169139" y="3674490"/>
                  <a:pt x="1171198" y="3676745"/>
                </a:cubicBezTo>
                <a:cubicBezTo>
                  <a:pt x="1169139" y="3685768"/>
                  <a:pt x="1167080" y="3692538"/>
                  <a:pt x="1154720" y="3692538"/>
                </a:cubicBezTo>
                <a:cubicBezTo>
                  <a:pt x="1152659" y="3692538"/>
                  <a:pt x="1148539" y="3697050"/>
                  <a:pt x="1146480" y="3699304"/>
                </a:cubicBezTo>
                <a:cubicBezTo>
                  <a:pt x="1140298" y="3706070"/>
                  <a:pt x="1134120" y="3710585"/>
                  <a:pt x="1125880" y="3717352"/>
                </a:cubicBezTo>
                <a:cubicBezTo>
                  <a:pt x="1119698" y="3721863"/>
                  <a:pt x="1113519" y="3726376"/>
                  <a:pt x="1107338" y="3730887"/>
                </a:cubicBezTo>
                <a:cubicBezTo>
                  <a:pt x="1111461" y="3733142"/>
                  <a:pt x="1115578" y="3733142"/>
                  <a:pt x="1117639" y="3730887"/>
                </a:cubicBezTo>
                <a:cubicBezTo>
                  <a:pt x="1125880" y="3724118"/>
                  <a:pt x="1136181" y="3717352"/>
                  <a:pt x="1144419" y="3710585"/>
                </a:cubicBezTo>
                <a:cubicBezTo>
                  <a:pt x="1150600" y="3706070"/>
                  <a:pt x="1158841" y="3701558"/>
                  <a:pt x="1162960" y="3694792"/>
                </a:cubicBezTo>
                <a:cubicBezTo>
                  <a:pt x="1165019" y="3690281"/>
                  <a:pt x="1169139" y="3685768"/>
                  <a:pt x="1173259" y="3683514"/>
                </a:cubicBezTo>
                <a:cubicBezTo>
                  <a:pt x="1173259" y="3685768"/>
                  <a:pt x="1173259" y="3690281"/>
                  <a:pt x="1173259" y="3692538"/>
                </a:cubicBezTo>
                <a:cubicBezTo>
                  <a:pt x="1175321" y="3692538"/>
                  <a:pt x="1177380" y="3692538"/>
                  <a:pt x="1177380" y="3692538"/>
                </a:cubicBezTo>
                <a:cubicBezTo>
                  <a:pt x="1171198" y="3699304"/>
                  <a:pt x="1162960" y="3706070"/>
                  <a:pt x="1154720" y="3715096"/>
                </a:cubicBezTo>
                <a:cubicBezTo>
                  <a:pt x="1165019" y="3708328"/>
                  <a:pt x="1171198" y="3701558"/>
                  <a:pt x="1179441" y="3697050"/>
                </a:cubicBezTo>
                <a:cubicBezTo>
                  <a:pt x="1181500" y="3694792"/>
                  <a:pt x="1185619" y="3692538"/>
                  <a:pt x="1187680" y="3690281"/>
                </a:cubicBezTo>
                <a:cubicBezTo>
                  <a:pt x="1189739" y="3690281"/>
                  <a:pt x="1191798" y="3692538"/>
                  <a:pt x="1193860" y="3692538"/>
                </a:cubicBezTo>
                <a:cubicBezTo>
                  <a:pt x="1183561" y="3703816"/>
                  <a:pt x="1171198" y="3712840"/>
                  <a:pt x="1160898" y="3724118"/>
                </a:cubicBezTo>
                <a:cubicBezTo>
                  <a:pt x="1165019" y="3724118"/>
                  <a:pt x="1167080" y="3724118"/>
                  <a:pt x="1171198" y="3724118"/>
                </a:cubicBezTo>
                <a:cubicBezTo>
                  <a:pt x="1146480" y="3751189"/>
                  <a:pt x="1146480" y="3751189"/>
                  <a:pt x="1136181" y="3746678"/>
                </a:cubicBezTo>
                <a:cubicBezTo>
                  <a:pt x="1138239" y="3760212"/>
                  <a:pt x="1132059" y="3764728"/>
                  <a:pt x="1123818" y="3769236"/>
                </a:cubicBezTo>
                <a:cubicBezTo>
                  <a:pt x="1119698" y="3771494"/>
                  <a:pt x="1117639" y="3776005"/>
                  <a:pt x="1113519" y="3780518"/>
                </a:cubicBezTo>
                <a:cubicBezTo>
                  <a:pt x="1123818" y="3780518"/>
                  <a:pt x="1132059" y="3778260"/>
                  <a:pt x="1140298" y="3778260"/>
                </a:cubicBezTo>
                <a:cubicBezTo>
                  <a:pt x="1138239" y="3789541"/>
                  <a:pt x="1127939" y="3791796"/>
                  <a:pt x="1121759" y="3796307"/>
                </a:cubicBezTo>
                <a:cubicBezTo>
                  <a:pt x="1117639" y="3800820"/>
                  <a:pt x="1107338" y="3803074"/>
                  <a:pt x="1107338" y="3812100"/>
                </a:cubicBezTo>
                <a:cubicBezTo>
                  <a:pt x="1115578" y="3812100"/>
                  <a:pt x="1123818" y="3809843"/>
                  <a:pt x="1130000" y="3803074"/>
                </a:cubicBezTo>
                <a:cubicBezTo>
                  <a:pt x="1136181" y="3796307"/>
                  <a:pt x="1142360" y="3789541"/>
                  <a:pt x="1152659" y="3791796"/>
                </a:cubicBezTo>
                <a:cubicBezTo>
                  <a:pt x="1154720" y="3791796"/>
                  <a:pt x="1158841" y="3789541"/>
                  <a:pt x="1160898" y="3787284"/>
                </a:cubicBezTo>
                <a:cubicBezTo>
                  <a:pt x="1167080" y="3778260"/>
                  <a:pt x="1173259" y="3776005"/>
                  <a:pt x="1183561" y="3780518"/>
                </a:cubicBezTo>
                <a:cubicBezTo>
                  <a:pt x="1175321" y="3785030"/>
                  <a:pt x="1165019" y="3791796"/>
                  <a:pt x="1156779" y="3796307"/>
                </a:cubicBezTo>
                <a:cubicBezTo>
                  <a:pt x="1156779" y="3796307"/>
                  <a:pt x="1154720" y="3798565"/>
                  <a:pt x="1154720" y="3800820"/>
                </a:cubicBezTo>
                <a:cubicBezTo>
                  <a:pt x="1154720" y="3800820"/>
                  <a:pt x="1154720" y="3803074"/>
                  <a:pt x="1154720" y="3803074"/>
                </a:cubicBezTo>
                <a:cubicBezTo>
                  <a:pt x="1169139" y="3807589"/>
                  <a:pt x="1183561" y="3812100"/>
                  <a:pt x="1197980" y="3814355"/>
                </a:cubicBezTo>
                <a:cubicBezTo>
                  <a:pt x="1204161" y="3814355"/>
                  <a:pt x="1210341" y="3814355"/>
                  <a:pt x="1214460" y="3812100"/>
                </a:cubicBezTo>
                <a:cubicBezTo>
                  <a:pt x="1233000" y="3805332"/>
                  <a:pt x="1253600" y="3803074"/>
                  <a:pt x="1272141" y="3789541"/>
                </a:cubicBezTo>
                <a:cubicBezTo>
                  <a:pt x="1274200" y="3787284"/>
                  <a:pt x="1278321" y="3787284"/>
                  <a:pt x="1280382" y="3787284"/>
                </a:cubicBezTo>
                <a:cubicBezTo>
                  <a:pt x="1292742" y="3782772"/>
                  <a:pt x="1305100" y="3778260"/>
                  <a:pt x="1317460" y="3769236"/>
                </a:cubicBezTo>
                <a:cubicBezTo>
                  <a:pt x="1327762" y="3762470"/>
                  <a:pt x="1338060" y="3753446"/>
                  <a:pt x="1350421" y="3753446"/>
                </a:cubicBezTo>
                <a:cubicBezTo>
                  <a:pt x="1352482" y="3753446"/>
                  <a:pt x="1356600" y="3751189"/>
                  <a:pt x="1358660" y="3748934"/>
                </a:cubicBezTo>
                <a:cubicBezTo>
                  <a:pt x="1368962" y="3739910"/>
                  <a:pt x="1379262" y="3733142"/>
                  <a:pt x="1393683" y="3733142"/>
                </a:cubicBezTo>
                <a:cubicBezTo>
                  <a:pt x="1395742" y="3733142"/>
                  <a:pt x="1399862" y="3730887"/>
                  <a:pt x="1401921" y="3730887"/>
                </a:cubicBezTo>
                <a:cubicBezTo>
                  <a:pt x="1399862" y="3735398"/>
                  <a:pt x="1397801" y="3739910"/>
                  <a:pt x="1395742" y="3744423"/>
                </a:cubicBezTo>
                <a:cubicBezTo>
                  <a:pt x="1399862" y="3742168"/>
                  <a:pt x="1403982" y="3739910"/>
                  <a:pt x="1408102" y="3737656"/>
                </a:cubicBezTo>
                <a:cubicBezTo>
                  <a:pt x="1420462" y="3726376"/>
                  <a:pt x="1432823" y="3717352"/>
                  <a:pt x="1445183" y="3706070"/>
                </a:cubicBezTo>
                <a:cubicBezTo>
                  <a:pt x="1445183" y="3706070"/>
                  <a:pt x="1447242" y="3706070"/>
                  <a:pt x="1447242" y="3703816"/>
                </a:cubicBezTo>
                <a:cubicBezTo>
                  <a:pt x="1449301" y="3701558"/>
                  <a:pt x="1451362" y="3701558"/>
                  <a:pt x="1453423" y="3699304"/>
                </a:cubicBezTo>
                <a:cubicBezTo>
                  <a:pt x="1457543" y="3697050"/>
                  <a:pt x="1459601" y="3694792"/>
                  <a:pt x="1463722" y="3692538"/>
                </a:cubicBezTo>
                <a:cubicBezTo>
                  <a:pt x="1469901" y="3690281"/>
                  <a:pt x="1478144" y="3685768"/>
                  <a:pt x="1484322" y="3683514"/>
                </a:cubicBezTo>
                <a:cubicBezTo>
                  <a:pt x="1476082" y="3688026"/>
                  <a:pt x="1467842" y="3694792"/>
                  <a:pt x="1461663" y="3703816"/>
                </a:cubicBezTo>
                <a:cubicBezTo>
                  <a:pt x="1459601" y="3706070"/>
                  <a:pt x="1457543" y="3706070"/>
                  <a:pt x="1457543" y="3708328"/>
                </a:cubicBezTo>
                <a:cubicBezTo>
                  <a:pt x="1447242" y="3717352"/>
                  <a:pt x="1436942" y="3724118"/>
                  <a:pt x="1426641" y="3733142"/>
                </a:cubicBezTo>
                <a:cubicBezTo>
                  <a:pt x="1430762" y="3737656"/>
                  <a:pt x="1432823" y="3742168"/>
                  <a:pt x="1430762" y="3751189"/>
                </a:cubicBezTo>
                <a:cubicBezTo>
                  <a:pt x="1426641" y="3746678"/>
                  <a:pt x="1424582" y="3742168"/>
                  <a:pt x="1420462" y="3737656"/>
                </a:cubicBezTo>
                <a:cubicBezTo>
                  <a:pt x="1406041" y="3748934"/>
                  <a:pt x="1393683" y="3760212"/>
                  <a:pt x="1379262" y="3773748"/>
                </a:cubicBezTo>
                <a:cubicBezTo>
                  <a:pt x="1389562" y="3773748"/>
                  <a:pt x="1395742" y="3773748"/>
                  <a:pt x="1401921" y="3773748"/>
                </a:cubicBezTo>
                <a:cubicBezTo>
                  <a:pt x="1401921" y="3764728"/>
                  <a:pt x="1401921" y="3757958"/>
                  <a:pt x="1412222" y="3755700"/>
                </a:cubicBezTo>
                <a:cubicBezTo>
                  <a:pt x="1412222" y="3760212"/>
                  <a:pt x="1412222" y="3764728"/>
                  <a:pt x="1412222" y="3771494"/>
                </a:cubicBezTo>
                <a:cubicBezTo>
                  <a:pt x="1426641" y="3760212"/>
                  <a:pt x="1436942" y="3751189"/>
                  <a:pt x="1449301" y="3742168"/>
                </a:cubicBezTo>
                <a:cubicBezTo>
                  <a:pt x="1447242" y="3746678"/>
                  <a:pt x="1447242" y="3751189"/>
                  <a:pt x="1445183" y="3753446"/>
                </a:cubicBezTo>
                <a:cubicBezTo>
                  <a:pt x="1426641" y="3769236"/>
                  <a:pt x="1408102" y="3785030"/>
                  <a:pt x="1389562" y="3800820"/>
                </a:cubicBezTo>
                <a:cubicBezTo>
                  <a:pt x="1383382" y="3805332"/>
                  <a:pt x="1381321" y="3812100"/>
                  <a:pt x="1379262" y="3823379"/>
                </a:cubicBezTo>
                <a:cubicBezTo>
                  <a:pt x="1403982" y="3805332"/>
                  <a:pt x="1426641" y="3787284"/>
                  <a:pt x="1449301" y="3771494"/>
                </a:cubicBezTo>
                <a:cubicBezTo>
                  <a:pt x="1449301" y="3771494"/>
                  <a:pt x="1451362" y="3773748"/>
                  <a:pt x="1451362" y="3773748"/>
                </a:cubicBezTo>
                <a:cubicBezTo>
                  <a:pt x="1430762" y="3791796"/>
                  <a:pt x="1410160" y="3809843"/>
                  <a:pt x="1385443" y="3827891"/>
                </a:cubicBezTo>
                <a:cubicBezTo>
                  <a:pt x="1393683" y="3825634"/>
                  <a:pt x="1397801" y="3823379"/>
                  <a:pt x="1406041" y="3821124"/>
                </a:cubicBezTo>
                <a:cubicBezTo>
                  <a:pt x="1397801" y="3830145"/>
                  <a:pt x="1393683" y="3834657"/>
                  <a:pt x="1387501" y="3839172"/>
                </a:cubicBezTo>
                <a:cubicBezTo>
                  <a:pt x="1385443" y="3841426"/>
                  <a:pt x="1383382" y="3843683"/>
                  <a:pt x="1379262" y="3845938"/>
                </a:cubicBezTo>
                <a:cubicBezTo>
                  <a:pt x="1373082" y="3845938"/>
                  <a:pt x="1366901" y="3850450"/>
                  <a:pt x="1360723" y="3854962"/>
                </a:cubicBezTo>
                <a:cubicBezTo>
                  <a:pt x="1356600" y="3857217"/>
                  <a:pt x="1354541" y="3859474"/>
                  <a:pt x="1352482" y="3861728"/>
                </a:cubicBezTo>
                <a:cubicBezTo>
                  <a:pt x="1340121" y="3866243"/>
                  <a:pt x="1329821" y="3868497"/>
                  <a:pt x="1317460" y="3870752"/>
                </a:cubicBezTo>
                <a:cubicBezTo>
                  <a:pt x="1309219" y="3873010"/>
                  <a:pt x="1303041" y="3875264"/>
                  <a:pt x="1294801" y="3879776"/>
                </a:cubicBezTo>
                <a:cubicBezTo>
                  <a:pt x="1276262" y="3888799"/>
                  <a:pt x="1257720" y="3895569"/>
                  <a:pt x="1239180" y="3900080"/>
                </a:cubicBezTo>
                <a:cubicBezTo>
                  <a:pt x="1228882" y="3902335"/>
                  <a:pt x="1226821" y="3904589"/>
                  <a:pt x="1212398" y="3915871"/>
                </a:cubicBezTo>
                <a:cubicBezTo>
                  <a:pt x="1230941" y="3911359"/>
                  <a:pt x="1245360" y="3906846"/>
                  <a:pt x="1261840" y="3902335"/>
                </a:cubicBezTo>
                <a:cubicBezTo>
                  <a:pt x="1268021" y="3900080"/>
                  <a:pt x="1274200" y="3897823"/>
                  <a:pt x="1282441" y="3895569"/>
                </a:cubicBezTo>
                <a:cubicBezTo>
                  <a:pt x="1298921" y="3891057"/>
                  <a:pt x="1315401" y="3888799"/>
                  <a:pt x="1331882" y="3882033"/>
                </a:cubicBezTo>
                <a:cubicBezTo>
                  <a:pt x="1342180" y="3877521"/>
                  <a:pt x="1352482" y="3875264"/>
                  <a:pt x="1362781" y="3870752"/>
                </a:cubicBezTo>
                <a:cubicBezTo>
                  <a:pt x="1362781" y="3879776"/>
                  <a:pt x="1356600" y="3886545"/>
                  <a:pt x="1348362" y="3891057"/>
                </a:cubicBezTo>
                <a:cubicBezTo>
                  <a:pt x="1344242" y="3893312"/>
                  <a:pt x="1338060" y="3895569"/>
                  <a:pt x="1342180" y="3904589"/>
                </a:cubicBezTo>
                <a:cubicBezTo>
                  <a:pt x="1356600" y="3893312"/>
                  <a:pt x="1368962" y="3882033"/>
                  <a:pt x="1383382" y="3873010"/>
                </a:cubicBezTo>
                <a:cubicBezTo>
                  <a:pt x="1385443" y="3873010"/>
                  <a:pt x="1385443" y="3875264"/>
                  <a:pt x="1387501" y="3875264"/>
                </a:cubicBezTo>
                <a:cubicBezTo>
                  <a:pt x="1379262" y="3882033"/>
                  <a:pt x="1377200" y="3888799"/>
                  <a:pt x="1377200" y="3897823"/>
                </a:cubicBezTo>
                <a:cubicBezTo>
                  <a:pt x="1373082" y="3897823"/>
                  <a:pt x="1366901" y="3895569"/>
                  <a:pt x="1364842" y="3897823"/>
                </a:cubicBezTo>
                <a:cubicBezTo>
                  <a:pt x="1360723" y="3902335"/>
                  <a:pt x="1356600" y="3904589"/>
                  <a:pt x="1352482" y="3906846"/>
                </a:cubicBezTo>
                <a:cubicBezTo>
                  <a:pt x="1352482" y="3906846"/>
                  <a:pt x="1350421" y="3906846"/>
                  <a:pt x="1350421" y="3906846"/>
                </a:cubicBezTo>
                <a:cubicBezTo>
                  <a:pt x="1350421" y="3906846"/>
                  <a:pt x="1350421" y="3906846"/>
                  <a:pt x="1350421" y="3909104"/>
                </a:cubicBezTo>
                <a:cubicBezTo>
                  <a:pt x="1346301" y="3911359"/>
                  <a:pt x="1340121" y="3913616"/>
                  <a:pt x="1336001" y="3918128"/>
                </a:cubicBezTo>
                <a:cubicBezTo>
                  <a:pt x="1340121" y="3924894"/>
                  <a:pt x="1346301" y="3922640"/>
                  <a:pt x="1350421" y="3922640"/>
                </a:cubicBezTo>
                <a:cubicBezTo>
                  <a:pt x="1352482" y="3924894"/>
                  <a:pt x="1352482" y="3924894"/>
                  <a:pt x="1354541" y="3927148"/>
                </a:cubicBezTo>
                <a:cubicBezTo>
                  <a:pt x="1356600" y="3924894"/>
                  <a:pt x="1358660" y="3922640"/>
                  <a:pt x="1360723" y="3920382"/>
                </a:cubicBezTo>
                <a:cubicBezTo>
                  <a:pt x="1366901" y="3918128"/>
                  <a:pt x="1373082" y="3915871"/>
                  <a:pt x="1379262" y="3913616"/>
                </a:cubicBezTo>
                <a:cubicBezTo>
                  <a:pt x="1379262" y="3920382"/>
                  <a:pt x="1377200" y="3922640"/>
                  <a:pt x="1368962" y="3924894"/>
                </a:cubicBezTo>
                <a:cubicBezTo>
                  <a:pt x="1366901" y="3924894"/>
                  <a:pt x="1364842" y="3927148"/>
                  <a:pt x="1362781" y="3927148"/>
                </a:cubicBezTo>
                <a:cubicBezTo>
                  <a:pt x="1354541" y="3933918"/>
                  <a:pt x="1348362" y="3942942"/>
                  <a:pt x="1340121" y="3949708"/>
                </a:cubicBezTo>
                <a:cubicBezTo>
                  <a:pt x="1342180" y="3951965"/>
                  <a:pt x="1344242" y="3954220"/>
                  <a:pt x="1346301" y="3958732"/>
                </a:cubicBezTo>
                <a:cubicBezTo>
                  <a:pt x="1348362" y="3956477"/>
                  <a:pt x="1352482" y="3956477"/>
                  <a:pt x="1352482" y="3956477"/>
                </a:cubicBezTo>
                <a:cubicBezTo>
                  <a:pt x="1354541" y="3951965"/>
                  <a:pt x="1354541" y="3945199"/>
                  <a:pt x="1356600" y="3942942"/>
                </a:cubicBezTo>
                <a:cubicBezTo>
                  <a:pt x="1366901" y="3933918"/>
                  <a:pt x="1379262" y="3924894"/>
                  <a:pt x="1389562" y="3915871"/>
                </a:cubicBezTo>
                <a:cubicBezTo>
                  <a:pt x="1391621" y="3913616"/>
                  <a:pt x="1393683" y="3911359"/>
                  <a:pt x="1397801" y="3909104"/>
                </a:cubicBezTo>
                <a:cubicBezTo>
                  <a:pt x="1412222" y="3904589"/>
                  <a:pt x="1424582" y="3900080"/>
                  <a:pt x="1439001" y="3895569"/>
                </a:cubicBezTo>
                <a:cubicBezTo>
                  <a:pt x="1432823" y="3902335"/>
                  <a:pt x="1426641" y="3909104"/>
                  <a:pt x="1418401" y="3915871"/>
                </a:cubicBezTo>
                <a:cubicBezTo>
                  <a:pt x="1412222" y="3920382"/>
                  <a:pt x="1403982" y="3924894"/>
                  <a:pt x="1397801" y="3929406"/>
                </a:cubicBezTo>
                <a:cubicBezTo>
                  <a:pt x="1391621" y="3933918"/>
                  <a:pt x="1385443" y="3938430"/>
                  <a:pt x="1385443" y="3949708"/>
                </a:cubicBezTo>
                <a:cubicBezTo>
                  <a:pt x="1385443" y="3951965"/>
                  <a:pt x="1383382" y="3954220"/>
                  <a:pt x="1383382" y="3954220"/>
                </a:cubicBezTo>
                <a:cubicBezTo>
                  <a:pt x="1375141" y="3951965"/>
                  <a:pt x="1375141" y="3960990"/>
                  <a:pt x="1371021" y="3967758"/>
                </a:cubicBezTo>
                <a:cubicBezTo>
                  <a:pt x="1373082" y="3967758"/>
                  <a:pt x="1375141" y="3967758"/>
                  <a:pt x="1375141" y="3967758"/>
                </a:cubicBezTo>
                <a:cubicBezTo>
                  <a:pt x="1389562" y="3956477"/>
                  <a:pt x="1397801" y="3954220"/>
                  <a:pt x="1414283" y="3956477"/>
                </a:cubicBezTo>
                <a:cubicBezTo>
                  <a:pt x="1420462" y="3956477"/>
                  <a:pt x="1426641" y="3954220"/>
                  <a:pt x="1430762" y="3949708"/>
                </a:cubicBezTo>
                <a:cubicBezTo>
                  <a:pt x="1439001" y="3938430"/>
                  <a:pt x="1449301" y="3933918"/>
                  <a:pt x="1461663" y="3929406"/>
                </a:cubicBezTo>
                <a:cubicBezTo>
                  <a:pt x="1465783" y="3929406"/>
                  <a:pt x="1469901" y="3927148"/>
                  <a:pt x="1471962" y="3924894"/>
                </a:cubicBezTo>
                <a:cubicBezTo>
                  <a:pt x="1476082" y="3922640"/>
                  <a:pt x="1480203" y="3920382"/>
                  <a:pt x="1484322" y="3915871"/>
                </a:cubicBezTo>
                <a:cubicBezTo>
                  <a:pt x="1484322" y="3920382"/>
                  <a:pt x="1486383" y="3922640"/>
                  <a:pt x="1486383" y="3927148"/>
                </a:cubicBezTo>
                <a:cubicBezTo>
                  <a:pt x="1498742" y="3927148"/>
                  <a:pt x="1488442" y="3911359"/>
                  <a:pt x="1494621" y="3911359"/>
                </a:cubicBezTo>
                <a:cubicBezTo>
                  <a:pt x="1498742" y="3913616"/>
                  <a:pt x="1500803" y="3918128"/>
                  <a:pt x="1504923" y="3920382"/>
                </a:cubicBezTo>
                <a:cubicBezTo>
                  <a:pt x="1500803" y="3936173"/>
                  <a:pt x="1484322" y="3936173"/>
                  <a:pt x="1471962" y="3945199"/>
                </a:cubicBezTo>
                <a:cubicBezTo>
                  <a:pt x="1474021" y="3947454"/>
                  <a:pt x="1476082" y="3949708"/>
                  <a:pt x="1478144" y="3951965"/>
                </a:cubicBezTo>
                <a:cubicBezTo>
                  <a:pt x="1474021" y="3960990"/>
                  <a:pt x="1467842" y="3965501"/>
                  <a:pt x="1459601" y="3965501"/>
                </a:cubicBezTo>
                <a:cubicBezTo>
                  <a:pt x="1453423" y="3965501"/>
                  <a:pt x="1451362" y="3970013"/>
                  <a:pt x="1447242" y="3974524"/>
                </a:cubicBezTo>
                <a:cubicBezTo>
                  <a:pt x="1441062" y="3983549"/>
                  <a:pt x="1436942" y="3992572"/>
                  <a:pt x="1432823" y="4003851"/>
                </a:cubicBezTo>
                <a:cubicBezTo>
                  <a:pt x="1428703" y="4003851"/>
                  <a:pt x="1424582" y="4001596"/>
                  <a:pt x="1418401" y="4006108"/>
                </a:cubicBezTo>
                <a:cubicBezTo>
                  <a:pt x="1412222" y="4012874"/>
                  <a:pt x="1412222" y="4026410"/>
                  <a:pt x="1401921" y="4030921"/>
                </a:cubicBezTo>
                <a:cubicBezTo>
                  <a:pt x="1399862" y="4033179"/>
                  <a:pt x="1397801" y="4037691"/>
                  <a:pt x="1395742" y="4042202"/>
                </a:cubicBezTo>
                <a:cubicBezTo>
                  <a:pt x="1391621" y="4048968"/>
                  <a:pt x="1389562" y="4037691"/>
                  <a:pt x="1387501" y="4039945"/>
                </a:cubicBezTo>
                <a:cubicBezTo>
                  <a:pt x="1381321" y="4044457"/>
                  <a:pt x="1366901" y="4039945"/>
                  <a:pt x="1366901" y="4055736"/>
                </a:cubicBezTo>
                <a:cubicBezTo>
                  <a:pt x="1366901" y="4057993"/>
                  <a:pt x="1362781" y="4057993"/>
                  <a:pt x="1360723" y="4060247"/>
                </a:cubicBezTo>
                <a:cubicBezTo>
                  <a:pt x="1350421" y="4069274"/>
                  <a:pt x="1338060" y="4078295"/>
                  <a:pt x="1327762" y="4087318"/>
                </a:cubicBezTo>
                <a:cubicBezTo>
                  <a:pt x="1325700" y="4089576"/>
                  <a:pt x="1323641" y="4091833"/>
                  <a:pt x="1321582" y="4094088"/>
                </a:cubicBezTo>
                <a:cubicBezTo>
                  <a:pt x="1323641" y="4096342"/>
                  <a:pt x="1323641" y="4096342"/>
                  <a:pt x="1325700" y="4096342"/>
                </a:cubicBezTo>
                <a:cubicBezTo>
                  <a:pt x="1346301" y="4082806"/>
                  <a:pt x="1366901" y="4071529"/>
                  <a:pt x="1387501" y="4057993"/>
                </a:cubicBezTo>
                <a:cubicBezTo>
                  <a:pt x="1383382" y="4064761"/>
                  <a:pt x="1377200" y="4067016"/>
                  <a:pt x="1373082" y="4071529"/>
                </a:cubicBezTo>
                <a:cubicBezTo>
                  <a:pt x="1368962" y="4076040"/>
                  <a:pt x="1362781" y="4080552"/>
                  <a:pt x="1358660" y="4085063"/>
                </a:cubicBezTo>
                <a:cubicBezTo>
                  <a:pt x="1358660" y="4085063"/>
                  <a:pt x="1358660" y="4085063"/>
                  <a:pt x="1358660" y="4087318"/>
                </a:cubicBezTo>
                <a:cubicBezTo>
                  <a:pt x="1368962" y="4080552"/>
                  <a:pt x="1381321" y="4071529"/>
                  <a:pt x="1391621" y="4064761"/>
                </a:cubicBezTo>
                <a:cubicBezTo>
                  <a:pt x="1383382" y="4076040"/>
                  <a:pt x="1371021" y="4082806"/>
                  <a:pt x="1362781" y="4091833"/>
                </a:cubicBezTo>
                <a:cubicBezTo>
                  <a:pt x="1352482" y="4100854"/>
                  <a:pt x="1340121" y="4105365"/>
                  <a:pt x="1331882" y="4116647"/>
                </a:cubicBezTo>
                <a:cubicBezTo>
                  <a:pt x="1331882" y="4116647"/>
                  <a:pt x="1333940" y="4118901"/>
                  <a:pt x="1333940" y="4118901"/>
                </a:cubicBezTo>
                <a:cubicBezTo>
                  <a:pt x="1348362" y="4109878"/>
                  <a:pt x="1364842" y="4100854"/>
                  <a:pt x="1383382" y="4091833"/>
                </a:cubicBezTo>
                <a:cubicBezTo>
                  <a:pt x="1381321" y="4098599"/>
                  <a:pt x="1379262" y="4103111"/>
                  <a:pt x="1377200" y="4109878"/>
                </a:cubicBezTo>
                <a:cubicBezTo>
                  <a:pt x="1383382" y="4107623"/>
                  <a:pt x="1389562" y="4107623"/>
                  <a:pt x="1395742" y="4105365"/>
                </a:cubicBezTo>
                <a:cubicBezTo>
                  <a:pt x="1403982" y="4100854"/>
                  <a:pt x="1393683" y="4094088"/>
                  <a:pt x="1401921" y="4087318"/>
                </a:cubicBezTo>
                <a:cubicBezTo>
                  <a:pt x="1414283" y="4094088"/>
                  <a:pt x="1426641" y="4087318"/>
                  <a:pt x="1436942" y="4078295"/>
                </a:cubicBezTo>
                <a:cubicBezTo>
                  <a:pt x="1439001" y="4076040"/>
                  <a:pt x="1441062" y="4073783"/>
                  <a:pt x="1443121" y="4073783"/>
                </a:cubicBezTo>
                <a:cubicBezTo>
                  <a:pt x="1449301" y="4069274"/>
                  <a:pt x="1457543" y="4064761"/>
                  <a:pt x="1463722" y="4060247"/>
                </a:cubicBezTo>
                <a:cubicBezTo>
                  <a:pt x="1463722" y="4060247"/>
                  <a:pt x="1465783" y="4062504"/>
                  <a:pt x="1465783" y="4062504"/>
                </a:cubicBezTo>
                <a:lnTo>
                  <a:pt x="1465053" y="4063572"/>
                </a:lnTo>
                <a:lnTo>
                  <a:pt x="1474021" y="4062504"/>
                </a:lnTo>
                <a:cubicBezTo>
                  <a:pt x="1470932" y="4064760"/>
                  <a:pt x="1468872" y="4068708"/>
                  <a:pt x="1466040" y="4071527"/>
                </a:cubicBezTo>
                <a:lnTo>
                  <a:pt x="1458706" y="4072838"/>
                </a:lnTo>
                <a:lnTo>
                  <a:pt x="1453423" y="4080552"/>
                </a:lnTo>
                <a:cubicBezTo>
                  <a:pt x="1447242" y="4087318"/>
                  <a:pt x="1441062" y="4091833"/>
                  <a:pt x="1432823" y="4091833"/>
                </a:cubicBezTo>
                <a:cubicBezTo>
                  <a:pt x="1430762" y="4091833"/>
                  <a:pt x="1426641" y="4096342"/>
                  <a:pt x="1424582" y="4098599"/>
                </a:cubicBezTo>
                <a:cubicBezTo>
                  <a:pt x="1418401" y="4107623"/>
                  <a:pt x="1412222" y="4114390"/>
                  <a:pt x="1403982" y="4123413"/>
                </a:cubicBezTo>
                <a:cubicBezTo>
                  <a:pt x="1406041" y="4127925"/>
                  <a:pt x="1406041" y="4134694"/>
                  <a:pt x="1397801" y="4136949"/>
                </a:cubicBezTo>
                <a:cubicBezTo>
                  <a:pt x="1395742" y="4134694"/>
                  <a:pt x="1395742" y="4132437"/>
                  <a:pt x="1391621" y="4127925"/>
                </a:cubicBezTo>
                <a:cubicBezTo>
                  <a:pt x="1385443" y="4134694"/>
                  <a:pt x="1381321" y="4136949"/>
                  <a:pt x="1377200" y="4143718"/>
                </a:cubicBezTo>
                <a:cubicBezTo>
                  <a:pt x="1373082" y="4154996"/>
                  <a:pt x="1366901" y="4164020"/>
                  <a:pt x="1358660" y="4168532"/>
                </a:cubicBezTo>
                <a:cubicBezTo>
                  <a:pt x="1352482" y="4173043"/>
                  <a:pt x="1346301" y="4175298"/>
                  <a:pt x="1340121" y="4179809"/>
                </a:cubicBezTo>
                <a:cubicBezTo>
                  <a:pt x="1338060" y="4182068"/>
                  <a:pt x="1336001" y="4184322"/>
                  <a:pt x="1333940" y="4184322"/>
                </a:cubicBezTo>
                <a:cubicBezTo>
                  <a:pt x="1350421" y="4184322"/>
                  <a:pt x="1362781" y="4175298"/>
                  <a:pt x="1375141" y="4166277"/>
                </a:cubicBezTo>
                <a:cubicBezTo>
                  <a:pt x="1375141" y="4170789"/>
                  <a:pt x="1375141" y="4175298"/>
                  <a:pt x="1377200" y="4177555"/>
                </a:cubicBezTo>
                <a:cubicBezTo>
                  <a:pt x="1379262" y="4182068"/>
                  <a:pt x="1383382" y="4186579"/>
                  <a:pt x="1387501" y="4179809"/>
                </a:cubicBezTo>
                <a:cubicBezTo>
                  <a:pt x="1385443" y="4177555"/>
                  <a:pt x="1383382" y="4175298"/>
                  <a:pt x="1379262" y="4173043"/>
                </a:cubicBezTo>
                <a:cubicBezTo>
                  <a:pt x="1391621" y="4161762"/>
                  <a:pt x="1401921" y="4152739"/>
                  <a:pt x="1412222" y="4143718"/>
                </a:cubicBezTo>
                <a:cubicBezTo>
                  <a:pt x="1418401" y="4139205"/>
                  <a:pt x="1424582" y="4134694"/>
                  <a:pt x="1430762" y="4139205"/>
                </a:cubicBezTo>
                <a:cubicBezTo>
                  <a:pt x="1428703" y="4125671"/>
                  <a:pt x="1436942" y="4123413"/>
                  <a:pt x="1445183" y="4121158"/>
                </a:cubicBezTo>
                <a:cubicBezTo>
                  <a:pt x="1451362" y="4118901"/>
                  <a:pt x="1457543" y="4114390"/>
                  <a:pt x="1463722" y="4109878"/>
                </a:cubicBezTo>
                <a:cubicBezTo>
                  <a:pt x="1455482" y="4130180"/>
                  <a:pt x="1445183" y="4143718"/>
                  <a:pt x="1430762" y="4154996"/>
                </a:cubicBezTo>
                <a:cubicBezTo>
                  <a:pt x="1426641" y="4159507"/>
                  <a:pt x="1420462" y="4161762"/>
                  <a:pt x="1418401" y="4166277"/>
                </a:cubicBezTo>
                <a:cubicBezTo>
                  <a:pt x="1414283" y="4177555"/>
                  <a:pt x="1408102" y="4184322"/>
                  <a:pt x="1397801" y="4191091"/>
                </a:cubicBezTo>
                <a:cubicBezTo>
                  <a:pt x="1395742" y="4193349"/>
                  <a:pt x="1395742" y="4195603"/>
                  <a:pt x="1391621" y="4200115"/>
                </a:cubicBezTo>
                <a:cubicBezTo>
                  <a:pt x="1401921" y="4200115"/>
                  <a:pt x="1410160" y="4206881"/>
                  <a:pt x="1418401" y="4193349"/>
                </a:cubicBezTo>
                <a:cubicBezTo>
                  <a:pt x="1420462" y="4200115"/>
                  <a:pt x="1422521" y="4204627"/>
                  <a:pt x="1422521" y="4209138"/>
                </a:cubicBezTo>
                <a:cubicBezTo>
                  <a:pt x="1418401" y="4209138"/>
                  <a:pt x="1414283" y="4209138"/>
                  <a:pt x="1412222" y="4209138"/>
                </a:cubicBezTo>
                <a:cubicBezTo>
                  <a:pt x="1410160" y="4213651"/>
                  <a:pt x="1408102" y="4222674"/>
                  <a:pt x="1406041" y="4222674"/>
                </a:cubicBezTo>
                <a:cubicBezTo>
                  <a:pt x="1397801" y="4224929"/>
                  <a:pt x="1395742" y="4233953"/>
                  <a:pt x="1389562" y="4238464"/>
                </a:cubicBezTo>
                <a:cubicBezTo>
                  <a:pt x="1385443" y="4236210"/>
                  <a:pt x="1381321" y="4231695"/>
                  <a:pt x="1375141" y="4227185"/>
                </a:cubicBezTo>
                <a:cubicBezTo>
                  <a:pt x="1379262" y="4245233"/>
                  <a:pt x="1366901" y="4245233"/>
                  <a:pt x="1358660" y="4249746"/>
                </a:cubicBezTo>
                <a:cubicBezTo>
                  <a:pt x="1362781" y="4254254"/>
                  <a:pt x="1364842" y="4256512"/>
                  <a:pt x="1368962" y="4258766"/>
                </a:cubicBezTo>
                <a:cubicBezTo>
                  <a:pt x="1371021" y="4261023"/>
                  <a:pt x="1375141" y="4261023"/>
                  <a:pt x="1379262" y="4261023"/>
                </a:cubicBezTo>
                <a:cubicBezTo>
                  <a:pt x="1387501" y="4256512"/>
                  <a:pt x="1397801" y="4252000"/>
                  <a:pt x="1406041" y="4249746"/>
                </a:cubicBezTo>
                <a:cubicBezTo>
                  <a:pt x="1408102" y="4249746"/>
                  <a:pt x="1410160" y="4249746"/>
                  <a:pt x="1416342" y="4249746"/>
                </a:cubicBezTo>
                <a:cubicBezTo>
                  <a:pt x="1406041" y="4261023"/>
                  <a:pt x="1397801" y="4270048"/>
                  <a:pt x="1385443" y="4272305"/>
                </a:cubicBezTo>
                <a:cubicBezTo>
                  <a:pt x="1383382" y="4272305"/>
                  <a:pt x="1379262" y="4274559"/>
                  <a:pt x="1377200" y="4276814"/>
                </a:cubicBezTo>
                <a:cubicBezTo>
                  <a:pt x="1362781" y="4283582"/>
                  <a:pt x="1350421" y="4292607"/>
                  <a:pt x="1336001" y="4299373"/>
                </a:cubicBezTo>
                <a:cubicBezTo>
                  <a:pt x="1331882" y="4301630"/>
                  <a:pt x="1327762" y="4303884"/>
                  <a:pt x="1323641" y="4299373"/>
                </a:cubicBezTo>
                <a:cubicBezTo>
                  <a:pt x="1323641" y="4299373"/>
                  <a:pt x="1321582" y="4299373"/>
                  <a:pt x="1321582" y="4301630"/>
                </a:cubicBezTo>
                <a:cubicBezTo>
                  <a:pt x="1321582" y="4306142"/>
                  <a:pt x="1323641" y="4310654"/>
                  <a:pt x="1323641" y="4315166"/>
                </a:cubicBezTo>
                <a:cubicBezTo>
                  <a:pt x="1352482" y="4303884"/>
                  <a:pt x="1373082" y="4279071"/>
                  <a:pt x="1403982" y="4272305"/>
                </a:cubicBezTo>
                <a:cubicBezTo>
                  <a:pt x="1401921" y="4276814"/>
                  <a:pt x="1399862" y="4281325"/>
                  <a:pt x="1397801" y="4283582"/>
                </a:cubicBezTo>
                <a:cubicBezTo>
                  <a:pt x="1406041" y="4281325"/>
                  <a:pt x="1412222" y="4279071"/>
                  <a:pt x="1418401" y="4274559"/>
                </a:cubicBezTo>
                <a:cubicBezTo>
                  <a:pt x="1424582" y="4270048"/>
                  <a:pt x="1432823" y="4265535"/>
                  <a:pt x="1441062" y="4263280"/>
                </a:cubicBezTo>
                <a:cubicBezTo>
                  <a:pt x="1449301" y="4261023"/>
                  <a:pt x="1453423" y="4254254"/>
                  <a:pt x="1463722" y="4256512"/>
                </a:cubicBezTo>
                <a:cubicBezTo>
                  <a:pt x="1465783" y="4256512"/>
                  <a:pt x="1469901" y="4254254"/>
                  <a:pt x="1471962" y="4249746"/>
                </a:cubicBezTo>
                <a:cubicBezTo>
                  <a:pt x="1471962" y="4247487"/>
                  <a:pt x="1469901" y="4242976"/>
                  <a:pt x="1467842" y="4240721"/>
                </a:cubicBezTo>
                <a:cubicBezTo>
                  <a:pt x="1467842" y="4238464"/>
                  <a:pt x="1465783" y="4238464"/>
                  <a:pt x="1463722" y="4233953"/>
                </a:cubicBezTo>
                <a:cubicBezTo>
                  <a:pt x="1474021" y="4231695"/>
                  <a:pt x="1478144" y="4240721"/>
                  <a:pt x="1482264" y="4245233"/>
                </a:cubicBezTo>
                <a:cubicBezTo>
                  <a:pt x="1500803" y="4236210"/>
                  <a:pt x="1517283" y="4227185"/>
                  <a:pt x="1535822" y="4218162"/>
                </a:cubicBezTo>
                <a:cubicBezTo>
                  <a:pt x="1535822" y="4218162"/>
                  <a:pt x="1535822" y="4220417"/>
                  <a:pt x="1537883" y="4220417"/>
                </a:cubicBezTo>
                <a:cubicBezTo>
                  <a:pt x="1535822" y="4222674"/>
                  <a:pt x="1533764" y="4222674"/>
                  <a:pt x="1531703" y="4224929"/>
                </a:cubicBezTo>
                <a:cubicBezTo>
                  <a:pt x="1521403" y="4231695"/>
                  <a:pt x="1509042" y="4236210"/>
                  <a:pt x="1502864" y="4252000"/>
                </a:cubicBezTo>
                <a:cubicBezTo>
                  <a:pt x="1506984" y="4252000"/>
                  <a:pt x="1511101" y="4252000"/>
                  <a:pt x="1515222" y="4249746"/>
                </a:cubicBezTo>
                <a:cubicBezTo>
                  <a:pt x="1529644" y="4242976"/>
                  <a:pt x="1542003" y="4238464"/>
                  <a:pt x="1556423" y="4231695"/>
                </a:cubicBezTo>
                <a:cubicBezTo>
                  <a:pt x="1562601" y="4229440"/>
                  <a:pt x="1566722" y="4231695"/>
                  <a:pt x="1570844" y="4236210"/>
                </a:cubicBezTo>
                <a:lnTo>
                  <a:pt x="1563267" y="4241450"/>
                </a:lnTo>
                <a:lnTo>
                  <a:pt x="1564663" y="4242976"/>
                </a:lnTo>
                <a:cubicBezTo>
                  <a:pt x="1562601" y="4245233"/>
                  <a:pt x="1560542" y="4245233"/>
                  <a:pt x="1558484" y="4247487"/>
                </a:cubicBezTo>
                <a:lnTo>
                  <a:pt x="1556955" y="4245815"/>
                </a:lnTo>
                <a:lnTo>
                  <a:pt x="1531703" y="4263280"/>
                </a:lnTo>
                <a:cubicBezTo>
                  <a:pt x="1531703" y="4263280"/>
                  <a:pt x="1533764" y="4263280"/>
                  <a:pt x="1533764" y="4263280"/>
                </a:cubicBezTo>
                <a:cubicBezTo>
                  <a:pt x="1554364" y="4252000"/>
                  <a:pt x="1574965" y="4242976"/>
                  <a:pt x="1595565" y="4231695"/>
                </a:cubicBezTo>
                <a:cubicBezTo>
                  <a:pt x="1612042" y="4222674"/>
                  <a:pt x="1626465" y="4215904"/>
                  <a:pt x="1642945" y="4206881"/>
                </a:cubicBezTo>
                <a:cubicBezTo>
                  <a:pt x="1642945" y="4206881"/>
                  <a:pt x="1645003" y="4206881"/>
                  <a:pt x="1647065" y="4209138"/>
                </a:cubicBezTo>
                <a:cubicBezTo>
                  <a:pt x="1642945" y="4211393"/>
                  <a:pt x="1640883" y="4215904"/>
                  <a:pt x="1636763" y="4220417"/>
                </a:cubicBezTo>
                <a:cubicBezTo>
                  <a:pt x="1653244" y="4213651"/>
                  <a:pt x="1665604" y="4209138"/>
                  <a:pt x="1682085" y="4204627"/>
                </a:cubicBezTo>
                <a:cubicBezTo>
                  <a:pt x="1677965" y="4211393"/>
                  <a:pt x="1673844" y="4213651"/>
                  <a:pt x="1671785" y="4218162"/>
                </a:cubicBezTo>
                <a:cubicBezTo>
                  <a:pt x="1682085" y="4218162"/>
                  <a:pt x="1690324" y="4213651"/>
                  <a:pt x="1692386" y="4206881"/>
                </a:cubicBezTo>
                <a:cubicBezTo>
                  <a:pt x="1696503" y="4197857"/>
                  <a:pt x="1700624" y="4193349"/>
                  <a:pt x="1708863" y="4191091"/>
                </a:cubicBezTo>
                <a:cubicBezTo>
                  <a:pt x="1708863" y="4193349"/>
                  <a:pt x="1710925" y="4195603"/>
                  <a:pt x="1710925" y="4200115"/>
                </a:cubicBezTo>
                <a:cubicBezTo>
                  <a:pt x="1719165" y="4200115"/>
                  <a:pt x="1725344" y="4195603"/>
                  <a:pt x="1729465" y="4188834"/>
                </a:cubicBezTo>
                <a:cubicBezTo>
                  <a:pt x="1735645" y="4182068"/>
                  <a:pt x="1737704" y="4170789"/>
                  <a:pt x="1750065" y="4173043"/>
                </a:cubicBezTo>
                <a:cubicBezTo>
                  <a:pt x="1750065" y="4173043"/>
                  <a:pt x="1752126" y="4170789"/>
                  <a:pt x="1752126" y="4170789"/>
                </a:cubicBezTo>
                <a:cubicBezTo>
                  <a:pt x="1760367" y="4157251"/>
                  <a:pt x="1772724" y="4157251"/>
                  <a:pt x="1785087" y="4152739"/>
                </a:cubicBezTo>
                <a:cubicBezTo>
                  <a:pt x="1780967" y="4157251"/>
                  <a:pt x="1778906" y="4159507"/>
                  <a:pt x="1776847" y="4161762"/>
                </a:cubicBezTo>
                <a:cubicBezTo>
                  <a:pt x="1795386" y="4150484"/>
                  <a:pt x="1811866" y="4139205"/>
                  <a:pt x="1830406" y="4127925"/>
                </a:cubicBezTo>
                <a:cubicBezTo>
                  <a:pt x="1828347" y="4125671"/>
                  <a:pt x="1826285" y="4123413"/>
                  <a:pt x="1824226" y="4118901"/>
                </a:cubicBezTo>
                <a:cubicBezTo>
                  <a:pt x="1832467" y="4118901"/>
                  <a:pt x="1838645" y="4118901"/>
                  <a:pt x="1846886" y="4116647"/>
                </a:cubicBezTo>
                <a:cubicBezTo>
                  <a:pt x="1851006" y="4107623"/>
                  <a:pt x="1857187" y="4100854"/>
                  <a:pt x="1869547" y="4105365"/>
                </a:cubicBezTo>
                <a:cubicBezTo>
                  <a:pt x="1873667" y="4107623"/>
                  <a:pt x="1883966" y="4100854"/>
                  <a:pt x="1883966" y="4096342"/>
                </a:cubicBezTo>
                <a:cubicBezTo>
                  <a:pt x="1886025" y="4085063"/>
                  <a:pt x="1896327" y="4082806"/>
                  <a:pt x="1898388" y="4073783"/>
                </a:cubicBezTo>
                <a:cubicBezTo>
                  <a:pt x="1900447" y="4076040"/>
                  <a:pt x="1902506" y="4078295"/>
                  <a:pt x="1904567" y="4082806"/>
                </a:cubicBezTo>
                <a:lnTo>
                  <a:pt x="1913886" y="4076685"/>
                </a:lnTo>
                <a:lnTo>
                  <a:pt x="1910232" y="4070683"/>
                </a:lnTo>
                <a:cubicBezTo>
                  <a:pt x="1910232" y="4068709"/>
                  <a:pt x="1911776" y="4067017"/>
                  <a:pt x="1914866" y="4064761"/>
                </a:cubicBezTo>
                <a:lnTo>
                  <a:pt x="1932866" y="4054147"/>
                </a:lnTo>
                <a:lnTo>
                  <a:pt x="1934437" y="4047842"/>
                </a:lnTo>
                <a:cubicBezTo>
                  <a:pt x="1937012" y="4045586"/>
                  <a:pt x="1940617" y="4044458"/>
                  <a:pt x="1943706" y="4042202"/>
                </a:cubicBezTo>
                <a:cubicBezTo>
                  <a:pt x="1949888" y="4039945"/>
                  <a:pt x="1954006" y="4035434"/>
                  <a:pt x="1960186" y="4030921"/>
                </a:cubicBezTo>
                <a:lnTo>
                  <a:pt x="1966927" y="4032357"/>
                </a:lnTo>
                <a:lnTo>
                  <a:pt x="1972547" y="4028664"/>
                </a:lnTo>
                <a:cubicBezTo>
                  <a:pt x="1974606" y="4028664"/>
                  <a:pt x="1976667" y="4024155"/>
                  <a:pt x="1974606" y="4021898"/>
                </a:cubicBezTo>
                <a:cubicBezTo>
                  <a:pt x="1972547" y="4015132"/>
                  <a:pt x="1978726" y="4012874"/>
                  <a:pt x="1982846" y="4010619"/>
                </a:cubicBezTo>
                <a:cubicBezTo>
                  <a:pt x="1984907" y="4012874"/>
                  <a:pt x="1984907" y="4015132"/>
                  <a:pt x="1986968" y="4017386"/>
                </a:cubicBezTo>
                <a:cubicBezTo>
                  <a:pt x="1993147" y="4015132"/>
                  <a:pt x="1997268" y="4010619"/>
                  <a:pt x="2003447" y="4008362"/>
                </a:cubicBezTo>
                <a:cubicBezTo>
                  <a:pt x="2003447" y="4008362"/>
                  <a:pt x="2005508" y="4010619"/>
                  <a:pt x="2005508" y="4010619"/>
                </a:cubicBezTo>
                <a:cubicBezTo>
                  <a:pt x="2003447" y="4010619"/>
                  <a:pt x="2001388" y="4015132"/>
                  <a:pt x="1997268" y="4017386"/>
                </a:cubicBezTo>
                <a:lnTo>
                  <a:pt x="1991953" y="4021688"/>
                </a:lnTo>
                <a:lnTo>
                  <a:pt x="2004735" y="4020770"/>
                </a:lnTo>
                <a:cubicBezTo>
                  <a:pt x="2009113" y="4018514"/>
                  <a:pt x="2012717" y="4015129"/>
                  <a:pt x="2015807" y="4012874"/>
                </a:cubicBezTo>
                <a:cubicBezTo>
                  <a:pt x="2036407" y="3997084"/>
                  <a:pt x="2151770" y="4028664"/>
                  <a:pt x="2174429" y="4017386"/>
                </a:cubicBezTo>
                <a:cubicBezTo>
                  <a:pt x="2186789" y="4010619"/>
                  <a:pt x="2201209" y="4010619"/>
                  <a:pt x="2209448" y="3997084"/>
                </a:cubicBezTo>
                <a:cubicBezTo>
                  <a:pt x="2209448" y="3994826"/>
                  <a:pt x="2213568" y="3997084"/>
                  <a:pt x="2215630" y="3994826"/>
                </a:cubicBezTo>
                <a:cubicBezTo>
                  <a:pt x="2219750" y="3994826"/>
                  <a:pt x="2221809" y="3992572"/>
                  <a:pt x="2225929" y="3990317"/>
                </a:cubicBezTo>
                <a:cubicBezTo>
                  <a:pt x="2242409" y="3979037"/>
                  <a:pt x="2256828" y="3965501"/>
                  <a:pt x="2273309" y="3954220"/>
                </a:cubicBezTo>
                <a:cubicBezTo>
                  <a:pt x="2275371" y="3951965"/>
                  <a:pt x="2279491" y="3951965"/>
                  <a:pt x="2283610" y="3951965"/>
                </a:cubicBezTo>
                <a:cubicBezTo>
                  <a:pt x="2283610" y="3951965"/>
                  <a:pt x="2283610" y="3954220"/>
                  <a:pt x="2283610" y="3954220"/>
                </a:cubicBezTo>
                <a:cubicBezTo>
                  <a:pt x="2277430" y="3963247"/>
                  <a:pt x="2269191" y="3972267"/>
                  <a:pt x="2263010" y="3983549"/>
                </a:cubicBezTo>
                <a:cubicBezTo>
                  <a:pt x="2271250" y="3988060"/>
                  <a:pt x="2277430" y="3992572"/>
                  <a:pt x="2283610" y="3997084"/>
                </a:cubicBezTo>
                <a:cubicBezTo>
                  <a:pt x="2283610" y="4010619"/>
                  <a:pt x="2287730" y="4021898"/>
                  <a:pt x="2275371" y="4028664"/>
                </a:cubicBezTo>
                <a:cubicBezTo>
                  <a:pt x="2273309" y="4035434"/>
                  <a:pt x="2283610" y="4039945"/>
                  <a:pt x="2273309" y="4046714"/>
                </a:cubicBezTo>
                <a:cubicBezTo>
                  <a:pt x="2271250" y="4044457"/>
                  <a:pt x="2267130" y="4042202"/>
                  <a:pt x="2265071" y="4039945"/>
                </a:cubicBezTo>
                <a:cubicBezTo>
                  <a:pt x="2254770" y="4051223"/>
                  <a:pt x="2244471" y="4060247"/>
                  <a:pt x="2234169" y="4069274"/>
                </a:cubicBezTo>
                <a:cubicBezTo>
                  <a:pt x="2234169" y="4069274"/>
                  <a:pt x="2236230" y="4071529"/>
                  <a:pt x="2236230" y="4071529"/>
                </a:cubicBezTo>
                <a:cubicBezTo>
                  <a:pt x="2240350" y="4069274"/>
                  <a:pt x="2246530" y="4067016"/>
                  <a:pt x="2250650" y="4062504"/>
                </a:cubicBezTo>
                <a:cubicBezTo>
                  <a:pt x="2250650" y="4062504"/>
                  <a:pt x="2250650" y="4062504"/>
                  <a:pt x="2252709" y="4064761"/>
                </a:cubicBezTo>
                <a:cubicBezTo>
                  <a:pt x="2250650" y="4067016"/>
                  <a:pt x="2246530" y="4071529"/>
                  <a:pt x="2242409" y="4073783"/>
                </a:cubicBezTo>
                <a:cubicBezTo>
                  <a:pt x="2254770" y="4076040"/>
                  <a:pt x="2250650" y="4094088"/>
                  <a:pt x="2263010" y="4091833"/>
                </a:cubicBezTo>
                <a:cubicBezTo>
                  <a:pt x="2260951" y="4096342"/>
                  <a:pt x="2258889" y="4098599"/>
                  <a:pt x="2256828" y="4103111"/>
                </a:cubicBezTo>
                <a:cubicBezTo>
                  <a:pt x="2260951" y="4103111"/>
                  <a:pt x="2265071" y="4103111"/>
                  <a:pt x="2271250" y="4103111"/>
                </a:cubicBezTo>
                <a:cubicBezTo>
                  <a:pt x="2260951" y="4114390"/>
                  <a:pt x="2252709" y="4123413"/>
                  <a:pt x="2244471" y="4134694"/>
                </a:cubicBezTo>
                <a:cubicBezTo>
                  <a:pt x="2250650" y="4134694"/>
                  <a:pt x="2252709" y="4134694"/>
                  <a:pt x="2256828" y="4134694"/>
                </a:cubicBezTo>
                <a:cubicBezTo>
                  <a:pt x="2250650" y="4143718"/>
                  <a:pt x="2246530" y="4148230"/>
                  <a:pt x="2242409" y="4154996"/>
                </a:cubicBezTo>
                <a:cubicBezTo>
                  <a:pt x="2242409" y="4154996"/>
                  <a:pt x="2242409" y="4157251"/>
                  <a:pt x="2244471" y="4157251"/>
                </a:cubicBezTo>
                <a:cubicBezTo>
                  <a:pt x="2256828" y="4148230"/>
                  <a:pt x="2267130" y="4139205"/>
                  <a:pt x="2279491" y="4130180"/>
                </a:cubicBezTo>
                <a:cubicBezTo>
                  <a:pt x="2279491" y="4136949"/>
                  <a:pt x="2277430" y="4141460"/>
                  <a:pt x="2277430" y="4145973"/>
                </a:cubicBezTo>
                <a:cubicBezTo>
                  <a:pt x="2281549" y="4143718"/>
                  <a:pt x="2285669" y="4141460"/>
                  <a:pt x="2287730" y="4141460"/>
                </a:cubicBezTo>
                <a:cubicBezTo>
                  <a:pt x="2287730" y="4148230"/>
                  <a:pt x="2289791" y="4152739"/>
                  <a:pt x="2289791" y="4159507"/>
                </a:cubicBezTo>
                <a:cubicBezTo>
                  <a:pt x="2275371" y="4173043"/>
                  <a:pt x="2258889" y="4184322"/>
                  <a:pt x="2250650" y="4206881"/>
                </a:cubicBezTo>
                <a:cubicBezTo>
                  <a:pt x="2260951" y="4200115"/>
                  <a:pt x="2269191" y="4195603"/>
                  <a:pt x="2277430" y="4188834"/>
                </a:cubicBezTo>
                <a:cubicBezTo>
                  <a:pt x="2285669" y="4182068"/>
                  <a:pt x="2289791" y="4173043"/>
                  <a:pt x="2306269" y="4173043"/>
                </a:cubicBezTo>
                <a:cubicBezTo>
                  <a:pt x="2298030" y="4182068"/>
                  <a:pt x="2291850" y="4191091"/>
                  <a:pt x="2283610" y="4197857"/>
                </a:cubicBezTo>
                <a:cubicBezTo>
                  <a:pt x="2277430" y="4204627"/>
                  <a:pt x="2265071" y="4204627"/>
                  <a:pt x="2263010" y="4218162"/>
                </a:cubicBezTo>
                <a:cubicBezTo>
                  <a:pt x="2281549" y="4211393"/>
                  <a:pt x="2293909" y="4195603"/>
                  <a:pt x="2312451" y="4188834"/>
                </a:cubicBezTo>
                <a:cubicBezTo>
                  <a:pt x="2310389" y="4193349"/>
                  <a:pt x="2308331" y="4195603"/>
                  <a:pt x="2304211" y="4200115"/>
                </a:cubicBezTo>
                <a:cubicBezTo>
                  <a:pt x="2316571" y="4197857"/>
                  <a:pt x="2324809" y="4186579"/>
                  <a:pt x="2339230" y="4193349"/>
                </a:cubicBezTo>
                <a:cubicBezTo>
                  <a:pt x="2335110" y="4204627"/>
                  <a:pt x="2347471" y="4197857"/>
                  <a:pt x="2349530" y="4204627"/>
                </a:cubicBezTo>
                <a:cubicBezTo>
                  <a:pt x="2351591" y="4209138"/>
                  <a:pt x="2353652" y="4215904"/>
                  <a:pt x="2357773" y="4220417"/>
                </a:cubicBezTo>
                <a:cubicBezTo>
                  <a:pt x="2355710" y="4229440"/>
                  <a:pt x="2353652" y="4238464"/>
                  <a:pt x="2351591" y="4247487"/>
                </a:cubicBezTo>
                <a:cubicBezTo>
                  <a:pt x="2339230" y="4261023"/>
                  <a:pt x="2318630" y="4272305"/>
                  <a:pt x="2306269" y="4290350"/>
                </a:cubicBezTo>
                <a:cubicBezTo>
                  <a:pt x="2312451" y="4288095"/>
                  <a:pt x="2316571" y="4283582"/>
                  <a:pt x="2322750" y="4281325"/>
                </a:cubicBezTo>
                <a:cubicBezTo>
                  <a:pt x="2322750" y="4281325"/>
                  <a:pt x="2324809" y="4283582"/>
                  <a:pt x="2324809" y="4283582"/>
                </a:cubicBezTo>
                <a:cubicBezTo>
                  <a:pt x="2320691" y="4285837"/>
                  <a:pt x="2318630" y="4290350"/>
                  <a:pt x="2314510" y="4292607"/>
                </a:cubicBezTo>
                <a:cubicBezTo>
                  <a:pt x="2316571" y="4292607"/>
                  <a:pt x="2320691" y="4292607"/>
                  <a:pt x="2322750" y="4290350"/>
                </a:cubicBezTo>
                <a:cubicBezTo>
                  <a:pt x="2333051" y="4283582"/>
                  <a:pt x="2343350" y="4274559"/>
                  <a:pt x="2351591" y="4267793"/>
                </a:cubicBezTo>
                <a:cubicBezTo>
                  <a:pt x="2361892" y="4258766"/>
                  <a:pt x="2372191" y="4252000"/>
                  <a:pt x="2382493" y="4242976"/>
                </a:cubicBezTo>
                <a:cubicBezTo>
                  <a:pt x="2382493" y="4249746"/>
                  <a:pt x="2380432" y="4256512"/>
                  <a:pt x="2380432" y="4265535"/>
                </a:cubicBezTo>
                <a:cubicBezTo>
                  <a:pt x="2376312" y="4272305"/>
                  <a:pt x="2368071" y="4281325"/>
                  <a:pt x="2361892" y="4290350"/>
                </a:cubicBezTo>
                <a:cubicBezTo>
                  <a:pt x="2363951" y="4290350"/>
                  <a:pt x="2368071" y="4290350"/>
                  <a:pt x="2370130" y="4292607"/>
                </a:cubicBezTo>
                <a:cubicBezTo>
                  <a:pt x="2368071" y="4297118"/>
                  <a:pt x="2368071" y="4301630"/>
                  <a:pt x="2368071" y="4303884"/>
                </a:cubicBezTo>
                <a:cubicBezTo>
                  <a:pt x="2376312" y="4306142"/>
                  <a:pt x="2380432" y="4292607"/>
                  <a:pt x="2388671" y="4301630"/>
                </a:cubicBezTo>
                <a:cubicBezTo>
                  <a:pt x="2390730" y="4310654"/>
                  <a:pt x="2378373" y="4306142"/>
                  <a:pt x="2380432" y="4315166"/>
                </a:cubicBezTo>
                <a:cubicBezTo>
                  <a:pt x="2382493" y="4319677"/>
                  <a:pt x="2376312" y="4326444"/>
                  <a:pt x="2384551" y="4330956"/>
                </a:cubicBezTo>
                <a:cubicBezTo>
                  <a:pt x="2390730" y="4324190"/>
                  <a:pt x="2396912" y="4315166"/>
                  <a:pt x="2405152" y="4308397"/>
                </a:cubicBezTo>
                <a:cubicBezTo>
                  <a:pt x="2413392" y="4308397"/>
                  <a:pt x="2403091" y="4324190"/>
                  <a:pt x="2415451" y="4319677"/>
                </a:cubicBezTo>
                <a:cubicBezTo>
                  <a:pt x="2419571" y="4337724"/>
                  <a:pt x="2396912" y="4328701"/>
                  <a:pt x="2394850" y="4342237"/>
                </a:cubicBezTo>
                <a:cubicBezTo>
                  <a:pt x="2398971" y="4344492"/>
                  <a:pt x="2403091" y="4344492"/>
                  <a:pt x="2407210" y="4346749"/>
                </a:cubicBezTo>
                <a:cubicBezTo>
                  <a:pt x="2403091" y="4351260"/>
                  <a:pt x="2401032" y="4355770"/>
                  <a:pt x="2396912" y="4362539"/>
                </a:cubicBezTo>
                <a:cubicBezTo>
                  <a:pt x="2405152" y="4358026"/>
                  <a:pt x="2409272" y="4353515"/>
                  <a:pt x="2415451" y="4349003"/>
                </a:cubicBezTo>
                <a:cubicBezTo>
                  <a:pt x="2413392" y="4360281"/>
                  <a:pt x="2398971" y="4360281"/>
                  <a:pt x="2401032" y="4376074"/>
                </a:cubicBezTo>
                <a:cubicBezTo>
                  <a:pt x="2409272" y="4369308"/>
                  <a:pt x="2417512" y="4362539"/>
                  <a:pt x="2423691" y="4358026"/>
                </a:cubicBezTo>
                <a:cubicBezTo>
                  <a:pt x="2433992" y="4351260"/>
                  <a:pt x="2440171" y="4351260"/>
                  <a:pt x="2448412" y="4360281"/>
                </a:cubicBezTo>
                <a:cubicBezTo>
                  <a:pt x="2446353" y="4367051"/>
                  <a:pt x="2436051" y="4358026"/>
                  <a:pt x="2433992" y="4364796"/>
                </a:cubicBezTo>
                <a:cubicBezTo>
                  <a:pt x="2444291" y="4369308"/>
                  <a:pt x="2452532" y="4373819"/>
                  <a:pt x="2462830" y="4380587"/>
                </a:cubicBezTo>
                <a:cubicBezTo>
                  <a:pt x="2452532" y="4387353"/>
                  <a:pt x="2442230" y="4387353"/>
                  <a:pt x="2440171" y="4400889"/>
                </a:cubicBezTo>
                <a:cubicBezTo>
                  <a:pt x="2454593" y="4391867"/>
                  <a:pt x="2469012" y="4385098"/>
                  <a:pt x="2485492" y="4385098"/>
                </a:cubicBezTo>
                <a:cubicBezTo>
                  <a:pt x="2485492" y="4387353"/>
                  <a:pt x="2487551" y="4391867"/>
                  <a:pt x="2487551" y="4394121"/>
                </a:cubicBezTo>
                <a:cubicBezTo>
                  <a:pt x="2493732" y="4391867"/>
                  <a:pt x="2499912" y="4389610"/>
                  <a:pt x="2504032" y="4389610"/>
                </a:cubicBezTo>
                <a:cubicBezTo>
                  <a:pt x="2506093" y="4391867"/>
                  <a:pt x="2506093" y="4394121"/>
                  <a:pt x="2508151" y="4396379"/>
                </a:cubicBezTo>
                <a:cubicBezTo>
                  <a:pt x="2522573" y="4389610"/>
                  <a:pt x="2536992" y="4380587"/>
                  <a:pt x="2551412" y="4373819"/>
                </a:cubicBezTo>
                <a:cubicBezTo>
                  <a:pt x="2543173" y="4387353"/>
                  <a:pt x="2530811" y="4394121"/>
                  <a:pt x="2520512" y="4400889"/>
                </a:cubicBezTo>
                <a:cubicBezTo>
                  <a:pt x="2512271" y="4405400"/>
                  <a:pt x="2501973" y="4412169"/>
                  <a:pt x="2493732" y="4418936"/>
                </a:cubicBezTo>
                <a:cubicBezTo>
                  <a:pt x="2512271" y="4421193"/>
                  <a:pt x="2524632" y="4405400"/>
                  <a:pt x="2541112" y="4400889"/>
                </a:cubicBezTo>
                <a:cubicBezTo>
                  <a:pt x="2557592" y="4396379"/>
                  <a:pt x="2572012" y="4385098"/>
                  <a:pt x="2588494" y="4376074"/>
                </a:cubicBezTo>
                <a:cubicBezTo>
                  <a:pt x="2595704" y="4372691"/>
                  <a:pt x="2602914" y="4368179"/>
                  <a:pt x="2610381" y="4364232"/>
                </a:cubicBezTo>
                <a:lnTo>
                  <a:pt x="2620939" y="4360419"/>
                </a:lnTo>
                <a:lnTo>
                  <a:pt x="2621453" y="4359154"/>
                </a:lnTo>
                <a:lnTo>
                  <a:pt x="2623016" y="4359669"/>
                </a:lnTo>
                <a:lnTo>
                  <a:pt x="2633813" y="4355770"/>
                </a:lnTo>
                <a:lnTo>
                  <a:pt x="2626780" y="4360905"/>
                </a:lnTo>
                <a:lnTo>
                  <a:pt x="2631755" y="4362539"/>
                </a:lnTo>
                <a:lnTo>
                  <a:pt x="2619443" y="4368317"/>
                </a:lnTo>
                <a:lnTo>
                  <a:pt x="2617592" y="4371562"/>
                </a:lnTo>
                <a:cubicBezTo>
                  <a:pt x="2617334" y="4374381"/>
                  <a:pt x="2617334" y="4377202"/>
                  <a:pt x="2615274" y="4378328"/>
                </a:cubicBezTo>
                <a:cubicBezTo>
                  <a:pt x="2611154" y="4380587"/>
                  <a:pt x="2607033" y="4385098"/>
                  <a:pt x="2600853" y="4387353"/>
                </a:cubicBezTo>
                <a:cubicBezTo>
                  <a:pt x="2615274" y="4382841"/>
                  <a:pt x="2629692" y="4376074"/>
                  <a:pt x="2644112" y="4367051"/>
                </a:cubicBezTo>
                <a:cubicBezTo>
                  <a:pt x="2648232" y="4364796"/>
                  <a:pt x="2650294" y="4358026"/>
                  <a:pt x="2654414" y="4358026"/>
                </a:cubicBezTo>
                <a:cubicBezTo>
                  <a:pt x="2660595" y="4355770"/>
                  <a:pt x="2658533" y="4351260"/>
                  <a:pt x="2656475" y="4349003"/>
                </a:cubicBezTo>
                <a:cubicBezTo>
                  <a:pt x="2652353" y="4344492"/>
                  <a:pt x="2650294" y="4342237"/>
                  <a:pt x="2654414" y="4337724"/>
                </a:cubicBezTo>
                <a:lnTo>
                  <a:pt x="2664392" y="4332261"/>
                </a:lnTo>
                <a:lnTo>
                  <a:pt x="2650294" y="4339979"/>
                </a:lnTo>
                <a:cubicBezTo>
                  <a:pt x="2653384" y="4332084"/>
                  <a:pt x="2654929" y="4328137"/>
                  <a:pt x="2657504" y="4326727"/>
                </a:cubicBezTo>
                <a:lnTo>
                  <a:pt x="2670893" y="4328701"/>
                </a:lnTo>
                <a:lnTo>
                  <a:pt x="2683254" y="4321932"/>
                </a:lnTo>
                <a:cubicBezTo>
                  <a:pt x="2691494" y="4315166"/>
                  <a:pt x="2705913" y="4317420"/>
                  <a:pt x="2707974" y="4301630"/>
                </a:cubicBezTo>
                <a:cubicBezTo>
                  <a:pt x="2707974" y="4301630"/>
                  <a:pt x="2710033" y="4301630"/>
                  <a:pt x="2710033" y="4299373"/>
                </a:cubicBezTo>
                <a:cubicBezTo>
                  <a:pt x="2712095" y="4301630"/>
                  <a:pt x="2712095" y="4303884"/>
                  <a:pt x="2714154" y="4306142"/>
                </a:cubicBezTo>
                <a:cubicBezTo>
                  <a:pt x="2722394" y="4301630"/>
                  <a:pt x="2730635" y="4297118"/>
                  <a:pt x="2738874" y="4292607"/>
                </a:cubicBezTo>
                <a:cubicBezTo>
                  <a:pt x="2738874" y="4294863"/>
                  <a:pt x="2740933" y="4297118"/>
                  <a:pt x="2740933" y="4301630"/>
                </a:cubicBezTo>
                <a:cubicBezTo>
                  <a:pt x="2745056" y="4301630"/>
                  <a:pt x="2751235" y="4299373"/>
                  <a:pt x="2755354" y="4299373"/>
                </a:cubicBezTo>
                <a:cubicBezTo>
                  <a:pt x="2751235" y="4303884"/>
                  <a:pt x="2749176" y="4308397"/>
                  <a:pt x="2747115" y="4310654"/>
                </a:cubicBezTo>
                <a:cubicBezTo>
                  <a:pt x="2755354" y="4306142"/>
                  <a:pt x="2765654" y="4303884"/>
                  <a:pt x="2769774" y="4294863"/>
                </a:cubicBezTo>
                <a:cubicBezTo>
                  <a:pt x="2773896" y="4285837"/>
                  <a:pt x="2778014" y="4283582"/>
                  <a:pt x="2784195" y="4279071"/>
                </a:cubicBezTo>
                <a:cubicBezTo>
                  <a:pt x="2790374" y="4274559"/>
                  <a:pt x="2794494" y="4270048"/>
                  <a:pt x="2802735" y="4272305"/>
                </a:cubicBezTo>
                <a:cubicBezTo>
                  <a:pt x="2802735" y="4272305"/>
                  <a:pt x="2806854" y="4270048"/>
                  <a:pt x="2806854" y="4270048"/>
                </a:cubicBezTo>
                <a:cubicBezTo>
                  <a:pt x="2808913" y="4261023"/>
                  <a:pt x="2819215" y="4258766"/>
                  <a:pt x="2823335" y="4252000"/>
                </a:cubicBezTo>
                <a:cubicBezTo>
                  <a:pt x="2825396" y="4254254"/>
                  <a:pt x="2827455" y="4258766"/>
                  <a:pt x="2827455" y="4261023"/>
                </a:cubicBezTo>
                <a:cubicBezTo>
                  <a:pt x="2827455" y="4261023"/>
                  <a:pt x="2829513" y="4261023"/>
                  <a:pt x="2829513" y="4258766"/>
                </a:cubicBezTo>
                <a:cubicBezTo>
                  <a:pt x="2829513" y="4256512"/>
                  <a:pt x="2827455" y="4252000"/>
                  <a:pt x="2827455" y="4252000"/>
                </a:cubicBezTo>
                <a:cubicBezTo>
                  <a:pt x="2837756" y="4245233"/>
                  <a:pt x="2848056" y="4238464"/>
                  <a:pt x="2858354" y="4231695"/>
                </a:cubicBezTo>
                <a:cubicBezTo>
                  <a:pt x="2858354" y="4231695"/>
                  <a:pt x="2858354" y="4233953"/>
                  <a:pt x="2860415" y="4233953"/>
                </a:cubicBezTo>
                <a:cubicBezTo>
                  <a:pt x="2858354" y="4238464"/>
                  <a:pt x="2854234" y="4240721"/>
                  <a:pt x="2852176" y="4245233"/>
                </a:cubicBezTo>
                <a:cubicBezTo>
                  <a:pt x="2852176" y="4245233"/>
                  <a:pt x="2852176" y="4247487"/>
                  <a:pt x="2854234" y="4247487"/>
                </a:cubicBezTo>
                <a:cubicBezTo>
                  <a:pt x="2866597" y="4238464"/>
                  <a:pt x="2878954" y="4231695"/>
                  <a:pt x="2889256" y="4222674"/>
                </a:cubicBezTo>
                <a:cubicBezTo>
                  <a:pt x="2889256" y="4215904"/>
                  <a:pt x="2887195" y="4211393"/>
                  <a:pt x="2887195" y="4206881"/>
                </a:cubicBezTo>
                <a:cubicBezTo>
                  <a:pt x="2893376" y="4209138"/>
                  <a:pt x="2901617" y="4211393"/>
                  <a:pt x="2907795" y="4211393"/>
                </a:cubicBezTo>
                <a:cubicBezTo>
                  <a:pt x="2911915" y="4211393"/>
                  <a:pt x="2913977" y="4204627"/>
                  <a:pt x="2918097" y="4200115"/>
                </a:cubicBezTo>
                <a:cubicBezTo>
                  <a:pt x="2918097" y="4200115"/>
                  <a:pt x="2920156" y="4197857"/>
                  <a:pt x="2920156" y="4197857"/>
                </a:cubicBezTo>
                <a:cubicBezTo>
                  <a:pt x="2936636" y="4184322"/>
                  <a:pt x="2953117" y="4173043"/>
                  <a:pt x="2969597" y="4159507"/>
                </a:cubicBezTo>
                <a:cubicBezTo>
                  <a:pt x="2969597" y="4159507"/>
                  <a:pt x="2971656" y="4159507"/>
                  <a:pt x="2971656" y="4159507"/>
                </a:cubicBezTo>
                <a:cubicBezTo>
                  <a:pt x="2969597" y="4157251"/>
                  <a:pt x="2969597" y="4154996"/>
                  <a:pt x="2967536" y="4152739"/>
                </a:cubicBezTo>
                <a:cubicBezTo>
                  <a:pt x="2971656" y="4145973"/>
                  <a:pt x="2975776" y="4139205"/>
                  <a:pt x="2979899" y="4132437"/>
                </a:cubicBezTo>
                <a:cubicBezTo>
                  <a:pt x="2984016" y="4139205"/>
                  <a:pt x="2988136" y="4143718"/>
                  <a:pt x="2994317" y="4148230"/>
                </a:cubicBezTo>
                <a:cubicBezTo>
                  <a:pt x="2998438" y="4145973"/>
                  <a:pt x="3002558" y="4141460"/>
                  <a:pt x="3004616" y="4139205"/>
                </a:cubicBezTo>
                <a:cubicBezTo>
                  <a:pt x="3010796" y="4133565"/>
                  <a:pt x="3014917" y="4130746"/>
                  <a:pt x="3018521" y="4131591"/>
                </a:cubicBezTo>
                <a:lnTo>
                  <a:pt x="3023406" y="4138086"/>
                </a:lnTo>
                <a:lnTo>
                  <a:pt x="3027278" y="4134694"/>
                </a:lnTo>
                <a:lnTo>
                  <a:pt x="3025003" y="4140210"/>
                </a:lnTo>
                <a:lnTo>
                  <a:pt x="3029336" y="4145973"/>
                </a:lnTo>
                <a:cubicBezTo>
                  <a:pt x="3033457" y="4136949"/>
                  <a:pt x="3039636" y="4130180"/>
                  <a:pt x="3041697" y="4121158"/>
                </a:cubicBezTo>
                <a:cubicBezTo>
                  <a:pt x="3045817" y="4109878"/>
                  <a:pt x="3054058" y="4109878"/>
                  <a:pt x="3062297" y="4103111"/>
                </a:cubicBezTo>
                <a:cubicBezTo>
                  <a:pt x="3060236" y="4107623"/>
                  <a:pt x="3060236" y="4114390"/>
                  <a:pt x="3058177" y="4118901"/>
                </a:cubicBezTo>
                <a:cubicBezTo>
                  <a:pt x="3058177" y="4118901"/>
                  <a:pt x="3060236" y="4121158"/>
                  <a:pt x="3060236" y="4121158"/>
                </a:cubicBezTo>
                <a:cubicBezTo>
                  <a:pt x="3066418" y="4116647"/>
                  <a:pt x="3070538" y="4114390"/>
                  <a:pt x="3076717" y="4109878"/>
                </a:cubicBezTo>
                <a:cubicBezTo>
                  <a:pt x="3080836" y="4105365"/>
                  <a:pt x="3082898" y="4103111"/>
                  <a:pt x="3087018" y="4098599"/>
                </a:cubicBezTo>
                <a:cubicBezTo>
                  <a:pt x="3087018" y="4100854"/>
                  <a:pt x="3087018" y="4103111"/>
                  <a:pt x="3087018" y="4103111"/>
                </a:cubicBezTo>
                <a:cubicBezTo>
                  <a:pt x="3087018" y="4105365"/>
                  <a:pt x="3089077" y="4107623"/>
                  <a:pt x="3089077" y="4109878"/>
                </a:cubicBezTo>
                <a:cubicBezTo>
                  <a:pt x="3099379" y="4109878"/>
                  <a:pt x="3107616" y="4105365"/>
                  <a:pt x="3115859" y="4105365"/>
                </a:cubicBezTo>
                <a:cubicBezTo>
                  <a:pt x="3117918" y="4112135"/>
                  <a:pt x="3122038" y="4118901"/>
                  <a:pt x="3119979" y="4123413"/>
                </a:cubicBezTo>
                <a:cubicBezTo>
                  <a:pt x="3117918" y="4134694"/>
                  <a:pt x="3126158" y="4143718"/>
                  <a:pt x="3130277" y="4152739"/>
                </a:cubicBezTo>
                <a:cubicBezTo>
                  <a:pt x="3134398" y="4159507"/>
                  <a:pt x="3138518" y="4168532"/>
                  <a:pt x="3148817" y="4168532"/>
                </a:cubicBezTo>
                <a:cubicBezTo>
                  <a:pt x="3152938" y="4166277"/>
                  <a:pt x="3159118" y="4161762"/>
                  <a:pt x="3163239" y="4161762"/>
                </a:cubicBezTo>
                <a:cubicBezTo>
                  <a:pt x="3171479" y="4159507"/>
                  <a:pt x="3177658" y="4154996"/>
                  <a:pt x="3185898" y="4148230"/>
                </a:cubicBezTo>
                <a:cubicBezTo>
                  <a:pt x="3200317" y="4134694"/>
                  <a:pt x="3212680" y="4118901"/>
                  <a:pt x="3229161" y="4107623"/>
                </a:cubicBezTo>
                <a:cubicBezTo>
                  <a:pt x="3229161" y="4107623"/>
                  <a:pt x="3231219" y="4107623"/>
                  <a:pt x="3231219" y="4109878"/>
                </a:cubicBezTo>
                <a:lnTo>
                  <a:pt x="3239459" y="4104464"/>
                </a:lnTo>
                <a:lnTo>
                  <a:pt x="3239459" y="4101983"/>
                </a:lnTo>
                <a:lnTo>
                  <a:pt x="3237400" y="4100854"/>
                </a:lnTo>
                <a:lnTo>
                  <a:pt x="3239459" y="4097470"/>
                </a:lnTo>
                <a:lnTo>
                  <a:pt x="3239459" y="4091833"/>
                </a:lnTo>
                <a:lnTo>
                  <a:pt x="3241084" y="4094799"/>
                </a:lnTo>
                <a:lnTo>
                  <a:pt x="3241518" y="4094088"/>
                </a:lnTo>
                <a:cubicBezTo>
                  <a:pt x="3241518" y="4094088"/>
                  <a:pt x="3241518" y="4091833"/>
                  <a:pt x="3241518" y="4089576"/>
                </a:cubicBezTo>
                <a:lnTo>
                  <a:pt x="3235339" y="4089576"/>
                </a:lnTo>
                <a:lnTo>
                  <a:pt x="3231219" y="4089576"/>
                </a:lnTo>
                <a:lnTo>
                  <a:pt x="3231219" y="4088447"/>
                </a:lnTo>
                <a:lnTo>
                  <a:pt x="3227099" y="4087318"/>
                </a:lnTo>
                <a:cubicBezTo>
                  <a:pt x="3229161" y="4085063"/>
                  <a:pt x="3229161" y="4085063"/>
                  <a:pt x="3231219" y="4082806"/>
                </a:cubicBezTo>
                <a:cubicBezTo>
                  <a:pt x="3231219" y="4082806"/>
                  <a:pt x="3231219" y="4085063"/>
                  <a:pt x="3231219" y="4085063"/>
                </a:cubicBezTo>
                <a:lnTo>
                  <a:pt x="3232259" y="4086203"/>
                </a:lnTo>
                <a:lnTo>
                  <a:pt x="3244093" y="4073501"/>
                </a:lnTo>
                <a:cubicBezTo>
                  <a:pt x="3247183" y="4069272"/>
                  <a:pt x="3248729" y="4065889"/>
                  <a:pt x="3247700" y="4064761"/>
                </a:cubicBezTo>
                <a:cubicBezTo>
                  <a:pt x="3245638" y="4062504"/>
                  <a:pt x="3243579" y="4060247"/>
                  <a:pt x="3241518" y="4060247"/>
                </a:cubicBezTo>
                <a:cubicBezTo>
                  <a:pt x="3241518" y="4048968"/>
                  <a:pt x="3241518" y="4039945"/>
                  <a:pt x="3239459" y="4030921"/>
                </a:cubicBezTo>
                <a:cubicBezTo>
                  <a:pt x="3237400" y="4019643"/>
                  <a:pt x="3245638" y="4012874"/>
                  <a:pt x="3247700" y="4001596"/>
                </a:cubicBezTo>
                <a:cubicBezTo>
                  <a:pt x="3245638" y="3999339"/>
                  <a:pt x="3243579" y="3994826"/>
                  <a:pt x="3241518" y="3992572"/>
                </a:cubicBezTo>
                <a:cubicBezTo>
                  <a:pt x="3239459" y="3992572"/>
                  <a:pt x="3237400" y="3994826"/>
                  <a:pt x="3237400" y="3994826"/>
                </a:cubicBezTo>
                <a:cubicBezTo>
                  <a:pt x="3235339" y="3999339"/>
                  <a:pt x="3233280" y="4003851"/>
                  <a:pt x="3231219" y="4008362"/>
                </a:cubicBezTo>
                <a:cubicBezTo>
                  <a:pt x="3229161" y="4006108"/>
                  <a:pt x="3229161" y="4003851"/>
                  <a:pt x="3229161" y="4001596"/>
                </a:cubicBezTo>
                <a:cubicBezTo>
                  <a:pt x="3233280" y="3994826"/>
                  <a:pt x="3237400" y="3990317"/>
                  <a:pt x="3241518" y="3983549"/>
                </a:cubicBezTo>
                <a:cubicBezTo>
                  <a:pt x="3243579" y="3983549"/>
                  <a:pt x="3245638" y="3983549"/>
                  <a:pt x="3249758" y="3983549"/>
                </a:cubicBezTo>
                <a:cubicBezTo>
                  <a:pt x="3251820" y="3960990"/>
                  <a:pt x="3266239" y="3947454"/>
                  <a:pt x="3278598" y="3929406"/>
                </a:cubicBezTo>
                <a:cubicBezTo>
                  <a:pt x="3276540" y="3927148"/>
                  <a:pt x="3276540" y="3924894"/>
                  <a:pt x="3274479" y="3922640"/>
                </a:cubicBezTo>
                <a:cubicBezTo>
                  <a:pt x="3268300" y="3929406"/>
                  <a:pt x="3264180" y="3933918"/>
                  <a:pt x="3258000" y="3938430"/>
                </a:cubicBezTo>
                <a:cubicBezTo>
                  <a:pt x="3253878" y="3942942"/>
                  <a:pt x="3247700" y="3949708"/>
                  <a:pt x="3241518" y="3956477"/>
                </a:cubicBezTo>
                <a:cubicBezTo>
                  <a:pt x="3241518" y="3947454"/>
                  <a:pt x="3243579" y="3942942"/>
                  <a:pt x="3245638" y="3936173"/>
                </a:cubicBezTo>
                <a:cubicBezTo>
                  <a:pt x="3247700" y="3936173"/>
                  <a:pt x="3247700" y="3936173"/>
                  <a:pt x="3247700" y="3936173"/>
                </a:cubicBezTo>
                <a:cubicBezTo>
                  <a:pt x="3249758" y="3936173"/>
                  <a:pt x="3249758" y="3936173"/>
                  <a:pt x="3251820" y="3936173"/>
                </a:cubicBezTo>
                <a:cubicBezTo>
                  <a:pt x="3258000" y="3929406"/>
                  <a:pt x="3266239" y="3924894"/>
                  <a:pt x="3268300" y="3913616"/>
                </a:cubicBezTo>
                <a:cubicBezTo>
                  <a:pt x="3266239" y="3913616"/>
                  <a:pt x="3264180" y="3915871"/>
                  <a:pt x="3260059" y="3918128"/>
                </a:cubicBezTo>
                <a:cubicBezTo>
                  <a:pt x="3255939" y="3918128"/>
                  <a:pt x="3253878" y="3920382"/>
                  <a:pt x="3251820" y="3922640"/>
                </a:cubicBezTo>
                <a:cubicBezTo>
                  <a:pt x="3249758" y="3924894"/>
                  <a:pt x="3245638" y="3927148"/>
                  <a:pt x="3243579" y="3929406"/>
                </a:cubicBezTo>
                <a:cubicBezTo>
                  <a:pt x="3241518" y="3929406"/>
                  <a:pt x="3241518" y="3929406"/>
                  <a:pt x="3239459" y="3931661"/>
                </a:cubicBezTo>
                <a:cubicBezTo>
                  <a:pt x="3239459" y="3931661"/>
                  <a:pt x="3239459" y="3933918"/>
                  <a:pt x="3239459" y="3933918"/>
                </a:cubicBezTo>
                <a:cubicBezTo>
                  <a:pt x="3237400" y="3938430"/>
                  <a:pt x="3233280" y="3942942"/>
                  <a:pt x="3231219" y="3945199"/>
                </a:cubicBezTo>
                <a:cubicBezTo>
                  <a:pt x="3229161" y="3947454"/>
                  <a:pt x="3227099" y="3947454"/>
                  <a:pt x="3225038" y="3945199"/>
                </a:cubicBezTo>
                <a:cubicBezTo>
                  <a:pt x="3227099" y="3938430"/>
                  <a:pt x="3229161" y="3933918"/>
                  <a:pt x="3231219" y="3927148"/>
                </a:cubicBezTo>
                <a:cubicBezTo>
                  <a:pt x="3222979" y="3931661"/>
                  <a:pt x="3214739" y="3936173"/>
                  <a:pt x="3208559" y="3945199"/>
                </a:cubicBezTo>
                <a:cubicBezTo>
                  <a:pt x="3206498" y="3940688"/>
                  <a:pt x="3202379" y="3940688"/>
                  <a:pt x="3194138" y="3942942"/>
                </a:cubicBezTo>
                <a:cubicBezTo>
                  <a:pt x="3198259" y="3938430"/>
                  <a:pt x="3200317" y="3936173"/>
                  <a:pt x="3202379" y="3933918"/>
                </a:cubicBezTo>
                <a:cubicBezTo>
                  <a:pt x="3220918" y="3915871"/>
                  <a:pt x="3243579" y="3902335"/>
                  <a:pt x="3264180" y="3884287"/>
                </a:cubicBezTo>
                <a:cubicBezTo>
                  <a:pt x="3264180" y="3884287"/>
                  <a:pt x="3264180" y="3884287"/>
                  <a:pt x="3264180" y="3886545"/>
                </a:cubicBezTo>
                <a:cubicBezTo>
                  <a:pt x="3268300" y="3884287"/>
                  <a:pt x="3270359" y="3882033"/>
                  <a:pt x="3274479" y="3879776"/>
                </a:cubicBezTo>
                <a:cubicBezTo>
                  <a:pt x="3274479" y="3879776"/>
                  <a:pt x="3276540" y="3879776"/>
                  <a:pt x="3276540" y="3879776"/>
                </a:cubicBezTo>
                <a:cubicBezTo>
                  <a:pt x="3280661" y="3884287"/>
                  <a:pt x="3284780" y="3886545"/>
                  <a:pt x="3288900" y="3888799"/>
                </a:cubicBezTo>
                <a:cubicBezTo>
                  <a:pt x="3290959" y="3888799"/>
                  <a:pt x="3290959" y="3886545"/>
                  <a:pt x="3293018" y="3886545"/>
                </a:cubicBezTo>
                <a:cubicBezTo>
                  <a:pt x="3290959" y="3889928"/>
                  <a:pt x="3289415" y="3891619"/>
                  <a:pt x="3288385" y="3892748"/>
                </a:cubicBezTo>
                <a:lnTo>
                  <a:pt x="3286839" y="3895567"/>
                </a:lnTo>
                <a:lnTo>
                  <a:pt x="3288900" y="3893312"/>
                </a:lnTo>
                <a:cubicBezTo>
                  <a:pt x="3293018" y="3884287"/>
                  <a:pt x="3299200" y="3879776"/>
                  <a:pt x="3307439" y="3875264"/>
                </a:cubicBezTo>
                <a:cubicBezTo>
                  <a:pt x="3307439" y="3877521"/>
                  <a:pt x="3305380" y="3879776"/>
                  <a:pt x="3305380" y="3882033"/>
                </a:cubicBezTo>
                <a:cubicBezTo>
                  <a:pt x="3309500" y="3879776"/>
                  <a:pt x="3311559" y="3877521"/>
                  <a:pt x="3315680" y="3875264"/>
                </a:cubicBezTo>
                <a:cubicBezTo>
                  <a:pt x="3313618" y="3882033"/>
                  <a:pt x="3305380" y="3884287"/>
                  <a:pt x="3311559" y="3893312"/>
                </a:cubicBezTo>
                <a:cubicBezTo>
                  <a:pt x="3317739" y="3891057"/>
                  <a:pt x="3323919" y="3886545"/>
                  <a:pt x="3330101" y="3882033"/>
                </a:cubicBezTo>
                <a:cubicBezTo>
                  <a:pt x="3325981" y="3888799"/>
                  <a:pt x="3321861" y="3893312"/>
                  <a:pt x="3319800" y="3897823"/>
                </a:cubicBezTo>
                <a:cubicBezTo>
                  <a:pt x="3319800" y="3900080"/>
                  <a:pt x="3319800" y="3902335"/>
                  <a:pt x="3319800" y="3904589"/>
                </a:cubicBezTo>
                <a:cubicBezTo>
                  <a:pt x="3328039" y="3893312"/>
                  <a:pt x="3332160" y="3900080"/>
                  <a:pt x="3336280" y="3906846"/>
                </a:cubicBezTo>
                <a:cubicBezTo>
                  <a:pt x="3342459" y="3900080"/>
                  <a:pt x="3346582" y="3893312"/>
                  <a:pt x="3352760" y="3888799"/>
                </a:cubicBezTo>
                <a:cubicBezTo>
                  <a:pt x="3356880" y="3888799"/>
                  <a:pt x="3358939" y="3891057"/>
                  <a:pt x="3363059" y="3891057"/>
                </a:cubicBezTo>
                <a:cubicBezTo>
                  <a:pt x="3356880" y="3897823"/>
                  <a:pt x="3352760" y="3902335"/>
                  <a:pt x="3350701" y="3911359"/>
                </a:cubicBezTo>
                <a:cubicBezTo>
                  <a:pt x="3354819" y="3918128"/>
                  <a:pt x="3358939" y="3922640"/>
                  <a:pt x="3363059" y="3924894"/>
                </a:cubicBezTo>
                <a:cubicBezTo>
                  <a:pt x="3363059" y="3924894"/>
                  <a:pt x="3363059" y="3927148"/>
                  <a:pt x="3361000" y="3927148"/>
                </a:cubicBezTo>
                <a:cubicBezTo>
                  <a:pt x="3358939" y="3929406"/>
                  <a:pt x="3356880" y="3931661"/>
                  <a:pt x="3354819" y="3933918"/>
                </a:cubicBezTo>
                <a:cubicBezTo>
                  <a:pt x="3346582" y="3933918"/>
                  <a:pt x="3340400" y="3942942"/>
                  <a:pt x="3334219" y="3947454"/>
                </a:cubicBezTo>
                <a:cubicBezTo>
                  <a:pt x="3325981" y="3954220"/>
                  <a:pt x="3317739" y="3963247"/>
                  <a:pt x="3317739" y="3976779"/>
                </a:cubicBezTo>
                <a:cubicBezTo>
                  <a:pt x="3328039" y="3974524"/>
                  <a:pt x="3334219" y="3970013"/>
                  <a:pt x="3338339" y="3963247"/>
                </a:cubicBezTo>
                <a:cubicBezTo>
                  <a:pt x="3346582" y="3951965"/>
                  <a:pt x="3356880" y="3942942"/>
                  <a:pt x="3367180" y="3936173"/>
                </a:cubicBezTo>
                <a:cubicBezTo>
                  <a:pt x="3369241" y="3933918"/>
                  <a:pt x="3371300" y="3931661"/>
                  <a:pt x="3373361" y="3929406"/>
                </a:cubicBezTo>
                <a:cubicBezTo>
                  <a:pt x="3375419" y="3929406"/>
                  <a:pt x="3377481" y="3929406"/>
                  <a:pt x="3377481" y="3929406"/>
                </a:cubicBezTo>
                <a:cubicBezTo>
                  <a:pt x="3387780" y="3929406"/>
                  <a:pt x="3389841" y="3922640"/>
                  <a:pt x="3385721" y="3915871"/>
                </a:cubicBezTo>
                <a:lnTo>
                  <a:pt x="3383660" y="3915871"/>
                </a:lnTo>
                <a:cubicBezTo>
                  <a:pt x="3381601" y="3913616"/>
                  <a:pt x="3379539" y="3911359"/>
                  <a:pt x="3381601" y="3906846"/>
                </a:cubicBezTo>
                <a:cubicBezTo>
                  <a:pt x="3383660" y="3904589"/>
                  <a:pt x="3385721" y="3902335"/>
                  <a:pt x="3387780" y="3900080"/>
                </a:cubicBezTo>
                <a:cubicBezTo>
                  <a:pt x="3393961" y="3897823"/>
                  <a:pt x="3398082" y="3897823"/>
                  <a:pt x="3404260" y="3893312"/>
                </a:cubicBezTo>
                <a:cubicBezTo>
                  <a:pt x="3408380" y="3895569"/>
                  <a:pt x="3410439" y="3900080"/>
                  <a:pt x="3414562" y="3902335"/>
                </a:cubicBezTo>
                <a:cubicBezTo>
                  <a:pt x="3414562" y="3902335"/>
                  <a:pt x="3414562" y="3902335"/>
                  <a:pt x="3412500" y="3904589"/>
                </a:cubicBezTo>
                <a:cubicBezTo>
                  <a:pt x="3408380" y="3909104"/>
                  <a:pt x="3404260" y="3915871"/>
                  <a:pt x="3400140" y="3918128"/>
                </a:cubicBezTo>
                <a:cubicBezTo>
                  <a:pt x="3389841" y="3924894"/>
                  <a:pt x="3383660" y="3936173"/>
                  <a:pt x="3375419" y="3945199"/>
                </a:cubicBezTo>
                <a:cubicBezTo>
                  <a:pt x="3373361" y="3947454"/>
                  <a:pt x="3373361" y="3949708"/>
                  <a:pt x="3371300" y="3954220"/>
                </a:cubicBezTo>
                <a:cubicBezTo>
                  <a:pt x="3363059" y="3958732"/>
                  <a:pt x="3358939" y="3967758"/>
                  <a:pt x="3352760" y="3972267"/>
                </a:cubicBezTo>
                <a:cubicBezTo>
                  <a:pt x="3350701" y="3974524"/>
                  <a:pt x="3350701" y="3976779"/>
                  <a:pt x="3350701" y="3981292"/>
                </a:cubicBezTo>
                <a:cubicBezTo>
                  <a:pt x="3361000" y="3974524"/>
                  <a:pt x="3371300" y="3967758"/>
                  <a:pt x="3379539" y="3956477"/>
                </a:cubicBezTo>
                <a:cubicBezTo>
                  <a:pt x="3380570" y="3955349"/>
                  <a:pt x="3381600" y="3954221"/>
                  <a:pt x="3381858" y="3953093"/>
                </a:cubicBezTo>
                <a:lnTo>
                  <a:pt x="3379884" y="3950211"/>
                </a:lnTo>
                <a:lnTo>
                  <a:pt x="3377481" y="3951965"/>
                </a:lnTo>
                <a:cubicBezTo>
                  <a:pt x="3377481" y="3949708"/>
                  <a:pt x="3379539" y="3949708"/>
                  <a:pt x="3379539" y="3949708"/>
                </a:cubicBezTo>
                <a:lnTo>
                  <a:pt x="3379884" y="3950211"/>
                </a:lnTo>
                <a:lnTo>
                  <a:pt x="3383660" y="3947454"/>
                </a:lnTo>
                <a:cubicBezTo>
                  <a:pt x="3396020" y="3933918"/>
                  <a:pt x="3408380" y="3922640"/>
                  <a:pt x="3420741" y="3909104"/>
                </a:cubicBezTo>
                <a:cubicBezTo>
                  <a:pt x="3420741" y="3909104"/>
                  <a:pt x="3422802" y="3906846"/>
                  <a:pt x="3422802" y="3906846"/>
                </a:cubicBezTo>
                <a:cubicBezTo>
                  <a:pt x="3424861" y="3909104"/>
                  <a:pt x="3426920" y="3911359"/>
                  <a:pt x="3428981" y="3913616"/>
                </a:cubicBezTo>
                <a:cubicBezTo>
                  <a:pt x="3422802" y="3918128"/>
                  <a:pt x="3418682" y="3924894"/>
                  <a:pt x="3412500" y="3931661"/>
                </a:cubicBezTo>
                <a:cubicBezTo>
                  <a:pt x="3406319" y="3940688"/>
                  <a:pt x="3398082" y="3949708"/>
                  <a:pt x="3391900" y="3956477"/>
                </a:cubicBezTo>
                <a:cubicBezTo>
                  <a:pt x="3391900" y="3956477"/>
                  <a:pt x="3391900" y="3958732"/>
                  <a:pt x="3391900" y="3960990"/>
                </a:cubicBezTo>
                <a:cubicBezTo>
                  <a:pt x="3385721" y="3965501"/>
                  <a:pt x="3379539" y="3972267"/>
                  <a:pt x="3373361" y="3979037"/>
                </a:cubicBezTo>
                <a:cubicBezTo>
                  <a:pt x="3385721" y="3976779"/>
                  <a:pt x="3396020" y="3967758"/>
                  <a:pt x="3404260" y="3960990"/>
                </a:cubicBezTo>
                <a:cubicBezTo>
                  <a:pt x="3408380" y="3965501"/>
                  <a:pt x="3410439" y="3967758"/>
                  <a:pt x="3412500" y="3972267"/>
                </a:cubicBezTo>
                <a:cubicBezTo>
                  <a:pt x="3414562" y="3979037"/>
                  <a:pt x="3420741" y="3981292"/>
                  <a:pt x="3424861" y="3983549"/>
                </a:cubicBezTo>
                <a:cubicBezTo>
                  <a:pt x="3426920" y="3983549"/>
                  <a:pt x="3428981" y="3985803"/>
                  <a:pt x="3428981" y="3988060"/>
                </a:cubicBezTo>
                <a:cubicBezTo>
                  <a:pt x="3428981" y="3988060"/>
                  <a:pt x="3428981" y="3990317"/>
                  <a:pt x="3428981" y="3990317"/>
                </a:cubicBezTo>
                <a:cubicBezTo>
                  <a:pt x="3426920" y="3990317"/>
                  <a:pt x="3422802" y="3992572"/>
                  <a:pt x="3420741" y="3994826"/>
                </a:cubicBezTo>
                <a:cubicBezTo>
                  <a:pt x="3422802" y="3999339"/>
                  <a:pt x="3424861" y="4001596"/>
                  <a:pt x="3426920" y="4003851"/>
                </a:cubicBezTo>
                <a:cubicBezTo>
                  <a:pt x="3426920" y="4006108"/>
                  <a:pt x="3424861" y="4008362"/>
                  <a:pt x="3424861" y="4010619"/>
                </a:cubicBezTo>
                <a:cubicBezTo>
                  <a:pt x="3418682" y="4019643"/>
                  <a:pt x="3410439" y="4026410"/>
                  <a:pt x="3406319" y="4035434"/>
                </a:cubicBezTo>
                <a:cubicBezTo>
                  <a:pt x="3412500" y="4046714"/>
                  <a:pt x="3422802" y="4051223"/>
                  <a:pt x="3435160" y="4051223"/>
                </a:cubicBezTo>
                <a:cubicBezTo>
                  <a:pt x="3435160" y="4051223"/>
                  <a:pt x="3435160" y="4051223"/>
                  <a:pt x="3437221" y="4051223"/>
                </a:cubicBezTo>
                <a:cubicBezTo>
                  <a:pt x="3437221" y="4053481"/>
                  <a:pt x="3437221" y="4055736"/>
                  <a:pt x="3435160" y="4057993"/>
                </a:cubicBezTo>
                <a:cubicBezTo>
                  <a:pt x="3433101" y="4064761"/>
                  <a:pt x="3431039" y="4071529"/>
                  <a:pt x="3431039" y="4076040"/>
                </a:cubicBezTo>
                <a:cubicBezTo>
                  <a:pt x="3424861" y="4080552"/>
                  <a:pt x="3418682" y="4087318"/>
                  <a:pt x="3412500" y="4094088"/>
                </a:cubicBezTo>
                <a:cubicBezTo>
                  <a:pt x="3410439" y="4096342"/>
                  <a:pt x="3410439" y="4098599"/>
                  <a:pt x="3410439" y="4103111"/>
                </a:cubicBezTo>
                <a:cubicBezTo>
                  <a:pt x="3416621" y="4098599"/>
                  <a:pt x="3424861" y="4094088"/>
                  <a:pt x="3431039" y="4087318"/>
                </a:cubicBezTo>
                <a:cubicBezTo>
                  <a:pt x="3431039" y="4091833"/>
                  <a:pt x="3431039" y="4096342"/>
                  <a:pt x="3433101" y="4098599"/>
                </a:cubicBezTo>
                <a:cubicBezTo>
                  <a:pt x="3435160" y="4116647"/>
                  <a:pt x="3443403" y="4134694"/>
                  <a:pt x="3453702" y="4150484"/>
                </a:cubicBezTo>
                <a:cubicBezTo>
                  <a:pt x="3451641" y="4159507"/>
                  <a:pt x="3447519" y="4166277"/>
                  <a:pt x="3445462" y="4175298"/>
                </a:cubicBezTo>
                <a:cubicBezTo>
                  <a:pt x="3445462" y="4177555"/>
                  <a:pt x="3445462" y="4182068"/>
                  <a:pt x="3445462" y="4184322"/>
                </a:cubicBezTo>
                <a:cubicBezTo>
                  <a:pt x="3447519" y="4188834"/>
                  <a:pt x="3451641" y="4188834"/>
                  <a:pt x="3455760" y="4184322"/>
                </a:cubicBezTo>
                <a:cubicBezTo>
                  <a:pt x="3455760" y="4182068"/>
                  <a:pt x="3457821" y="4182068"/>
                  <a:pt x="3457821" y="4179809"/>
                </a:cubicBezTo>
                <a:cubicBezTo>
                  <a:pt x="3457821" y="4182068"/>
                  <a:pt x="3459880" y="4184322"/>
                  <a:pt x="3461942" y="4184322"/>
                </a:cubicBezTo>
                <a:cubicBezTo>
                  <a:pt x="3464000" y="4184322"/>
                  <a:pt x="3468121" y="4179809"/>
                  <a:pt x="3470182" y="4184322"/>
                </a:cubicBezTo>
                <a:cubicBezTo>
                  <a:pt x="3470182" y="4186579"/>
                  <a:pt x="3468121" y="4188834"/>
                  <a:pt x="3468121" y="4191091"/>
                </a:cubicBezTo>
                <a:cubicBezTo>
                  <a:pt x="3468121" y="4191091"/>
                  <a:pt x="3468121" y="4191091"/>
                  <a:pt x="3468121" y="4188834"/>
                </a:cubicBezTo>
                <a:cubicBezTo>
                  <a:pt x="3468121" y="4188834"/>
                  <a:pt x="3466062" y="4186579"/>
                  <a:pt x="3466062" y="4186579"/>
                </a:cubicBezTo>
                <a:cubicBezTo>
                  <a:pt x="3464000" y="4188834"/>
                  <a:pt x="3464000" y="4188834"/>
                  <a:pt x="3461942" y="4191091"/>
                </a:cubicBezTo>
                <a:cubicBezTo>
                  <a:pt x="3461942" y="4193349"/>
                  <a:pt x="3461942" y="4193349"/>
                  <a:pt x="3464000" y="4195603"/>
                </a:cubicBezTo>
                <a:cubicBezTo>
                  <a:pt x="3464000" y="4195603"/>
                  <a:pt x="3466062" y="4195603"/>
                  <a:pt x="3466062" y="4193349"/>
                </a:cubicBezTo>
                <a:cubicBezTo>
                  <a:pt x="3466062" y="4193349"/>
                  <a:pt x="3466062" y="4193349"/>
                  <a:pt x="3466062" y="4195603"/>
                </a:cubicBezTo>
                <a:cubicBezTo>
                  <a:pt x="3466062" y="4197857"/>
                  <a:pt x="3466062" y="4200115"/>
                  <a:pt x="3466062" y="4204627"/>
                </a:cubicBezTo>
                <a:cubicBezTo>
                  <a:pt x="3472241" y="4197857"/>
                  <a:pt x="3476360" y="4193349"/>
                  <a:pt x="3480481" y="4191091"/>
                </a:cubicBezTo>
                <a:cubicBezTo>
                  <a:pt x="3484601" y="4195603"/>
                  <a:pt x="3476360" y="4202370"/>
                  <a:pt x="3486662" y="4204627"/>
                </a:cubicBezTo>
                <a:cubicBezTo>
                  <a:pt x="3486662" y="4204627"/>
                  <a:pt x="3486662" y="4206881"/>
                  <a:pt x="3488721" y="4206881"/>
                </a:cubicBezTo>
                <a:cubicBezTo>
                  <a:pt x="3488721" y="4209138"/>
                  <a:pt x="3488721" y="4211393"/>
                  <a:pt x="3488721" y="4213651"/>
                </a:cubicBezTo>
                <a:cubicBezTo>
                  <a:pt x="3488721" y="4215904"/>
                  <a:pt x="3488721" y="4215904"/>
                  <a:pt x="3488721" y="4218162"/>
                </a:cubicBezTo>
                <a:cubicBezTo>
                  <a:pt x="3488721" y="4220417"/>
                  <a:pt x="3488721" y="4220417"/>
                  <a:pt x="3490782" y="4222674"/>
                </a:cubicBezTo>
                <a:cubicBezTo>
                  <a:pt x="3492841" y="4236210"/>
                  <a:pt x="3496962" y="4249746"/>
                  <a:pt x="3505201" y="4261023"/>
                </a:cubicBezTo>
                <a:cubicBezTo>
                  <a:pt x="3505201" y="4261023"/>
                  <a:pt x="3503140" y="4263280"/>
                  <a:pt x="3505201" y="4265535"/>
                </a:cubicBezTo>
                <a:cubicBezTo>
                  <a:pt x="3505201" y="4267793"/>
                  <a:pt x="3507262" y="4267793"/>
                  <a:pt x="3509321" y="4267793"/>
                </a:cubicBezTo>
                <a:cubicBezTo>
                  <a:pt x="3509321" y="4267793"/>
                  <a:pt x="3509321" y="4265535"/>
                  <a:pt x="3509321" y="4265535"/>
                </a:cubicBezTo>
                <a:cubicBezTo>
                  <a:pt x="3511383" y="4267793"/>
                  <a:pt x="3511383" y="4267793"/>
                  <a:pt x="3513442" y="4270048"/>
                </a:cubicBezTo>
                <a:cubicBezTo>
                  <a:pt x="3511383" y="4279071"/>
                  <a:pt x="3507262" y="4285837"/>
                  <a:pt x="3505201" y="4294863"/>
                </a:cubicBezTo>
                <a:cubicBezTo>
                  <a:pt x="3505201" y="4297118"/>
                  <a:pt x="3505201" y="4301630"/>
                  <a:pt x="3505201" y="4303884"/>
                </a:cubicBezTo>
                <a:cubicBezTo>
                  <a:pt x="3507262" y="4308397"/>
                  <a:pt x="3511383" y="4308397"/>
                  <a:pt x="3515503" y="4303884"/>
                </a:cubicBezTo>
                <a:cubicBezTo>
                  <a:pt x="3515503" y="4301630"/>
                  <a:pt x="3517562" y="4301630"/>
                  <a:pt x="3517562" y="4299373"/>
                </a:cubicBezTo>
                <a:cubicBezTo>
                  <a:pt x="3517562" y="4301630"/>
                  <a:pt x="3519621" y="4303884"/>
                  <a:pt x="3521682" y="4303884"/>
                </a:cubicBezTo>
                <a:cubicBezTo>
                  <a:pt x="3523740" y="4303884"/>
                  <a:pt x="3527860" y="4299373"/>
                  <a:pt x="3529922" y="4303884"/>
                </a:cubicBezTo>
                <a:cubicBezTo>
                  <a:pt x="3527860" y="4306142"/>
                  <a:pt x="3525801" y="4310654"/>
                  <a:pt x="3525801" y="4312909"/>
                </a:cubicBezTo>
                <a:cubicBezTo>
                  <a:pt x="3525801" y="4315166"/>
                  <a:pt x="3525801" y="4317420"/>
                  <a:pt x="3525801" y="4321932"/>
                </a:cubicBezTo>
                <a:cubicBezTo>
                  <a:pt x="3531983" y="4315166"/>
                  <a:pt x="3536103" y="4310654"/>
                  <a:pt x="3540221" y="4308397"/>
                </a:cubicBezTo>
                <a:cubicBezTo>
                  <a:pt x="3544341" y="4312909"/>
                  <a:pt x="3536103" y="4319677"/>
                  <a:pt x="3546403" y="4321932"/>
                </a:cubicBezTo>
                <a:cubicBezTo>
                  <a:pt x="3546403" y="4321932"/>
                  <a:pt x="3548462" y="4326444"/>
                  <a:pt x="3548462" y="4328701"/>
                </a:cubicBezTo>
                <a:cubicBezTo>
                  <a:pt x="3548462" y="4330956"/>
                  <a:pt x="3548462" y="4333211"/>
                  <a:pt x="3548462" y="4337724"/>
                </a:cubicBezTo>
                <a:cubicBezTo>
                  <a:pt x="3548462" y="4342237"/>
                  <a:pt x="3552581" y="4344492"/>
                  <a:pt x="3556703" y="4344492"/>
                </a:cubicBezTo>
                <a:cubicBezTo>
                  <a:pt x="3560821" y="4344492"/>
                  <a:pt x="3562883" y="4342237"/>
                  <a:pt x="3567003" y="4339979"/>
                </a:cubicBezTo>
                <a:cubicBezTo>
                  <a:pt x="3564942" y="4330956"/>
                  <a:pt x="3564942" y="4330956"/>
                  <a:pt x="3573181" y="4326444"/>
                </a:cubicBezTo>
                <a:cubicBezTo>
                  <a:pt x="3575243" y="4321932"/>
                  <a:pt x="3577302" y="4319677"/>
                  <a:pt x="3579363" y="4315166"/>
                </a:cubicBezTo>
                <a:cubicBezTo>
                  <a:pt x="3579363" y="4317420"/>
                  <a:pt x="3581422" y="4319677"/>
                  <a:pt x="3581422" y="4324190"/>
                </a:cubicBezTo>
                <a:cubicBezTo>
                  <a:pt x="3585542" y="4317420"/>
                  <a:pt x="3591721" y="4312909"/>
                  <a:pt x="3591721" y="4301630"/>
                </a:cubicBezTo>
                <a:cubicBezTo>
                  <a:pt x="3587603" y="4303884"/>
                  <a:pt x="3585542" y="4303884"/>
                  <a:pt x="3583483" y="4306142"/>
                </a:cubicBezTo>
                <a:cubicBezTo>
                  <a:pt x="3589662" y="4297118"/>
                  <a:pt x="3595844" y="4288095"/>
                  <a:pt x="3602022" y="4279071"/>
                </a:cubicBezTo>
                <a:cubicBezTo>
                  <a:pt x="3606142" y="4272305"/>
                  <a:pt x="3610262" y="4265535"/>
                  <a:pt x="3614383" y="4258766"/>
                </a:cubicBezTo>
                <a:cubicBezTo>
                  <a:pt x="3616442" y="4256512"/>
                  <a:pt x="3620562" y="4254254"/>
                  <a:pt x="3622623" y="4252000"/>
                </a:cubicBezTo>
                <a:cubicBezTo>
                  <a:pt x="3622623" y="4254254"/>
                  <a:pt x="3622623" y="4254254"/>
                  <a:pt x="3620562" y="4256512"/>
                </a:cubicBezTo>
                <a:cubicBezTo>
                  <a:pt x="3634983" y="4245233"/>
                  <a:pt x="3645282" y="4229440"/>
                  <a:pt x="3651464" y="4211393"/>
                </a:cubicBezTo>
                <a:cubicBezTo>
                  <a:pt x="3649405" y="4213651"/>
                  <a:pt x="3647344" y="4213651"/>
                  <a:pt x="3645282" y="4215904"/>
                </a:cubicBezTo>
                <a:cubicBezTo>
                  <a:pt x="3643223" y="4206881"/>
                  <a:pt x="3649405" y="4200115"/>
                  <a:pt x="3655583" y="4197857"/>
                </a:cubicBezTo>
                <a:cubicBezTo>
                  <a:pt x="3655583" y="4193349"/>
                  <a:pt x="3657642" y="4188834"/>
                  <a:pt x="3661762" y="4186579"/>
                </a:cubicBezTo>
                <a:cubicBezTo>
                  <a:pt x="3661762" y="4191091"/>
                  <a:pt x="3659703" y="4195603"/>
                  <a:pt x="3657642" y="4197857"/>
                </a:cubicBezTo>
                <a:cubicBezTo>
                  <a:pt x="3657642" y="4200115"/>
                  <a:pt x="3657642" y="4200115"/>
                  <a:pt x="3657642" y="4202370"/>
                </a:cubicBezTo>
                <a:cubicBezTo>
                  <a:pt x="3659703" y="4200115"/>
                  <a:pt x="3663824" y="4197857"/>
                  <a:pt x="3665883" y="4195603"/>
                </a:cubicBezTo>
                <a:cubicBezTo>
                  <a:pt x="3680305" y="4173043"/>
                  <a:pt x="3696785" y="4150484"/>
                  <a:pt x="3711203" y="4127925"/>
                </a:cubicBezTo>
                <a:cubicBezTo>
                  <a:pt x="3705022" y="4127925"/>
                  <a:pt x="3700904" y="4134694"/>
                  <a:pt x="3696785" y="4139205"/>
                </a:cubicBezTo>
                <a:cubicBezTo>
                  <a:pt x="3688544" y="4150484"/>
                  <a:pt x="3680305" y="4161762"/>
                  <a:pt x="3674122" y="4173043"/>
                </a:cubicBezTo>
                <a:cubicBezTo>
                  <a:pt x="3672064" y="4177555"/>
                  <a:pt x="3667944" y="4179809"/>
                  <a:pt x="3663824" y="4184322"/>
                </a:cubicBezTo>
                <a:cubicBezTo>
                  <a:pt x="3667944" y="4175298"/>
                  <a:pt x="3667944" y="4175298"/>
                  <a:pt x="3667944" y="4164020"/>
                </a:cubicBezTo>
                <a:cubicBezTo>
                  <a:pt x="3659703" y="4166277"/>
                  <a:pt x="3657642" y="4177555"/>
                  <a:pt x="3649405" y="4182068"/>
                </a:cubicBezTo>
                <a:cubicBezTo>
                  <a:pt x="3649405" y="4177555"/>
                  <a:pt x="3649405" y="4177555"/>
                  <a:pt x="3651464" y="4175298"/>
                </a:cubicBezTo>
                <a:cubicBezTo>
                  <a:pt x="3663824" y="4157251"/>
                  <a:pt x="3676183" y="4139205"/>
                  <a:pt x="3688544" y="4121158"/>
                </a:cubicBezTo>
                <a:cubicBezTo>
                  <a:pt x="3694723" y="4112135"/>
                  <a:pt x="3700904" y="4107623"/>
                  <a:pt x="3711203" y="4112135"/>
                </a:cubicBezTo>
                <a:cubicBezTo>
                  <a:pt x="3711203" y="4112135"/>
                  <a:pt x="3713265" y="4112135"/>
                  <a:pt x="3715324" y="4112135"/>
                </a:cubicBezTo>
                <a:cubicBezTo>
                  <a:pt x="3715324" y="4116647"/>
                  <a:pt x="3715324" y="4123413"/>
                  <a:pt x="3713265" y="4127925"/>
                </a:cubicBezTo>
                <a:cubicBezTo>
                  <a:pt x="3717385" y="4123413"/>
                  <a:pt x="3719444" y="4116647"/>
                  <a:pt x="3727684" y="4112135"/>
                </a:cubicBezTo>
                <a:cubicBezTo>
                  <a:pt x="3725622" y="4116647"/>
                  <a:pt x="3725622" y="4118901"/>
                  <a:pt x="3725622" y="4118901"/>
                </a:cubicBezTo>
                <a:cubicBezTo>
                  <a:pt x="3709142" y="4141460"/>
                  <a:pt x="3692664" y="4164020"/>
                  <a:pt x="3678242" y="4188834"/>
                </a:cubicBezTo>
                <a:cubicBezTo>
                  <a:pt x="3667944" y="4202370"/>
                  <a:pt x="3657642" y="4215904"/>
                  <a:pt x="3651464" y="4233953"/>
                </a:cubicBezTo>
                <a:lnTo>
                  <a:pt x="3653069" y="4234246"/>
                </a:lnTo>
                <a:lnTo>
                  <a:pt x="3655583" y="4231695"/>
                </a:lnTo>
                <a:lnTo>
                  <a:pt x="3653522" y="4234328"/>
                </a:lnTo>
                <a:lnTo>
                  <a:pt x="3663824" y="4236210"/>
                </a:lnTo>
                <a:cubicBezTo>
                  <a:pt x="3670003" y="4229440"/>
                  <a:pt x="3674122" y="4222674"/>
                  <a:pt x="3680305" y="4215904"/>
                </a:cubicBezTo>
                <a:cubicBezTo>
                  <a:pt x="3684422" y="4209138"/>
                  <a:pt x="3688544" y="4204627"/>
                  <a:pt x="3694723" y="4200115"/>
                </a:cubicBezTo>
                <a:cubicBezTo>
                  <a:pt x="3696785" y="4195603"/>
                  <a:pt x="3698844" y="4188834"/>
                  <a:pt x="3705022" y="4188834"/>
                </a:cubicBezTo>
                <a:cubicBezTo>
                  <a:pt x="3705022" y="4177555"/>
                  <a:pt x="3713265" y="4173043"/>
                  <a:pt x="3717385" y="4166277"/>
                </a:cubicBezTo>
                <a:cubicBezTo>
                  <a:pt x="3731804" y="4150484"/>
                  <a:pt x="3742106" y="4130180"/>
                  <a:pt x="3756524" y="4112135"/>
                </a:cubicBezTo>
                <a:cubicBezTo>
                  <a:pt x="3760644" y="4105365"/>
                  <a:pt x="3764765" y="4098599"/>
                  <a:pt x="3773005" y="4096342"/>
                </a:cubicBezTo>
                <a:cubicBezTo>
                  <a:pt x="3777122" y="4094088"/>
                  <a:pt x="3779183" y="4091833"/>
                  <a:pt x="3779183" y="4085063"/>
                </a:cubicBezTo>
                <a:cubicBezTo>
                  <a:pt x="3781245" y="4078295"/>
                  <a:pt x="3785365" y="4073783"/>
                  <a:pt x="3789485" y="4069274"/>
                </a:cubicBezTo>
                <a:cubicBezTo>
                  <a:pt x="3791544" y="4069274"/>
                  <a:pt x="3791544" y="4069274"/>
                  <a:pt x="3793605" y="4069274"/>
                </a:cubicBezTo>
                <a:cubicBezTo>
                  <a:pt x="3791544" y="4073783"/>
                  <a:pt x="3789485" y="4076040"/>
                  <a:pt x="3787424" y="4080552"/>
                </a:cubicBezTo>
                <a:cubicBezTo>
                  <a:pt x="3793605" y="4080552"/>
                  <a:pt x="3797723" y="4076040"/>
                  <a:pt x="3799784" y="4069274"/>
                </a:cubicBezTo>
                <a:cubicBezTo>
                  <a:pt x="3803904" y="4069274"/>
                  <a:pt x="3810086" y="4069274"/>
                  <a:pt x="3814206" y="4069274"/>
                </a:cubicBezTo>
                <a:cubicBezTo>
                  <a:pt x="3801843" y="4085063"/>
                  <a:pt x="3789485" y="4100854"/>
                  <a:pt x="3777122" y="4118901"/>
                </a:cubicBezTo>
                <a:cubicBezTo>
                  <a:pt x="3754463" y="4148230"/>
                  <a:pt x="3733863" y="4177555"/>
                  <a:pt x="3711203" y="4209138"/>
                </a:cubicBezTo>
                <a:cubicBezTo>
                  <a:pt x="3709142" y="4213651"/>
                  <a:pt x="3705022" y="4215904"/>
                  <a:pt x="3705022" y="4220417"/>
                </a:cubicBezTo>
                <a:cubicBezTo>
                  <a:pt x="3707083" y="4218162"/>
                  <a:pt x="3709142" y="4218162"/>
                  <a:pt x="3711203" y="4215904"/>
                </a:cubicBezTo>
                <a:cubicBezTo>
                  <a:pt x="3729742" y="4193349"/>
                  <a:pt x="3746223" y="4168532"/>
                  <a:pt x="3766824" y="4148230"/>
                </a:cubicBezTo>
                <a:cubicBezTo>
                  <a:pt x="3768885" y="4145973"/>
                  <a:pt x="3768885" y="4143718"/>
                  <a:pt x="3770944" y="4143718"/>
                </a:cubicBezTo>
                <a:cubicBezTo>
                  <a:pt x="3781245" y="4132437"/>
                  <a:pt x="3787424" y="4116647"/>
                  <a:pt x="3799784" y="4105365"/>
                </a:cubicBezTo>
                <a:cubicBezTo>
                  <a:pt x="3805965" y="4094088"/>
                  <a:pt x="3812144" y="4085063"/>
                  <a:pt x="3820385" y="4078295"/>
                </a:cubicBezTo>
                <a:cubicBezTo>
                  <a:pt x="3822444" y="4076040"/>
                  <a:pt x="3824505" y="4073783"/>
                  <a:pt x="3824505" y="4073783"/>
                </a:cubicBezTo>
                <a:cubicBezTo>
                  <a:pt x="3832745" y="4076040"/>
                  <a:pt x="3843044" y="4076040"/>
                  <a:pt x="3851285" y="4073783"/>
                </a:cubicBezTo>
                <a:cubicBezTo>
                  <a:pt x="3869824" y="4071529"/>
                  <a:pt x="3888365" y="4064761"/>
                  <a:pt x="3908965" y="4057993"/>
                </a:cubicBezTo>
                <a:cubicBezTo>
                  <a:pt x="3927507" y="4051223"/>
                  <a:pt x="3946047" y="4037691"/>
                  <a:pt x="3966647" y="4037691"/>
                </a:cubicBezTo>
                <a:cubicBezTo>
                  <a:pt x="3970767" y="4037691"/>
                  <a:pt x="3972826" y="4035434"/>
                  <a:pt x="3976946" y="4035434"/>
                </a:cubicBezTo>
                <a:cubicBezTo>
                  <a:pt x="4005786" y="4024155"/>
                  <a:pt x="4032566" y="4010619"/>
                  <a:pt x="4057286" y="3992572"/>
                </a:cubicBezTo>
                <a:cubicBezTo>
                  <a:pt x="4069647" y="3983549"/>
                  <a:pt x="4082007" y="3974524"/>
                  <a:pt x="4094367" y="3967758"/>
                </a:cubicBezTo>
                <a:cubicBezTo>
                  <a:pt x="4117027" y="3954220"/>
                  <a:pt x="4137627" y="3938430"/>
                  <a:pt x="4158227" y="3920382"/>
                </a:cubicBezTo>
                <a:cubicBezTo>
                  <a:pt x="4178827" y="3902335"/>
                  <a:pt x="4201490" y="3884287"/>
                  <a:pt x="4222088" y="3866243"/>
                </a:cubicBezTo>
                <a:cubicBezTo>
                  <a:pt x="4236509" y="3854962"/>
                  <a:pt x="4250929" y="3843683"/>
                  <a:pt x="4263288" y="3830145"/>
                </a:cubicBezTo>
                <a:cubicBezTo>
                  <a:pt x="4279768" y="3814355"/>
                  <a:pt x="4296249" y="3800820"/>
                  <a:pt x="4316850" y="3789541"/>
                </a:cubicBezTo>
                <a:cubicBezTo>
                  <a:pt x="4333330" y="3780518"/>
                  <a:pt x="4349810" y="3769236"/>
                  <a:pt x="4366291" y="3760212"/>
                </a:cubicBezTo>
                <a:cubicBezTo>
                  <a:pt x="4393069" y="3742168"/>
                  <a:pt x="4421910" y="3726376"/>
                  <a:pt x="4448691" y="3708328"/>
                </a:cubicBezTo>
                <a:cubicBezTo>
                  <a:pt x="4448691" y="3708328"/>
                  <a:pt x="4450751" y="3708328"/>
                  <a:pt x="4450751" y="3706070"/>
                </a:cubicBezTo>
                <a:cubicBezTo>
                  <a:pt x="4452810" y="3706070"/>
                  <a:pt x="4452810" y="3703816"/>
                  <a:pt x="4454871" y="3703816"/>
                </a:cubicBezTo>
                <a:cubicBezTo>
                  <a:pt x="4458991" y="3701558"/>
                  <a:pt x="4463112" y="3701558"/>
                  <a:pt x="4469290" y="3703816"/>
                </a:cubicBezTo>
                <a:cubicBezTo>
                  <a:pt x="4471351" y="3703816"/>
                  <a:pt x="4475472" y="3703816"/>
                  <a:pt x="4477531" y="3701558"/>
                </a:cubicBezTo>
                <a:cubicBezTo>
                  <a:pt x="4487830" y="3697050"/>
                  <a:pt x="4500192" y="3690281"/>
                  <a:pt x="4510491" y="3685768"/>
                </a:cubicBezTo>
                <a:cubicBezTo>
                  <a:pt x="4539332" y="3667720"/>
                  <a:pt x="4601132" y="3521087"/>
                  <a:pt x="4629971" y="3507554"/>
                </a:cubicBezTo>
                <a:cubicBezTo>
                  <a:pt x="4640273" y="3503040"/>
                  <a:pt x="4650573" y="3494019"/>
                  <a:pt x="4658812" y="3487249"/>
                </a:cubicBezTo>
                <a:cubicBezTo>
                  <a:pt x="4660873" y="3484994"/>
                  <a:pt x="4664994" y="3482738"/>
                  <a:pt x="4667053" y="3480483"/>
                </a:cubicBezTo>
                <a:cubicBezTo>
                  <a:pt x="4685594" y="3469202"/>
                  <a:pt x="4706195" y="3457924"/>
                  <a:pt x="4724734" y="3444388"/>
                </a:cubicBezTo>
                <a:cubicBezTo>
                  <a:pt x="4743273" y="3433107"/>
                  <a:pt x="4761814" y="3424084"/>
                  <a:pt x="4778295" y="3412805"/>
                </a:cubicBezTo>
                <a:cubicBezTo>
                  <a:pt x="4790653" y="3406039"/>
                  <a:pt x="4803015" y="3399270"/>
                  <a:pt x="4811253" y="3385734"/>
                </a:cubicBezTo>
                <a:cubicBezTo>
                  <a:pt x="4815372" y="3378968"/>
                  <a:pt x="4825674" y="3372198"/>
                  <a:pt x="4835974" y="3376710"/>
                </a:cubicBezTo>
                <a:cubicBezTo>
                  <a:pt x="4842155" y="3378968"/>
                  <a:pt x="4846275" y="3374456"/>
                  <a:pt x="4850395" y="3372198"/>
                </a:cubicBezTo>
                <a:cubicBezTo>
                  <a:pt x="4848333" y="3369944"/>
                  <a:pt x="4846275" y="3369944"/>
                  <a:pt x="4844213" y="3367687"/>
                </a:cubicBezTo>
                <a:cubicBezTo>
                  <a:pt x="4846275" y="3363174"/>
                  <a:pt x="4850395" y="3360921"/>
                  <a:pt x="4854515" y="3358663"/>
                </a:cubicBezTo>
                <a:cubicBezTo>
                  <a:pt x="4875115" y="3347385"/>
                  <a:pt x="4897775" y="3336104"/>
                  <a:pt x="4918375" y="3324825"/>
                </a:cubicBezTo>
                <a:cubicBezTo>
                  <a:pt x="4928674" y="3318056"/>
                  <a:pt x="4938976" y="3311290"/>
                  <a:pt x="4951333" y="3306778"/>
                </a:cubicBezTo>
                <a:cubicBezTo>
                  <a:pt x="4988417" y="3288730"/>
                  <a:pt x="5025495" y="3270682"/>
                  <a:pt x="5062576" y="3254894"/>
                </a:cubicBezTo>
                <a:cubicBezTo>
                  <a:pt x="5070816" y="3250380"/>
                  <a:pt x="5079056" y="3248124"/>
                  <a:pt x="5083177" y="3243612"/>
                </a:cubicBezTo>
                <a:cubicBezTo>
                  <a:pt x="5089356" y="3236846"/>
                  <a:pt x="5099657" y="3232334"/>
                  <a:pt x="5107897" y="3227822"/>
                </a:cubicBezTo>
                <a:cubicBezTo>
                  <a:pt x="5112017" y="3225565"/>
                  <a:pt x="5116138" y="3223310"/>
                  <a:pt x="5118196" y="3221054"/>
                </a:cubicBezTo>
                <a:cubicBezTo>
                  <a:pt x="5124377" y="3214286"/>
                  <a:pt x="5134677" y="3209774"/>
                  <a:pt x="5142916" y="3205263"/>
                </a:cubicBezTo>
                <a:cubicBezTo>
                  <a:pt x="5184118" y="3187216"/>
                  <a:pt x="5225318" y="3171425"/>
                  <a:pt x="5266520" y="3153378"/>
                </a:cubicBezTo>
                <a:cubicBezTo>
                  <a:pt x="5295357" y="3142096"/>
                  <a:pt x="5324198" y="3128562"/>
                  <a:pt x="5353039" y="3117283"/>
                </a:cubicBezTo>
                <a:cubicBezTo>
                  <a:pt x="5367457" y="3110514"/>
                  <a:pt x="5383938" y="3106005"/>
                  <a:pt x="5398360" y="3099236"/>
                </a:cubicBezTo>
                <a:cubicBezTo>
                  <a:pt x="5398360" y="3099236"/>
                  <a:pt x="5396298" y="3101490"/>
                  <a:pt x="5396298" y="3101490"/>
                </a:cubicBezTo>
                <a:cubicBezTo>
                  <a:pt x="5404539" y="3103747"/>
                  <a:pt x="5410720" y="3096978"/>
                  <a:pt x="5416898" y="3094724"/>
                </a:cubicBezTo>
                <a:cubicBezTo>
                  <a:pt x="5416898" y="3094724"/>
                  <a:pt x="5416898" y="3092469"/>
                  <a:pt x="5416898" y="3092469"/>
                </a:cubicBezTo>
                <a:cubicBezTo>
                  <a:pt x="5423080" y="3090212"/>
                  <a:pt x="5429259" y="3087954"/>
                  <a:pt x="5433380" y="3085700"/>
                </a:cubicBezTo>
                <a:cubicBezTo>
                  <a:pt x="5437500" y="3087954"/>
                  <a:pt x="5439561" y="3090212"/>
                  <a:pt x="5441619" y="3087954"/>
                </a:cubicBezTo>
                <a:cubicBezTo>
                  <a:pt x="5451921" y="3087954"/>
                  <a:pt x="5456039" y="3085700"/>
                  <a:pt x="5464282" y="3074418"/>
                </a:cubicBezTo>
                <a:cubicBezTo>
                  <a:pt x="5458100" y="3076676"/>
                  <a:pt x="5451921" y="3076676"/>
                  <a:pt x="5445739" y="3078934"/>
                </a:cubicBezTo>
                <a:cubicBezTo>
                  <a:pt x="5453980" y="3076676"/>
                  <a:pt x="5460159" y="3072165"/>
                  <a:pt x="5466341" y="3065398"/>
                </a:cubicBezTo>
                <a:cubicBezTo>
                  <a:pt x="5470460" y="3058629"/>
                  <a:pt x="5478700" y="3056374"/>
                  <a:pt x="5484880" y="3054116"/>
                </a:cubicBezTo>
                <a:cubicBezTo>
                  <a:pt x="5495180" y="3049605"/>
                  <a:pt x="5507541" y="3047350"/>
                  <a:pt x="5519901" y="3045093"/>
                </a:cubicBezTo>
                <a:cubicBezTo>
                  <a:pt x="5519901" y="3051863"/>
                  <a:pt x="5526080" y="3049605"/>
                  <a:pt x="5530200" y="3049605"/>
                </a:cubicBezTo>
                <a:cubicBezTo>
                  <a:pt x="5554921" y="3040582"/>
                  <a:pt x="5579641" y="3033816"/>
                  <a:pt x="5604362" y="3024791"/>
                </a:cubicBezTo>
                <a:cubicBezTo>
                  <a:pt x="5616723" y="3020280"/>
                  <a:pt x="5627021" y="3011256"/>
                  <a:pt x="5633203" y="2999974"/>
                </a:cubicBezTo>
                <a:cubicBezTo>
                  <a:pt x="5633203" y="2999974"/>
                  <a:pt x="5635262" y="2999974"/>
                  <a:pt x="5637323" y="2997720"/>
                </a:cubicBezTo>
                <a:cubicBezTo>
                  <a:pt x="5639382" y="2999974"/>
                  <a:pt x="5643501" y="2999974"/>
                  <a:pt x="5647621" y="3002232"/>
                </a:cubicBezTo>
                <a:cubicBezTo>
                  <a:pt x="5647621" y="2995462"/>
                  <a:pt x="5649683" y="2993208"/>
                  <a:pt x="5649683" y="2988696"/>
                </a:cubicBezTo>
                <a:cubicBezTo>
                  <a:pt x="5643501" y="2988696"/>
                  <a:pt x="5639382" y="2988696"/>
                  <a:pt x="5633203" y="2988696"/>
                </a:cubicBezTo>
                <a:cubicBezTo>
                  <a:pt x="5637323" y="2984185"/>
                  <a:pt x="5641440" y="2979672"/>
                  <a:pt x="5645560" y="2975160"/>
                </a:cubicBezTo>
                <a:cubicBezTo>
                  <a:pt x="5631141" y="2975160"/>
                  <a:pt x="5620840" y="2979672"/>
                  <a:pt x="5610541" y="2984185"/>
                </a:cubicBezTo>
                <a:cubicBezTo>
                  <a:pt x="5589941" y="2990954"/>
                  <a:pt x="5571401" y="2999974"/>
                  <a:pt x="5550801" y="3006744"/>
                </a:cubicBezTo>
                <a:cubicBezTo>
                  <a:pt x="5538441" y="3011256"/>
                  <a:pt x="5526080" y="3015767"/>
                  <a:pt x="5517840" y="3022534"/>
                </a:cubicBezTo>
                <a:cubicBezTo>
                  <a:pt x="5509600" y="3022534"/>
                  <a:pt x="5503421" y="3022534"/>
                  <a:pt x="5497239" y="3024791"/>
                </a:cubicBezTo>
                <a:cubicBezTo>
                  <a:pt x="5472521" y="3033816"/>
                  <a:pt x="5449860" y="3040582"/>
                  <a:pt x="5425139" y="3049605"/>
                </a:cubicBezTo>
                <a:cubicBezTo>
                  <a:pt x="5423080" y="3049605"/>
                  <a:pt x="5418960" y="3051863"/>
                  <a:pt x="5416898" y="3051863"/>
                </a:cubicBezTo>
                <a:cubicBezTo>
                  <a:pt x="5406600" y="3054116"/>
                  <a:pt x="5398360" y="3056374"/>
                  <a:pt x="5388059" y="3063140"/>
                </a:cubicBezTo>
                <a:cubicBezTo>
                  <a:pt x="5373639" y="3072165"/>
                  <a:pt x="5359220" y="3076676"/>
                  <a:pt x="5340679" y="3076676"/>
                </a:cubicBezTo>
                <a:cubicBezTo>
                  <a:pt x="5350980" y="3069910"/>
                  <a:pt x="5359220" y="3065398"/>
                  <a:pt x="5363338" y="3056374"/>
                </a:cubicBezTo>
                <a:cubicBezTo>
                  <a:pt x="5367457" y="3051863"/>
                  <a:pt x="5371578" y="3047350"/>
                  <a:pt x="5377759" y="3045093"/>
                </a:cubicBezTo>
                <a:cubicBezTo>
                  <a:pt x="5394239" y="3038327"/>
                  <a:pt x="5412779" y="3033816"/>
                  <a:pt x="5427200" y="3018022"/>
                </a:cubicBezTo>
                <a:cubicBezTo>
                  <a:pt x="5429259" y="3015767"/>
                  <a:pt x="5431321" y="3015767"/>
                  <a:pt x="5433380" y="3015767"/>
                </a:cubicBezTo>
                <a:cubicBezTo>
                  <a:pt x="5460159" y="3002232"/>
                  <a:pt x="5486941" y="2988696"/>
                  <a:pt x="5511661" y="2977418"/>
                </a:cubicBezTo>
                <a:cubicBezTo>
                  <a:pt x="5513720" y="2972904"/>
                  <a:pt x="5515782" y="2970649"/>
                  <a:pt x="5517840" y="2968394"/>
                </a:cubicBezTo>
                <a:cubicBezTo>
                  <a:pt x="5524021" y="2966138"/>
                  <a:pt x="5530200" y="2963883"/>
                  <a:pt x="5536382" y="2957113"/>
                </a:cubicBezTo>
                <a:cubicBezTo>
                  <a:pt x="5542560" y="2950347"/>
                  <a:pt x="5552860" y="2954858"/>
                  <a:pt x="5559041" y="2952602"/>
                </a:cubicBezTo>
                <a:cubicBezTo>
                  <a:pt x="5561102" y="2952602"/>
                  <a:pt x="5561102" y="2952602"/>
                  <a:pt x="5563161" y="2950347"/>
                </a:cubicBezTo>
                <a:cubicBezTo>
                  <a:pt x="5567281" y="2945836"/>
                  <a:pt x="5573460" y="2945836"/>
                  <a:pt x="5579641" y="2945836"/>
                </a:cubicBezTo>
                <a:cubicBezTo>
                  <a:pt x="5583762" y="2945836"/>
                  <a:pt x="5585823" y="2943578"/>
                  <a:pt x="5587882" y="2939066"/>
                </a:cubicBezTo>
                <a:cubicBezTo>
                  <a:pt x="5585823" y="2936811"/>
                  <a:pt x="5585823" y="2936811"/>
                  <a:pt x="5583762" y="2934554"/>
                </a:cubicBezTo>
                <a:cubicBezTo>
                  <a:pt x="5583762" y="2934554"/>
                  <a:pt x="5583762" y="2934554"/>
                  <a:pt x="5581700" y="2934554"/>
                </a:cubicBezTo>
                <a:lnTo>
                  <a:pt x="5583762" y="2933426"/>
                </a:lnTo>
                <a:lnTo>
                  <a:pt x="5583762" y="2927788"/>
                </a:lnTo>
                <a:cubicBezTo>
                  <a:pt x="5583762" y="2927788"/>
                  <a:pt x="5585823" y="2927788"/>
                  <a:pt x="5585823" y="2927788"/>
                </a:cubicBezTo>
                <a:lnTo>
                  <a:pt x="5587588" y="2931656"/>
                </a:lnTo>
                <a:lnTo>
                  <a:pt x="5595092" y="2928916"/>
                </a:lnTo>
                <a:lnTo>
                  <a:pt x="5596121" y="2927788"/>
                </a:lnTo>
                <a:cubicBezTo>
                  <a:pt x="5596121" y="2927788"/>
                  <a:pt x="5598180" y="2927788"/>
                  <a:pt x="5598180" y="2927788"/>
                </a:cubicBezTo>
                <a:lnTo>
                  <a:pt x="5595092" y="2928916"/>
                </a:lnTo>
                <a:lnTo>
                  <a:pt x="5592001" y="2932300"/>
                </a:lnTo>
                <a:cubicBezTo>
                  <a:pt x="5596121" y="2932300"/>
                  <a:pt x="5598180" y="2934554"/>
                  <a:pt x="5602301" y="2934554"/>
                </a:cubicBezTo>
                <a:cubicBezTo>
                  <a:pt x="5616723" y="2934554"/>
                  <a:pt x="5627021" y="2925530"/>
                  <a:pt x="5637323" y="2916507"/>
                </a:cubicBezTo>
                <a:cubicBezTo>
                  <a:pt x="5639382" y="2916507"/>
                  <a:pt x="5641440" y="2914252"/>
                  <a:pt x="5643501" y="2914252"/>
                </a:cubicBezTo>
                <a:cubicBezTo>
                  <a:pt x="5645560" y="2916507"/>
                  <a:pt x="5645560" y="2916507"/>
                  <a:pt x="5647621" y="2916507"/>
                </a:cubicBezTo>
                <a:cubicBezTo>
                  <a:pt x="5655862" y="2916507"/>
                  <a:pt x="5662041" y="2916507"/>
                  <a:pt x="5670281" y="2914252"/>
                </a:cubicBezTo>
                <a:cubicBezTo>
                  <a:pt x="5686762" y="2907482"/>
                  <a:pt x="5703242" y="2905228"/>
                  <a:pt x="5717663" y="2900716"/>
                </a:cubicBezTo>
                <a:cubicBezTo>
                  <a:pt x="5725903" y="2898460"/>
                  <a:pt x="5734141" y="2896205"/>
                  <a:pt x="5740323" y="2893947"/>
                </a:cubicBezTo>
                <a:cubicBezTo>
                  <a:pt x="5748562" y="2889438"/>
                  <a:pt x="5756803" y="2887180"/>
                  <a:pt x="5765043" y="2884924"/>
                </a:cubicBezTo>
                <a:cubicBezTo>
                  <a:pt x="5775342" y="2884924"/>
                  <a:pt x="5783582" y="2882669"/>
                  <a:pt x="5791825" y="2878158"/>
                </a:cubicBezTo>
                <a:cubicBezTo>
                  <a:pt x="5800062" y="2875903"/>
                  <a:pt x="5810364" y="2873645"/>
                  <a:pt x="5818604" y="2871388"/>
                </a:cubicBezTo>
                <a:cubicBezTo>
                  <a:pt x="5826842" y="2869133"/>
                  <a:pt x="5833023" y="2866878"/>
                  <a:pt x="5841263" y="2864622"/>
                </a:cubicBezTo>
                <a:cubicBezTo>
                  <a:pt x="5849503" y="2851086"/>
                  <a:pt x="5863926" y="2855598"/>
                  <a:pt x="5874224" y="2851086"/>
                </a:cubicBezTo>
                <a:cubicBezTo>
                  <a:pt x="5905124" y="2848831"/>
                  <a:pt x="5938085" y="2848831"/>
                  <a:pt x="5968983" y="2846574"/>
                </a:cubicBezTo>
                <a:cubicBezTo>
                  <a:pt x="5979285" y="2846574"/>
                  <a:pt x="5991645" y="2846574"/>
                  <a:pt x="6001945" y="2839808"/>
                </a:cubicBezTo>
                <a:cubicBezTo>
                  <a:pt x="6010185" y="2835296"/>
                  <a:pt x="6018425" y="2835296"/>
                  <a:pt x="6026665" y="2837550"/>
                </a:cubicBezTo>
                <a:cubicBezTo>
                  <a:pt x="6034906" y="2839808"/>
                  <a:pt x="6043145" y="2842062"/>
                  <a:pt x="6049327" y="2842062"/>
                </a:cubicBezTo>
                <a:cubicBezTo>
                  <a:pt x="6065804" y="2842062"/>
                  <a:pt x="6084347" y="2839808"/>
                  <a:pt x="6100827" y="2839808"/>
                </a:cubicBezTo>
                <a:cubicBezTo>
                  <a:pt x="6102886" y="2839808"/>
                  <a:pt x="6102886" y="2837550"/>
                  <a:pt x="6107006" y="2835296"/>
                </a:cubicBezTo>
                <a:cubicBezTo>
                  <a:pt x="6098765" y="2833038"/>
                  <a:pt x="6094645" y="2830784"/>
                  <a:pt x="6088467" y="2830784"/>
                </a:cubicBezTo>
                <a:cubicBezTo>
                  <a:pt x="6082285" y="2830784"/>
                  <a:pt x="6076106" y="2833038"/>
                  <a:pt x="6069927" y="2828527"/>
                </a:cubicBezTo>
                <a:cubicBezTo>
                  <a:pt x="6086406" y="2824016"/>
                  <a:pt x="6102886" y="2824016"/>
                  <a:pt x="6117307" y="2828527"/>
                </a:cubicBezTo>
                <a:cubicBezTo>
                  <a:pt x="6123486" y="2824016"/>
                  <a:pt x="6129665" y="2819502"/>
                  <a:pt x="6135847" y="2814991"/>
                </a:cubicBezTo>
                <a:cubicBezTo>
                  <a:pt x="6135847" y="2812736"/>
                  <a:pt x="6133788" y="2810480"/>
                  <a:pt x="6133788" y="2808225"/>
                </a:cubicBezTo>
                <a:cubicBezTo>
                  <a:pt x="6131726" y="2805968"/>
                  <a:pt x="6129665" y="2803714"/>
                  <a:pt x="6127606" y="2803714"/>
                </a:cubicBezTo>
                <a:cubicBezTo>
                  <a:pt x="6113187" y="2801455"/>
                  <a:pt x="6098765" y="2799200"/>
                  <a:pt x="6082285" y="2796944"/>
                </a:cubicBezTo>
                <a:cubicBezTo>
                  <a:pt x="6076106" y="2796944"/>
                  <a:pt x="6069927" y="2794689"/>
                  <a:pt x="6063746" y="2794689"/>
                </a:cubicBezTo>
                <a:cubicBezTo>
                  <a:pt x="6065804" y="2794689"/>
                  <a:pt x="6067866" y="2794689"/>
                  <a:pt x="6067866" y="2792432"/>
                </a:cubicBezTo>
                <a:cubicBezTo>
                  <a:pt x="6074045" y="2790178"/>
                  <a:pt x="6078165" y="2787920"/>
                  <a:pt x="6084347" y="2778898"/>
                </a:cubicBezTo>
                <a:cubicBezTo>
                  <a:pt x="6078165" y="2778898"/>
                  <a:pt x="6074045" y="2781153"/>
                  <a:pt x="6071986" y="2781153"/>
                </a:cubicBezTo>
                <a:cubicBezTo>
                  <a:pt x="6045206" y="2785666"/>
                  <a:pt x="6020486" y="2790178"/>
                  <a:pt x="5993704" y="2796944"/>
                </a:cubicBezTo>
                <a:cubicBezTo>
                  <a:pt x="5985465" y="2799200"/>
                  <a:pt x="5979285" y="2801455"/>
                  <a:pt x="5971045" y="2803714"/>
                </a:cubicBezTo>
                <a:cubicBezTo>
                  <a:pt x="5964863" y="2803714"/>
                  <a:pt x="5956626" y="2803714"/>
                  <a:pt x="5950445" y="2801455"/>
                </a:cubicBezTo>
                <a:cubicBezTo>
                  <a:pt x="5946324" y="2801455"/>
                  <a:pt x="5942204" y="2801455"/>
                  <a:pt x="5940143" y="2803714"/>
                </a:cubicBezTo>
                <a:cubicBezTo>
                  <a:pt x="5927785" y="2812736"/>
                  <a:pt x="5915426" y="2810480"/>
                  <a:pt x="5901003" y="2805968"/>
                </a:cubicBezTo>
                <a:cubicBezTo>
                  <a:pt x="5901003" y="2805968"/>
                  <a:pt x="5901003" y="2805968"/>
                  <a:pt x="5898945" y="2805968"/>
                </a:cubicBezTo>
                <a:cubicBezTo>
                  <a:pt x="5896883" y="2799200"/>
                  <a:pt x="5894824" y="2794689"/>
                  <a:pt x="5886585" y="2796944"/>
                </a:cubicBezTo>
                <a:cubicBezTo>
                  <a:pt x="5882465" y="2796944"/>
                  <a:pt x="5878344" y="2799200"/>
                  <a:pt x="5874224" y="2799200"/>
                </a:cubicBezTo>
                <a:cubicBezTo>
                  <a:pt x="5876283" y="2799200"/>
                  <a:pt x="5878344" y="2796944"/>
                  <a:pt x="5878344" y="2796944"/>
                </a:cubicBezTo>
                <a:cubicBezTo>
                  <a:pt x="5892763" y="2792432"/>
                  <a:pt x="5909244" y="2787920"/>
                  <a:pt x="5925724" y="2783408"/>
                </a:cubicBezTo>
                <a:cubicBezTo>
                  <a:pt x="5931906" y="2781153"/>
                  <a:pt x="5938085" y="2781153"/>
                  <a:pt x="5942204" y="2778898"/>
                </a:cubicBezTo>
                <a:cubicBezTo>
                  <a:pt x="5942204" y="2778898"/>
                  <a:pt x="5944263" y="2778898"/>
                  <a:pt x="5944263" y="2778898"/>
                </a:cubicBezTo>
                <a:cubicBezTo>
                  <a:pt x="5950445" y="2778898"/>
                  <a:pt x="5956626" y="2778898"/>
                  <a:pt x="5962805" y="2778898"/>
                </a:cubicBezTo>
                <a:cubicBezTo>
                  <a:pt x="5971045" y="2778898"/>
                  <a:pt x="5979285" y="2781153"/>
                  <a:pt x="5983406" y="2772130"/>
                </a:cubicBezTo>
                <a:cubicBezTo>
                  <a:pt x="5983406" y="2769873"/>
                  <a:pt x="5987526" y="2772130"/>
                  <a:pt x="5989584" y="2769873"/>
                </a:cubicBezTo>
                <a:cubicBezTo>
                  <a:pt x="5993704" y="2769873"/>
                  <a:pt x="5997824" y="2769873"/>
                  <a:pt x="6001945" y="2769873"/>
                </a:cubicBezTo>
                <a:cubicBezTo>
                  <a:pt x="6016367" y="2767618"/>
                  <a:pt x="6028726" y="2767618"/>
                  <a:pt x="6041087" y="2774387"/>
                </a:cubicBezTo>
                <a:cubicBezTo>
                  <a:pt x="6049327" y="2776642"/>
                  <a:pt x="6055506" y="2778898"/>
                  <a:pt x="6063746" y="2781153"/>
                </a:cubicBezTo>
                <a:cubicBezTo>
                  <a:pt x="6067866" y="2781153"/>
                  <a:pt x="6069927" y="2778898"/>
                  <a:pt x="6074045" y="2776642"/>
                </a:cubicBezTo>
                <a:cubicBezTo>
                  <a:pt x="6071986" y="2767618"/>
                  <a:pt x="6082285" y="2772130"/>
                  <a:pt x="6084347" y="2765364"/>
                </a:cubicBezTo>
                <a:cubicBezTo>
                  <a:pt x="6080226" y="2763106"/>
                  <a:pt x="6074045" y="2760851"/>
                  <a:pt x="6069927" y="2758594"/>
                </a:cubicBezTo>
                <a:cubicBezTo>
                  <a:pt x="6065804" y="2756340"/>
                  <a:pt x="6061685" y="2751828"/>
                  <a:pt x="6057565" y="2749571"/>
                </a:cubicBezTo>
                <a:cubicBezTo>
                  <a:pt x="6061685" y="2745058"/>
                  <a:pt x="6063746" y="2740547"/>
                  <a:pt x="6063746" y="2736036"/>
                </a:cubicBezTo>
                <a:cubicBezTo>
                  <a:pt x="6067866" y="2736036"/>
                  <a:pt x="6071986" y="2733780"/>
                  <a:pt x="6078165" y="2733780"/>
                </a:cubicBezTo>
                <a:cubicBezTo>
                  <a:pt x="6080226" y="2733780"/>
                  <a:pt x="6084347" y="2733780"/>
                  <a:pt x="6084347" y="2729269"/>
                </a:cubicBezTo>
                <a:cubicBezTo>
                  <a:pt x="6076106" y="2717988"/>
                  <a:pt x="6067866" y="2731524"/>
                  <a:pt x="6057565" y="2727011"/>
                </a:cubicBezTo>
                <a:cubicBezTo>
                  <a:pt x="6069927" y="2720245"/>
                  <a:pt x="6080226" y="2717988"/>
                  <a:pt x="6092586" y="2715734"/>
                </a:cubicBezTo>
                <a:cubicBezTo>
                  <a:pt x="6102886" y="2713476"/>
                  <a:pt x="6111126" y="2711222"/>
                  <a:pt x="6117307" y="2699940"/>
                </a:cubicBezTo>
                <a:cubicBezTo>
                  <a:pt x="6117307" y="2699940"/>
                  <a:pt x="6119366" y="2699940"/>
                  <a:pt x="6119366" y="2699940"/>
                </a:cubicBezTo>
                <a:cubicBezTo>
                  <a:pt x="6123486" y="2697686"/>
                  <a:pt x="6127606" y="2695429"/>
                  <a:pt x="6131726" y="2695429"/>
                </a:cubicBezTo>
                <a:cubicBezTo>
                  <a:pt x="6135847" y="2695429"/>
                  <a:pt x="6137908" y="2695429"/>
                  <a:pt x="6139967" y="2693174"/>
                </a:cubicBezTo>
                <a:cubicBezTo>
                  <a:pt x="6144086" y="2693174"/>
                  <a:pt x="6146145" y="2690916"/>
                  <a:pt x="6150265" y="2690916"/>
                </a:cubicBezTo>
                <a:cubicBezTo>
                  <a:pt x="6150265" y="2690916"/>
                  <a:pt x="6152327" y="2688662"/>
                  <a:pt x="6154386" y="2686404"/>
                </a:cubicBezTo>
                <a:cubicBezTo>
                  <a:pt x="6133788" y="2688662"/>
                  <a:pt x="6115245" y="2693174"/>
                  <a:pt x="6098765" y="2702198"/>
                </a:cubicBezTo>
                <a:cubicBezTo>
                  <a:pt x="6098765" y="2702198"/>
                  <a:pt x="6100827" y="2704452"/>
                  <a:pt x="6100827" y="2704452"/>
                </a:cubicBezTo>
                <a:cubicBezTo>
                  <a:pt x="6088467" y="2706709"/>
                  <a:pt x="6076106" y="2708964"/>
                  <a:pt x="6065804" y="2711222"/>
                </a:cubicBezTo>
                <a:cubicBezTo>
                  <a:pt x="6069927" y="2708964"/>
                  <a:pt x="6074045" y="2706709"/>
                  <a:pt x="6078165" y="2702198"/>
                </a:cubicBezTo>
                <a:cubicBezTo>
                  <a:pt x="6078165" y="2699940"/>
                  <a:pt x="6076106" y="2697686"/>
                  <a:pt x="6076106" y="2695429"/>
                </a:cubicBezTo>
                <a:cubicBezTo>
                  <a:pt x="6076106" y="2693174"/>
                  <a:pt x="6076106" y="2693174"/>
                  <a:pt x="6076106" y="2690916"/>
                </a:cubicBezTo>
                <a:cubicBezTo>
                  <a:pt x="6071986" y="2690916"/>
                  <a:pt x="6067866" y="2690916"/>
                  <a:pt x="6063746" y="2690916"/>
                </a:cubicBezTo>
                <a:cubicBezTo>
                  <a:pt x="6051386" y="2688662"/>
                  <a:pt x="6036965" y="2686404"/>
                  <a:pt x="6024606" y="2684150"/>
                </a:cubicBezTo>
                <a:cubicBezTo>
                  <a:pt x="6024606" y="2684150"/>
                  <a:pt x="6024606" y="2684150"/>
                  <a:pt x="6022545" y="2684150"/>
                </a:cubicBezTo>
                <a:cubicBezTo>
                  <a:pt x="6039026" y="2679638"/>
                  <a:pt x="6055506" y="2675127"/>
                  <a:pt x="6071986" y="2672869"/>
                </a:cubicBezTo>
                <a:cubicBezTo>
                  <a:pt x="6071986" y="2675127"/>
                  <a:pt x="6069927" y="2675127"/>
                  <a:pt x="6069927" y="2677384"/>
                </a:cubicBezTo>
                <a:cubicBezTo>
                  <a:pt x="6080226" y="2675127"/>
                  <a:pt x="6090525" y="2672869"/>
                  <a:pt x="6098765" y="2672869"/>
                </a:cubicBezTo>
                <a:cubicBezTo>
                  <a:pt x="6117307" y="2668358"/>
                  <a:pt x="6133788" y="2663848"/>
                  <a:pt x="6152327" y="2661591"/>
                </a:cubicBezTo>
                <a:cubicBezTo>
                  <a:pt x="6168807" y="2659333"/>
                  <a:pt x="6183226" y="2654825"/>
                  <a:pt x="6199706" y="2650312"/>
                </a:cubicBezTo>
                <a:cubicBezTo>
                  <a:pt x="6201768" y="2650312"/>
                  <a:pt x="6201768" y="2648056"/>
                  <a:pt x="6205888" y="2645800"/>
                </a:cubicBezTo>
                <a:cubicBezTo>
                  <a:pt x="6195586" y="2643544"/>
                  <a:pt x="6187347" y="2645800"/>
                  <a:pt x="6181167" y="2648056"/>
                </a:cubicBezTo>
                <a:cubicBezTo>
                  <a:pt x="6164687" y="2652567"/>
                  <a:pt x="6148206" y="2654825"/>
                  <a:pt x="6131726" y="2657080"/>
                </a:cubicBezTo>
                <a:cubicBezTo>
                  <a:pt x="6121427" y="2657080"/>
                  <a:pt x="6111126" y="2659333"/>
                  <a:pt x="6100827" y="2659333"/>
                </a:cubicBezTo>
                <a:cubicBezTo>
                  <a:pt x="6092586" y="2659333"/>
                  <a:pt x="6086406" y="2661591"/>
                  <a:pt x="6080226" y="2666102"/>
                </a:cubicBezTo>
                <a:cubicBezTo>
                  <a:pt x="6057565" y="2668358"/>
                  <a:pt x="6034906" y="2670614"/>
                  <a:pt x="6014304" y="2672869"/>
                </a:cubicBezTo>
                <a:cubicBezTo>
                  <a:pt x="6022545" y="2666102"/>
                  <a:pt x="6030785" y="2666102"/>
                  <a:pt x="6039026" y="2663848"/>
                </a:cubicBezTo>
                <a:cubicBezTo>
                  <a:pt x="6043145" y="2661591"/>
                  <a:pt x="6045206" y="2661591"/>
                  <a:pt x="6049327" y="2659333"/>
                </a:cubicBezTo>
                <a:cubicBezTo>
                  <a:pt x="6063746" y="2661591"/>
                  <a:pt x="6080226" y="2661591"/>
                  <a:pt x="6094645" y="2657080"/>
                </a:cubicBezTo>
                <a:cubicBezTo>
                  <a:pt x="6115245" y="2652567"/>
                  <a:pt x="6133788" y="2648056"/>
                  <a:pt x="6154386" y="2645800"/>
                </a:cubicBezTo>
                <a:cubicBezTo>
                  <a:pt x="6174986" y="2643544"/>
                  <a:pt x="6195586" y="2643544"/>
                  <a:pt x="6216186" y="2639032"/>
                </a:cubicBezTo>
                <a:cubicBezTo>
                  <a:pt x="6240907" y="2634520"/>
                  <a:pt x="6267686" y="2630008"/>
                  <a:pt x="6292407" y="2625496"/>
                </a:cubicBezTo>
                <a:cubicBezTo>
                  <a:pt x="6294468" y="2625496"/>
                  <a:pt x="6298588" y="2623242"/>
                  <a:pt x="6298588" y="2616472"/>
                </a:cubicBezTo>
                <a:cubicBezTo>
                  <a:pt x="6282108" y="2618730"/>
                  <a:pt x="6265627" y="2618730"/>
                  <a:pt x="6251209" y="2620984"/>
                </a:cubicBezTo>
                <a:cubicBezTo>
                  <a:pt x="6230608" y="2623242"/>
                  <a:pt x="6210008" y="2627754"/>
                  <a:pt x="6189408" y="2630008"/>
                </a:cubicBezTo>
                <a:cubicBezTo>
                  <a:pt x="6193527" y="2627754"/>
                  <a:pt x="6197647" y="2627754"/>
                  <a:pt x="6199706" y="2627754"/>
                </a:cubicBezTo>
                <a:cubicBezTo>
                  <a:pt x="6195586" y="2625496"/>
                  <a:pt x="6191466" y="2623242"/>
                  <a:pt x="6189408" y="2623242"/>
                </a:cubicBezTo>
                <a:cubicBezTo>
                  <a:pt x="6181167" y="2623242"/>
                  <a:pt x="6170866" y="2623242"/>
                  <a:pt x="6162628" y="2625496"/>
                </a:cubicBezTo>
                <a:cubicBezTo>
                  <a:pt x="6125545" y="2632265"/>
                  <a:pt x="6086406" y="2639032"/>
                  <a:pt x="6049327" y="2645800"/>
                </a:cubicBezTo>
                <a:cubicBezTo>
                  <a:pt x="6045206" y="2645800"/>
                  <a:pt x="6041087" y="2648056"/>
                  <a:pt x="6034906" y="2648056"/>
                </a:cubicBezTo>
                <a:cubicBezTo>
                  <a:pt x="6030785" y="2645800"/>
                  <a:pt x="6026665" y="2645800"/>
                  <a:pt x="6022545" y="2643544"/>
                </a:cubicBezTo>
                <a:cubicBezTo>
                  <a:pt x="6020486" y="2643544"/>
                  <a:pt x="6020486" y="2641289"/>
                  <a:pt x="6018425" y="2641289"/>
                </a:cubicBezTo>
                <a:cubicBezTo>
                  <a:pt x="6022545" y="2641289"/>
                  <a:pt x="6024606" y="2639032"/>
                  <a:pt x="6028726" y="2639032"/>
                </a:cubicBezTo>
                <a:cubicBezTo>
                  <a:pt x="6034906" y="2636778"/>
                  <a:pt x="6041087" y="2636778"/>
                  <a:pt x="6049327" y="2627754"/>
                </a:cubicBezTo>
                <a:cubicBezTo>
                  <a:pt x="6034906" y="2630008"/>
                  <a:pt x="6024606" y="2632265"/>
                  <a:pt x="6012244" y="2634520"/>
                </a:cubicBezTo>
                <a:cubicBezTo>
                  <a:pt x="6012244" y="2634520"/>
                  <a:pt x="6010185" y="2632265"/>
                  <a:pt x="6010185" y="2632265"/>
                </a:cubicBezTo>
                <a:cubicBezTo>
                  <a:pt x="6012244" y="2630008"/>
                  <a:pt x="6012244" y="2627754"/>
                  <a:pt x="6014304" y="2625496"/>
                </a:cubicBezTo>
                <a:cubicBezTo>
                  <a:pt x="6022545" y="2625496"/>
                  <a:pt x="6030785" y="2627754"/>
                  <a:pt x="6041087" y="2623242"/>
                </a:cubicBezTo>
                <a:cubicBezTo>
                  <a:pt x="6047265" y="2620984"/>
                  <a:pt x="6053445" y="2618730"/>
                  <a:pt x="6059626" y="2618730"/>
                </a:cubicBezTo>
                <a:cubicBezTo>
                  <a:pt x="6080226" y="2623242"/>
                  <a:pt x="6100827" y="2611960"/>
                  <a:pt x="6121427" y="2607449"/>
                </a:cubicBezTo>
                <a:cubicBezTo>
                  <a:pt x="6131726" y="2607449"/>
                  <a:pt x="6142027" y="2605194"/>
                  <a:pt x="6150265" y="2600682"/>
                </a:cubicBezTo>
                <a:cubicBezTo>
                  <a:pt x="6146145" y="2600682"/>
                  <a:pt x="6144086" y="2600682"/>
                  <a:pt x="6139967" y="2600682"/>
                </a:cubicBezTo>
                <a:cubicBezTo>
                  <a:pt x="6142027" y="2600682"/>
                  <a:pt x="6142027" y="2598424"/>
                  <a:pt x="6144086" y="2598424"/>
                </a:cubicBezTo>
                <a:cubicBezTo>
                  <a:pt x="6135847" y="2591658"/>
                  <a:pt x="6123486" y="2602936"/>
                  <a:pt x="6113187" y="2589402"/>
                </a:cubicBezTo>
                <a:cubicBezTo>
                  <a:pt x="6123486" y="2589402"/>
                  <a:pt x="6131726" y="2589402"/>
                  <a:pt x="6137908" y="2589402"/>
                </a:cubicBezTo>
                <a:cubicBezTo>
                  <a:pt x="6146145" y="2589402"/>
                  <a:pt x="6152327" y="2584889"/>
                  <a:pt x="6160567" y="2582634"/>
                </a:cubicBezTo>
                <a:cubicBezTo>
                  <a:pt x="6168807" y="2580377"/>
                  <a:pt x="6174986" y="2580377"/>
                  <a:pt x="6183226" y="2578122"/>
                </a:cubicBezTo>
                <a:cubicBezTo>
                  <a:pt x="6191466" y="2575868"/>
                  <a:pt x="6197647" y="2573611"/>
                  <a:pt x="6205888" y="2571354"/>
                </a:cubicBezTo>
                <a:cubicBezTo>
                  <a:pt x="6214128" y="2569100"/>
                  <a:pt x="6220307" y="2569100"/>
                  <a:pt x="6228547" y="2566842"/>
                </a:cubicBezTo>
                <a:cubicBezTo>
                  <a:pt x="6234729" y="2564587"/>
                  <a:pt x="6242966" y="2566842"/>
                  <a:pt x="6249147" y="2557818"/>
                </a:cubicBezTo>
                <a:cubicBezTo>
                  <a:pt x="6234729" y="2553309"/>
                  <a:pt x="6220307" y="2560075"/>
                  <a:pt x="6212067" y="2557818"/>
                </a:cubicBezTo>
                <a:cubicBezTo>
                  <a:pt x="6210008" y="2551052"/>
                  <a:pt x="6210008" y="2544282"/>
                  <a:pt x="6207947" y="2542028"/>
                </a:cubicBezTo>
                <a:cubicBezTo>
                  <a:pt x="6205888" y="2539773"/>
                  <a:pt x="6201768" y="2539773"/>
                  <a:pt x="6199706" y="2539773"/>
                </a:cubicBezTo>
                <a:cubicBezTo>
                  <a:pt x="6179106" y="2546540"/>
                  <a:pt x="6158508" y="2546540"/>
                  <a:pt x="6137908" y="2546540"/>
                </a:cubicBezTo>
                <a:cubicBezTo>
                  <a:pt x="6121427" y="2546540"/>
                  <a:pt x="6104945" y="2551052"/>
                  <a:pt x="6090525" y="2557818"/>
                </a:cubicBezTo>
                <a:cubicBezTo>
                  <a:pt x="6074045" y="2560075"/>
                  <a:pt x="6057565" y="2562334"/>
                  <a:pt x="6039026" y="2564587"/>
                </a:cubicBezTo>
                <a:cubicBezTo>
                  <a:pt x="6045206" y="2566842"/>
                  <a:pt x="6051386" y="2566842"/>
                  <a:pt x="6057565" y="2566842"/>
                </a:cubicBezTo>
                <a:cubicBezTo>
                  <a:pt x="6059626" y="2566842"/>
                  <a:pt x="6061685" y="2566842"/>
                  <a:pt x="6061685" y="2566842"/>
                </a:cubicBezTo>
                <a:cubicBezTo>
                  <a:pt x="6055506" y="2569100"/>
                  <a:pt x="6049327" y="2569100"/>
                  <a:pt x="6045206" y="2571354"/>
                </a:cubicBezTo>
                <a:cubicBezTo>
                  <a:pt x="6043145" y="2571354"/>
                  <a:pt x="6041087" y="2580377"/>
                  <a:pt x="6039026" y="2584889"/>
                </a:cubicBezTo>
                <a:cubicBezTo>
                  <a:pt x="6032844" y="2582634"/>
                  <a:pt x="6028726" y="2580377"/>
                  <a:pt x="6024606" y="2578122"/>
                </a:cubicBezTo>
                <a:cubicBezTo>
                  <a:pt x="6020486" y="2575868"/>
                  <a:pt x="6018425" y="2575868"/>
                  <a:pt x="6014304" y="2575868"/>
                </a:cubicBezTo>
                <a:cubicBezTo>
                  <a:pt x="6018425" y="2575868"/>
                  <a:pt x="6020486" y="2571354"/>
                  <a:pt x="6018425" y="2566842"/>
                </a:cubicBezTo>
                <a:cubicBezTo>
                  <a:pt x="6010185" y="2566842"/>
                  <a:pt x="6004006" y="2569100"/>
                  <a:pt x="5995765" y="2569100"/>
                </a:cubicBezTo>
                <a:cubicBezTo>
                  <a:pt x="5971045" y="2569100"/>
                  <a:pt x="5944263" y="2569100"/>
                  <a:pt x="5919542" y="2569100"/>
                </a:cubicBezTo>
                <a:cubicBezTo>
                  <a:pt x="5925724" y="2566842"/>
                  <a:pt x="5931906" y="2562334"/>
                  <a:pt x="5936026" y="2553309"/>
                </a:cubicBezTo>
                <a:cubicBezTo>
                  <a:pt x="5940143" y="2544282"/>
                  <a:pt x="5954565" y="2551052"/>
                  <a:pt x="5962805" y="2537516"/>
                </a:cubicBezTo>
                <a:cubicBezTo>
                  <a:pt x="5944263" y="2539773"/>
                  <a:pt x="5929844" y="2539773"/>
                  <a:pt x="5915426" y="2539773"/>
                </a:cubicBezTo>
                <a:cubicBezTo>
                  <a:pt x="5940143" y="2533004"/>
                  <a:pt x="5962805" y="2526238"/>
                  <a:pt x="5987526" y="2526238"/>
                </a:cubicBezTo>
                <a:cubicBezTo>
                  <a:pt x="6018425" y="2526238"/>
                  <a:pt x="6041087" y="2510444"/>
                  <a:pt x="6065804" y="2492397"/>
                </a:cubicBezTo>
                <a:cubicBezTo>
                  <a:pt x="6065804" y="2492397"/>
                  <a:pt x="6065804" y="2490142"/>
                  <a:pt x="6065804" y="2487886"/>
                </a:cubicBezTo>
                <a:cubicBezTo>
                  <a:pt x="6055506" y="2483374"/>
                  <a:pt x="6045206" y="2485631"/>
                  <a:pt x="6034906" y="2487886"/>
                </a:cubicBezTo>
                <a:cubicBezTo>
                  <a:pt x="6014304" y="2492397"/>
                  <a:pt x="5991645" y="2494656"/>
                  <a:pt x="5971045" y="2494656"/>
                </a:cubicBezTo>
                <a:cubicBezTo>
                  <a:pt x="5979285" y="2490142"/>
                  <a:pt x="5987526" y="2487886"/>
                  <a:pt x="5997824" y="2490142"/>
                </a:cubicBezTo>
                <a:cubicBezTo>
                  <a:pt x="6001945" y="2490142"/>
                  <a:pt x="6008126" y="2490142"/>
                  <a:pt x="6012244" y="2487886"/>
                </a:cubicBezTo>
                <a:cubicBezTo>
                  <a:pt x="6018425" y="2487886"/>
                  <a:pt x="6020486" y="2485631"/>
                  <a:pt x="6022545" y="2478862"/>
                </a:cubicBezTo>
                <a:cubicBezTo>
                  <a:pt x="6024606" y="2476608"/>
                  <a:pt x="6026665" y="2474354"/>
                  <a:pt x="6028726" y="2474354"/>
                </a:cubicBezTo>
                <a:cubicBezTo>
                  <a:pt x="6036965" y="2476608"/>
                  <a:pt x="6043145" y="2478862"/>
                  <a:pt x="6053445" y="2481120"/>
                </a:cubicBezTo>
                <a:cubicBezTo>
                  <a:pt x="6053445" y="2478862"/>
                  <a:pt x="6055506" y="2474354"/>
                  <a:pt x="6055506" y="2472095"/>
                </a:cubicBezTo>
                <a:cubicBezTo>
                  <a:pt x="6055506" y="2469838"/>
                  <a:pt x="6057565" y="2467584"/>
                  <a:pt x="6059626" y="2465326"/>
                </a:cubicBezTo>
                <a:cubicBezTo>
                  <a:pt x="6074045" y="2463072"/>
                  <a:pt x="6088467" y="2458560"/>
                  <a:pt x="6102886" y="2454048"/>
                </a:cubicBezTo>
                <a:cubicBezTo>
                  <a:pt x="6107006" y="2454048"/>
                  <a:pt x="6113187" y="2454048"/>
                  <a:pt x="6117307" y="2454048"/>
                </a:cubicBezTo>
                <a:cubicBezTo>
                  <a:pt x="6117307" y="2454048"/>
                  <a:pt x="6117307" y="2456302"/>
                  <a:pt x="6117307" y="2456302"/>
                </a:cubicBezTo>
                <a:cubicBezTo>
                  <a:pt x="6115245" y="2456302"/>
                  <a:pt x="6113187" y="2458560"/>
                  <a:pt x="6111126" y="2458560"/>
                </a:cubicBezTo>
                <a:cubicBezTo>
                  <a:pt x="6117307" y="2463072"/>
                  <a:pt x="6123486" y="2460818"/>
                  <a:pt x="6129665" y="2460818"/>
                </a:cubicBezTo>
                <a:cubicBezTo>
                  <a:pt x="6146145" y="2458560"/>
                  <a:pt x="6162628" y="2463072"/>
                  <a:pt x="6181167" y="2463072"/>
                </a:cubicBezTo>
                <a:cubicBezTo>
                  <a:pt x="6187347" y="2463072"/>
                  <a:pt x="6191466" y="2467584"/>
                  <a:pt x="6195586" y="2469838"/>
                </a:cubicBezTo>
                <a:cubicBezTo>
                  <a:pt x="6199706" y="2472095"/>
                  <a:pt x="6201768" y="2474354"/>
                  <a:pt x="6205888" y="2474354"/>
                </a:cubicBezTo>
                <a:cubicBezTo>
                  <a:pt x="6216186" y="2474354"/>
                  <a:pt x="6222366" y="2481120"/>
                  <a:pt x="6228547" y="2490142"/>
                </a:cubicBezTo>
                <a:cubicBezTo>
                  <a:pt x="6226488" y="2494656"/>
                  <a:pt x="6224427" y="2499167"/>
                  <a:pt x="6224427" y="2503678"/>
                </a:cubicBezTo>
                <a:cubicBezTo>
                  <a:pt x="6228547" y="2503678"/>
                  <a:pt x="6230608" y="2503678"/>
                  <a:pt x="6234729" y="2501422"/>
                </a:cubicBezTo>
                <a:cubicBezTo>
                  <a:pt x="6238846" y="2492397"/>
                  <a:pt x="6238846" y="2485631"/>
                  <a:pt x="6232667" y="2478862"/>
                </a:cubicBezTo>
                <a:cubicBezTo>
                  <a:pt x="6228547" y="2474354"/>
                  <a:pt x="6224427" y="2472095"/>
                  <a:pt x="6220307" y="2467584"/>
                </a:cubicBezTo>
                <a:cubicBezTo>
                  <a:pt x="6216186" y="2467584"/>
                  <a:pt x="6210008" y="2467584"/>
                  <a:pt x="6207947" y="2463072"/>
                </a:cubicBezTo>
                <a:cubicBezTo>
                  <a:pt x="6205888" y="2463072"/>
                  <a:pt x="6203827" y="2463072"/>
                  <a:pt x="6201768" y="2460818"/>
                </a:cubicBezTo>
                <a:cubicBezTo>
                  <a:pt x="6189408" y="2456302"/>
                  <a:pt x="6174986" y="2449536"/>
                  <a:pt x="6160567" y="2451793"/>
                </a:cubicBezTo>
                <a:cubicBezTo>
                  <a:pt x="6154386" y="2451793"/>
                  <a:pt x="6150265" y="2451793"/>
                  <a:pt x="6144086" y="2449536"/>
                </a:cubicBezTo>
                <a:cubicBezTo>
                  <a:pt x="6137908" y="2447282"/>
                  <a:pt x="6131726" y="2445024"/>
                  <a:pt x="6125545" y="2445024"/>
                </a:cubicBezTo>
                <a:cubicBezTo>
                  <a:pt x="6137908" y="2442768"/>
                  <a:pt x="6152327" y="2442768"/>
                  <a:pt x="6164687" y="2440513"/>
                </a:cubicBezTo>
                <a:cubicBezTo>
                  <a:pt x="6177047" y="2438258"/>
                  <a:pt x="6191466" y="2440513"/>
                  <a:pt x="6201768" y="2429234"/>
                </a:cubicBezTo>
                <a:cubicBezTo>
                  <a:pt x="6210008" y="2420211"/>
                  <a:pt x="6222366" y="2420211"/>
                  <a:pt x="6232667" y="2426978"/>
                </a:cubicBezTo>
                <a:cubicBezTo>
                  <a:pt x="6240907" y="2431489"/>
                  <a:pt x="6247086" y="2431489"/>
                  <a:pt x="6255329" y="2426978"/>
                </a:cubicBezTo>
                <a:cubicBezTo>
                  <a:pt x="6259447" y="2424722"/>
                  <a:pt x="6265627" y="2426978"/>
                  <a:pt x="6267686" y="2429234"/>
                </a:cubicBezTo>
                <a:cubicBezTo>
                  <a:pt x="6275929" y="2438258"/>
                  <a:pt x="6280047" y="2424722"/>
                  <a:pt x="6284167" y="2424722"/>
                </a:cubicBezTo>
                <a:cubicBezTo>
                  <a:pt x="6290349" y="2424722"/>
                  <a:pt x="6296527" y="2433746"/>
                  <a:pt x="6304768" y="2429234"/>
                </a:cubicBezTo>
                <a:cubicBezTo>
                  <a:pt x="6317127" y="2424722"/>
                  <a:pt x="6329488" y="2422466"/>
                  <a:pt x="6343909" y="2420211"/>
                </a:cubicBezTo>
                <a:cubicBezTo>
                  <a:pt x="6348030" y="2420211"/>
                  <a:pt x="6354209" y="2420211"/>
                  <a:pt x="6352147" y="2411187"/>
                </a:cubicBezTo>
                <a:cubicBezTo>
                  <a:pt x="6313008" y="2406676"/>
                  <a:pt x="6273868" y="2404418"/>
                  <a:pt x="6234729" y="2408930"/>
                </a:cubicBezTo>
                <a:cubicBezTo>
                  <a:pt x="6199706" y="2413442"/>
                  <a:pt x="6162628" y="2420211"/>
                  <a:pt x="6127606" y="2429234"/>
                </a:cubicBezTo>
                <a:cubicBezTo>
                  <a:pt x="6119366" y="2431489"/>
                  <a:pt x="6113187" y="2429234"/>
                  <a:pt x="6104945" y="2429234"/>
                </a:cubicBezTo>
                <a:cubicBezTo>
                  <a:pt x="6100827" y="2429234"/>
                  <a:pt x="6094645" y="2431489"/>
                  <a:pt x="6090525" y="2436000"/>
                </a:cubicBezTo>
                <a:cubicBezTo>
                  <a:pt x="6090525" y="2436000"/>
                  <a:pt x="6088467" y="2436000"/>
                  <a:pt x="6088467" y="2436000"/>
                </a:cubicBezTo>
                <a:cubicBezTo>
                  <a:pt x="6084347" y="2436000"/>
                  <a:pt x="6082285" y="2431489"/>
                  <a:pt x="6084347" y="2426978"/>
                </a:cubicBezTo>
                <a:cubicBezTo>
                  <a:pt x="6082285" y="2426978"/>
                  <a:pt x="6080226" y="2426978"/>
                  <a:pt x="6076106" y="2426978"/>
                </a:cubicBezTo>
                <a:cubicBezTo>
                  <a:pt x="6074045" y="2424722"/>
                  <a:pt x="6074045" y="2422466"/>
                  <a:pt x="6074045" y="2420211"/>
                </a:cubicBezTo>
                <a:cubicBezTo>
                  <a:pt x="6071986" y="2420211"/>
                  <a:pt x="6069927" y="2420211"/>
                  <a:pt x="6067866" y="2420211"/>
                </a:cubicBezTo>
                <a:cubicBezTo>
                  <a:pt x="6067866" y="2420211"/>
                  <a:pt x="6067866" y="2417953"/>
                  <a:pt x="6065804" y="2417953"/>
                </a:cubicBezTo>
                <a:cubicBezTo>
                  <a:pt x="6063746" y="2415698"/>
                  <a:pt x="6061685" y="2413442"/>
                  <a:pt x="6059626" y="2411187"/>
                </a:cubicBezTo>
                <a:cubicBezTo>
                  <a:pt x="6080226" y="2411187"/>
                  <a:pt x="6100827" y="2411187"/>
                  <a:pt x="6121427" y="2402164"/>
                </a:cubicBezTo>
                <a:cubicBezTo>
                  <a:pt x="6121427" y="2397651"/>
                  <a:pt x="6121427" y="2395394"/>
                  <a:pt x="6121427" y="2390882"/>
                </a:cubicBezTo>
                <a:cubicBezTo>
                  <a:pt x="6111126" y="2390882"/>
                  <a:pt x="6098765" y="2393140"/>
                  <a:pt x="6088467" y="2395394"/>
                </a:cubicBezTo>
                <a:cubicBezTo>
                  <a:pt x="6076106" y="2397651"/>
                  <a:pt x="6063746" y="2402164"/>
                  <a:pt x="6051386" y="2404418"/>
                </a:cubicBezTo>
                <a:cubicBezTo>
                  <a:pt x="6049327" y="2402164"/>
                  <a:pt x="6047265" y="2399906"/>
                  <a:pt x="6045206" y="2397651"/>
                </a:cubicBezTo>
                <a:cubicBezTo>
                  <a:pt x="6049327" y="2390882"/>
                  <a:pt x="6057565" y="2399906"/>
                  <a:pt x="6059626" y="2390882"/>
                </a:cubicBezTo>
                <a:cubicBezTo>
                  <a:pt x="6055506" y="2384116"/>
                  <a:pt x="6049327" y="2377346"/>
                  <a:pt x="6045206" y="2370580"/>
                </a:cubicBezTo>
                <a:cubicBezTo>
                  <a:pt x="6043145" y="2368322"/>
                  <a:pt x="6041087" y="2368322"/>
                  <a:pt x="6039026" y="2366069"/>
                </a:cubicBezTo>
                <a:cubicBezTo>
                  <a:pt x="6043145" y="2363811"/>
                  <a:pt x="6047265" y="2363811"/>
                  <a:pt x="6051386" y="2361556"/>
                </a:cubicBezTo>
                <a:cubicBezTo>
                  <a:pt x="6045206" y="2359302"/>
                  <a:pt x="6041087" y="2357044"/>
                  <a:pt x="6034906" y="2357044"/>
                </a:cubicBezTo>
                <a:cubicBezTo>
                  <a:pt x="6034906" y="2354788"/>
                  <a:pt x="6034906" y="2350278"/>
                  <a:pt x="6036965" y="2345767"/>
                </a:cubicBezTo>
                <a:cubicBezTo>
                  <a:pt x="6036965" y="2343509"/>
                  <a:pt x="6039026" y="2343509"/>
                  <a:pt x="6041087" y="2341252"/>
                </a:cubicBezTo>
                <a:cubicBezTo>
                  <a:pt x="6047265" y="2341252"/>
                  <a:pt x="6051386" y="2343509"/>
                  <a:pt x="6057565" y="2348022"/>
                </a:cubicBezTo>
                <a:cubicBezTo>
                  <a:pt x="6067866" y="2336742"/>
                  <a:pt x="6082285" y="2334486"/>
                  <a:pt x="6094645" y="2334486"/>
                </a:cubicBezTo>
                <a:cubicBezTo>
                  <a:pt x="6104945" y="2334486"/>
                  <a:pt x="6113187" y="2336742"/>
                  <a:pt x="6123486" y="2336742"/>
                </a:cubicBezTo>
                <a:cubicBezTo>
                  <a:pt x="6129665" y="2336742"/>
                  <a:pt x="6133788" y="2341252"/>
                  <a:pt x="6137908" y="2343509"/>
                </a:cubicBezTo>
                <a:cubicBezTo>
                  <a:pt x="6142027" y="2345767"/>
                  <a:pt x="6144086" y="2348022"/>
                  <a:pt x="6148206" y="2348022"/>
                </a:cubicBezTo>
                <a:cubicBezTo>
                  <a:pt x="6158508" y="2348022"/>
                  <a:pt x="6164687" y="2354788"/>
                  <a:pt x="6170866" y="2363811"/>
                </a:cubicBezTo>
                <a:cubicBezTo>
                  <a:pt x="6168807" y="2368322"/>
                  <a:pt x="6166745" y="2372838"/>
                  <a:pt x="6166745" y="2377346"/>
                </a:cubicBezTo>
                <a:cubicBezTo>
                  <a:pt x="6170866" y="2377346"/>
                  <a:pt x="6172927" y="2377346"/>
                  <a:pt x="6177047" y="2375092"/>
                </a:cubicBezTo>
                <a:cubicBezTo>
                  <a:pt x="6181167" y="2366069"/>
                  <a:pt x="6181167" y="2359302"/>
                  <a:pt x="6174986" y="2352533"/>
                </a:cubicBezTo>
                <a:cubicBezTo>
                  <a:pt x="6170866" y="2348022"/>
                  <a:pt x="6166745" y="2345767"/>
                  <a:pt x="6162628" y="2341252"/>
                </a:cubicBezTo>
                <a:cubicBezTo>
                  <a:pt x="6158508" y="2341252"/>
                  <a:pt x="6152327" y="2341252"/>
                  <a:pt x="6150265" y="2336742"/>
                </a:cubicBezTo>
                <a:cubicBezTo>
                  <a:pt x="6148206" y="2336742"/>
                  <a:pt x="6146145" y="2336742"/>
                  <a:pt x="6144086" y="2334486"/>
                </a:cubicBezTo>
                <a:cubicBezTo>
                  <a:pt x="6137908" y="2332231"/>
                  <a:pt x="6129665" y="2329973"/>
                  <a:pt x="6123486" y="2327720"/>
                </a:cubicBezTo>
                <a:cubicBezTo>
                  <a:pt x="6127606" y="2325462"/>
                  <a:pt x="6133788" y="2320950"/>
                  <a:pt x="6137908" y="2316438"/>
                </a:cubicBezTo>
                <a:cubicBezTo>
                  <a:pt x="6123486" y="2320950"/>
                  <a:pt x="6107006" y="2323207"/>
                  <a:pt x="6090525" y="2325462"/>
                </a:cubicBezTo>
                <a:cubicBezTo>
                  <a:pt x="6090525" y="2325462"/>
                  <a:pt x="6088467" y="2325462"/>
                  <a:pt x="6088467" y="2325462"/>
                </a:cubicBezTo>
                <a:cubicBezTo>
                  <a:pt x="6084347" y="2323207"/>
                  <a:pt x="6080226" y="2320950"/>
                  <a:pt x="6074045" y="2320950"/>
                </a:cubicBezTo>
                <a:cubicBezTo>
                  <a:pt x="6088467" y="2316438"/>
                  <a:pt x="6100827" y="2314184"/>
                  <a:pt x="6115245" y="2316438"/>
                </a:cubicBezTo>
                <a:cubicBezTo>
                  <a:pt x="6123486" y="2316438"/>
                  <a:pt x="6129665" y="2316438"/>
                  <a:pt x="6137908" y="2316438"/>
                </a:cubicBezTo>
                <a:cubicBezTo>
                  <a:pt x="6164687" y="2314184"/>
                  <a:pt x="6189408" y="2311926"/>
                  <a:pt x="6216186" y="2309672"/>
                </a:cubicBezTo>
                <a:cubicBezTo>
                  <a:pt x="6224427" y="2309672"/>
                  <a:pt x="6232667" y="2311926"/>
                  <a:pt x="6236788" y="2300648"/>
                </a:cubicBezTo>
                <a:cubicBezTo>
                  <a:pt x="6238846" y="2293878"/>
                  <a:pt x="6226488" y="2284855"/>
                  <a:pt x="6214128" y="2284855"/>
                </a:cubicBezTo>
                <a:cubicBezTo>
                  <a:pt x="6210008" y="2284855"/>
                  <a:pt x="6207947" y="2287112"/>
                  <a:pt x="6203827" y="2287112"/>
                </a:cubicBezTo>
                <a:cubicBezTo>
                  <a:pt x="6181167" y="2289367"/>
                  <a:pt x="6160567" y="2291624"/>
                  <a:pt x="6137908" y="2291624"/>
                </a:cubicBezTo>
                <a:cubicBezTo>
                  <a:pt x="6123486" y="2291624"/>
                  <a:pt x="6109067" y="2291624"/>
                  <a:pt x="6094645" y="2291624"/>
                </a:cubicBezTo>
                <a:cubicBezTo>
                  <a:pt x="6094645" y="2291624"/>
                  <a:pt x="6092586" y="2291624"/>
                  <a:pt x="6092586" y="2291624"/>
                </a:cubicBezTo>
                <a:cubicBezTo>
                  <a:pt x="6129665" y="2280344"/>
                  <a:pt x="6166745" y="2271319"/>
                  <a:pt x="6203827" y="2260042"/>
                </a:cubicBezTo>
                <a:cubicBezTo>
                  <a:pt x="6228547" y="2253272"/>
                  <a:pt x="6242966" y="2235227"/>
                  <a:pt x="6249147" y="2217180"/>
                </a:cubicBezTo>
                <a:cubicBezTo>
                  <a:pt x="6284167" y="2214922"/>
                  <a:pt x="6292407" y="2187852"/>
                  <a:pt x="6329488" y="2185597"/>
                </a:cubicBezTo>
                <a:cubicBezTo>
                  <a:pt x="6413948" y="2181085"/>
                  <a:pt x="6442789" y="2075058"/>
                  <a:pt x="6358329" y="2068289"/>
                </a:cubicBezTo>
                <a:cubicBezTo>
                  <a:pt x="6335667" y="2066034"/>
                  <a:pt x="6315070" y="2066034"/>
                  <a:pt x="6292407" y="2063777"/>
                </a:cubicBezTo>
                <a:cubicBezTo>
                  <a:pt x="6294468" y="2054753"/>
                  <a:pt x="6294468" y="2047987"/>
                  <a:pt x="6294468" y="2038964"/>
                </a:cubicBezTo>
                <a:cubicBezTo>
                  <a:pt x="6308888" y="2038964"/>
                  <a:pt x="6321248" y="2036706"/>
                  <a:pt x="6335667" y="2036706"/>
                </a:cubicBezTo>
                <a:cubicBezTo>
                  <a:pt x="6327429" y="2029939"/>
                  <a:pt x="6315070" y="2038964"/>
                  <a:pt x="6306829" y="2029939"/>
                </a:cubicBezTo>
                <a:cubicBezTo>
                  <a:pt x="6308888" y="2027682"/>
                  <a:pt x="6308888" y="2027682"/>
                  <a:pt x="6310947" y="2027682"/>
                </a:cubicBezTo>
                <a:cubicBezTo>
                  <a:pt x="6325368" y="2025428"/>
                  <a:pt x="6341848" y="2025428"/>
                  <a:pt x="6356268" y="2023173"/>
                </a:cubicBezTo>
                <a:cubicBezTo>
                  <a:pt x="6358329" y="2020916"/>
                  <a:pt x="6360388" y="2016404"/>
                  <a:pt x="6360388" y="2014150"/>
                </a:cubicBezTo>
                <a:cubicBezTo>
                  <a:pt x="6364507" y="2018662"/>
                  <a:pt x="6368630" y="2023173"/>
                  <a:pt x="6374809" y="2025428"/>
                </a:cubicBezTo>
                <a:cubicBezTo>
                  <a:pt x="6376868" y="2011892"/>
                  <a:pt x="6378929" y="2009637"/>
                  <a:pt x="6387170" y="2009637"/>
                </a:cubicBezTo>
                <a:cubicBezTo>
                  <a:pt x="6389228" y="2009637"/>
                  <a:pt x="6393348" y="2009637"/>
                  <a:pt x="6395409" y="2007380"/>
                </a:cubicBezTo>
                <a:cubicBezTo>
                  <a:pt x="6399530" y="2007380"/>
                  <a:pt x="6403647" y="2005126"/>
                  <a:pt x="6407770" y="2005126"/>
                </a:cubicBezTo>
                <a:cubicBezTo>
                  <a:pt x="6411890" y="2005126"/>
                  <a:pt x="6416011" y="2005126"/>
                  <a:pt x="6420130" y="2005126"/>
                </a:cubicBezTo>
                <a:cubicBezTo>
                  <a:pt x="6409829" y="1996102"/>
                  <a:pt x="6397468" y="1998356"/>
                  <a:pt x="6385108" y="1998356"/>
                </a:cubicBezTo>
                <a:cubicBezTo>
                  <a:pt x="6378929" y="1998356"/>
                  <a:pt x="6372748" y="2000614"/>
                  <a:pt x="6366569" y="2002869"/>
                </a:cubicBezTo>
                <a:cubicBezTo>
                  <a:pt x="6364507" y="1998356"/>
                  <a:pt x="6364507" y="1993844"/>
                  <a:pt x="6362449" y="1989333"/>
                </a:cubicBezTo>
                <a:cubicBezTo>
                  <a:pt x="6366569" y="1987078"/>
                  <a:pt x="6370689" y="1984820"/>
                  <a:pt x="6374809" y="1980309"/>
                </a:cubicBezTo>
                <a:cubicBezTo>
                  <a:pt x="6368630" y="1978054"/>
                  <a:pt x="6368630" y="1978054"/>
                  <a:pt x="6362449" y="1980309"/>
                </a:cubicBezTo>
                <a:cubicBezTo>
                  <a:pt x="6358329" y="1982566"/>
                  <a:pt x="6348030" y="1980309"/>
                  <a:pt x="6345968" y="1975797"/>
                </a:cubicBezTo>
                <a:cubicBezTo>
                  <a:pt x="6343909" y="1969031"/>
                  <a:pt x="6341848" y="1964518"/>
                  <a:pt x="6339787" y="1957750"/>
                </a:cubicBezTo>
                <a:cubicBezTo>
                  <a:pt x="6348030" y="1955495"/>
                  <a:pt x="6354209" y="1946472"/>
                  <a:pt x="6362449" y="1955495"/>
                </a:cubicBezTo>
                <a:cubicBezTo>
                  <a:pt x="6366569" y="1960007"/>
                  <a:pt x="6370689" y="1955495"/>
                  <a:pt x="6372748" y="1950984"/>
                </a:cubicBezTo>
                <a:cubicBezTo>
                  <a:pt x="6374809" y="1948727"/>
                  <a:pt x="6376868" y="1946472"/>
                  <a:pt x="6376868" y="1944218"/>
                </a:cubicBezTo>
                <a:cubicBezTo>
                  <a:pt x="6376868" y="1941959"/>
                  <a:pt x="6378929" y="1939702"/>
                  <a:pt x="6378929" y="1935191"/>
                </a:cubicBezTo>
                <a:cubicBezTo>
                  <a:pt x="6356268" y="1932936"/>
                  <a:pt x="6333608" y="1930682"/>
                  <a:pt x="6310947" y="1928424"/>
                </a:cubicBezTo>
                <a:lnTo>
                  <a:pt x="6312248" y="1924741"/>
                </a:lnTo>
                <a:lnTo>
                  <a:pt x="6310947" y="1926166"/>
                </a:lnTo>
                <a:cubicBezTo>
                  <a:pt x="6310947" y="1922784"/>
                  <a:pt x="6311462" y="1921092"/>
                  <a:pt x="6312492" y="1920246"/>
                </a:cubicBezTo>
                <a:lnTo>
                  <a:pt x="6313931" y="1919984"/>
                </a:lnTo>
                <a:lnTo>
                  <a:pt x="6317128" y="1910940"/>
                </a:lnTo>
                <a:cubicBezTo>
                  <a:pt x="6320218" y="1906992"/>
                  <a:pt x="6324339" y="1904738"/>
                  <a:pt x="6329488" y="1903610"/>
                </a:cubicBezTo>
                <a:cubicBezTo>
                  <a:pt x="6323309" y="1903610"/>
                  <a:pt x="6321248" y="1901353"/>
                  <a:pt x="6317127" y="1901353"/>
                </a:cubicBezTo>
                <a:cubicBezTo>
                  <a:pt x="6323309" y="1899098"/>
                  <a:pt x="6325368" y="1896842"/>
                  <a:pt x="6329488" y="1896842"/>
                </a:cubicBezTo>
                <a:cubicBezTo>
                  <a:pt x="6319189" y="1894587"/>
                  <a:pt x="6308888" y="1894587"/>
                  <a:pt x="6300647" y="1894587"/>
                </a:cubicBezTo>
                <a:cubicBezTo>
                  <a:pt x="6294468" y="1894587"/>
                  <a:pt x="6288288" y="1896842"/>
                  <a:pt x="6282108" y="1896842"/>
                </a:cubicBezTo>
                <a:cubicBezTo>
                  <a:pt x="6273868" y="1896842"/>
                  <a:pt x="6265627" y="1892330"/>
                  <a:pt x="6257388" y="1903610"/>
                </a:cubicBezTo>
                <a:cubicBezTo>
                  <a:pt x="6257388" y="1905864"/>
                  <a:pt x="6253268" y="1903610"/>
                  <a:pt x="6251209" y="1903610"/>
                </a:cubicBezTo>
                <a:cubicBezTo>
                  <a:pt x="6245027" y="1903610"/>
                  <a:pt x="6238846" y="1903610"/>
                  <a:pt x="6232667" y="1901353"/>
                </a:cubicBezTo>
                <a:cubicBezTo>
                  <a:pt x="6222366" y="1901353"/>
                  <a:pt x="6212067" y="1899098"/>
                  <a:pt x="6201768" y="1899098"/>
                </a:cubicBezTo>
                <a:cubicBezTo>
                  <a:pt x="6201768" y="1899098"/>
                  <a:pt x="6201768" y="1896842"/>
                  <a:pt x="6201768" y="1894587"/>
                </a:cubicBezTo>
                <a:cubicBezTo>
                  <a:pt x="6207947" y="1894587"/>
                  <a:pt x="6212067" y="1894587"/>
                  <a:pt x="6218245" y="1894587"/>
                </a:cubicBezTo>
                <a:cubicBezTo>
                  <a:pt x="6226488" y="1894587"/>
                  <a:pt x="6230608" y="1892330"/>
                  <a:pt x="6234729" y="1883306"/>
                </a:cubicBezTo>
                <a:lnTo>
                  <a:pt x="6273868" y="1883306"/>
                </a:lnTo>
                <a:cubicBezTo>
                  <a:pt x="6273868" y="1885562"/>
                  <a:pt x="6273868" y="1885562"/>
                  <a:pt x="6273868" y="1887817"/>
                </a:cubicBezTo>
                <a:cubicBezTo>
                  <a:pt x="6275929" y="1885562"/>
                  <a:pt x="6280047" y="1885562"/>
                  <a:pt x="6282108" y="1883306"/>
                </a:cubicBezTo>
                <a:cubicBezTo>
                  <a:pt x="6284167" y="1883306"/>
                  <a:pt x="6284167" y="1883306"/>
                  <a:pt x="6286229" y="1883306"/>
                </a:cubicBezTo>
                <a:cubicBezTo>
                  <a:pt x="6304768" y="1883306"/>
                  <a:pt x="6325368" y="1883306"/>
                  <a:pt x="6343909" y="1883306"/>
                </a:cubicBezTo>
                <a:cubicBezTo>
                  <a:pt x="6372748" y="1883306"/>
                  <a:pt x="6401588" y="1872028"/>
                  <a:pt x="6430429" y="1867515"/>
                </a:cubicBezTo>
                <a:cubicBezTo>
                  <a:pt x="6432488" y="1867515"/>
                  <a:pt x="6432488" y="1865258"/>
                  <a:pt x="6436611" y="1860747"/>
                </a:cubicBezTo>
                <a:close/>
              </a:path>
            </a:pathLst>
          </a:custGeom>
          <a:solidFill>
            <a:schemeClr val="accent2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DC33E03-A6BC-12E2-D02C-CAAC48FEADB4}"/>
              </a:ext>
            </a:extLst>
          </p:cNvPr>
          <p:cNvSpPr/>
          <p:nvPr/>
        </p:nvSpPr>
        <p:spPr>
          <a:xfrm rot="5400000" flipH="1">
            <a:off x="7120465" y="1786466"/>
            <a:ext cx="6121401" cy="4021667"/>
          </a:xfrm>
          <a:custGeom>
            <a:avLst/>
            <a:gdLst>
              <a:gd name="connsiteX0" fmla="*/ 137070 w 6436611"/>
              <a:gd name="connsiteY0" fmla="*/ 908758 h 4419155"/>
              <a:gd name="connsiteX1" fmla="*/ 130891 w 6436611"/>
              <a:gd name="connsiteY1" fmla="*/ 917782 h 4419155"/>
              <a:gd name="connsiteX2" fmla="*/ 130891 w 6436611"/>
              <a:gd name="connsiteY2" fmla="*/ 915524 h 4419155"/>
              <a:gd name="connsiteX3" fmla="*/ 120589 w 6436611"/>
              <a:gd name="connsiteY3" fmla="*/ 924548 h 4419155"/>
              <a:gd name="connsiteX4" fmla="*/ 137070 w 6436611"/>
              <a:gd name="connsiteY4" fmla="*/ 908758 h 4419155"/>
              <a:gd name="connsiteX5" fmla="*/ 1206220 w 6436611"/>
              <a:gd name="connsiteY5" fmla="*/ 3500785 h 4419155"/>
              <a:gd name="connsiteX6" fmla="*/ 1200039 w 6436611"/>
              <a:gd name="connsiteY6" fmla="*/ 3507554 h 4419155"/>
              <a:gd name="connsiteX7" fmla="*/ 1193860 w 6436611"/>
              <a:gd name="connsiteY7" fmla="*/ 3500785 h 4419155"/>
              <a:gd name="connsiteX8" fmla="*/ 1193860 w 6436611"/>
              <a:gd name="connsiteY8" fmla="*/ 3491762 h 4419155"/>
              <a:gd name="connsiteX9" fmla="*/ 1206220 w 6436611"/>
              <a:gd name="connsiteY9" fmla="*/ 3500785 h 4419155"/>
              <a:gd name="connsiteX10" fmla="*/ 1216519 w 6436611"/>
              <a:gd name="connsiteY10" fmla="*/ 3789541 h 4419155"/>
              <a:gd name="connsiteX11" fmla="*/ 1212398 w 6436611"/>
              <a:gd name="connsiteY11" fmla="*/ 3796307 h 4419155"/>
              <a:gd name="connsiteX12" fmla="*/ 1208282 w 6436611"/>
              <a:gd name="connsiteY12" fmla="*/ 3798565 h 4419155"/>
              <a:gd name="connsiteX13" fmla="*/ 1216519 w 6436611"/>
              <a:gd name="connsiteY13" fmla="*/ 3787284 h 4419155"/>
              <a:gd name="connsiteX14" fmla="*/ 1216519 w 6436611"/>
              <a:gd name="connsiteY14" fmla="*/ 3789541 h 4419155"/>
              <a:gd name="connsiteX15" fmla="*/ 1268021 w 6436611"/>
              <a:gd name="connsiteY15" fmla="*/ 3401524 h 4419155"/>
              <a:gd name="connsiteX16" fmla="*/ 1257720 w 6436611"/>
              <a:gd name="connsiteY16" fmla="*/ 3410550 h 4419155"/>
              <a:gd name="connsiteX17" fmla="*/ 1259782 w 6436611"/>
              <a:gd name="connsiteY17" fmla="*/ 3406039 h 4419155"/>
              <a:gd name="connsiteX18" fmla="*/ 1268021 w 6436611"/>
              <a:gd name="connsiteY18" fmla="*/ 3401524 h 4419155"/>
              <a:gd name="connsiteX19" fmla="*/ 1465053 w 6436611"/>
              <a:gd name="connsiteY19" fmla="*/ 4063572 h 4419155"/>
              <a:gd name="connsiteX20" fmla="*/ 1462177 w 6436611"/>
              <a:gd name="connsiteY20" fmla="*/ 4063914 h 4419155"/>
              <a:gd name="connsiteX21" fmla="*/ 1453423 w 6436611"/>
              <a:gd name="connsiteY21" fmla="*/ 4073783 h 4419155"/>
              <a:gd name="connsiteX22" fmla="*/ 1458706 w 6436611"/>
              <a:gd name="connsiteY22" fmla="*/ 4072838 h 4419155"/>
              <a:gd name="connsiteX23" fmla="*/ 1480203 w 6436611"/>
              <a:gd name="connsiteY23" fmla="*/ 3381223 h 4419155"/>
              <a:gd name="connsiteX24" fmla="*/ 1476082 w 6436611"/>
              <a:gd name="connsiteY24" fmla="*/ 3383480 h 4419155"/>
              <a:gd name="connsiteX25" fmla="*/ 1476082 w 6436611"/>
              <a:gd name="connsiteY25" fmla="*/ 3378968 h 4419155"/>
              <a:gd name="connsiteX26" fmla="*/ 1478144 w 6436611"/>
              <a:gd name="connsiteY26" fmla="*/ 3378968 h 4419155"/>
              <a:gd name="connsiteX27" fmla="*/ 1480203 w 6436611"/>
              <a:gd name="connsiteY27" fmla="*/ 3381223 h 4419155"/>
              <a:gd name="connsiteX28" fmla="*/ 1498742 w 6436611"/>
              <a:gd name="connsiteY28" fmla="*/ 3351896 h 4419155"/>
              <a:gd name="connsiteX29" fmla="*/ 1496683 w 6436611"/>
              <a:gd name="connsiteY29" fmla="*/ 3360921 h 4419155"/>
              <a:gd name="connsiteX30" fmla="*/ 1488442 w 6436611"/>
              <a:gd name="connsiteY30" fmla="*/ 3360921 h 4419155"/>
              <a:gd name="connsiteX31" fmla="*/ 1492562 w 6436611"/>
              <a:gd name="connsiteY31" fmla="*/ 3356408 h 4419155"/>
              <a:gd name="connsiteX32" fmla="*/ 1498742 w 6436611"/>
              <a:gd name="connsiteY32" fmla="*/ 3351896 h 4419155"/>
              <a:gd name="connsiteX33" fmla="*/ 1502864 w 6436611"/>
              <a:gd name="connsiteY33" fmla="*/ 3320314 h 4419155"/>
              <a:gd name="connsiteX34" fmla="*/ 1494621 w 6436611"/>
              <a:gd name="connsiteY34" fmla="*/ 3333849 h 4419155"/>
              <a:gd name="connsiteX35" fmla="*/ 1492562 w 6436611"/>
              <a:gd name="connsiteY35" fmla="*/ 3345127 h 4419155"/>
              <a:gd name="connsiteX36" fmla="*/ 1490501 w 6436611"/>
              <a:gd name="connsiteY36" fmla="*/ 3342874 h 4419155"/>
              <a:gd name="connsiteX37" fmla="*/ 1486383 w 6436611"/>
              <a:gd name="connsiteY37" fmla="*/ 3351896 h 4419155"/>
              <a:gd name="connsiteX38" fmla="*/ 1482264 w 6436611"/>
              <a:gd name="connsiteY38" fmla="*/ 3356408 h 4419155"/>
              <a:gd name="connsiteX39" fmla="*/ 1471962 w 6436611"/>
              <a:gd name="connsiteY39" fmla="*/ 3372198 h 4419155"/>
              <a:gd name="connsiteX40" fmla="*/ 1457543 w 6436611"/>
              <a:gd name="connsiteY40" fmla="*/ 3378968 h 4419155"/>
              <a:gd name="connsiteX41" fmla="*/ 1441062 w 6436611"/>
              <a:gd name="connsiteY41" fmla="*/ 3390246 h 4419155"/>
              <a:gd name="connsiteX42" fmla="*/ 1439001 w 6436611"/>
              <a:gd name="connsiteY42" fmla="*/ 3390246 h 4419155"/>
              <a:gd name="connsiteX43" fmla="*/ 1439001 w 6436611"/>
              <a:gd name="connsiteY43" fmla="*/ 3385734 h 4419155"/>
              <a:gd name="connsiteX44" fmla="*/ 1432823 w 6436611"/>
              <a:gd name="connsiteY44" fmla="*/ 3378968 h 4419155"/>
              <a:gd name="connsiteX45" fmla="*/ 1502864 w 6436611"/>
              <a:gd name="connsiteY45" fmla="*/ 3320314 h 4419155"/>
              <a:gd name="connsiteX46" fmla="*/ 1502864 w 6436611"/>
              <a:gd name="connsiteY46" fmla="*/ 3408294 h 4419155"/>
              <a:gd name="connsiteX47" fmla="*/ 1498742 w 6436611"/>
              <a:gd name="connsiteY47" fmla="*/ 3412805 h 4419155"/>
              <a:gd name="connsiteX48" fmla="*/ 1502864 w 6436611"/>
              <a:gd name="connsiteY48" fmla="*/ 3406039 h 4419155"/>
              <a:gd name="connsiteX49" fmla="*/ 1502864 w 6436611"/>
              <a:gd name="connsiteY49" fmla="*/ 3408294 h 4419155"/>
              <a:gd name="connsiteX50" fmla="*/ 1515222 w 6436611"/>
              <a:gd name="connsiteY50" fmla="*/ 4051223 h 4419155"/>
              <a:gd name="connsiteX51" fmla="*/ 1502864 w 6436611"/>
              <a:gd name="connsiteY51" fmla="*/ 4060247 h 4419155"/>
              <a:gd name="connsiteX52" fmla="*/ 1500803 w 6436611"/>
              <a:gd name="connsiteY52" fmla="*/ 4057993 h 4419155"/>
              <a:gd name="connsiteX53" fmla="*/ 1513163 w 6436611"/>
              <a:gd name="connsiteY53" fmla="*/ 4048968 h 4419155"/>
              <a:gd name="connsiteX54" fmla="*/ 1515222 w 6436611"/>
              <a:gd name="connsiteY54" fmla="*/ 4051223 h 4419155"/>
              <a:gd name="connsiteX55" fmla="*/ 1521403 w 6436611"/>
              <a:gd name="connsiteY55" fmla="*/ 3708328 h 4419155"/>
              <a:gd name="connsiteX56" fmla="*/ 1496683 w 6436611"/>
              <a:gd name="connsiteY56" fmla="*/ 3726376 h 4419155"/>
              <a:gd name="connsiteX57" fmla="*/ 1500803 w 6436611"/>
              <a:gd name="connsiteY57" fmla="*/ 3712840 h 4419155"/>
              <a:gd name="connsiteX58" fmla="*/ 1509558 w 6436611"/>
              <a:gd name="connsiteY58" fmla="*/ 3706354 h 4419155"/>
              <a:gd name="connsiteX59" fmla="*/ 1521403 w 6436611"/>
              <a:gd name="connsiteY59" fmla="*/ 3708328 h 4419155"/>
              <a:gd name="connsiteX60" fmla="*/ 1544062 w 6436611"/>
              <a:gd name="connsiteY60" fmla="*/ 3688026 h 4419155"/>
              <a:gd name="connsiteX61" fmla="*/ 1539942 w 6436611"/>
              <a:gd name="connsiteY61" fmla="*/ 3692538 h 4419155"/>
              <a:gd name="connsiteX62" fmla="*/ 1533764 w 6436611"/>
              <a:gd name="connsiteY62" fmla="*/ 3697050 h 4419155"/>
              <a:gd name="connsiteX63" fmla="*/ 1531703 w 6436611"/>
              <a:gd name="connsiteY63" fmla="*/ 3694792 h 4419155"/>
              <a:gd name="connsiteX64" fmla="*/ 1544062 w 6436611"/>
              <a:gd name="connsiteY64" fmla="*/ 3688026 h 4419155"/>
              <a:gd name="connsiteX65" fmla="*/ 1563267 w 6436611"/>
              <a:gd name="connsiteY65" fmla="*/ 4241450 h 4419155"/>
              <a:gd name="connsiteX66" fmla="*/ 1562601 w 6436611"/>
              <a:gd name="connsiteY66" fmla="*/ 4240721 h 4419155"/>
              <a:gd name="connsiteX67" fmla="*/ 1556423 w 6436611"/>
              <a:gd name="connsiteY67" fmla="*/ 4245233 h 4419155"/>
              <a:gd name="connsiteX68" fmla="*/ 1556955 w 6436611"/>
              <a:gd name="connsiteY68" fmla="*/ 4245815 h 4419155"/>
              <a:gd name="connsiteX69" fmla="*/ 1572903 w 6436611"/>
              <a:gd name="connsiteY69" fmla="*/ 3234588 h 4419155"/>
              <a:gd name="connsiteX70" fmla="*/ 1564663 w 6436611"/>
              <a:gd name="connsiteY70" fmla="*/ 3239100 h 4419155"/>
              <a:gd name="connsiteX71" fmla="*/ 1567237 w 6436611"/>
              <a:gd name="connsiteY71" fmla="*/ 3233460 h 4419155"/>
              <a:gd name="connsiteX72" fmla="*/ 1572903 w 6436611"/>
              <a:gd name="connsiteY72" fmla="*/ 3234588 h 4419155"/>
              <a:gd name="connsiteX73" fmla="*/ 1597624 w 6436611"/>
              <a:gd name="connsiteY73" fmla="*/ 3254894 h 4419155"/>
              <a:gd name="connsiteX74" fmla="*/ 1581144 w 6436611"/>
              <a:gd name="connsiteY74" fmla="*/ 3275196 h 4419155"/>
              <a:gd name="connsiteX75" fmla="*/ 1597624 w 6436611"/>
              <a:gd name="connsiteY75" fmla="*/ 3254894 h 4419155"/>
              <a:gd name="connsiteX76" fmla="*/ 1609983 w 6436611"/>
              <a:gd name="connsiteY76" fmla="*/ 3651932 h 4419155"/>
              <a:gd name="connsiteX77" fmla="*/ 1597624 w 6436611"/>
              <a:gd name="connsiteY77" fmla="*/ 3665466 h 4419155"/>
              <a:gd name="connsiteX78" fmla="*/ 1544062 w 6436611"/>
              <a:gd name="connsiteY78" fmla="*/ 3708328 h 4419155"/>
              <a:gd name="connsiteX79" fmla="*/ 1529644 w 6436611"/>
              <a:gd name="connsiteY79" fmla="*/ 3721863 h 4419155"/>
              <a:gd name="connsiteX80" fmla="*/ 1525523 w 6436611"/>
              <a:gd name="connsiteY80" fmla="*/ 3724118 h 4419155"/>
              <a:gd name="connsiteX81" fmla="*/ 1488442 w 6436611"/>
              <a:gd name="connsiteY81" fmla="*/ 3748934 h 4419155"/>
              <a:gd name="connsiteX82" fmla="*/ 1467842 w 6436611"/>
              <a:gd name="connsiteY82" fmla="*/ 3757958 h 4419155"/>
              <a:gd name="connsiteX83" fmla="*/ 1535822 w 6436611"/>
              <a:gd name="connsiteY83" fmla="*/ 3703816 h 4419155"/>
              <a:gd name="connsiteX84" fmla="*/ 1556423 w 6436611"/>
              <a:gd name="connsiteY84" fmla="*/ 3688026 h 4419155"/>
              <a:gd name="connsiteX85" fmla="*/ 1562601 w 6436611"/>
              <a:gd name="connsiteY85" fmla="*/ 3674490 h 4419155"/>
              <a:gd name="connsiteX86" fmla="*/ 1566722 w 6436611"/>
              <a:gd name="connsiteY86" fmla="*/ 3672234 h 4419155"/>
              <a:gd name="connsiteX87" fmla="*/ 1579085 w 6436611"/>
              <a:gd name="connsiteY87" fmla="*/ 3665466 h 4419155"/>
              <a:gd name="connsiteX88" fmla="*/ 1577023 w 6436611"/>
              <a:gd name="connsiteY88" fmla="*/ 3665466 h 4419155"/>
              <a:gd name="connsiteX89" fmla="*/ 1605864 w 6436611"/>
              <a:gd name="connsiteY89" fmla="*/ 3651932 h 4419155"/>
              <a:gd name="connsiteX90" fmla="*/ 1609983 w 6436611"/>
              <a:gd name="connsiteY90" fmla="*/ 3651932 h 4419155"/>
              <a:gd name="connsiteX91" fmla="*/ 1628523 w 6436611"/>
              <a:gd name="connsiteY91" fmla="*/ 3193984 h 4419155"/>
              <a:gd name="connsiteX92" fmla="*/ 1622344 w 6436611"/>
              <a:gd name="connsiteY92" fmla="*/ 3198493 h 4419155"/>
              <a:gd name="connsiteX93" fmla="*/ 1612042 w 6436611"/>
              <a:gd name="connsiteY93" fmla="*/ 3205263 h 4419155"/>
              <a:gd name="connsiteX94" fmla="*/ 1628523 w 6436611"/>
              <a:gd name="connsiteY94" fmla="*/ 3193984 h 4419155"/>
              <a:gd name="connsiteX95" fmla="*/ 1675903 w 6436611"/>
              <a:gd name="connsiteY95" fmla="*/ 3620348 h 4419155"/>
              <a:gd name="connsiteX96" fmla="*/ 1663545 w 6436611"/>
              <a:gd name="connsiteY96" fmla="*/ 3633884 h 4419155"/>
              <a:gd name="connsiteX97" fmla="*/ 1661483 w 6436611"/>
              <a:gd name="connsiteY97" fmla="*/ 3629372 h 4419155"/>
              <a:gd name="connsiteX98" fmla="*/ 1665604 w 6436611"/>
              <a:gd name="connsiteY98" fmla="*/ 3624860 h 4419155"/>
              <a:gd name="connsiteX99" fmla="*/ 1667665 w 6436611"/>
              <a:gd name="connsiteY99" fmla="*/ 3622603 h 4419155"/>
              <a:gd name="connsiteX100" fmla="*/ 1675903 w 6436611"/>
              <a:gd name="connsiteY100" fmla="*/ 3620348 h 4419155"/>
              <a:gd name="connsiteX101" fmla="*/ 1793324 w 6436611"/>
              <a:gd name="connsiteY101" fmla="*/ 3649674 h 4419155"/>
              <a:gd name="connsiteX102" fmla="*/ 1791265 w 6436611"/>
              <a:gd name="connsiteY102" fmla="*/ 3640652 h 4419155"/>
              <a:gd name="connsiteX103" fmla="*/ 1793324 w 6436611"/>
              <a:gd name="connsiteY103" fmla="*/ 3640652 h 4419155"/>
              <a:gd name="connsiteX104" fmla="*/ 1793324 w 6436611"/>
              <a:gd name="connsiteY104" fmla="*/ 3649674 h 4419155"/>
              <a:gd name="connsiteX105" fmla="*/ 1834525 w 6436611"/>
              <a:gd name="connsiteY105" fmla="*/ 3818867 h 4419155"/>
              <a:gd name="connsiteX106" fmla="*/ 1828347 w 6436611"/>
              <a:gd name="connsiteY106" fmla="*/ 3823379 h 4419155"/>
              <a:gd name="connsiteX107" fmla="*/ 1826285 w 6436611"/>
              <a:gd name="connsiteY107" fmla="*/ 3821124 h 4419155"/>
              <a:gd name="connsiteX108" fmla="*/ 1832467 w 6436611"/>
              <a:gd name="connsiteY108" fmla="*/ 3816613 h 4419155"/>
              <a:gd name="connsiteX109" fmla="*/ 1834525 w 6436611"/>
              <a:gd name="connsiteY109" fmla="*/ 3818867 h 4419155"/>
              <a:gd name="connsiteX110" fmla="*/ 1923684 w 6436611"/>
              <a:gd name="connsiteY110" fmla="*/ 4070248 h 4419155"/>
              <a:gd name="connsiteX111" fmla="*/ 1913886 w 6436611"/>
              <a:gd name="connsiteY111" fmla="*/ 4076685 h 4419155"/>
              <a:gd name="connsiteX112" fmla="*/ 1914866 w 6436611"/>
              <a:gd name="connsiteY112" fmla="*/ 4078295 h 4419155"/>
              <a:gd name="connsiteX113" fmla="*/ 1925858 w 6436611"/>
              <a:gd name="connsiteY113" fmla="*/ 4068264 h 4419155"/>
              <a:gd name="connsiteX114" fmla="*/ 1923684 w 6436611"/>
              <a:gd name="connsiteY114" fmla="*/ 4070248 h 4419155"/>
              <a:gd name="connsiteX115" fmla="*/ 1925167 w 6436611"/>
              <a:gd name="connsiteY115" fmla="*/ 4069274 h 4419155"/>
              <a:gd name="connsiteX116" fmla="*/ 1931347 w 6436611"/>
              <a:gd name="connsiteY116" fmla="*/ 4080552 h 4419155"/>
              <a:gd name="connsiteX117" fmla="*/ 1931347 w 6436611"/>
              <a:gd name="connsiteY117" fmla="*/ 4078295 h 4419155"/>
              <a:gd name="connsiteX118" fmla="*/ 1927226 w 6436611"/>
              <a:gd name="connsiteY118" fmla="*/ 4085063 h 4419155"/>
              <a:gd name="connsiteX119" fmla="*/ 1931347 w 6436611"/>
              <a:gd name="connsiteY119" fmla="*/ 4080552 h 4419155"/>
              <a:gd name="connsiteX120" fmla="*/ 1991953 w 6436611"/>
              <a:gd name="connsiteY120" fmla="*/ 4021688 h 4419155"/>
              <a:gd name="connsiteX121" fmla="*/ 1989027 w 6436611"/>
              <a:gd name="connsiteY121" fmla="*/ 4021898 h 4419155"/>
              <a:gd name="connsiteX122" fmla="*/ 1978726 w 6436611"/>
              <a:gd name="connsiteY122" fmla="*/ 4026410 h 4419155"/>
              <a:gd name="connsiteX123" fmla="*/ 1969457 w 6436611"/>
              <a:gd name="connsiteY123" fmla="*/ 4032896 h 4419155"/>
              <a:gd name="connsiteX124" fmla="*/ 1966927 w 6436611"/>
              <a:gd name="connsiteY124" fmla="*/ 4032357 h 4419155"/>
              <a:gd name="connsiteX125" fmla="*/ 1941647 w 6436611"/>
              <a:gd name="connsiteY125" fmla="*/ 4048968 h 4419155"/>
              <a:gd name="connsiteX126" fmla="*/ 1932866 w 6436611"/>
              <a:gd name="connsiteY126" fmla="*/ 4054147 h 4419155"/>
              <a:gd name="connsiteX127" fmla="*/ 1931347 w 6436611"/>
              <a:gd name="connsiteY127" fmla="*/ 4060247 h 4419155"/>
              <a:gd name="connsiteX128" fmla="*/ 1925858 w 6436611"/>
              <a:gd name="connsiteY128" fmla="*/ 4068264 h 4419155"/>
              <a:gd name="connsiteX129" fmla="*/ 1927226 w 6436611"/>
              <a:gd name="connsiteY129" fmla="*/ 4067016 h 4419155"/>
              <a:gd name="connsiteX130" fmla="*/ 1933408 w 6436611"/>
              <a:gd name="connsiteY130" fmla="*/ 4062504 h 4419155"/>
              <a:gd name="connsiteX131" fmla="*/ 1949888 w 6436611"/>
              <a:gd name="connsiteY131" fmla="*/ 4055736 h 4419155"/>
              <a:gd name="connsiteX132" fmla="*/ 2046706 w 6436611"/>
              <a:gd name="connsiteY132" fmla="*/ 3135330 h 4419155"/>
              <a:gd name="connsiteX133" fmla="*/ 2044647 w 6436611"/>
              <a:gd name="connsiteY133" fmla="*/ 3137585 h 4419155"/>
              <a:gd name="connsiteX134" fmla="*/ 2042588 w 6436611"/>
              <a:gd name="connsiteY134" fmla="*/ 3135330 h 4419155"/>
              <a:gd name="connsiteX135" fmla="*/ 2046706 w 6436611"/>
              <a:gd name="connsiteY135" fmla="*/ 3135330 h 4419155"/>
              <a:gd name="connsiteX136" fmla="*/ 2073488 w 6436611"/>
              <a:gd name="connsiteY136" fmla="*/ 3124049 h 4419155"/>
              <a:gd name="connsiteX137" fmla="*/ 2069368 w 6436611"/>
              <a:gd name="connsiteY137" fmla="*/ 3130818 h 4419155"/>
              <a:gd name="connsiteX138" fmla="*/ 2071427 w 6436611"/>
              <a:gd name="connsiteY138" fmla="*/ 3124049 h 4419155"/>
              <a:gd name="connsiteX139" fmla="*/ 2073488 w 6436611"/>
              <a:gd name="connsiteY139" fmla="*/ 3124049 h 4419155"/>
              <a:gd name="connsiteX140" fmla="*/ 2281549 w 6436611"/>
              <a:gd name="connsiteY140" fmla="*/ 4073783 h 4419155"/>
              <a:gd name="connsiteX141" fmla="*/ 2275371 w 6436611"/>
              <a:gd name="connsiteY141" fmla="*/ 4080552 h 4419155"/>
              <a:gd name="connsiteX142" fmla="*/ 2279491 w 6436611"/>
              <a:gd name="connsiteY142" fmla="*/ 4071529 h 4419155"/>
              <a:gd name="connsiteX143" fmla="*/ 2281549 w 6436611"/>
              <a:gd name="connsiteY143" fmla="*/ 4073783 h 4419155"/>
              <a:gd name="connsiteX144" fmla="*/ 2413392 w 6436611"/>
              <a:gd name="connsiteY144" fmla="*/ 4281325 h 4419155"/>
              <a:gd name="connsiteX145" fmla="*/ 2403091 w 6436611"/>
              <a:gd name="connsiteY145" fmla="*/ 4285837 h 4419155"/>
              <a:gd name="connsiteX146" fmla="*/ 2411330 w 6436611"/>
              <a:gd name="connsiteY146" fmla="*/ 4276814 h 4419155"/>
              <a:gd name="connsiteX147" fmla="*/ 2413392 w 6436611"/>
              <a:gd name="connsiteY147" fmla="*/ 4281325 h 4419155"/>
              <a:gd name="connsiteX148" fmla="*/ 2414936 w 6436611"/>
              <a:gd name="connsiteY148" fmla="*/ 4303039 h 4419155"/>
              <a:gd name="connsiteX149" fmla="*/ 2413392 w 6436611"/>
              <a:gd name="connsiteY149" fmla="*/ 4312909 h 4419155"/>
              <a:gd name="connsiteX150" fmla="*/ 2413392 w 6436611"/>
              <a:gd name="connsiteY150" fmla="*/ 4294863 h 4419155"/>
              <a:gd name="connsiteX151" fmla="*/ 2414936 w 6436611"/>
              <a:gd name="connsiteY151" fmla="*/ 4303039 h 4419155"/>
              <a:gd name="connsiteX152" fmla="*/ 2425752 w 6436611"/>
              <a:gd name="connsiteY152" fmla="*/ 4279071 h 4419155"/>
              <a:gd name="connsiteX153" fmla="*/ 2423691 w 6436611"/>
              <a:gd name="connsiteY153" fmla="*/ 4281325 h 4419155"/>
              <a:gd name="connsiteX154" fmla="*/ 2419571 w 6436611"/>
              <a:gd name="connsiteY154" fmla="*/ 4274559 h 4419155"/>
              <a:gd name="connsiteX155" fmla="*/ 2421632 w 6436611"/>
              <a:gd name="connsiteY155" fmla="*/ 4272305 h 4419155"/>
              <a:gd name="connsiteX156" fmla="*/ 2425752 w 6436611"/>
              <a:gd name="connsiteY156" fmla="*/ 4279071 h 4419155"/>
              <a:gd name="connsiteX157" fmla="*/ 2462830 w 6436611"/>
              <a:gd name="connsiteY157" fmla="*/ 4308397 h 4419155"/>
              <a:gd name="connsiteX158" fmla="*/ 2442230 w 6436611"/>
              <a:gd name="connsiteY158" fmla="*/ 4330956 h 4419155"/>
              <a:gd name="connsiteX159" fmla="*/ 2440171 w 6436611"/>
              <a:gd name="connsiteY159" fmla="*/ 4328701 h 4419155"/>
              <a:gd name="connsiteX160" fmla="*/ 2446353 w 6436611"/>
              <a:gd name="connsiteY160" fmla="*/ 4317420 h 4419155"/>
              <a:gd name="connsiteX161" fmla="*/ 2444291 w 6436611"/>
              <a:gd name="connsiteY161" fmla="*/ 4315166 h 4419155"/>
              <a:gd name="connsiteX162" fmla="*/ 2433992 w 6436611"/>
              <a:gd name="connsiteY162" fmla="*/ 4321932 h 4419155"/>
              <a:gd name="connsiteX163" fmla="*/ 2442230 w 6436611"/>
              <a:gd name="connsiteY163" fmla="*/ 4301630 h 4419155"/>
              <a:gd name="connsiteX164" fmla="*/ 2450473 w 6436611"/>
              <a:gd name="connsiteY164" fmla="*/ 4310654 h 4419155"/>
              <a:gd name="connsiteX165" fmla="*/ 2462830 w 6436611"/>
              <a:gd name="connsiteY165" fmla="*/ 4306142 h 4419155"/>
              <a:gd name="connsiteX166" fmla="*/ 2462830 w 6436611"/>
              <a:gd name="connsiteY166" fmla="*/ 4308397 h 4419155"/>
              <a:gd name="connsiteX167" fmla="*/ 2497853 w 6436611"/>
              <a:gd name="connsiteY167" fmla="*/ 4344492 h 4419155"/>
              <a:gd name="connsiteX168" fmla="*/ 2479312 w 6436611"/>
              <a:gd name="connsiteY168" fmla="*/ 4360281 h 4419155"/>
              <a:gd name="connsiteX169" fmla="*/ 2497853 w 6436611"/>
              <a:gd name="connsiteY169" fmla="*/ 4344492 h 4419155"/>
              <a:gd name="connsiteX170" fmla="*/ 2504032 w 6436611"/>
              <a:gd name="connsiteY170" fmla="*/ 4378328 h 4419155"/>
              <a:gd name="connsiteX171" fmla="*/ 2495794 w 6436611"/>
              <a:gd name="connsiteY171" fmla="*/ 4389610 h 4419155"/>
              <a:gd name="connsiteX172" fmla="*/ 2504032 w 6436611"/>
              <a:gd name="connsiteY172" fmla="*/ 4378328 h 4419155"/>
              <a:gd name="connsiteX173" fmla="*/ 2626780 w 6436611"/>
              <a:gd name="connsiteY173" fmla="*/ 4360905 h 4419155"/>
              <a:gd name="connsiteX174" fmla="*/ 2623016 w 6436611"/>
              <a:gd name="connsiteY174" fmla="*/ 4359669 h 4419155"/>
              <a:gd name="connsiteX175" fmla="*/ 2620939 w 6436611"/>
              <a:gd name="connsiteY175" fmla="*/ 4360419 h 4419155"/>
              <a:gd name="connsiteX176" fmla="*/ 2617333 w 6436611"/>
              <a:gd name="connsiteY176" fmla="*/ 4369308 h 4419155"/>
              <a:gd name="connsiteX177" fmla="*/ 2619443 w 6436611"/>
              <a:gd name="connsiteY177" fmla="*/ 4368317 h 4419155"/>
              <a:gd name="connsiteX178" fmla="*/ 2621453 w 6436611"/>
              <a:gd name="connsiteY178" fmla="*/ 4364796 h 4419155"/>
              <a:gd name="connsiteX179" fmla="*/ 2646173 w 6436611"/>
              <a:gd name="connsiteY179" fmla="*/ 4351260 h 4419155"/>
              <a:gd name="connsiteX180" fmla="*/ 2633813 w 6436611"/>
              <a:gd name="connsiteY180" fmla="*/ 4358026 h 4419155"/>
              <a:gd name="connsiteX181" fmla="*/ 2646173 w 6436611"/>
              <a:gd name="connsiteY181" fmla="*/ 4351260 h 4419155"/>
              <a:gd name="connsiteX182" fmla="*/ 2662654 w 6436611"/>
              <a:gd name="connsiteY182" fmla="*/ 4382841 h 4419155"/>
              <a:gd name="connsiteX183" fmla="*/ 2660595 w 6436611"/>
              <a:gd name="connsiteY183" fmla="*/ 4380587 h 4419155"/>
              <a:gd name="connsiteX184" fmla="*/ 2652353 w 6436611"/>
              <a:gd name="connsiteY184" fmla="*/ 4387353 h 4419155"/>
              <a:gd name="connsiteX185" fmla="*/ 2662654 w 6436611"/>
              <a:gd name="connsiteY185" fmla="*/ 4382841 h 4419155"/>
              <a:gd name="connsiteX186" fmla="*/ 2670894 w 6436611"/>
              <a:gd name="connsiteY186" fmla="*/ 4328701 h 4419155"/>
              <a:gd name="connsiteX187" fmla="*/ 2670893 w 6436611"/>
              <a:gd name="connsiteY187" fmla="*/ 4328701 h 4419155"/>
              <a:gd name="connsiteX188" fmla="*/ 2664392 w 6436611"/>
              <a:gd name="connsiteY188" fmla="*/ 4332261 h 4419155"/>
              <a:gd name="connsiteX189" fmla="*/ 2703855 w 6436611"/>
              <a:gd name="connsiteY189" fmla="*/ 4319677 h 4419155"/>
              <a:gd name="connsiteX190" fmla="*/ 2697673 w 6436611"/>
              <a:gd name="connsiteY190" fmla="*/ 4317420 h 4419155"/>
              <a:gd name="connsiteX191" fmla="*/ 2697673 w 6436611"/>
              <a:gd name="connsiteY191" fmla="*/ 4324190 h 4419155"/>
              <a:gd name="connsiteX192" fmla="*/ 2701794 w 6436611"/>
              <a:gd name="connsiteY192" fmla="*/ 4324190 h 4419155"/>
              <a:gd name="connsiteX193" fmla="*/ 2703855 w 6436611"/>
              <a:gd name="connsiteY193" fmla="*/ 4319677 h 4419155"/>
              <a:gd name="connsiteX194" fmla="*/ 2798615 w 6436611"/>
              <a:gd name="connsiteY194" fmla="*/ 4288095 h 4419155"/>
              <a:gd name="connsiteX195" fmla="*/ 2796556 w 6436611"/>
              <a:gd name="connsiteY195" fmla="*/ 4285837 h 4419155"/>
              <a:gd name="connsiteX196" fmla="*/ 2769774 w 6436611"/>
              <a:gd name="connsiteY196" fmla="*/ 4303884 h 4419155"/>
              <a:gd name="connsiteX197" fmla="*/ 2798615 w 6436611"/>
              <a:gd name="connsiteY197" fmla="*/ 4288095 h 4419155"/>
              <a:gd name="connsiteX198" fmla="*/ 2858354 w 6436611"/>
              <a:gd name="connsiteY198" fmla="*/ 4254254 h 4419155"/>
              <a:gd name="connsiteX199" fmla="*/ 2852176 w 6436611"/>
              <a:gd name="connsiteY199" fmla="*/ 4252000 h 4419155"/>
              <a:gd name="connsiteX200" fmla="*/ 2817156 w 6436611"/>
              <a:gd name="connsiteY200" fmla="*/ 4272305 h 4419155"/>
              <a:gd name="connsiteX201" fmla="*/ 2802735 w 6436611"/>
              <a:gd name="connsiteY201" fmla="*/ 4285837 h 4419155"/>
              <a:gd name="connsiteX202" fmla="*/ 2839815 w 6436611"/>
              <a:gd name="connsiteY202" fmla="*/ 4270048 h 4419155"/>
              <a:gd name="connsiteX203" fmla="*/ 2858354 w 6436611"/>
              <a:gd name="connsiteY203" fmla="*/ 4254254 h 4419155"/>
              <a:gd name="connsiteX204" fmla="*/ 2893376 w 6436611"/>
              <a:gd name="connsiteY204" fmla="*/ 4220417 h 4419155"/>
              <a:gd name="connsiteX205" fmla="*/ 2862477 w 6436611"/>
              <a:gd name="connsiteY205" fmla="*/ 4245233 h 4419155"/>
              <a:gd name="connsiteX206" fmla="*/ 2893376 w 6436611"/>
              <a:gd name="connsiteY206" fmla="*/ 4220417 h 4419155"/>
              <a:gd name="connsiteX207" fmla="*/ 2911915 w 6436611"/>
              <a:gd name="connsiteY207" fmla="*/ 4173043 h 4419155"/>
              <a:gd name="connsiteX208" fmla="*/ 2909856 w 6436611"/>
              <a:gd name="connsiteY208" fmla="*/ 4177555 h 4419155"/>
              <a:gd name="connsiteX209" fmla="*/ 2903676 w 6436611"/>
              <a:gd name="connsiteY209" fmla="*/ 4177555 h 4419155"/>
              <a:gd name="connsiteX210" fmla="*/ 2903676 w 6436611"/>
              <a:gd name="connsiteY210" fmla="*/ 4170789 h 4419155"/>
              <a:gd name="connsiteX211" fmla="*/ 2911915 w 6436611"/>
              <a:gd name="connsiteY211" fmla="*/ 4173043 h 4419155"/>
              <a:gd name="connsiteX212" fmla="*/ 2920156 w 6436611"/>
              <a:gd name="connsiteY212" fmla="*/ 4213651 h 4419155"/>
              <a:gd name="connsiteX213" fmla="*/ 2918097 w 6436611"/>
              <a:gd name="connsiteY213" fmla="*/ 4211393 h 4419155"/>
              <a:gd name="connsiteX214" fmla="*/ 2911915 w 6436611"/>
              <a:gd name="connsiteY214" fmla="*/ 4215904 h 4419155"/>
              <a:gd name="connsiteX215" fmla="*/ 2913977 w 6436611"/>
              <a:gd name="connsiteY215" fmla="*/ 4218162 h 4419155"/>
              <a:gd name="connsiteX216" fmla="*/ 2920156 w 6436611"/>
              <a:gd name="connsiteY216" fmla="*/ 4213651 h 4419155"/>
              <a:gd name="connsiteX217" fmla="*/ 2934577 w 6436611"/>
              <a:gd name="connsiteY217" fmla="*/ 4159507 h 4419155"/>
              <a:gd name="connsiteX218" fmla="*/ 2913977 w 6436611"/>
              <a:gd name="connsiteY218" fmla="*/ 4168532 h 4419155"/>
              <a:gd name="connsiteX219" fmla="*/ 2932516 w 6436611"/>
              <a:gd name="connsiteY219" fmla="*/ 4157251 h 4419155"/>
              <a:gd name="connsiteX220" fmla="*/ 2934577 w 6436611"/>
              <a:gd name="connsiteY220" fmla="*/ 4159507 h 4419155"/>
              <a:gd name="connsiteX221" fmla="*/ 2934577 w 6436611"/>
              <a:gd name="connsiteY221" fmla="*/ 4197857 h 4419155"/>
              <a:gd name="connsiteX222" fmla="*/ 2928396 w 6436611"/>
              <a:gd name="connsiteY222" fmla="*/ 4202370 h 4419155"/>
              <a:gd name="connsiteX223" fmla="*/ 2928396 w 6436611"/>
              <a:gd name="connsiteY223" fmla="*/ 4206881 h 4419155"/>
              <a:gd name="connsiteX224" fmla="*/ 2932516 w 6436611"/>
              <a:gd name="connsiteY224" fmla="*/ 4204627 h 4419155"/>
              <a:gd name="connsiteX225" fmla="*/ 2934577 w 6436611"/>
              <a:gd name="connsiteY225" fmla="*/ 4197857 h 4419155"/>
              <a:gd name="connsiteX226" fmla="*/ 2979899 w 6436611"/>
              <a:gd name="connsiteY226" fmla="*/ 4168532 h 4419155"/>
              <a:gd name="connsiteX227" fmla="*/ 2965477 w 6436611"/>
              <a:gd name="connsiteY227" fmla="*/ 4168532 h 4419155"/>
              <a:gd name="connsiteX228" fmla="*/ 2979899 w 6436611"/>
              <a:gd name="connsiteY228" fmla="*/ 4168532 h 4419155"/>
              <a:gd name="connsiteX229" fmla="*/ 3002558 w 6436611"/>
              <a:gd name="connsiteY229" fmla="*/ 4060247 h 4419155"/>
              <a:gd name="connsiteX230" fmla="*/ 2986077 w 6436611"/>
              <a:gd name="connsiteY230" fmla="*/ 4073783 h 4419155"/>
              <a:gd name="connsiteX231" fmla="*/ 2994317 w 6436611"/>
              <a:gd name="connsiteY231" fmla="*/ 4055736 h 4419155"/>
              <a:gd name="connsiteX232" fmla="*/ 3002558 w 6436611"/>
              <a:gd name="connsiteY232" fmla="*/ 4060247 h 4419155"/>
              <a:gd name="connsiteX233" fmla="*/ 3012856 w 6436611"/>
              <a:gd name="connsiteY233" fmla="*/ 4053481 h 4419155"/>
              <a:gd name="connsiteX234" fmla="*/ 3002558 w 6436611"/>
              <a:gd name="connsiteY234" fmla="*/ 4062504 h 4419155"/>
              <a:gd name="connsiteX235" fmla="*/ 3003845 w 6436611"/>
              <a:gd name="connsiteY235" fmla="*/ 4052916 h 4419155"/>
              <a:gd name="connsiteX236" fmla="*/ 3012856 w 6436611"/>
              <a:gd name="connsiteY236" fmla="*/ 4053481 h 4419155"/>
              <a:gd name="connsiteX237" fmla="*/ 3025003 w 6436611"/>
              <a:gd name="connsiteY237" fmla="*/ 4140210 h 4419155"/>
              <a:gd name="connsiteX238" fmla="*/ 3023406 w 6436611"/>
              <a:gd name="connsiteY238" fmla="*/ 4138086 h 4419155"/>
              <a:gd name="connsiteX239" fmla="*/ 3016977 w 6436611"/>
              <a:gd name="connsiteY239" fmla="*/ 4143718 h 4419155"/>
              <a:gd name="connsiteX240" fmla="*/ 3023672 w 6436611"/>
              <a:gd name="connsiteY240" fmla="*/ 4143436 h 4419155"/>
              <a:gd name="connsiteX241" fmla="*/ 3039636 w 6436611"/>
              <a:gd name="connsiteY241" fmla="*/ 4078295 h 4419155"/>
              <a:gd name="connsiteX242" fmla="*/ 3037577 w 6436611"/>
              <a:gd name="connsiteY242" fmla="*/ 4089576 h 4419155"/>
              <a:gd name="connsiteX243" fmla="*/ 3004616 w 6436611"/>
              <a:gd name="connsiteY243" fmla="*/ 4116647 h 4419155"/>
              <a:gd name="connsiteX244" fmla="*/ 2998438 w 6436611"/>
              <a:gd name="connsiteY244" fmla="*/ 4118901 h 4419155"/>
              <a:gd name="connsiteX245" fmla="*/ 2996376 w 6436611"/>
              <a:gd name="connsiteY245" fmla="*/ 4114390 h 4419155"/>
              <a:gd name="connsiteX246" fmla="*/ 3039636 w 6436611"/>
              <a:gd name="connsiteY246" fmla="*/ 4078295 h 4419155"/>
              <a:gd name="connsiteX247" fmla="*/ 3054058 w 6436611"/>
              <a:gd name="connsiteY247" fmla="*/ 4060247 h 4419155"/>
              <a:gd name="connsiteX248" fmla="*/ 3049938 w 6436611"/>
              <a:gd name="connsiteY248" fmla="*/ 4064761 h 4419155"/>
              <a:gd name="connsiteX249" fmla="*/ 3014915 w 6436611"/>
              <a:gd name="connsiteY249" fmla="*/ 4085063 h 4419155"/>
              <a:gd name="connsiteX250" fmla="*/ 2992256 w 6436611"/>
              <a:gd name="connsiteY250" fmla="*/ 4105365 h 4419155"/>
              <a:gd name="connsiteX251" fmla="*/ 2981957 w 6436611"/>
              <a:gd name="connsiteY251" fmla="*/ 4100854 h 4419155"/>
              <a:gd name="connsiteX252" fmla="*/ 3004616 w 6436611"/>
              <a:gd name="connsiteY252" fmla="*/ 4082806 h 4419155"/>
              <a:gd name="connsiteX253" fmla="*/ 3039636 w 6436611"/>
              <a:gd name="connsiteY253" fmla="*/ 4057993 h 4419155"/>
              <a:gd name="connsiteX254" fmla="*/ 3049938 w 6436611"/>
              <a:gd name="connsiteY254" fmla="*/ 4055736 h 4419155"/>
              <a:gd name="connsiteX255" fmla="*/ 3054058 w 6436611"/>
              <a:gd name="connsiteY255" fmla="*/ 4060247 h 4419155"/>
              <a:gd name="connsiteX256" fmla="*/ 3064356 w 6436611"/>
              <a:gd name="connsiteY256" fmla="*/ 4030921 h 4419155"/>
              <a:gd name="connsiteX257" fmla="*/ 3039636 w 6436611"/>
              <a:gd name="connsiteY257" fmla="*/ 4044457 h 4419155"/>
              <a:gd name="connsiteX258" fmla="*/ 3058177 w 6436611"/>
              <a:gd name="connsiteY258" fmla="*/ 4012874 h 4419155"/>
              <a:gd name="connsiteX259" fmla="*/ 3062297 w 6436611"/>
              <a:gd name="connsiteY259" fmla="*/ 4015132 h 4419155"/>
              <a:gd name="connsiteX260" fmla="*/ 3064356 w 6436611"/>
              <a:gd name="connsiteY260" fmla="*/ 4030921 h 4419155"/>
              <a:gd name="connsiteX261" fmla="*/ 3078778 w 6436611"/>
              <a:gd name="connsiteY261" fmla="*/ 4008362 h 4419155"/>
              <a:gd name="connsiteX262" fmla="*/ 3072599 w 6436611"/>
              <a:gd name="connsiteY262" fmla="*/ 4012874 h 4419155"/>
              <a:gd name="connsiteX263" fmla="*/ 3070538 w 6436611"/>
              <a:gd name="connsiteY263" fmla="*/ 4010619 h 4419155"/>
              <a:gd name="connsiteX264" fmla="*/ 3074658 w 6436611"/>
              <a:gd name="connsiteY264" fmla="*/ 4001596 h 4419155"/>
              <a:gd name="connsiteX265" fmla="*/ 3078778 w 6436611"/>
              <a:gd name="connsiteY265" fmla="*/ 4008362 h 4419155"/>
              <a:gd name="connsiteX266" fmla="*/ 3097317 w 6436611"/>
              <a:gd name="connsiteY266" fmla="*/ 4046714 h 4419155"/>
              <a:gd name="connsiteX267" fmla="*/ 3093197 w 6436611"/>
              <a:gd name="connsiteY267" fmla="*/ 4053481 h 4419155"/>
              <a:gd name="connsiteX268" fmla="*/ 3062297 w 6436611"/>
              <a:gd name="connsiteY268" fmla="*/ 4069274 h 4419155"/>
              <a:gd name="connsiteX269" fmla="*/ 3056116 w 6436611"/>
              <a:gd name="connsiteY269" fmla="*/ 4073783 h 4419155"/>
              <a:gd name="connsiteX270" fmla="*/ 3049938 w 6436611"/>
              <a:gd name="connsiteY270" fmla="*/ 4073783 h 4419155"/>
              <a:gd name="connsiteX271" fmla="*/ 3047879 w 6436611"/>
              <a:gd name="connsiteY271" fmla="*/ 4069274 h 4419155"/>
              <a:gd name="connsiteX272" fmla="*/ 3072599 w 6436611"/>
              <a:gd name="connsiteY272" fmla="*/ 4048968 h 4419155"/>
              <a:gd name="connsiteX273" fmla="*/ 3078778 w 6436611"/>
              <a:gd name="connsiteY273" fmla="*/ 4037691 h 4419155"/>
              <a:gd name="connsiteX274" fmla="*/ 3084957 w 6436611"/>
              <a:gd name="connsiteY274" fmla="*/ 4026410 h 4419155"/>
              <a:gd name="connsiteX275" fmla="*/ 3087018 w 6436611"/>
              <a:gd name="connsiteY275" fmla="*/ 4030921 h 4419155"/>
              <a:gd name="connsiteX276" fmla="*/ 3084957 w 6436611"/>
              <a:gd name="connsiteY276" fmla="*/ 4037691 h 4419155"/>
              <a:gd name="connsiteX277" fmla="*/ 3089077 w 6436611"/>
              <a:gd name="connsiteY277" fmla="*/ 4035434 h 4419155"/>
              <a:gd name="connsiteX278" fmla="*/ 3095259 w 6436611"/>
              <a:gd name="connsiteY278" fmla="*/ 4044457 h 4419155"/>
              <a:gd name="connsiteX279" fmla="*/ 3097317 w 6436611"/>
              <a:gd name="connsiteY279" fmla="*/ 4046714 h 4419155"/>
              <a:gd name="connsiteX280" fmla="*/ 3101438 w 6436611"/>
              <a:gd name="connsiteY280" fmla="*/ 4080552 h 4419155"/>
              <a:gd name="connsiteX281" fmla="*/ 3097317 w 6436611"/>
              <a:gd name="connsiteY281" fmla="*/ 4080552 h 4419155"/>
              <a:gd name="connsiteX282" fmla="*/ 3097317 w 6436611"/>
              <a:gd name="connsiteY282" fmla="*/ 4078295 h 4419155"/>
              <a:gd name="connsiteX283" fmla="*/ 3101438 w 6436611"/>
              <a:gd name="connsiteY283" fmla="*/ 4078295 h 4419155"/>
              <a:gd name="connsiteX284" fmla="*/ 3101438 w 6436611"/>
              <a:gd name="connsiteY284" fmla="*/ 4080552 h 4419155"/>
              <a:gd name="connsiteX285" fmla="*/ 3187959 w 6436611"/>
              <a:gd name="connsiteY285" fmla="*/ 3954220 h 4419155"/>
              <a:gd name="connsiteX286" fmla="*/ 3181777 w 6436611"/>
              <a:gd name="connsiteY286" fmla="*/ 3956477 h 4419155"/>
              <a:gd name="connsiteX287" fmla="*/ 3181777 w 6436611"/>
              <a:gd name="connsiteY287" fmla="*/ 3954220 h 4419155"/>
              <a:gd name="connsiteX288" fmla="*/ 3187959 w 6436611"/>
              <a:gd name="connsiteY288" fmla="*/ 3951965 h 4419155"/>
              <a:gd name="connsiteX289" fmla="*/ 3187959 w 6436611"/>
              <a:gd name="connsiteY289" fmla="*/ 3954220 h 4419155"/>
              <a:gd name="connsiteX290" fmla="*/ 3190018 w 6436611"/>
              <a:gd name="connsiteY290" fmla="*/ 3920382 h 4419155"/>
              <a:gd name="connsiteX291" fmla="*/ 3185898 w 6436611"/>
              <a:gd name="connsiteY291" fmla="*/ 3922640 h 4419155"/>
              <a:gd name="connsiteX292" fmla="*/ 3185898 w 6436611"/>
              <a:gd name="connsiteY292" fmla="*/ 3918128 h 4419155"/>
              <a:gd name="connsiteX293" fmla="*/ 3190018 w 6436611"/>
              <a:gd name="connsiteY293" fmla="*/ 3920382 h 4419155"/>
              <a:gd name="connsiteX294" fmla="*/ 3235339 w 6436611"/>
              <a:gd name="connsiteY294" fmla="*/ 4089576 h 4419155"/>
              <a:gd name="connsiteX295" fmla="*/ 3232259 w 6436611"/>
              <a:gd name="connsiteY295" fmla="*/ 4086203 h 4419155"/>
              <a:gd name="connsiteX296" fmla="*/ 3231219 w 6436611"/>
              <a:gd name="connsiteY296" fmla="*/ 4087318 h 4419155"/>
              <a:gd name="connsiteX297" fmla="*/ 3231219 w 6436611"/>
              <a:gd name="connsiteY297" fmla="*/ 4088447 h 4419155"/>
              <a:gd name="connsiteX298" fmla="*/ 3245638 w 6436611"/>
              <a:gd name="connsiteY298" fmla="*/ 4103111 h 4419155"/>
              <a:gd name="connsiteX299" fmla="*/ 3241084 w 6436611"/>
              <a:gd name="connsiteY299" fmla="*/ 4094799 h 4419155"/>
              <a:gd name="connsiteX300" fmla="*/ 3239459 w 6436611"/>
              <a:gd name="connsiteY300" fmla="*/ 4097470 h 4419155"/>
              <a:gd name="connsiteX301" fmla="*/ 3239459 w 6436611"/>
              <a:gd name="connsiteY301" fmla="*/ 4101983 h 4419155"/>
              <a:gd name="connsiteX302" fmla="*/ 3241518 w 6436611"/>
              <a:gd name="connsiteY302" fmla="*/ 4103111 h 4419155"/>
              <a:gd name="connsiteX303" fmla="*/ 3239459 w 6436611"/>
              <a:gd name="connsiteY303" fmla="*/ 4104464 h 4419155"/>
              <a:gd name="connsiteX304" fmla="*/ 3239459 w 6436611"/>
              <a:gd name="connsiteY304" fmla="*/ 4105365 h 4419155"/>
              <a:gd name="connsiteX305" fmla="*/ 3245638 w 6436611"/>
              <a:gd name="connsiteY305" fmla="*/ 4103111 h 4419155"/>
              <a:gd name="connsiteX306" fmla="*/ 3284239 w 6436611"/>
              <a:gd name="connsiteY306" fmla="*/ 3898060 h 4419155"/>
              <a:gd name="connsiteX307" fmla="*/ 3274479 w 6436611"/>
              <a:gd name="connsiteY307" fmla="*/ 3902335 h 4419155"/>
              <a:gd name="connsiteX308" fmla="*/ 3272420 w 6436611"/>
              <a:gd name="connsiteY308" fmla="*/ 3904589 h 4419155"/>
              <a:gd name="connsiteX309" fmla="*/ 3268300 w 6436611"/>
              <a:gd name="connsiteY309" fmla="*/ 3913616 h 4419155"/>
              <a:gd name="connsiteX310" fmla="*/ 3270359 w 6436611"/>
              <a:gd name="connsiteY310" fmla="*/ 3911359 h 4419155"/>
              <a:gd name="connsiteX311" fmla="*/ 3286836 w 6436611"/>
              <a:gd name="connsiteY311" fmla="*/ 3895572 h 4419155"/>
              <a:gd name="connsiteX312" fmla="*/ 3284239 w 6436611"/>
              <a:gd name="connsiteY312" fmla="*/ 3898060 h 4419155"/>
              <a:gd name="connsiteX313" fmla="*/ 3284780 w 6436611"/>
              <a:gd name="connsiteY313" fmla="*/ 3897823 h 4419155"/>
              <a:gd name="connsiteX314" fmla="*/ 3286839 w 6436611"/>
              <a:gd name="connsiteY314" fmla="*/ 3895569 h 4419155"/>
              <a:gd name="connsiteX315" fmla="*/ 3286839 w 6436611"/>
              <a:gd name="connsiteY315" fmla="*/ 3895567 h 4419155"/>
              <a:gd name="connsiteX316" fmla="*/ 3286836 w 6436611"/>
              <a:gd name="connsiteY316" fmla="*/ 3895572 h 4419155"/>
              <a:gd name="connsiteX317" fmla="*/ 3356880 w 6436611"/>
              <a:gd name="connsiteY317" fmla="*/ 3870752 h 4419155"/>
              <a:gd name="connsiteX318" fmla="*/ 3354819 w 6436611"/>
              <a:gd name="connsiteY318" fmla="*/ 3875264 h 4419155"/>
              <a:gd name="connsiteX319" fmla="*/ 3352760 w 6436611"/>
              <a:gd name="connsiteY319" fmla="*/ 3877521 h 4419155"/>
              <a:gd name="connsiteX320" fmla="*/ 3350701 w 6436611"/>
              <a:gd name="connsiteY320" fmla="*/ 3875264 h 4419155"/>
              <a:gd name="connsiteX321" fmla="*/ 3356880 w 6436611"/>
              <a:gd name="connsiteY321" fmla="*/ 3870752 h 4419155"/>
              <a:gd name="connsiteX322" fmla="*/ 3363059 w 6436611"/>
              <a:gd name="connsiteY322" fmla="*/ 3900080 h 4419155"/>
              <a:gd name="connsiteX323" fmla="*/ 3358939 w 6436611"/>
              <a:gd name="connsiteY323" fmla="*/ 3902335 h 4419155"/>
              <a:gd name="connsiteX324" fmla="*/ 3361000 w 6436611"/>
              <a:gd name="connsiteY324" fmla="*/ 3900080 h 4419155"/>
              <a:gd name="connsiteX325" fmla="*/ 3363059 w 6436611"/>
              <a:gd name="connsiteY325" fmla="*/ 3900080 h 4419155"/>
              <a:gd name="connsiteX326" fmla="*/ 3466062 w 6436611"/>
              <a:gd name="connsiteY326" fmla="*/ 3891057 h 4419155"/>
              <a:gd name="connsiteX327" fmla="*/ 3447519 w 6436611"/>
              <a:gd name="connsiteY327" fmla="*/ 3900080 h 4419155"/>
              <a:gd name="connsiteX328" fmla="*/ 3449582 w 6436611"/>
              <a:gd name="connsiteY328" fmla="*/ 3895569 h 4419155"/>
              <a:gd name="connsiteX329" fmla="*/ 3443403 w 6436611"/>
              <a:gd name="connsiteY329" fmla="*/ 3897823 h 4419155"/>
              <a:gd name="connsiteX330" fmla="*/ 3439282 w 6436611"/>
              <a:gd name="connsiteY330" fmla="*/ 3893312 h 4419155"/>
              <a:gd name="connsiteX331" fmla="*/ 3439282 w 6436611"/>
              <a:gd name="connsiteY331" fmla="*/ 3888799 h 4419155"/>
              <a:gd name="connsiteX332" fmla="*/ 3449582 w 6436611"/>
              <a:gd name="connsiteY332" fmla="*/ 3884287 h 4419155"/>
              <a:gd name="connsiteX333" fmla="*/ 3453702 w 6436611"/>
              <a:gd name="connsiteY333" fmla="*/ 3882033 h 4419155"/>
              <a:gd name="connsiteX334" fmla="*/ 3466062 w 6436611"/>
              <a:gd name="connsiteY334" fmla="*/ 3891057 h 4419155"/>
              <a:gd name="connsiteX335" fmla="*/ 3474301 w 6436611"/>
              <a:gd name="connsiteY335" fmla="*/ 4033179 h 4419155"/>
              <a:gd name="connsiteX336" fmla="*/ 3461942 w 6436611"/>
              <a:gd name="connsiteY336" fmla="*/ 4057993 h 4419155"/>
              <a:gd name="connsiteX337" fmla="*/ 3474301 w 6436611"/>
              <a:gd name="connsiteY337" fmla="*/ 4033179 h 4419155"/>
              <a:gd name="connsiteX338" fmla="*/ 3478423 w 6436611"/>
              <a:gd name="connsiteY338" fmla="*/ 4177555 h 4419155"/>
              <a:gd name="connsiteX339" fmla="*/ 3472241 w 6436611"/>
              <a:gd name="connsiteY339" fmla="*/ 4193349 h 4419155"/>
              <a:gd name="connsiteX340" fmla="*/ 3478423 w 6436611"/>
              <a:gd name="connsiteY340" fmla="*/ 4177555 h 4419155"/>
              <a:gd name="connsiteX341" fmla="*/ 3536103 w 6436611"/>
              <a:gd name="connsiteY341" fmla="*/ 4301630 h 4419155"/>
              <a:gd name="connsiteX342" fmla="*/ 3529922 w 6436611"/>
              <a:gd name="connsiteY342" fmla="*/ 4317420 h 4419155"/>
              <a:gd name="connsiteX343" fmla="*/ 3536103 w 6436611"/>
              <a:gd name="connsiteY343" fmla="*/ 4301630 h 4419155"/>
              <a:gd name="connsiteX344" fmla="*/ 3552581 w 6436611"/>
              <a:gd name="connsiteY344" fmla="*/ 4012874 h 4419155"/>
              <a:gd name="connsiteX345" fmla="*/ 3550522 w 6436611"/>
              <a:gd name="connsiteY345" fmla="*/ 4028664 h 4419155"/>
              <a:gd name="connsiteX346" fmla="*/ 3531983 w 6436611"/>
              <a:gd name="connsiteY346" fmla="*/ 4057993 h 4419155"/>
              <a:gd name="connsiteX347" fmla="*/ 3523740 w 6436611"/>
              <a:gd name="connsiteY347" fmla="*/ 4064761 h 4419155"/>
              <a:gd name="connsiteX348" fmla="*/ 3529922 w 6436611"/>
              <a:gd name="connsiteY348" fmla="*/ 4060247 h 4419155"/>
              <a:gd name="connsiteX349" fmla="*/ 3519621 w 6436611"/>
              <a:gd name="connsiteY349" fmla="*/ 4073783 h 4419155"/>
              <a:gd name="connsiteX350" fmla="*/ 3515503 w 6436611"/>
              <a:gd name="connsiteY350" fmla="*/ 4073783 h 4419155"/>
              <a:gd name="connsiteX351" fmla="*/ 3517562 w 6436611"/>
              <a:gd name="connsiteY351" fmla="*/ 4060247 h 4419155"/>
              <a:gd name="connsiteX352" fmla="*/ 3525801 w 6436611"/>
              <a:gd name="connsiteY352" fmla="*/ 4037691 h 4419155"/>
              <a:gd name="connsiteX353" fmla="*/ 3525801 w 6436611"/>
              <a:gd name="connsiteY353" fmla="*/ 4033179 h 4419155"/>
              <a:gd name="connsiteX354" fmla="*/ 3542282 w 6436611"/>
              <a:gd name="connsiteY354" fmla="*/ 4010619 h 4419155"/>
              <a:gd name="connsiteX355" fmla="*/ 3552581 w 6436611"/>
              <a:gd name="connsiteY355" fmla="*/ 4012874 h 4419155"/>
              <a:gd name="connsiteX356" fmla="*/ 3579363 w 6436611"/>
              <a:gd name="connsiteY356" fmla="*/ 4324190 h 4419155"/>
              <a:gd name="connsiteX357" fmla="*/ 3573181 w 6436611"/>
              <a:gd name="connsiteY357" fmla="*/ 4326444 h 4419155"/>
              <a:gd name="connsiteX358" fmla="*/ 3567003 w 6436611"/>
              <a:gd name="connsiteY358" fmla="*/ 4339979 h 4419155"/>
              <a:gd name="connsiteX359" fmla="*/ 3579363 w 6436611"/>
              <a:gd name="connsiteY359" fmla="*/ 4324190 h 4419155"/>
              <a:gd name="connsiteX360" fmla="*/ 3614383 w 6436611"/>
              <a:gd name="connsiteY360" fmla="*/ 4136949 h 4419155"/>
              <a:gd name="connsiteX361" fmla="*/ 3608203 w 6436611"/>
              <a:gd name="connsiteY361" fmla="*/ 4152739 h 4419155"/>
              <a:gd name="connsiteX362" fmla="*/ 3577302 w 6436611"/>
              <a:gd name="connsiteY362" fmla="*/ 4197857 h 4419155"/>
              <a:gd name="connsiteX363" fmla="*/ 3573181 w 6436611"/>
              <a:gd name="connsiteY363" fmla="*/ 4197857 h 4419155"/>
              <a:gd name="connsiteX364" fmla="*/ 3575243 w 6436611"/>
              <a:gd name="connsiteY364" fmla="*/ 4184322 h 4419155"/>
              <a:gd name="connsiteX365" fmla="*/ 3579363 w 6436611"/>
              <a:gd name="connsiteY365" fmla="*/ 4175298 h 4419155"/>
              <a:gd name="connsiteX366" fmla="*/ 3581422 w 6436611"/>
              <a:gd name="connsiteY366" fmla="*/ 4177555 h 4419155"/>
              <a:gd name="connsiteX367" fmla="*/ 3589662 w 6436611"/>
              <a:gd name="connsiteY367" fmla="*/ 4166277 h 4419155"/>
              <a:gd name="connsiteX368" fmla="*/ 3587603 w 6436611"/>
              <a:gd name="connsiteY368" fmla="*/ 4164020 h 4419155"/>
              <a:gd name="connsiteX369" fmla="*/ 3583483 w 6436611"/>
              <a:gd name="connsiteY369" fmla="*/ 4170789 h 4419155"/>
              <a:gd name="connsiteX370" fmla="*/ 3585542 w 6436611"/>
              <a:gd name="connsiteY370" fmla="*/ 4161762 h 4419155"/>
              <a:gd name="connsiteX371" fmla="*/ 3604084 w 6436611"/>
              <a:gd name="connsiteY371" fmla="*/ 4134694 h 4419155"/>
              <a:gd name="connsiteX372" fmla="*/ 3614383 w 6436611"/>
              <a:gd name="connsiteY372" fmla="*/ 4136949 h 4419155"/>
              <a:gd name="connsiteX373" fmla="*/ 3639103 w 6436611"/>
              <a:gd name="connsiteY373" fmla="*/ 4252000 h 4419155"/>
              <a:gd name="connsiteX374" fmla="*/ 3634983 w 6436611"/>
              <a:gd name="connsiteY374" fmla="*/ 4265535 h 4419155"/>
              <a:gd name="connsiteX375" fmla="*/ 3639103 w 6436611"/>
              <a:gd name="connsiteY375" fmla="*/ 4252000 h 4419155"/>
              <a:gd name="connsiteX376" fmla="*/ 3641162 w 6436611"/>
              <a:gd name="connsiteY376" fmla="*/ 4098599 h 4419155"/>
              <a:gd name="connsiteX377" fmla="*/ 3639103 w 6436611"/>
              <a:gd name="connsiteY377" fmla="*/ 4103111 h 4419155"/>
              <a:gd name="connsiteX378" fmla="*/ 3637042 w 6436611"/>
              <a:gd name="connsiteY378" fmla="*/ 4103111 h 4419155"/>
              <a:gd name="connsiteX379" fmla="*/ 3641162 w 6436611"/>
              <a:gd name="connsiteY379" fmla="*/ 4098599 h 4419155"/>
              <a:gd name="connsiteX380" fmla="*/ 3651464 w 6436611"/>
              <a:gd name="connsiteY380" fmla="*/ 4209138 h 4419155"/>
              <a:gd name="connsiteX381" fmla="*/ 3647344 w 6436611"/>
              <a:gd name="connsiteY381" fmla="*/ 4209138 h 4419155"/>
              <a:gd name="connsiteX382" fmla="*/ 3647344 w 6436611"/>
              <a:gd name="connsiteY382" fmla="*/ 4213651 h 4419155"/>
              <a:gd name="connsiteX383" fmla="*/ 3651464 w 6436611"/>
              <a:gd name="connsiteY383" fmla="*/ 4209138 h 4419155"/>
              <a:gd name="connsiteX384" fmla="*/ 3653522 w 6436611"/>
              <a:gd name="connsiteY384" fmla="*/ 4114390 h 4419155"/>
              <a:gd name="connsiteX385" fmla="*/ 3639103 w 6436611"/>
              <a:gd name="connsiteY385" fmla="*/ 4130180 h 4419155"/>
              <a:gd name="connsiteX386" fmla="*/ 3653522 w 6436611"/>
              <a:gd name="connsiteY386" fmla="*/ 4114390 h 4419155"/>
              <a:gd name="connsiteX387" fmla="*/ 3653522 w 6436611"/>
              <a:gd name="connsiteY387" fmla="*/ 4234328 h 4419155"/>
              <a:gd name="connsiteX388" fmla="*/ 3653069 w 6436611"/>
              <a:gd name="connsiteY388" fmla="*/ 4234246 h 4419155"/>
              <a:gd name="connsiteX389" fmla="*/ 3648631 w 6436611"/>
              <a:gd name="connsiteY389" fmla="*/ 4238747 h 4419155"/>
              <a:gd name="connsiteX390" fmla="*/ 3643223 w 6436611"/>
              <a:gd name="connsiteY390" fmla="*/ 4247487 h 4419155"/>
              <a:gd name="connsiteX391" fmla="*/ 3762703 w 6436611"/>
              <a:gd name="connsiteY391" fmla="*/ 4082806 h 4419155"/>
              <a:gd name="connsiteX392" fmla="*/ 3742106 w 6436611"/>
              <a:gd name="connsiteY392" fmla="*/ 4103111 h 4419155"/>
              <a:gd name="connsiteX393" fmla="*/ 3737983 w 6436611"/>
              <a:gd name="connsiteY393" fmla="*/ 4107623 h 4419155"/>
              <a:gd name="connsiteX394" fmla="*/ 3725622 w 6436611"/>
              <a:gd name="connsiteY394" fmla="*/ 4123413 h 4419155"/>
              <a:gd name="connsiteX395" fmla="*/ 3748285 w 6436611"/>
              <a:gd name="connsiteY395" fmla="*/ 4087318 h 4419155"/>
              <a:gd name="connsiteX396" fmla="*/ 3762703 w 6436611"/>
              <a:gd name="connsiteY396" fmla="*/ 4082806 h 4419155"/>
              <a:gd name="connsiteX397" fmla="*/ 3779183 w 6436611"/>
              <a:gd name="connsiteY397" fmla="*/ 4051223 h 4419155"/>
              <a:gd name="connsiteX398" fmla="*/ 3775064 w 6436611"/>
              <a:gd name="connsiteY398" fmla="*/ 4057993 h 4419155"/>
              <a:gd name="connsiteX399" fmla="*/ 3777122 w 6436611"/>
              <a:gd name="connsiteY399" fmla="*/ 4048968 h 4419155"/>
              <a:gd name="connsiteX400" fmla="*/ 3779183 w 6436611"/>
              <a:gd name="connsiteY400" fmla="*/ 4051223 h 4419155"/>
              <a:gd name="connsiteX401" fmla="*/ 4065527 w 6436611"/>
              <a:gd name="connsiteY401" fmla="*/ 3967758 h 4419155"/>
              <a:gd name="connsiteX402" fmla="*/ 3981066 w 6436611"/>
              <a:gd name="connsiteY402" fmla="*/ 4017386 h 4419155"/>
              <a:gd name="connsiteX403" fmla="*/ 4065527 w 6436611"/>
              <a:gd name="connsiteY403" fmla="*/ 3967758 h 4419155"/>
              <a:gd name="connsiteX404" fmla="*/ 5171757 w 6436611"/>
              <a:gd name="connsiteY404" fmla="*/ 3006744 h 4419155"/>
              <a:gd name="connsiteX405" fmla="*/ 5159397 w 6436611"/>
              <a:gd name="connsiteY405" fmla="*/ 3011256 h 4419155"/>
              <a:gd name="connsiteX406" fmla="*/ 5159397 w 6436611"/>
              <a:gd name="connsiteY406" fmla="*/ 3008998 h 4419155"/>
              <a:gd name="connsiteX407" fmla="*/ 5151157 w 6436611"/>
              <a:gd name="connsiteY407" fmla="*/ 3006744 h 4419155"/>
              <a:gd name="connsiteX408" fmla="*/ 5165579 w 6436611"/>
              <a:gd name="connsiteY408" fmla="*/ 3004489 h 4419155"/>
              <a:gd name="connsiteX409" fmla="*/ 5171757 w 6436611"/>
              <a:gd name="connsiteY409" fmla="*/ 3006744 h 4419155"/>
              <a:gd name="connsiteX410" fmla="*/ 5196477 w 6436611"/>
              <a:gd name="connsiteY410" fmla="*/ 2975160 h 4419155"/>
              <a:gd name="connsiteX411" fmla="*/ 5194418 w 6436611"/>
              <a:gd name="connsiteY411" fmla="*/ 2977418 h 4419155"/>
              <a:gd name="connsiteX412" fmla="*/ 5190299 w 6436611"/>
              <a:gd name="connsiteY412" fmla="*/ 2977418 h 4419155"/>
              <a:gd name="connsiteX413" fmla="*/ 5182056 w 6436611"/>
              <a:gd name="connsiteY413" fmla="*/ 2986440 h 4419155"/>
              <a:gd name="connsiteX414" fmla="*/ 5171757 w 6436611"/>
              <a:gd name="connsiteY414" fmla="*/ 2993208 h 4419155"/>
              <a:gd name="connsiteX415" fmla="*/ 5171757 w 6436611"/>
              <a:gd name="connsiteY415" fmla="*/ 2979672 h 4419155"/>
              <a:gd name="connsiteX416" fmla="*/ 5173818 w 6436611"/>
              <a:gd name="connsiteY416" fmla="*/ 2977418 h 4419155"/>
              <a:gd name="connsiteX417" fmla="*/ 5192357 w 6436611"/>
              <a:gd name="connsiteY417" fmla="*/ 2968394 h 4419155"/>
              <a:gd name="connsiteX418" fmla="*/ 5196477 w 6436611"/>
              <a:gd name="connsiteY418" fmla="*/ 2968394 h 4419155"/>
              <a:gd name="connsiteX419" fmla="*/ 5188238 w 6436611"/>
              <a:gd name="connsiteY419" fmla="*/ 2972904 h 4419155"/>
              <a:gd name="connsiteX420" fmla="*/ 5196477 w 6436611"/>
              <a:gd name="connsiteY420" fmla="*/ 2975160 h 4419155"/>
              <a:gd name="connsiteX421" fmla="*/ 5466341 w 6436611"/>
              <a:gd name="connsiteY421" fmla="*/ 2717988 h 4419155"/>
              <a:gd name="connsiteX422" fmla="*/ 5458098 w 6436611"/>
              <a:gd name="connsiteY422" fmla="*/ 2720245 h 4419155"/>
              <a:gd name="connsiteX423" fmla="*/ 5458100 w 6436611"/>
              <a:gd name="connsiteY423" fmla="*/ 2720245 h 4419155"/>
              <a:gd name="connsiteX424" fmla="*/ 5466341 w 6436611"/>
              <a:gd name="connsiteY424" fmla="*/ 2717988 h 4419155"/>
              <a:gd name="connsiteX425" fmla="*/ 5472521 w 6436611"/>
              <a:gd name="connsiteY425" fmla="*/ 2742804 h 4419155"/>
              <a:gd name="connsiteX426" fmla="*/ 5464282 w 6436611"/>
              <a:gd name="connsiteY426" fmla="*/ 2745058 h 4419155"/>
              <a:gd name="connsiteX427" fmla="*/ 5462220 w 6436611"/>
              <a:gd name="connsiteY427" fmla="*/ 2747316 h 4419155"/>
              <a:gd name="connsiteX428" fmla="*/ 5468402 w 6436611"/>
              <a:gd name="connsiteY428" fmla="*/ 2738292 h 4419155"/>
              <a:gd name="connsiteX429" fmla="*/ 5472521 w 6436611"/>
              <a:gd name="connsiteY429" fmla="*/ 2742804 h 4419155"/>
              <a:gd name="connsiteX430" fmla="*/ 5476639 w 6436611"/>
              <a:gd name="connsiteY430" fmla="*/ 2751828 h 4419155"/>
              <a:gd name="connsiteX431" fmla="*/ 5468402 w 6436611"/>
              <a:gd name="connsiteY431" fmla="*/ 2754082 h 4419155"/>
              <a:gd name="connsiteX432" fmla="*/ 5460159 w 6436611"/>
              <a:gd name="connsiteY432" fmla="*/ 2754082 h 4419155"/>
              <a:gd name="connsiteX433" fmla="*/ 5474580 w 6436611"/>
              <a:gd name="connsiteY433" fmla="*/ 2747316 h 4419155"/>
              <a:gd name="connsiteX434" fmla="*/ 5476639 w 6436611"/>
              <a:gd name="connsiteY434" fmla="*/ 2751828 h 4419155"/>
              <a:gd name="connsiteX435" fmla="*/ 5497239 w 6436611"/>
              <a:gd name="connsiteY435" fmla="*/ 2871388 h 4419155"/>
              <a:gd name="connsiteX436" fmla="*/ 5497239 w 6436611"/>
              <a:gd name="connsiteY436" fmla="*/ 2869133 h 4419155"/>
              <a:gd name="connsiteX437" fmla="*/ 5486941 w 6436611"/>
              <a:gd name="connsiteY437" fmla="*/ 2871388 h 4419155"/>
              <a:gd name="connsiteX438" fmla="*/ 5486941 w 6436611"/>
              <a:gd name="connsiteY438" fmla="*/ 2878158 h 4419155"/>
              <a:gd name="connsiteX439" fmla="*/ 5497239 w 6436611"/>
              <a:gd name="connsiteY439" fmla="*/ 2871388 h 4419155"/>
              <a:gd name="connsiteX440" fmla="*/ 5513720 w 6436611"/>
              <a:gd name="connsiteY440" fmla="*/ 2887180 h 4419155"/>
              <a:gd name="connsiteX441" fmla="*/ 5482821 w 6436611"/>
              <a:gd name="connsiteY441" fmla="*/ 2896205 h 4419155"/>
              <a:gd name="connsiteX442" fmla="*/ 5425139 w 6436611"/>
              <a:gd name="connsiteY442" fmla="*/ 2907482 h 4419155"/>
              <a:gd name="connsiteX443" fmla="*/ 5404539 w 6436611"/>
              <a:gd name="connsiteY443" fmla="*/ 2911994 h 4419155"/>
              <a:gd name="connsiteX444" fmla="*/ 5396298 w 6436611"/>
              <a:gd name="connsiteY444" fmla="*/ 2916507 h 4419155"/>
              <a:gd name="connsiteX445" fmla="*/ 5369519 w 6436611"/>
              <a:gd name="connsiteY445" fmla="*/ 2934554 h 4419155"/>
              <a:gd name="connsiteX446" fmla="*/ 5367457 w 6436611"/>
              <a:gd name="connsiteY446" fmla="*/ 2936811 h 4419155"/>
              <a:gd name="connsiteX447" fmla="*/ 5371578 w 6436611"/>
              <a:gd name="connsiteY447" fmla="*/ 2943578 h 4419155"/>
              <a:gd name="connsiteX448" fmla="*/ 5365399 w 6436611"/>
              <a:gd name="connsiteY448" fmla="*/ 2948090 h 4419155"/>
              <a:gd name="connsiteX449" fmla="*/ 5350980 w 6436611"/>
              <a:gd name="connsiteY449" fmla="*/ 2950347 h 4419155"/>
              <a:gd name="connsiteX450" fmla="*/ 5344798 w 6436611"/>
              <a:gd name="connsiteY450" fmla="*/ 2950347 h 4419155"/>
              <a:gd name="connsiteX451" fmla="*/ 5346860 w 6436611"/>
              <a:gd name="connsiteY451" fmla="*/ 2943578 h 4419155"/>
              <a:gd name="connsiteX452" fmla="*/ 5330380 w 6436611"/>
              <a:gd name="connsiteY452" fmla="*/ 2945836 h 4419155"/>
              <a:gd name="connsiteX453" fmla="*/ 5266520 w 6436611"/>
              <a:gd name="connsiteY453" fmla="*/ 2968394 h 4419155"/>
              <a:gd name="connsiteX454" fmla="*/ 5264458 w 6436611"/>
              <a:gd name="connsiteY454" fmla="*/ 2968394 h 4419155"/>
              <a:gd name="connsiteX455" fmla="*/ 5241799 w 6436611"/>
              <a:gd name="connsiteY455" fmla="*/ 2972904 h 4419155"/>
              <a:gd name="connsiteX456" fmla="*/ 5196477 w 6436611"/>
              <a:gd name="connsiteY456" fmla="*/ 2981930 h 4419155"/>
              <a:gd name="connsiteX457" fmla="*/ 5221198 w 6436611"/>
              <a:gd name="connsiteY457" fmla="*/ 2972904 h 4419155"/>
              <a:gd name="connsiteX458" fmla="*/ 5221198 w 6436611"/>
              <a:gd name="connsiteY458" fmla="*/ 2970649 h 4419155"/>
              <a:gd name="connsiteX459" fmla="*/ 5208838 w 6436611"/>
              <a:gd name="connsiteY459" fmla="*/ 2970649 h 4419155"/>
              <a:gd name="connsiteX460" fmla="*/ 5208838 w 6436611"/>
              <a:gd name="connsiteY460" fmla="*/ 2968394 h 4419155"/>
              <a:gd name="connsiteX461" fmla="*/ 5210897 w 6436611"/>
              <a:gd name="connsiteY461" fmla="*/ 2963883 h 4419155"/>
              <a:gd name="connsiteX462" fmla="*/ 5210897 w 6436611"/>
              <a:gd name="connsiteY462" fmla="*/ 2961625 h 4419155"/>
              <a:gd name="connsiteX463" fmla="*/ 5239738 w 6436611"/>
              <a:gd name="connsiteY463" fmla="*/ 2954858 h 4419155"/>
              <a:gd name="connsiteX464" fmla="*/ 5311838 w 6436611"/>
              <a:gd name="connsiteY464" fmla="*/ 2939066 h 4419155"/>
              <a:gd name="connsiteX465" fmla="*/ 5348918 w 6436611"/>
              <a:gd name="connsiteY465" fmla="*/ 2932300 h 4419155"/>
              <a:gd name="connsiteX466" fmla="*/ 5383938 w 6436611"/>
              <a:gd name="connsiteY466" fmla="*/ 2923276 h 4419155"/>
              <a:gd name="connsiteX467" fmla="*/ 5392178 w 6436611"/>
              <a:gd name="connsiteY467" fmla="*/ 2918764 h 4419155"/>
              <a:gd name="connsiteX468" fmla="*/ 5383938 w 6436611"/>
              <a:gd name="connsiteY468" fmla="*/ 2916507 h 4419155"/>
              <a:gd name="connsiteX469" fmla="*/ 5353039 w 6436611"/>
              <a:gd name="connsiteY469" fmla="*/ 2923276 h 4419155"/>
              <a:gd name="connsiteX470" fmla="*/ 5260338 w 6436611"/>
              <a:gd name="connsiteY470" fmla="*/ 2943578 h 4419155"/>
              <a:gd name="connsiteX471" fmla="*/ 5254157 w 6436611"/>
              <a:gd name="connsiteY471" fmla="*/ 2943578 h 4419155"/>
              <a:gd name="connsiteX472" fmla="*/ 5274757 w 6436611"/>
              <a:gd name="connsiteY472" fmla="*/ 2934554 h 4419155"/>
              <a:gd name="connsiteX473" fmla="*/ 5295357 w 6436611"/>
              <a:gd name="connsiteY473" fmla="*/ 2930042 h 4419155"/>
              <a:gd name="connsiteX474" fmla="*/ 5315957 w 6436611"/>
              <a:gd name="connsiteY474" fmla="*/ 2925530 h 4419155"/>
              <a:gd name="connsiteX475" fmla="*/ 5338620 w 6436611"/>
              <a:gd name="connsiteY475" fmla="*/ 2921018 h 4419155"/>
              <a:gd name="connsiteX476" fmla="*/ 5359220 w 6436611"/>
              <a:gd name="connsiteY476" fmla="*/ 2916507 h 4419155"/>
              <a:gd name="connsiteX477" fmla="*/ 5379821 w 6436611"/>
              <a:gd name="connsiteY477" fmla="*/ 2911994 h 4419155"/>
              <a:gd name="connsiteX478" fmla="*/ 5377759 w 6436611"/>
              <a:gd name="connsiteY478" fmla="*/ 2905228 h 4419155"/>
              <a:gd name="connsiteX479" fmla="*/ 5423080 w 6436611"/>
              <a:gd name="connsiteY479" fmla="*/ 2896205 h 4419155"/>
              <a:gd name="connsiteX480" fmla="*/ 5423080 w 6436611"/>
              <a:gd name="connsiteY480" fmla="*/ 2898460 h 4419155"/>
              <a:gd name="connsiteX481" fmla="*/ 5418960 w 6436611"/>
              <a:gd name="connsiteY481" fmla="*/ 2900716 h 4419155"/>
              <a:gd name="connsiteX482" fmla="*/ 5423080 w 6436611"/>
              <a:gd name="connsiteY482" fmla="*/ 2902971 h 4419155"/>
              <a:gd name="connsiteX483" fmla="*/ 5480759 w 6436611"/>
              <a:gd name="connsiteY483" fmla="*/ 2891692 h 4419155"/>
              <a:gd name="connsiteX484" fmla="*/ 5511661 w 6436611"/>
              <a:gd name="connsiteY484" fmla="*/ 2887180 h 4419155"/>
              <a:gd name="connsiteX485" fmla="*/ 5513720 w 6436611"/>
              <a:gd name="connsiteY485" fmla="*/ 2887180 h 4419155"/>
              <a:gd name="connsiteX486" fmla="*/ 5532262 w 6436611"/>
              <a:gd name="connsiteY486" fmla="*/ 2812736 h 4419155"/>
              <a:gd name="connsiteX487" fmla="*/ 5526080 w 6436611"/>
              <a:gd name="connsiteY487" fmla="*/ 2810480 h 4419155"/>
              <a:gd name="connsiteX488" fmla="*/ 5526080 w 6436611"/>
              <a:gd name="connsiteY488" fmla="*/ 2796944 h 4419155"/>
              <a:gd name="connsiteX489" fmla="*/ 5532262 w 6436611"/>
              <a:gd name="connsiteY489" fmla="*/ 2812736 h 4419155"/>
              <a:gd name="connsiteX490" fmla="*/ 5540502 w 6436611"/>
              <a:gd name="connsiteY490" fmla="*/ 2751828 h 4419155"/>
              <a:gd name="connsiteX491" fmla="*/ 5530200 w 6436611"/>
              <a:gd name="connsiteY491" fmla="*/ 2754082 h 4419155"/>
              <a:gd name="connsiteX492" fmla="*/ 5538441 w 6436611"/>
              <a:gd name="connsiteY492" fmla="*/ 2747316 h 4419155"/>
              <a:gd name="connsiteX493" fmla="*/ 5540502 w 6436611"/>
              <a:gd name="connsiteY493" fmla="*/ 2747316 h 4419155"/>
              <a:gd name="connsiteX494" fmla="*/ 5540502 w 6436611"/>
              <a:gd name="connsiteY494" fmla="*/ 2751828 h 4419155"/>
              <a:gd name="connsiteX495" fmla="*/ 5556982 w 6436611"/>
              <a:gd name="connsiteY495" fmla="*/ 2866878 h 4419155"/>
              <a:gd name="connsiteX496" fmla="*/ 5536382 w 6436611"/>
              <a:gd name="connsiteY496" fmla="*/ 2875903 h 4419155"/>
              <a:gd name="connsiteX497" fmla="*/ 5526080 w 6436611"/>
              <a:gd name="connsiteY497" fmla="*/ 2878158 h 4419155"/>
              <a:gd name="connsiteX498" fmla="*/ 5517840 w 6436611"/>
              <a:gd name="connsiteY498" fmla="*/ 2878158 h 4419155"/>
              <a:gd name="connsiteX499" fmla="*/ 5546680 w 6436611"/>
              <a:gd name="connsiteY499" fmla="*/ 2869133 h 4419155"/>
              <a:gd name="connsiteX500" fmla="*/ 5556982 w 6436611"/>
              <a:gd name="connsiteY500" fmla="*/ 2866878 h 4419155"/>
              <a:gd name="connsiteX501" fmla="*/ 5569340 w 6436611"/>
              <a:gd name="connsiteY501" fmla="*/ 2643544 h 4419155"/>
              <a:gd name="connsiteX502" fmla="*/ 5561102 w 6436611"/>
              <a:gd name="connsiteY502" fmla="*/ 2645800 h 4419155"/>
              <a:gd name="connsiteX503" fmla="*/ 5559041 w 6436611"/>
              <a:gd name="connsiteY503" fmla="*/ 2645800 h 4419155"/>
              <a:gd name="connsiteX504" fmla="*/ 5569340 w 6436611"/>
              <a:gd name="connsiteY504" fmla="*/ 2643544 h 4419155"/>
              <a:gd name="connsiteX505" fmla="*/ 5569340 w 6436611"/>
              <a:gd name="connsiteY505" fmla="*/ 2729269 h 4419155"/>
              <a:gd name="connsiteX506" fmla="*/ 5540502 w 6436611"/>
              <a:gd name="connsiteY506" fmla="*/ 2740547 h 4419155"/>
              <a:gd name="connsiteX507" fmla="*/ 5538441 w 6436611"/>
              <a:gd name="connsiteY507" fmla="*/ 2740547 h 4419155"/>
              <a:gd name="connsiteX508" fmla="*/ 5536382 w 6436611"/>
              <a:gd name="connsiteY508" fmla="*/ 2733780 h 4419155"/>
              <a:gd name="connsiteX509" fmla="*/ 5550801 w 6436611"/>
              <a:gd name="connsiteY509" fmla="*/ 2729269 h 4419155"/>
              <a:gd name="connsiteX510" fmla="*/ 5569340 w 6436611"/>
              <a:gd name="connsiteY510" fmla="*/ 2729269 h 4419155"/>
              <a:gd name="connsiteX511" fmla="*/ 5589941 w 6436611"/>
              <a:gd name="connsiteY511" fmla="*/ 2936811 h 4419155"/>
              <a:gd name="connsiteX512" fmla="*/ 5587588 w 6436611"/>
              <a:gd name="connsiteY512" fmla="*/ 2931656 h 4419155"/>
              <a:gd name="connsiteX513" fmla="*/ 5585823 w 6436611"/>
              <a:gd name="connsiteY513" fmla="*/ 2932300 h 4419155"/>
              <a:gd name="connsiteX514" fmla="*/ 5583762 w 6436611"/>
              <a:gd name="connsiteY514" fmla="*/ 2933426 h 4419155"/>
              <a:gd name="connsiteX515" fmla="*/ 5583762 w 6436611"/>
              <a:gd name="connsiteY515" fmla="*/ 2934554 h 4419155"/>
              <a:gd name="connsiteX516" fmla="*/ 5589941 w 6436611"/>
              <a:gd name="connsiteY516" fmla="*/ 2936811 h 4419155"/>
              <a:gd name="connsiteX517" fmla="*/ 5598180 w 6436611"/>
              <a:gd name="connsiteY517" fmla="*/ 2778898 h 4419155"/>
              <a:gd name="connsiteX518" fmla="*/ 5583762 w 6436611"/>
              <a:gd name="connsiteY518" fmla="*/ 2785666 h 4419155"/>
              <a:gd name="connsiteX519" fmla="*/ 5581700 w 6436611"/>
              <a:gd name="connsiteY519" fmla="*/ 2783408 h 4419155"/>
              <a:gd name="connsiteX520" fmla="*/ 5594060 w 6436611"/>
              <a:gd name="connsiteY520" fmla="*/ 2776642 h 4419155"/>
              <a:gd name="connsiteX521" fmla="*/ 5598180 w 6436611"/>
              <a:gd name="connsiteY521" fmla="*/ 2778898 h 4419155"/>
              <a:gd name="connsiteX522" fmla="*/ 5618781 w 6436611"/>
              <a:gd name="connsiteY522" fmla="*/ 2927788 h 4419155"/>
              <a:gd name="connsiteX523" fmla="*/ 5612602 w 6436611"/>
              <a:gd name="connsiteY523" fmla="*/ 2930042 h 4419155"/>
              <a:gd name="connsiteX524" fmla="*/ 5616723 w 6436611"/>
              <a:gd name="connsiteY524" fmla="*/ 2927788 h 4419155"/>
              <a:gd name="connsiteX525" fmla="*/ 5618781 w 6436611"/>
              <a:gd name="connsiteY525" fmla="*/ 2927788 h 4419155"/>
              <a:gd name="connsiteX526" fmla="*/ 5624962 w 6436611"/>
              <a:gd name="connsiteY526" fmla="*/ 2607449 h 4419155"/>
              <a:gd name="connsiteX527" fmla="*/ 5618781 w 6436611"/>
              <a:gd name="connsiteY527" fmla="*/ 2611960 h 4419155"/>
              <a:gd name="connsiteX528" fmla="*/ 5612602 w 6436611"/>
              <a:gd name="connsiteY528" fmla="*/ 2611960 h 4419155"/>
              <a:gd name="connsiteX529" fmla="*/ 5624962 w 6436611"/>
              <a:gd name="connsiteY529" fmla="*/ 2607449 h 4419155"/>
              <a:gd name="connsiteX530" fmla="*/ 5629082 w 6436611"/>
              <a:gd name="connsiteY530" fmla="*/ 2853344 h 4419155"/>
              <a:gd name="connsiteX531" fmla="*/ 5618781 w 6436611"/>
              <a:gd name="connsiteY531" fmla="*/ 2857856 h 4419155"/>
              <a:gd name="connsiteX532" fmla="*/ 5604362 w 6436611"/>
              <a:gd name="connsiteY532" fmla="*/ 2862367 h 4419155"/>
              <a:gd name="connsiteX533" fmla="*/ 5600242 w 6436611"/>
              <a:gd name="connsiteY533" fmla="*/ 2862367 h 4419155"/>
              <a:gd name="connsiteX534" fmla="*/ 5567281 w 6436611"/>
              <a:gd name="connsiteY534" fmla="*/ 2869133 h 4419155"/>
              <a:gd name="connsiteX535" fmla="*/ 5567281 w 6436611"/>
              <a:gd name="connsiteY535" fmla="*/ 2864622 h 4419155"/>
              <a:gd name="connsiteX536" fmla="*/ 5583762 w 6436611"/>
              <a:gd name="connsiteY536" fmla="*/ 2860110 h 4419155"/>
              <a:gd name="connsiteX537" fmla="*/ 5610541 w 6436611"/>
              <a:gd name="connsiteY537" fmla="*/ 2853344 h 4419155"/>
              <a:gd name="connsiteX538" fmla="*/ 5629082 w 6436611"/>
              <a:gd name="connsiteY538" fmla="*/ 2853344 h 4419155"/>
              <a:gd name="connsiteX539" fmla="*/ 5639382 w 6436611"/>
              <a:gd name="connsiteY539" fmla="*/ 2774387 h 4419155"/>
              <a:gd name="connsiteX540" fmla="*/ 5618781 w 6436611"/>
              <a:gd name="connsiteY540" fmla="*/ 2778898 h 4419155"/>
              <a:gd name="connsiteX541" fmla="*/ 5620840 w 6436611"/>
              <a:gd name="connsiteY541" fmla="*/ 2774387 h 4419155"/>
              <a:gd name="connsiteX542" fmla="*/ 5622901 w 6436611"/>
              <a:gd name="connsiteY542" fmla="*/ 2767618 h 4419155"/>
              <a:gd name="connsiteX543" fmla="*/ 5627021 w 6436611"/>
              <a:gd name="connsiteY543" fmla="*/ 2767618 h 4419155"/>
              <a:gd name="connsiteX544" fmla="*/ 5639382 w 6436611"/>
              <a:gd name="connsiteY544" fmla="*/ 2769873 h 4419155"/>
              <a:gd name="connsiteX545" fmla="*/ 5639382 w 6436611"/>
              <a:gd name="connsiteY545" fmla="*/ 2774387 h 4419155"/>
              <a:gd name="connsiteX546" fmla="*/ 5655862 w 6436611"/>
              <a:gd name="connsiteY546" fmla="*/ 2900716 h 4419155"/>
              <a:gd name="connsiteX547" fmla="*/ 5641440 w 6436611"/>
              <a:gd name="connsiteY547" fmla="*/ 2907482 h 4419155"/>
              <a:gd name="connsiteX548" fmla="*/ 5655862 w 6436611"/>
              <a:gd name="connsiteY548" fmla="*/ 2900716 h 4419155"/>
              <a:gd name="connsiteX549" fmla="*/ 5672342 w 6436611"/>
              <a:gd name="connsiteY549" fmla="*/ 2778898 h 4419155"/>
              <a:gd name="connsiteX550" fmla="*/ 5670281 w 6436611"/>
              <a:gd name="connsiteY550" fmla="*/ 2783408 h 4419155"/>
              <a:gd name="connsiteX551" fmla="*/ 5655862 w 6436611"/>
              <a:gd name="connsiteY551" fmla="*/ 2783408 h 4419155"/>
              <a:gd name="connsiteX552" fmla="*/ 5655862 w 6436611"/>
              <a:gd name="connsiteY552" fmla="*/ 2781153 h 4419155"/>
              <a:gd name="connsiteX553" fmla="*/ 5672342 w 6436611"/>
              <a:gd name="connsiteY553" fmla="*/ 2778898 h 4419155"/>
              <a:gd name="connsiteX554" fmla="*/ 5678523 w 6436611"/>
              <a:gd name="connsiteY554" fmla="*/ 2763106 h 4419155"/>
              <a:gd name="connsiteX555" fmla="*/ 5666160 w 6436611"/>
              <a:gd name="connsiteY555" fmla="*/ 2767618 h 4419155"/>
              <a:gd name="connsiteX556" fmla="*/ 5659982 w 6436611"/>
              <a:gd name="connsiteY556" fmla="*/ 2767618 h 4419155"/>
              <a:gd name="connsiteX557" fmla="*/ 5678523 w 6436611"/>
              <a:gd name="connsiteY557" fmla="*/ 2763106 h 4419155"/>
              <a:gd name="connsiteX558" fmla="*/ 5697062 w 6436611"/>
              <a:gd name="connsiteY558" fmla="*/ 2893947 h 4419155"/>
              <a:gd name="connsiteX559" fmla="*/ 5676462 w 6436611"/>
              <a:gd name="connsiteY559" fmla="*/ 2900716 h 4419155"/>
              <a:gd name="connsiteX560" fmla="*/ 5678523 w 6436611"/>
              <a:gd name="connsiteY560" fmla="*/ 2896205 h 4419155"/>
              <a:gd name="connsiteX561" fmla="*/ 5678523 w 6436611"/>
              <a:gd name="connsiteY561" fmla="*/ 2893947 h 4419155"/>
              <a:gd name="connsiteX562" fmla="*/ 5690881 w 6436611"/>
              <a:gd name="connsiteY562" fmla="*/ 2889438 h 4419155"/>
              <a:gd name="connsiteX563" fmla="*/ 5692942 w 6436611"/>
              <a:gd name="connsiteY563" fmla="*/ 2889438 h 4419155"/>
              <a:gd name="connsiteX564" fmla="*/ 5695001 w 6436611"/>
              <a:gd name="connsiteY564" fmla="*/ 2891692 h 4419155"/>
              <a:gd name="connsiteX565" fmla="*/ 5697062 w 6436611"/>
              <a:gd name="connsiteY565" fmla="*/ 2891692 h 4419155"/>
              <a:gd name="connsiteX566" fmla="*/ 5697062 w 6436611"/>
              <a:gd name="connsiteY566" fmla="*/ 2893947 h 4419155"/>
              <a:gd name="connsiteX567" fmla="*/ 5719722 w 6436611"/>
              <a:gd name="connsiteY567" fmla="*/ 2695429 h 4419155"/>
              <a:gd name="connsiteX568" fmla="*/ 5717205 w 6436611"/>
              <a:gd name="connsiteY568" fmla="*/ 2695930 h 4419155"/>
              <a:gd name="connsiteX569" fmla="*/ 5713543 w 6436611"/>
              <a:gd name="connsiteY569" fmla="*/ 2699940 h 4419155"/>
              <a:gd name="connsiteX570" fmla="*/ 5690881 w 6436611"/>
              <a:gd name="connsiteY570" fmla="*/ 2702198 h 4419155"/>
              <a:gd name="connsiteX571" fmla="*/ 5688823 w 6436611"/>
              <a:gd name="connsiteY571" fmla="*/ 2702198 h 4419155"/>
              <a:gd name="connsiteX572" fmla="*/ 5686762 w 6436611"/>
              <a:gd name="connsiteY572" fmla="*/ 2702198 h 4419155"/>
              <a:gd name="connsiteX573" fmla="*/ 5674403 w 6436611"/>
              <a:gd name="connsiteY573" fmla="*/ 2704452 h 4419155"/>
              <a:gd name="connsiteX574" fmla="*/ 5717205 w 6436611"/>
              <a:gd name="connsiteY574" fmla="*/ 2695930 h 4419155"/>
              <a:gd name="connsiteX575" fmla="*/ 5717663 w 6436611"/>
              <a:gd name="connsiteY575" fmla="*/ 2695429 h 4419155"/>
              <a:gd name="connsiteX576" fmla="*/ 5719722 w 6436611"/>
              <a:gd name="connsiteY576" fmla="*/ 2695429 h 4419155"/>
              <a:gd name="connsiteX577" fmla="*/ 5723842 w 6436611"/>
              <a:gd name="connsiteY577" fmla="*/ 2717988 h 4419155"/>
              <a:gd name="connsiteX578" fmla="*/ 5715601 w 6436611"/>
              <a:gd name="connsiteY578" fmla="*/ 2720245 h 4419155"/>
              <a:gd name="connsiteX579" fmla="*/ 5709423 w 6436611"/>
              <a:gd name="connsiteY579" fmla="*/ 2720245 h 4419155"/>
              <a:gd name="connsiteX580" fmla="*/ 5707362 w 6436611"/>
              <a:gd name="connsiteY580" fmla="*/ 2720245 h 4419155"/>
              <a:gd name="connsiteX581" fmla="*/ 5682641 w 6436611"/>
              <a:gd name="connsiteY581" fmla="*/ 2720245 h 4419155"/>
              <a:gd name="connsiteX582" fmla="*/ 5699121 w 6436611"/>
              <a:gd name="connsiteY582" fmla="*/ 2713476 h 4419155"/>
              <a:gd name="connsiteX583" fmla="*/ 5719722 w 6436611"/>
              <a:gd name="connsiteY583" fmla="*/ 2715734 h 4419155"/>
              <a:gd name="connsiteX584" fmla="*/ 5723842 w 6436611"/>
              <a:gd name="connsiteY584" fmla="*/ 2717988 h 4419155"/>
              <a:gd name="connsiteX585" fmla="*/ 5736203 w 6436611"/>
              <a:gd name="connsiteY585" fmla="*/ 2884924 h 4419155"/>
              <a:gd name="connsiteX586" fmla="*/ 5717663 w 6436611"/>
              <a:gd name="connsiteY586" fmla="*/ 2889438 h 4419155"/>
              <a:gd name="connsiteX587" fmla="*/ 5736203 w 6436611"/>
              <a:gd name="connsiteY587" fmla="*/ 2884924 h 4419155"/>
              <a:gd name="connsiteX588" fmla="*/ 5738262 w 6436611"/>
              <a:gd name="connsiteY588" fmla="*/ 1714115 h 4419155"/>
              <a:gd name="connsiteX589" fmla="*/ 5713543 w 6436611"/>
              <a:gd name="connsiteY589" fmla="*/ 1718627 h 4419155"/>
              <a:gd name="connsiteX590" fmla="*/ 5713543 w 6436611"/>
              <a:gd name="connsiteY590" fmla="*/ 1716370 h 4419155"/>
              <a:gd name="connsiteX591" fmla="*/ 5719722 w 6436611"/>
              <a:gd name="connsiteY591" fmla="*/ 1711857 h 4419155"/>
              <a:gd name="connsiteX592" fmla="*/ 5738262 w 6436611"/>
              <a:gd name="connsiteY592" fmla="*/ 1714115 h 4419155"/>
              <a:gd name="connsiteX593" fmla="*/ 5738262 w 6436611"/>
              <a:gd name="connsiteY593" fmla="*/ 2799200 h 4419155"/>
              <a:gd name="connsiteX594" fmla="*/ 5736203 w 6436611"/>
              <a:gd name="connsiteY594" fmla="*/ 2801455 h 4419155"/>
              <a:gd name="connsiteX595" fmla="*/ 5734141 w 6436611"/>
              <a:gd name="connsiteY595" fmla="*/ 2801455 h 4419155"/>
              <a:gd name="connsiteX596" fmla="*/ 5738262 w 6436611"/>
              <a:gd name="connsiteY596" fmla="*/ 2799200 h 4419155"/>
              <a:gd name="connsiteX597" fmla="*/ 5746503 w 6436611"/>
              <a:gd name="connsiteY597" fmla="*/ 2731524 h 4419155"/>
              <a:gd name="connsiteX598" fmla="*/ 5742383 w 6436611"/>
              <a:gd name="connsiteY598" fmla="*/ 2733780 h 4419155"/>
              <a:gd name="connsiteX599" fmla="*/ 5736203 w 6436611"/>
              <a:gd name="connsiteY599" fmla="*/ 2733780 h 4419155"/>
              <a:gd name="connsiteX600" fmla="*/ 5746503 w 6436611"/>
              <a:gd name="connsiteY600" fmla="*/ 2731524 h 4419155"/>
              <a:gd name="connsiteX601" fmla="*/ 5750624 w 6436611"/>
              <a:gd name="connsiteY601" fmla="*/ 2711222 h 4419155"/>
              <a:gd name="connsiteX602" fmla="*/ 5736203 w 6436611"/>
              <a:gd name="connsiteY602" fmla="*/ 2713476 h 4419155"/>
              <a:gd name="connsiteX603" fmla="*/ 5732082 w 6436611"/>
              <a:gd name="connsiteY603" fmla="*/ 2708964 h 4419155"/>
              <a:gd name="connsiteX604" fmla="*/ 5744442 w 6436611"/>
              <a:gd name="connsiteY604" fmla="*/ 2706709 h 4419155"/>
              <a:gd name="connsiteX605" fmla="*/ 5750624 w 6436611"/>
              <a:gd name="connsiteY605" fmla="*/ 2711222 h 4419155"/>
              <a:gd name="connsiteX606" fmla="*/ 5762982 w 6436611"/>
              <a:gd name="connsiteY606" fmla="*/ 2555564 h 4419155"/>
              <a:gd name="connsiteX607" fmla="*/ 5752683 w 6436611"/>
              <a:gd name="connsiteY607" fmla="*/ 2557818 h 4419155"/>
              <a:gd name="connsiteX608" fmla="*/ 5750624 w 6436611"/>
              <a:gd name="connsiteY608" fmla="*/ 2557818 h 4419155"/>
              <a:gd name="connsiteX609" fmla="*/ 5746503 w 6436611"/>
              <a:gd name="connsiteY609" fmla="*/ 2557818 h 4419155"/>
              <a:gd name="connsiteX610" fmla="*/ 5762982 w 6436611"/>
              <a:gd name="connsiteY610" fmla="*/ 2555564 h 4419155"/>
              <a:gd name="connsiteX611" fmla="*/ 5769163 w 6436611"/>
              <a:gd name="connsiteY611" fmla="*/ 1702834 h 4419155"/>
              <a:gd name="connsiteX612" fmla="*/ 5754742 w 6436611"/>
              <a:gd name="connsiteY612" fmla="*/ 1714115 h 4419155"/>
              <a:gd name="connsiteX613" fmla="*/ 5754742 w 6436611"/>
              <a:gd name="connsiteY613" fmla="*/ 1711857 h 4419155"/>
              <a:gd name="connsiteX614" fmla="*/ 5769163 w 6436611"/>
              <a:gd name="connsiteY614" fmla="*/ 1702834 h 4419155"/>
              <a:gd name="connsiteX615" fmla="*/ 5773283 w 6436611"/>
              <a:gd name="connsiteY615" fmla="*/ 2546540 h 4419155"/>
              <a:gd name="connsiteX616" fmla="*/ 5767105 w 6436611"/>
              <a:gd name="connsiteY616" fmla="*/ 2555564 h 4419155"/>
              <a:gd name="connsiteX617" fmla="*/ 5760923 w 6436611"/>
              <a:gd name="connsiteY617" fmla="*/ 2551052 h 4419155"/>
              <a:gd name="connsiteX618" fmla="*/ 5773283 w 6436611"/>
              <a:gd name="connsiteY618" fmla="*/ 2546540 h 4419155"/>
              <a:gd name="connsiteX619" fmla="*/ 5775342 w 6436611"/>
              <a:gd name="connsiteY619" fmla="*/ 2760851 h 4419155"/>
              <a:gd name="connsiteX620" fmla="*/ 5773283 w 6436611"/>
              <a:gd name="connsiteY620" fmla="*/ 2763106 h 4419155"/>
              <a:gd name="connsiteX621" fmla="*/ 5771224 w 6436611"/>
              <a:gd name="connsiteY621" fmla="*/ 2760851 h 4419155"/>
              <a:gd name="connsiteX622" fmla="*/ 5775342 w 6436611"/>
              <a:gd name="connsiteY622" fmla="*/ 2760851 h 4419155"/>
              <a:gd name="connsiteX623" fmla="*/ 5777403 w 6436611"/>
              <a:gd name="connsiteY623" fmla="*/ 2620984 h 4419155"/>
              <a:gd name="connsiteX624" fmla="*/ 5777403 w 6436611"/>
              <a:gd name="connsiteY624" fmla="*/ 2618730 h 4419155"/>
              <a:gd name="connsiteX625" fmla="*/ 5775342 w 6436611"/>
              <a:gd name="connsiteY625" fmla="*/ 2618730 h 4419155"/>
              <a:gd name="connsiteX626" fmla="*/ 5777403 w 6436611"/>
              <a:gd name="connsiteY626" fmla="*/ 2620984 h 4419155"/>
              <a:gd name="connsiteX627" fmla="*/ 5800062 w 6436611"/>
              <a:gd name="connsiteY627" fmla="*/ 2636778 h 4419155"/>
              <a:gd name="connsiteX628" fmla="*/ 5795942 w 6436611"/>
              <a:gd name="connsiteY628" fmla="*/ 2636778 h 4419155"/>
              <a:gd name="connsiteX629" fmla="*/ 5798003 w 6436611"/>
              <a:gd name="connsiteY629" fmla="*/ 2634520 h 4419155"/>
              <a:gd name="connsiteX630" fmla="*/ 5800062 w 6436611"/>
              <a:gd name="connsiteY630" fmla="*/ 2636778 h 4419155"/>
              <a:gd name="connsiteX631" fmla="*/ 5804183 w 6436611"/>
              <a:gd name="connsiteY631" fmla="*/ 2851086 h 4419155"/>
              <a:gd name="connsiteX632" fmla="*/ 5767105 w 6436611"/>
              <a:gd name="connsiteY632" fmla="*/ 2862367 h 4419155"/>
              <a:gd name="connsiteX633" fmla="*/ 5773283 w 6436611"/>
              <a:gd name="connsiteY633" fmla="*/ 2857856 h 4419155"/>
              <a:gd name="connsiteX634" fmla="*/ 5781523 w 6436611"/>
              <a:gd name="connsiteY634" fmla="*/ 2855598 h 4419155"/>
              <a:gd name="connsiteX635" fmla="*/ 5804183 w 6436611"/>
              <a:gd name="connsiteY635" fmla="*/ 2851086 h 4419155"/>
              <a:gd name="connsiteX636" fmla="*/ 5808303 w 6436611"/>
              <a:gd name="connsiteY636" fmla="*/ 2501422 h 4419155"/>
              <a:gd name="connsiteX637" fmla="*/ 5798003 w 6436611"/>
              <a:gd name="connsiteY637" fmla="*/ 2499167 h 4419155"/>
              <a:gd name="connsiteX638" fmla="*/ 5789764 w 6436611"/>
              <a:gd name="connsiteY638" fmla="*/ 2501422 h 4419155"/>
              <a:gd name="connsiteX639" fmla="*/ 5808303 w 6436611"/>
              <a:gd name="connsiteY639" fmla="*/ 2496910 h 4419155"/>
              <a:gd name="connsiteX640" fmla="*/ 5808303 w 6436611"/>
              <a:gd name="connsiteY640" fmla="*/ 2501422 h 4419155"/>
              <a:gd name="connsiteX641" fmla="*/ 5816542 w 6436611"/>
              <a:gd name="connsiteY641" fmla="*/ 2623242 h 4419155"/>
              <a:gd name="connsiteX642" fmla="*/ 5791825 w 6436611"/>
              <a:gd name="connsiteY642" fmla="*/ 2625496 h 4419155"/>
              <a:gd name="connsiteX643" fmla="*/ 5785644 w 6436611"/>
              <a:gd name="connsiteY643" fmla="*/ 2627754 h 4419155"/>
              <a:gd name="connsiteX644" fmla="*/ 5785644 w 6436611"/>
              <a:gd name="connsiteY644" fmla="*/ 2632265 h 4419155"/>
              <a:gd name="connsiteX645" fmla="*/ 5771224 w 6436611"/>
              <a:gd name="connsiteY645" fmla="*/ 2634520 h 4419155"/>
              <a:gd name="connsiteX646" fmla="*/ 5746503 w 6436611"/>
              <a:gd name="connsiteY646" fmla="*/ 2645800 h 4419155"/>
              <a:gd name="connsiteX647" fmla="*/ 5727962 w 6436611"/>
              <a:gd name="connsiteY647" fmla="*/ 2648056 h 4419155"/>
              <a:gd name="connsiteX648" fmla="*/ 5705303 w 6436611"/>
              <a:gd name="connsiteY648" fmla="*/ 2652567 h 4419155"/>
              <a:gd name="connsiteX649" fmla="*/ 5701183 w 6436611"/>
              <a:gd name="connsiteY649" fmla="*/ 2654825 h 4419155"/>
              <a:gd name="connsiteX650" fmla="*/ 5674403 w 6436611"/>
              <a:gd name="connsiteY650" fmla="*/ 2661591 h 4419155"/>
              <a:gd name="connsiteX651" fmla="*/ 5657923 w 6436611"/>
              <a:gd name="connsiteY651" fmla="*/ 2661591 h 4419155"/>
              <a:gd name="connsiteX652" fmla="*/ 5655862 w 6436611"/>
              <a:gd name="connsiteY652" fmla="*/ 2663848 h 4419155"/>
              <a:gd name="connsiteX653" fmla="*/ 5655862 w 6436611"/>
              <a:gd name="connsiteY653" fmla="*/ 2666102 h 4419155"/>
              <a:gd name="connsiteX654" fmla="*/ 5604362 w 6436611"/>
              <a:gd name="connsiteY654" fmla="*/ 2679638 h 4419155"/>
              <a:gd name="connsiteX655" fmla="*/ 5598180 w 6436611"/>
              <a:gd name="connsiteY655" fmla="*/ 2681893 h 4419155"/>
              <a:gd name="connsiteX656" fmla="*/ 5594060 w 6436611"/>
              <a:gd name="connsiteY656" fmla="*/ 2681893 h 4419155"/>
              <a:gd name="connsiteX657" fmla="*/ 5565223 w 6436611"/>
              <a:gd name="connsiteY657" fmla="*/ 2688662 h 4419155"/>
              <a:gd name="connsiteX658" fmla="*/ 5542560 w 6436611"/>
              <a:gd name="connsiteY658" fmla="*/ 2688662 h 4419155"/>
              <a:gd name="connsiteX659" fmla="*/ 5536382 w 6436611"/>
              <a:gd name="connsiteY659" fmla="*/ 2688662 h 4419155"/>
              <a:gd name="connsiteX660" fmla="*/ 5503421 w 6436611"/>
              <a:gd name="connsiteY660" fmla="*/ 2699940 h 4419155"/>
              <a:gd name="connsiteX661" fmla="*/ 5513720 w 6436611"/>
              <a:gd name="connsiteY661" fmla="*/ 2704452 h 4419155"/>
              <a:gd name="connsiteX662" fmla="*/ 5486941 w 6436611"/>
              <a:gd name="connsiteY662" fmla="*/ 2711222 h 4419155"/>
              <a:gd name="connsiteX663" fmla="*/ 5482014 w 6436611"/>
              <a:gd name="connsiteY663" fmla="*/ 2711600 h 4419155"/>
              <a:gd name="connsiteX664" fmla="*/ 5453980 w 6436611"/>
              <a:gd name="connsiteY664" fmla="*/ 2724756 h 4419155"/>
              <a:gd name="connsiteX665" fmla="*/ 5440859 w 6436611"/>
              <a:gd name="connsiteY665" fmla="*/ 2727256 h 4419155"/>
              <a:gd name="connsiteX666" fmla="*/ 5439561 w 6436611"/>
              <a:gd name="connsiteY666" fmla="*/ 2731524 h 4419155"/>
              <a:gd name="connsiteX667" fmla="*/ 5453980 w 6436611"/>
              <a:gd name="connsiteY667" fmla="*/ 2731524 h 4419155"/>
              <a:gd name="connsiteX668" fmla="*/ 5453980 w 6436611"/>
              <a:gd name="connsiteY668" fmla="*/ 2733780 h 4419155"/>
              <a:gd name="connsiteX669" fmla="*/ 5439561 w 6436611"/>
              <a:gd name="connsiteY669" fmla="*/ 2733780 h 4419155"/>
              <a:gd name="connsiteX670" fmla="*/ 5423080 w 6436611"/>
              <a:gd name="connsiteY670" fmla="*/ 2738292 h 4419155"/>
              <a:gd name="connsiteX671" fmla="*/ 5419867 w 6436611"/>
              <a:gd name="connsiteY671" fmla="*/ 2731254 h 4419155"/>
              <a:gd name="connsiteX672" fmla="*/ 5406600 w 6436611"/>
              <a:gd name="connsiteY672" fmla="*/ 2733780 h 4419155"/>
              <a:gd name="connsiteX673" fmla="*/ 5401450 w 6436611"/>
              <a:gd name="connsiteY673" fmla="*/ 2734626 h 4419155"/>
              <a:gd name="connsiteX674" fmla="*/ 5399283 w 6436611"/>
              <a:gd name="connsiteY674" fmla="*/ 2731422 h 4419155"/>
              <a:gd name="connsiteX675" fmla="*/ 5398360 w 6436611"/>
              <a:gd name="connsiteY675" fmla="*/ 2731524 h 4419155"/>
              <a:gd name="connsiteX676" fmla="*/ 5396298 w 6436611"/>
              <a:gd name="connsiteY676" fmla="*/ 2729269 h 4419155"/>
              <a:gd name="connsiteX677" fmla="*/ 5396298 w 6436611"/>
              <a:gd name="connsiteY677" fmla="*/ 2727011 h 4419155"/>
              <a:gd name="connsiteX678" fmla="*/ 5399283 w 6436611"/>
              <a:gd name="connsiteY678" fmla="*/ 2731422 h 4419155"/>
              <a:gd name="connsiteX679" fmla="*/ 5418960 w 6436611"/>
              <a:gd name="connsiteY679" fmla="*/ 2729269 h 4419155"/>
              <a:gd name="connsiteX680" fmla="*/ 5419867 w 6436611"/>
              <a:gd name="connsiteY680" fmla="*/ 2731254 h 4419155"/>
              <a:gd name="connsiteX681" fmla="*/ 5440859 w 6436611"/>
              <a:gd name="connsiteY681" fmla="*/ 2727256 h 4419155"/>
              <a:gd name="connsiteX682" fmla="*/ 5441619 w 6436611"/>
              <a:gd name="connsiteY682" fmla="*/ 2724756 h 4419155"/>
              <a:gd name="connsiteX683" fmla="*/ 5458098 w 6436611"/>
              <a:gd name="connsiteY683" fmla="*/ 2720245 h 4419155"/>
              <a:gd name="connsiteX684" fmla="*/ 5456039 w 6436611"/>
              <a:gd name="connsiteY684" fmla="*/ 2720245 h 4419155"/>
              <a:gd name="connsiteX685" fmla="*/ 5472263 w 6436611"/>
              <a:gd name="connsiteY685" fmla="*/ 2712350 h 4419155"/>
              <a:gd name="connsiteX686" fmla="*/ 5482014 w 6436611"/>
              <a:gd name="connsiteY686" fmla="*/ 2711600 h 4419155"/>
              <a:gd name="connsiteX687" fmla="*/ 5482821 w 6436611"/>
              <a:gd name="connsiteY687" fmla="*/ 2711222 h 4419155"/>
              <a:gd name="connsiteX688" fmla="*/ 5466341 w 6436611"/>
              <a:gd name="connsiteY688" fmla="*/ 2708964 h 4419155"/>
              <a:gd name="connsiteX689" fmla="*/ 5429259 w 6436611"/>
              <a:gd name="connsiteY689" fmla="*/ 2708964 h 4419155"/>
              <a:gd name="connsiteX690" fmla="*/ 5458100 w 6436611"/>
              <a:gd name="connsiteY690" fmla="*/ 2699940 h 4419155"/>
              <a:gd name="connsiteX691" fmla="*/ 5489000 w 6436611"/>
              <a:gd name="connsiteY691" fmla="*/ 2688662 h 4419155"/>
              <a:gd name="connsiteX692" fmla="*/ 5491061 w 6436611"/>
              <a:gd name="connsiteY692" fmla="*/ 2686404 h 4419155"/>
              <a:gd name="connsiteX693" fmla="*/ 5480759 w 6436611"/>
              <a:gd name="connsiteY693" fmla="*/ 2684150 h 4419155"/>
              <a:gd name="connsiteX694" fmla="*/ 5491061 w 6436611"/>
              <a:gd name="connsiteY694" fmla="*/ 2675127 h 4419155"/>
              <a:gd name="connsiteX695" fmla="*/ 5482821 w 6436611"/>
              <a:gd name="connsiteY695" fmla="*/ 2670614 h 4419155"/>
              <a:gd name="connsiteX696" fmla="*/ 5491061 w 6436611"/>
              <a:gd name="connsiteY696" fmla="*/ 2668358 h 4419155"/>
              <a:gd name="connsiteX697" fmla="*/ 5517840 w 6436611"/>
              <a:gd name="connsiteY697" fmla="*/ 2661591 h 4419155"/>
              <a:gd name="connsiteX698" fmla="*/ 5521960 w 6436611"/>
              <a:gd name="connsiteY698" fmla="*/ 2661591 h 4419155"/>
              <a:gd name="connsiteX699" fmla="*/ 5577580 w 6436611"/>
              <a:gd name="connsiteY699" fmla="*/ 2645800 h 4419155"/>
              <a:gd name="connsiteX700" fmla="*/ 5598180 w 6436611"/>
              <a:gd name="connsiteY700" fmla="*/ 2634520 h 4419155"/>
              <a:gd name="connsiteX701" fmla="*/ 5627021 w 6436611"/>
              <a:gd name="connsiteY701" fmla="*/ 2625496 h 4419155"/>
              <a:gd name="connsiteX702" fmla="*/ 5659982 w 6436611"/>
              <a:gd name="connsiteY702" fmla="*/ 2618730 h 4419155"/>
              <a:gd name="connsiteX703" fmla="*/ 5662041 w 6436611"/>
              <a:gd name="connsiteY703" fmla="*/ 2618730 h 4419155"/>
              <a:gd name="connsiteX704" fmla="*/ 5659982 w 6436611"/>
              <a:gd name="connsiteY704" fmla="*/ 2623242 h 4419155"/>
              <a:gd name="connsiteX705" fmla="*/ 5664102 w 6436611"/>
              <a:gd name="connsiteY705" fmla="*/ 2634520 h 4419155"/>
              <a:gd name="connsiteX706" fmla="*/ 5674403 w 6436611"/>
              <a:gd name="connsiteY706" fmla="*/ 2632265 h 4419155"/>
              <a:gd name="connsiteX707" fmla="*/ 5736203 w 6436611"/>
              <a:gd name="connsiteY707" fmla="*/ 2616472 h 4419155"/>
              <a:gd name="connsiteX708" fmla="*/ 5750624 w 6436611"/>
              <a:gd name="connsiteY708" fmla="*/ 2614218 h 4419155"/>
              <a:gd name="connsiteX709" fmla="*/ 5748562 w 6436611"/>
              <a:gd name="connsiteY709" fmla="*/ 2618730 h 4419155"/>
              <a:gd name="connsiteX710" fmla="*/ 5738262 w 6436611"/>
              <a:gd name="connsiteY710" fmla="*/ 2632265 h 4419155"/>
              <a:gd name="connsiteX711" fmla="*/ 5725903 w 6436611"/>
              <a:gd name="connsiteY711" fmla="*/ 2634520 h 4419155"/>
              <a:gd name="connsiteX712" fmla="*/ 5715601 w 6436611"/>
              <a:gd name="connsiteY712" fmla="*/ 2636778 h 4419155"/>
              <a:gd name="connsiteX713" fmla="*/ 5717663 w 6436611"/>
              <a:gd name="connsiteY713" fmla="*/ 2639032 h 4419155"/>
              <a:gd name="connsiteX714" fmla="*/ 5767105 w 6436611"/>
              <a:gd name="connsiteY714" fmla="*/ 2634520 h 4419155"/>
              <a:gd name="connsiteX715" fmla="*/ 5771224 w 6436611"/>
              <a:gd name="connsiteY715" fmla="*/ 2630008 h 4419155"/>
              <a:gd name="connsiteX716" fmla="*/ 5750624 w 6436611"/>
              <a:gd name="connsiteY716" fmla="*/ 2625496 h 4419155"/>
              <a:gd name="connsiteX717" fmla="*/ 5760923 w 6436611"/>
              <a:gd name="connsiteY717" fmla="*/ 2614218 h 4419155"/>
              <a:gd name="connsiteX718" fmla="*/ 5769163 w 6436611"/>
              <a:gd name="connsiteY718" fmla="*/ 2616472 h 4419155"/>
              <a:gd name="connsiteX719" fmla="*/ 5806244 w 6436611"/>
              <a:gd name="connsiteY719" fmla="*/ 2616472 h 4419155"/>
              <a:gd name="connsiteX720" fmla="*/ 5814485 w 6436611"/>
              <a:gd name="connsiteY720" fmla="*/ 2614218 h 4419155"/>
              <a:gd name="connsiteX721" fmla="*/ 5816542 w 6436611"/>
              <a:gd name="connsiteY721" fmla="*/ 2623242 h 4419155"/>
              <a:gd name="connsiteX722" fmla="*/ 5822724 w 6436611"/>
              <a:gd name="connsiteY722" fmla="*/ 2794689 h 4419155"/>
              <a:gd name="connsiteX723" fmla="*/ 5816542 w 6436611"/>
              <a:gd name="connsiteY723" fmla="*/ 2794689 h 4419155"/>
              <a:gd name="connsiteX724" fmla="*/ 5818604 w 6436611"/>
              <a:gd name="connsiteY724" fmla="*/ 2792432 h 4419155"/>
              <a:gd name="connsiteX725" fmla="*/ 5822724 w 6436611"/>
              <a:gd name="connsiteY725" fmla="*/ 2792432 h 4419155"/>
              <a:gd name="connsiteX726" fmla="*/ 5822724 w 6436611"/>
              <a:gd name="connsiteY726" fmla="*/ 2794689 h 4419155"/>
              <a:gd name="connsiteX727" fmla="*/ 5826842 w 6436611"/>
              <a:gd name="connsiteY727" fmla="*/ 1698322 h 4419155"/>
              <a:gd name="connsiteX728" fmla="*/ 5824783 w 6436611"/>
              <a:gd name="connsiteY728" fmla="*/ 1705092 h 4419155"/>
              <a:gd name="connsiteX729" fmla="*/ 5814485 w 6436611"/>
              <a:gd name="connsiteY729" fmla="*/ 1705092 h 4419155"/>
              <a:gd name="connsiteX730" fmla="*/ 5826842 w 6436611"/>
              <a:gd name="connsiteY730" fmla="*/ 1698322 h 4419155"/>
              <a:gd name="connsiteX731" fmla="*/ 5826842 w 6436611"/>
              <a:gd name="connsiteY731" fmla="*/ 2481120 h 4419155"/>
              <a:gd name="connsiteX732" fmla="*/ 5793883 w 6436611"/>
              <a:gd name="connsiteY732" fmla="*/ 2490142 h 4419155"/>
              <a:gd name="connsiteX733" fmla="*/ 5789764 w 6436611"/>
              <a:gd name="connsiteY733" fmla="*/ 2494656 h 4419155"/>
              <a:gd name="connsiteX734" fmla="*/ 5787703 w 6436611"/>
              <a:gd name="connsiteY734" fmla="*/ 2494656 h 4419155"/>
              <a:gd name="connsiteX735" fmla="*/ 5758862 w 6436611"/>
              <a:gd name="connsiteY735" fmla="*/ 2496910 h 4419155"/>
              <a:gd name="connsiteX736" fmla="*/ 5744442 w 6436611"/>
              <a:gd name="connsiteY736" fmla="*/ 2496910 h 4419155"/>
              <a:gd name="connsiteX737" fmla="*/ 5771224 w 6436611"/>
              <a:gd name="connsiteY737" fmla="*/ 2487886 h 4419155"/>
              <a:gd name="connsiteX738" fmla="*/ 5789764 w 6436611"/>
              <a:gd name="connsiteY738" fmla="*/ 2483374 h 4419155"/>
              <a:gd name="connsiteX739" fmla="*/ 5812423 w 6436611"/>
              <a:gd name="connsiteY739" fmla="*/ 2476608 h 4419155"/>
              <a:gd name="connsiteX740" fmla="*/ 5822724 w 6436611"/>
              <a:gd name="connsiteY740" fmla="*/ 2476608 h 4419155"/>
              <a:gd name="connsiteX741" fmla="*/ 5826842 w 6436611"/>
              <a:gd name="connsiteY741" fmla="*/ 2478862 h 4419155"/>
              <a:gd name="connsiteX742" fmla="*/ 5826842 w 6436611"/>
              <a:gd name="connsiteY742" fmla="*/ 2481120 h 4419155"/>
              <a:gd name="connsiteX743" fmla="*/ 5830965 w 6436611"/>
              <a:gd name="connsiteY743" fmla="*/ 2733780 h 4419155"/>
              <a:gd name="connsiteX744" fmla="*/ 5822724 w 6436611"/>
              <a:gd name="connsiteY744" fmla="*/ 2736036 h 4419155"/>
              <a:gd name="connsiteX745" fmla="*/ 5783582 w 6436611"/>
              <a:gd name="connsiteY745" fmla="*/ 2736036 h 4419155"/>
              <a:gd name="connsiteX746" fmla="*/ 5798003 w 6436611"/>
              <a:gd name="connsiteY746" fmla="*/ 2733780 h 4419155"/>
              <a:gd name="connsiteX747" fmla="*/ 5828903 w 6436611"/>
              <a:gd name="connsiteY747" fmla="*/ 2731524 h 4419155"/>
              <a:gd name="connsiteX748" fmla="*/ 5830965 w 6436611"/>
              <a:gd name="connsiteY748" fmla="*/ 2733780 h 4419155"/>
              <a:gd name="connsiteX749" fmla="*/ 5833023 w 6436611"/>
              <a:gd name="connsiteY749" fmla="*/ 2884924 h 4419155"/>
              <a:gd name="connsiteX750" fmla="*/ 5833023 w 6436611"/>
              <a:gd name="connsiteY750" fmla="*/ 2882669 h 4419155"/>
              <a:gd name="connsiteX751" fmla="*/ 5828903 w 6436611"/>
              <a:gd name="connsiteY751" fmla="*/ 2882669 h 4419155"/>
              <a:gd name="connsiteX752" fmla="*/ 5828903 w 6436611"/>
              <a:gd name="connsiteY752" fmla="*/ 2884924 h 4419155"/>
              <a:gd name="connsiteX753" fmla="*/ 5833023 w 6436611"/>
              <a:gd name="connsiteY753" fmla="*/ 2884924 h 4419155"/>
              <a:gd name="connsiteX754" fmla="*/ 5837144 w 6436611"/>
              <a:gd name="connsiteY754" fmla="*/ 2596170 h 4419155"/>
              <a:gd name="connsiteX755" fmla="*/ 5828903 w 6436611"/>
              <a:gd name="connsiteY755" fmla="*/ 2602936 h 4419155"/>
              <a:gd name="connsiteX756" fmla="*/ 5826842 w 6436611"/>
              <a:gd name="connsiteY756" fmla="*/ 2605194 h 4419155"/>
              <a:gd name="connsiteX757" fmla="*/ 5820663 w 6436611"/>
              <a:gd name="connsiteY757" fmla="*/ 2605194 h 4419155"/>
              <a:gd name="connsiteX758" fmla="*/ 5814485 w 6436611"/>
              <a:gd name="connsiteY758" fmla="*/ 2611960 h 4419155"/>
              <a:gd name="connsiteX759" fmla="*/ 5806244 w 6436611"/>
              <a:gd name="connsiteY759" fmla="*/ 2609706 h 4419155"/>
              <a:gd name="connsiteX760" fmla="*/ 5798003 w 6436611"/>
              <a:gd name="connsiteY760" fmla="*/ 2607449 h 4419155"/>
              <a:gd name="connsiteX761" fmla="*/ 5793883 w 6436611"/>
              <a:gd name="connsiteY761" fmla="*/ 2609706 h 4419155"/>
              <a:gd name="connsiteX762" fmla="*/ 5791825 w 6436611"/>
              <a:gd name="connsiteY762" fmla="*/ 2609706 h 4419155"/>
              <a:gd name="connsiteX763" fmla="*/ 5791825 w 6436611"/>
              <a:gd name="connsiteY763" fmla="*/ 2607449 h 4419155"/>
              <a:gd name="connsiteX764" fmla="*/ 5798003 w 6436611"/>
              <a:gd name="connsiteY764" fmla="*/ 2607449 h 4419155"/>
              <a:gd name="connsiteX765" fmla="*/ 5818604 w 6436611"/>
              <a:gd name="connsiteY765" fmla="*/ 2600682 h 4419155"/>
              <a:gd name="connsiteX766" fmla="*/ 5837144 w 6436611"/>
              <a:gd name="connsiteY766" fmla="*/ 2596170 h 4419155"/>
              <a:gd name="connsiteX767" fmla="*/ 5851562 w 6436611"/>
              <a:gd name="connsiteY767" fmla="*/ 2616472 h 4419155"/>
              <a:gd name="connsiteX768" fmla="*/ 5847442 w 6436611"/>
              <a:gd name="connsiteY768" fmla="*/ 2614218 h 4419155"/>
              <a:gd name="connsiteX769" fmla="*/ 5849503 w 6436611"/>
              <a:gd name="connsiteY769" fmla="*/ 2611960 h 4419155"/>
              <a:gd name="connsiteX770" fmla="*/ 5851562 w 6436611"/>
              <a:gd name="connsiteY770" fmla="*/ 2614218 h 4419155"/>
              <a:gd name="connsiteX771" fmla="*/ 5851562 w 6436611"/>
              <a:gd name="connsiteY771" fmla="*/ 2616472 h 4419155"/>
              <a:gd name="connsiteX772" fmla="*/ 5851562 w 6436611"/>
              <a:gd name="connsiteY772" fmla="*/ 2625496 h 4419155"/>
              <a:gd name="connsiteX773" fmla="*/ 5830965 w 6436611"/>
              <a:gd name="connsiteY773" fmla="*/ 2630008 h 4419155"/>
              <a:gd name="connsiteX774" fmla="*/ 5816542 w 6436611"/>
              <a:gd name="connsiteY774" fmla="*/ 2630008 h 4419155"/>
              <a:gd name="connsiteX775" fmla="*/ 5834827 w 6436611"/>
              <a:gd name="connsiteY775" fmla="*/ 2624370 h 4419155"/>
              <a:gd name="connsiteX776" fmla="*/ 5851562 w 6436611"/>
              <a:gd name="connsiteY776" fmla="*/ 2625496 h 4419155"/>
              <a:gd name="connsiteX777" fmla="*/ 5853624 w 6436611"/>
              <a:gd name="connsiteY777" fmla="*/ 2729269 h 4419155"/>
              <a:gd name="connsiteX778" fmla="*/ 5851562 w 6436611"/>
              <a:gd name="connsiteY778" fmla="*/ 2731524 h 4419155"/>
              <a:gd name="connsiteX779" fmla="*/ 5849503 w 6436611"/>
              <a:gd name="connsiteY779" fmla="*/ 2731524 h 4419155"/>
              <a:gd name="connsiteX780" fmla="*/ 5849503 w 6436611"/>
              <a:gd name="connsiteY780" fmla="*/ 2729269 h 4419155"/>
              <a:gd name="connsiteX781" fmla="*/ 5853624 w 6436611"/>
              <a:gd name="connsiteY781" fmla="*/ 2729269 h 4419155"/>
              <a:gd name="connsiteX782" fmla="*/ 5853863 w 6436611"/>
              <a:gd name="connsiteY782" fmla="*/ 2704557 h 4419155"/>
              <a:gd name="connsiteX783" fmla="*/ 5853624 w 6436611"/>
              <a:gd name="connsiteY783" fmla="*/ 2702198 h 4419155"/>
              <a:gd name="connsiteX784" fmla="*/ 5850334 w 6436611"/>
              <a:gd name="connsiteY784" fmla="*/ 2701940 h 4419155"/>
              <a:gd name="connsiteX785" fmla="*/ 5851562 w 6436611"/>
              <a:gd name="connsiteY785" fmla="*/ 2704452 h 4419155"/>
              <a:gd name="connsiteX786" fmla="*/ 5853624 w 6436611"/>
              <a:gd name="connsiteY786" fmla="*/ 2704452 h 4419155"/>
              <a:gd name="connsiteX787" fmla="*/ 5861864 w 6436611"/>
              <a:gd name="connsiteY787" fmla="*/ 2560075 h 4419155"/>
              <a:gd name="connsiteX788" fmla="*/ 5824783 w 6436611"/>
              <a:gd name="connsiteY788" fmla="*/ 2580377 h 4419155"/>
              <a:gd name="connsiteX789" fmla="*/ 5775342 w 6436611"/>
              <a:gd name="connsiteY789" fmla="*/ 2589402 h 4419155"/>
              <a:gd name="connsiteX790" fmla="*/ 5717663 w 6436611"/>
              <a:gd name="connsiteY790" fmla="*/ 2598424 h 4419155"/>
              <a:gd name="connsiteX791" fmla="*/ 5711482 w 6436611"/>
              <a:gd name="connsiteY791" fmla="*/ 2598424 h 4419155"/>
              <a:gd name="connsiteX792" fmla="*/ 5692942 w 6436611"/>
              <a:gd name="connsiteY792" fmla="*/ 2607449 h 4419155"/>
              <a:gd name="connsiteX793" fmla="*/ 5688823 w 6436611"/>
              <a:gd name="connsiteY793" fmla="*/ 2607449 h 4419155"/>
              <a:gd name="connsiteX794" fmla="*/ 5633203 w 6436611"/>
              <a:gd name="connsiteY794" fmla="*/ 2611960 h 4419155"/>
              <a:gd name="connsiteX795" fmla="*/ 5641440 w 6436611"/>
              <a:gd name="connsiteY795" fmla="*/ 2602936 h 4419155"/>
              <a:gd name="connsiteX796" fmla="*/ 5653803 w 6436611"/>
              <a:gd name="connsiteY796" fmla="*/ 2600682 h 4419155"/>
              <a:gd name="connsiteX797" fmla="*/ 5651742 w 6436611"/>
              <a:gd name="connsiteY797" fmla="*/ 2596170 h 4419155"/>
              <a:gd name="connsiteX798" fmla="*/ 5664102 w 6436611"/>
              <a:gd name="connsiteY798" fmla="*/ 2591658 h 4419155"/>
              <a:gd name="connsiteX799" fmla="*/ 5678523 w 6436611"/>
              <a:gd name="connsiteY799" fmla="*/ 2593913 h 4419155"/>
              <a:gd name="connsiteX800" fmla="*/ 5678523 w 6436611"/>
              <a:gd name="connsiteY800" fmla="*/ 2589402 h 4419155"/>
              <a:gd name="connsiteX801" fmla="*/ 5690881 w 6436611"/>
              <a:gd name="connsiteY801" fmla="*/ 2591658 h 4419155"/>
              <a:gd name="connsiteX802" fmla="*/ 5703242 w 6436611"/>
              <a:gd name="connsiteY802" fmla="*/ 2591658 h 4419155"/>
              <a:gd name="connsiteX803" fmla="*/ 5725903 w 6436611"/>
              <a:gd name="connsiteY803" fmla="*/ 2589402 h 4419155"/>
              <a:gd name="connsiteX804" fmla="*/ 5727962 w 6436611"/>
              <a:gd name="connsiteY804" fmla="*/ 2587147 h 4419155"/>
              <a:gd name="connsiteX805" fmla="*/ 5775342 w 6436611"/>
              <a:gd name="connsiteY805" fmla="*/ 2575868 h 4419155"/>
              <a:gd name="connsiteX806" fmla="*/ 5853624 w 6436611"/>
              <a:gd name="connsiteY806" fmla="*/ 2562334 h 4419155"/>
              <a:gd name="connsiteX807" fmla="*/ 5861864 w 6436611"/>
              <a:gd name="connsiteY807" fmla="*/ 2560075 h 4419155"/>
              <a:gd name="connsiteX808" fmla="*/ 5865985 w 6436611"/>
              <a:gd name="connsiteY808" fmla="*/ 2677384 h 4419155"/>
              <a:gd name="connsiteX809" fmla="*/ 5861864 w 6436611"/>
              <a:gd name="connsiteY809" fmla="*/ 2679638 h 4419155"/>
              <a:gd name="connsiteX810" fmla="*/ 5861864 w 6436611"/>
              <a:gd name="connsiteY810" fmla="*/ 2677384 h 4419155"/>
              <a:gd name="connsiteX811" fmla="*/ 5863926 w 6436611"/>
              <a:gd name="connsiteY811" fmla="*/ 2677384 h 4419155"/>
              <a:gd name="connsiteX812" fmla="*/ 5865985 w 6436611"/>
              <a:gd name="connsiteY812" fmla="*/ 2677384 h 4419155"/>
              <a:gd name="connsiteX813" fmla="*/ 5874224 w 6436611"/>
              <a:gd name="connsiteY813" fmla="*/ 2388628 h 4419155"/>
              <a:gd name="connsiteX814" fmla="*/ 5872163 w 6436611"/>
              <a:gd name="connsiteY814" fmla="*/ 2393140 h 4419155"/>
              <a:gd name="connsiteX815" fmla="*/ 5870104 w 6436611"/>
              <a:gd name="connsiteY815" fmla="*/ 2393140 h 4419155"/>
              <a:gd name="connsiteX816" fmla="*/ 5870104 w 6436611"/>
              <a:gd name="connsiteY816" fmla="*/ 2388628 h 4419155"/>
              <a:gd name="connsiteX817" fmla="*/ 5874224 w 6436611"/>
              <a:gd name="connsiteY817" fmla="*/ 2388628 h 4419155"/>
              <a:gd name="connsiteX818" fmla="*/ 5878344 w 6436611"/>
              <a:gd name="connsiteY818" fmla="*/ 2749571 h 4419155"/>
              <a:gd name="connsiteX819" fmla="*/ 5859805 w 6436611"/>
              <a:gd name="connsiteY819" fmla="*/ 2749571 h 4419155"/>
              <a:gd name="connsiteX820" fmla="*/ 5857744 w 6436611"/>
              <a:gd name="connsiteY820" fmla="*/ 2749571 h 4419155"/>
              <a:gd name="connsiteX821" fmla="*/ 5853624 w 6436611"/>
              <a:gd name="connsiteY821" fmla="*/ 2749571 h 4419155"/>
              <a:gd name="connsiteX822" fmla="*/ 5847442 w 6436611"/>
              <a:gd name="connsiteY822" fmla="*/ 2751828 h 4419155"/>
              <a:gd name="connsiteX823" fmla="*/ 5843324 w 6436611"/>
              <a:gd name="connsiteY823" fmla="*/ 2756340 h 4419155"/>
              <a:gd name="connsiteX824" fmla="*/ 5847442 w 6436611"/>
              <a:gd name="connsiteY824" fmla="*/ 2756340 h 4419155"/>
              <a:gd name="connsiteX825" fmla="*/ 5841263 w 6436611"/>
              <a:gd name="connsiteY825" fmla="*/ 2760851 h 4419155"/>
              <a:gd name="connsiteX826" fmla="*/ 5800062 w 6436611"/>
              <a:gd name="connsiteY826" fmla="*/ 2767618 h 4419155"/>
              <a:gd name="connsiteX827" fmla="*/ 5839205 w 6436611"/>
              <a:gd name="connsiteY827" fmla="*/ 2765364 h 4419155"/>
              <a:gd name="connsiteX828" fmla="*/ 5839205 w 6436611"/>
              <a:gd name="connsiteY828" fmla="*/ 2767618 h 4419155"/>
              <a:gd name="connsiteX829" fmla="*/ 5791825 w 6436611"/>
              <a:gd name="connsiteY829" fmla="*/ 2772130 h 4419155"/>
              <a:gd name="connsiteX830" fmla="*/ 5769163 w 6436611"/>
              <a:gd name="connsiteY830" fmla="*/ 2776642 h 4419155"/>
              <a:gd name="connsiteX831" fmla="*/ 5719722 w 6436611"/>
              <a:gd name="connsiteY831" fmla="*/ 2785666 h 4419155"/>
              <a:gd name="connsiteX832" fmla="*/ 5717663 w 6436611"/>
              <a:gd name="connsiteY832" fmla="*/ 2787920 h 4419155"/>
              <a:gd name="connsiteX833" fmla="*/ 5711482 w 6436611"/>
              <a:gd name="connsiteY833" fmla="*/ 2805968 h 4419155"/>
              <a:gd name="connsiteX834" fmla="*/ 5664102 w 6436611"/>
              <a:gd name="connsiteY834" fmla="*/ 2812736 h 4419155"/>
              <a:gd name="connsiteX835" fmla="*/ 5651742 w 6436611"/>
              <a:gd name="connsiteY835" fmla="*/ 2812736 h 4419155"/>
              <a:gd name="connsiteX836" fmla="*/ 5622901 w 6436611"/>
              <a:gd name="connsiteY836" fmla="*/ 2819502 h 4419155"/>
              <a:gd name="connsiteX837" fmla="*/ 5600242 w 6436611"/>
              <a:gd name="connsiteY837" fmla="*/ 2819502 h 4419155"/>
              <a:gd name="connsiteX838" fmla="*/ 5594060 w 6436611"/>
              <a:gd name="connsiteY838" fmla="*/ 2819502 h 4419155"/>
              <a:gd name="connsiteX839" fmla="*/ 5577580 w 6436611"/>
              <a:gd name="connsiteY839" fmla="*/ 2824016 h 4419155"/>
              <a:gd name="connsiteX840" fmla="*/ 5592001 w 6436611"/>
              <a:gd name="connsiteY840" fmla="*/ 2812736 h 4419155"/>
              <a:gd name="connsiteX841" fmla="*/ 5579641 w 6436611"/>
              <a:gd name="connsiteY841" fmla="*/ 2812736 h 4419155"/>
              <a:gd name="connsiteX842" fmla="*/ 5573460 w 6436611"/>
              <a:gd name="connsiteY842" fmla="*/ 2812736 h 4419155"/>
              <a:gd name="connsiteX843" fmla="*/ 5546680 w 6436611"/>
              <a:gd name="connsiteY843" fmla="*/ 2826272 h 4419155"/>
              <a:gd name="connsiteX844" fmla="*/ 5545034 w 6436611"/>
              <a:gd name="connsiteY844" fmla="*/ 2828076 h 4419155"/>
              <a:gd name="connsiteX845" fmla="*/ 5546680 w 6436611"/>
              <a:gd name="connsiteY845" fmla="*/ 2828527 h 4419155"/>
              <a:gd name="connsiteX846" fmla="*/ 5543644 w 6436611"/>
              <a:gd name="connsiteY846" fmla="*/ 2831022 h 4419155"/>
              <a:gd name="connsiteX847" fmla="*/ 5552860 w 6436611"/>
              <a:gd name="connsiteY847" fmla="*/ 2833038 h 4419155"/>
              <a:gd name="connsiteX848" fmla="*/ 5563161 w 6436611"/>
              <a:gd name="connsiteY848" fmla="*/ 2830784 h 4419155"/>
              <a:gd name="connsiteX849" fmla="*/ 5587882 w 6436611"/>
              <a:gd name="connsiteY849" fmla="*/ 2835296 h 4419155"/>
              <a:gd name="connsiteX850" fmla="*/ 5629082 w 6436611"/>
              <a:gd name="connsiteY850" fmla="*/ 2830784 h 4419155"/>
              <a:gd name="connsiteX851" fmla="*/ 5598180 w 6436611"/>
              <a:gd name="connsiteY851" fmla="*/ 2839808 h 4419155"/>
              <a:gd name="connsiteX852" fmla="*/ 5575521 w 6436611"/>
              <a:gd name="connsiteY852" fmla="*/ 2846574 h 4419155"/>
              <a:gd name="connsiteX853" fmla="*/ 5567281 w 6436611"/>
              <a:gd name="connsiteY853" fmla="*/ 2848831 h 4419155"/>
              <a:gd name="connsiteX854" fmla="*/ 5550801 w 6436611"/>
              <a:gd name="connsiteY854" fmla="*/ 2853344 h 4419155"/>
              <a:gd name="connsiteX855" fmla="*/ 5538441 w 6436611"/>
              <a:gd name="connsiteY855" fmla="*/ 2864622 h 4419155"/>
              <a:gd name="connsiteX856" fmla="*/ 5524021 w 6436611"/>
              <a:gd name="connsiteY856" fmla="*/ 2871388 h 4419155"/>
              <a:gd name="connsiteX857" fmla="*/ 5486941 w 6436611"/>
              <a:gd name="connsiteY857" fmla="*/ 2878158 h 4419155"/>
              <a:gd name="connsiteX858" fmla="*/ 5480759 w 6436611"/>
              <a:gd name="connsiteY858" fmla="*/ 2880414 h 4419155"/>
              <a:gd name="connsiteX859" fmla="*/ 5474580 w 6436611"/>
              <a:gd name="connsiteY859" fmla="*/ 2882669 h 4419155"/>
              <a:gd name="connsiteX860" fmla="*/ 5472521 w 6436611"/>
              <a:gd name="connsiteY860" fmla="*/ 2882669 h 4419155"/>
              <a:gd name="connsiteX861" fmla="*/ 5427200 w 6436611"/>
              <a:gd name="connsiteY861" fmla="*/ 2889438 h 4419155"/>
              <a:gd name="connsiteX862" fmla="*/ 5348918 w 6436611"/>
              <a:gd name="connsiteY862" fmla="*/ 2902971 h 4419155"/>
              <a:gd name="connsiteX863" fmla="*/ 5346860 w 6436611"/>
              <a:gd name="connsiteY863" fmla="*/ 2900716 h 4419155"/>
              <a:gd name="connsiteX864" fmla="*/ 5353039 w 6436611"/>
              <a:gd name="connsiteY864" fmla="*/ 2898460 h 4419155"/>
              <a:gd name="connsiteX865" fmla="*/ 5375700 w 6436611"/>
              <a:gd name="connsiteY865" fmla="*/ 2891692 h 4419155"/>
              <a:gd name="connsiteX866" fmla="*/ 5429259 w 6436611"/>
              <a:gd name="connsiteY866" fmla="*/ 2873645 h 4419155"/>
              <a:gd name="connsiteX867" fmla="*/ 5427200 w 6436611"/>
              <a:gd name="connsiteY867" fmla="*/ 2875903 h 4419155"/>
              <a:gd name="connsiteX868" fmla="*/ 5429259 w 6436611"/>
              <a:gd name="connsiteY868" fmla="*/ 2878158 h 4419155"/>
              <a:gd name="connsiteX869" fmla="*/ 5435438 w 6436611"/>
              <a:gd name="connsiteY869" fmla="*/ 2875903 h 4419155"/>
              <a:gd name="connsiteX870" fmla="*/ 5433380 w 6436611"/>
              <a:gd name="connsiteY870" fmla="*/ 2871388 h 4419155"/>
              <a:gd name="connsiteX871" fmla="*/ 5468402 w 6436611"/>
              <a:gd name="connsiteY871" fmla="*/ 2860110 h 4419155"/>
              <a:gd name="connsiteX872" fmla="*/ 5489000 w 6436611"/>
              <a:gd name="connsiteY872" fmla="*/ 2848831 h 4419155"/>
              <a:gd name="connsiteX873" fmla="*/ 5515782 w 6436611"/>
              <a:gd name="connsiteY873" fmla="*/ 2844320 h 4419155"/>
              <a:gd name="connsiteX874" fmla="*/ 5536382 w 6436611"/>
              <a:gd name="connsiteY874" fmla="*/ 2835296 h 4419155"/>
              <a:gd name="connsiteX875" fmla="*/ 5538441 w 6436611"/>
              <a:gd name="connsiteY875" fmla="*/ 2835296 h 4419155"/>
              <a:gd name="connsiteX876" fmla="*/ 5543644 w 6436611"/>
              <a:gd name="connsiteY876" fmla="*/ 2831022 h 4419155"/>
              <a:gd name="connsiteX877" fmla="*/ 5542560 w 6436611"/>
              <a:gd name="connsiteY877" fmla="*/ 2830784 h 4419155"/>
              <a:gd name="connsiteX878" fmla="*/ 5545034 w 6436611"/>
              <a:gd name="connsiteY878" fmla="*/ 2828076 h 4419155"/>
              <a:gd name="connsiteX879" fmla="*/ 5538441 w 6436611"/>
              <a:gd name="connsiteY879" fmla="*/ 2826272 h 4419155"/>
              <a:gd name="connsiteX880" fmla="*/ 5536382 w 6436611"/>
              <a:gd name="connsiteY880" fmla="*/ 2826272 h 4419155"/>
              <a:gd name="connsiteX881" fmla="*/ 5528139 w 6436611"/>
              <a:gd name="connsiteY881" fmla="*/ 2826272 h 4419155"/>
              <a:gd name="connsiteX882" fmla="*/ 5521960 w 6436611"/>
              <a:gd name="connsiteY882" fmla="*/ 2826272 h 4419155"/>
              <a:gd name="connsiteX883" fmla="*/ 5559041 w 6436611"/>
              <a:gd name="connsiteY883" fmla="*/ 2812736 h 4419155"/>
              <a:gd name="connsiteX884" fmla="*/ 5561102 w 6436611"/>
              <a:gd name="connsiteY884" fmla="*/ 2799200 h 4419155"/>
              <a:gd name="connsiteX885" fmla="*/ 5569340 w 6436611"/>
              <a:gd name="connsiteY885" fmla="*/ 2799200 h 4419155"/>
              <a:gd name="connsiteX886" fmla="*/ 5602301 w 6436611"/>
              <a:gd name="connsiteY886" fmla="*/ 2792432 h 4419155"/>
              <a:gd name="connsiteX887" fmla="*/ 5627021 w 6436611"/>
              <a:gd name="connsiteY887" fmla="*/ 2785666 h 4419155"/>
              <a:gd name="connsiteX888" fmla="*/ 5624962 w 6436611"/>
              <a:gd name="connsiteY888" fmla="*/ 2794689 h 4419155"/>
              <a:gd name="connsiteX889" fmla="*/ 5612602 w 6436611"/>
              <a:gd name="connsiteY889" fmla="*/ 2799200 h 4419155"/>
              <a:gd name="connsiteX890" fmla="*/ 5598180 w 6436611"/>
              <a:gd name="connsiteY890" fmla="*/ 2805968 h 4419155"/>
              <a:gd name="connsiteX891" fmla="*/ 5604362 w 6436611"/>
              <a:gd name="connsiteY891" fmla="*/ 2810480 h 4419155"/>
              <a:gd name="connsiteX892" fmla="*/ 5627021 w 6436611"/>
              <a:gd name="connsiteY892" fmla="*/ 2808225 h 4419155"/>
              <a:gd name="connsiteX893" fmla="*/ 5641440 w 6436611"/>
              <a:gd name="connsiteY893" fmla="*/ 2803714 h 4419155"/>
              <a:gd name="connsiteX894" fmla="*/ 5643501 w 6436611"/>
              <a:gd name="connsiteY894" fmla="*/ 2805968 h 4419155"/>
              <a:gd name="connsiteX895" fmla="*/ 5645560 w 6436611"/>
              <a:gd name="connsiteY895" fmla="*/ 2803714 h 4419155"/>
              <a:gd name="connsiteX896" fmla="*/ 5674403 w 6436611"/>
              <a:gd name="connsiteY896" fmla="*/ 2796944 h 4419155"/>
              <a:gd name="connsiteX897" fmla="*/ 5697062 w 6436611"/>
              <a:gd name="connsiteY897" fmla="*/ 2790178 h 4419155"/>
              <a:gd name="connsiteX898" fmla="*/ 5721783 w 6436611"/>
              <a:gd name="connsiteY898" fmla="*/ 2781153 h 4419155"/>
              <a:gd name="connsiteX899" fmla="*/ 5748562 w 6436611"/>
              <a:gd name="connsiteY899" fmla="*/ 2774387 h 4419155"/>
              <a:gd name="connsiteX900" fmla="*/ 5775342 w 6436611"/>
              <a:gd name="connsiteY900" fmla="*/ 2767618 h 4419155"/>
              <a:gd name="connsiteX901" fmla="*/ 5795942 w 6436611"/>
              <a:gd name="connsiteY901" fmla="*/ 2760851 h 4419155"/>
              <a:gd name="connsiteX902" fmla="*/ 5828903 w 6436611"/>
              <a:gd name="connsiteY902" fmla="*/ 2758594 h 4419155"/>
              <a:gd name="connsiteX903" fmla="*/ 5833023 w 6436611"/>
              <a:gd name="connsiteY903" fmla="*/ 2754082 h 4419155"/>
              <a:gd name="connsiteX904" fmla="*/ 5812423 w 6436611"/>
              <a:gd name="connsiteY904" fmla="*/ 2749571 h 4419155"/>
              <a:gd name="connsiteX905" fmla="*/ 5828903 w 6436611"/>
              <a:gd name="connsiteY905" fmla="*/ 2745058 h 4419155"/>
              <a:gd name="connsiteX906" fmla="*/ 5839205 w 6436611"/>
              <a:gd name="connsiteY906" fmla="*/ 2745058 h 4419155"/>
              <a:gd name="connsiteX907" fmla="*/ 5859805 w 6436611"/>
              <a:gd name="connsiteY907" fmla="*/ 2745058 h 4419155"/>
              <a:gd name="connsiteX908" fmla="*/ 5876283 w 6436611"/>
              <a:gd name="connsiteY908" fmla="*/ 2745058 h 4419155"/>
              <a:gd name="connsiteX909" fmla="*/ 5878344 w 6436611"/>
              <a:gd name="connsiteY909" fmla="*/ 2749571 h 4419155"/>
              <a:gd name="connsiteX910" fmla="*/ 5884526 w 6436611"/>
              <a:gd name="connsiteY910" fmla="*/ 164310 h 4419155"/>
              <a:gd name="connsiteX911" fmla="*/ 5882465 w 6436611"/>
              <a:gd name="connsiteY911" fmla="*/ 164310 h 4419155"/>
              <a:gd name="connsiteX912" fmla="*/ 5884526 w 6436611"/>
              <a:gd name="connsiteY912" fmla="*/ 162056 h 4419155"/>
              <a:gd name="connsiteX913" fmla="*/ 5884526 w 6436611"/>
              <a:gd name="connsiteY913" fmla="*/ 164310 h 4419155"/>
              <a:gd name="connsiteX914" fmla="*/ 5890705 w 6436611"/>
              <a:gd name="connsiteY914" fmla="*/ 2805968 h 4419155"/>
              <a:gd name="connsiteX915" fmla="*/ 5861864 w 6436611"/>
              <a:gd name="connsiteY915" fmla="*/ 2810480 h 4419155"/>
              <a:gd name="connsiteX916" fmla="*/ 5833023 w 6436611"/>
              <a:gd name="connsiteY916" fmla="*/ 2817248 h 4419155"/>
              <a:gd name="connsiteX917" fmla="*/ 5791825 w 6436611"/>
              <a:gd name="connsiteY917" fmla="*/ 2830784 h 4419155"/>
              <a:gd name="connsiteX918" fmla="*/ 5742383 w 6436611"/>
              <a:gd name="connsiteY918" fmla="*/ 2846574 h 4419155"/>
              <a:gd name="connsiteX919" fmla="*/ 5721783 w 6436611"/>
              <a:gd name="connsiteY919" fmla="*/ 2851086 h 4419155"/>
              <a:gd name="connsiteX920" fmla="*/ 5744442 w 6436611"/>
              <a:gd name="connsiteY920" fmla="*/ 2842062 h 4419155"/>
              <a:gd name="connsiteX921" fmla="*/ 5783582 w 6436611"/>
              <a:gd name="connsiteY921" fmla="*/ 2830784 h 4419155"/>
              <a:gd name="connsiteX922" fmla="*/ 5787703 w 6436611"/>
              <a:gd name="connsiteY922" fmla="*/ 2821760 h 4419155"/>
              <a:gd name="connsiteX923" fmla="*/ 5752683 w 6436611"/>
              <a:gd name="connsiteY923" fmla="*/ 2830784 h 4419155"/>
              <a:gd name="connsiteX924" fmla="*/ 5754742 w 6436611"/>
              <a:gd name="connsiteY924" fmla="*/ 2826272 h 4419155"/>
              <a:gd name="connsiteX925" fmla="*/ 5785644 w 6436611"/>
              <a:gd name="connsiteY925" fmla="*/ 2821760 h 4419155"/>
              <a:gd name="connsiteX926" fmla="*/ 5798003 w 6436611"/>
              <a:gd name="connsiteY926" fmla="*/ 2819502 h 4419155"/>
              <a:gd name="connsiteX927" fmla="*/ 5812423 w 6436611"/>
              <a:gd name="connsiteY927" fmla="*/ 2812736 h 4419155"/>
              <a:gd name="connsiteX928" fmla="*/ 5830965 w 6436611"/>
              <a:gd name="connsiteY928" fmla="*/ 2812736 h 4419155"/>
              <a:gd name="connsiteX929" fmla="*/ 5845383 w 6436611"/>
              <a:gd name="connsiteY929" fmla="*/ 2810480 h 4419155"/>
              <a:gd name="connsiteX930" fmla="*/ 5843324 w 6436611"/>
              <a:gd name="connsiteY930" fmla="*/ 2812736 h 4419155"/>
              <a:gd name="connsiteX931" fmla="*/ 5868042 w 6436611"/>
              <a:gd name="connsiteY931" fmla="*/ 2808225 h 4419155"/>
              <a:gd name="connsiteX932" fmla="*/ 5890705 w 6436611"/>
              <a:gd name="connsiteY932" fmla="*/ 2805968 h 4419155"/>
              <a:gd name="connsiteX933" fmla="*/ 5896883 w 6436611"/>
              <a:gd name="connsiteY933" fmla="*/ 2611960 h 4419155"/>
              <a:gd name="connsiteX934" fmla="*/ 5888644 w 6436611"/>
              <a:gd name="connsiteY934" fmla="*/ 2614218 h 4419155"/>
              <a:gd name="connsiteX935" fmla="*/ 5891991 w 6436611"/>
              <a:gd name="connsiteY935" fmla="*/ 2611397 h 4419155"/>
              <a:gd name="connsiteX936" fmla="*/ 5896883 w 6436611"/>
              <a:gd name="connsiteY936" fmla="*/ 2611960 h 4419155"/>
              <a:gd name="connsiteX937" fmla="*/ 5903065 w 6436611"/>
              <a:gd name="connsiteY937" fmla="*/ 2855598 h 4419155"/>
              <a:gd name="connsiteX938" fmla="*/ 5896883 w 6436611"/>
              <a:gd name="connsiteY938" fmla="*/ 2851086 h 4419155"/>
              <a:gd name="connsiteX939" fmla="*/ 5894824 w 6436611"/>
              <a:gd name="connsiteY939" fmla="*/ 2851086 h 4419155"/>
              <a:gd name="connsiteX940" fmla="*/ 5892763 w 6436611"/>
              <a:gd name="connsiteY940" fmla="*/ 2853344 h 4419155"/>
              <a:gd name="connsiteX941" fmla="*/ 5888644 w 6436611"/>
              <a:gd name="connsiteY941" fmla="*/ 2857856 h 4419155"/>
              <a:gd name="connsiteX942" fmla="*/ 5903065 w 6436611"/>
              <a:gd name="connsiteY942" fmla="*/ 2855598 h 4419155"/>
              <a:gd name="connsiteX943" fmla="*/ 5911305 w 6436611"/>
              <a:gd name="connsiteY943" fmla="*/ 2833038 h 4419155"/>
              <a:gd name="connsiteX944" fmla="*/ 5892763 w 6436611"/>
              <a:gd name="connsiteY944" fmla="*/ 2837550 h 4419155"/>
              <a:gd name="connsiteX945" fmla="*/ 5865985 w 6436611"/>
              <a:gd name="connsiteY945" fmla="*/ 2837550 h 4419155"/>
              <a:gd name="connsiteX946" fmla="*/ 5884526 w 6436611"/>
              <a:gd name="connsiteY946" fmla="*/ 2830784 h 4419155"/>
              <a:gd name="connsiteX947" fmla="*/ 5896370 w 6436611"/>
              <a:gd name="connsiteY947" fmla="*/ 2824298 h 4419155"/>
              <a:gd name="connsiteX948" fmla="*/ 5911305 w 6436611"/>
              <a:gd name="connsiteY948" fmla="*/ 2826272 h 4419155"/>
              <a:gd name="connsiteX949" fmla="*/ 5911305 w 6436611"/>
              <a:gd name="connsiteY949" fmla="*/ 2833038 h 4419155"/>
              <a:gd name="connsiteX950" fmla="*/ 5913364 w 6436611"/>
              <a:gd name="connsiteY950" fmla="*/ 2575868 h 4419155"/>
              <a:gd name="connsiteX951" fmla="*/ 5911305 w 6436611"/>
              <a:gd name="connsiteY951" fmla="*/ 2578122 h 4419155"/>
              <a:gd name="connsiteX952" fmla="*/ 5909244 w 6436611"/>
              <a:gd name="connsiteY952" fmla="*/ 2575868 h 4419155"/>
              <a:gd name="connsiteX953" fmla="*/ 5911305 w 6436611"/>
              <a:gd name="connsiteY953" fmla="*/ 2575868 h 4419155"/>
              <a:gd name="connsiteX954" fmla="*/ 5913364 w 6436611"/>
              <a:gd name="connsiteY954" fmla="*/ 2575868 h 4419155"/>
              <a:gd name="connsiteX955" fmla="*/ 5915426 w 6436611"/>
              <a:gd name="connsiteY955" fmla="*/ 2751828 h 4419155"/>
              <a:gd name="connsiteX956" fmla="*/ 5876283 w 6436611"/>
              <a:gd name="connsiteY956" fmla="*/ 2754082 h 4419155"/>
              <a:gd name="connsiteX957" fmla="*/ 5896625 w 6436611"/>
              <a:gd name="connsiteY957" fmla="*/ 2748726 h 4419155"/>
              <a:gd name="connsiteX958" fmla="*/ 5915426 w 6436611"/>
              <a:gd name="connsiteY958" fmla="*/ 2751828 h 4419155"/>
              <a:gd name="connsiteX959" fmla="*/ 5917483 w 6436611"/>
              <a:gd name="connsiteY959" fmla="*/ 2600682 h 4419155"/>
              <a:gd name="connsiteX960" fmla="*/ 5849503 w 6436611"/>
              <a:gd name="connsiteY960" fmla="*/ 2602936 h 4419155"/>
              <a:gd name="connsiteX961" fmla="*/ 5845383 w 6436611"/>
              <a:gd name="connsiteY961" fmla="*/ 2596170 h 4419155"/>
              <a:gd name="connsiteX962" fmla="*/ 5876283 w 6436611"/>
              <a:gd name="connsiteY962" fmla="*/ 2593913 h 4419155"/>
              <a:gd name="connsiteX963" fmla="*/ 5894824 w 6436611"/>
              <a:gd name="connsiteY963" fmla="*/ 2596170 h 4419155"/>
              <a:gd name="connsiteX964" fmla="*/ 5917483 w 6436611"/>
              <a:gd name="connsiteY964" fmla="*/ 2600682 h 4419155"/>
              <a:gd name="connsiteX965" fmla="*/ 5921604 w 6436611"/>
              <a:gd name="connsiteY965" fmla="*/ 2763106 h 4419155"/>
              <a:gd name="connsiteX966" fmla="*/ 5901003 w 6436611"/>
              <a:gd name="connsiteY966" fmla="*/ 2772130 h 4419155"/>
              <a:gd name="connsiteX967" fmla="*/ 5888644 w 6436611"/>
              <a:gd name="connsiteY967" fmla="*/ 2772130 h 4419155"/>
              <a:gd name="connsiteX968" fmla="*/ 5865985 w 6436611"/>
              <a:gd name="connsiteY968" fmla="*/ 2772130 h 4419155"/>
              <a:gd name="connsiteX969" fmla="*/ 5857744 w 6436611"/>
              <a:gd name="connsiteY969" fmla="*/ 2772130 h 4419155"/>
              <a:gd name="connsiteX970" fmla="*/ 5855683 w 6436611"/>
              <a:gd name="connsiteY970" fmla="*/ 2772130 h 4419155"/>
              <a:gd name="connsiteX971" fmla="*/ 5843324 w 6436611"/>
              <a:gd name="connsiteY971" fmla="*/ 2772130 h 4419155"/>
              <a:gd name="connsiteX972" fmla="*/ 5847442 w 6436611"/>
              <a:gd name="connsiteY972" fmla="*/ 2767618 h 4419155"/>
              <a:gd name="connsiteX973" fmla="*/ 5853624 w 6436611"/>
              <a:gd name="connsiteY973" fmla="*/ 2765364 h 4419155"/>
              <a:gd name="connsiteX974" fmla="*/ 5847442 w 6436611"/>
              <a:gd name="connsiteY974" fmla="*/ 2765364 h 4419155"/>
              <a:gd name="connsiteX975" fmla="*/ 5855683 w 6436611"/>
              <a:gd name="connsiteY975" fmla="*/ 2756340 h 4419155"/>
              <a:gd name="connsiteX976" fmla="*/ 5903065 w 6436611"/>
              <a:gd name="connsiteY976" fmla="*/ 2765364 h 4419155"/>
              <a:gd name="connsiteX977" fmla="*/ 5905124 w 6436611"/>
              <a:gd name="connsiteY977" fmla="*/ 2765364 h 4419155"/>
              <a:gd name="connsiteX978" fmla="*/ 5921604 w 6436611"/>
              <a:gd name="connsiteY978" fmla="*/ 2763106 h 4419155"/>
              <a:gd name="connsiteX979" fmla="*/ 5923665 w 6436611"/>
              <a:gd name="connsiteY979" fmla="*/ 1700579 h 4419155"/>
              <a:gd name="connsiteX980" fmla="*/ 5919542 w 6436611"/>
              <a:gd name="connsiteY980" fmla="*/ 1702834 h 4419155"/>
              <a:gd name="connsiteX981" fmla="*/ 5915426 w 6436611"/>
              <a:gd name="connsiteY981" fmla="*/ 1702834 h 4419155"/>
              <a:gd name="connsiteX982" fmla="*/ 5917999 w 6436611"/>
              <a:gd name="connsiteY982" fmla="*/ 1696067 h 4419155"/>
              <a:gd name="connsiteX983" fmla="*/ 5923665 w 6436611"/>
              <a:gd name="connsiteY983" fmla="*/ 1696068 h 4419155"/>
              <a:gd name="connsiteX984" fmla="*/ 5923665 w 6436611"/>
              <a:gd name="connsiteY984" fmla="*/ 1700579 h 4419155"/>
              <a:gd name="connsiteX985" fmla="*/ 5936026 w 6436611"/>
              <a:gd name="connsiteY985" fmla="*/ 162056 h 4419155"/>
              <a:gd name="connsiteX986" fmla="*/ 5913364 w 6436611"/>
              <a:gd name="connsiteY986" fmla="*/ 173335 h 4419155"/>
              <a:gd name="connsiteX987" fmla="*/ 5913364 w 6436611"/>
              <a:gd name="connsiteY987" fmla="*/ 168823 h 4419155"/>
              <a:gd name="connsiteX988" fmla="*/ 5936026 w 6436611"/>
              <a:gd name="connsiteY988" fmla="*/ 162056 h 4419155"/>
              <a:gd name="connsiteX989" fmla="*/ 5948386 w 6436611"/>
              <a:gd name="connsiteY989" fmla="*/ 2510444 h 4419155"/>
              <a:gd name="connsiteX990" fmla="*/ 5944263 w 6436611"/>
              <a:gd name="connsiteY990" fmla="*/ 2512702 h 4419155"/>
              <a:gd name="connsiteX991" fmla="*/ 5919542 w 6436611"/>
              <a:gd name="connsiteY991" fmla="*/ 2521726 h 4419155"/>
              <a:gd name="connsiteX992" fmla="*/ 5917483 w 6436611"/>
              <a:gd name="connsiteY992" fmla="*/ 2521726 h 4419155"/>
              <a:gd name="connsiteX993" fmla="*/ 5870104 w 6436611"/>
              <a:gd name="connsiteY993" fmla="*/ 2526238 h 4419155"/>
              <a:gd name="connsiteX994" fmla="*/ 5868042 w 6436611"/>
              <a:gd name="connsiteY994" fmla="*/ 2526238 h 4419155"/>
              <a:gd name="connsiteX995" fmla="*/ 5802124 w 6436611"/>
              <a:gd name="connsiteY995" fmla="*/ 2530750 h 4419155"/>
              <a:gd name="connsiteX996" fmla="*/ 5777403 w 6436611"/>
              <a:gd name="connsiteY996" fmla="*/ 2537516 h 4419155"/>
              <a:gd name="connsiteX997" fmla="*/ 5730023 w 6436611"/>
              <a:gd name="connsiteY997" fmla="*/ 2542028 h 4419155"/>
              <a:gd name="connsiteX998" fmla="*/ 5746503 w 6436611"/>
              <a:gd name="connsiteY998" fmla="*/ 2533004 h 4419155"/>
              <a:gd name="connsiteX999" fmla="*/ 5828903 w 6436611"/>
              <a:gd name="connsiteY999" fmla="*/ 2519469 h 4419155"/>
              <a:gd name="connsiteX1000" fmla="*/ 5841263 w 6436611"/>
              <a:gd name="connsiteY1000" fmla="*/ 2517214 h 4419155"/>
              <a:gd name="connsiteX1001" fmla="*/ 5903065 w 6436611"/>
              <a:gd name="connsiteY1001" fmla="*/ 2505933 h 4419155"/>
              <a:gd name="connsiteX1002" fmla="*/ 5948386 w 6436611"/>
              <a:gd name="connsiteY1002" fmla="*/ 2510444 h 4419155"/>
              <a:gd name="connsiteX1003" fmla="*/ 5950445 w 6436611"/>
              <a:gd name="connsiteY1003" fmla="*/ 229734 h 4419155"/>
              <a:gd name="connsiteX1004" fmla="*/ 5946324 w 6436611"/>
              <a:gd name="connsiteY1004" fmla="*/ 227477 h 4419155"/>
              <a:gd name="connsiteX1005" fmla="*/ 5948386 w 6436611"/>
              <a:gd name="connsiteY1005" fmla="*/ 225222 h 4419155"/>
              <a:gd name="connsiteX1006" fmla="*/ 5950445 w 6436611"/>
              <a:gd name="connsiteY1006" fmla="*/ 229734 h 4419155"/>
              <a:gd name="connsiteX1007" fmla="*/ 5950445 w 6436611"/>
              <a:gd name="connsiteY1007" fmla="*/ 1761489 h 4419155"/>
              <a:gd name="connsiteX1008" fmla="*/ 5944263 w 6436611"/>
              <a:gd name="connsiteY1008" fmla="*/ 1763742 h 4419155"/>
              <a:gd name="connsiteX1009" fmla="*/ 5931906 w 6436611"/>
              <a:gd name="connsiteY1009" fmla="*/ 1761489 h 4419155"/>
              <a:gd name="connsiteX1010" fmla="*/ 5929844 w 6436611"/>
              <a:gd name="connsiteY1010" fmla="*/ 1759231 h 4419155"/>
              <a:gd name="connsiteX1011" fmla="*/ 5950445 w 6436611"/>
              <a:gd name="connsiteY1011" fmla="*/ 1761489 h 4419155"/>
              <a:gd name="connsiteX1012" fmla="*/ 5962805 w 6436611"/>
              <a:gd name="connsiteY1012" fmla="*/ 2607449 h 4419155"/>
              <a:gd name="connsiteX1013" fmla="*/ 5960744 w 6436611"/>
              <a:gd name="connsiteY1013" fmla="*/ 2609706 h 4419155"/>
              <a:gd name="connsiteX1014" fmla="*/ 5944263 w 6436611"/>
              <a:gd name="connsiteY1014" fmla="*/ 2616472 h 4419155"/>
              <a:gd name="connsiteX1015" fmla="*/ 5940143 w 6436611"/>
              <a:gd name="connsiteY1015" fmla="*/ 2618730 h 4419155"/>
              <a:gd name="connsiteX1016" fmla="*/ 5936026 w 6436611"/>
              <a:gd name="connsiteY1016" fmla="*/ 2618730 h 4419155"/>
              <a:gd name="connsiteX1017" fmla="*/ 5933965 w 6436611"/>
              <a:gd name="connsiteY1017" fmla="*/ 2620984 h 4419155"/>
              <a:gd name="connsiteX1018" fmla="*/ 5898945 w 6436611"/>
              <a:gd name="connsiteY1018" fmla="*/ 2623242 h 4419155"/>
              <a:gd name="connsiteX1019" fmla="*/ 5905124 w 6436611"/>
              <a:gd name="connsiteY1019" fmla="*/ 2616472 h 4419155"/>
              <a:gd name="connsiteX1020" fmla="*/ 5915426 w 6436611"/>
              <a:gd name="connsiteY1020" fmla="*/ 2611960 h 4419155"/>
              <a:gd name="connsiteX1021" fmla="*/ 5946324 w 6436611"/>
              <a:gd name="connsiteY1021" fmla="*/ 2605194 h 4419155"/>
              <a:gd name="connsiteX1022" fmla="*/ 5962805 w 6436611"/>
              <a:gd name="connsiteY1022" fmla="*/ 2607449 h 4419155"/>
              <a:gd name="connsiteX1023" fmla="*/ 5964863 w 6436611"/>
              <a:gd name="connsiteY1023" fmla="*/ 2781153 h 4419155"/>
              <a:gd name="connsiteX1024" fmla="*/ 5956626 w 6436611"/>
              <a:gd name="connsiteY1024" fmla="*/ 2785666 h 4419155"/>
              <a:gd name="connsiteX1025" fmla="*/ 5964863 w 6436611"/>
              <a:gd name="connsiteY1025" fmla="*/ 2781153 h 4419155"/>
              <a:gd name="connsiteX1026" fmla="*/ 5973104 w 6436611"/>
              <a:gd name="connsiteY1026" fmla="*/ 2693174 h 4419155"/>
              <a:gd name="connsiteX1027" fmla="*/ 5962805 w 6436611"/>
              <a:gd name="connsiteY1027" fmla="*/ 2699940 h 4419155"/>
              <a:gd name="connsiteX1028" fmla="*/ 5911305 w 6436611"/>
              <a:gd name="connsiteY1028" fmla="*/ 2702198 h 4419155"/>
              <a:gd name="connsiteX1029" fmla="*/ 5917483 w 6436611"/>
              <a:gd name="connsiteY1029" fmla="*/ 2697686 h 4419155"/>
              <a:gd name="connsiteX1030" fmla="*/ 5863926 w 6436611"/>
              <a:gd name="connsiteY1030" fmla="*/ 2708964 h 4419155"/>
              <a:gd name="connsiteX1031" fmla="*/ 5853863 w 6436611"/>
              <a:gd name="connsiteY1031" fmla="*/ 2704557 h 4419155"/>
              <a:gd name="connsiteX1032" fmla="*/ 5854138 w 6436611"/>
              <a:gd name="connsiteY1032" fmla="*/ 2707272 h 4419155"/>
              <a:gd name="connsiteX1033" fmla="*/ 5851562 w 6436611"/>
              <a:gd name="connsiteY1033" fmla="*/ 2708964 h 4419155"/>
              <a:gd name="connsiteX1034" fmla="*/ 5833023 w 6436611"/>
              <a:gd name="connsiteY1034" fmla="*/ 2713476 h 4419155"/>
              <a:gd name="connsiteX1035" fmla="*/ 5806244 w 6436611"/>
              <a:gd name="connsiteY1035" fmla="*/ 2713476 h 4419155"/>
              <a:gd name="connsiteX1036" fmla="*/ 5824783 w 6436611"/>
              <a:gd name="connsiteY1036" fmla="*/ 2706709 h 4419155"/>
              <a:gd name="connsiteX1037" fmla="*/ 5839205 w 6436611"/>
              <a:gd name="connsiteY1037" fmla="*/ 2701070 h 4419155"/>
              <a:gd name="connsiteX1038" fmla="*/ 5850334 w 6436611"/>
              <a:gd name="connsiteY1038" fmla="*/ 2701940 h 4419155"/>
              <a:gd name="connsiteX1039" fmla="*/ 5847701 w 6436611"/>
              <a:gd name="connsiteY1039" fmla="*/ 2696558 h 4419155"/>
              <a:gd name="connsiteX1040" fmla="*/ 5839205 w 6436611"/>
              <a:gd name="connsiteY1040" fmla="*/ 2695429 h 4419155"/>
              <a:gd name="connsiteX1041" fmla="*/ 5791825 w 6436611"/>
              <a:gd name="connsiteY1041" fmla="*/ 2702198 h 4419155"/>
              <a:gd name="connsiteX1042" fmla="*/ 5777403 w 6436611"/>
              <a:gd name="connsiteY1042" fmla="*/ 2706709 h 4419155"/>
              <a:gd name="connsiteX1043" fmla="*/ 5769163 w 6436611"/>
              <a:gd name="connsiteY1043" fmla="*/ 2706709 h 4419155"/>
              <a:gd name="connsiteX1044" fmla="*/ 5762982 w 6436611"/>
              <a:gd name="connsiteY1044" fmla="*/ 2702198 h 4419155"/>
              <a:gd name="connsiteX1045" fmla="*/ 5781523 w 6436611"/>
              <a:gd name="connsiteY1045" fmla="*/ 2693174 h 4419155"/>
              <a:gd name="connsiteX1046" fmla="*/ 5783582 w 6436611"/>
              <a:gd name="connsiteY1046" fmla="*/ 2690916 h 4419155"/>
              <a:gd name="connsiteX1047" fmla="*/ 5833023 w 6436611"/>
              <a:gd name="connsiteY1047" fmla="*/ 2690916 h 4419155"/>
              <a:gd name="connsiteX1048" fmla="*/ 5841263 w 6436611"/>
              <a:gd name="connsiteY1048" fmla="*/ 2690916 h 4419155"/>
              <a:gd name="connsiteX1049" fmla="*/ 5863926 w 6436611"/>
              <a:gd name="connsiteY1049" fmla="*/ 2679638 h 4419155"/>
              <a:gd name="connsiteX1050" fmla="*/ 5886585 w 6436611"/>
              <a:gd name="connsiteY1050" fmla="*/ 2686404 h 4419155"/>
              <a:gd name="connsiteX1051" fmla="*/ 5890705 w 6436611"/>
              <a:gd name="connsiteY1051" fmla="*/ 2681893 h 4419155"/>
              <a:gd name="connsiteX1052" fmla="*/ 5898945 w 6436611"/>
              <a:gd name="connsiteY1052" fmla="*/ 2677384 h 4419155"/>
              <a:gd name="connsiteX1053" fmla="*/ 5911305 w 6436611"/>
              <a:gd name="connsiteY1053" fmla="*/ 2675127 h 4419155"/>
              <a:gd name="connsiteX1054" fmla="*/ 5913364 w 6436611"/>
              <a:gd name="connsiteY1054" fmla="*/ 2675127 h 4419155"/>
              <a:gd name="connsiteX1055" fmla="*/ 5925724 w 6436611"/>
              <a:gd name="connsiteY1055" fmla="*/ 2675127 h 4419155"/>
              <a:gd name="connsiteX1056" fmla="*/ 5927785 w 6436611"/>
              <a:gd name="connsiteY1056" fmla="*/ 2679638 h 4419155"/>
              <a:gd name="connsiteX1057" fmla="*/ 5936026 w 6436611"/>
              <a:gd name="connsiteY1057" fmla="*/ 2684150 h 4419155"/>
              <a:gd name="connsiteX1058" fmla="*/ 5942204 w 6436611"/>
              <a:gd name="connsiteY1058" fmla="*/ 2681893 h 4419155"/>
              <a:gd name="connsiteX1059" fmla="*/ 5936026 w 6436611"/>
              <a:gd name="connsiteY1059" fmla="*/ 2693174 h 4419155"/>
              <a:gd name="connsiteX1060" fmla="*/ 5973104 w 6436611"/>
              <a:gd name="connsiteY1060" fmla="*/ 2693174 h 4419155"/>
              <a:gd name="connsiteX1061" fmla="*/ 5983406 w 6436611"/>
              <a:gd name="connsiteY1061" fmla="*/ 155287 h 4419155"/>
              <a:gd name="connsiteX1062" fmla="*/ 5968983 w 6436611"/>
              <a:gd name="connsiteY1062" fmla="*/ 162056 h 4419155"/>
              <a:gd name="connsiteX1063" fmla="*/ 5956626 w 6436611"/>
              <a:gd name="connsiteY1063" fmla="*/ 182358 h 4419155"/>
              <a:gd name="connsiteX1064" fmla="*/ 5962805 w 6436611"/>
              <a:gd name="connsiteY1064" fmla="*/ 189127 h 4419155"/>
              <a:gd name="connsiteX1065" fmla="*/ 5948386 w 6436611"/>
              <a:gd name="connsiteY1065" fmla="*/ 202663 h 4419155"/>
              <a:gd name="connsiteX1066" fmla="*/ 5940143 w 6436611"/>
              <a:gd name="connsiteY1066" fmla="*/ 211686 h 4419155"/>
              <a:gd name="connsiteX1067" fmla="*/ 5938085 w 6436611"/>
              <a:gd name="connsiteY1067" fmla="*/ 204917 h 4419155"/>
              <a:gd name="connsiteX1068" fmla="*/ 5940143 w 6436611"/>
              <a:gd name="connsiteY1068" fmla="*/ 191382 h 4419155"/>
              <a:gd name="connsiteX1069" fmla="*/ 5933965 w 6436611"/>
              <a:gd name="connsiteY1069" fmla="*/ 198150 h 4419155"/>
              <a:gd name="connsiteX1070" fmla="*/ 5925724 w 6436611"/>
              <a:gd name="connsiteY1070" fmla="*/ 186870 h 4419155"/>
              <a:gd name="connsiteX1071" fmla="*/ 5954565 w 6436611"/>
              <a:gd name="connsiteY1071" fmla="*/ 159799 h 4419155"/>
              <a:gd name="connsiteX1072" fmla="*/ 5938085 w 6436611"/>
              <a:gd name="connsiteY1072" fmla="*/ 159799 h 4419155"/>
              <a:gd name="connsiteX1073" fmla="*/ 5950445 w 6436611"/>
              <a:gd name="connsiteY1073" fmla="*/ 146263 h 4419155"/>
              <a:gd name="connsiteX1074" fmla="*/ 5942204 w 6436611"/>
              <a:gd name="connsiteY1074" fmla="*/ 139497 h 4419155"/>
              <a:gd name="connsiteX1075" fmla="*/ 5946324 w 6436611"/>
              <a:gd name="connsiteY1075" fmla="*/ 128218 h 4419155"/>
              <a:gd name="connsiteX1076" fmla="*/ 5940143 w 6436611"/>
              <a:gd name="connsiteY1076" fmla="*/ 137242 h 4419155"/>
              <a:gd name="connsiteX1077" fmla="*/ 5929844 w 6436611"/>
              <a:gd name="connsiteY1077" fmla="*/ 134985 h 4419155"/>
              <a:gd name="connsiteX1078" fmla="*/ 5925724 w 6436611"/>
              <a:gd name="connsiteY1078" fmla="*/ 141751 h 4419155"/>
              <a:gd name="connsiteX1079" fmla="*/ 5919542 w 6436611"/>
              <a:gd name="connsiteY1079" fmla="*/ 139497 h 4419155"/>
              <a:gd name="connsiteX1080" fmla="*/ 5917483 w 6436611"/>
              <a:gd name="connsiteY1080" fmla="*/ 146263 h 4419155"/>
              <a:gd name="connsiteX1081" fmla="*/ 5915426 w 6436611"/>
              <a:gd name="connsiteY1081" fmla="*/ 139497 h 4419155"/>
              <a:gd name="connsiteX1082" fmla="*/ 5919542 w 6436611"/>
              <a:gd name="connsiteY1082" fmla="*/ 130472 h 4419155"/>
              <a:gd name="connsiteX1083" fmla="*/ 5952506 w 6436611"/>
              <a:gd name="connsiteY1083" fmla="*/ 110172 h 4419155"/>
              <a:gd name="connsiteX1084" fmla="*/ 5952506 w 6436611"/>
              <a:gd name="connsiteY1084" fmla="*/ 121449 h 4419155"/>
              <a:gd name="connsiteX1085" fmla="*/ 5954565 w 6436611"/>
              <a:gd name="connsiteY1085" fmla="*/ 130472 h 4419155"/>
              <a:gd name="connsiteX1086" fmla="*/ 5962805 w 6436611"/>
              <a:gd name="connsiteY1086" fmla="*/ 137242 h 4419155"/>
              <a:gd name="connsiteX1087" fmla="*/ 5958685 w 6436611"/>
              <a:gd name="connsiteY1087" fmla="*/ 157544 h 4419155"/>
              <a:gd name="connsiteX1088" fmla="*/ 5983406 w 6436611"/>
              <a:gd name="connsiteY1088" fmla="*/ 155287 h 4419155"/>
              <a:gd name="connsiteX1089" fmla="*/ 5987526 w 6436611"/>
              <a:gd name="connsiteY1089" fmla="*/ 2738292 h 4419155"/>
              <a:gd name="connsiteX1090" fmla="*/ 5954565 w 6436611"/>
              <a:gd name="connsiteY1090" fmla="*/ 2747316 h 4419155"/>
              <a:gd name="connsiteX1091" fmla="*/ 5966925 w 6436611"/>
              <a:gd name="connsiteY1091" fmla="*/ 2733780 h 4419155"/>
              <a:gd name="connsiteX1092" fmla="*/ 5977226 w 6436611"/>
              <a:gd name="connsiteY1092" fmla="*/ 2736036 h 4419155"/>
              <a:gd name="connsiteX1093" fmla="*/ 5987526 w 6436611"/>
              <a:gd name="connsiteY1093" fmla="*/ 2738292 h 4419155"/>
              <a:gd name="connsiteX1094" fmla="*/ 5991645 w 6436611"/>
              <a:gd name="connsiteY1094" fmla="*/ 2591658 h 4419155"/>
              <a:gd name="connsiteX1095" fmla="*/ 5979285 w 6436611"/>
              <a:gd name="connsiteY1095" fmla="*/ 2598424 h 4419155"/>
              <a:gd name="connsiteX1096" fmla="*/ 5977226 w 6436611"/>
              <a:gd name="connsiteY1096" fmla="*/ 2598424 h 4419155"/>
              <a:gd name="connsiteX1097" fmla="*/ 5971045 w 6436611"/>
              <a:gd name="connsiteY1097" fmla="*/ 2596170 h 4419155"/>
              <a:gd name="connsiteX1098" fmla="*/ 5979285 w 6436611"/>
              <a:gd name="connsiteY1098" fmla="*/ 2591658 h 4419155"/>
              <a:gd name="connsiteX1099" fmla="*/ 5991645 w 6436611"/>
              <a:gd name="connsiteY1099" fmla="*/ 2591658 h 4419155"/>
              <a:gd name="connsiteX1100" fmla="*/ 6006065 w 6436611"/>
              <a:gd name="connsiteY1100" fmla="*/ 209429 h 4419155"/>
              <a:gd name="connsiteX1101" fmla="*/ 6001945 w 6436611"/>
              <a:gd name="connsiteY1101" fmla="*/ 218452 h 4419155"/>
              <a:gd name="connsiteX1102" fmla="*/ 5999886 w 6436611"/>
              <a:gd name="connsiteY1102" fmla="*/ 229734 h 4419155"/>
              <a:gd name="connsiteX1103" fmla="*/ 5991645 w 6436611"/>
              <a:gd name="connsiteY1103" fmla="*/ 231988 h 4419155"/>
              <a:gd name="connsiteX1104" fmla="*/ 5987526 w 6436611"/>
              <a:gd name="connsiteY1104" fmla="*/ 225222 h 4419155"/>
              <a:gd name="connsiteX1105" fmla="*/ 5968983 w 6436611"/>
              <a:gd name="connsiteY1105" fmla="*/ 243267 h 4419155"/>
              <a:gd name="connsiteX1106" fmla="*/ 5964863 w 6436611"/>
              <a:gd name="connsiteY1106" fmla="*/ 241013 h 4419155"/>
              <a:gd name="connsiteX1107" fmla="*/ 5966925 w 6436611"/>
              <a:gd name="connsiteY1107" fmla="*/ 238758 h 4419155"/>
              <a:gd name="connsiteX1108" fmla="*/ 5987526 w 6436611"/>
              <a:gd name="connsiteY1108" fmla="*/ 222965 h 4419155"/>
              <a:gd name="connsiteX1109" fmla="*/ 5999886 w 6436611"/>
              <a:gd name="connsiteY1109" fmla="*/ 213941 h 4419155"/>
              <a:gd name="connsiteX1110" fmla="*/ 5997824 w 6436611"/>
              <a:gd name="connsiteY1110" fmla="*/ 211686 h 4419155"/>
              <a:gd name="connsiteX1111" fmla="*/ 6006065 w 6436611"/>
              <a:gd name="connsiteY1111" fmla="*/ 209429 h 4419155"/>
              <a:gd name="connsiteX1112" fmla="*/ 6008126 w 6436611"/>
              <a:gd name="connsiteY1112" fmla="*/ 2772130 h 4419155"/>
              <a:gd name="connsiteX1113" fmla="*/ 5995765 w 6436611"/>
              <a:gd name="connsiteY1113" fmla="*/ 2774387 h 4419155"/>
              <a:gd name="connsiteX1114" fmla="*/ 6006065 w 6436611"/>
              <a:gd name="connsiteY1114" fmla="*/ 2774387 h 4419155"/>
              <a:gd name="connsiteX1115" fmla="*/ 6008126 w 6436611"/>
              <a:gd name="connsiteY1115" fmla="*/ 2772130 h 4419155"/>
              <a:gd name="connsiteX1116" fmla="*/ 6010185 w 6436611"/>
              <a:gd name="connsiteY1116" fmla="*/ 2345767 h 4419155"/>
              <a:gd name="connsiteX1117" fmla="*/ 5993704 w 6436611"/>
              <a:gd name="connsiteY1117" fmla="*/ 2345767 h 4419155"/>
              <a:gd name="connsiteX1118" fmla="*/ 5997824 w 6436611"/>
              <a:gd name="connsiteY1118" fmla="*/ 2345767 h 4419155"/>
              <a:gd name="connsiteX1119" fmla="*/ 5999886 w 6436611"/>
              <a:gd name="connsiteY1119" fmla="*/ 2345767 h 4419155"/>
              <a:gd name="connsiteX1120" fmla="*/ 6010185 w 6436611"/>
              <a:gd name="connsiteY1120" fmla="*/ 2345767 h 4419155"/>
              <a:gd name="connsiteX1121" fmla="*/ 6010185 w 6436611"/>
              <a:gd name="connsiteY1121" fmla="*/ 2672869 h 4419155"/>
              <a:gd name="connsiteX1122" fmla="*/ 5995765 w 6436611"/>
              <a:gd name="connsiteY1122" fmla="*/ 2681893 h 4419155"/>
              <a:gd name="connsiteX1123" fmla="*/ 5966925 w 6436611"/>
              <a:gd name="connsiteY1123" fmla="*/ 2672869 h 4419155"/>
              <a:gd name="connsiteX1124" fmla="*/ 5946324 w 6436611"/>
              <a:gd name="connsiteY1124" fmla="*/ 2679638 h 4419155"/>
              <a:gd name="connsiteX1125" fmla="*/ 5940143 w 6436611"/>
              <a:gd name="connsiteY1125" fmla="*/ 2675127 h 4419155"/>
              <a:gd name="connsiteX1126" fmla="*/ 5954565 w 6436611"/>
              <a:gd name="connsiteY1126" fmla="*/ 2663848 h 4419155"/>
              <a:gd name="connsiteX1127" fmla="*/ 5968983 w 6436611"/>
              <a:gd name="connsiteY1127" fmla="*/ 2661591 h 4419155"/>
              <a:gd name="connsiteX1128" fmla="*/ 5985465 w 6436611"/>
              <a:gd name="connsiteY1128" fmla="*/ 2663848 h 4419155"/>
              <a:gd name="connsiteX1129" fmla="*/ 5983406 w 6436611"/>
              <a:gd name="connsiteY1129" fmla="*/ 2666102 h 4419155"/>
              <a:gd name="connsiteX1130" fmla="*/ 5991645 w 6436611"/>
              <a:gd name="connsiteY1130" fmla="*/ 2666102 h 4419155"/>
              <a:gd name="connsiteX1131" fmla="*/ 5997824 w 6436611"/>
              <a:gd name="connsiteY1131" fmla="*/ 2668358 h 4419155"/>
              <a:gd name="connsiteX1132" fmla="*/ 6010185 w 6436611"/>
              <a:gd name="connsiteY1132" fmla="*/ 2672869 h 4419155"/>
              <a:gd name="connsiteX1133" fmla="*/ 6014304 w 6436611"/>
              <a:gd name="connsiteY1133" fmla="*/ 2756340 h 4419155"/>
              <a:gd name="connsiteX1134" fmla="*/ 5948386 w 6436611"/>
              <a:gd name="connsiteY1134" fmla="*/ 2769873 h 4419155"/>
              <a:gd name="connsiteX1135" fmla="*/ 5952506 w 6436611"/>
              <a:gd name="connsiteY1135" fmla="*/ 2765364 h 4419155"/>
              <a:gd name="connsiteX1136" fmla="*/ 5956626 w 6436611"/>
              <a:gd name="connsiteY1136" fmla="*/ 2765364 h 4419155"/>
              <a:gd name="connsiteX1137" fmla="*/ 5973104 w 6436611"/>
              <a:gd name="connsiteY1137" fmla="*/ 2763106 h 4419155"/>
              <a:gd name="connsiteX1138" fmla="*/ 5971045 w 6436611"/>
              <a:gd name="connsiteY1138" fmla="*/ 2763106 h 4419155"/>
              <a:gd name="connsiteX1139" fmla="*/ 5999886 w 6436611"/>
              <a:gd name="connsiteY1139" fmla="*/ 2756340 h 4419155"/>
              <a:gd name="connsiteX1140" fmla="*/ 6014304 w 6436611"/>
              <a:gd name="connsiteY1140" fmla="*/ 2756340 h 4419155"/>
              <a:gd name="connsiteX1141" fmla="*/ 6014564 w 6436611"/>
              <a:gd name="connsiteY1141" fmla="*/ 251447 h 4419155"/>
              <a:gd name="connsiteX1142" fmla="*/ 6012244 w 6436611"/>
              <a:gd name="connsiteY1142" fmla="*/ 241013 h 4419155"/>
              <a:gd name="connsiteX1143" fmla="*/ 5998154 w 6436611"/>
              <a:gd name="connsiteY1143" fmla="*/ 246155 h 4419155"/>
              <a:gd name="connsiteX1144" fmla="*/ 5999574 w 6436611"/>
              <a:gd name="connsiteY1144" fmla="*/ 258581 h 4419155"/>
              <a:gd name="connsiteX1145" fmla="*/ 6006065 w 6436611"/>
              <a:gd name="connsiteY1145" fmla="*/ 256802 h 4419155"/>
              <a:gd name="connsiteX1146" fmla="*/ 6014564 w 6436611"/>
              <a:gd name="connsiteY1146" fmla="*/ 251447 h 4419155"/>
              <a:gd name="connsiteX1147" fmla="*/ 6020486 w 6436611"/>
              <a:gd name="connsiteY1147" fmla="*/ 184616 h 4419155"/>
              <a:gd name="connsiteX1148" fmla="*/ 6014304 w 6436611"/>
              <a:gd name="connsiteY1148" fmla="*/ 186870 h 4419155"/>
              <a:gd name="connsiteX1149" fmla="*/ 6014304 w 6436611"/>
              <a:gd name="connsiteY1149" fmla="*/ 184616 h 4419155"/>
              <a:gd name="connsiteX1150" fmla="*/ 6020486 w 6436611"/>
              <a:gd name="connsiteY1150" fmla="*/ 184616 h 4419155"/>
              <a:gd name="connsiteX1151" fmla="*/ 6032654 w 6436611"/>
              <a:gd name="connsiteY1151" fmla="*/ 219684 h 4419155"/>
              <a:gd name="connsiteX1152" fmla="*/ 6030785 w 6436611"/>
              <a:gd name="connsiteY1152" fmla="*/ 220707 h 4419155"/>
              <a:gd name="connsiteX1153" fmla="*/ 6030785 w 6436611"/>
              <a:gd name="connsiteY1153" fmla="*/ 222965 h 4419155"/>
              <a:gd name="connsiteX1154" fmla="*/ 6024606 w 6436611"/>
              <a:gd name="connsiteY1154" fmla="*/ 229734 h 4419155"/>
              <a:gd name="connsiteX1155" fmla="*/ 6021859 w 6436611"/>
              <a:gd name="connsiteY1155" fmla="*/ 223716 h 4419155"/>
              <a:gd name="connsiteX1156" fmla="*/ 6020486 w 6436611"/>
              <a:gd name="connsiteY1156" fmla="*/ 225222 h 4419155"/>
              <a:gd name="connsiteX1157" fmla="*/ 6012244 w 6436611"/>
              <a:gd name="connsiteY1157" fmla="*/ 241013 h 4419155"/>
              <a:gd name="connsiteX1158" fmla="*/ 6027695 w 6436611"/>
              <a:gd name="connsiteY1158" fmla="*/ 228887 h 4419155"/>
              <a:gd name="connsiteX1159" fmla="*/ 6032844 w 6436611"/>
              <a:gd name="connsiteY1159" fmla="*/ 1804350 h 4419155"/>
              <a:gd name="connsiteX1160" fmla="*/ 6030785 w 6436611"/>
              <a:gd name="connsiteY1160" fmla="*/ 1813373 h 4419155"/>
              <a:gd name="connsiteX1161" fmla="*/ 6032844 w 6436611"/>
              <a:gd name="connsiteY1161" fmla="*/ 1804350 h 4419155"/>
              <a:gd name="connsiteX1162" fmla="*/ 6043145 w 6436611"/>
              <a:gd name="connsiteY1162" fmla="*/ 213941 h 4419155"/>
              <a:gd name="connsiteX1163" fmla="*/ 6043145 w 6436611"/>
              <a:gd name="connsiteY1163" fmla="*/ 211686 h 4419155"/>
              <a:gd name="connsiteX1164" fmla="*/ 6036965 w 6436611"/>
              <a:gd name="connsiteY1164" fmla="*/ 211686 h 4419155"/>
              <a:gd name="connsiteX1165" fmla="*/ 6032654 w 6436611"/>
              <a:gd name="connsiteY1165" fmla="*/ 219684 h 4419155"/>
              <a:gd name="connsiteX1166" fmla="*/ 6054685 w 6436611"/>
              <a:gd name="connsiteY1166" fmla="*/ 96520 h 4419155"/>
              <a:gd name="connsiteX1167" fmla="*/ 6051386 w 6436611"/>
              <a:gd name="connsiteY1167" fmla="*/ 99455 h 4419155"/>
              <a:gd name="connsiteX1168" fmla="*/ 6043145 w 6436611"/>
              <a:gd name="connsiteY1168" fmla="*/ 110172 h 4419155"/>
              <a:gd name="connsiteX1169" fmla="*/ 6036965 w 6436611"/>
              <a:gd name="connsiteY1169" fmla="*/ 107914 h 4419155"/>
              <a:gd name="connsiteX1170" fmla="*/ 6029662 w 6436611"/>
              <a:gd name="connsiteY1170" fmla="*/ 125244 h 4419155"/>
              <a:gd name="connsiteX1171" fmla="*/ 6030785 w 6436611"/>
              <a:gd name="connsiteY1171" fmla="*/ 123706 h 4419155"/>
              <a:gd name="connsiteX1172" fmla="*/ 6032844 w 6436611"/>
              <a:gd name="connsiteY1172" fmla="*/ 125961 h 4419155"/>
              <a:gd name="connsiteX1173" fmla="*/ 6032844 w 6436611"/>
              <a:gd name="connsiteY1173" fmla="*/ 128218 h 4419155"/>
              <a:gd name="connsiteX1174" fmla="*/ 6030785 w 6436611"/>
              <a:gd name="connsiteY1174" fmla="*/ 134985 h 4419155"/>
              <a:gd name="connsiteX1175" fmla="*/ 6049327 w 6436611"/>
              <a:gd name="connsiteY1175" fmla="*/ 114683 h 4419155"/>
              <a:gd name="connsiteX1176" fmla="*/ 6055506 w 6436611"/>
              <a:gd name="connsiteY1176" fmla="*/ 277108 h 4419155"/>
              <a:gd name="connsiteX1177" fmla="*/ 6053445 w 6436611"/>
              <a:gd name="connsiteY1177" fmla="*/ 274849 h 4419155"/>
              <a:gd name="connsiteX1178" fmla="*/ 6047265 w 6436611"/>
              <a:gd name="connsiteY1178" fmla="*/ 279362 h 4419155"/>
              <a:gd name="connsiteX1179" fmla="*/ 6049327 w 6436611"/>
              <a:gd name="connsiteY1179" fmla="*/ 281619 h 4419155"/>
              <a:gd name="connsiteX1180" fmla="*/ 6055506 w 6436611"/>
              <a:gd name="connsiteY1180" fmla="*/ 277108 h 4419155"/>
              <a:gd name="connsiteX1181" fmla="*/ 6055506 w 6436611"/>
              <a:gd name="connsiteY1181" fmla="*/ 1556200 h 4419155"/>
              <a:gd name="connsiteX1182" fmla="*/ 6051386 w 6436611"/>
              <a:gd name="connsiteY1182" fmla="*/ 1556200 h 4419155"/>
              <a:gd name="connsiteX1183" fmla="*/ 6051386 w 6436611"/>
              <a:gd name="connsiteY1183" fmla="*/ 1560712 h 4419155"/>
              <a:gd name="connsiteX1184" fmla="*/ 6055506 w 6436611"/>
              <a:gd name="connsiteY1184" fmla="*/ 1556200 h 4419155"/>
              <a:gd name="connsiteX1185" fmla="*/ 6061685 w 6436611"/>
              <a:gd name="connsiteY1185" fmla="*/ 2724756 h 4419155"/>
              <a:gd name="connsiteX1186" fmla="*/ 6051386 w 6436611"/>
              <a:gd name="connsiteY1186" fmla="*/ 2727011 h 4419155"/>
              <a:gd name="connsiteX1187" fmla="*/ 6049327 w 6436611"/>
              <a:gd name="connsiteY1187" fmla="*/ 2724756 h 4419155"/>
              <a:gd name="connsiteX1188" fmla="*/ 6061685 w 6436611"/>
              <a:gd name="connsiteY1188" fmla="*/ 2724756 h 4419155"/>
              <a:gd name="connsiteX1189" fmla="*/ 6092586 w 6436611"/>
              <a:gd name="connsiteY1189" fmla="*/ 1984820 h 4419155"/>
              <a:gd name="connsiteX1190" fmla="*/ 6082285 w 6436611"/>
              <a:gd name="connsiteY1190" fmla="*/ 1984820 h 4419155"/>
              <a:gd name="connsiteX1191" fmla="*/ 6090525 w 6436611"/>
              <a:gd name="connsiteY1191" fmla="*/ 1980309 h 4419155"/>
              <a:gd name="connsiteX1192" fmla="*/ 6092586 w 6436611"/>
              <a:gd name="connsiteY1192" fmla="*/ 1984820 h 4419155"/>
              <a:gd name="connsiteX1193" fmla="*/ 6092586 w 6436611"/>
              <a:gd name="connsiteY1193" fmla="*/ 2729269 h 4419155"/>
              <a:gd name="connsiteX1194" fmla="*/ 6092586 w 6436611"/>
              <a:gd name="connsiteY1194" fmla="*/ 2727011 h 4419155"/>
              <a:gd name="connsiteX1195" fmla="*/ 6088467 w 6436611"/>
              <a:gd name="connsiteY1195" fmla="*/ 2727011 h 4419155"/>
              <a:gd name="connsiteX1196" fmla="*/ 6092586 w 6436611"/>
              <a:gd name="connsiteY1196" fmla="*/ 2729269 h 4419155"/>
              <a:gd name="connsiteX1197" fmla="*/ 6107006 w 6436611"/>
              <a:gd name="connsiteY1197" fmla="*/ 128218 h 4419155"/>
              <a:gd name="connsiteX1198" fmla="*/ 6104945 w 6436611"/>
              <a:gd name="connsiteY1198" fmla="*/ 125961 h 4419155"/>
              <a:gd name="connsiteX1199" fmla="*/ 6096706 w 6436611"/>
              <a:gd name="connsiteY1199" fmla="*/ 132727 h 4419155"/>
              <a:gd name="connsiteX1200" fmla="*/ 6098765 w 6436611"/>
              <a:gd name="connsiteY1200" fmla="*/ 137242 h 4419155"/>
              <a:gd name="connsiteX1201" fmla="*/ 6107006 w 6436611"/>
              <a:gd name="connsiteY1201" fmla="*/ 128218 h 4419155"/>
              <a:gd name="connsiteX1202" fmla="*/ 6115245 w 6436611"/>
              <a:gd name="connsiteY1202" fmla="*/ 2833038 h 4419155"/>
              <a:gd name="connsiteX1203" fmla="*/ 6111126 w 6436611"/>
              <a:gd name="connsiteY1203" fmla="*/ 2830784 h 4419155"/>
              <a:gd name="connsiteX1204" fmla="*/ 6109067 w 6436611"/>
              <a:gd name="connsiteY1204" fmla="*/ 2833038 h 4419155"/>
              <a:gd name="connsiteX1205" fmla="*/ 6113187 w 6436611"/>
              <a:gd name="connsiteY1205" fmla="*/ 2835296 h 4419155"/>
              <a:gd name="connsiteX1206" fmla="*/ 6115245 w 6436611"/>
              <a:gd name="connsiteY1206" fmla="*/ 2833038 h 4419155"/>
              <a:gd name="connsiteX1207" fmla="*/ 6121427 w 6436611"/>
              <a:gd name="connsiteY1207" fmla="*/ 89866 h 4419155"/>
              <a:gd name="connsiteX1208" fmla="*/ 6110096 w 6436611"/>
              <a:gd name="connsiteY1208" fmla="*/ 92404 h 4419155"/>
              <a:gd name="connsiteX1209" fmla="*/ 6107739 w 6436611"/>
              <a:gd name="connsiteY1209" fmla="*/ 97436 h 4419155"/>
              <a:gd name="connsiteX1210" fmla="*/ 6113187 w 6436611"/>
              <a:gd name="connsiteY1210" fmla="*/ 103402 h 4419155"/>
              <a:gd name="connsiteX1211" fmla="*/ 6114642 w 6436611"/>
              <a:gd name="connsiteY1211" fmla="*/ 102871 h 4419155"/>
              <a:gd name="connsiteX1212" fmla="*/ 6131726 w 6436611"/>
              <a:gd name="connsiteY1212" fmla="*/ 103402 h 4419155"/>
              <a:gd name="connsiteX1213" fmla="*/ 6131726 w 6436611"/>
              <a:gd name="connsiteY1213" fmla="*/ 96636 h 4419155"/>
              <a:gd name="connsiteX1214" fmla="*/ 6114642 w 6436611"/>
              <a:gd name="connsiteY1214" fmla="*/ 102871 h 4419155"/>
              <a:gd name="connsiteX1215" fmla="*/ 6113187 w 6436611"/>
              <a:gd name="connsiteY1215" fmla="*/ 105659 h 4419155"/>
              <a:gd name="connsiteX1216" fmla="*/ 6104945 w 6436611"/>
              <a:gd name="connsiteY1216" fmla="*/ 103402 h 4419155"/>
              <a:gd name="connsiteX1217" fmla="*/ 6107739 w 6436611"/>
              <a:gd name="connsiteY1217" fmla="*/ 97436 h 4419155"/>
              <a:gd name="connsiteX1218" fmla="*/ 6106749 w 6436611"/>
              <a:gd name="connsiteY1218" fmla="*/ 96352 h 4419155"/>
              <a:gd name="connsiteX1219" fmla="*/ 6104945 w 6436611"/>
              <a:gd name="connsiteY1219" fmla="*/ 87612 h 4419155"/>
              <a:gd name="connsiteX1220" fmla="*/ 6115245 w 6436611"/>
              <a:gd name="connsiteY1220" fmla="*/ 78588 h 4419155"/>
              <a:gd name="connsiteX1221" fmla="*/ 6121427 w 6436611"/>
              <a:gd name="connsiteY1221" fmla="*/ 44748 h 4419155"/>
              <a:gd name="connsiteX1222" fmla="*/ 6115245 w 6436611"/>
              <a:gd name="connsiteY1222" fmla="*/ 42494 h 4419155"/>
              <a:gd name="connsiteX1223" fmla="*/ 6122799 w 6436611"/>
              <a:gd name="connsiteY1223" fmla="*/ 33469 h 4419155"/>
              <a:gd name="connsiteX1224" fmla="*/ 6117307 w 6436611"/>
              <a:gd name="connsiteY1224" fmla="*/ 33469 h 4419155"/>
              <a:gd name="connsiteX1225" fmla="*/ 6113187 w 6436611"/>
              <a:gd name="connsiteY1225" fmla="*/ 19934 h 4419155"/>
              <a:gd name="connsiteX1226" fmla="*/ 6102886 w 6436611"/>
              <a:gd name="connsiteY1226" fmla="*/ 37981 h 4419155"/>
              <a:gd name="connsiteX1227" fmla="*/ 6069927 w 6436611"/>
              <a:gd name="connsiteY1227" fmla="*/ 83100 h 4419155"/>
              <a:gd name="connsiteX1228" fmla="*/ 6067866 w 6436611"/>
              <a:gd name="connsiteY1228" fmla="*/ 83100 h 4419155"/>
              <a:gd name="connsiteX1229" fmla="*/ 6054734 w 6436611"/>
              <a:gd name="connsiteY1229" fmla="*/ 96354 h 4419155"/>
              <a:gd name="connsiteX1230" fmla="*/ 6054685 w 6436611"/>
              <a:gd name="connsiteY1230" fmla="*/ 96520 h 4419155"/>
              <a:gd name="connsiteX1231" fmla="*/ 6059626 w 6436611"/>
              <a:gd name="connsiteY1231" fmla="*/ 92123 h 4419155"/>
              <a:gd name="connsiteX1232" fmla="*/ 6082285 w 6436611"/>
              <a:gd name="connsiteY1232" fmla="*/ 94378 h 4419155"/>
              <a:gd name="connsiteX1233" fmla="*/ 6082285 w 6436611"/>
              <a:gd name="connsiteY1233" fmla="*/ 98890 h 4419155"/>
              <a:gd name="connsiteX1234" fmla="*/ 6078165 w 6436611"/>
              <a:gd name="connsiteY1234" fmla="*/ 103402 h 4419155"/>
              <a:gd name="connsiteX1235" fmla="*/ 6076106 w 6436611"/>
              <a:gd name="connsiteY1235" fmla="*/ 137242 h 4419155"/>
              <a:gd name="connsiteX1236" fmla="*/ 6092586 w 6436611"/>
              <a:gd name="connsiteY1236" fmla="*/ 128218 h 4419155"/>
              <a:gd name="connsiteX1237" fmla="*/ 6098765 w 6436611"/>
              <a:gd name="connsiteY1237" fmla="*/ 123706 h 4419155"/>
              <a:gd name="connsiteX1238" fmla="*/ 6131726 w 6436611"/>
              <a:gd name="connsiteY1238" fmla="*/ 103402 h 4419155"/>
              <a:gd name="connsiteX1239" fmla="*/ 6137908 w 6436611"/>
              <a:gd name="connsiteY1239" fmla="*/ 2580377 h 4419155"/>
              <a:gd name="connsiteX1240" fmla="*/ 6131726 w 6436611"/>
              <a:gd name="connsiteY1240" fmla="*/ 2582634 h 4419155"/>
              <a:gd name="connsiteX1241" fmla="*/ 6131726 w 6436611"/>
              <a:gd name="connsiteY1241" fmla="*/ 2580377 h 4419155"/>
              <a:gd name="connsiteX1242" fmla="*/ 6137908 w 6436611"/>
              <a:gd name="connsiteY1242" fmla="*/ 2580377 h 4419155"/>
              <a:gd name="connsiteX1243" fmla="*/ 6137908 w 6436611"/>
              <a:gd name="connsiteY1243" fmla="*/ 2828527 h 4419155"/>
              <a:gd name="connsiteX1244" fmla="*/ 6129665 w 6436611"/>
              <a:gd name="connsiteY1244" fmla="*/ 2830784 h 4419155"/>
              <a:gd name="connsiteX1245" fmla="*/ 6131726 w 6436611"/>
              <a:gd name="connsiteY1245" fmla="*/ 2835296 h 4419155"/>
              <a:gd name="connsiteX1246" fmla="*/ 6133788 w 6436611"/>
              <a:gd name="connsiteY1246" fmla="*/ 2835296 h 4419155"/>
              <a:gd name="connsiteX1247" fmla="*/ 6137908 w 6436611"/>
              <a:gd name="connsiteY1247" fmla="*/ 2828527 h 4419155"/>
              <a:gd name="connsiteX1248" fmla="*/ 6146145 w 6436611"/>
              <a:gd name="connsiteY1248" fmla="*/ 17677 h 4419155"/>
              <a:gd name="connsiteX1249" fmla="*/ 6146145 w 6436611"/>
              <a:gd name="connsiteY1249" fmla="*/ 170 h 4419155"/>
              <a:gd name="connsiteX1250" fmla="*/ 6132232 w 6436611"/>
              <a:gd name="connsiteY1250" fmla="*/ 8452 h 4419155"/>
              <a:gd name="connsiteX1251" fmla="*/ 6129665 w 6436611"/>
              <a:gd name="connsiteY1251" fmla="*/ 10910 h 4419155"/>
              <a:gd name="connsiteX1252" fmla="*/ 6129665 w 6436611"/>
              <a:gd name="connsiteY1252" fmla="*/ 15422 h 4419155"/>
              <a:gd name="connsiteX1253" fmla="*/ 6137908 w 6436611"/>
              <a:gd name="connsiteY1253" fmla="*/ 10910 h 4419155"/>
              <a:gd name="connsiteX1254" fmla="*/ 6137908 w 6436611"/>
              <a:gd name="connsiteY1254" fmla="*/ 15422 h 4419155"/>
              <a:gd name="connsiteX1255" fmla="*/ 6122799 w 6436611"/>
              <a:gd name="connsiteY1255" fmla="*/ 33469 h 4419155"/>
              <a:gd name="connsiteX1256" fmla="*/ 6135847 w 6436611"/>
              <a:gd name="connsiteY1256" fmla="*/ 33469 h 4419155"/>
              <a:gd name="connsiteX1257" fmla="*/ 6136801 w 6436611"/>
              <a:gd name="connsiteY1257" fmla="*/ 32324 h 4419155"/>
              <a:gd name="connsiteX1258" fmla="*/ 6131726 w 6436611"/>
              <a:gd name="connsiteY1258" fmla="*/ 31212 h 4419155"/>
              <a:gd name="connsiteX1259" fmla="*/ 6146145 w 6436611"/>
              <a:gd name="connsiteY1259" fmla="*/ 17677 h 4419155"/>
              <a:gd name="connsiteX1260" fmla="*/ 6146431 w 6436611"/>
              <a:gd name="connsiteY1260" fmla="*/ 0 h 4419155"/>
              <a:gd name="connsiteX1261" fmla="*/ 6146145 w 6436611"/>
              <a:gd name="connsiteY1261" fmla="*/ 0 h 4419155"/>
              <a:gd name="connsiteX1262" fmla="*/ 6146145 w 6436611"/>
              <a:gd name="connsiteY1262" fmla="*/ 170 h 4419155"/>
              <a:gd name="connsiteX1263" fmla="*/ 6156447 w 6436611"/>
              <a:gd name="connsiteY1263" fmla="*/ 1926166 h 4419155"/>
              <a:gd name="connsiteX1264" fmla="*/ 6137908 w 6436611"/>
              <a:gd name="connsiteY1264" fmla="*/ 1939702 h 4419155"/>
              <a:gd name="connsiteX1265" fmla="*/ 6156447 w 6436611"/>
              <a:gd name="connsiteY1265" fmla="*/ 1926166 h 4419155"/>
              <a:gd name="connsiteX1266" fmla="*/ 6168006 w 6436611"/>
              <a:gd name="connsiteY1266" fmla="*/ 14401 h 4419155"/>
              <a:gd name="connsiteX1267" fmla="*/ 6160567 w 6436611"/>
              <a:gd name="connsiteY1267" fmla="*/ 10910 h 4419155"/>
              <a:gd name="connsiteX1268" fmla="*/ 6146662 w 6436611"/>
              <a:gd name="connsiteY1268" fmla="*/ 20498 h 4419155"/>
              <a:gd name="connsiteX1269" fmla="*/ 6136801 w 6436611"/>
              <a:gd name="connsiteY1269" fmla="*/ 32324 h 4419155"/>
              <a:gd name="connsiteX1270" fmla="*/ 6142027 w 6436611"/>
              <a:gd name="connsiteY1270" fmla="*/ 33469 h 4419155"/>
              <a:gd name="connsiteX1271" fmla="*/ 6166745 w 6436611"/>
              <a:gd name="connsiteY1271" fmla="*/ 15422 h 4419155"/>
              <a:gd name="connsiteX1272" fmla="*/ 6185318 w 6436611"/>
              <a:gd name="connsiteY1272" fmla="*/ 0 h 4419155"/>
              <a:gd name="connsiteX1273" fmla="*/ 6183054 w 6436611"/>
              <a:gd name="connsiteY1273" fmla="*/ 0 h 4419155"/>
              <a:gd name="connsiteX1274" fmla="*/ 6183226 w 6436611"/>
              <a:gd name="connsiteY1274" fmla="*/ 1886 h 4419155"/>
              <a:gd name="connsiteX1275" fmla="*/ 6203113 w 6436611"/>
              <a:gd name="connsiteY1275" fmla="*/ 0 h 4419155"/>
              <a:gd name="connsiteX1276" fmla="*/ 6185800 w 6436611"/>
              <a:gd name="connsiteY1276" fmla="*/ 0 h 4419155"/>
              <a:gd name="connsiteX1277" fmla="*/ 6168006 w 6436611"/>
              <a:gd name="connsiteY1277" fmla="*/ 14401 h 4419155"/>
              <a:gd name="connsiteX1278" fmla="*/ 6174986 w 6436611"/>
              <a:gd name="connsiteY1278" fmla="*/ 17677 h 4419155"/>
              <a:gd name="connsiteX1279" fmla="*/ 6186317 w 6436611"/>
              <a:gd name="connsiteY1279" fmla="*/ 8655 h 4419155"/>
              <a:gd name="connsiteX1280" fmla="*/ 6207947 w 6436611"/>
              <a:gd name="connsiteY1280" fmla="*/ 1919400 h 4419155"/>
              <a:gd name="connsiteX1281" fmla="*/ 6201768 w 6436611"/>
              <a:gd name="connsiteY1281" fmla="*/ 1921657 h 4419155"/>
              <a:gd name="connsiteX1282" fmla="*/ 6142027 w 6436611"/>
              <a:gd name="connsiteY1282" fmla="*/ 1921657 h 4419155"/>
              <a:gd name="connsiteX1283" fmla="*/ 6131726 w 6436611"/>
              <a:gd name="connsiteY1283" fmla="*/ 1923912 h 4419155"/>
              <a:gd name="connsiteX1284" fmla="*/ 6117307 w 6436611"/>
              <a:gd name="connsiteY1284" fmla="*/ 1923912 h 4419155"/>
              <a:gd name="connsiteX1285" fmla="*/ 6123486 w 6436611"/>
              <a:gd name="connsiteY1285" fmla="*/ 1921657 h 4419155"/>
              <a:gd name="connsiteX1286" fmla="*/ 6115245 w 6436611"/>
              <a:gd name="connsiteY1286" fmla="*/ 1923912 h 4419155"/>
              <a:gd name="connsiteX1287" fmla="*/ 6115245 w 6436611"/>
              <a:gd name="connsiteY1287" fmla="*/ 1919400 h 4419155"/>
              <a:gd name="connsiteX1288" fmla="*/ 6137908 w 6436611"/>
              <a:gd name="connsiteY1288" fmla="*/ 1917146 h 4419155"/>
              <a:gd name="connsiteX1289" fmla="*/ 6154386 w 6436611"/>
              <a:gd name="connsiteY1289" fmla="*/ 1912631 h 4419155"/>
              <a:gd name="connsiteX1290" fmla="*/ 6166745 w 6436611"/>
              <a:gd name="connsiteY1290" fmla="*/ 1912631 h 4419155"/>
              <a:gd name="connsiteX1291" fmla="*/ 6191466 w 6436611"/>
              <a:gd name="connsiteY1291" fmla="*/ 1914889 h 4419155"/>
              <a:gd name="connsiteX1292" fmla="*/ 6207947 w 6436611"/>
              <a:gd name="connsiteY1292" fmla="*/ 1919400 h 4419155"/>
              <a:gd name="connsiteX1293" fmla="*/ 6207947 w 6436611"/>
              <a:gd name="connsiteY1293" fmla="*/ 1944218 h 4419155"/>
              <a:gd name="connsiteX1294" fmla="*/ 6201768 w 6436611"/>
              <a:gd name="connsiteY1294" fmla="*/ 1944218 h 4419155"/>
              <a:gd name="connsiteX1295" fmla="*/ 6201768 w 6436611"/>
              <a:gd name="connsiteY1295" fmla="*/ 1939702 h 4419155"/>
              <a:gd name="connsiteX1296" fmla="*/ 6207947 w 6436611"/>
              <a:gd name="connsiteY1296" fmla="*/ 1939702 h 4419155"/>
              <a:gd name="connsiteX1297" fmla="*/ 6207947 w 6436611"/>
              <a:gd name="connsiteY1297" fmla="*/ 1944218 h 4419155"/>
              <a:gd name="connsiteX1298" fmla="*/ 6212067 w 6436611"/>
              <a:gd name="connsiteY1298" fmla="*/ 1975797 h 4419155"/>
              <a:gd name="connsiteX1299" fmla="*/ 6207947 w 6436611"/>
              <a:gd name="connsiteY1299" fmla="*/ 1980309 h 4419155"/>
              <a:gd name="connsiteX1300" fmla="*/ 6205888 w 6436611"/>
              <a:gd name="connsiteY1300" fmla="*/ 1978054 h 4419155"/>
              <a:gd name="connsiteX1301" fmla="*/ 6210008 w 6436611"/>
              <a:gd name="connsiteY1301" fmla="*/ 1973542 h 4419155"/>
              <a:gd name="connsiteX1302" fmla="*/ 6212067 w 6436611"/>
              <a:gd name="connsiteY1302" fmla="*/ 1975797 h 4419155"/>
              <a:gd name="connsiteX1303" fmla="*/ 6226488 w 6436611"/>
              <a:gd name="connsiteY1303" fmla="*/ 1903610 h 4419155"/>
              <a:gd name="connsiteX1304" fmla="*/ 6220307 w 6436611"/>
              <a:gd name="connsiteY1304" fmla="*/ 1903610 h 4419155"/>
              <a:gd name="connsiteX1305" fmla="*/ 6191466 w 6436611"/>
              <a:gd name="connsiteY1305" fmla="*/ 1903610 h 4419155"/>
              <a:gd name="connsiteX1306" fmla="*/ 6189408 w 6436611"/>
              <a:gd name="connsiteY1306" fmla="*/ 1903610 h 4419155"/>
              <a:gd name="connsiteX1307" fmla="*/ 6152327 w 6436611"/>
              <a:gd name="connsiteY1307" fmla="*/ 1905864 h 4419155"/>
              <a:gd name="connsiteX1308" fmla="*/ 6142027 w 6436611"/>
              <a:gd name="connsiteY1308" fmla="*/ 1903610 h 4419155"/>
              <a:gd name="connsiteX1309" fmla="*/ 6144086 w 6436611"/>
              <a:gd name="connsiteY1309" fmla="*/ 1899098 h 4419155"/>
              <a:gd name="connsiteX1310" fmla="*/ 6162628 w 6436611"/>
              <a:gd name="connsiteY1310" fmla="*/ 1899098 h 4419155"/>
              <a:gd name="connsiteX1311" fmla="*/ 6226488 w 6436611"/>
              <a:gd name="connsiteY1311" fmla="*/ 1903610 h 4419155"/>
              <a:gd name="connsiteX1312" fmla="*/ 6228547 w 6436611"/>
              <a:gd name="connsiteY1312" fmla="*/ 1930682 h 4419155"/>
              <a:gd name="connsiteX1313" fmla="*/ 6224427 w 6436611"/>
              <a:gd name="connsiteY1313" fmla="*/ 1937448 h 4419155"/>
              <a:gd name="connsiteX1314" fmla="*/ 6210008 w 6436611"/>
              <a:gd name="connsiteY1314" fmla="*/ 1937448 h 4419155"/>
              <a:gd name="connsiteX1315" fmla="*/ 6210008 w 6436611"/>
              <a:gd name="connsiteY1315" fmla="*/ 1932936 h 4419155"/>
              <a:gd name="connsiteX1316" fmla="*/ 6224427 w 6436611"/>
              <a:gd name="connsiteY1316" fmla="*/ 1926166 h 4419155"/>
              <a:gd name="connsiteX1317" fmla="*/ 6228547 w 6436611"/>
              <a:gd name="connsiteY1317" fmla="*/ 1930682 h 4419155"/>
              <a:gd name="connsiteX1318" fmla="*/ 6245027 w 6436611"/>
              <a:gd name="connsiteY1318" fmla="*/ 1824652 h 4419155"/>
              <a:gd name="connsiteX1319" fmla="*/ 6245027 w 6436611"/>
              <a:gd name="connsiteY1319" fmla="*/ 1820142 h 4419155"/>
              <a:gd name="connsiteX1320" fmla="*/ 6242966 w 6436611"/>
              <a:gd name="connsiteY1320" fmla="*/ 1820142 h 4419155"/>
              <a:gd name="connsiteX1321" fmla="*/ 6245027 w 6436611"/>
              <a:gd name="connsiteY1321" fmla="*/ 1824652 h 4419155"/>
              <a:gd name="connsiteX1322" fmla="*/ 6300647 w 6436611"/>
              <a:gd name="connsiteY1322" fmla="*/ 2002869 h 4419155"/>
              <a:gd name="connsiteX1323" fmla="*/ 6290349 w 6436611"/>
              <a:gd name="connsiteY1323" fmla="*/ 2007380 h 4419155"/>
              <a:gd name="connsiteX1324" fmla="*/ 6295498 w 6436611"/>
              <a:gd name="connsiteY1324" fmla="*/ 2001741 h 4419155"/>
              <a:gd name="connsiteX1325" fmla="*/ 6300647 w 6436611"/>
              <a:gd name="connsiteY1325" fmla="*/ 2002869 h 4419155"/>
              <a:gd name="connsiteX1326" fmla="*/ 6302709 w 6436611"/>
              <a:gd name="connsiteY1326" fmla="*/ 1921657 h 4419155"/>
              <a:gd name="connsiteX1327" fmla="*/ 6280047 w 6436611"/>
              <a:gd name="connsiteY1327" fmla="*/ 1941959 h 4419155"/>
              <a:gd name="connsiteX1328" fmla="*/ 6257388 w 6436611"/>
              <a:gd name="connsiteY1328" fmla="*/ 1944218 h 4419155"/>
              <a:gd name="connsiteX1329" fmla="*/ 6259447 w 6436611"/>
              <a:gd name="connsiteY1329" fmla="*/ 1935191 h 4419155"/>
              <a:gd name="connsiteX1330" fmla="*/ 6263566 w 6436611"/>
              <a:gd name="connsiteY1330" fmla="*/ 1935191 h 4419155"/>
              <a:gd name="connsiteX1331" fmla="*/ 6284167 w 6436611"/>
              <a:gd name="connsiteY1331" fmla="*/ 1926166 h 4419155"/>
              <a:gd name="connsiteX1332" fmla="*/ 6280047 w 6436611"/>
              <a:gd name="connsiteY1332" fmla="*/ 1921657 h 4419155"/>
              <a:gd name="connsiteX1333" fmla="*/ 6302709 w 6436611"/>
              <a:gd name="connsiteY1333" fmla="*/ 1921657 h 4419155"/>
              <a:gd name="connsiteX1334" fmla="*/ 6304768 w 6436611"/>
              <a:gd name="connsiteY1334" fmla="*/ 1939702 h 4419155"/>
              <a:gd name="connsiteX1335" fmla="*/ 6296527 w 6436611"/>
              <a:gd name="connsiteY1335" fmla="*/ 1944218 h 4419155"/>
              <a:gd name="connsiteX1336" fmla="*/ 6296527 w 6436611"/>
              <a:gd name="connsiteY1336" fmla="*/ 1939702 h 4419155"/>
              <a:gd name="connsiteX1337" fmla="*/ 6304768 w 6436611"/>
              <a:gd name="connsiteY1337" fmla="*/ 1939702 h 4419155"/>
              <a:gd name="connsiteX1338" fmla="*/ 6317127 w 6436611"/>
              <a:gd name="connsiteY1338" fmla="*/ 1919400 h 4419155"/>
              <a:gd name="connsiteX1339" fmla="*/ 6313931 w 6436611"/>
              <a:gd name="connsiteY1339" fmla="*/ 1919984 h 4419155"/>
              <a:gd name="connsiteX1340" fmla="*/ 6312248 w 6436611"/>
              <a:gd name="connsiteY1340" fmla="*/ 1924741 h 4419155"/>
              <a:gd name="connsiteX1341" fmla="*/ 6327429 w 6436611"/>
              <a:gd name="connsiteY1341" fmla="*/ 1987078 h 4419155"/>
              <a:gd name="connsiteX1342" fmla="*/ 6325368 w 6436611"/>
              <a:gd name="connsiteY1342" fmla="*/ 1993844 h 4419155"/>
              <a:gd name="connsiteX1343" fmla="*/ 6323309 w 6436611"/>
              <a:gd name="connsiteY1343" fmla="*/ 1989333 h 4419155"/>
              <a:gd name="connsiteX1344" fmla="*/ 6325368 w 6436611"/>
              <a:gd name="connsiteY1344" fmla="*/ 1984820 h 4419155"/>
              <a:gd name="connsiteX1345" fmla="*/ 6327429 w 6436611"/>
              <a:gd name="connsiteY1345" fmla="*/ 1987078 h 4419155"/>
              <a:gd name="connsiteX1346" fmla="*/ 6341848 w 6436611"/>
              <a:gd name="connsiteY1346" fmla="*/ 1982566 h 4419155"/>
              <a:gd name="connsiteX1347" fmla="*/ 6333608 w 6436611"/>
              <a:gd name="connsiteY1347" fmla="*/ 1982566 h 4419155"/>
              <a:gd name="connsiteX1348" fmla="*/ 6333608 w 6436611"/>
              <a:gd name="connsiteY1348" fmla="*/ 1980309 h 4419155"/>
              <a:gd name="connsiteX1349" fmla="*/ 6341848 w 6436611"/>
              <a:gd name="connsiteY1349" fmla="*/ 1978054 h 4419155"/>
              <a:gd name="connsiteX1350" fmla="*/ 6341848 w 6436611"/>
              <a:gd name="connsiteY1350" fmla="*/ 1982566 h 4419155"/>
              <a:gd name="connsiteX1351" fmla="*/ 6350088 w 6436611"/>
              <a:gd name="connsiteY1351" fmla="*/ 2002869 h 4419155"/>
              <a:gd name="connsiteX1352" fmla="*/ 6335667 w 6436611"/>
              <a:gd name="connsiteY1352" fmla="*/ 2009637 h 4419155"/>
              <a:gd name="connsiteX1353" fmla="*/ 6319189 w 6436611"/>
              <a:gd name="connsiteY1353" fmla="*/ 2009637 h 4419155"/>
              <a:gd name="connsiteX1354" fmla="*/ 6304768 w 6436611"/>
              <a:gd name="connsiteY1354" fmla="*/ 2007380 h 4419155"/>
              <a:gd name="connsiteX1355" fmla="*/ 6329746 w 6436611"/>
              <a:gd name="connsiteY1355" fmla="*/ 2000895 h 4419155"/>
              <a:gd name="connsiteX1356" fmla="*/ 6350088 w 6436611"/>
              <a:gd name="connsiteY1356" fmla="*/ 2002869 h 4419155"/>
              <a:gd name="connsiteX1357" fmla="*/ 6356268 w 6436611"/>
              <a:gd name="connsiteY1357" fmla="*/ 2034451 h 4419155"/>
              <a:gd name="connsiteX1358" fmla="*/ 6356268 w 6436611"/>
              <a:gd name="connsiteY1358" fmla="*/ 2032196 h 4419155"/>
              <a:gd name="connsiteX1359" fmla="*/ 6352147 w 6436611"/>
              <a:gd name="connsiteY1359" fmla="*/ 2034451 h 4419155"/>
              <a:gd name="connsiteX1360" fmla="*/ 6354209 w 6436611"/>
              <a:gd name="connsiteY1360" fmla="*/ 2041217 h 4419155"/>
              <a:gd name="connsiteX1361" fmla="*/ 6356268 w 6436611"/>
              <a:gd name="connsiteY1361" fmla="*/ 2034451 h 4419155"/>
              <a:gd name="connsiteX1362" fmla="*/ 6436611 w 6436611"/>
              <a:gd name="connsiteY1362" fmla="*/ 1860747 h 4419155"/>
              <a:gd name="connsiteX1363" fmla="*/ 6409829 w 6436611"/>
              <a:gd name="connsiteY1363" fmla="*/ 1856234 h 4419155"/>
              <a:gd name="connsiteX1364" fmla="*/ 6282108 w 6436611"/>
              <a:gd name="connsiteY1364" fmla="*/ 1849468 h 4419155"/>
              <a:gd name="connsiteX1365" fmla="*/ 6236788 w 6436611"/>
              <a:gd name="connsiteY1365" fmla="*/ 1849468 h 4419155"/>
              <a:gd name="connsiteX1366" fmla="*/ 6187347 w 6436611"/>
              <a:gd name="connsiteY1366" fmla="*/ 1833675 h 4419155"/>
              <a:gd name="connsiteX1367" fmla="*/ 6174986 w 6436611"/>
              <a:gd name="connsiteY1367" fmla="*/ 1826909 h 4419155"/>
              <a:gd name="connsiteX1368" fmla="*/ 6199706 w 6436611"/>
              <a:gd name="connsiteY1368" fmla="*/ 1820142 h 4419155"/>
              <a:gd name="connsiteX1369" fmla="*/ 6234729 w 6436611"/>
              <a:gd name="connsiteY1369" fmla="*/ 1817886 h 4419155"/>
              <a:gd name="connsiteX1370" fmla="*/ 6267686 w 6436611"/>
              <a:gd name="connsiteY1370" fmla="*/ 1815631 h 4419155"/>
              <a:gd name="connsiteX1371" fmla="*/ 6343909 w 6436611"/>
              <a:gd name="connsiteY1371" fmla="*/ 1817886 h 4419155"/>
              <a:gd name="connsiteX1372" fmla="*/ 6265627 w 6436611"/>
              <a:gd name="connsiteY1372" fmla="*/ 1806607 h 4419155"/>
              <a:gd name="connsiteX1373" fmla="*/ 6253268 w 6436611"/>
              <a:gd name="connsiteY1373" fmla="*/ 1797582 h 4419155"/>
              <a:gd name="connsiteX1374" fmla="*/ 6275929 w 6436611"/>
              <a:gd name="connsiteY1374" fmla="*/ 1786302 h 4419155"/>
              <a:gd name="connsiteX1375" fmla="*/ 6280047 w 6436611"/>
              <a:gd name="connsiteY1375" fmla="*/ 1779535 h 4419155"/>
              <a:gd name="connsiteX1376" fmla="*/ 6277988 w 6436611"/>
              <a:gd name="connsiteY1376" fmla="*/ 1772766 h 4419155"/>
              <a:gd name="connsiteX1377" fmla="*/ 6259447 w 6436611"/>
              <a:gd name="connsiteY1377" fmla="*/ 1768255 h 4419155"/>
              <a:gd name="connsiteX1378" fmla="*/ 6210008 w 6436611"/>
              <a:gd name="connsiteY1378" fmla="*/ 1781790 h 4419155"/>
              <a:gd name="connsiteX1379" fmla="*/ 6187347 w 6436611"/>
              <a:gd name="connsiteY1379" fmla="*/ 1786302 h 4419155"/>
              <a:gd name="connsiteX1380" fmla="*/ 6080226 w 6436611"/>
              <a:gd name="connsiteY1380" fmla="*/ 1790814 h 4419155"/>
              <a:gd name="connsiteX1381" fmla="*/ 6051386 w 6436611"/>
              <a:gd name="connsiteY1381" fmla="*/ 1788560 h 4419155"/>
              <a:gd name="connsiteX1382" fmla="*/ 6047265 w 6436611"/>
              <a:gd name="connsiteY1382" fmla="*/ 1788560 h 4419155"/>
              <a:gd name="connsiteX1383" fmla="*/ 6047265 w 6436611"/>
              <a:gd name="connsiteY1383" fmla="*/ 1786302 h 4419155"/>
              <a:gd name="connsiteX1384" fmla="*/ 6039026 w 6436611"/>
              <a:gd name="connsiteY1384" fmla="*/ 1788560 h 4419155"/>
              <a:gd name="connsiteX1385" fmla="*/ 6039026 w 6436611"/>
              <a:gd name="connsiteY1385" fmla="*/ 1790814 h 4419155"/>
              <a:gd name="connsiteX1386" fmla="*/ 6026665 w 6436611"/>
              <a:gd name="connsiteY1386" fmla="*/ 1790814 h 4419155"/>
              <a:gd name="connsiteX1387" fmla="*/ 6020486 w 6436611"/>
              <a:gd name="connsiteY1387" fmla="*/ 1797582 h 4419155"/>
              <a:gd name="connsiteX1388" fmla="*/ 6010185 w 6436611"/>
              <a:gd name="connsiteY1388" fmla="*/ 1797582 h 4419155"/>
              <a:gd name="connsiteX1389" fmla="*/ 6012244 w 6436611"/>
              <a:gd name="connsiteY1389" fmla="*/ 1793071 h 4419155"/>
              <a:gd name="connsiteX1390" fmla="*/ 6020486 w 6436611"/>
              <a:gd name="connsiteY1390" fmla="*/ 1788560 h 4419155"/>
              <a:gd name="connsiteX1391" fmla="*/ 6016367 w 6436611"/>
              <a:gd name="connsiteY1391" fmla="*/ 1768255 h 4419155"/>
              <a:gd name="connsiteX1392" fmla="*/ 6012244 w 6436611"/>
              <a:gd name="connsiteY1392" fmla="*/ 1766000 h 4419155"/>
              <a:gd name="connsiteX1393" fmla="*/ 6016367 w 6436611"/>
              <a:gd name="connsiteY1393" fmla="*/ 1761489 h 4419155"/>
              <a:gd name="connsiteX1394" fmla="*/ 6001945 w 6436611"/>
              <a:gd name="connsiteY1394" fmla="*/ 1763742 h 4419155"/>
              <a:gd name="connsiteX1395" fmla="*/ 5989584 w 6436611"/>
              <a:gd name="connsiteY1395" fmla="*/ 1759231 h 4419155"/>
              <a:gd name="connsiteX1396" fmla="*/ 5999886 w 6436611"/>
              <a:gd name="connsiteY1396" fmla="*/ 1759231 h 4419155"/>
              <a:gd name="connsiteX1397" fmla="*/ 6030785 w 6436611"/>
              <a:gd name="connsiteY1397" fmla="*/ 1752464 h 4419155"/>
              <a:gd name="connsiteX1398" fmla="*/ 6146145 w 6436611"/>
              <a:gd name="connsiteY1398" fmla="*/ 1743440 h 4419155"/>
              <a:gd name="connsiteX1399" fmla="*/ 6158508 w 6436611"/>
              <a:gd name="connsiteY1399" fmla="*/ 1736672 h 4419155"/>
              <a:gd name="connsiteX1400" fmla="*/ 6144086 w 6436611"/>
              <a:gd name="connsiteY1400" fmla="*/ 1720882 h 4419155"/>
              <a:gd name="connsiteX1401" fmla="*/ 6119366 w 6436611"/>
              <a:gd name="connsiteY1401" fmla="*/ 1718627 h 4419155"/>
              <a:gd name="connsiteX1402" fmla="*/ 6104945 w 6436611"/>
              <a:gd name="connsiteY1402" fmla="*/ 1707346 h 4419155"/>
              <a:gd name="connsiteX1403" fmla="*/ 6109067 w 6436611"/>
              <a:gd name="connsiteY1403" fmla="*/ 1705092 h 4419155"/>
              <a:gd name="connsiteX1404" fmla="*/ 6125545 w 6436611"/>
              <a:gd name="connsiteY1404" fmla="*/ 1700579 h 4419155"/>
              <a:gd name="connsiteX1405" fmla="*/ 6117307 w 6436611"/>
              <a:gd name="connsiteY1405" fmla="*/ 1696068 h 4419155"/>
              <a:gd name="connsiteX1406" fmla="*/ 6111126 w 6436611"/>
              <a:gd name="connsiteY1406" fmla="*/ 1696068 h 4419155"/>
              <a:gd name="connsiteX1407" fmla="*/ 6109067 w 6436611"/>
              <a:gd name="connsiteY1407" fmla="*/ 1693811 h 4419155"/>
              <a:gd name="connsiteX1408" fmla="*/ 6109067 w 6436611"/>
              <a:gd name="connsiteY1408" fmla="*/ 1696068 h 4419155"/>
              <a:gd name="connsiteX1409" fmla="*/ 6067866 w 6436611"/>
              <a:gd name="connsiteY1409" fmla="*/ 1689298 h 4419155"/>
              <a:gd name="connsiteX1410" fmla="*/ 6026665 w 6436611"/>
              <a:gd name="connsiteY1410" fmla="*/ 1687044 h 4419155"/>
              <a:gd name="connsiteX1411" fmla="*/ 5993704 w 6436611"/>
              <a:gd name="connsiteY1411" fmla="*/ 1682532 h 4419155"/>
              <a:gd name="connsiteX1412" fmla="*/ 5999886 w 6436611"/>
              <a:gd name="connsiteY1412" fmla="*/ 1671251 h 4419155"/>
              <a:gd name="connsiteX1413" fmla="*/ 5979285 w 6436611"/>
              <a:gd name="connsiteY1413" fmla="*/ 1680275 h 4419155"/>
              <a:gd name="connsiteX1414" fmla="*/ 5983406 w 6436611"/>
              <a:gd name="connsiteY1414" fmla="*/ 1682532 h 4419155"/>
              <a:gd name="connsiteX1415" fmla="*/ 5966925 w 6436611"/>
              <a:gd name="connsiteY1415" fmla="*/ 1680275 h 4419155"/>
              <a:gd name="connsiteX1416" fmla="*/ 5966925 w 6436611"/>
              <a:gd name="connsiteY1416" fmla="*/ 1678020 h 4419155"/>
              <a:gd name="connsiteX1417" fmla="*/ 5964863 w 6436611"/>
              <a:gd name="connsiteY1417" fmla="*/ 1675762 h 4419155"/>
              <a:gd name="connsiteX1418" fmla="*/ 5964863 w 6436611"/>
              <a:gd name="connsiteY1418" fmla="*/ 1678020 h 4419155"/>
              <a:gd name="connsiteX1419" fmla="*/ 5931906 w 6436611"/>
              <a:gd name="connsiteY1419" fmla="*/ 1675762 h 4419155"/>
              <a:gd name="connsiteX1420" fmla="*/ 5925724 w 6436611"/>
              <a:gd name="connsiteY1420" fmla="*/ 1675762 h 4419155"/>
              <a:gd name="connsiteX1421" fmla="*/ 5913364 w 6436611"/>
              <a:gd name="connsiteY1421" fmla="*/ 1678020 h 4419155"/>
              <a:gd name="connsiteX1422" fmla="*/ 5909244 w 6436611"/>
              <a:gd name="connsiteY1422" fmla="*/ 1675762 h 4419155"/>
              <a:gd name="connsiteX1423" fmla="*/ 5909244 w 6436611"/>
              <a:gd name="connsiteY1423" fmla="*/ 1671251 h 4419155"/>
              <a:gd name="connsiteX1424" fmla="*/ 5890705 w 6436611"/>
              <a:gd name="connsiteY1424" fmla="*/ 1675762 h 4419155"/>
              <a:gd name="connsiteX1425" fmla="*/ 5884526 w 6436611"/>
              <a:gd name="connsiteY1425" fmla="*/ 1680275 h 4419155"/>
              <a:gd name="connsiteX1426" fmla="*/ 5855683 w 6436611"/>
              <a:gd name="connsiteY1426" fmla="*/ 1684786 h 4419155"/>
              <a:gd name="connsiteX1427" fmla="*/ 5830965 w 6436611"/>
              <a:gd name="connsiteY1427" fmla="*/ 1684786 h 4419155"/>
              <a:gd name="connsiteX1428" fmla="*/ 5833023 w 6436611"/>
              <a:gd name="connsiteY1428" fmla="*/ 1668996 h 4419155"/>
              <a:gd name="connsiteX1429" fmla="*/ 5837144 w 6436611"/>
              <a:gd name="connsiteY1429" fmla="*/ 1668996 h 4419155"/>
              <a:gd name="connsiteX1430" fmla="*/ 5837144 w 6436611"/>
              <a:gd name="connsiteY1430" fmla="*/ 1673508 h 4419155"/>
              <a:gd name="connsiteX1431" fmla="*/ 5847442 w 6436611"/>
              <a:gd name="connsiteY1431" fmla="*/ 1668996 h 4419155"/>
              <a:gd name="connsiteX1432" fmla="*/ 5913364 w 6436611"/>
              <a:gd name="connsiteY1432" fmla="*/ 1666739 h 4419155"/>
              <a:gd name="connsiteX1433" fmla="*/ 5905124 w 6436611"/>
              <a:gd name="connsiteY1433" fmla="*/ 1657715 h 4419155"/>
              <a:gd name="connsiteX1434" fmla="*/ 5940143 w 6436611"/>
              <a:gd name="connsiteY1434" fmla="*/ 1659973 h 4419155"/>
              <a:gd name="connsiteX1435" fmla="*/ 5938085 w 6436611"/>
              <a:gd name="connsiteY1435" fmla="*/ 1653203 h 4419155"/>
              <a:gd name="connsiteX1436" fmla="*/ 5942204 w 6436611"/>
              <a:gd name="connsiteY1436" fmla="*/ 1653203 h 4419155"/>
              <a:gd name="connsiteX1437" fmla="*/ 6119366 w 6436611"/>
              <a:gd name="connsiteY1437" fmla="*/ 1671251 h 4419155"/>
              <a:gd name="connsiteX1438" fmla="*/ 6139967 w 6436611"/>
              <a:gd name="connsiteY1438" fmla="*/ 1671251 h 4419155"/>
              <a:gd name="connsiteX1439" fmla="*/ 6129665 w 6436611"/>
              <a:gd name="connsiteY1439" fmla="*/ 1662228 h 4419155"/>
              <a:gd name="connsiteX1440" fmla="*/ 6137908 w 6436611"/>
              <a:gd name="connsiteY1440" fmla="*/ 1657715 h 4419155"/>
              <a:gd name="connsiteX1441" fmla="*/ 6121427 w 6436611"/>
              <a:gd name="connsiteY1441" fmla="*/ 1657715 h 4419155"/>
              <a:gd name="connsiteX1442" fmla="*/ 6092586 w 6436611"/>
              <a:gd name="connsiteY1442" fmla="*/ 1650949 h 4419155"/>
              <a:gd name="connsiteX1443" fmla="*/ 6094645 w 6436611"/>
              <a:gd name="connsiteY1443" fmla="*/ 1639669 h 4419155"/>
              <a:gd name="connsiteX1444" fmla="*/ 6086406 w 6436611"/>
              <a:gd name="connsiteY1444" fmla="*/ 1648692 h 4419155"/>
              <a:gd name="connsiteX1445" fmla="*/ 5979285 w 6436611"/>
              <a:gd name="connsiteY1445" fmla="*/ 1639669 h 4419155"/>
              <a:gd name="connsiteX1446" fmla="*/ 5958685 w 6436611"/>
              <a:gd name="connsiteY1446" fmla="*/ 1637414 h 4419155"/>
              <a:gd name="connsiteX1447" fmla="*/ 5954565 w 6436611"/>
              <a:gd name="connsiteY1447" fmla="*/ 1632901 h 4419155"/>
              <a:gd name="connsiteX1448" fmla="*/ 5946324 w 6436611"/>
              <a:gd name="connsiteY1448" fmla="*/ 1614854 h 4419155"/>
              <a:gd name="connsiteX1449" fmla="*/ 6057565 w 6436611"/>
              <a:gd name="connsiteY1449" fmla="*/ 1585529 h 4419155"/>
              <a:gd name="connsiteX1450" fmla="*/ 6026665 w 6436611"/>
              <a:gd name="connsiteY1450" fmla="*/ 1585529 h 4419155"/>
              <a:gd name="connsiteX1451" fmla="*/ 6028726 w 6436611"/>
              <a:gd name="connsiteY1451" fmla="*/ 1581016 h 4419155"/>
              <a:gd name="connsiteX1452" fmla="*/ 6020486 w 6436611"/>
              <a:gd name="connsiteY1452" fmla="*/ 1581016 h 4419155"/>
              <a:gd name="connsiteX1453" fmla="*/ 6026665 w 6436611"/>
              <a:gd name="connsiteY1453" fmla="*/ 1567482 h 4419155"/>
              <a:gd name="connsiteX1454" fmla="*/ 6026665 w 6436611"/>
              <a:gd name="connsiteY1454" fmla="*/ 1558457 h 4419155"/>
              <a:gd name="connsiteX1455" fmla="*/ 6043145 w 6436611"/>
              <a:gd name="connsiteY1455" fmla="*/ 1549434 h 4419155"/>
              <a:gd name="connsiteX1456" fmla="*/ 6022545 w 6436611"/>
              <a:gd name="connsiteY1456" fmla="*/ 1551689 h 4419155"/>
              <a:gd name="connsiteX1457" fmla="*/ 6018425 w 6436611"/>
              <a:gd name="connsiteY1457" fmla="*/ 1547176 h 4419155"/>
              <a:gd name="connsiteX1458" fmla="*/ 6014304 w 6436611"/>
              <a:gd name="connsiteY1458" fmla="*/ 1542664 h 4419155"/>
              <a:gd name="connsiteX1459" fmla="*/ 6063746 w 6436611"/>
              <a:gd name="connsiteY1459" fmla="*/ 1538153 h 4419155"/>
              <a:gd name="connsiteX1460" fmla="*/ 6107006 w 6436611"/>
              <a:gd name="connsiteY1460" fmla="*/ 1531387 h 4419155"/>
              <a:gd name="connsiteX1461" fmla="*/ 6107006 w 6436611"/>
              <a:gd name="connsiteY1461" fmla="*/ 1522362 h 4419155"/>
              <a:gd name="connsiteX1462" fmla="*/ 6076106 w 6436611"/>
              <a:gd name="connsiteY1462" fmla="*/ 1522362 h 4419155"/>
              <a:gd name="connsiteX1463" fmla="*/ 6080226 w 6436611"/>
              <a:gd name="connsiteY1463" fmla="*/ 1513339 h 4419155"/>
              <a:gd name="connsiteX1464" fmla="*/ 6074045 w 6436611"/>
              <a:gd name="connsiteY1464" fmla="*/ 1506570 h 4419155"/>
              <a:gd name="connsiteX1465" fmla="*/ 6084347 w 6436611"/>
              <a:gd name="connsiteY1465" fmla="*/ 1502060 h 4419155"/>
              <a:gd name="connsiteX1466" fmla="*/ 6067866 w 6436611"/>
              <a:gd name="connsiteY1466" fmla="*/ 1502060 h 4419155"/>
              <a:gd name="connsiteX1467" fmla="*/ 6055506 w 6436611"/>
              <a:gd name="connsiteY1467" fmla="*/ 1524617 h 4419155"/>
              <a:gd name="connsiteX1468" fmla="*/ 6026665 w 6436611"/>
              <a:gd name="connsiteY1468" fmla="*/ 1520106 h 4419155"/>
              <a:gd name="connsiteX1469" fmla="*/ 6024606 w 6436611"/>
              <a:gd name="connsiteY1469" fmla="*/ 1517851 h 4419155"/>
              <a:gd name="connsiteX1470" fmla="*/ 6030785 w 6436611"/>
              <a:gd name="connsiteY1470" fmla="*/ 1511081 h 4419155"/>
              <a:gd name="connsiteX1471" fmla="*/ 6016367 w 6436611"/>
              <a:gd name="connsiteY1471" fmla="*/ 1517851 h 4419155"/>
              <a:gd name="connsiteX1472" fmla="*/ 5993704 w 6436611"/>
              <a:gd name="connsiteY1472" fmla="*/ 1531387 h 4419155"/>
              <a:gd name="connsiteX1473" fmla="*/ 5989584 w 6436611"/>
              <a:gd name="connsiteY1473" fmla="*/ 1531387 h 4419155"/>
              <a:gd name="connsiteX1474" fmla="*/ 5983406 w 6436611"/>
              <a:gd name="connsiteY1474" fmla="*/ 1531387 h 4419155"/>
              <a:gd name="connsiteX1475" fmla="*/ 5940143 w 6436611"/>
              <a:gd name="connsiteY1475" fmla="*/ 1526874 h 4419155"/>
              <a:gd name="connsiteX1476" fmla="*/ 5948386 w 6436611"/>
              <a:gd name="connsiteY1476" fmla="*/ 1524617 h 4419155"/>
              <a:gd name="connsiteX1477" fmla="*/ 5886585 w 6436611"/>
              <a:gd name="connsiteY1477" fmla="*/ 1520106 h 4419155"/>
              <a:gd name="connsiteX1478" fmla="*/ 5890705 w 6436611"/>
              <a:gd name="connsiteY1478" fmla="*/ 1515596 h 4419155"/>
              <a:gd name="connsiteX1479" fmla="*/ 5903065 w 6436611"/>
              <a:gd name="connsiteY1479" fmla="*/ 1513339 h 4419155"/>
              <a:gd name="connsiteX1480" fmla="*/ 5923665 w 6436611"/>
              <a:gd name="connsiteY1480" fmla="*/ 1511081 h 4419155"/>
              <a:gd name="connsiteX1481" fmla="*/ 5923665 w 6436611"/>
              <a:gd name="connsiteY1481" fmla="*/ 1508828 h 4419155"/>
              <a:gd name="connsiteX1482" fmla="*/ 5925724 w 6436611"/>
              <a:gd name="connsiteY1482" fmla="*/ 1508828 h 4419155"/>
              <a:gd name="connsiteX1483" fmla="*/ 5936026 w 6436611"/>
              <a:gd name="connsiteY1483" fmla="*/ 1504315 h 4419155"/>
              <a:gd name="connsiteX1484" fmla="*/ 5944263 w 6436611"/>
              <a:gd name="connsiteY1484" fmla="*/ 1499804 h 4419155"/>
              <a:gd name="connsiteX1485" fmla="*/ 5956626 w 6436611"/>
              <a:gd name="connsiteY1485" fmla="*/ 1495292 h 4419155"/>
              <a:gd name="connsiteX1486" fmla="*/ 5948386 w 6436611"/>
              <a:gd name="connsiteY1486" fmla="*/ 1493037 h 4419155"/>
              <a:gd name="connsiteX1487" fmla="*/ 5925724 w 6436611"/>
              <a:gd name="connsiteY1487" fmla="*/ 1504315 h 4419155"/>
              <a:gd name="connsiteX1488" fmla="*/ 5921604 w 6436611"/>
              <a:gd name="connsiteY1488" fmla="*/ 1499804 h 4419155"/>
              <a:gd name="connsiteX1489" fmla="*/ 5923665 w 6436611"/>
              <a:gd name="connsiteY1489" fmla="*/ 1497549 h 4419155"/>
              <a:gd name="connsiteX1490" fmla="*/ 5931906 w 6436611"/>
              <a:gd name="connsiteY1490" fmla="*/ 1490779 h 4419155"/>
              <a:gd name="connsiteX1491" fmla="*/ 5946324 w 6436611"/>
              <a:gd name="connsiteY1491" fmla="*/ 1477243 h 4419155"/>
              <a:gd name="connsiteX1492" fmla="*/ 5956626 w 6436611"/>
              <a:gd name="connsiteY1492" fmla="*/ 1474990 h 4419155"/>
              <a:gd name="connsiteX1493" fmla="*/ 5962805 w 6436611"/>
              <a:gd name="connsiteY1493" fmla="*/ 1459196 h 4419155"/>
              <a:gd name="connsiteX1494" fmla="*/ 5944263 w 6436611"/>
              <a:gd name="connsiteY1494" fmla="*/ 1472732 h 4419155"/>
              <a:gd name="connsiteX1495" fmla="*/ 5940143 w 6436611"/>
              <a:gd name="connsiteY1495" fmla="*/ 1468220 h 4419155"/>
              <a:gd name="connsiteX1496" fmla="*/ 6010185 w 6436611"/>
              <a:gd name="connsiteY1496" fmla="*/ 1400546 h 4419155"/>
              <a:gd name="connsiteX1497" fmla="*/ 6063746 w 6436611"/>
              <a:gd name="connsiteY1497" fmla="*/ 1348657 h 4419155"/>
              <a:gd name="connsiteX1498" fmla="*/ 6222366 w 6436611"/>
              <a:gd name="connsiteY1498" fmla="*/ 1231352 h 4419155"/>
              <a:gd name="connsiteX1499" fmla="*/ 6228547 w 6436611"/>
              <a:gd name="connsiteY1499" fmla="*/ 1226840 h 4419155"/>
              <a:gd name="connsiteX1500" fmla="*/ 6298588 w 6436611"/>
              <a:gd name="connsiteY1500" fmla="*/ 1161419 h 4419155"/>
              <a:gd name="connsiteX1501" fmla="*/ 6343909 w 6436611"/>
              <a:gd name="connsiteY1501" fmla="*/ 1100508 h 4419155"/>
              <a:gd name="connsiteX1502" fmla="*/ 6368630 w 6436611"/>
              <a:gd name="connsiteY1502" fmla="*/ 1062159 h 4419155"/>
              <a:gd name="connsiteX1503" fmla="*/ 6370689 w 6436611"/>
              <a:gd name="connsiteY1503" fmla="*/ 1055393 h 4419155"/>
              <a:gd name="connsiteX1504" fmla="*/ 6380988 w 6436611"/>
              <a:gd name="connsiteY1504" fmla="*/ 1032833 h 4419155"/>
              <a:gd name="connsiteX1505" fmla="*/ 6399530 w 6436611"/>
              <a:gd name="connsiteY1505" fmla="*/ 983202 h 4419155"/>
              <a:gd name="connsiteX1506" fmla="*/ 6391289 w 6436611"/>
              <a:gd name="connsiteY1506" fmla="*/ 901990 h 4419155"/>
              <a:gd name="connsiteX1507" fmla="*/ 6391289 w 6436611"/>
              <a:gd name="connsiteY1507" fmla="*/ 895223 h 4419155"/>
              <a:gd name="connsiteX1508" fmla="*/ 6391289 w 6436611"/>
              <a:gd name="connsiteY1508" fmla="*/ 870410 h 4419155"/>
              <a:gd name="connsiteX1509" fmla="*/ 6383050 w 6436611"/>
              <a:gd name="connsiteY1509" fmla="*/ 843338 h 4419155"/>
              <a:gd name="connsiteX1510" fmla="*/ 6368630 w 6436611"/>
              <a:gd name="connsiteY1510" fmla="*/ 818521 h 4419155"/>
              <a:gd name="connsiteX1511" fmla="*/ 6356268 w 6436611"/>
              <a:gd name="connsiteY1511" fmla="*/ 800474 h 4419155"/>
              <a:gd name="connsiteX1512" fmla="*/ 6329488 w 6436611"/>
              <a:gd name="connsiteY1512" fmla="*/ 755358 h 4419155"/>
              <a:gd name="connsiteX1513" fmla="*/ 6315070 w 6436611"/>
              <a:gd name="connsiteY1513" fmla="*/ 730541 h 4419155"/>
              <a:gd name="connsiteX1514" fmla="*/ 6286229 w 6436611"/>
              <a:gd name="connsiteY1514" fmla="*/ 694448 h 4419155"/>
              <a:gd name="connsiteX1515" fmla="*/ 6282108 w 6436611"/>
              <a:gd name="connsiteY1515" fmla="*/ 689935 h 4419155"/>
              <a:gd name="connsiteX1516" fmla="*/ 6265627 w 6436611"/>
              <a:gd name="connsiteY1516" fmla="*/ 667378 h 4419155"/>
              <a:gd name="connsiteX1517" fmla="*/ 6226488 w 6436611"/>
              <a:gd name="connsiteY1517" fmla="*/ 635795 h 4419155"/>
              <a:gd name="connsiteX1518" fmla="*/ 6216186 w 6436611"/>
              <a:gd name="connsiteY1518" fmla="*/ 626772 h 4419155"/>
              <a:gd name="connsiteX1519" fmla="*/ 6189408 w 6436611"/>
              <a:gd name="connsiteY1519" fmla="*/ 613236 h 4419155"/>
              <a:gd name="connsiteX1520" fmla="*/ 6158508 w 6436611"/>
              <a:gd name="connsiteY1520" fmla="*/ 604213 h 4419155"/>
              <a:gd name="connsiteX1521" fmla="*/ 6131726 w 6436611"/>
              <a:gd name="connsiteY1521" fmla="*/ 595188 h 4419155"/>
              <a:gd name="connsiteX1522" fmla="*/ 6092586 w 6436611"/>
              <a:gd name="connsiteY1522" fmla="*/ 595188 h 4419155"/>
              <a:gd name="connsiteX1523" fmla="*/ 6049327 w 6436611"/>
              <a:gd name="connsiteY1523" fmla="*/ 606468 h 4419155"/>
              <a:gd name="connsiteX1524" fmla="*/ 5907185 w 6436611"/>
              <a:gd name="connsiteY1524" fmla="*/ 676400 h 4419155"/>
              <a:gd name="connsiteX1525" fmla="*/ 5861864 w 6436611"/>
              <a:gd name="connsiteY1525" fmla="*/ 696704 h 4419155"/>
              <a:gd name="connsiteX1526" fmla="*/ 5845383 w 6436611"/>
              <a:gd name="connsiteY1526" fmla="*/ 703470 h 4419155"/>
              <a:gd name="connsiteX1527" fmla="*/ 5847442 w 6436611"/>
              <a:gd name="connsiteY1527" fmla="*/ 687680 h 4419155"/>
              <a:gd name="connsiteX1528" fmla="*/ 5855683 w 6436611"/>
              <a:gd name="connsiteY1528" fmla="*/ 660610 h 4419155"/>
              <a:gd name="connsiteX1529" fmla="*/ 5890705 w 6436611"/>
              <a:gd name="connsiteY1529" fmla="*/ 570372 h 4419155"/>
              <a:gd name="connsiteX1530" fmla="*/ 5896883 w 6436611"/>
              <a:gd name="connsiteY1530" fmla="*/ 565860 h 4419155"/>
              <a:gd name="connsiteX1531" fmla="*/ 5907185 w 6436611"/>
              <a:gd name="connsiteY1531" fmla="*/ 556839 h 4419155"/>
              <a:gd name="connsiteX1532" fmla="*/ 5921604 w 6436611"/>
              <a:gd name="connsiteY1532" fmla="*/ 536535 h 4419155"/>
              <a:gd name="connsiteX1533" fmla="*/ 5903065 w 6436611"/>
              <a:gd name="connsiteY1533" fmla="*/ 543303 h 4419155"/>
              <a:gd name="connsiteX1534" fmla="*/ 5905124 w 6436611"/>
              <a:gd name="connsiteY1534" fmla="*/ 538792 h 4419155"/>
              <a:gd name="connsiteX1535" fmla="*/ 5923665 w 6436611"/>
              <a:gd name="connsiteY1535" fmla="*/ 491416 h 4419155"/>
              <a:gd name="connsiteX1536" fmla="*/ 5952506 w 6436611"/>
              <a:gd name="connsiteY1536" fmla="*/ 477880 h 4419155"/>
              <a:gd name="connsiteX1537" fmla="*/ 5946324 w 6436611"/>
              <a:gd name="connsiteY1537" fmla="*/ 475626 h 4419155"/>
              <a:gd name="connsiteX1538" fmla="*/ 5927785 w 6436611"/>
              <a:gd name="connsiteY1538" fmla="*/ 480138 h 4419155"/>
              <a:gd name="connsiteX1539" fmla="*/ 5952506 w 6436611"/>
              <a:gd name="connsiteY1539" fmla="*/ 421484 h 4419155"/>
              <a:gd name="connsiteX1540" fmla="*/ 5968983 w 6436611"/>
              <a:gd name="connsiteY1540" fmla="*/ 374110 h 4419155"/>
              <a:gd name="connsiteX1541" fmla="*/ 5989584 w 6436611"/>
              <a:gd name="connsiteY1541" fmla="*/ 310944 h 4419155"/>
              <a:gd name="connsiteX1542" fmla="*/ 5997824 w 6436611"/>
              <a:gd name="connsiteY1542" fmla="*/ 304178 h 4419155"/>
              <a:gd name="connsiteX1543" fmla="*/ 6018425 w 6436611"/>
              <a:gd name="connsiteY1543" fmla="*/ 295155 h 4419155"/>
              <a:gd name="connsiteX1544" fmla="*/ 6014304 w 6436611"/>
              <a:gd name="connsiteY1544" fmla="*/ 310944 h 4419155"/>
              <a:gd name="connsiteX1545" fmla="*/ 6034906 w 6436611"/>
              <a:gd name="connsiteY1545" fmla="*/ 290642 h 4419155"/>
              <a:gd name="connsiteX1546" fmla="*/ 6026665 w 6436611"/>
              <a:gd name="connsiteY1546" fmla="*/ 288385 h 4419155"/>
              <a:gd name="connsiteX1547" fmla="*/ 6041087 w 6436611"/>
              <a:gd name="connsiteY1547" fmla="*/ 268083 h 4419155"/>
              <a:gd name="connsiteX1548" fmla="*/ 6053445 w 6436611"/>
              <a:gd name="connsiteY1548" fmla="*/ 274849 h 4419155"/>
              <a:gd name="connsiteX1549" fmla="*/ 6061685 w 6436611"/>
              <a:gd name="connsiteY1549" fmla="*/ 281619 h 4419155"/>
              <a:gd name="connsiteX1550" fmla="*/ 6076106 w 6436611"/>
              <a:gd name="connsiteY1550" fmla="*/ 268083 h 4419155"/>
              <a:gd name="connsiteX1551" fmla="*/ 6071986 w 6436611"/>
              <a:gd name="connsiteY1551" fmla="*/ 256802 h 4419155"/>
              <a:gd name="connsiteX1552" fmla="*/ 6053445 w 6436611"/>
              <a:gd name="connsiteY1552" fmla="*/ 254547 h 4419155"/>
              <a:gd name="connsiteX1553" fmla="*/ 6059626 w 6436611"/>
              <a:gd name="connsiteY1553" fmla="*/ 245524 h 4419155"/>
              <a:gd name="connsiteX1554" fmla="*/ 6043145 w 6436611"/>
              <a:gd name="connsiteY1554" fmla="*/ 259060 h 4419155"/>
              <a:gd name="connsiteX1555" fmla="*/ 6041087 w 6436611"/>
              <a:gd name="connsiteY1555" fmla="*/ 263572 h 4419155"/>
              <a:gd name="connsiteX1556" fmla="*/ 6036965 w 6436611"/>
              <a:gd name="connsiteY1556" fmla="*/ 265826 h 4419155"/>
              <a:gd name="connsiteX1557" fmla="*/ 6016367 w 6436611"/>
              <a:gd name="connsiteY1557" fmla="*/ 277108 h 4419155"/>
              <a:gd name="connsiteX1558" fmla="*/ 6022545 w 6436611"/>
              <a:gd name="connsiteY1558" fmla="*/ 263572 h 4419155"/>
              <a:gd name="connsiteX1559" fmla="*/ 6014304 w 6436611"/>
              <a:gd name="connsiteY1559" fmla="*/ 263572 h 4419155"/>
              <a:gd name="connsiteX1560" fmla="*/ 5999886 w 6436611"/>
              <a:gd name="connsiteY1560" fmla="*/ 274849 h 4419155"/>
              <a:gd name="connsiteX1561" fmla="*/ 5999886 w 6436611"/>
              <a:gd name="connsiteY1561" fmla="*/ 261314 h 4419155"/>
              <a:gd name="connsiteX1562" fmla="*/ 5999574 w 6436611"/>
              <a:gd name="connsiteY1562" fmla="*/ 258581 h 4419155"/>
              <a:gd name="connsiteX1563" fmla="*/ 5997824 w 6436611"/>
              <a:gd name="connsiteY1563" fmla="*/ 259060 h 4419155"/>
              <a:gd name="connsiteX1564" fmla="*/ 5987526 w 6436611"/>
              <a:gd name="connsiteY1564" fmla="*/ 250036 h 4419155"/>
              <a:gd name="connsiteX1565" fmla="*/ 5998154 w 6436611"/>
              <a:gd name="connsiteY1565" fmla="*/ 246155 h 4419155"/>
              <a:gd name="connsiteX1566" fmla="*/ 5997824 w 6436611"/>
              <a:gd name="connsiteY1566" fmla="*/ 243267 h 4419155"/>
              <a:gd name="connsiteX1567" fmla="*/ 6016367 w 6436611"/>
              <a:gd name="connsiteY1567" fmla="*/ 220707 h 4419155"/>
              <a:gd name="connsiteX1568" fmla="*/ 6020486 w 6436611"/>
              <a:gd name="connsiteY1568" fmla="*/ 220707 h 4419155"/>
              <a:gd name="connsiteX1569" fmla="*/ 6021859 w 6436611"/>
              <a:gd name="connsiteY1569" fmla="*/ 223716 h 4419155"/>
              <a:gd name="connsiteX1570" fmla="*/ 6022545 w 6436611"/>
              <a:gd name="connsiteY1570" fmla="*/ 222965 h 4419155"/>
              <a:gd name="connsiteX1571" fmla="*/ 6026665 w 6436611"/>
              <a:gd name="connsiteY1571" fmla="*/ 220707 h 4419155"/>
              <a:gd name="connsiteX1572" fmla="*/ 6036965 w 6436611"/>
              <a:gd name="connsiteY1572" fmla="*/ 211686 h 4419155"/>
              <a:gd name="connsiteX1573" fmla="*/ 6032844 w 6436611"/>
              <a:gd name="connsiteY1573" fmla="*/ 211686 h 4419155"/>
              <a:gd name="connsiteX1574" fmla="*/ 6034906 w 6436611"/>
              <a:gd name="connsiteY1574" fmla="*/ 207175 h 4419155"/>
              <a:gd name="connsiteX1575" fmla="*/ 6034906 w 6436611"/>
              <a:gd name="connsiteY1575" fmla="*/ 204917 h 4419155"/>
              <a:gd name="connsiteX1576" fmla="*/ 6032844 w 6436611"/>
              <a:gd name="connsiteY1576" fmla="*/ 204917 h 4419155"/>
              <a:gd name="connsiteX1577" fmla="*/ 6032844 w 6436611"/>
              <a:gd name="connsiteY1577" fmla="*/ 175592 h 4419155"/>
              <a:gd name="connsiteX1578" fmla="*/ 6034906 w 6436611"/>
              <a:gd name="connsiteY1578" fmla="*/ 173335 h 4419155"/>
              <a:gd name="connsiteX1579" fmla="*/ 6036965 w 6436611"/>
              <a:gd name="connsiteY1579" fmla="*/ 168823 h 4419155"/>
              <a:gd name="connsiteX1580" fmla="*/ 6032844 w 6436611"/>
              <a:gd name="connsiteY1580" fmla="*/ 164310 h 4419155"/>
              <a:gd name="connsiteX1581" fmla="*/ 6028726 w 6436611"/>
              <a:gd name="connsiteY1581" fmla="*/ 159799 h 4419155"/>
              <a:gd name="connsiteX1582" fmla="*/ 6032844 w 6436611"/>
              <a:gd name="connsiteY1582" fmla="*/ 153033 h 4419155"/>
              <a:gd name="connsiteX1583" fmla="*/ 6024606 w 6436611"/>
              <a:gd name="connsiteY1583" fmla="*/ 137242 h 4419155"/>
              <a:gd name="connsiteX1584" fmla="*/ 6029662 w 6436611"/>
              <a:gd name="connsiteY1584" fmla="*/ 125244 h 4419155"/>
              <a:gd name="connsiteX1585" fmla="*/ 6022545 w 6436611"/>
              <a:gd name="connsiteY1585" fmla="*/ 134985 h 4419155"/>
              <a:gd name="connsiteX1586" fmla="*/ 6018425 w 6436611"/>
              <a:gd name="connsiteY1586" fmla="*/ 132727 h 4419155"/>
              <a:gd name="connsiteX1587" fmla="*/ 6008126 w 6436611"/>
              <a:gd name="connsiteY1587" fmla="*/ 141751 h 4419155"/>
              <a:gd name="connsiteX1588" fmla="*/ 6016367 w 6436611"/>
              <a:gd name="connsiteY1588" fmla="*/ 144008 h 4419155"/>
              <a:gd name="connsiteX1589" fmla="*/ 6012244 w 6436611"/>
              <a:gd name="connsiteY1589" fmla="*/ 148520 h 4419155"/>
              <a:gd name="connsiteX1590" fmla="*/ 5997824 w 6436611"/>
              <a:gd name="connsiteY1590" fmla="*/ 144008 h 4419155"/>
              <a:gd name="connsiteX1591" fmla="*/ 5991645 w 6436611"/>
              <a:gd name="connsiteY1591" fmla="*/ 150778 h 4419155"/>
              <a:gd name="connsiteX1592" fmla="*/ 5989584 w 6436611"/>
              <a:gd name="connsiteY1592" fmla="*/ 148520 h 4419155"/>
              <a:gd name="connsiteX1593" fmla="*/ 5968983 w 6436611"/>
              <a:gd name="connsiteY1593" fmla="*/ 107914 h 4419155"/>
              <a:gd name="connsiteX1594" fmla="*/ 5983406 w 6436611"/>
              <a:gd name="connsiteY1594" fmla="*/ 98890 h 4419155"/>
              <a:gd name="connsiteX1595" fmla="*/ 5983406 w 6436611"/>
              <a:gd name="connsiteY1595" fmla="*/ 101147 h 4419155"/>
              <a:gd name="connsiteX1596" fmla="*/ 5985465 w 6436611"/>
              <a:gd name="connsiteY1596" fmla="*/ 119192 h 4419155"/>
              <a:gd name="connsiteX1597" fmla="*/ 5991645 w 6436611"/>
              <a:gd name="connsiteY1597" fmla="*/ 112426 h 4419155"/>
              <a:gd name="connsiteX1598" fmla="*/ 6012244 w 6436611"/>
              <a:gd name="connsiteY1598" fmla="*/ 110172 h 4419155"/>
              <a:gd name="connsiteX1599" fmla="*/ 5997824 w 6436611"/>
              <a:gd name="connsiteY1599" fmla="*/ 105659 h 4419155"/>
              <a:gd name="connsiteX1600" fmla="*/ 6001945 w 6436611"/>
              <a:gd name="connsiteY1600" fmla="*/ 101147 h 4419155"/>
              <a:gd name="connsiteX1601" fmla="*/ 6006065 w 6436611"/>
              <a:gd name="connsiteY1601" fmla="*/ 92123 h 4419155"/>
              <a:gd name="connsiteX1602" fmla="*/ 6008126 w 6436611"/>
              <a:gd name="connsiteY1602" fmla="*/ 83100 h 4419155"/>
              <a:gd name="connsiteX1603" fmla="*/ 6010185 w 6436611"/>
              <a:gd name="connsiteY1603" fmla="*/ 80843 h 4419155"/>
              <a:gd name="connsiteX1604" fmla="*/ 6018425 w 6436611"/>
              <a:gd name="connsiteY1604" fmla="*/ 80843 h 4419155"/>
              <a:gd name="connsiteX1605" fmla="*/ 6028726 w 6436611"/>
              <a:gd name="connsiteY1605" fmla="*/ 78588 h 4419155"/>
              <a:gd name="connsiteX1606" fmla="*/ 6065804 w 6436611"/>
              <a:gd name="connsiteY1606" fmla="*/ 51517 h 4419155"/>
              <a:gd name="connsiteX1607" fmla="*/ 6086406 w 6436611"/>
              <a:gd name="connsiteY1607" fmla="*/ 35724 h 4419155"/>
              <a:gd name="connsiteX1608" fmla="*/ 6132232 w 6436611"/>
              <a:gd name="connsiteY1608" fmla="*/ 8452 h 4419155"/>
              <a:gd name="connsiteX1609" fmla="*/ 6141053 w 6436611"/>
              <a:gd name="connsiteY1609" fmla="*/ 0 h 4419155"/>
              <a:gd name="connsiteX1610" fmla="*/ 0 w 6436611"/>
              <a:gd name="connsiteY1610" fmla="*/ 0 h 4419155"/>
              <a:gd name="connsiteX1611" fmla="*/ 0 w 6436611"/>
              <a:gd name="connsiteY1611" fmla="*/ 199016 h 4419155"/>
              <a:gd name="connsiteX1612" fmla="*/ 13470 w 6436611"/>
              <a:gd name="connsiteY1612" fmla="*/ 189127 h 4419155"/>
              <a:gd name="connsiteX1613" fmla="*/ 0 w 6436611"/>
              <a:gd name="connsiteY1613" fmla="*/ 206500 h 4419155"/>
              <a:gd name="connsiteX1614" fmla="*/ 0 w 6436611"/>
              <a:gd name="connsiteY1614" fmla="*/ 3498582 h 4419155"/>
              <a:gd name="connsiteX1615" fmla="*/ 2653 w 6436611"/>
              <a:gd name="connsiteY1615" fmla="*/ 3499657 h 4419155"/>
              <a:gd name="connsiteX1616" fmla="*/ 13470 w 6436611"/>
              <a:gd name="connsiteY1616" fmla="*/ 3512066 h 4419155"/>
              <a:gd name="connsiteX1617" fmla="*/ 27889 w 6436611"/>
              <a:gd name="connsiteY1617" fmla="*/ 3525598 h 4419155"/>
              <a:gd name="connsiteX1618" fmla="*/ 44369 w 6436611"/>
              <a:gd name="connsiteY1618" fmla="*/ 3541392 h 4419155"/>
              <a:gd name="connsiteX1619" fmla="*/ 69089 w 6436611"/>
              <a:gd name="connsiteY1619" fmla="*/ 3545904 h 4419155"/>
              <a:gd name="connsiteX1620" fmla="*/ 91748 w 6436611"/>
              <a:gd name="connsiteY1620" fmla="*/ 3541392 h 4419155"/>
              <a:gd name="connsiteX1621" fmla="*/ 116469 w 6436611"/>
              <a:gd name="connsiteY1621" fmla="*/ 3534625 h 4419155"/>
              <a:gd name="connsiteX1622" fmla="*/ 141189 w 6436611"/>
              <a:gd name="connsiteY1622" fmla="*/ 3530111 h 4419155"/>
              <a:gd name="connsiteX1623" fmla="*/ 165910 w 6436611"/>
              <a:gd name="connsiteY1623" fmla="*/ 3518832 h 4419155"/>
              <a:gd name="connsiteX1624" fmla="*/ 213290 w 6436611"/>
              <a:gd name="connsiteY1624" fmla="*/ 3491762 h 4419155"/>
              <a:gd name="connsiteX1625" fmla="*/ 252430 w 6436611"/>
              <a:gd name="connsiteY1625" fmla="*/ 3462436 h 4419155"/>
              <a:gd name="connsiteX1626" fmla="*/ 295692 w 6436611"/>
              <a:gd name="connsiteY1626" fmla="*/ 3484994 h 4419155"/>
              <a:gd name="connsiteX1627" fmla="*/ 359553 w 6436611"/>
              <a:gd name="connsiteY1627" fmla="*/ 3448900 h 4419155"/>
              <a:gd name="connsiteX1628" fmla="*/ 369851 w 6436611"/>
              <a:gd name="connsiteY1628" fmla="*/ 3448900 h 4419155"/>
              <a:gd name="connsiteX1629" fmla="*/ 378092 w 6436611"/>
              <a:gd name="connsiteY1629" fmla="*/ 3442131 h 4419155"/>
              <a:gd name="connsiteX1630" fmla="*/ 392513 w 6436611"/>
              <a:gd name="connsiteY1630" fmla="*/ 3433107 h 4419155"/>
              <a:gd name="connsiteX1631" fmla="*/ 402812 w 6436611"/>
              <a:gd name="connsiteY1631" fmla="*/ 3430852 h 4419155"/>
              <a:gd name="connsiteX1632" fmla="*/ 481094 w 6436611"/>
              <a:gd name="connsiteY1632" fmla="*/ 3387992 h 4419155"/>
              <a:gd name="connsiteX1633" fmla="*/ 489334 w 6436611"/>
              <a:gd name="connsiteY1633" fmla="*/ 3381223 h 4419155"/>
              <a:gd name="connsiteX1634" fmla="*/ 522295 w 6436611"/>
              <a:gd name="connsiteY1634" fmla="*/ 3356408 h 4419155"/>
              <a:gd name="connsiteX1635" fmla="*/ 536713 w 6436611"/>
              <a:gd name="connsiteY1635" fmla="*/ 3349640 h 4419155"/>
              <a:gd name="connsiteX1636" fmla="*/ 567613 w 6436611"/>
              <a:gd name="connsiteY1636" fmla="*/ 3331592 h 4419155"/>
              <a:gd name="connsiteX1637" fmla="*/ 579974 w 6436611"/>
              <a:gd name="connsiteY1637" fmla="*/ 3315802 h 4419155"/>
              <a:gd name="connsiteX1638" fmla="*/ 594395 w 6436611"/>
              <a:gd name="connsiteY1638" fmla="*/ 3313545 h 4419155"/>
              <a:gd name="connsiteX1639" fmla="*/ 612934 w 6436611"/>
              <a:gd name="connsiteY1639" fmla="*/ 3302266 h 4419155"/>
              <a:gd name="connsiteX1640" fmla="*/ 621174 w 6436611"/>
              <a:gd name="connsiteY1640" fmla="*/ 3309036 h 4419155"/>
              <a:gd name="connsiteX1641" fmla="*/ 631474 w 6436611"/>
              <a:gd name="connsiteY1641" fmla="*/ 3318056 h 4419155"/>
              <a:gd name="connsiteX1642" fmla="*/ 645895 w 6436611"/>
              <a:gd name="connsiteY1642" fmla="*/ 3320314 h 4419155"/>
              <a:gd name="connsiteX1643" fmla="*/ 658255 w 6436611"/>
              <a:gd name="connsiteY1643" fmla="*/ 3318056 h 4419155"/>
              <a:gd name="connsiteX1644" fmla="*/ 672674 w 6436611"/>
              <a:gd name="connsiteY1644" fmla="*/ 3313545 h 4419155"/>
              <a:gd name="connsiteX1645" fmla="*/ 687096 w 6436611"/>
              <a:gd name="connsiteY1645" fmla="*/ 3311290 h 4419155"/>
              <a:gd name="connsiteX1646" fmla="*/ 701515 w 6436611"/>
              <a:gd name="connsiteY1646" fmla="*/ 3304520 h 4419155"/>
              <a:gd name="connsiteX1647" fmla="*/ 724174 w 6436611"/>
              <a:gd name="connsiteY1647" fmla="*/ 3290988 h 4419155"/>
              <a:gd name="connsiteX1648" fmla="*/ 736534 w 6436611"/>
              <a:gd name="connsiteY1648" fmla="*/ 3300009 h 4419155"/>
              <a:gd name="connsiteX1649" fmla="*/ 753015 w 6436611"/>
              <a:gd name="connsiteY1649" fmla="*/ 3318056 h 4419155"/>
              <a:gd name="connsiteX1650" fmla="*/ 713875 w 6436611"/>
              <a:gd name="connsiteY1650" fmla="*/ 3381223 h 4419155"/>
              <a:gd name="connsiteX1651" fmla="*/ 732415 w 6436611"/>
              <a:gd name="connsiteY1651" fmla="*/ 3394758 h 4419155"/>
              <a:gd name="connsiteX1652" fmla="*/ 738595 w 6436611"/>
              <a:gd name="connsiteY1652" fmla="*/ 3403782 h 4419155"/>
              <a:gd name="connsiteX1653" fmla="*/ 755076 w 6436611"/>
              <a:gd name="connsiteY1653" fmla="*/ 3419572 h 4419155"/>
              <a:gd name="connsiteX1654" fmla="*/ 771556 w 6436611"/>
              <a:gd name="connsiteY1654" fmla="*/ 3424084 h 4419155"/>
              <a:gd name="connsiteX1655" fmla="*/ 781856 w 6436611"/>
              <a:gd name="connsiteY1655" fmla="*/ 3424084 h 4419155"/>
              <a:gd name="connsiteX1656" fmla="*/ 794216 w 6436611"/>
              <a:gd name="connsiteY1656" fmla="*/ 3428596 h 4419155"/>
              <a:gd name="connsiteX1657" fmla="*/ 808638 w 6436611"/>
              <a:gd name="connsiteY1657" fmla="*/ 3439876 h 4419155"/>
              <a:gd name="connsiteX1658" fmla="*/ 814816 w 6436611"/>
              <a:gd name="connsiteY1658" fmla="*/ 3439876 h 4419155"/>
              <a:gd name="connsiteX1659" fmla="*/ 820995 w 6436611"/>
              <a:gd name="connsiteY1659" fmla="*/ 3437620 h 4419155"/>
              <a:gd name="connsiteX1660" fmla="*/ 831297 w 6436611"/>
              <a:gd name="connsiteY1660" fmla="*/ 3439876 h 4419155"/>
              <a:gd name="connsiteX1661" fmla="*/ 843657 w 6436611"/>
              <a:gd name="connsiteY1661" fmla="*/ 3442131 h 4419155"/>
              <a:gd name="connsiteX1662" fmla="*/ 849836 w 6436611"/>
              <a:gd name="connsiteY1662" fmla="*/ 3439876 h 4419155"/>
              <a:gd name="connsiteX1663" fmla="*/ 880738 w 6436611"/>
              <a:gd name="connsiteY1663" fmla="*/ 3453412 h 4419155"/>
              <a:gd name="connsiteX1664" fmla="*/ 901338 w 6436611"/>
              <a:gd name="connsiteY1664" fmla="*/ 3455667 h 4419155"/>
              <a:gd name="connsiteX1665" fmla="*/ 919877 w 6436611"/>
              <a:gd name="connsiteY1665" fmla="*/ 3455667 h 4419155"/>
              <a:gd name="connsiteX1666" fmla="*/ 930177 w 6436611"/>
              <a:gd name="connsiteY1666" fmla="*/ 3466947 h 4419155"/>
              <a:gd name="connsiteX1667" fmla="*/ 936357 w 6436611"/>
              <a:gd name="connsiteY1667" fmla="*/ 3482738 h 4419155"/>
              <a:gd name="connsiteX1668" fmla="*/ 934297 w 6436611"/>
              <a:gd name="connsiteY1668" fmla="*/ 3494019 h 4419155"/>
              <a:gd name="connsiteX1669" fmla="*/ 932238 w 6436611"/>
              <a:gd name="connsiteY1669" fmla="*/ 3507554 h 4419155"/>
              <a:gd name="connsiteX1670" fmla="*/ 938416 w 6436611"/>
              <a:gd name="connsiteY1670" fmla="*/ 3518832 h 4419155"/>
              <a:gd name="connsiteX1671" fmla="*/ 946657 w 6436611"/>
              <a:gd name="connsiteY1671" fmla="*/ 3525598 h 4419155"/>
              <a:gd name="connsiteX1672" fmla="*/ 969318 w 6436611"/>
              <a:gd name="connsiteY1672" fmla="*/ 3516578 h 4419155"/>
              <a:gd name="connsiteX1673" fmla="*/ 975497 w 6436611"/>
              <a:gd name="connsiteY1673" fmla="*/ 3507554 h 4419155"/>
              <a:gd name="connsiteX1674" fmla="*/ 1000218 w 6436611"/>
              <a:gd name="connsiteY1674" fmla="*/ 3482738 h 4419155"/>
              <a:gd name="connsiteX1675" fmla="*/ 1000218 w 6436611"/>
              <a:gd name="connsiteY1675" fmla="*/ 3475969 h 4419155"/>
              <a:gd name="connsiteX1676" fmla="*/ 996098 w 6436611"/>
              <a:gd name="connsiteY1676" fmla="*/ 3469202 h 4419155"/>
              <a:gd name="connsiteX1677" fmla="*/ 1004338 w 6436611"/>
              <a:gd name="connsiteY1677" fmla="*/ 3455667 h 4419155"/>
              <a:gd name="connsiteX1678" fmla="*/ 1014637 w 6436611"/>
              <a:gd name="connsiteY1678" fmla="*/ 3448900 h 4419155"/>
              <a:gd name="connsiteX1679" fmla="*/ 1016698 w 6436611"/>
              <a:gd name="connsiteY1679" fmla="*/ 3446643 h 4419155"/>
              <a:gd name="connsiteX1680" fmla="*/ 1055838 w 6436611"/>
              <a:gd name="connsiteY1680" fmla="*/ 3421829 h 4419155"/>
              <a:gd name="connsiteX1681" fmla="*/ 1062019 w 6436611"/>
              <a:gd name="connsiteY1681" fmla="*/ 3421829 h 4419155"/>
              <a:gd name="connsiteX1682" fmla="*/ 1070259 w 6436611"/>
              <a:gd name="connsiteY1682" fmla="*/ 3424084 h 4419155"/>
              <a:gd name="connsiteX1683" fmla="*/ 1090860 w 6436611"/>
              <a:gd name="connsiteY1683" fmla="*/ 3439876 h 4419155"/>
              <a:gd name="connsiteX1684" fmla="*/ 1097039 w 6436611"/>
              <a:gd name="connsiteY1684" fmla="*/ 3444388 h 4419155"/>
              <a:gd name="connsiteX1685" fmla="*/ 1117639 w 6436611"/>
              <a:gd name="connsiteY1685" fmla="*/ 3453412 h 4419155"/>
              <a:gd name="connsiteX1686" fmla="*/ 1134120 w 6436611"/>
              <a:gd name="connsiteY1686" fmla="*/ 3462436 h 4419155"/>
              <a:gd name="connsiteX1687" fmla="*/ 1134120 w 6436611"/>
              <a:gd name="connsiteY1687" fmla="*/ 3480483 h 4419155"/>
              <a:gd name="connsiteX1688" fmla="*/ 1158841 w 6436611"/>
              <a:gd name="connsiteY1688" fmla="*/ 3478226 h 4419155"/>
              <a:gd name="connsiteX1689" fmla="*/ 1162960 w 6436611"/>
              <a:gd name="connsiteY1689" fmla="*/ 3498528 h 4419155"/>
              <a:gd name="connsiteX1690" fmla="*/ 1177380 w 6436611"/>
              <a:gd name="connsiteY1690" fmla="*/ 3514321 h 4419155"/>
              <a:gd name="connsiteX1691" fmla="*/ 1185619 w 6436611"/>
              <a:gd name="connsiteY1691" fmla="*/ 3516578 h 4419155"/>
              <a:gd name="connsiteX1692" fmla="*/ 1200039 w 6436611"/>
              <a:gd name="connsiteY1692" fmla="*/ 3532368 h 4419155"/>
              <a:gd name="connsiteX1693" fmla="*/ 1206220 w 6436611"/>
              <a:gd name="connsiteY1693" fmla="*/ 3539136 h 4419155"/>
              <a:gd name="connsiteX1694" fmla="*/ 1220639 w 6436611"/>
              <a:gd name="connsiteY1694" fmla="*/ 3543646 h 4419155"/>
              <a:gd name="connsiteX1695" fmla="*/ 1160898 w 6436611"/>
              <a:gd name="connsiteY1695" fmla="*/ 3577486 h 4419155"/>
              <a:gd name="connsiteX1696" fmla="*/ 1179441 w 6436611"/>
              <a:gd name="connsiteY1696" fmla="*/ 3591022 h 4419155"/>
              <a:gd name="connsiteX1697" fmla="*/ 1187680 w 6436611"/>
              <a:gd name="connsiteY1697" fmla="*/ 3591022 h 4419155"/>
              <a:gd name="connsiteX1698" fmla="*/ 1185619 w 6436611"/>
              <a:gd name="connsiteY1698" fmla="*/ 3604556 h 4419155"/>
              <a:gd name="connsiteX1699" fmla="*/ 1187680 w 6436611"/>
              <a:gd name="connsiteY1699" fmla="*/ 3609070 h 4419155"/>
              <a:gd name="connsiteX1700" fmla="*/ 1195918 w 6436611"/>
              <a:gd name="connsiteY1700" fmla="*/ 3597788 h 4419155"/>
              <a:gd name="connsiteX1701" fmla="*/ 1197980 w 6436611"/>
              <a:gd name="connsiteY1701" fmla="*/ 3597788 h 4419155"/>
              <a:gd name="connsiteX1702" fmla="*/ 1193860 w 6436611"/>
              <a:gd name="connsiteY1702" fmla="*/ 3636141 h 4419155"/>
              <a:gd name="connsiteX1703" fmla="*/ 1204161 w 6436611"/>
              <a:gd name="connsiteY1703" fmla="*/ 3631626 h 4419155"/>
              <a:gd name="connsiteX1704" fmla="*/ 1212398 w 6436611"/>
              <a:gd name="connsiteY1704" fmla="*/ 3633884 h 4419155"/>
              <a:gd name="connsiteX1705" fmla="*/ 1208282 w 6436611"/>
              <a:gd name="connsiteY1705" fmla="*/ 3638396 h 4419155"/>
              <a:gd name="connsiteX1706" fmla="*/ 1202100 w 6436611"/>
              <a:gd name="connsiteY1706" fmla="*/ 3638396 h 4419155"/>
              <a:gd name="connsiteX1707" fmla="*/ 1206220 w 6436611"/>
              <a:gd name="connsiteY1707" fmla="*/ 3651932 h 4419155"/>
              <a:gd name="connsiteX1708" fmla="*/ 1191798 w 6436611"/>
              <a:gd name="connsiteY1708" fmla="*/ 3665466 h 4419155"/>
              <a:gd name="connsiteX1709" fmla="*/ 1185619 w 6436611"/>
              <a:gd name="connsiteY1709" fmla="*/ 3663209 h 4419155"/>
              <a:gd name="connsiteX1710" fmla="*/ 1193860 w 6436611"/>
              <a:gd name="connsiteY1710" fmla="*/ 3647418 h 4419155"/>
              <a:gd name="connsiteX1711" fmla="*/ 1177380 w 6436611"/>
              <a:gd name="connsiteY1711" fmla="*/ 3649674 h 4419155"/>
              <a:gd name="connsiteX1712" fmla="*/ 1171198 w 6436611"/>
              <a:gd name="connsiteY1712" fmla="*/ 3642907 h 4419155"/>
              <a:gd name="connsiteX1713" fmla="*/ 1167080 w 6436611"/>
              <a:gd name="connsiteY1713" fmla="*/ 3649674 h 4419155"/>
              <a:gd name="connsiteX1714" fmla="*/ 1165019 w 6436611"/>
              <a:gd name="connsiteY1714" fmla="*/ 3667720 h 4419155"/>
              <a:gd name="connsiteX1715" fmla="*/ 1171198 w 6436611"/>
              <a:gd name="connsiteY1715" fmla="*/ 3676745 h 4419155"/>
              <a:gd name="connsiteX1716" fmla="*/ 1154720 w 6436611"/>
              <a:gd name="connsiteY1716" fmla="*/ 3692538 h 4419155"/>
              <a:gd name="connsiteX1717" fmla="*/ 1146480 w 6436611"/>
              <a:gd name="connsiteY1717" fmla="*/ 3699304 h 4419155"/>
              <a:gd name="connsiteX1718" fmla="*/ 1125880 w 6436611"/>
              <a:gd name="connsiteY1718" fmla="*/ 3717352 h 4419155"/>
              <a:gd name="connsiteX1719" fmla="*/ 1107338 w 6436611"/>
              <a:gd name="connsiteY1719" fmla="*/ 3730887 h 4419155"/>
              <a:gd name="connsiteX1720" fmla="*/ 1117639 w 6436611"/>
              <a:gd name="connsiteY1720" fmla="*/ 3730887 h 4419155"/>
              <a:gd name="connsiteX1721" fmla="*/ 1144419 w 6436611"/>
              <a:gd name="connsiteY1721" fmla="*/ 3710585 h 4419155"/>
              <a:gd name="connsiteX1722" fmla="*/ 1162960 w 6436611"/>
              <a:gd name="connsiteY1722" fmla="*/ 3694792 h 4419155"/>
              <a:gd name="connsiteX1723" fmla="*/ 1173259 w 6436611"/>
              <a:gd name="connsiteY1723" fmla="*/ 3683514 h 4419155"/>
              <a:gd name="connsiteX1724" fmla="*/ 1173259 w 6436611"/>
              <a:gd name="connsiteY1724" fmla="*/ 3692538 h 4419155"/>
              <a:gd name="connsiteX1725" fmla="*/ 1177380 w 6436611"/>
              <a:gd name="connsiteY1725" fmla="*/ 3692538 h 4419155"/>
              <a:gd name="connsiteX1726" fmla="*/ 1154720 w 6436611"/>
              <a:gd name="connsiteY1726" fmla="*/ 3715096 h 4419155"/>
              <a:gd name="connsiteX1727" fmla="*/ 1179441 w 6436611"/>
              <a:gd name="connsiteY1727" fmla="*/ 3697050 h 4419155"/>
              <a:gd name="connsiteX1728" fmla="*/ 1187680 w 6436611"/>
              <a:gd name="connsiteY1728" fmla="*/ 3690281 h 4419155"/>
              <a:gd name="connsiteX1729" fmla="*/ 1193860 w 6436611"/>
              <a:gd name="connsiteY1729" fmla="*/ 3692538 h 4419155"/>
              <a:gd name="connsiteX1730" fmla="*/ 1160898 w 6436611"/>
              <a:gd name="connsiteY1730" fmla="*/ 3724118 h 4419155"/>
              <a:gd name="connsiteX1731" fmla="*/ 1171198 w 6436611"/>
              <a:gd name="connsiteY1731" fmla="*/ 3724118 h 4419155"/>
              <a:gd name="connsiteX1732" fmla="*/ 1136181 w 6436611"/>
              <a:gd name="connsiteY1732" fmla="*/ 3746678 h 4419155"/>
              <a:gd name="connsiteX1733" fmla="*/ 1123818 w 6436611"/>
              <a:gd name="connsiteY1733" fmla="*/ 3769236 h 4419155"/>
              <a:gd name="connsiteX1734" fmla="*/ 1113519 w 6436611"/>
              <a:gd name="connsiteY1734" fmla="*/ 3780518 h 4419155"/>
              <a:gd name="connsiteX1735" fmla="*/ 1140298 w 6436611"/>
              <a:gd name="connsiteY1735" fmla="*/ 3778260 h 4419155"/>
              <a:gd name="connsiteX1736" fmla="*/ 1121759 w 6436611"/>
              <a:gd name="connsiteY1736" fmla="*/ 3796307 h 4419155"/>
              <a:gd name="connsiteX1737" fmla="*/ 1107338 w 6436611"/>
              <a:gd name="connsiteY1737" fmla="*/ 3812100 h 4419155"/>
              <a:gd name="connsiteX1738" fmla="*/ 1130000 w 6436611"/>
              <a:gd name="connsiteY1738" fmla="*/ 3803074 h 4419155"/>
              <a:gd name="connsiteX1739" fmla="*/ 1152659 w 6436611"/>
              <a:gd name="connsiteY1739" fmla="*/ 3791796 h 4419155"/>
              <a:gd name="connsiteX1740" fmla="*/ 1160898 w 6436611"/>
              <a:gd name="connsiteY1740" fmla="*/ 3787284 h 4419155"/>
              <a:gd name="connsiteX1741" fmla="*/ 1183561 w 6436611"/>
              <a:gd name="connsiteY1741" fmla="*/ 3780518 h 4419155"/>
              <a:gd name="connsiteX1742" fmla="*/ 1156779 w 6436611"/>
              <a:gd name="connsiteY1742" fmla="*/ 3796307 h 4419155"/>
              <a:gd name="connsiteX1743" fmla="*/ 1154720 w 6436611"/>
              <a:gd name="connsiteY1743" fmla="*/ 3800820 h 4419155"/>
              <a:gd name="connsiteX1744" fmla="*/ 1154720 w 6436611"/>
              <a:gd name="connsiteY1744" fmla="*/ 3803074 h 4419155"/>
              <a:gd name="connsiteX1745" fmla="*/ 1197980 w 6436611"/>
              <a:gd name="connsiteY1745" fmla="*/ 3814355 h 4419155"/>
              <a:gd name="connsiteX1746" fmla="*/ 1214460 w 6436611"/>
              <a:gd name="connsiteY1746" fmla="*/ 3812100 h 4419155"/>
              <a:gd name="connsiteX1747" fmla="*/ 1272141 w 6436611"/>
              <a:gd name="connsiteY1747" fmla="*/ 3789541 h 4419155"/>
              <a:gd name="connsiteX1748" fmla="*/ 1280382 w 6436611"/>
              <a:gd name="connsiteY1748" fmla="*/ 3787284 h 4419155"/>
              <a:gd name="connsiteX1749" fmla="*/ 1317460 w 6436611"/>
              <a:gd name="connsiteY1749" fmla="*/ 3769236 h 4419155"/>
              <a:gd name="connsiteX1750" fmla="*/ 1350421 w 6436611"/>
              <a:gd name="connsiteY1750" fmla="*/ 3753446 h 4419155"/>
              <a:gd name="connsiteX1751" fmla="*/ 1358660 w 6436611"/>
              <a:gd name="connsiteY1751" fmla="*/ 3748934 h 4419155"/>
              <a:gd name="connsiteX1752" fmla="*/ 1393683 w 6436611"/>
              <a:gd name="connsiteY1752" fmla="*/ 3733142 h 4419155"/>
              <a:gd name="connsiteX1753" fmla="*/ 1401921 w 6436611"/>
              <a:gd name="connsiteY1753" fmla="*/ 3730887 h 4419155"/>
              <a:gd name="connsiteX1754" fmla="*/ 1395742 w 6436611"/>
              <a:gd name="connsiteY1754" fmla="*/ 3744423 h 4419155"/>
              <a:gd name="connsiteX1755" fmla="*/ 1408102 w 6436611"/>
              <a:gd name="connsiteY1755" fmla="*/ 3737656 h 4419155"/>
              <a:gd name="connsiteX1756" fmla="*/ 1445183 w 6436611"/>
              <a:gd name="connsiteY1756" fmla="*/ 3706070 h 4419155"/>
              <a:gd name="connsiteX1757" fmla="*/ 1447242 w 6436611"/>
              <a:gd name="connsiteY1757" fmla="*/ 3703816 h 4419155"/>
              <a:gd name="connsiteX1758" fmla="*/ 1453423 w 6436611"/>
              <a:gd name="connsiteY1758" fmla="*/ 3699304 h 4419155"/>
              <a:gd name="connsiteX1759" fmla="*/ 1463722 w 6436611"/>
              <a:gd name="connsiteY1759" fmla="*/ 3692538 h 4419155"/>
              <a:gd name="connsiteX1760" fmla="*/ 1484322 w 6436611"/>
              <a:gd name="connsiteY1760" fmla="*/ 3683514 h 4419155"/>
              <a:gd name="connsiteX1761" fmla="*/ 1461663 w 6436611"/>
              <a:gd name="connsiteY1761" fmla="*/ 3703816 h 4419155"/>
              <a:gd name="connsiteX1762" fmla="*/ 1457543 w 6436611"/>
              <a:gd name="connsiteY1762" fmla="*/ 3708328 h 4419155"/>
              <a:gd name="connsiteX1763" fmla="*/ 1426641 w 6436611"/>
              <a:gd name="connsiteY1763" fmla="*/ 3733142 h 4419155"/>
              <a:gd name="connsiteX1764" fmla="*/ 1430762 w 6436611"/>
              <a:gd name="connsiteY1764" fmla="*/ 3751189 h 4419155"/>
              <a:gd name="connsiteX1765" fmla="*/ 1420462 w 6436611"/>
              <a:gd name="connsiteY1765" fmla="*/ 3737656 h 4419155"/>
              <a:gd name="connsiteX1766" fmla="*/ 1379262 w 6436611"/>
              <a:gd name="connsiteY1766" fmla="*/ 3773748 h 4419155"/>
              <a:gd name="connsiteX1767" fmla="*/ 1401921 w 6436611"/>
              <a:gd name="connsiteY1767" fmla="*/ 3773748 h 4419155"/>
              <a:gd name="connsiteX1768" fmla="*/ 1412222 w 6436611"/>
              <a:gd name="connsiteY1768" fmla="*/ 3755700 h 4419155"/>
              <a:gd name="connsiteX1769" fmla="*/ 1412222 w 6436611"/>
              <a:gd name="connsiteY1769" fmla="*/ 3771494 h 4419155"/>
              <a:gd name="connsiteX1770" fmla="*/ 1449301 w 6436611"/>
              <a:gd name="connsiteY1770" fmla="*/ 3742168 h 4419155"/>
              <a:gd name="connsiteX1771" fmla="*/ 1445183 w 6436611"/>
              <a:gd name="connsiteY1771" fmla="*/ 3753446 h 4419155"/>
              <a:gd name="connsiteX1772" fmla="*/ 1389562 w 6436611"/>
              <a:gd name="connsiteY1772" fmla="*/ 3800820 h 4419155"/>
              <a:gd name="connsiteX1773" fmla="*/ 1379262 w 6436611"/>
              <a:gd name="connsiteY1773" fmla="*/ 3823379 h 4419155"/>
              <a:gd name="connsiteX1774" fmla="*/ 1449301 w 6436611"/>
              <a:gd name="connsiteY1774" fmla="*/ 3771494 h 4419155"/>
              <a:gd name="connsiteX1775" fmla="*/ 1451362 w 6436611"/>
              <a:gd name="connsiteY1775" fmla="*/ 3773748 h 4419155"/>
              <a:gd name="connsiteX1776" fmla="*/ 1385443 w 6436611"/>
              <a:gd name="connsiteY1776" fmla="*/ 3827891 h 4419155"/>
              <a:gd name="connsiteX1777" fmla="*/ 1406041 w 6436611"/>
              <a:gd name="connsiteY1777" fmla="*/ 3821124 h 4419155"/>
              <a:gd name="connsiteX1778" fmla="*/ 1387501 w 6436611"/>
              <a:gd name="connsiteY1778" fmla="*/ 3839172 h 4419155"/>
              <a:gd name="connsiteX1779" fmla="*/ 1379262 w 6436611"/>
              <a:gd name="connsiteY1779" fmla="*/ 3845938 h 4419155"/>
              <a:gd name="connsiteX1780" fmla="*/ 1360723 w 6436611"/>
              <a:gd name="connsiteY1780" fmla="*/ 3854962 h 4419155"/>
              <a:gd name="connsiteX1781" fmla="*/ 1352482 w 6436611"/>
              <a:gd name="connsiteY1781" fmla="*/ 3861728 h 4419155"/>
              <a:gd name="connsiteX1782" fmla="*/ 1317460 w 6436611"/>
              <a:gd name="connsiteY1782" fmla="*/ 3870752 h 4419155"/>
              <a:gd name="connsiteX1783" fmla="*/ 1294801 w 6436611"/>
              <a:gd name="connsiteY1783" fmla="*/ 3879776 h 4419155"/>
              <a:gd name="connsiteX1784" fmla="*/ 1239180 w 6436611"/>
              <a:gd name="connsiteY1784" fmla="*/ 3900080 h 4419155"/>
              <a:gd name="connsiteX1785" fmla="*/ 1212398 w 6436611"/>
              <a:gd name="connsiteY1785" fmla="*/ 3915871 h 4419155"/>
              <a:gd name="connsiteX1786" fmla="*/ 1261840 w 6436611"/>
              <a:gd name="connsiteY1786" fmla="*/ 3902335 h 4419155"/>
              <a:gd name="connsiteX1787" fmla="*/ 1282441 w 6436611"/>
              <a:gd name="connsiteY1787" fmla="*/ 3895569 h 4419155"/>
              <a:gd name="connsiteX1788" fmla="*/ 1331882 w 6436611"/>
              <a:gd name="connsiteY1788" fmla="*/ 3882033 h 4419155"/>
              <a:gd name="connsiteX1789" fmla="*/ 1362781 w 6436611"/>
              <a:gd name="connsiteY1789" fmla="*/ 3870752 h 4419155"/>
              <a:gd name="connsiteX1790" fmla="*/ 1348362 w 6436611"/>
              <a:gd name="connsiteY1790" fmla="*/ 3891057 h 4419155"/>
              <a:gd name="connsiteX1791" fmla="*/ 1342180 w 6436611"/>
              <a:gd name="connsiteY1791" fmla="*/ 3904589 h 4419155"/>
              <a:gd name="connsiteX1792" fmla="*/ 1383382 w 6436611"/>
              <a:gd name="connsiteY1792" fmla="*/ 3873010 h 4419155"/>
              <a:gd name="connsiteX1793" fmla="*/ 1387501 w 6436611"/>
              <a:gd name="connsiteY1793" fmla="*/ 3875264 h 4419155"/>
              <a:gd name="connsiteX1794" fmla="*/ 1377200 w 6436611"/>
              <a:gd name="connsiteY1794" fmla="*/ 3897823 h 4419155"/>
              <a:gd name="connsiteX1795" fmla="*/ 1364842 w 6436611"/>
              <a:gd name="connsiteY1795" fmla="*/ 3897823 h 4419155"/>
              <a:gd name="connsiteX1796" fmla="*/ 1352482 w 6436611"/>
              <a:gd name="connsiteY1796" fmla="*/ 3906846 h 4419155"/>
              <a:gd name="connsiteX1797" fmla="*/ 1350421 w 6436611"/>
              <a:gd name="connsiteY1797" fmla="*/ 3906846 h 4419155"/>
              <a:gd name="connsiteX1798" fmla="*/ 1350421 w 6436611"/>
              <a:gd name="connsiteY1798" fmla="*/ 3909104 h 4419155"/>
              <a:gd name="connsiteX1799" fmla="*/ 1336001 w 6436611"/>
              <a:gd name="connsiteY1799" fmla="*/ 3918128 h 4419155"/>
              <a:gd name="connsiteX1800" fmla="*/ 1350421 w 6436611"/>
              <a:gd name="connsiteY1800" fmla="*/ 3922640 h 4419155"/>
              <a:gd name="connsiteX1801" fmla="*/ 1354541 w 6436611"/>
              <a:gd name="connsiteY1801" fmla="*/ 3927148 h 4419155"/>
              <a:gd name="connsiteX1802" fmla="*/ 1360723 w 6436611"/>
              <a:gd name="connsiteY1802" fmla="*/ 3920382 h 4419155"/>
              <a:gd name="connsiteX1803" fmla="*/ 1379262 w 6436611"/>
              <a:gd name="connsiteY1803" fmla="*/ 3913616 h 4419155"/>
              <a:gd name="connsiteX1804" fmla="*/ 1368962 w 6436611"/>
              <a:gd name="connsiteY1804" fmla="*/ 3924894 h 4419155"/>
              <a:gd name="connsiteX1805" fmla="*/ 1362781 w 6436611"/>
              <a:gd name="connsiteY1805" fmla="*/ 3927148 h 4419155"/>
              <a:gd name="connsiteX1806" fmla="*/ 1340121 w 6436611"/>
              <a:gd name="connsiteY1806" fmla="*/ 3949708 h 4419155"/>
              <a:gd name="connsiteX1807" fmla="*/ 1346301 w 6436611"/>
              <a:gd name="connsiteY1807" fmla="*/ 3958732 h 4419155"/>
              <a:gd name="connsiteX1808" fmla="*/ 1352482 w 6436611"/>
              <a:gd name="connsiteY1808" fmla="*/ 3956477 h 4419155"/>
              <a:gd name="connsiteX1809" fmla="*/ 1356600 w 6436611"/>
              <a:gd name="connsiteY1809" fmla="*/ 3942942 h 4419155"/>
              <a:gd name="connsiteX1810" fmla="*/ 1389562 w 6436611"/>
              <a:gd name="connsiteY1810" fmla="*/ 3915871 h 4419155"/>
              <a:gd name="connsiteX1811" fmla="*/ 1397801 w 6436611"/>
              <a:gd name="connsiteY1811" fmla="*/ 3909104 h 4419155"/>
              <a:gd name="connsiteX1812" fmla="*/ 1439001 w 6436611"/>
              <a:gd name="connsiteY1812" fmla="*/ 3895569 h 4419155"/>
              <a:gd name="connsiteX1813" fmla="*/ 1418401 w 6436611"/>
              <a:gd name="connsiteY1813" fmla="*/ 3915871 h 4419155"/>
              <a:gd name="connsiteX1814" fmla="*/ 1397801 w 6436611"/>
              <a:gd name="connsiteY1814" fmla="*/ 3929406 h 4419155"/>
              <a:gd name="connsiteX1815" fmla="*/ 1385443 w 6436611"/>
              <a:gd name="connsiteY1815" fmla="*/ 3949708 h 4419155"/>
              <a:gd name="connsiteX1816" fmla="*/ 1383382 w 6436611"/>
              <a:gd name="connsiteY1816" fmla="*/ 3954220 h 4419155"/>
              <a:gd name="connsiteX1817" fmla="*/ 1371021 w 6436611"/>
              <a:gd name="connsiteY1817" fmla="*/ 3967758 h 4419155"/>
              <a:gd name="connsiteX1818" fmla="*/ 1375141 w 6436611"/>
              <a:gd name="connsiteY1818" fmla="*/ 3967758 h 4419155"/>
              <a:gd name="connsiteX1819" fmla="*/ 1414283 w 6436611"/>
              <a:gd name="connsiteY1819" fmla="*/ 3956477 h 4419155"/>
              <a:gd name="connsiteX1820" fmla="*/ 1430762 w 6436611"/>
              <a:gd name="connsiteY1820" fmla="*/ 3949708 h 4419155"/>
              <a:gd name="connsiteX1821" fmla="*/ 1461663 w 6436611"/>
              <a:gd name="connsiteY1821" fmla="*/ 3929406 h 4419155"/>
              <a:gd name="connsiteX1822" fmla="*/ 1471962 w 6436611"/>
              <a:gd name="connsiteY1822" fmla="*/ 3924894 h 4419155"/>
              <a:gd name="connsiteX1823" fmla="*/ 1484322 w 6436611"/>
              <a:gd name="connsiteY1823" fmla="*/ 3915871 h 4419155"/>
              <a:gd name="connsiteX1824" fmla="*/ 1486383 w 6436611"/>
              <a:gd name="connsiteY1824" fmla="*/ 3927148 h 4419155"/>
              <a:gd name="connsiteX1825" fmla="*/ 1494621 w 6436611"/>
              <a:gd name="connsiteY1825" fmla="*/ 3911359 h 4419155"/>
              <a:gd name="connsiteX1826" fmla="*/ 1504923 w 6436611"/>
              <a:gd name="connsiteY1826" fmla="*/ 3920382 h 4419155"/>
              <a:gd name="connsiteX1827" fmla="*/ 1471962 w 6436611"/>
              <a:gd name="connsiteY1827" fmla="*/ 3945199 h 4419155"/>
              <a:gd name="connsiteX1828" fmla="*/ 1478144 w 6436611"/>
              <a:gd name="connsiteY1828" fmla="*/ 3951965 h 4419155"/>
              <a:gd name="connsiteX1829" fmla="*/ 1459601 w 6436611"/>
              <a:gd name="connsiteY1829" fmla="*/ 3965501 h 4419155"/>
              <a:gd name="connsiteX1830" fmla="*/ 1447242 w 6436611"/>
              <a:gd name="connsiteY1830" fmla="*/ 3974524 h 4419155"/>
              <a:gd name="connsiteX1831" fmla="*/ 1432823 w 6436611"/>
              <a:gd name="connsiteY1831" fmla="*/ 4003851 h 4419155"/>
              <a:gd name="connsiteX1832" fmla="*/ 1418401 w 6436611"/>
              <a:gd name="connsiteY1832" fmla="*/ 4006108 h 4419155"/>
              <a:gd name="connsiteX1833" fmla="*/ 1401921 w 6436611"/>
              <a:gd name="connsiteY1833" fmla="*/ 4030921 h 4419155"/>
              <a:gd name="connsiteX1834" fmla="*/ 1395742 w 6436611"/>
              <a:gd name="connsiteY1834" fmla="*/ 4042202 h 4419155"/>
              <a:gd name="connsiteX1835" fmla="*/ 1387501 w 6436611"/>
              <a:gd name="connsiteY1835" fmla="*/ 4039945 h 4419155"/>
              <a:gd name="connsiteX1836" fmla="*/ 1366901 w 6436611"/>
              <a:gd name="connsiteY1836" fmla="*/ 4055736 h 4419155"/>
              <a:gd name="connsiteX1837" fmla="*/ 1360723 w 6436611"/>
              <a:gd name="connsiteY1837" fmla="*/ 4060247 h 4419155"/>
              <a:gd name="connsiteX1838" fmla="*/ 1327762 w 6436611"/>
              <a:gd name="connsiteY1838" fmla="*/ 4087318 h 4419155"/>
              <a:gd name="connsiteX1839" fmla="*/ 1321582 w 6436611"/>
              <a:gd name="connsiteY1839" fmla="*/ 4094088 h 4419155"/>
              <a:gd name="connsiteX1840" fmla="*/ 1325700 w 6436611"/>
              <a:gd name="connsiteY1840" fmla="*/ 4096342 h 4419155"/>
              <a:gd name="connsiteX1841" fmla="*/ 1387501 w 6436611"/>
              <a:gd name="connsiteY1841" fmla="*/ 4057993 h 4419155"/>
              <a:gd name="connsiteX1842" fmla="*/ 1373082 w 6436611"/>
              <a:gd name="connsiteY1842" fmla="*/ 4071529 h 4419155"/>
              <a:gd name="connsiteX1843" fmla="*/ 1358660 w 6436611"/>
              <a:gd name="connsiteY1843" fmla="*/ 4085063 h 4419155"/>
              <a:gd name="connsiteX1844" fmla="*/ 1358660 w 6436611"/>
              <a:gd name="connsiteY1844" fmla="*/ 4087318 h 4419155"/>
              <a:gd name="connsiteX1845" fmla="*/ 1391621 w 6436611"/>
              <a:gd name="connsiteY1845" fmla="*/ 4064761 h 4419155"/>
              <a:gd name="connsiteX1846" fmla="*/ 1362781 w 6436611"/>
              <a:gd name="connsiteY1846" fmla="*/ 4091833 h 4419155"/>
              <a:gd name="connsiteX1847" fmla="*/ 1331882 w 6436611"/>
              <a:gd name="connsiteY1847" fmla="*/ 4116647 h 4419155"/>
              <a:gd name="connsiteX1848" fmla="*/ 1333940 w 6436611"/>
              <a:gd name="connsiteY1848" fmla="*/ 4118901 h 4419155"/>
              <a:gd name="connsiteX1849" fmla="*/ 1383382 w 6436611"/>
              <a:gd name="connsiteY1849" fmla="*/ 4091833 h 4419155"/>
              <a:gd name="connsiteX1850" fmla="*/ 1377200 w 6436611"/>
              <a:gd name="connsiteY1850" fmla="*/ 4109878 h 4419155"/>
              <a:gd name="connsiteX1851" fmla="*/ 1395742 w 6436611"/>
              <a:gd name="connsiteY1851" fmla="*/ 4105365 h 4419155"/>
              <a:gd name="connsiteX1852" fmla="*/ 1401921 w 6436611"/>
              <a:gd name="connsiteY1852" fmla="*/ 4087318 h 4419155"/>
              <a:gd name="connsiteX1853" fmla="*/ 1436942 w 6436611"/>
              <a:gd name="connsiteY1853" fmla="*/ 4078295 h 4419155"/>
              <a:gd name="connsiteX1854" fmla="*/ 1443121 w 6436611"/>
              <a:gd name="connsiteY1854" fmla="*/ 4073783 h 4419155"/>
              <a:gd name="connsiteX1855" fmla="*/ 1463722 w 6436611"/>
              <a:gd name="connsiteY1855" fmla="*/ 4060247 h 4419155"/>
              <a:gd name="connsiteX1856" fmla="*/ 1465783 w 6436611"/>
              <a:gd name="connsiteY1856" fmla="*/ 4062504 h 4419155"/>
              <a:gd name="connsiteX1857" fmla="*/ 1465053 w 6436611"/>
              <a:gd name="connsiteY1857" fmla="*/ 4063572 h 4419155"/>
              <a:gd name="connsiteX1858" fmla="*/ 1474021 w 6436611"/>
              <a:gd name="connsiteY1858" fmla="*/ 4062504 h 4419155"/>
              <a:gd name="connsiteX1859" fmla="*/ 1466040 w 6436611"/>
              <a:gd name="connsiteY1859" fmla="*/ 4071527 h 4419155"/>
              <a:gd name="connsiteX1860" fmla="*/ 1458706 w 6436611"/>
              <a:gd name="connsiteY1860" fmla="*/ 4072838 h 4419155"/>
              <a:gd name="connsiteX1861" fmla="*/ 1453423 w 6436611"/>
              <a:gd name="connsiteY1861" fmla="*/ 4080552 h 4419155"/>
              <a:gd name="connsiteX1862" fmla="*/ 1432823 w 6436611"/>
              <a:gd name="connsiteY1862" fmla="*/ 4091833 h 4419155"/>
              <a:gd name="connsiteX1863" fmla="*/ 1424582 w 6436611"/>
              <a:gd name="connsiteY1863" fmla="*/ 4098599 h 4419155"/>
              <a:gd name="connsiteX1864" fmla="*/ 1403982 w 6436611"/>
              <a:gd name="connsiteY1864" fmla="*/ 4123413 h 4419155"/>
              <a:gd name="connsiteX1865" fmla="*/ 1397801 w 6436611"/>
              <a:gd name="connsiteY1865" fmla="*/ 4136949 h 4419155"/>
              <a:gd name="connsiteX1866" fmla="*/ 1391621 w 6436611"/>
              <a:gd name="connsiteY1866" fmla="*/ 4127925 h 4419155"/>
              <a:gd name="connsiteX1867" fmla="*/ 1377200 w 6436611"/>
              <a:gd name="connsiteY1867" fmla="*/ 4143718 h 4419155"/>
              <a:gd name="connsiteX1868" fmla="*/ 1358660 w 6436611"/>
              <a:gd name="connsiteY1868" fmla="*/ 4168532 h 4419155"/>
              <a:gd name="connsiteX1869" fmla="*/ 1340121 w 6436611"/>
              <a:gd name="connsiteY1869" fmla="*/ 4179809 h 4419155"/>
              <a:gd name="connsiteX1870" fmla="*/ 1333940 w 6436611"/>
              <a:gd name="connsiteY1870" fmla="*/ 4184322 h 4419155"/>
              <a:gd name="connsiteX1871" fmla="*/ 1375141 w 6436611"/>
              <a:gd name="connsiteY1871" fmla="*/ 4166277 h 4419155"/>
              <a:gd name="connsiteX1872" fmla="*/ 1377200 w 6436611"/>
              <a:gd name="connsiteY1872" fmla="*/ 4177555 h 4419155"/>
              <a:gd name="connsiteX1873" fmla="*/ 1387501 w 6436611"/>
              <a:gd name="connsiteY1873" fmla="*/ 4179809 h 4419155"/>
              <a:gd name="connsiteX1874" fmla="*/ 1379262 w 6436611"/>
              <a:gd name="connsiteY1874" fmla="*/ 4173043 h 4419155"/>
              <a:gd name="connsiteX1875" fmla="*/ 1412222 w 6436611"/>
              <a:gd name="connsiteY1875" fmla="*/ 4143718 h 4419155"/>
              <a:gd name="connsiteX1876" fmla="*/ 1430762 w 6436611"/>
              <a:gd name="connsiteY1876" fmla="*/ 4139205 h 4419155"/>
              <a:gd name="connsiteX1877" fmla="*/ 1445183 w 6436611"/>
              <a:gd name="connsiteY1877" fmla="*/ 4121158 h 4419155"/>
              <a:gd name="connsiteX1878" fmla="*/ 1463722 w 6436611"/>
              <a:gd name="connsiteY1878" fmla="*/ 4109878 h 4419155"/>
              <a:gd name="connsiteX1879" fmla="*/ 1430762 w 6436611"/>
              <a:gd name="connsiteY1879" fmla="*/ 4154996 h 4419155"/>
              <a:gd name="connsiteX1880" fmla="*/ 1418401 w 6436611"/>
              <a:gd name="connsiteY1880" fmla="*/ 4166277 h 4419155"/>
              <a:gd name="connsiteX1881" fmla="*/ 1397801 w 6436611"/>
              <a:gd name="connsiteY1881" fmla="*/ 4191091 h 4419155"/>
              <a:gd name="connsiteX1882" fmla="*/ 1391621 w 6436611"/>
              <a:gd name="connsiteY1882" fmla="*/ 4200115 h 4419155"/>
              <a:gd name="connsiteX1883" fmla="*/ 1418401 w 6436611"/>
              <a:gd name="connsiteY1883" fmla="*/ 4193349 h 4419155"/>
              <a:gd name="connsiteX1884" fmla="*/ 1422521 w 6436611"/>
              <a:gd name="connsiteY1884" fmla="*/ 4209138 h 4419155"/>
              <a:gd name="connsiteX1885" fmla="*/ 1412222 w 6436611"/>
              <a:gd name="connsiteY1885" fmla="*/ 4209138 h 4419155"/>
              <a:gd name="connsiteX1886" fmla="*/ 1406041 w 6436611"/>
              <a:gd name="connsiteY1886" fmla="*/ 4222674 h 4419155"/>
              <a:gd name="connsiteX1887" fmla="*/ 1389562 w 6436611"/>
              <a:gd name="connsiteY1887" fmla="*/ 4238464 h 4419155"/>
              <a:gd name="connsiteX1888" fmla="*/ 1375141 w 6436611"/>
              <a:gd name="connsiteY1888" fmla="*/ 4227185 h 4419155"/>
              <a:gd name="connsiteX1889" fmla="*/ 1358660 w 6436611"/>
              <a:gd name="connsiteY1889" fmla="*/ 4249746 h 4419155"/>
              <a:gd name="connsiteX1890" fmla="*/ 1368962 w 6436611"/>
              <a:gd name="connsiteY1890" fmla="*/ 4258766 h 4419155"/>
              <a:gd name="connsiteX1891" fmla="*/ 1379262 w 6436611"/>
              <a:gd name="connsiteY1891" fmla="*/ 4261023 h 4419155"/>
              <a:gd name="connsiteX1892" fmla="*/ 1406041 w 6436611"/>
              <a:gd name="connsiteY1892" fmla="*/ 4249746 h 4419155"/>
              <a:gd name="connsiteX1893" fmla="*/ 1416342 w 6436611"/>
              <a:gd name="connsiteY1893" fmla="*/ 4249746 h 4419155"/>
              <a:gd name="connsiteX1894" fmla="*/ 1385443 w 6436611"/>
              <a:gd name="connsiteY1894" fmla="*/ 4272305 h 4419155"/>
              <a:gd name="connsiteX1895" fmla="*/ 1377200 w 6436611"/>
              <a:gd name="connsiteY1895" fmla="*/ 4276814 h 4419155"/>
              <a:gd name="connsiteX1896" fmla="*/ 1336001 w 6436611"/>
              <a:gd name="connsiteY1896" fmla="*/ 4299373 h 4419155"/>
              <a:gd name="connsiteX1897" fmla="*/ 1323641 w 6436611"/>
              <a:gd name="connsiteY1897" fmla="*/ 4299373 h 4419155"/>
              <a:gd name="connsiteX1898" fmla="*/ 1321582 w 6436611"/>
              <a:gd name="connsiteY1898" fmla="*/ 4301630 h 4419155"/>
              <a:gd name="connsiteX1899" fmla="*/ 1323641 w 6436611"/>
              <a:gd name="connsiteY1899" fmla="*/ 4315166 h 4419155"/>
              <a:gd name="connsiteX1900" fmla="*/ 1403982 w 6436611"/>
              <a:gd name="connsiteY1900" fmla="*/ 4272305 h 4419155"/>
              <a:gd name="connsiteX1901" fmla="*/ 1397801 w 6436611"/>
              <a:gd name="connsiteY1901" fmla="*/ 4283582 h 4419155"/>
              <a:gd name="connsiteX1902" fmla="*/ 1418401 w 6436611"/>
              <a:gd name="connsiteY1902" fmla="*/ 4274559 h 4419155"/>
              <a:gd name="connsiteX1903" fmla="*/ 1441062 w 6436611"/>
              <a:gd name="connsiteY1903" fmla="*/ 4263280 h 4419155"/>
              <a:gd name="connsiteX1904" fmla="*/ 1463722 w 6436611"/>
              <a:gd name="connsiteY1904" fmla="*/ 4256512 h 4419155"/>
              <a:gd name="connsiteX1905" fmla="*/ 1471962 w 6436611"/>
              <a:gd name="connsiteY1905" fmla="*/ 4249746 h 4419155"/>
              <a:gd name="connsiteX1906" fmla="*/ 1467842 w 6436611"/>
              <a:gd name="connsiteY1906" fmla="*/ 4240721 h 4419155"/>
              <a:gd name="connsiteX1907" fmla="*/ 1463722 w 6436611"/>
              <a:gd name="connsiteY1907" fmla="*/ 4233953 h 4419155"/>
              <a:gd name="connsiteX1908" fmla="*/ 1482264 w 6436611"/>
              <a:gd name="connsiteY1908" fmla="*/ 4245233 h 4419155"/>
              <a:gd name="connsiteX1909" fmla="*/ 1535822 w 6436611"/>
              <a:gd name="connsiteY1909" fmla="*/ 4218162 h 4419155"/>
              <a:gd name="connsiteX1910" fmla="*/ 1537883 w 6436611"/>
              <a:gd name="connsiteY1910" fmla="*/ 4220417 h 4419155"/>
              <a:gd name="connsiteX1911" fmla="*/ 1531703 w 6436611"/>
              <a:gd name="connsiteY1911" fmla="*/ 4224929 h 4419155"/>
              <a:gd name="connsiteX1912" fmla="*/ 1502864 w 6436611"/>
              <a:gd name="connsiteY1912" fmla="*/ 4252000 h 4419155"/>
              <a:gd name="connsiteX1913" fmla="*/ 1515222 w 6436611"/>
              <a:gd name="connsiteY1913" fmla="*/ 4249746 h 4419155"/>
              <a:gd name="connsiteX1914" fmla="*/ 1556423 w 6436611"/>
              <a:gd name="connsiteY1914" fmla="*/ 4231695 h 4419155"/>
              <a:gd name="connsiteX1915" fmla="*/ 1570844 w 6436611"/>
              <a:gd name="connsiteY1915" fmla="*/ 4236210 h 4419155"/>
              <a:gd name="connsiteX1916" fmla="*/ 1563267 w 6436611"/>
              <a:gd name="connsiteY1916" fmla="*/ 4241450 h 4419155"/>
              <a:gd name="connsiteX1917" fmla="*/ 1564663 w 6436611"/>
              <a:gd name="connsiteY1917" fmla="*/ 4242976 h 4419155"/>
              <a:gd name="connsiteX1918" fmla="*/ 1558484 w 6436611"/>
              <a:gd name="connsiteY1918" fmla="*/ 4247487 h 4419155"/>
              <a:gd name="connsiteX1919" fmla="*/ 1556955 w 6436611"/>
              <a:gd name="connsiteY1919" fmla="*/ 4245815 h 4419155"/>
              <a:gd name="connsiteX1920" fmla="*/ 1531703 w 6436611"/>
              <a:gd name="connsiteY1920" fmla="*/ 4263280 h 4419155"/>
              <a:gd name="connsiteX1921" fmla="*/ 1533764 w 6436611"/>
              <a:gd name="connsiteY1921" fmla="*/ 4263280 h 4419155"/>
              <a:gd name="connsiteX1922" fmla="*/ 1595565 w 6436611"/>
              <a:gd name="connsiteY1922" fmla="*/ 4231695 h 4419155"/>
              <a:gd name="connsiteX1923" fmla="*/ 1642945 w 6436611"/>
              <a:gd name="connsiteY1923" fmla="*/ 4206881 h 4419155"/>
              <a:gd name="connsiteX1924" fmla="*/ 1647065 w 6436611"/>
              <a:gd name="connsiteY1924" fmla="*/ 4209138 h 4419155"/>
              <a:gd name="connsiteX1925" fmla="*/ 1636763 w 6436611"/>
              <a:gd name="connsiteY1925" fmla="*/ 4220417 h 4419155"/>
              <a:gd name="connsiteX1926" fmla="*/ 1682085 w 6436611"/>
              <a:gd name="connsiteY1926" fmla="*/ 4204627 h 4419155"/>
              <a:gd name="connsiteX1927" fmla="*/ 1671785 w 6436611"/>
              <a:gd name="connsiteY1927" fmla="*/ 4218162 h 4419155"/>
              <a:gd name="connsiteX1928" fmla="*/ 1692386 w 6436611"/>
              <a:gd name="connsiteY1928" fmla="*/ 4206881 h 4419155"/>
              <a:gd name="connsiteX1929" fmla="*/ 1708863 w 6436611"/>
              <a:gd name="connsiteY1929" fmla="*/ 4191091 h 4419155"/>
              <a:gd name="connsiteX1930" fmla="*/ 1710925 w 6436611"/>
              <a:gd name="connsiteY1930" fmla="*/ 4200115 h 4419155"/>
              <a:gd name="connsiteX1931" fmla="*/ 1729465 w 6436611"/>
              <a:gd name="connsiteY1931" fmla="*/ 4188834 h 4419155"/>
              <a:gd name="connsiteX1932" fmla="*/ 1750065 w 6436611"/>
              <a:gd name="connsiteY1932" fmla="*/ 4173043 h 4419155"/>
              <a:gd name="connsiteX1933" fmla="*/ 1752126 w 6436611"/>
              <a:gd name="connsiteY1933" fmla="*/ 4170789 h 4419155"/>
              <a:gd name="connsiteX1934" fmla="*/ 1785087 w 6436611"/>
              <a:gd name="connsiteY1934" fmla="*/ 4152739 h 4419155"/>
              <a:gd name="connsiteX1935" fmla="*/ 1776847 w 6436611"/>
              <a:gd name="connsiteY1935" fmla="*/ 4161762 h 4419155"/>
              <a:gd name="connsiteX1936" fmla="*/ 1830406 w 6436611"/>
              <a:gd name="connsiteY1936" fmla="*/ 4127925 h 4419155"/>
              <a:gd name="connsiteX1937" fmla="*/ 1824226 w 6436611"/>
              <a:gd name="connsiteY1937" fmla="*/ 4118901 h 4419155"/>
              <a:gd name="connsiteX1938" fmla="*/ 1846886 w 6436611"/>
              <a:gd name="connsiteY1938" fmla="*/ 4116647 h 4419155"/>
              <a:gd name="connsiteX1939" fmla="*/ 1869547 w 6436611"/>
              <a:gd name="connsiteY1939" fmla="*/ 4105365 h 4419155"/>
              <a:gd name="connsiteX1940" fmla="*/ 1883966 w 6436611"/>
              <a:gd name="connsiteY1940" fmla="*/ 4096342 h 4419155"/>
              <a:gd name="connsiteX1941" fmla="*/ 1898388 w 6436611"/>
              <a:gd name="connsiteY1941" fmla="*/ 4073783 h 4419155"/>
              <a:gd name="connsiteX1942" fmla="*/ 1904567 w 6436611"/>
              <a:gd name="connsiteY1942" fmla="*/ 4082806 h 4419155"/>
              <a:gd name="connsiteX1943" fmla="*/ 1913886 w 6436611"/>
              <a:gd name="connsiteY1943" fmla="*/ 4076685 h 4419155"/>
              <a:gd name="connsiteX1944" fmla="*/ 1910232 w 6436611"/>
              <a:gd name="connsiteY1944" fmla="*/ 4070683 h 4419155"/>
              <a:gd name="connsiteX1945" fmla="*/ 1914866 w 6436611"/>
              <a:gd name="connsiteY1945" fmla="*/ 4064761 h 4419155"/>
              <a:gd name="connsiteX1946" fmla="*/ 1932866 w 6436611"/>
              <a:gd name="connsiteY1946" fmla="*/ 4054147 h 4419155"/>
              <a:gd name="connsiteX1947" fmla="*/ 1934437 w 6436611"/>
              <a:gd name="connsiteY1947" fmla="*/ 4047842 h 4419155"/>
              <a:gd name="connsiteX1948" fmla="*/ 1943706 w 6436611"/>
              <a:gd name="connsiteY1948" fmla="*/ 4042202 h 4419155"/>
              <a:gd name="connsiteX1949" fmla="*/ 1960186 w 6436611"/>
              <a:gd name="connsiteY1949" fmla="*/ 4030921 h 4419155"/>
              <a:gd name="connsiteX1950" fmla="*/ 1966927 w 6436611"/>
              <a:gd name="connsiteY1950" fmla="*/ 4032357 h 4419155"/>
              <a:gd name="connsiteX1951" fmla="*/ 1972547 w 6436611"/>
              <a:gd name="connsiteY1951" fmla="*/ 4028664 h 4419155"/>
              <a:gd name="connsiteX1952" fmla="*/ 1974606 w 6436611"/>
              <a:gd name="connsiteY1952" fmla="*/ 4021898 h 4419155"/>
              <a:gd name="connsiteX1953" fmla="*/ 1982846 w 6436611"/>
              <a:gd name="connsiteY1953" fmla="*/ 4010619 h 4419155"/>
              <a:gd name="connsiteX1954" fmla="*/ 1986968 w 6436611"/>
              <a:gd name="connsiteY1954" fmla="*/ 4017386 h 4419155"/>
              <a:gd name="connsiteX1955" fmla="*/ 2003447 w 6436611"/>
              <a:gd name="connsiteY1955" fmla="*/ 4008362 h 4419155"/>
              <a:gd name="connsiteX1956" fmla="*/ 2005508 w 6436611"/>
              <a:gd name="connsiteY1956" fmla="*/ 4010619 h 4419155"/>
              <a:gd name="connsiteX1957" fmla="*/ 1997268 w 6436611"/>
              <a:gd name="connsiteY1957" fmla="*/ 4017386 h 4419155"/>
              <a:gd name="connsiteX1958" fmla="*/ 1991953 w 6436611"/>
              <a:gd name="connsiteY1958" fmla="*/ 4021688 h 4419155"/>
              <a:gd name="connsiteX1959" fmla="*/ 2004735 w 6436611"/>
              <a:gd name="connsiteY1959" fmla="*/ 4020770 h 4419155"/>
              <a:gd name="connsiteX1960" fmla="*/ 2015807 w 6436611"/>
              <a:gd name="connsiteY1960" fmla="*/ 4012874 h 4419155"/>
              <a:gd name="connsiteX1961" fmla="*/ 2174429 w 6436611"/>
              <a:gd name="connsiteY1961" fmla="*/ 4017386 h 4419155"/>
              <a:gd name="connsiteX1962" fmla="*/ 2209448 w 6436611"/>
              <a:gd name="connsiteY1962" fmla="*/ 3997084 h 4419155"/>
              <a:gd name="connsiteX1963" fmla="*/ 2215630 w 6436611"/>
              <a:gd name="connsiteY1963" fmla="*/ 3994826 h 4419155"/>
              <a:gd name="connsiteX1964" fmla="*/ 2225929 w 6436611"/>
              <a:gd name="connsiteY1964" fmla="*/ 3990317 h 4419155"/>
              <a:gd name="connsiteX1965" fmla="*/ 2273309 w 6436611"/>
              <a:gd name="connsiteY1965" fmla="*/ 3954220 h 4419155"/>
              <a:gd name="connsiteX1966" fmla="*/ 2283610 w 6436611"/>
              <a:gd name="connsiteY1966" fmla="*/ 3951965 h 4419155"/>
              <a:gd name="connsiteX1967" fmla="*/ 2283610 w 6436611"/>
              <a:gd name="connsiteY1967" fmla="*/ 3954220 h 4419155"/>
              <a:gd name="connsiteX1968" fmla="*/ 2263010 w 6436611"/>
              <a:gd name="connsiteY1968" fmla="*/ 3983549 h 4419155"/>
              <a:gd name="connsiteX1969" fmla="*/ 2283610 w 6436611"/>
              <a:gd name="connsiteY1969" fmla="*/ 3997084 h 4419155"/>
              <a:gd name="connsiteX1970" fmla="*/ 2275371 w 6436611"/>
              <a:gd name="connsiteY1970" fmla="*/ 4028664 h 4419155"/>
              <a:gd name="connsiteX1971" fmla="*/ 2273309 w 6436611"/>
              <a:gd name="connsiteY1971" fmla="*/ 4046714 h 4419155"/>
              <a:gd name="connsiteX1972" fmla="*/ 2265071 w 6436611"/>
              <a:gd name="connsiteY1972" fmla="*/ 4039945 h 4419155"/>
              <a:gd name="connsiteX1973" fmla="*/ 2234169 w 6436611"/>
              <a:gd name="connsiteY1973" fmla="*/ 4069274 h 4419155"/>
              <a:gd name="connsiteX1974" fmla="*/ 2236230 w 6436611"/>
              <a:gd name="connsiteY1974" fmla="*/ 4071529 h 4419155"/>
              <a:gd name="connsiteX1975" fmla="*/ 2250650 w 6436611"/>
              <a:gd name="connsiteY1975" fmla="*/ 4062504 h 4419155"/>
              <a:gd name="connsiteX1976" fmla="*/ 2252709 w 6436611"/>
              <a:gd name="connsiteY1976" fmla="*/ 4064761 h 4419155"/>
              <a:gd name="connsiteX1977" fmla="*/ 2242409 w 6436611"/>
              <a:gd name="connsiteY1977" fmla="*/ 4073783 h 4419155"/>
              <a:gd name="connsiteX1978" fmla="*/ 2263010 w 6436611"/>
              <a:gd name="connsiteY1978" fmla="*/ 4091833 h 4419155"/>
              <a:gd name="connsiteX1979" fmla="*/ 2256828 w 6436611"/>
              <a:gd name="connsiteY1979" fmla="*/ 4103111 h 4419155"/>
              <a:gd name="connsiteX1980" fmla="*/ 2271250 w 6436611"/>
              <a:gd name="connsiteY1980" fmla="*/ 4103111 h 4419155"/>
              <a:gd name="connsiteX1981" fmla="*/ 2244471 w 6436611"/>
              <a:gd name="connsiteY1981" fmla="*/ 4134694 h 4419155"/>
              <a:gd name="connsiteX1982" fmla="*/ 2256828 w 6436611"/>
              <a:gd name="connsiteY1982" fmla="*/ 4134694 h 4419155"/>
              <a:gd name="connsiteX1983" fmla="*/ 2242409 w 6436611"/>
              <a:gd name="connsiteY1983" fmla="*/ 4154996 h 4419155"/>
              <a:gd name="connsiteX1984" fmla="*/ 2244471 w 6436611"/>
              <a:gd name="connsiteY1984" fmla="*/ 4157251 h 4419155"/>
              <a:gd name="connsiteX1985" fmla="*/ 2279491 w 6436611"/>
              <a:gd name="connsiteY1985" fmla="*/ 4130180 h 4419155"/>
              <a:gd name="connsiteX1986" fmla="*/ 2277430 w 6436611"/>
              <a:gd name="connsiteY1986" fmla="*/ 4145973 h 4419155"/>
              <a:gd name="connsiteX1987" fmla="*/ 2287730 w 6436611"/>
              <a:gd name="connsiteY1987" fmla="*/ 4141460 h 4419155"/>
              <a:gd name="connsiteX1988" fmla="*/ 2289791 w 6436611"/>
              <a:gd name="connsiteY1988" fmla="*/ 4159507 h 4419155"/>
              <a:gd name="connsiteX1989" fmla="*/ 2250650 w 6436611"/>
              <a:gd name="connsiteY1989" fmla="*/ 4206881 h 4419155"/>
              <a:gd name="connsiteX1990" fmla="*/ 2277430 w 6436611"/>
              <a:gd name="connsiteY1990" fmla="*/ 4188834 h 4419155"/>
              <a:gd name="connsiteX1991" fmla="*/ 2306269 w 6436611"/>
              <a:gd name="connsiteY1991" fmla="*/ 4173043 h 4419155"/>
              <a:gd name="connsiteX1992" fmla="*/ 2283610 w 6436611"/>
              <a:gd name="connsiteY1992" fmla="*/ 4197857 h 4419155"/>
              <a:gd name="connsiteX1993" fmla="*/ 2263010 w 6436611"/>
              <a:gd name="connsiteY1993" fmla="*/ 4218162 h 4419155"/>
              <a:gd name="connsiteX1994" fmla="*/ 2312451 w 6436611"/>
              <a:gd name="connsiteY1994" fmla="*/ 4188834 h 4419155"/>
              <a:gd name="connsiteX1995" fmla="*/ 2304211 w 6436611"/>
              <a:gd name="connsiteY1995" fmla="*/ 4200115 h 4419155"/>
              <a:gd name="connsiteX1996" fmla="*/ 2339230 w 6436611"/>
              <a:gd name="connsiteY1996" fmla="*/ 4193349 h 4419155"/>
              <a:gd name="connsiteX1997" fmla="*/ 2349530 w 6436611"/>
              <a:gd name="connsiteY1997" fmla="*/ 4204627 h 4419155"/>
              <a:gd name="connsiteX1998" fmla="*/ 2357773 w 6436611"/>
              <a:gd name="connsiteY1998" fmla="*/ 4220417 h 4419155"/>
              <a:gd name="connsiteX1999" fmla="*/ 2351591 w 6436611"/>
              <a:gd name="connsiteY1999" fmla="*/ 4247487 h 4419155"/>
              <a:gd name="connsiteX2000" fmla="*/ 2306269 w 6436611"/>
              <a:gd name="connsiteY2000" fmla="*/ 4290350 h 4419155"/>
              <a:gd name="connsiteX2001" fmla="*/ 2322750 w 6436611"/>
              <a:gd name="connsiteY2001" fmla="*/ 4281325 h 4419155"/>
              <a:gd name="connsiteX2002" fmla="*/ 2324809 w 6436611"/>
              <a:gd name="connsiteY2002" fmla="*/ 4283582 h 4419155"/>
              <a:gd name="connsiteX2003" fmla="*/ 2314510 w 6436611"/>
              <a:gd name="connsiteY2003" fmla="*/ 4292607 h 4419155"/>
              <a:gd name="connsiteX2004" fmla="*/ 2322750 w 6436611"/>
              <a:gd name="connsiteY2004" fmla="*/ 4290350 h 4419155"/>
              <a:gd name="connsiteX2005" fmla="*/ 2351591 w 6436611"/>
              <a:gd name="connsiteY2005" fmla="*/ 4267793 h 4419155"/>
              <a:gd name="connsiteX2006" fmla="*/ 2382493 w 6436611"/>
              <a:gd name="connsiteY2006" fmla="*/ 4242976 h 4419155"/>
              <a:gd name="connsiteX2007" fmla="*/ 2380432 w 6436611"/>
              <a:gd name="connsiteY2007" fmla="*/ 4265535 h 4419155"/>
              <a:gd name="connsiteX2008" fmla="*/ 2361892 w 6436611"/>
              <a:gd name="connsiteY2008" fmla="*/ 4290350 h 4419155"/>
              <a:gd name="connsiteX2009" fmla="*/ 2370130 w 6436611"/>
              <a:gd name="connsiteY2009" fmla="*/ 4292607 h 4419155"/>
              <a:gd name="connsiteX2010" fmla="*/ 2368071 w 6436611"/>
              <a:gd name="connsiteY2010" fmla="*/ 4303884 h 4419155"/>
              <a:gd name="connsiteX2011" fmla="*/ 2388671 w 6436611"/>
              <a:gd name="connsiteY2011" fmla="*/ 4301630 h 4419155"/>
              <a:gd name="connsiteX2012" fmla="*/ 2380432 w 6436611"/>
              <a:gd name="connsiteY2012" fmla="*/ 4315166 h 4419155"/>
              <a:gd name="connsiteX2013" fmla="*/ 2384551 w 6436611"/>
              <a:gd name="connsiteY2013" fmla="*/ 4330956 h 4419155"/>
              <a:gd name="connsiteX2014" fmla="*/ 2405152 w 6436611"/>
              <a:gd name="connsiteY2014" fmla="*/ 4308397 h 4419155"/>
              <a:gd name="connsiteX2015" fmla="*/ 2415451 w 6436611"/>
              <a:gd name="connsiteY2015" fmla="*/ 4319677 h 4419155"/>
              <a:gd name="connsiteX2016" fmla="*/ 2394850 w 6436611"/>
              <a:gd name="connsiteY2016" fmla="*/ 4342237 h 4419155"/>
              <a:gd name="connsiteX2017" fmla="*/ 2407210 w 6436611"/>
              <a:gd name="connsiteY2017" fmla="*/ 4346749 h 4419155"/>
              <a:gd name="connsiteX2018" fmla="*/ 2396912 w 6436611"/>
              <a:gd name="connsiteY2018" fmla="*/ 4362539 h 4419155"/>
              <a:gd name="connsiteX2019" fmla="*/ 2415451 w 6436611"/>
              <a:gd name="connsiteY2019" fmla="*/ 4349003 h 4419155"/>
              <a:gd name="connsiteX2020" fmla="*/ 2401032 w 6436611"/>
              <a:gd name="connsiteY2020" fmla="*/ 4376074 h 4419155"/>
              <a:gd name="connsiteX2021" fmla="*/ 2423691 w 6436611"/>
              <a:gd name="connsiteY2021" fmla="*/ 4358026 h 4419155"/>
              <a:gd name="connsiteX2022" fmla="*/ 2448412 w 6436611"/>
              <a:gd name="connsiteY2022" fmla="*/ 4360281 h 4419155"/>
              <a:gd name="connsiteX2023" fmla="*/ 2433992 w 6436611"/>
              <a:gd name="connsiteY2023" fmla="*/ 4364796 h 4419155"/>
              <a:gd name="connsiteX2024" fmla="*/ 2462830 w 6436611"/>
              <a:gd name="connsiteY2024" fmla="*/ 4380587 h 4419155"/>
              <a:gd name="connsiteX2025" fmla="*/ 2440171 w 6436611"/>
              <a:gd name="connsiteY2025" fmla="*/ 4400889 h 4419155"/>
              <a:gd name="connsiteX2026" fmla="*/ 2485492 w 6436611"/>
              <a:gd name="connsiteY2026" fmla="*/ 4385098 h 4419155"/>
              <a:gd name="connsiteX2027" fmla="*/ 2487551 w 6436611"/>
              <a:gd name="connsiteY2027" fmla="*/ 4394121 h 4419155"/>
              <a:gd name="connsiteX2028" fmla="*/ 2504032 w 6436611"/>
              <a:gd name="connsiteY2028" fmla="*/ 4389610 h 4419155"/>
              <a:gd name="connsiteX2029" fmla="*/ 2508151 w 6436611"/>
              <a:gd name="connsiteY2029" fmla="*/ 4396379 h 4419155"/>
              <a:gd name="connsiteX2030" fmla="*/ 2551412 w 6436611"/>
              <a:gd name="connsiteY2030" fmla="*/ 4373819 h 4419155"/>
              <a:gd name="connsiteX2031" fmla="*/ 2520512 w 6436611"/>
              <a:gd name="connsiteY2031" fmla="*/ 4400889 h 4419155"/>
              <a:gd name="connsiteX2032" fmla="*/ 2493732 w 6436611"/>
              <a:gd name="connsiteY2032" fmla="*/ 4418936 h 4419155"/>
              <a:gd name="connsiteX2033" fmla="*/ 2541112 w 6436611"/>
              <a:gd name="connsiteY2033" fmla="*/ 4400889 h 4419155"/>
              <a:gd name="connsiteX2034" fmla="*/ 2588494 w 6436611"/>
              <a:gd name="connsiteY2034" fmla="*/ 4376074 h 4419155"/>
              <a:gd name="connsiteX2035" fmla="*/ 2610381 w 6436611"/>
              <a:gd name="connsiteY2035" fmla="*/ 4364232 h 4419155"/>
              <a:gd name="connsiteX2036" fmla="*/ 2620939 w 6436611"/>
              <a:gd name="connsiteY2036" fmla="*/ 4360419 h 4419155"/>
              <a:gd name="connsiteX2037" fmla="*/ 2621453 w 6436611"/>
              <a:gd name="connsiteY2037" fmla="*/ 4359154 h 4419155"/>
              <a:gd name="connsiteX2038" fmla="*/ 2623016 w 6436611"/>
              <a:gd name="connsiteY2038" fmla="*/ 4359669 h 4419155"/>
              <a:gd name="connsiteX2039" fmla="*/ 2633813 w 6436611"/>
              <a:gd name="connsiteY2039" fmla="*/ 4355770 h 4419155"/>
              <a:gd name="connsiteX2040" fmla="*/ 2626780 w 6436611"/>
              <a:gd name="connsiteY2040" fmla="*/ 4360905 h 4419155"/>
              <a:gd name="connsiteX2041" fmla="*/ 2631755 w 6436611"/>
              <a:gd name="connsiteY2041" fmla="*/ 4362539 h 4419155"/>
              <a:gd name="connsiteX2042" fmla="*/ 2619443 w 6436611"/>
              <a:gd name="connsiteY2042" fmla="*/ 4368317 h 4419155"/>
              <a:gd name="connsiteX2043" fmla="*/ 2617592 w 6436611"/>
              <a:gd name="connsiteY2043" fmla="*/ 4371562 h 4419155"/>
              <a:gd name="connsiteX2044" fmla="*/ 2615274 w 6436611"/>
              <a:gd name="connsiteY2044" fmla="*/ 4378328 h 4419155"/>
              <a:gd name="connsiteX2045" fmla="*/ 2600853 w 6436611"/>
              <a:gd name="connsiteY2045" fmla="*/ 4387353 h 4419155"/>
              <a:gd name="connsiteX2046" fmla="*/ 2644112 w 6436611"/>
              <a:gd name="connsiteY2046" fmla="*/ 4367051 h 4419155"/>
              <a:gd name="connsiteX2047" fmla="*/ 2654414 w 6436611"/>
              <a:gd name="connsiteY2047" fmla="*/ 4358026 h 4419155"/>
              <a:gd name="connsiteX2048" fmla="*/ 2656475 w 6436611"/>
              <a:gd name="connsiteY2048" fmla="*/ 4349003 h 4419155"/>
              <a:gd name="connsiteX2049" fmla="*/ 2654414 w 6436611"/>
              <a:gd name="connsiteY2049" fmla="*/ 4337724 h 4419155"/>
              <a:gd name="connsiteX2050" fmla="*/ 2664392 w 6436611"/>
              <a:gd name="connsiteY2050" fmla="*/ 4332261 h 4419155"/>
              <a:gd name="connsiteX2051" fmla="*/ 2650294 w 6436611"/>
              <a:gd name="connsiteY2051" fmla="*/ 4339979 h 4419155"/>
              <a:gd name="connsiteX2052" fmla="*/ 2657504 w 6436611"/>
              <a:gd name="connsiteY2052" fmla="*/ 4326727 h 4419155"/>
              <a:gd name="connsiteX2053" fmla="*/ 2670893 w 6436611"/>
              <a:gd name="connsiteY2053" fmla="*/ 4328701 h 4419155"/>
              <a:gd name="connsiteX2054" fmla="*/ 2683254 w 6436611"/>
              <a:gd name="connsiteY2054" fmla="*/ 4321932 h 4419155"/>
              <a:gd name="connsiteX2055" fmla="*/ 2707974 w 6436611"/>
              <a:gd name="connsiteY2055" fmla="*/ 4301630 h 4419155"/>
              <a:gd name="connsiteX2056" fmla="*/ 2710033 w 6436611"/>
              <a:gd name="connsiteY2056" fmla="*/ 4299373 h 4419155"/>
              <a:gd name="connsiteX2057" fmla="*/ 2714154 w 6436611"/>
              <a:gd name="connsiteY2057" fmla="*/ 4306142 h 4419155"/>
              <a:gd name="connsiteX2058" fmla="*/ 2738874 w 6436611"/>
              <a:gd name="connsiteY2058" fmla="*/ 4292607 h 4419155"/>
              <a:gd name="connsiteX2059" fmla="*/ 2740933 w 6436611"/>
              <a:gd name="connsiteY2059" fmla="*/ 4301630 h 4419155"/>
              <a:gd name="connsiteX2060" fmla="*/ 2755354 w 6436611"/>
              <a:gd name="connsiteY2060" fmla="*/ 4299373 h 4419155"/>
              <a:gd name="connsiteX2061" fmla="*/ 2747115 w 6436611"/>
              <a:gd name="connsiteY2061" fmla="*/ 4310654 h 4419155"/>
              <a:gd name="connsiteX2062" fmla="*/ 2769774 w 6436611"/>
              <a:gd name="connsiteY2062" fmla="*/ 4294863 h 4419155"/>
              <a:gd name="connsiteX2063" fmla="*/ 2784195 w 6436611"/>
              <a:gd name="connsiteY2063" fmla="*/ 4279071 h 4419155"/>
              <a:gd name="connsiteX2064" fmla="*/ 2802735 w 6436611"/>
              <a:gd name="connsiteY2064" fmla="*/ 4272305 h 4419155"/>
              <a:gd name="connsiteX2065" fmla="*/ 2806854 w 6436611"/>
              <a:gd name="connsiteY2065" fmla="*/ 4270048 h 4419155"/>
              <a:gd name="connsiteX2066" fmla="*/ 2823335 w 6436611"/>
              <a:gd name="connsiteY2066" fmla="*/ 4252000 h 4419155"/>
              <a:gd name="connsiteX2067" fmla="*/ 2827455 w 6436611"/>
              <a:gd name="connsiteY2067" fmla="*/ 4261023 h 4419155"/>
              <a:gd name="connsiteX2068" fmla="*/ 2829513 w 6436611"/>
              <a:gd name="connsiteY2068" fmla="*/ 4258766 h 4419155"/>
              <a:gd name="connsiteX2069" fmla="*/ 2827455 w 6436611"/>
              <a:gd name="connsiteY2069" fmla="*/ 4252000 h 4419155"/>
              <a:gd name="connsiteX2070" fmla="*/ 2858354 w 6436611"/>
              <a:gd name="connsiteY2070" fmla="*/ 4231695 h 4419155"/>
              <a:gd name="connsiteX2071" fmla="*/ 2860415 w 6436611"/>
              <a:gd name="connsiteY2071" fmla="*/ 4233953 h 4419155"/>
              <a:gd name="connsiteX2072" fmla="*/ 2852176 w 6436611"/>
              <a:gd name="connsiteY2072" fmla="*/ 4245233 h 4419155"/>
              <a:gd name="connsiteX2073" fmla="*/ 2854234 w 6436611"/>
              <a:gd name="connsiteY2073" fmla="*/ 4247487 h 4419155"/>
              <a:gd name="connsiteX2074" fmla="*/ 2889256 w 6436611"/>
              <a:gd name="connsiteY2074" fmla="*/ 4222674 h 4419155"/>
              <a:gd name="connsiteX2075" fmla="*/ 2887195 w 6436611"/>
              <a:gd name="connsiteY2075" fmla="*/ 4206881 h 4419155"/>
              <a:gd name="connsiteX2076" fmla="*/ 2907795 w 6436611"/>
              <a:gd name="connsiteY2076" fmla="*/ 4211393 h 4419155"/>
              <a:gd name="connsiteX2077" fmla="*/ 2918097 w 6436611"/>
              <a:gd name="connsiteY2077" fmla="*/ 4200115 h 4419155"/>
              <a:gd name="connsiteX2078" fmla="*/ 2920156 w 6436611"/>
              <a:gd name="connsiteY2078" fmla="*/ 4197857 h 4419155"/>
              <a:gd name="connsiteX2079" fmla="*/ 2969597 w 6436611"/>
              <a:gd name="connsiteY2079" fmla="*/ 4159507 h 4419155"/>
              <a:gd name="connsiteX2080" fmla="*/ 2971656 w 6436611"/>
              <a:gd name="connsiteY2080" fmla="*/ 4159507 h 4419155"/>
              <a:gd name="connsiteX2081" fmla="*/ 2967536 w 6436611"/>
              <a:gd name="connsiteY2081" fmla="*/ 4152739 h 4419155"/>
              <a:gd name="connsiteX2082" fmla="*/ 2979899 w 6436611"/>
              <a:gd name="connsiteY2082" fmla="*/ 4132437 h 4419155"/>
              <a:gd name="connsiteX2083" fmla="*/ 2994317 w 6436611"/>
              <a:gd name="connsiteY2083" fmla="*/ 4148230 h 4419155"/>
              <a:gd name="connsiteX2084" fmla="*/ 3004616 w 6436611"/>
              <a:gd name="connsiteY2084" fmla="*/ 4139205 h 4419155"/>
              <a:gd name="connsiteX2085" fmla="*/ 3018521 w 6436611"/>
              <a:gd name="connsiteY2085" fmla="*/ 4131591 h 4419155"/>
              <a:gd name="connsiteX2086" fmla="*/ 3023406 w 6436611"/>
              <a:gd name="connsiteY2086" fmla="*/ 4138086 h 4419155"/>
              <a:gd name="connsiteX2087" fmla="*/ 3027278 w 6436611"/>
              <a:gd name="connsiteY2087" fmla="*/ 4134694 h 4419155"/>
              <a:gd name="connsiteX2088" fmla="*/ 3025003 w 6436611"/>
              <a:gd name="connsiteY2088" fmla="*/ 4140210 h 4419155"/>
              <a:gd name="connsiteX2089" fmla="*/ 3029336 w 6436611"/>
              <a:gd name="connsiteY2089" fmla="*/ 4145973 h 4419155"/>
              <a:gd name="connsiteX2090" fmla="*/ 3041697 w 6436611"/>
              <a:gd name="connsiteY2090" fmla="*/ 4121158 h 4419155"/>
              <a:gd name="connsiteX2091" fmla="*/ 3062297 w 6436611"/>
              <a:gd name="connsiteY2091" fmla="*/ 4103111 h 4419155"/>
              <a:gd name="connsiteX2092" fmla="*/ 3058177 w 6436611"/>
              <a:gd name="connsiteY2092" fmla="*/ 4118901 h 4419155"/>
              <a:gd name="connsiteX2093" fmla="*/ 3060236 w 6436611"/>
              <a:gd name="connsiteY2093" fmla="*/ 4121158 h 4419155"/>
              <a:gd name="connsiteX2094" fmla="*/ 3076717 w 6436611"/>
              <a:gd name="connsiteY2094" fmla="*/ 4109878 h 4419155"/>
              <a:gd name="connsiteX2095" fmla="*/ 3087018 w 6436611"/>
              <a:gd name="connsiteY2095" fmla="*/ 4098599 h 4419155"/>
              <a:gd name="connsiteX2096" fmla="*/ 3087018 w 6436611"/>
              <a:gd name="connsiteY2096" fmla="*/ 4103111 h 4419155"/>
              <a:gd name="connsiteX2097" fmla="*/ 3089077 w 6436611"/>
              <a:gd name="connsiteY2097" fmla="*/ 4109878 h 4419155"/>
              <a:gd name="connsiteX2098" fmla="*/ 3115859 w 6436611"/>
              <a:gd name="connsiteY2098" fmla="*/ 4105365 h 4419155"/>
              <a:gd name="connsiteX2099" fmla="*/ 3119979 w 6436611"/>
              <a:gd name="connsiteY2099" fmla="*/ 4123413 h 4419155"/>
              <a:gd name="connsiteX2100" fmla="*/ 3130277 w 6436611"/>
              <a:gd name="connsiteY2100" fmla="*/ 4152739 h 4419155"/>
              <a:gd name="connsiteX2101" fmla="*/ 3148817 w 6436611"/>
              <a:gd name="connsiteY2101" fmla="*/ 4168532 h 4419155"/>
              <a:gd name="connsiteX2102" fmla="*/ 3163239 w 6436611"/>
              <a:gd name="connsiteY2102" fmla="*/ 4161762 h 4419155"/>
              <a:gd name="connsiteX2103" fmla="*/ 3185898 w 6436611"/>
              <a:gd name="connsiteY2103" fmla="*/ 4148230 h 4419155"/>
              <a:gd name="connsiteX2104" fmla="*/ 3229161 w 6436611"/>
              <a:gd name="connsiteY2104" fmla="*/ 4107623 h 4419155"/>
              <a:gd name="connsiteX2105" fmla="*/ 3231219 w 6436611"/>
              <a:gd name="connsiteY2105" fmla="*/ 4109878 h 4419155"/>
              <a:gd name="connsiteX2106" fmla="*/ 3239459 w 6436611"/>
              <a:gd name="connsiteY2106" fmla="*/ 4104464 h 4419155"/>
              <a:gd name="connsiteX2107" fmla="*/ 3239459 w 6436611"/>
              <a:gd name="connsiteY2107" fmla="*/ 4101983 h 4419155"/>
              <a:gd name="connsiteX2108" fmla="*/ 3237400 w 6436611"/>
              <a:gd name="connsiteY2108" fmla="*/ 4100854 h 4419155"/>
              <a:gd name="connsiteX2109" fmla="*/ 3239459 w 6436611"/>
              <a:gd name="connsiteY2109" fmla="*/ 4097470 h 4419155"/>
              <a:gd name="connsiteX2110" fmla="*/ 3239459 w 6436611"/>
              <a:gd name="connsiteY2110" fmla="*/ 4091833 h 4419155"/>
              <a:gd name="connsiteX2111" fmla="*/ 3241084 w 6436611"/>
              <a:gd name="connsiteY2111" fmla="*/ 4094799 h 4419155"/>
              <a:gd name="connsiteX2112" fmla="*/ 3241518 w 6436611"/>
              <a:gd name="connsiteY2112" fmla="*/ 4094088 h 4419155"/>
              <a:gd name="connsiteX2113" fmla="*/ 3241518 w 6436611"/>
              <a:gd name="connsiteY2113" fmla="*/ 4089576 h 4419155"/>
              <a:gd name="connsiteX2114" fmla="*/ 3235339 w 6436611"/>
              <a:gd name="connsiteY2114" fmla="*/ 4089576 h 4419155"/>
              <a:gd name="connsiteX2115" fmla="*/ 3231219 w 6436611"/>
              <a:gd name="connsiteY2115" fmla="*/ 4089576 h 4419155"/>
              <a:gd name="connsiteX2116" fmla="*/ 3231219 w 6436611"/>
              <a:gd name="connsiteY2116" fmla="*/ 4088447 h 4419155"/>
              <a:gd name="connsiteX2117" fmla="*/ 3227099 w 6436611"/>
              <a:gd name="connsiteY2117" fmla="*/ 4087318 h 4419155"/>
              <a:gd name="connsiteX2118" fmla="*/ 3231219 w 6436611"/>
              <a:gd name="connsiteY2118" fmla="*/ 4082806 h 4419155"/>
              <a:gd name="connsiteX2119" fmla="*/ 3231219 w 6436611"/>
              <a:gd name="connsiteY2119" fmla="*/ 4085063 h 4419155"/>
              <a:gd name="connsiteX2120" fmla="*/ 3232259 w 6436611"/>
              <a:gd name="connsiteY2120" fmla="*/ 4086203 h 4419155"/>
              <a:gd name="connsiteX2121" fmla="*/ 3244093 w 6436611"/>
              <a:gd name="connsiteY2121" fmla="*/ 4073501 h 4419155"/>
              <a:gd name="connsiteX2122" fmla="*/ 3247700 w 6436611"/>
              <a:gd name="connsiteY2122" fmla="*/ 4064761 h 4419155"/>
              <a:gd name="connsiteX2123" fmla="*/ 3241518 w 6436611"/>
              <a:gd name="connsiteY2123" fmla="*/ 4060247 h 4419155"/>
              <a:gd name="connsiteX2124" fmla="*/ 3239459 w 6436611"/>
              <a:gd name="connsiteY2124" fmla="*/ 4030921 h 4419155"/>
              <a:gd name="connsiteX2125" fmla="*/ 3247700 w 6436611"/>
              <a:gd name="connsiteY2125" fmla="*/ 4001596 h 4419155"/>
              <a:gd name="connsiteX2126" fmla="*/ 3241518 w 6436611"/>
              <a:gd name="connsiteY2126" fmla="*/ 3992572 h 4419155"/>
              <a:gd name="connsiteX2127" fmla="*/ 3237400 w 6436611"/>
              <a:gd name="connsiteY2127" fmla="*/ 3994826 h 4419155"/>
              <a:gd name="connsiteX2128" fmla="*/ 3231219 w 6436611"/>
              <a:gd name="connsiteY2128" fmla="*/ 4008362 h 4419155"/>
              <a:gd name="connsiteX2129" fmla="*/ 3229161 w 6436611"/>
              <a:gd name="connsiteY2129" fmla="*/ 4001596 h 4419155"/>
              <a:gd name="connsiteX2130" fmla="*/ 3241518 w 6436611"/>
              <a:gd name="connsiteY2130" fmla="*/ 3983549 h 4419155"/>
              <a:gd name="connsiteX2131" fmla="*/ 3249758 w 6436611"/>
              <a:gd name="connsiteY2131" fmla="*/ 3983549 h 4419155"/>
              <a:gd name="connsiteX2132" fmla="*/ 3278598 w 6436611"/>
              <a:gd name="connsiteY2132" fmla="*/ 3929406 h 4419155"/>
              <a:gd name="connsiteX2133" fmla="*/ 3274479 w 6436611"/>
              <a:gd name="connsiteY2133" fmla="*/ 3922640 h 4419155"/>
              <a:gd name="connsiteX2134" fmla="*/ 3258000 w 6436611"/>
              <a:gd name="connsiteY2134" fmla="*/ 3938430 h 4419155"/>
              <a:gd name="connsiteX2135" fmla="*/ 3241518 w 6436611"/>
              <a:gd name="connsiteY2135" fmla="*/ 3956477 h 4419155"/>
              <a:gd name="connsiteX2136" fmla="*/ 3245638 w 6436611"/>
              <a:gd name="connsiteY2136" fmla="*/ 3936173 h 4419155"/>
              <a:gd name="connsiteX2137" fmla="*/ 3247700 w 6436611"/>
              <a:gd name="connsiteY2137" fmla="*/ 3936173 h 4419155"/>
              <a:gd name="connsiteX2138" fmla="*/ 3251820 w 6436611"/>
              <a:gd name="connsiteY2138" fmla="*/ 3936173 h 4419155"/>
              <a:gd name="connsiteX2139" fmla="*/ 3268300 w 6436611"/>
              <a:gd name="connsiteY2139" fmla="*/ 3913616 h 4419155"/>
              <a:gd name="connsiteX2140" fmla="*/ 3260059 w 6436611"/>
              <a:gd name="connsiteY2140" fmla="*/ 3918128 h 4419155"/>
              <a:gd name="connsiteX2141" fmla="*/ 3251820 w 6436611"/>
              <a:gd name="connsiteY2141" fmla="*/ 3922640 h 4419155"/>
              <a:gd name="connsiteX2142" fmla="*/ 3243579 w 6436611"/>
              <a:gd name="connsiteY2142" fmla="*/ 3929406 h 4419155"/>
              <a:gd name="connsiteX2143" fmla="*/ 3239459 w 6436611"/>
              <a:gd name="connsiteY2143" fmla="*/ 3931661 h 4419155"/>
              <a:gd name="connsiteX2144" fmla="*/ 3239459 w 6436611"/>
              <a:gd name="connsiteY2144" fmla="*/ 3933918 h 4419155"/>
              <a:gd name="connsiteX2145" fmla="*/ 3231219 w 6436611"/>
              <a:gd name="connsiteY2145" fmla="*/ 3945199 h 4419155"/>
              <a:gd name="connsiteX2146" fmla="*/ 3225038 w 6436611"/>
              <a:gd name="connsiteY2146" fmla="*/ 3945199 h 4419155"/>
              <a:gd name="connsiteX2147" fmla="*/ 3231219 w 6436611"/>
              <a:gd name="connsiteY2147" fmla="*/ 3927148 h 4419155"/>
              <a:gd name="connsiteX2148" fmla="*/ 3208559 w 6436611"/>
              <a:gd name="connsiteY2148" fmla="*/ 3945199 h 4419155"/>
              <a:gd name="connsiteX2149" fmla="*/ 3194138 w 6436611"/>
              <a:gd name="connsiteY2149" fmla="*/ 3942942 h 4419155"/>
              <a:gd name="connsiteX2150" fmla="*/ 3202379 w 6436611"/>
              <a:gd name="connsiteY2150" fmla="*/ 3933918 h 4419155"/>
              <a:gd name="connsiteX2151" fmla="*/ 3264180 w 6436611"/>
              <a:gd name="connsiteY2151" fmla="*/ 3884287 h 4419155"/>
              <a:gd name="connsiteX2152" fmla="*/ 3264180 w 6436611"/>
              <a:gd name="connsiteY2152" fmla="*/ 3886545 h 4419155"/>
              <a:gd name="connsiteX2153" fmla="*/ 3274479 w 6436611"/>
              <a:gd name="connsiteY2153" fmla="*/ 3879776 h 4419155"/>
              <a:gd name="connsiteX2154" fmla="*/ 3276540 w 6436611"/>
              <a:gd name="connsiteY2154" fmla="*/ 3879776 h 4419155"/>
              <a:gd name="connsiteX2155" fmla="*/ 3288900 w 6436611"/>
              <a:gd name="connsiteY2155" fmla="*/ 3888799 h 4419155"/>
              <a:gd name="connsiteX2156" fmla="*/ 3293018 w 6436611"/>
              <a:gd name="connsiteY2156" fmla="*/ 3886545 h 4419155"/>
              <a:gd name="connsiteX2157" fmla="*/ 3288385 w 6436611"/>
              <a:gd name="connsiteY2157" fmla="*/ 3892748 h 4419155"/>
              <a:gd name="connsiteX2158" fmla="*/ 3286839 w 6436611"/>
              <a:gd name="connsiteY2158" fmla="*/ 3895567 h 4419155"/>
              <a:gd name="connsiteX2159" fmla="*/ 3288900 w 6436611"/>
              <a:gd name="connsiteY2159" fmla="*/ 3893312 h 4419155"/>
              <a:gd name="connsiteX2160" fmla="*/ 3307439 w 6436611"/>
              <a:gd name="connsiteY2160" fmla="*/ 3875264 h 4419155"/>
              <a:gd name="connsiteX2161" fmla="*/ 3305380 w 6436611"/>
              <a:gd name="connsiteY2161" fmla="*/ 3882033 h 4419155"/>
              <a:gd name="connsiteX2162" fmla="*/ 3315680 w 6436611"/>
              <a:gd name="connsiteY2162" fmla="*/ 3875264 h 4419155"/>
              <a:gd name="connsiteX2163" fmla="*/ 3311559 w 6436611"/>
              <a:gd name="connsiteY2163" fmla="*/ 3893312 h 4419155"/>
              <a:gd name="connsiteX2164" fmla="*/ 3330101 w 6436611"/>
              <a:gd name="connsiteY2164" fmla="*/ 3882033 h 4419155"/>
              <a:gd name="connsiteX2165" fmla="*/ 3319800 w 6436611"/>
              <a:gd name="connsiteY2165" fmla="*/ 3897823 h 4419155"/>
              <a:gd name="connsiteX2166" fmla="*/ 3319800 w 6436611"/>
              <a:gd name="connsiteY2166" fmla="*/ 3904589 h 4419155"/>
              <a:gd name="connsiteX2167" fmla="*/ 3336280 w 6436611"/>
              <a:gd name="connsiteY2167" fmla="*/ 3906846 h 4419155"/>
              <a:gd name="connsiteX2168" fmla="*/ 3352760 w 6436611"/>
              <a:gd name="connsiteY2168" fmla="*/ 3888799 h 4419155"/>
              <a:gd name="connsiteX2169" fmla="*/ 3363059 w 6436611"/>
              <a:gd name="connsiteY2169" fmla="*/ 3891057 h 4419155"/>
              <a:gd name="connsiteX2170" fmla="*/ 3350701 w 6436611"/>
              <a:gd name="connsiteY2170" fmla="*/ 3911359 h 4419155"/>
              <a:gd name="connsiteX2171" fmla="*/ 3363059 w 6436611"/>
              <a:gd name="connsiteY2171" fmla="*/ 3924894 h 4419155"/>
              <a:gd name="connsiteX2172" fmla="*/ 3361000 w 6436611"/>
              <a:gd name="connsiteY2172" fmla="*/ 3927148 h 4419155"/>
              <a:gd name="connsiteX2173" fmla="*/ 3354819 w 6436611"/>
              <a:gd name="connsiteY2173" fmla="*/ 3933918 h 4419155"/>
              <a:gd name="connsiteX2174" fmla="*/ 3334219 w 6436611"/>
              <a:gd name="connsiteY2174" fmla="*/ 3947454 h 4419155"/>
              <a:gd name="connsiteX2175" fmla="*/ 3317739 w 6436611"/>
              <a:gd name="connsiteY2175" fmla="*/ 3976779 h 4419155"/>
              <a:gd name="connsiteX2176" fmla="*/ 3338339 w 6436611"/>
              <a:gd name="connsiteY2176" fmla="*/ 3963247 h 4419155"/>
              <a:gd name="connsiteX2177" fmla="*/ 3367180 w 6436611"/>
              <a:gd name="connsiteY2177" fmla="*/ 3936173 h 4419155"/>
              <a:gd name="connsiteX2178" fmla="*/ 3373361 w 6436611"/>
              <a:gd name="connsiteY2178" fmla="*/ 3929406 h 4419155"/>
              <a:gd name="connsiteX2179" fmla="*/ 3377481 w 6436611"/>
              <a:gd name="connsiteY2179" fmla="*/ 3929406 h 4419155"/>
              <a:gd name="connsiteX2180" fmla="*/ 3385721 w 6436611"/>
              <a:gd name="connsiteY2180" fmla="*/ 3915871 h 4419155"/>
              <a:gd name="connsiteX2181" fmla="*/ 3383660 w 6436611"/>
              <a:gd name="connsiteY2181" fmla="*/ 3915871 h 4419155"/>
              <a:gd name="connsiteX2182" fmla="*/ 3381601 w 6436611"/>
              <a:gd name="connsiteY2182" fmla="*/ 3906846 h 4419155"/>
              <a:gd name="connsiteX2183" fmla="*/ 3387780 w 6436611"/>
              <a:gd name="connsiteY2183" fmla="*/ 3900080 h 4419155"/>
              <a:gd name="connsiteX2184" fmla="*/ 3404260 w 6436611"/>
              <a:gd name="connsiteY2184" fmla="*/ 3893312 h 4419155"/>
              <a:gd name="connsiteX2185" fmla="*/ 3414562 w 6436611"/>
              <a:gd name="connsiteY2185" fmla="*/ 3902335 h 4419155"/>
              <a:gd name="connsiteX2186" fmla="*/ 3412500 w 6436611"/>
              <a:gd name="connsiteY2186" fmla="*/ 3904589 h 4419155"/>
              <a:gd name="connsiteX2187" fmla="*/ 3400140 w 6436611"/>
              <a:gd name="connsiteY2187" fmla="*/ 3918128 h 4419155"/>
              <a:gd name="connsiteX2188" fmla="*/ 3375419 w 6436611"/>
              <a:gd name="connsiteY2188" fmla="*/ 3945199 h 4419155"/>
              <a:gd name="connsiteX2189" fmla="*/ 3371300 w 6436611"/>
              <a:gd name="connsiteY2189" fmla="*/ 3954220 h 4419155"/>
              <a:gd name="connsiteX2190" fmla="*/ 3352760 w 6436611"/>
              <a:gd name="connsiteY2190" fmla="*/ 3972267 h 4419155"/>
              <a:gd name="connsiteX2191" fmla="*/ 3350701 w 6436611"/>
              <a:gd name="connsiteY2191" fmla="*/ 3981292 h 4419155"/>
              <a:gd name="connsiteX2192" fmla="*/ 3379539 w 6436611"/>
              <a:gd name="connsiteY2192" fmla="*/ 3956477 h 4419155"/>
              <a:gd name="connsiteX2193" fmla="*/ 3381858 w 6436611"/>
              <a:gd name="connsiteY2193" fmla="*/ 3953093 h 4419155"/>
              <a:gd name="connsiteX2194" fmla="*/ 3379884 w 6436611"/>
              <a:gd name="connsiteY2194" fmla="*/ 3950211 h 4419155"/>
              <a:gd name="connsiteX2195" fmla="*/ 3377481 w 6436611"/>
              <a:gd name="connsiteY2195" fmla="*/ 3951965 h 4419155"/>
              <a:gd name="connsiteX2196" fmla="*/ 3379539 w 6436611"/>
              <a:gd name="connsiteY2196" fmla="*/ 3949708 h 4419155"/>
              <a:gd name="connsiteX2197" fmla="*/ 3379884 w 6436611"/>
              <a:gd name="connsiteY2197" fmla="*/ 3950211 h 4419155"/>
              <a:gd name="connsiteX2198" fmla="*/ 3383660 w 6436611"/>
              <a:gd name="connsiteY2198" fmla="*/ 3947454 h 4419155"/>
              <a:gd name="connsiteX2199" fmla="*/ 3420741 w 6436611"/>
              <a:gd name="connsiteY2199" fmla="*/ 3909104 h 4419155"/>
              <a:gd name="connsiteX2200" fmla="*/ 3422802 w 6436611"/>
              <a:gd name="connsiteY2200" fmla="*/ 3906846 h 4419155"/>
              <a:gd name="connsiteX2201" fmla="*/ 3428981 w 6436611"/>
              <a:gd name="connsiteY2201" fmla="*/ 3913616 h 4419155"/>
              <a:gd name="connsiteX2202" fmla="*/ 3412500 w 6436611"/>
              <a:gd name="connsiteY2202" fmla="*/ 3931661 h 4419155"/>
              <a:gd name="connsiteX2203" fmla="*/ 3391900 w 6436611"/>
              <a:gd name="connsiteY2203" fmla="*/ 3956477 h 4419155"/>
              <a:gd name="connsiteX2204" fmla="*/ 3391900 w 6436611"/>
              <a:gd name="connsiteY2204" fmla="*/ 3960990 h 4419155"/>
              <a:gd name="connsiteX2205" fmla="*/ 3373361 w 6436611"/>
              <a:gd name="connsiteY2205" fmla="*/ 3979037 h 4419155"/>
              <a:gd name="connsiteX2206" fmla="*/ 3404260 w 6436611"/>
              <a:gd name="connsiteY2206" fmla="*/ 3960990 h 4419155"/>
              <a:gd name="connsiteX2207" fmla="*/ 3412500 w 6436611"/>
              <a:gd name="connsiteY2207" fmla="*/ 3972267 h 4419155"/>
              <a:gd name="connsiteX2208" fmla="*/ 3424861 w 6436611"/>
              <a:gd name="connsiteY2208" fmla="*/ 3983549 h 4419155"/>
              <a:gd name="connsiteX2209" fmla="*/ 3428981 w 6436611"/>
              <a:gd name="connsiteY2209" fmla="*/ 3988060 h 4419155"/>
              <a:gd name="connsiteX2210" fmla="*/ 3428981 w 6436611"/>
              <a:gd name="connsiteY2210" fmla="*/ 3990317 h 4419155"/>
              <a:gd name="connsiteX2211" fmla="*/ 3420741 w 6436611"/>
              <a:gd name="connsiteY2211" fmla="*/ 3994826 h 4419155"/>
              <a:gd name="connsiteX2212" fmla="*/ 3426920 w 6436611"/>
              <a:gd name="connsiteY2212" fmla="*/ 4003851 h 4419155"/>
              <a:gd name="connsiteX2213" fmla="*/ 3424861 w 6436611"/>
              <a:gd name="connsiteY2213" fmla="*/ 4010619 h 4419155"/>
              <a:gd name="connsiteX2214" fmla="*/ 3406319 w 6436611"/>
              <a:gd name="connsiteY2214" fmla="*/ 4035434 h 4419155"/>
              <a:gd name="connsiteX2215" fmla="*/ 3435160 w 6436611"/>
              <a:gd name="connsiteY2215" fmla="*/ 4051223 h 4419155"/>
              <a:gd name="connsiteX2216" fmla="*/ 3437221 w 6436611"/>
              <a:gd name="connsiteY2216" fmla="*/ 4051223 h 4419155"/>
              <a:gd name="connsiteX2217" fmla="*/ 3435160 w 6436611"/>
              <a:gd name="connsiteY2217" fmla="*/ 4057993 h 4419155"/>
              <a:gd name="connsiteX2218" fmla="*/ 3431039 w 6436611"/>
              <a:gd name="connsiteY2218" fmla="*/ 4076040 h 4419155"/>
              <a:gd name="connsiteX2219" fmla="*/ 3412500 w 6436611"/>
              <a:gd name="connsiteY2219" fmla="*/ 4094088 h 4419155"/>
              <a:gd name="connsiteX2220" fmla="*/ 3410439 w 6436611"/>
              <a:gd name="connsiteY2220" fmla="*/ 4103111 h 4419155"/>
              <a:gd name="connsiteX2221" fmla="*/ 3431039 w 6436611"/>
              <a:gd name="connsiteY2221" fmla="*/ 4087318 h 4419155"/>
              <a:gd name="connsiteX2222" fmla="*/ 3433101 w 6436611"/>
              <a:gd name="connsiteY2222" fmla="*/ 4098599 h 4419155"/>
              <a:gd name="connsiteX2223" fmla="*/ 3453702 w 6436611"/>
              <a:gd name="connsiteY2223" fmla="*/ 4150484 h 4419155"/>
              <a:gd name="connsiteX2224" fmla="*/ 3445462 w 6436611"/>
              <a:gd name="connsiteY2224" fmla="*/ 4175298 h 4419155"/>
              <a:gd name="connsiteX2225" fmla="*/ 3445462 w 6436611"/>
              <a:gd name="connsiteY2225" fmla="*/ 4184322 h 4419155"/>
              <a:gd name="connsiteX2226" fmla="*/ 3455760 w 6436611"/>
              <a:gd name="connsiteY2226" fmla="*/ 4184322 h 4419155"/>
              <a:gd name="connsiteX2227" fmla="*/ 3457821 w 6436611"/>
              <a:gd name="connsiteY2227" fmla="*/ 4179809 h 4419155"/>
              <a:gd name="connsiteX2228" fmla="*/ 3461942 w 6436611"/>
              <a:gd name="connsiteY2228" fmla="*/ 4184322 h 4419155"/>
              <a:gd name="connsiteX2229" fmla="*/ 3470182 w 6436611"/>
              <a:gd name="connsiteY2229" fmla="*/ 4184322 h 4419155"/>
              <a:gd name="connsiteX2230" fmla="*/ 3468121 w 6436611"/>
              <a:gd name="connsiteY2230" fmla="*/ 4191091 h 4419155"/>
              <a:gd name="connsiteX2231" fmla="*/ 3468121 w 6436611"/>
              <a:gd name="connsiteY2231" fmla="*/ 4188834 h 4419155"/>
              <a:gd name="connsiteX2232" fmla="*/ 3466062 w 6436611"/>
              <a:gd name="connsiteY2232" fmla="*/ 4186579 h 4419155"/>
              <a:gd name="connsiteX2233" fmla="*/ 3461942 w 6436611"/>
              <a:gd name="connsiteY2233" fmla="*/ 4191091 h 4419155"/>
              <a:gd name="connsiteX2234" fmla="*/ 3464000 w 6436611"/>
              <a:gd name="connsiteY2234" fmla="*/ 4195603 h 4419155"/>
              <a:gd name="connsiteX2235" fmla="*/ 3466062 w 6436611"/>
              <a:gd name="connsiteY2235" fmla="*/ 4193349 h 4419155"/>
              <a:gd name="connsiteX2236" fmla="*/ 3466062 w 6436611"/>
              <a:gd name="connsiteY2236" fmla="*/ 4195603 h 4419155"/>
              <a:gd name="connsiteX2237" fmla="*/ 3466062 w 6436611"/>
              <a:gd name="connsiteY2237" fmla="*/ 4204627 h 4419155"/>
              <a:gd name="connsiteX2238" fmla="*/ 3480481 w 6436611"/>
              <a:gd name="connsiteY2238" fmla="*/ 4191091 h 4419155"/>
              <a:gd name="connsiteX2239" fmla="*/ 3486662 w 6436611"/>
              <a:gd name="connsiteY2239" fmla="*/ 4204627 h 4419155"/>
              <a:gd name="connsiteX2240" fmla="*/ 3488721 w 6436611"/>
              <a:gd name="connsiteY2240" fmla="*/ 4206881 h 4419155"/>
              <a:gd name="connsiteX2241" fmla="*/ 3488721 w 6436611"/>
              <a:gd name="connsiteY2241" fmla="*/ 4213651 h 4419155"/>
              <a:gd name="connsiteX2242" fmla="*/ 3488721 w 6436611"/>
              <a:gd name="connsiteY2242" fmla="*/ 4218162 h 4419155"/>
              <a:gd name="connsiteX2243" fmla="*/ 3490782 w 6436611"/>
              <a:gd name="connsiteY2243" fmla="*/ 4222674 h 4419155"/>
              <a:gd name="connsiteX2244" fmla="*/ 3505201 w 6436611"/>
              <a:gd name="connsiteY2244" fmla="*/ 4261023 h 4419155"/>
              <a:gd name="connsiteX2245" fmla="*/ 3505201 w 6436611"/>
              <a:gd name="connsiteY2245" fmla="*/ 4265535 h 4419155"/>
              <a:gd name="connsiteX2246" fmla="*/ 3509321 w 6436611"/>
              <a:gd name="connsiteY2246" fmla="*/ 4267793 h 4419155"/>
              <a:gd name="connsiteX2247" fmla="*/ 3509321 w 6436611"/>
              <a:gd name="connsiteY2247" fmla="*/ 4265535 h 4419155"/>
              <a:gd name="connsiteX2248" fmla="*/ 3513442 w 6436611"/>
              <a:gd name="connsiteY2248" fmla="*/ 4270048 h 4419155"/>
              <a:gd name="connsiteX2249" fmla="*/ 3505201 w 6436611"/>
              <a:gd name="connsiteY2249" fmla="*/ 4294863 h 4419155"/>
              <a:gd name="connsiteX2250" fmla="*/ 3505201 w 6436611"/>
              <a:gd name="connsiteY2250" fmla="*/ 4303884 h 4419155"/>
              <a:gd name="connsiteX2251" fmla="*/ 3515503 w 6436611"/>
              <a:gd name="connsiteY2251" fmla="*/ 4303884 h 4419155"/>
              <a:gd name="connsiteX2252" fmla="*/ 3517562 w 6436611"/>
              <a:gd name="connsiteY2252" fmla="*/ 4299373 h 4419155"/>
              <a:gd name="connsiteX2253" fmla="*/ 3521682 w 6436611"/>
              <a:gd name="connsiteY2253" fmla="*/ 4303884 h 4419155"/>
              <a:gd name="connsiteX2254" fmla="*/ 3529922 w 6436611"/>
              <a:gd name="connsiteY2254" fmla="*/ 4303884 h 4419155"/>
              <a:gd name="connsiteX2255" fmla="*/ 3525801 w 6436611"/>
              <a:gd name="connsiteY2255" fmla="*/ 4312909 h 4419155"/>
              <a:gd name="connsiteX2256" fmla="*/ 3525801 w 6436611"/>
              <a:gd name="connsiteY2256" fmla="*/ 4321932 h 4419155"/>
              <a:gd name="connsiteX2257" fmla="*/ 3540221 w 6436611"/>
              <a:gd name="connsiteY2257" fmla="*/ 4308397 h 4419155"/>
              <a:gd name="connsiteX2258" fmla="*/ 3546403 w 6436611"/>
              <a:gd name="connsiteY2258" fmla="*/ 4321932 h 4419155"/>
              <a:gd name="connsiteX2259" fmla="*/ 3548462 w 6436611"/>
              <a:gd name="connsiteY2259" fmla="*/ 4328701 h 4419155"/>
              <a:gd name="connsiteX2260" fmla="*/ 3548462 w 6436611"/>
              <a:gd name="connsiteY2260" fmla="*/ 4337724 h 4419155"/>
              <a:gd name="connsiteX2261" fmla="*/ 3556703 w 6436611"/>
              <a:gd name="connsiteY2261" fmla="*/ 4344492 h 4419155"/>
              <a:gd name="connsiteX2262" fmla="*/ 3567003 w 6436611"/>
              <a:gd name="connsiteY2262" fmla="*/ 4339979 h 4419155"/>
              <a:gd name="connsiteX2263" fmla="*/ 3573181 w 6436611"/>
              <a:gd name="connsiteY2263" fmla="*/ 4326444 h 4419155"/>
              <a:gd name="connsiteX2264" fmla="*/ 3579363 w 6436611"/>
              <a:gd name="connsiteY2264" fmla="*/ 4315166 h 4419155"/>
              <a:gd name="connsiteX2265" fmla="*/ 3581422 w 6436611"/>
              <a:gd name="connsiteY2265" fmla="*/ 4324190 h 4419155"/>
              <a:gd name="connsiteX2266" fmla="*/ 3591721 w 6436611"/>
              <a:gd name="connsiteY2266" fmla="*/ 4301630 h 4419155"/>
              <a:gd name="connsiteX2267" fmla="*/ 3583483 w 6436611"/>
              <a:gd name="connsiteY2267" fmla="*/ 4306142 h 4419155"/>
              <a:gd name="connsiteX2268" fmla="*/ 3602022 w 6436611"/>
              <a:gd name="connsiteY2268" fmla="*/ 4279071 h 4419155"/>
              <a:gd name="connsiteX2269" fmla="*/ 3614383 w 6436611"/>
              <a:gd name="connsiteY2269" fmla="*/ 4258766 h 4419155"/>
              <a:gd name="connsiteX2270" fmla="*/ 3622623 w 6436611"/>
              <a:gd name="connsiteY2270" fmla="*/ 4252000 h 4419155"/>
              <a:gd name="connsiteX2271" fmla="*/ 3620562 w 6436611"/>
              <a:gd name="connsiteY2271" fmla="*/ 4256512 h 4419155"/>
              <a:gd name="connsiteX2272" fmla="*/ 3651464 w 6436611"/>
              <a:gd name="connsiteY2272" fmla="*/ 4211393 h 4419155"/>
              <a:gd name="connsiteX2273" fmla="*/ 3645282 w 6436611"/>
              <a:gd name="connsiteY2273" fmla="*/ 4215904 h 4419155"/>
              <a:gd name="connsiteX2274" fmla="*/ 3655583 w 6436611"/>
              <a:gd name="connsiteY2274" fmla="*/ 4197857 h 4419155"/>
              <a:gd name="connsiteX2275" fmla="*/ 3661762 w 6436611"/>
              <a:gd name="connsiteY2275" fmla="*/ 4186579 h 4419155"/>
              <a:gd name="connsiteX2276" fmla="*/ 3657642 w 6436611"/>
              <a:gd name="connsiteY2276" fmla="*/ 4197857 h 4419155"/>
              <a:gd name="connsiteX2277" fmla="*/ 3657642 w 6436611"/>
              <a:gd name="connsiteY2277" fmla="*/ 4202370 h 4419155"/>
              <a:gd name="connsiteX2278" fmla="*/ 3665883 w 6436611"/>
              <a:gd name="connsiteY2278" fmla="*/ 4195603 h 4419155"/>
              <a:gd name="connsiteX2279" fmla="*/ 3711203 w 6436611"/>
              <a:gd name="connsiteY2279" fmla="*/ 4127925 h 4419155"/>
              <a:gd name="connsiteX2280" fmla="*/ 3696785 w 6436611"/>
              <a:gd name="connsiteY2280" fmla="*/ 4139205 h 4419155"/>
              <a:gd name="connsiteX2281" fmla="*/ 3674122 w 6436611"/>
              <a:gd name="connsiteY2281" fmla="*/ 4173043 h 4419155"/>
              <a:gd name="connsiteX2282" fmla="*/ 3663824 w 6436611"/>
              <a:gd name="connsiteY2282" fmla="*/ 4184322 h 4419155"/>
              <a:gd name="connsiteX2283" fmla="*/ 3667944 w 6436611"/>
              <a:gd name="connsiteY2283" fmla="*/ 4164020 h 4419155"/>
              <a:gd name="connsiteX2284" fmla="*/ 3649405 w 6436611"/>
              <a:gd name="connsiteY2284" fmla="*/ 4182068 h 4419155"/>
              <a:gd name="connsiteX2285" fmla="*/ 3651464 w 6436611"/>
              <a:gd name="connsiteY2285" fmla="*/ 4175298 h 4419155"/>
              <a:gd name="connsiteX2286" fmla="*/ 3688544 w 6436611"/>
              <a:gd name="connsiteY2286" fmla="*/ 4121158 h 4419155"/>
              <a:gd name="connsiteX2287" fmla="*/ 3711203 w 6436611"/>
              <a:gd name="connsiteY2287" fmla="*/ 4112135 h 4419155"/>
              <a:gd name="connsiteX2288" fmla="*/ 3715324 w 6436611"/>
              <a:gd name="connsiteY2288" fmla="*/ 4112135 h 4419155"/>
              <a:gd name="connsiteX2289" fmla="*/ 3713265 w 6436611"/>
              <a:gd name="connsiteY2289" fmla="*/ 4127925 h 4419155"/>
              <a:gd name="connsiteX2290" fmla="*/ 3727684 w 6436611"/>
              <a:gd name="connsiteY2290" fmla="*/ 4112135 h 4419155"/>
              <a:gd name="connsiteX2291" fmla="*/ 3725622 w 6436611"/>
              <a:gd name="connsiteY2291" fmla="*/ 4118901 h 4419155"/>
              <a:gd name="connsiteX2292" fmla="*/ 3678242 w 6436611"/>
              <a:gd name="connsiteY2292" fmla="*/ 4188834 h 4419155"/>
              <a:gd name="connsiteX2293" fmla="*/ 3651464 w 6436611"/>
              <a:gd name="connsiteY2293" fmla="*/ 4233953 h 4419155"/>
              <a:gd name="connsiteX2294" fmla="*/ 3653069 w 6436611"/>
              <a:gd name="connsiteY2294" fmla="*/ 4234246 h 4419155"/>
              <a:gd name="connsiteX2295" fmla="*/ 3655583 w 6436611"/>
              <a:gd name="connsiteY2295" fmla="*/ 4231695 h 4419155"/>
              <a:gd name="connsiteX2296" fmla="*/ 3653522 w 6436611"/>
              <a:gd name="connsiteY2296" fmla="*/ 4234328 h 4419155"/>
              <a:gd name="connsiteX2297" fmla="*/ 3663824 w 6436611"/>
              <a:gd name="connsiteY2297" fmla="*/ 4236210 h 4419155"/>
              <a:gd name="connsiteX2298" fmla="*/ 3680305 w 6436611"/>
              <a:gd name="connsiteY2298" fmla="*/ 4215904 h 4419155"/>
              <a:gd name="connsiteX2299" fmla="*/ 3694723 w 6436611"/>
              <a:gd name="connsiteY2299" fmla="*/ 4200115 h 4419155"/>
              <a:gd name="connsiteX2300" fmla="*/ 3705022 w 6436611"/>
              <a:gd name="connsiteY2300" fmla="*/ 4188834 h 4419155"/>
              <a:gd name="connsiteX2301" fmla="*/ 3717385 w 6436611"/>
              <a:gd name="connsiteY2301" fmla="*/ 4166277 h 4419155"/>
              <a:gd name="connsiteX2302" fmla="*/ 3756524 w 6436611"/>
              <a:gd name="connsiteY2302" fmla="*/ 4112135 h 4419155"/>
              <a:gd name="connsiteX2303" fmla="*/ 3773005 w 6436611"/>
              <a:gd name="connsiteY2303" fmla="*/ 4096342 h 4419155"/>
              <a:gd name="connsiteX2304" fmla="*/ 3779183 w 6436611"/>
              <a:gd name="connsiteY2304" fmla="*/ 4085063 h 4419155"/>
              <a:gd name="connsiteX2305" fmla="*/ 3789485 w 6436611"/>
              <a:gd name="connsiteY2305" fmla="*/ 4069274 h 4419155"/>
              <a:gd name="connsiteX2306" fmla="*/ 3793605 w 6436611"/>
              <a:gd name="connsiteY2306" fmla="*/ 4069274 h 4419155"/>
              <a:gd name="connsiteX2307" fmla="*/ 3787424 w 6436611"/>
              <a:gd name="connsiteY2307" fmla="*/ 4080552 h 4419155"/>
              <a:gd name="connsiteX2308" fmla="*/ 3799784 w 6436611"/>
              <a:gd name="connsiteY2308" fmla="*/ 4069274 h 4419155"/>
              <a:gd name="connsiteX2309" fmla="*/ 3814206 w 6436611"/>
              <a:gd name="connsiteY2309" fmla="*/ 4069274 h 4419155"/>
              <a:gd name="connsiteX2310" fmla="*/ 3777122 w 6436611"/>
              <a:gd name="connsiteY2310" fmla="*/ 4118901 h 4419155"/>
              <a:gd name="connsiteX2311" fmla="*/ 3711203 w 6436611"/>
              <a:gd name="connsiteY2311" fmla="*/ 4209138 h 4419155"/>
              <a:gd name="connsiteX2312" fmla="*/ 3705022 w 6436611"/>
              <a:gd name="connsiteY2312" fmla="*/ 4220417 h 4419155"/>
              <a:gd name="connsiteX2313" fmla="*/ 3711203 w 6436611"/>
              <a:gd name="connsiteY2313" fmla="*/ 4215904 h 4419155"/>
              <a:gd name="connsiteX2314" fmla="*/ 3766824 w 6436611"/>
              <a:gd name="connsiteY2314" fmla="*/ 4148230 h 4419155"/>
              <a:gd name="connsiteX2315" fmla="*/ 3770944 w 6436611"/>
              <a:gd name="connsiteY2315" fmla="*/ 4143718 h 4419155"/>
              <a:gd name="connsiteX2316" fmla="*/ 3799784 w 6436611"/>
              <a:gd name="connsiteY2316" fmla="*/ 4105365 h 4419155"/>
              <a:gd name="connsiteX2317" fmla="*/ 3820385 w 6436611"/>
              <a:gd name="connsiteY2317" fmla="*/ 4078295 h 4419155"/>
              <a:gd name="connsiteX2318" fmla="*/ 3824505 w 6436611"/>
              <a:gd name="connsiteY2318" fmla="*/ 4073783 h 4419155"/>
              <a:gd name="connsiteX2319" fmla="*/ 3851285 w 6436611"/>
              <a:gd name="connsiteY2319" fmla="*/ 4073783 h 4419155"/>
              <a:gd name="connsiteX2320" fmla="*/ 3908965 w 6436611"/>
              <a:gd name="connsiteY2320" fmla="*/ 4057993 h 4419155"/>
              <a:gd name="connsiteX2321" fmla="*/ 3966647 w 6436611"/>
              <a:gd name="connsiteY2321" fmla="*/ 4037691 h 4419155"/>
              <a:gd name="connsiteX2322" fmla="*/ 3976946 w 6436611"/>
              <a:gd name="connsiteY2322" fmla="*/ 4035434 h 4419155"/>
              <a:gd name="connsiteX2323" fmla="*/ 4057286 w 6436611"/>
              <a:gd name="connsiteY2323" fmla="*/ 3992572 h 4419155"/>
              <a:gd name="connsiteX2324" fmla="*/ 4094367 w 6436611"/>
              <a:gd name="connsiteY2324" fmla="*/ 3967758 h 4419155"/>
              <a:gd name="connsiteX2325" fmla="*/ 4158227 w 6436611"/>
              <a:gd name="connsiteY2325" fmla="*/ 3920382 h 4419155"/>
              <a:gd name="connsiteX2326" fmla="*/ 4222088 w 6436611"/>
              <a:gd name="connsiteY2326" fmla="*/ 3866243 h 4419155"/>
              <a:gd name="connsiteX2327" fmla="*/ 4263288 w 6436611"/>
              <a:gd name="connsiteY2327" fmla="*/ 3830145 h 4419155"/>
              <a:gd name="connsiteX2328" fmla="*/ 4316850 w 6436611"/>
              <a:gd name="connsiteY2328" fmla="*/ 3789541 h 4419155"/>
              <a:gd name="connsiteX2329" fmla="*/ 4366291 w 6436611"/>
              <a:gd name="connsiteY2329" fmla="*/ 3760212 h 4419155"/>
              <a:gd name="connsiteX2330" fmla="*/ 4448691 w 6436611"/>
              <a:gd name="connsiteY2330" fmla="*/ 3708328 h 4419155"/>
              <a:gd name="connsiteX2331" fmla="*/ 4450751 w 6436611"/>
              <a:gd name="connsiteY2331" fmla="*/ 3706070 h 4419155"/>
              <a:gd name="connsiteX2332" fmla="*/ 4454871 w 6436611"/>
              <a:gd name="connsiteY2332" fmla="*/ 3703816 h 4419155"/>
              <a:gd name="connsiteX2333" fmla="*/ 4469290 w 6436611"/>
              <a:gd name="connsiteY2333" fmla="*/ 3703816 h 4419155"/>
              <a:gd name="connsiteX2334" fmla="*/ 4477531 w 6436611"/>
              <a:gd name="connsiteY2334" fmla="*/ 3701558 h 4419155"/>
              <a:gd name="connsiteX2335" fmla="*/ 4510491 w 6436611"/>
              <a:gd name="connsiteY2335" fmla="*/ 3685768 h 4419155"/>
              <a:gd name="connsiteX2336" fmla="*/ 4629971 w 6436611"/>
              <a:gd name="connsiteY2336" fmla="*/ 3507554 h 4419155"/>
              <a:gd name="connsiteX2337" fmla="*/ 4658812 w 6436611"/>
              <a:gd name="connsiteY2337" fmla="*/ 3487249 h 4419155"/>
              <a:gd name="connsiteX2338" fmla="*/ 4667053 w 6436611"/>
              <a:gd name="connsiteY2338" fmla="*/ 3480483 h 4419155"/>
              <a:gd name="connsiteX2339" fmla="*/ 4724734 w 6436611"/>
              <a:gd name="connsiteY2339" fmla="*/ 3444388 h 4419155"/>
              <a:gd name="connsiteX2340" fmla="*/ 4778295 w 6436611"/>
              <a:gd name="connsiteY2340" fmla="*/ 3412805 h 4419155"/>
              <a:gd name="connsiteX2341" fmla="*/ 4811253 w 6436611"/>
              <a:gd name="connsiteY2341" fmla="*/ 3385734 h 4419155"/>
              <a:gd name="connsiteX2342" fmla="*/ 4835974 w 6436611"/>
              <a:gd name="connsiteY2342" fmla="*/ 3376710 h 4419155"/>
              <a:gd name="connsiteX2343" fmla="*/ 4850395 w 6436611"/>
              <a:gd name="connsiteY2343" fmla="*/ 3372198 h 4419155"/>
              <a:gd name="connsiteX2344" fmla="*/ 4844213 w 6436611"/>
              <a:gd name="connsiteY2344" fmla="*/ 3367687 h 4419155"/>
              <a:gd name="connsiteX2345" fmla="*/ 4854515 w 6436611"/>
              <a:gd name="connsiteY2345" fmla="*/ 3358663 h 4419155"/>
              <a:gd name="connsiteX2346" fmla="*/ 4918375 w 6436611"/>
              <a:gd name="connsiteY2346" fmla="*/ 3324825 h 4419155"/>
              <a:gd name="connsiteX2347" fmla="*/ 4951333 w 6436611"/>
              <a:gd name="connsiteY2347" fmla="*/ 3306778 h 4419155"/>
              <a:gd name="connsiteX2348" fmla="*/ 5062576 w 6436611"/>
              <a:gd name="connsiteY2348" fmla="*/ 3254894 h 4419155"/>
              <a:gd name="connsiteX2349" fmla="*/ 5083177 w 6436611"/>
              <a:gd name="connsiteY2349" fmla="*/ 3243612 h 4419155"/>
              <a:gd name="connsiteX2350" fmla="*/ 5107897 w 6436611"/>
              <a:gd name="connsiteY2350" fmla="*/ 3227822 h 4419155"/>
              <a:gd name="connsiteX2351" fmla="*/ 5118196 w 6436611"/>
              <a:gd name="connsiteY2351" fmla="*/ 3221054 h 4419155"/>
              <a:gd name="connsiteX2352" fmla="*/ 5142916 w 6436611"/>
              <a:gd name="connsiteY2352" fmla="*/ 3205263 h 4419155"/>
              <a:gd name="connsiteX2353" fmla="*/ 5266520 w 6436611"/>
              <a:gd name="connsiteY2353" fmla="*/ 3153378 h 4419155"/>
              <a:gd name="connsiteX2354" fmla="*/ 5353039 w 6436611"/>
              <a:gd name="connsiteY2354" fmla="*/ 3117283 h 4419155"/>
              <a:gd name="connsiteX2355" fmla="*/ 5398360 w 6436611"/>
              <a:gd name="connsiteY2355" fmla="*/ 3099236 h 4419155"/>
              <a:gd name="connsiteX2356" fmla="*/ 5396298 w 6436611"/>
              <a:gd name="connsiteY2356" fmla="*/ 3101490 h 4419155"/>
              <a:gd name="connsiteX2357" fmla="*/ 5416898 w 6436611"/>
              <a:gd name="connsiteY2357" fmla="*/ 3094724 h 4419155"/>
              <a:gd name="connsiteX2358" fmla="*/ 5416898 w 6436611"/>
              <a:gd name="connsiteY2358" fmla="*/ 3092469 h 4419155"/>
              <a:gd name="connsiteX2359" fmla="*/ 5433380 w 6436611"/>
              <a:gd name="connsiteY2359" fmla="*/ 3085700 h 4419155"/>
              <a:gd name="connsiteX2360" fmla="*/ 5441619 w 6436611"/>
              <a:gd name="connsiteY2360" fmla="*/ 3087954 h 4419155"/>
              <a:gd name="connsiteX2361" fmla="*/ 5464282 w 6436611"/>
              <a:gd name="connsiteY2361" fmla="*/ 3074418 h 4419155"/>
              <a:gd name="connsiteX2362" fmla="*/ 5445739 w 6436611"/>
              <a:gd name="connsiteY2362" fmla="*/ 3078934 h 4419155"/>
              <a:gd name="connsiteX2363" fmla="*/ 5466341 w 6436611"/>
              <a:gd name="connsiteY2363" fmla="*/ 3065398 h 4419155"/>
              <a:gd name="connsiteX2364" fmla="*/ 5484880 w 6436611"/>
              <a:gd name="connsiteY2364" fmla="*/ 3054116 h 4419155"/>
              <a:gd name="connsiteX2365" fmla="*/ 5519901 w 6436611"/>
              <a:gd name="connsiteY2365" fmla="*/ 3045093 h 4419155"/>
              <a:gd name="connsiteX2366" fmla="*/ 5530200 w 6436611"/>
              <a:gd name="connsiteY2366" fmla="*/ 3049605 h 4419155"/>
              <a:gd name="connsiteX2367" fmla="*/ 5604362 w 6436611"/>
              <a:gd name="connsiteY2367" fmla="*/ 3024791 h 4419155"/>
              <a:gd name="connsiteX2368" fmla="*/ 5633203 w 6436611"/>
              <a:gd name="connsiteY2368" fmla="*/ 2999974 h 4419155"/>
              <a:gd name="connsiteX2369" fmla="*/ 5637323 w 6436611"/>
              <a:gd name="connsiteY2369" fmla="*/ 2997720 h 4419155"/>
              <a:gd name="connsiteX2370" fmla="*/ 5647621 w 6436611"/>
              <a:gd name="connsiteY2370" fmla="*/ 3002232 h 4419155"/>
              <a:gd name="connsiteX2371" fmla="*/ 5649683 w 6436611"/>
              <a:gd name="connsiteY2371" fmla="*/ 2988696 h 4419155"/>
              <a:gd name="connsiteX2372" fmla="*/ 5633203 w 6436611"/>
              <a:gd name="connsiteY2372" fmla="*/ 2988696 h 4419155"/>
              <a:gd name="connsiteX2373" fmla="*/ 5645560 w 6436611"/>
              <a:gd name="connsiteY2373" fmla="*/ 2975160 h 4419155"/>
              <a:gd name="connsiteX2374" fmla="*/ 5610541 w 6436611"/>
              <a:gd name="connsiteY2374" fmla="*/ 2984185 h 4419155"/>
              <a:gd name="connsiteX2375" fmla="*/ 5550801 w 6436611"/>
              <a:gd name="connsiteY2375" fmla="*/ 3006744 h 4419155"/>
              <a:gd name="connsiteX2376" fmla="*/ 5517840 w 6436611"/>
              <a:gd name="connsiteY2376" fmla="*/ 3022534 h 4419155"/>
              <a:gd name="connsiteX2377" fmla="*/ 5497239 w 6436611"/>
              <a:gd name="connsiteY2377" fmla="*/ 3024791 h 4419155"/>
              <a:gd name="connsiteX2378" fmla="*/ 5425139 w 6436611"/>
              <a:gd name="connsiteY2378" fmla="*/ 3049605 h 4419155"/>
              <a:gd name="connsiteX2379" fmla="*/ 5416898 w 6436611"/>
              <a:gd name="connsiteY2379" fmla="*/ 3051863 h 4419155"/>
              <a:gd name="connsiteX2380" fmla="*/ 5388059 w 6436611"/>
              <a:gd name="connsiteY2380" fmla="*/ 3063140 h 4419155"/>
              <a:gd name="connsiteX2381" fmla="*/ 5340679 w 6436611"/>
              <a:gd name="connsiteY2381" fmla="*/ 3076676 h 4419155"/>
              <a:gd name="connsiteX2382" fmla="*/ 5363338 w 6436611"/>
              <a:gd name="connsiteY2382" fmla="*/ 3056374 h 4419155"/>
              <a:gd name="connsiteX2383" fmla="*/ 5377759 w 6436611"/>
              <a:gd name="connsiteY2383" fmla="*/ 3045093 h 4419155"/>
              <a:gd name="connsiteX2384" fmla="*/ 5427200 w 6436611"/>
              <a:gd name="connsiteY2384" fmla="*/ 3018022 h 4419155"/>
              <a:gd name="connsiteX2385" fmla="*/ 5433380 w 6436611"/>
              <a:gd name="connsiteY2385" fmla="*/ 3015767 h 4419155"/>
              <a:gd name="connsiteX2386" fmla="*/ 5511661 w 6436611"/>
              <a:gd name="connsiteY2386" fmla="*/ 2977418 h 4419155"/>
              <a:gd name="connsiteX2387" fmla="*/ 5517840 w 6436611"/>
              <a:gd name="connsiteY2387" fmla="*/ 2968394 h 4419155"/>
              <a:gd name="connsiteX2388" fmla="*/ 5536382 w 6436611"/>
              <a:gd name="connsiteY2388" fmla="*/ 2957113 h 4419155"/>
              <a:gd name="connsiteX2389" fmla="*/ 5559041 w 6436611"/>
              <a:gd name="connsiteY2389" fmla="*/ 2952602 h 4419155"/>
              <a:gd name="connsiteX2390" fmla="*/ 5563161 w 6436611"/>
              <a:gd name="connsiteY2390" fmla="*/ 2950347 h 4419155"/>
              <a:gd name="connsiteX2391" fmla="*/ 5579641 w 6436611"/>
              <a:gd name="connsiteY2391" fmla="*/ 2945836 h 4419155"/>
              <a:gd name="connsiteX2392" fmla="*/ 5587882 w 6436611"/>
              <a:gd name="connsiteY2392" fmla="*/ 2939066 h 4419155"/>
              <a:gd name="connsiteX2393" fmla="*/ 5583762 w 6436611"/>
              <a:gd name="connsiteY2393" fmla="*/ 2934554 h 4419155"/>
              <a:gd name="connsiteX2394" fmla="*/ 5581700 w 6436611"/>
              <a:gd name="connsiteY2394" fmla="*/ 2934554 h 4419155"/>
              <a:gd name="connsiteX2395" fmla="*/ 5583762 w 6436611"/>
              <a:gd name="connsiteY2395" fmla="*/ 2933426 h 4419155"/>
              <a:gd name="connsiteX2396" fmla="*/ 5583762 w 6436611"/>
              <a:gd name="connsiteY2396" fmla="*/ 2927788 h 4419155"/>
              <a:gd name="connsiteX2397" fmla="*/ 5585823 w 6436611"/>
              <a:gd name="connsiteY2397" fmla="*/ 2927788 h 4419155"/>
              <a:gd name="connsiteX2398" fmla="*/ 5587588 w 6436611"/>
              <a:gd name="connsiteY2398" fmla="*/ 2931656 h 4419155"/>
              <a:gd name="connsiteX2399" fmla="*/ 5595092 w 6436611"/>
              <a:gd name="connsiteY2399" fmla="*/ 2928916 h 4419155"/>
              <a:gd name="connsiteX2400" fmla="*/ 5596121 w 6436611"/>
              <a:gd name="connsiteY2400" fmla="*/ 2927788 h 4419155"/>
              <a:gd name="connsiteX2401" fmla="*/ 5598180 w 6436611"/>
              <a:gd name="connsiteY2401" fmla="*/ 2927788 h 4419155"/>
              <a:gd name="connsiteX2402" fmla="*/ 5595092 w 6436611"/>
              <a:gd name="connsiteY2402" fmla="*/ 2928916 h 4419155"/>
              <a:gd name="connsiteX2403" fmla="*/ 5592001 w 6436611"/>
              <a:gd name="connsiteY2403" fmla="*/ 2932300 h 4419155"/>
              <a:gd name="connsiteX2404" fmla="*/ 5602301 w 6436611"/>
              <a:gd name="connsiteY2404" fmla="*/ 2934554 h 4419155"/>
              <a:gd name="connsiteX2405" fmla="*/ 5637323 w 6436611"/>
              <a:gd name="connsiteY2405" fmla="*/ 2916507 h 4419155"/>
              <a:gd name="connsiteX2406" fmla="*/ 5643501 w 6436611"/>
              <a:gd name="connsiteY2406" fmla="*/ 2914252 h 4419155"/>
              <a:gd name="connsiteX2407" fmla="*/ 5647621 w 6436611"/>
              <a:gd name="connsiteY2407" fmla="*/ 2916507 h 4419155"/>
              <a:gd name="connsiteX2408" fmla="*/ 5670281 w 6436611"/>
              <a:gd name="connsiteY2408" fmla="*/ 2914252 h 4419155"/>
              <a:gd name="connsiteX2409" fmla="*/ 5717663 w 6436611"/>
              <a:gd name="connsiteY2409" fmla="*/ 2900716 h 4419155"/>
              <a:gd name="connsiteX2410" fmla="*/ 5740323 w 6436611"/>
              <a:gd name="connsiteY2410" fmla="*/ 2893947 h 4419155"/>
              <a:gd name="connsiteX2411" fmla="*/ 5765043 w 6436611"/>
              <a:gd name="connsiteY2411" fmla="*/ 2884924 h 4419155"/>
              <a:gd name="connsiteX2412" fmla="*/ 5791825 w 6436611"/>
              <a:gd name="connsiteY2412" fmla="*/ 2878158 h 4419155"/>
              <a:gd name="connsiteX2413" fmla="*/ 5818604 w 6436611"/>
              <a:gd name="connsiteY2413" fmla="*/ 2871388 h 4419155"/>
              <a:gd name="connsiteX2414" fmla="*/ 5841263 w 6436611"/>
              <a:gd name="connsiteY2414" fmla="*/ 2864622 h 4419155"/>
              <a:gd name="connsiteX2415" fmla="*/ 5874224 w 6436611"/>
              <a:gd name="connsiteY2415" fmla="*/ 2851086 h 4419155"/>
              <a:gd name="connsiteX2416" fmla="*/ 5968983 w 6436611"/>
              <a:gd name="connsiteY2416" fmla="*/ 2846574 h 4419155"/>
              <a:gd name="connsiteX2417" fmla="*/ 6001945 w 6436611"/>
              <a:gd name="connsiteY2417" fmla="*/ 2839808 h 4419155"/>
              <a:gd name="connsiteX2418" fmla="*/ 6026665 w 6436611"/>
              <a:gd name="connsiteY2418" fmla="*/ 2837550 h 4419155"/>
              <a:gd name="connsiteX2419" fmla="*/ 6049327 w 6436611"/>
              <a:gd name="connsiteY2419" fmla="*/ 2842062 h 4419155"/>
              <a:gd name="connsiteX2420" fmla="*/ 6100827 w 6436611"/>
              <a:gd name="connsiteY2420" fmla="*/ 2839808 h 4419155"/>
              <a:gd name="connsiteX2421" fmla="*/ 6107006 w 6436611"/>
              <a:gd name="connsiteY2421" fmla="*/ 2835296 h 4419155"/>
              <a:gd name="connsiteX2422" fmla="*/ 6088467 w 6436611"/>
              <a:gd name="connsiteY2422" fmla="*/ 2830784 h 4419155"/>
              <a:gd name="connsiteX2423" fmla="*/ 6069927 w 6436611"/>
              <a:gd name="connsiteY2423" fmla="*/ 2828527 h 4419155"/>
              <a:gd name="connsiteX2424" fmla="*/ 6117307 w 6436611"/>
              <a:gd name="connsiteY2424" fmla="*/ 2828527 h 4419155"/>
              <a:gd name="connsiteX2425" fmla="*/ 6135847 w 6436611"/>
              <a:gd name="connsiteY2425" fmla="*/ 2814991 h 4419155"/>
              <a:gd name="connsiteX2426" fmla="*/ 6133788 w 6436611"/>
              <a:gd name="connsiteY2426" fmla="*/ 2808225 h 4419155"/>
              <a:gd name="connsiteX2427" fmla="*/ 6127606 w 6436611"/>
              <a:gd name="connsiteY2427" fmla="*/ 2803714 h 4419155"/>
              <a:gd name="connsiteX2428" fmla="*/ 6082285 w 6436611"/>
              <a:gd name="connsiteY2428" fmla="*/ 2796944 h 4419155"/>
              <a:gd name="connsiteX2429" fmla="*/ 6063746 w 6436611"/>
              <a:gd name="connsiteY2429" fmla="*/ 2794689 h 4419155"/>
              <a:gd name="connsiteX2430" fmla="*/ 6067866 w 6436611"/>
              <a:gd name="connsiteY2430" fmla="*/ 2792432 h 4419155"/>
              <a:gd name="connsiteX2431" fmla="*/ 6084347 w 6436611"/>
              <a:gd name="connsiteY2431" fmla="*/ 2778898 h 4419155"/>
              <a:gd name="connsiteX2432" fmla="*/ 6071986 w 6436611"/>
              <a:gd name="connsiteY2432" fmla="*/ 2781153 h 4419155"/>
              <a:gd name="connsiteX2433" fmla="*/ 5993704 w 6436611"/>
              <a:gd name="connsiteY2433" fmla="*/ 2796944 h 4419155"/>
              <a:gd name="connsiteX2434" fmla="*/ 5971045 w 6436611"/>
              <a:gd name="connsiteY2434" fmla="*/ 2803714 h 4419155"/>
              <a:gd name="connsiteX2435" fmla="*/ 5950445 w 6436611"/>
              <a:gd name="connsiteY2435" fmla="*/ 2801455 h 4419155"/>
              <a:gd name="connsiteX2436" fmla="*/ 5940143 w 6436611"/>
              <a:gd name="connsiteY2436" fmla="*/ 2803714 h 4419155"/>
              <a:gd name="connsiteX2437" fmla="*/ 5901003 w 6436611"/>
              <a:gd name="connsiteY2437" fmla="*/ 2805968 h 4419155"/>
              <a:gd name="connsiteX2438" fmla="*/ 5898945 w 6436611"/>
              <a:gd name="connsiteY2438" fmla="*/ 2805968 h 4419155"/>
              <a:gd name="connsiteX2439" fmla="*/ 5886585 w 6436611"/>
              <a:gd name="connsiteY2439" fmla="*/ 2796944 h 4419155"/>
              <a:gd name="connsiteX2440" fmla="*/ 5874224 w 6436611"/>
              <a:gd name="connsiteY2440" fmla="*/ 2799200 h 4419155"/>
              <a:gd name="connsiteX2441" fmla="*/ 5878344 w 6436611"/>
              <a:gd name="connsiteY2441" fmla="*/ 2796944 h 4419155"/>
              <a:gd name="connsiteX2442" fmla="*/ 5925724 w 6436611"/>
              <a:gd name="connsiteY2442" fmla="*/ 2783408 h 4419155"/>
              <a:gd name="connsiteX2443" fmla="*/ 5942204 w 6436611"/>
              <a:gd name="connsiteY2443" fmla="*/ 2778898 h 4419155"/>
              <a:gd name="connsiteX2444" fmla="*/ 5944263 w 6436611"/>
              <a:gd name="connsiteY2444" fmla="*/ 2778898 h 4419155"/>
              <a:gd name="connsiteX2445" fmla="*/ 5962805 w 6436611"/>
              <a:gd name="connsiteY2445" fmla="*/ 2778898 h 4419155"/>
              <a:gd name="connsiteX2446" fmla="*/ 5983406 w 6436611"/>
              <a:gd name="connsiteY2446" fmla="*/ 2772130 h 4419155"/>
              <a:gd name="connsiteX2447" fmla="*/ 5989584 w 6436611"/>
              <a:gd name="connsiteY2447" fmla="*/ 2769873 h 4419155"/>
              <a:gd name="connsiteX2448" fmla="*/ 6001945 w 6436611"/>
              <a:gd name="connsiteY2448" fmla="*/ 2769873 h 4419155"/>
              <a:gd name="connsiteX2449" fmla="*/ 6041087 w 6436611"/>
              <a:gd name="connsiteY2449" fmla="*/ 2774387 h 4419155"/>
              <a:gd name="connsiteX2450" fmla="*/ 6063746 w 6436611"/>
              <a:gd name="connsiteY2450" fmla="*/ 2781153 h 4419155"/>
              <a:gd name="connsiteX2451" fmla="*/ 6074045 w 6436611"/>
              <a:gd name="connsiteY2451" fmla="*/ 2776642 h 4419155"/>
              <a:gd name="connsiteX2452" fmla="*/ 6084347 w 6436611"/>
              <a:gd name="connsiteY2452" fmla="*/ 2765364 h 4419155"/>
              <a:gd name="connsiteX2453" fmla="*/ 6069927 w 6436611"/>
              <a:gd name="connsiteY2453" fmla="*/ 2758594 h 4419155"/>
              <a:gd name="connsiteX2454" fmla="*/ 6057565 w 6436611"/>
              <a:gd name="connsiteY2454" fmla="*/ 2749571 h 4419155"/>
              <a:gd name="connsiteX2455" fmla="*/ 6063746 w 6436611"/>
              <a:gd name="connsiteY2455" fmla="*/ 2736036 h 4419155"/>
              <a:gd name="connsiteX2456" fmla="*/ 6078165 w 6436611"/>
              <a:gd name="connsiteY2456" fmla="*/ 2733780 h 4419155"/>
              <a:gd name="connsiteX2457" fmla="*/ 6084347 w 6436611"/>
              <a:gd name="connsiteY2457" fmla="*/ 2729269 h 4419155"/>
              <a:gd name="connsiteX2458" fmla="*/ 6057565 w 6436611"/>
              <a:gd name="connsiteY2458" fmla="*/ 2727011 h 4419155"/>
              <a:gd name="connsiteX2459" fmla="*/ 6092586 w 6436611"/>
              <a:gd name="connsiteY2459" fmla="*/ 2715734 h 4419155"/>
              <a:gd name="connsiteX2460" fmla="*/ 6117307 w 6436611"/>
              <a:gd name="connsiteY2460" fmla="*/ 2699940 h 4419155"/>
              <a:gd name="connsiteX2461" fmla="*/ 6119366 w 6436611"/>
              <a:gd name="connsiteY2461" fmla="*/ 2699940 h 4419155"/>
              <a:gd name="connsiteX2462" fmla="*/ 6131726 w 6436611"/>
              <a:gd name="connsiteY2462" fmla="*/ 2695429 h 4419155"/>
              <a:gd name="connsiteX2463" fmla="*/ 6139967 w 6436611"/>
              <a:gd name="connsiteY2463" fmla="*/ 2693174 h 4419155"/>
              <a:gd name="connsiteX2464" fmla="*/ 6150265 w 6436611"/>
              <a:gd name="connsiteY2464" fmla="*/ 2690916 h 4419155"/>
              <a:gd name="connsiteX2465" fmla="*/ 6154386 w 6436611"/>
              <a:gd name="connsiteY2465" fmla="*/ 2686404 h 4419155"/>
              <a:gd name="connsiteX2466" fmla="*/ 6098765 w 6436611"/>
              <a:gd name="connsiteY2466" fmla="*/ 2702198 h 4419155"/>
              <a:gd name="connsiteX2467" fmla="*/ 6100827 w 6436611"/>
              <a:gd name="connsiteY2467" fmla="*/ 2704452 h 4419155"/>
              <a:gd name="connsiteX2468" fmla="*/ 6065804 w 6436611"/>
              <a:gd name="connsiteY2468" fmla="*/ 2711222 h 4419155"/>
              <a:gd name="connsiteX2469" fmla="*/ 6078165 w 6436611"/>
              <a:gd name="connsiteY2469" fmla="*/ 2702198 h 4419155"/>
              <a:gd name="connsiteX2470" fmla="*/ 6076106 w 6436611"/>
              <a:gd name="connsiteY2470" fmla="*/ 2695429 h 4419155"/>
              <a:gd name="connsiteX2471" fmla="*/ 6076106 w 6436611"/>
              <a:gd name="connsiteY2471" fmla="*/ 2690916 h 4419155"/>
              <a:gd name="connsiteX2472" fmla="*/ 6063746 w 6436611"/>
              <a:gd name="connsiteY2472" fmla="*/ 2690916 h 4419155"/>
              <a:gd name="connsiteX2473" fmla="*/ 6024606 w 6436611"/>
              <a:gd name="connsiteY2473" fmla="*/ 2684150 h 4419155"/>
              <a:gd name="connsiteX2474" fmla="*/ 6022545 w 6436611"/>
              <a:gd name="connsiteY2474" fmla="*/ 2684150 h 4419155"/>
              <a:gd name="connsiteX2475" fmla="*/ 6071986 w 6436611"/>
              <a:gd name="connsiteY2475" fmla="*/ 2672869 h 4419155"/>
              <a:gd name="connsiteX2476" fmla="*/ 6069927 w 6436611"/>
              <a:gd name="connsiteY2476" fmla="*/ 2677384 h 4419155"/>
              <a:gd name="connsiteX2477" fmla="*/ 6098765 w 6436611"/>
              <a:gd name="connsiteY2477" fmla="*/ 2672869 h 4419155"/>
              <a:gd name="connsiteX2478" fmla="*/ 6152327 w 6436611"/>
              <a:gd name="connsiteY2478" fmla="*/ 2661591 h 4419155"/>
              <a:gd name="connsiteX2479" fmla="*/ 6199706 w 6436611"/>
              <a:gd name="connsiteY2479" fmla="*/ 2650312 h 4419155"/>
              <a:gd name="connsiteX2480" fmla="*/ 6205888 w 6436611"/>
              <a:gd name="connsiteY2480" fmla="*/ 2645800 h 4419155"/>
              <a:gd name="connsiteX2481" fmla="*/ 6181167 w 6436611"/>
              <a:gd name="connsiteY2481" fmla="*/ 2648056 h 4419155"/>
              <a:gd name="connsiteX2482" fmla="*/ 6131726 w 6436611"/>
              <a:gd name="connsiteY2482" fmla="*/ 2657080 h 4419155"/>
              <a:gd name="connsiteX2483" fmla="*/ 6100827 w 6436611"/>
              <a:gd name="connsiteY2483" fmla="*/ 2659333 h 4419155"/>
              <a:gd name="connsiteX2484" fmla="*/ 6080226 w 6436611"/>
              <a:gd name="connsiteY2484" fmla="*/ 2666102 h 4419155"/>
              <a:gd name="connsiteX2485" fmla="*/ 6014304 w 6436611"/>
              <a:gd name="connsiteY2485" fmla="*/ 2672869 h 4419155"/>
              <a:gd name="connsiteX2486" fmla="*/ 6039026 w 6436611"/>
              <a:gd name="connsiteY2486" fmla="*/ 2663848 h 4419155"/>
              <a:gd name="connsiteX2487" fmla="*/ 6049327 w 6436611"/>
              <a:gd name="connsiteY2487" fmla="*/ 2659333 h 4419155"/>
              <a:gd name="connsiteX2488" fmla="*/ 6094645 w 6436611"/>
              <a:gd name="connsiteY2488" fmla="*/ 2657080 h 4419155"/>
              <a:gd name="connsiteX2489" fmla="*/ 6154386 w 6436611"/>
              <a:gd name="connsiteY2489" fmla="*/ 2645800 h 4419155"/>
              <a:gd name="connsiteX2490" fmla="*/ 6216186 w 6436611"/>
              <a:gd name="connsiteY2490" fmla="*/ 2639032 h 4419155"/>
              <a:gd name="connsiteX2491" fmla="*/ 6292407 w 6436611"/>
              <a:gd name="connsiteY2491" fmla="*/ 2625496 h 4419155"/>
              <a:gd name="connsiteX2492" fmla="*/ 6298588 w 6436611"/>
              <a:gd name="connsiteY2492" fmla="*/ 2616472 h 4419155"/>
              <a:gd name="connsiteX2493" fmla="*/ 6251209 w 6436611"/>
              <a:gd name="connsiteY2493" fmla="*/ 2620984 h 4419155"/>
              <a:gd name="connsiteX2494" fmla="*/ 6189408 w 6436611"/>
              <a:gd name="connsiteY2494" fmla="*/ 2630008 h 4419155"/>
              <a:gd name="connsiteX2495" fmla="*/ 6199706 w 6436611"/>
              <a:gd name="connsiteY2495" fmla="*/ 2627754 h 4419155"/>
              <a:gd name="connsiteX2496" fmla="*/ 6189408 w 6436611"/>
              <a:gd name="connsiteY2496" fmla="*/ 2623242 h 4419155"/>
              <a:gd name="connsiteX2497" fmla="*/ 6162628 w 6436611"/>
              <a:gd name="connsiteY2497" fmla="*/ 2625496 h 4419155"/>
              <a:gd name="connsiteX2498" fmla="*/ 6049327 w 6436611"/>
              <a:gd name="connsiteY2498" fmla="*/ 2645800 h 4419155"/>
              <a:gd name="connsiteX2499" fmla="*/ 6034906 w 6436611"/>
              <a:gd name="connsiteY2499" fmla="*/ 2648056 h 4419155"/>
              <a:gd name="connsiteX2500" fmla="*/ 6022545 w 6436611"/>
              <a:gd name="connsiteY2500" fmla="*/ 2643544 h 4419155"/>
              <a:gd name="connsiteX2501" fmla="*/ 6018425 w 6436611"/>
              <a:gd name="connsiteY2501" fmla="*/ 2641289 h 4419155"/>
              <a:gd name="connsiteX2502" fmla="*/ 6028726 w 6436611"/>
              <a:gd name="connsiteY2502" fmla="*/ 2639032 h 4419155"/>
              <a:gd name="connsiteX2503" fmla="*/ 6049327 w 6436611"/>
              <a:gd name="connsiteY2503" fmla="*/ 2627754 h 4419155"/>
              <a:gd name="connsiteX2504" fmla="*/ 6012244 w 6436611"/>
              <a:gd name="connsiteY2504" fmla="*/ 2634520 h 4419155"/>
              <a:gd name="connsiteX2505" fmla="*/ 6010185 w 6436611"/>
              <a:gd name="connsiteY2505" fmla="*/ 2632265 h 4419155"/>
              <a:gd name="connsiteX2506" fmla="*/ 6014304 w 6436611"/>
              <a:gd name="connsiteY2506" fmla="*/ 2625496 h 4419155"/>
              <a:gd name="connsiteX2507" fmla="*/ 6041087 w 6436611"/>
              <a:gd name="connsiteY2507" fmla="*/ 2623242 h 4419155"/>
              <a:gd name="connsiteX2508" fmla="*/ 6059626 w 6436611"/>
              <a:gd name="connsiteY2508" fmla="*/ 2618730 h 4419155"/>
              <a:gd name="connsiteX2509" fmla="*/ 6121427 w 6436611"/>
              <a:gd name="connsiteY2509" fmla="*/ 2607449 h 4419155"/>
              <a:gd name="connsiteX2510" fmla="*/ 6150265 w 6436611"/>
              <a:gd name="connsiteY2510" fmla="*/ 2600682 h 4419155"/>
              <a:gd name="connsiteX2511" fmla="*/ 6139967 w 6436611"/>
              <a:gd name="connsiteY2511" fmla="*/ 2600682 h 4419155"/>
              <a:gd name="connsiteX2512" fmla="*/ 6144086 w 6436611"/>
              <a:gd name="connsiteY2512" fmla="*/ 2598424 h 4419155"/>
              <a:gd name="connsiteX2513" fmla="*/ 6113187 w 6436611"/>
              <a:gd name="connsiteY2513" fmla="*/ 2589402 h 4419155"/>
              <a:gd name="connsiteX2514" fmla="*/ 6137908 w 6436611"/>
              <a:gd name="connsiteY2514" fmla="*/ 2589402 h 4419155"/>
              <a:gd name="connsiteX2515" fmla="*/ 6160567 w 6436611"/>
              <a:gd name="connsiteY2515" fmla="*/ 2582634 h 4419155"/>
              <a:gd name="connsiteX2516" fmla="*/ 6183226 w 6436611"/>
              <a:gd name="connsiteY2516" fmla="*/ 2578122 h 4419155"/>
              <a:gd name="connsiteX2517" fmla="*/ 6205888 w 6436611"/>
              <a:gd name="connsiteY2517" fmla="*/ 2571354 h 4419155"/>
              <a:gd name="connsiteX2518" fmla="*/ 6228547 w 6436611"/>
              <a:gd name="connsiteY2518" fmla="*/ 2566842 h 4419155"/>
              <a:gd name="connsiteX2519" fmla="*/ 6249147 w 6436611"/>
              <a:gd name="connsiteY2519" fmla="*/ 2557818 h 4419155"/>
              <a:gd name="connsiteX2520" fmla="*/ 6212067 w 6436611"/>
              <a:gd name="connsiteY2520" fmla="*/ 2557818 h 4419155"/>
              <a:gd name="connsiteX2521" fmla="*/ 6207947 w 6436611"/>
              <a:gd name="connsiteY2521" fmla="*/ 2542028 h 4419155"/>
              <a:gd name="connsiteX2522" fmla="*/ 6199706 w 6436611"/>
              <a:gd name="connsiteY2522" fmla="*/ 2539773 h 4419155"/>
              <a:gd name="connsiteX2523" fmla="*/ 6137908 w 6436611"/>
              <a:gd name="connsiteY2523" fmla="*/ 2546540 h 4419155"/>
              <a:gd name="connsiteX2524" fmla="*/ 6090525 w 6436611"/>
              <a:gd name="connsiteY2524" fmla="*/ 2557818 h 4419155"/>
              <a:gd name="connsiteX2525" fmla="*/ 6039026 w 6436611"/>
              <a:gd name="connsiteY2525" fmla="*/ 2564587 h 4419155"/>
              <a:gd name="connsiteX2526" fmla="*/ 6057565 w 6436611"/>
              <a:gd name="connsiteY2526" fmla="*/ 2566842 h 4419155"/>
              <a:gd name="connsiteX2527" fmla="*/ 6061685 w 6436611"/>
              <a:gd name="connsiteY2527" fmla="*/ 2566842 h 4419155"/>
              <a:gd name="connsiteX2528" fmla="*/ 6045206 w 6436611"/>
              <a:gd name="connsiteY2528" fmla="*/ 2571354 h 4419155"/>
              <a:gd name="connsiteX2529" fmla="*/ 6039026 w 6436611"/>
              <a:gd name="connsiteY2529" fmla="*/ 2584889 h 4419155"/>
              <a:gd name="connsiteX2530" fmla="*/ 6024606 w 6436611"/>
              <a:gd name="connsiteY2530" fmla="*/ 2578122 h 4419155"/>
              <a:gd name="connsiteX2531" fmla="*/ 6014304 w 6436611"/>
              <a:gd name="connsiteY2531" fmla="*/ 2575868 h 4419155"/>
              <a:gd name="connsiteX2532" fmla="*/ 6018425 w 6436611"/>
              <a:gd name="connsiteY2532" fmla="*/ 2566842 h 4419155"/>
              <a:gd name="connsiteX2533" fmla="*/ 5995765 w 6436611"/>
              <a:gd name="connsiteY2533" fmla="*/ 2569100 h 4419155"/>
              <a:gd name="connsiteX2534" fmla="*/ 5919542 w 6436611"/>
              <a:gd name="connsiteY2534" fmla="*/ 2569100 h 4419155"/>
              <a:gd name="connsiteX2535" fmla="*/ 5936026 w 6436611"/>
              <a:gd name="connsiteY2535" fmla="*/ 2553309 h 4419155"/>
              <a:gd name="connsiteX2536" fmla="*/ 5962805 w 6436611"/>
              <a:gd name="connsiteY2536" fmla="*/ 2537516 h 4419155"/>
              <a:gd name="connsiteX2537" fmla="*/ 5915426 w 6436611"/>
              <a:gd name="connsiteY2537" fmla="*/ 2539773 h 4419155"/>
              <a:gd name="connsiteX2538" fmla="*/ 5987526 w 6436611"/>
              <a:gd name="connsiteY2538" fmla="*/ 2526238 h 4419155"/>
              <a:gd name="connsiteX2539" fmla="*/ 6065804 w 6436611"/>
              <a:gd name="connsiteY2539" fmla="*/ 2492397 h 4419155"/>
              <a:gd name="connsiteX2540" fmla="*/ 6065804 w 6436611"/>
              <a:gd name="connsiteY2540" fmla="*/ 2487886 h 4419155"/>
              <a:gd name="connsiteX2541" fmla="*/ 6034906 w 6436611"/>
              <a:gd name="connsiteY2541" fmla="*/ 2487886 h 4419155"/>
              <a:gd name="connsiteX2542" fmla="*/ 5971045 w 6436611"/>
              <a:gd name="connsiteY2542" fmla="*/ 2494656 h 4419155"/>
              <a:gd name="connsiteX2543" fmla="*/ 5997824 w 6436611"/>
              <a:gd name="connsiteY2543" fmla="*/ 2490142 h 4419155"/>
              <a:gd name="connsiteX2544" fmla="*/ 6012244 w 6436611"/>
              <a:gd name="connsiteY2544" fmla="*/ 2487886 h 4419155"/>
              <a:gd name="connsiteX2545" fmla="*/ 6022545 w 6436611"/>
              <a:gd name="connsiteY2545" fmla="*/ 2478862 h 4419155"/>
              <a:gd name="connsiteX2546" fmla="*/ 6028726 w 6436611"/>
              <a:gd name="connsiteY2546" fmla="*/ 2474354 h 4419155"/>
              <a:gd name="connsiteX2547" fmla="*/ 6053445 w 6436611"/>
              <a:gd name="connsiteY2547" fmla="*/ 2481120 h 4419155"/>
              <a:gd name="connsiteX2548" fmla="*/ 6055506 w 6436611"/>
              <a:gd name="connsiteY2548" fmla="*/ 2472095 h 4419155"/>
              <a:gd name="connsiteX2549" fmla="*/ 6059626 w 6436611"/>
              <a:gd name="connsiteY2549" fmla="*/ 2465326 h 4419155"/>
              <a:gd name="connsiteX2550" fmla="*/ 6102886 w 6436611"/>
              <a:gd name="connsiteY2550" fmla="*/ 2454048 h 4419155"/>
              <a:gd name="connsiteX2551" fmla="*/ 6117307 w 6436611"/>
              <a:gd name="connsiteY2551" fmla="*/ 2454048 h 4419155"/>
              <a:gd name="connsiteX2552" fmla="*/ 6117307 w 6436611"/>
              <a:gd name="connsiteY2552" fmla="*/ 2456302 h 4419155"/>
              <a:gd name="connsiteX2553" fmla="*/ 6111126 w 6436611"/>
              <a:gd name="connsiteY2553" fmla="*/ 2458560 h 4419155"/>
              <a:gd name="connsiteX2554" fmla="*/ 6129665 w 6436611"/>
              <a:gd name="connsiteY2554" fmla="*/ 2460818 h 4419155"/>
              <a:gd name="connsiteX2555" fmla="*/ 6181167 w 6436611"/>
              <a:gd name="connsiteY2555" fmla="*/ 2463072 h 4419155"/>
              <a:gd name="connsiteX2556" fmla="*/ 6195586 w 6436611"/>
              <a:gd name="connsiteY2556" fmla="*/ 2469838 h 4419155"/>
              <a:gd name="connsiteX2557" fmla="*/ 6205888 w 6436611"/>
              <a:gd name="connsiteY2557" fmla="*/ 2474354 h 4419155"/>
              <a:gd name="connsiteX2558" fmla="*/ 6228547 w 6436611"/>
              <a:gd name="connsiteY2558" fmla="*/ 2490142 h 4419155"/>
              <a:gd name="connsiteX2559" fmla="*/ 6224427 w 6436611"/>
              <a:gd name="connsiteY2559" fmla="*/ 2503678 h 4419155"/>
              <a:gd name="connsiteX2560" fmla="*/ 6234729 w 6436611"/>
              <a:gd name="connsiteY2560" fmla="*/ 2501422 h 4419155"/>
              <a:gd name="connsiteX2561" fmla="*/ 6232667 w 6436611"/>
              <a:gd name="connsiteY2561" fmla="*/ 2478862 h 4419155"/>
              <a:gd name="connsiteX2562" fmla="*/ 6220307 w 6436611"/>
              <a:gd name="connsiteY2562" fmla="*/ 2467584 h 4419155"/>
              <a:gd name="connsiteX2563" fmla="*/ 6207947 w 6436611"/>
              <a:gd name="connsiteY2563" fmla="*/ 2463072 h 4419155"/>
              <a:gd name="connsiteX2564" fmla="*/ 6201768 w 6436611"/>
              <a:gd name="connsiteY2564" fmla="*/ 2460818 h 4419155"/>
              <a:gd name="connsiteX2565" fmla="*/ 6160567 w 6436611"/>
              <a:gd name="connsiteY2565" fmla="*/ 2451793 h 4419155"/>
              <a:gd name="connsiteX2566" fmla="*/ 6144086 w 6436611"/>
              <a:gd name="connsiteY2566" fmla="*/ 2449536 h 4419155"/>
              <a:gd name="connsiteX2567" fmla="*/ 6125545 w 6436611"/>
              <a:gd name="connsiteY2567" fmla="*/ 2445024 h 4419155"/>
              <a:gd name="connsiteX2568" fmla="*/ 6164687 w 6436611"/>
              <a:gd name="connsiteY2568" fmla="*/ 2440513 h 4419155"/>
              <a:gd name="connsiteX2569" fmla="*/ 6201768 w 6436611"/>
              <a:gd name="connsiteY2569" fmla="*/ 2429234 h 4419155"/>
              <a:gd name="connsiteX2570" fmla="*/ 6232667 w 6436611"/>
              <a:gd name="connsiteY2570" fmla="*/ 2426978 h 4419155"/>
              <a:gd name="connsiteX2571" fmla="*/ 6255329 w 6436611"/>
              <a:gd name="connsiteY2571" fmla="*/ 2426978 h 4419155"/>
              <a:gd name="connsiteX2572" fmla="*/ 6267686 w 6436611"/>
              <a:gd name="connsiteY2572" fmla="*/ 2429234 h 4419155"/>
              <a:gd name="connsiteX2573" fmla="*/ 6284167 w 6436611"/>
              <a:gd name="connsiteY2573" fmla="*/ 2424722 h 4419155"/>
              <a:gd name="connsiteX2574" fmla="*/ 6304768 w 6436611"/>
              <a:gd name="connsiteY2574" fmla="*/ 2429234 h 4419155"/>
              <a:gd name="connsiteX2575" fmla="*/ 6343909 w 6436611"/>
              <a:gd name="connsiteY2575" fmla="*/ 2420211 h 4419155"/>
              <a:gd name="connsiteX2576" fmla="*/ 6352147 w 6436611"/>
              <a:gd name="connsiteY2576" fmla="*/ 2411187 h 4419155"/>
              <a:gd name="connsiteX2577" fmla="*/ 6234729 w 6436611"/>
              <a:gd name="connsiteY2577" fmla="*/ 2408930 h 4419155"/>
              <a:gd name="connsiteX2578" fmla="*/ 6127606 w 6436611"/>
              <a:gd name="connsiteY2578" fmla="*/ 2429234 h 4419155"/>
              <a:gd name="connsiteX2579" fmla="*/ 6104945 w 6436611"/>
              <a:gd name="connsiteY2579" fmla="*/ 2429234 h 4419155"/>
              <a:gd name="connsiteX2580" fmla="*/ 6090525 w 6436611"/>
              <a:gd name="connsiteY2580" fmla="*/ 2436000 h 4419155"/>
              <a:gd name="connsiteX2581" fmla="*/ 6088467 w 6436611"/>
              <a:gd name="connsiteY2581" fmla="*/ 2436000 h 4419155"/>
              <a:gd name="connsiteX2582" fmla="*/ 6084347 w 6436611"/>
              <a:gd name="connsiteY2582" fmla="*/ 2426978 h 4419155"/>
              <a:gd name="connsiteX2583" fmla="*/ 6076106 w 6436611"/>
              <a:gd name="connsiteY2583" fmla="*/ 2426978 h 4419155"/>
              <a:gd name="connsiteX2584" fmla="*/ 6074045 w 6436611"/>
              <a:gd name="connsiteY2584" fmla="*/ 2420211 h 4419155"/>
              <a:gd name="connsiteX2585" fmla="*/ 6067866 w 6436611"/>
              <a:gd name="connsiteY2585" fmla="*/ 2420211 h 4419155"/>
              <a:gd name="connsiteX2586" fmla="*/ 6065804 w 6436611"/>
              <a:gd name="connsiteY2586" fmla="*/ 2417953 h 4419155"/>
              <a:gd name="connsiteX2587" fmla="*/ 6059626 w 6436611"/>
              <a:gd name="connsiteY2587" fmla="*/ 2411187 h 4419155"/>
              <a:gd name="connsiteX2588" fmla="*/ 6121427 w 6436611"/>
              <a:gd name="connsiteY2588" fmla="*/ 2402164 h 4419155"/>
              <a:gd name="connsiteX2589" fmla="*/ 6121427 w 6436611"/>
              <a:gd name="connsiteY2589" fmla="*/ 2390882 h 4419155"/>
              <a:gd name="connsiteX2590" fmla="*/ 6088467 w 6436611"/>
              <a:gd name="connsiteY2590" fmla="*/ 2395394 h 4419155"/>
              <a:gd name="connsiteX2591" fmla="*/ 6051386 w 6436611"/>
              <a:gd name="connsiteY2591" fmla="*/ 2404418 h 4419155"/>
              <a:gd name="connsiteX2592" fmla="*/ 6045206 w 6436611"/>
              <a:gd name="connsiteY2592" fmla="*/ 2397651 h 4419155"/>
              <a:gd name="connsiteX2593" fmla="*/ 6059626 w 6436611"/>
              <a:gd name="connsiteY2593" fmla="*/ 2390882 h 4419155"/>
              <a:gd name="connsiteX2594" fmla="*/ 6045206 w 6436611"/>
              <a:gd name="connsiteY2594" fmla="*/ 2370580 h 4419155"/>
              <a:gd name="connsiteX2595" fmla="*/ 6039026 w 6436611"/>
              <a:gd name="connsiteY2595" fmla="*/ 2366069 h 4419155"/>
              <a:gd name="connsiteX2596" fmla="*/ 6051386 w 6436611"/>
              <a:gd name="connsiteY2596" fmla="*/ 2361556 h 4419155"/>
              <a:gd name="connsiteX2597" fmla="*/ 6034906 w 6436611"/>
              <a:gd name="connsiteY2597" fmla="*/ 2357044 h 4419155"/>
              <a:gd name="connsiteX2598" fmla="*/ 6036965 w 6436611"/>
              <a:gd name="connsiteY2598" fmla="*/ 2345767 h 4419155"/>
              <a:gd name="connsiteX2599" fmla="*/ 6041087 w 6436611"/>
              <a:gd name="connsiteY2599" fmla="*/ 2341252 h 4419155"/>
              <a:gd name="connsiteX2600" fmla="*/ 6057565 w 6436611"/>
              <a:gd name="connsiteY2600" fmla="*/ 2348022 h 4419155"/>
              <a:gd name="connsiteX2601" fmla="*/ 6094645 w 6436611"/>
              <a:gd name="connsiteY2601" fmla="*/ 2334486 h 4419155"/>
              <a:gd name="connsiteX2602" fmla="*/ 6123486 w 6436611"/>
              <a:gd name="connsiteY2602" fmla="*/ 2336742 h 4419155"/>
              <a:gd name="connsiteX2603" fmla="*/ 6137908 w 6436611"/>
              <a:gd name="connsiteY2603" fmla="*/ 2343509 h 4419155"/>
              <a:gd name="connsiteX2604" fmla="*/ 6148206 w 6436611"/>
              <a:gd name="connsiteY2604" fmla="*/ 2348022 h 4419155"/>
              <a:gd name="connsiteX2605" fmla="*/ 6170866 w 6436611"/>
              <a:gd name="connsiteY2605" fmla="*/ 2363811 h 4419155"/>
              <a:gd name="connsiteX2606" fmla="*/ 6166745 w 6436611"/>
              <a:gd name="connsiteY2606" fmla="*/ 2377346 h 4419155"/>
              <a:gd name="connsiteX2607" fmla="*/ 6177047 w 6436611"/>
              <a:gd name="connsiteY2607" fmla="*/ 2375092 h 4419155"/>
              <a:gd name="connsiteX2608" fmla="*/ 6174986 w 6436611"/>
              <a:gd name="connsiteY2608" fmla="*/ 2352533 h 4419155"/>
              <a:gd name="connsiteX2609" fmla="*/ 6162628 w 6436611"/>
              <a:gd name="connsiteY2609" fmla="*/ 2341252 h 4419155"/>
              <a:gd name="connsiteX2610" fmla="*/ 6150265 w 6436611"/>
              <a:gd name="connsiteY2610" fmla="*/ 2336742 h 4419155"/>
              <a:gd name="connsiteX2611" fmla="*/ 6144086 w 6436611"/>
              <a:gd name="connsiteY2611" fmla="*/ 2334486 h 4419155"/>
              <a:gd name="connsiteX2612" fmla="*/ 6123486 w 6436611"/>
              <a:gd name="connsiteY2612" fmla="*/ 2327720 h 4419155"/>
              <a:gd name="connsiteX2613" fmla="*/ 6137908 w 6436611"/>
              <a:gd name="connsiteY2613" fmla="*/ 2316438 h 4419155"/>
              <a:gd name="connsiteX2614" fmla="*/ 6090525 w 6436611"/>
              <a:gd name="connsiteY2614" fmla="*/ 2325462 h 4419155"/>
              <a:gd name="connsiteX2615" fmla="*/ 6088467 w 6436611"/>
              <a:gd name="connsiteY2615" fmla="*/ 2325462 h 4419155"/>
              <a:gd name="connsiteX2616" fmla="*/ 6074045 w 6436611"/>
              <a:gd name="connsiteY2616" fmla="*/ 2320950 h 4419155"/>
              <a:gd name="connsiteX2617" fmla="*/ 6115245 w 6436611"/>
              <a:gd name="connsiteY2617" fmla="*/ 2316438 h 4419155"/>
              <a:gd name="connsiteX2618" fmla="*/ 6137908 w 6436611"/>
              <a:gd name="connsiteY2618" fmla="*/ 2316438 h 4419155"/>
              <a:gd name="connsiteX2619" fmla="*/ 6216186 w 6436611"/>
              <a:gd name="connsiteY2619" fmla="*/ 2309672 h 4419155"/>
              <a:gd name="connsiteX2620" fmla="*/ 6236788 w 6436611"/>
              <a:gd name="connsiteY2620" fmla="*/ 2300648 h 4419155"/>
              <a:gd name="connsiteX2621" fmla="*/ 6214128 w 6436611"/>
              <a:gd name="connsiteY2621" fmla="*/ 2284855 h 4419155"/>
              <a:gd name="connsiteX2622" fmla="*/ 6203827 w 6436611"/>
              <a:gd name="connsiteY2622" fmla="*/ 2287112 h 4419155"/>
              <a:gd name="connsiteX2623" fmla="*/ 6137908 w 6436611"/>
              <a:gd name="connsiteY2623" fmla="*/ 2291624 h 4419155"/>
              <a:gd name="connsiteX2624" fmla="*/ 6094645 w 6436611"/>
              <a:gd name="connsiteY2624" fmla="*/ 2291624 h 4419155"/>
              <a:gd name="connsiteX2625" fmla="*/ 6092586 w 6436611"/>
              <a:gd name="connsiteY2625" fmla="*/ 2291624 h 4419155"/>
              <a:gd name="connsiteX2626" fmla="*/ 6203827 w 6436611"/>
              <a:gd name="connsiteY2626" fmla="*/ 2260042 h 4419155"/>
              <a:gd name="connsiteX2627" fmla="*/ 6249147 w 6436611"/>
              <a:gd name="connsiteY2627" fmla="*/ 2217180 h 4419155"/>
              <a:gd name="connsiteX2628" fmla="*/ 6329488 w 6436611"/>
              <a:gd name="connsiteY2628" fmla="*/ 2185597 h 4419155"/>
              <a:gd name="connsiteX2629" fmla="*/ 6358329 w 6436611"/>
              <a:gd name="connsiteY2629" fmla="*/ 2068289 h 4419155"/>
              <a:gd name="connsiteX2630" fmla="*/ 6292407 w 6436611"/>
              <a:gd name="connsiteY2630" fmla="*/ 2063777 h 4419155"/>
              <a:gd name="connsiteX2631" fmla="*/ 6294468 w 6436611"/>
              <a:gd name="connsiteY2631" fmla="*/ 2038964 h 4419155"/>
              <a:gd name="connsiteX2632" fmla="*/ 6335667 w 6436611"/>
              <a:gd name="connsiteY2632" fmla="*/ 2036706 h 4419155"/>
              <a:gd name="connsiteX2633" fmla="*/ 6306829 w 6436611"/>
              <a:gd name="connsiteY2633" fmla="*/ 2029939 h 4419155"/>
              <a:gd name="connsiteX2634" fmla="*/ 6310947 w 6436611"/>
              <a:gd name="connsiteY2634" fmla="*/ 2027682 h 4419155"/>
              <a:gd name="connsiteX2635" fmla="*/ 6356268 w 6436611"/>
              <a:gd name="connsiteY2635" fmla="*/ 2023173 h 4419155"/>
              <a:gd name="connsiteX2636" fmla="*/ 6360388 w 6436611"/>
              <a:gd name="connsiteY2636" fmla="*/ 2014150 h 4419155"/>
              <a:gd name="connsiteX2637" fmla="*/ 6374809 w 6436611"/>
              <a:gd name="connsiteY2637" fmla="*/ 2025428 h 4419155"/>
              <a:gd name="connsiteX2638" fmla="*/ 6387170 w 6436611"/>
              <a:gd name="connsiteY2638" fmla="*/ 2009637 h 4419155"/>
              <a:gd name="connsiteX2639" fmla="*/ 6395409 w 6436611"/>
              <a:gd name="connsiteY2639" fmla="*/ 2007380 h 4419155"/>
              <a:gd name="connsiteX2640" fmla="*/ 6407770 w 6436611"/>
              <a:gd name="connsiteY2640" fmla="*/ 2005126 h 4419155"/>
              <a:gd name="connsiteX2641" fmla="*/ 6420130 w 6436611"/>
              <a:gd name="connsiteY2641" fmla="*/ 2005126 h 4419155"/>
              <a:gd name="connsiteX2642" fmla="*/ 6385108 w 6436611"/>
              <a:gd name="connsiteY2642" fmla="*/ 1998356 h 4419155"/>
              <a:gd name="connsiteX2643" fmla="*/ 6366569 w 6436611"/>
              <a:gd name="connsiteY2643" fmla="*/ 2002869 h 4419155"/>
              <a:gd name="connsiteX2644" fmla="*/ 6362449 w 6436611"/>
              <a:gd name="connsiteY2644" fmla="*/ 1989333 h 4419155"/>
              <a:gd name="connsiteX2645" fmla="*/ 6374809 w 6436611"/>
              <a:gd name="connsiteY2645" fmla="*/ 1980309 h 4419155"/>
              <a:gd name="connsiteX2646" fmla="*/ 6362449 w 6436611"/>
              <a:gd name="connsiteY2646" fmla="*/ 1980309 h 4419155"/>
              <a:gd name="connsiteX2647" fmla="*/ 6345968 w 6436611"/>
              <a:gd name="connsiteY2647" fmla="*/ 1975797 h 4419155"/>
              <a:gd name="connsiteX2648" fmla="*/ 6339787 w 6436611"/>
              <a:gd name="connsiteY2648" fmla="*/ 1957750 h 4419155"/>
              <a:gd name="connsiteX2649" fmla="*/ 6362449 w 6436611"/>
              <a:gd name="connsiteY2649" fmla="*/ 1955495 h 4419155"/>
              <a:gd name="connsiteX2650" fmla="*/ 6372748 w 6436611"/>
              <a:gd name="connsiteY2650" fmla="*/ 1950984 h 4419155"/>
              <a:gd name="connsiteX2651" fmla="*/ 6376868 w 6436611"/>
              <a:gd name="connsiteY2651" fmla="*/ 1944218 h 4419155"/>
              <a:gd name="connsiteX2652" fmla="*/ 6378929 w 6436611"/>
              <a:gd name="connsiteY2652" fmla="*/ 1935191 h 4419155"/>
              <a:gd name="connsiteX2653" fmla="*/ 6310947 w 6436611"/>
              <a:gd name="connsiteY2653" fmla="*/ 1928424 h 4419155"/>
              <a:gd name="connsiteX2654" fmla="*/ 6312248 w 6436611"/>
              <a:gd name="connsiteY2654" fmla="*/ 1924741 h 4419155"/>
              <a:gd name="connsiteX2655" fmla="*/ 6310947 w 6436611"/>
              <a:gd name="connsiteY2655" fmla="*/ 1926166 h 4419155"/>
              <a:gd name="connsiteX2656" fmla="*/ 6312492 w 6436611"/>
              <a:gd name="connsiteY2656" fmla="*/ 1920246 h 4419155"/>
              <a:gd name="connsiteX2657" fmla="*/ 6313931 w 6436611"/>
              <a:gd name="connsiteY2657" fmla="*/ 1919984 h 4419155"/>
              <a:gd name="connsiteX2658" fmla="*/ 6317128 w 6436611"/>
              <a:gd name="connsiteY2658" fmla="*/ 1910940 h 4419155"/>
              <a:gd name="connsiteX2659" fmla="*/ 6329488 w 6436611"/>
              <a:gd name="connsiteY2659" fmla="*/ 1903610 h 4419155"/>
              <a:gd name="connsiteX2660" fmla="*/ 6317127 w 6436611"/>
              <a:gd name="connsiteY2660" fmla="*/ 1901353 h 4419155"/>
              <a:gd name="connsiteX2661" fmla="*/ 6329488 w 6436611"/>
              <a:gd name="connsiteY2661" fmla="*/ 1896842 h 4419155"/>
              <a:gd name="connsiteX2662" fmla="*/ 6300647 w 6436611"/>
              <a:gd name="connsiteY2662" fmla="*/ 1894587 h 4419155"/>
              <a:gd name="connsiteX2663" fmla="*/ 6282108 w 6436611"/>
              <a:gd name="connsiteY2663" fmla="*/ 1896842 h 4419155"/>
              <a:gd name="connsiteX2664" fmla="*/ 6257388 w 6436611"/>
              <a:gd name="connsiteY2664" fmla="*/ 1903610 h 4419155"/>
              <a:gd name="connsiteX2665" fmla="*/ 6251209 w 6436611"/>
              <a:gd name="connsiteY2665" fmla="*/ 1903610 h 4419155"/>
              <a:gd name="connsiteX2666" fmla="*/ 6232667 w 6436611"/>
              <a:gd name="connsiteY2666" fmla="*/ 1901353 h 4419155"/>
              <a:gd name="connsiteX2667" fmla="*/ 6201768 w 6436611"/>
              <a:gd name="connsiteY2667" fmla="*/ 1899098 h 4419155"/>
              <a:gd name="connsiteX2668" fmla="*/ 6201768 w 6436611"/>
              <a:gd name="connsiteY2668" fmla="*/ 1894587 h 4419155"/>
              <a:gd name="connsiteX2669" fmla="*/ 6218245 w 6436611"/>
              <a:gd name="connsiteY2669" fmla="*/ 1894587 h 4419155"/>
              <a:gd name="connsiteX2670" fmla="*/ 6234729 w 6436611"/>
              <a:gd name="connsiteY2670" fmla="*/ 1883306 h 4419155"/>
              <a:gd name="connsiteX2671" fmla="*/ 6273868 w 6436611"/>
              <a:gd name="connsiteY2671" fmla="*/ 1883306 h 4419155"/>
              <a:gd name="connsiteX2672" fmla="*/ 6273868 w 6436611"/>
              <a:gd name="connsiteY2672" fmla="*/ 1887817 h 4419155"/>
              <a:gd name="connsiteX2673" fmla="*/ 6282108 w 6436611"/>
              <a:gd name="connsiteY2673" fmla="*/ 1883306 h 4419155"/>
              <a:gd name="connsiteX2674" fmla="*/ 6286229 w 6436611"/>
              <a:gd name="connsiteY2674" fmla="*/ 1883306 h 4419155"/>
              <a:gd name="connsiteX2675" fmla="*/ 6343909 w 6436611"/>
              <a:gd name="connsiteY2675" fmla="*/ 1883306 h 4419155"/>
              <a:gd name="connsiteX2676" fmla="*/ 6430429 w 6436611"/>
              <a:gd name="connsiteY2676" fmla="*/ 1867515 h 4419155"/>
              <a:gd name="connsiteX2677" fmla="*/ 6436611 w 6436611"/>
              <a:gd name="connsiteY2677" fmla="*/ 1860747 h 441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</a:cxnLst>
            <a:rect l="l" t="t" r="r" b="b"/>
            <a:pathLst>
              <a:path w="6436611" h="4419155">
                <a:moveTo>
                  <a:pt x="137070" y="908758"/>
                </a:moveTo>
                <a:cubicBezTo>
                  <a:pt x="135009" y="911013"/>
                  <a:pt x="132950" y="913271"/>
                  <a:pt x="130891" y="917782"/>
                </a:cubicBezTo>
                <a:cubicBezTo>
                  <a:pt x="130891" y="917782"/>
                  <a:pt x="130891" y="915524"/>
                  <a:pt x="130891" y="915524"/>
                </a:cubicBezTo>
                <a:cubicBezTo>
                  <a:pt x="126768" y="917782"/>
                  <a:pt x="122651" y="920037"/>
                  <a:pt x="120589" y="924548"/>
                </a:cubicBezTo>
                <a:cubicBezTo>
                  <a:pt x="126768" y="917782"/>
                  <a:pt x="130891" y="913271"/>
                  <a:pt x="137070" y="908758"/>
                </a:cubicBezTo>
                <a:close/>
                <a:moveTo>
                  <a:pt x="1206220" y="3500785"/>
                </a:moveTo>
                <a:cubicBezTo>
                  <a:pt x="1204161" y="3503040"/>
                  <a:pt x="1202100" y="3505296"/>
                  <a:pt x="1200039" y="3507554"/>
                </a:cubicBezTo>
                <a:cubicBezTo>
                  <a:pt x="1195918" y="3509809"/>
                  <a:pt x="1193860" y="3505296"/>
                  <a:pt x="1193860" y="3500785"/>
                </a:cubicBezTo>
                <a:cubicBezTo>
                  <a:pt x="1193860" y="3498528"/>
                  <a:pt x="1193860" y="3494019"/>
                  <a:pt x="1193860" y="3491762"/>
                </a:cubicBezTo>
                <a:cubicBezTo>
                  <a:pt x="1197980" y="3494019"/>
                  <a:pt x="1202100" y="3496274"/>
                  <a:pt x="1206220" y="3500785"/>
                </a:cubicBezTo>
                <a:close/>
                <a:moveTo>
                  <a:pt x="1216519" y="3789541"/>
                </a:moveTo>
                <a:cubicBezTo>
                  <a:pt x="1214460" y="3791796"/>
                  <a:pt x="1214460" y="3794052"/>
                  <a:pt x="1212398" y="3796307"/>
                </a:cubicBezTo>
                <a:cubicBezTo>
                  <a:pt x="1212398" y="3798565"/>
                  <a:pt x="1210341" y="3798565"/>
                  <a:pt x="1208282" y="3798565"/>
                </a:cubicBezTo>
                <a:cubicBezTo>
                  <a:pt x="1204161" y="3789541"/>
                  <a:pt x="1210341" y="3789541"/>
                  <a:pt x="1216519" y="3787284"/>
                </a:cubicBezTo>
                <a:cubicBezTo>
                  <a:pt x="1216519" y="3787284"/>
                  <a:pt x="1216519" y="3789541"/>
                  <a:pt x="1216519" y="3789541"/>
                </a:cubicBezTo>
                <a:close/>
                <a:moveTo>
                  <a:pt x="1268021" y="3401524"/>
                </a:moveTo>
                <a:cubicBezTo>
                  <a:pt x="1265960" y="3403782"/>
                  <a:pt x="1261840" y="3406039"/>
                  <a:pt x="1257720" y="3410550"/>
                </a:cubicBezTo>
                <a:cubicBezTo>
                  <a:pt x="1257720" y="3408294"/>
                  <a:pt x="1259782" y="3406039"/>
                  <a:pt x="1259782" y="3406039"/>
                </a:cubicBezTo>
                <a:cubicBezTo>
                  <a:pt x="1261840" y="3401524"/>
                  <a:pt x="1265960" y="3399270"/>
                  <a:pt x="1268021" y="3401524"/>
                </a:cubicBezTo>
                <a:close/>
                <a:moveTo>
                  <a:pt x="1465053" y="4063572"/>
                </a:moveTo>
                <a:lnTo>
                  <a:pt x="1462177" y="4063914"/>
                </a:lnTo>
                <a:cubicBezTo>
                  <a:pt x="1458057" y="4064760"/>
                  <a:pt x="1454453" y="4067015"/>
                  <a:pt x="1453423" y="4073783"/>
                </a:cubicBezTo>
                <a:lnTo>
                  <a:pt x="1458706" y="4072838"/>
                </a:lnTo>
                <a:close/>
                <a:moveTo>
                  <a:pt x="1480203" y="3381223"/>
                </a:moveTo>
                <a:cubicBezTo>
                  <a:pt x="1478144" y="3381223"/>
                  <a:pt x="1478144" y="3381223"/>
                  <a:pt x="1476082" y="3383480"/>
                </a:cubicBezTo>
                <a:cubicBezTo>
                  <a:pt x="1476082" y="3381223"/>
                  <a:pt x="1476082" y="3381223"/>
                  <a:pt x="1476082" y="3378968"/>
                </a:cubicBezTo>
                <a:cubicBezTo>
                  <a:pt x="1476082" y="3378968"/>
                  <a:pt x="1478144" y="3378968"/>
                  <a:pt x="1478144" y="3378968"/>
                </a:cubicBezTo>
                <a:cubicBezTo>
                  <a:pt x="1480203" y="3378968"/>
                  <a:pt x="1480203" y="3378968"/>
                  <a:pt x="1480203" y="3381223"/>
                </a:cubicBezTo>
                <a:close/>
                <a:moveTo>
                  <a:pt x="1498742" y="3351896"/>
                </a:moveTo>
                <a:cubicBezTo>
                  <a:pt x="1498742" y="3356408"/>
                  <a:pt x="1498742" y="3358663"/>
                  <a:pt x="1496683" y="3360921"/>
                </a:cubicBezTo>
                <a:cubicBezTo>
                  <a:pt x="1496683" y="3363174"/>
                  <a:pt x="1492562" y="3367687"/>
                  <a:pt x="1488442" y="3360921"/>
                </a:cubicBezTo>
                <a:cubicBezTo>
                  <a:pt x="1492562" y="3360921"/>
                  <a:pt x="1492562" y="3358663"/>
                  <a:pt x="1492562" y="3356408"/>
                </a:cubicBezTo>
                <a:cubicBezTo>
                  <a:pt x="1494621" y="3354151"/>
                  <a:pt x="1496683" y="3354151"/>
                  <a:pt x="1498742" y="3351896"/>
                </a:cubicBezTo>
                <a:close/>
                <a:moveTo>
                  <a:pt x="1502864" y="3320314"/>
                </a:moveTo>
                <a:cubicBezTo>
                  <a:pt x="1500803" y="3324825"/>
                  <a:pt x="1500803" y="3331592"/>
                  <a:pt x="1494621" y="3333849"/>
                </a:cubicBezTo>
                <a:cubicBezTo>
                  <a:pt x="1494621" y="3338361"/>
                  <a:pt x="1492562" y="3342874"/>
                  <a:pt x="1492562" y="3345127"/>
                </a:cubicBezTo>
                <a:cubicBezTo>
                  <a:pt x="1492562" y="3345127"/>
                  <a:pt x="1492562" y="3342874"/>
                  <a:pt x="1490501" y="3342874"/>
                </a:cubicBezTo>
                <a:cubicBezTo>
                  <a:pt x="1488442" y="3345127"/>
                  <a:pt x="1488442" y="3349640"/>
                  <a:pt x="1486383" y="3351896"/>
                </a:cubicBezTo>
                <a:cubicBezTo>
                  <a:pt x="1484322" y="3354151"/>
                  <a:pt x="1484322" y="3354151"/>
                  <a:pt x="1482264" y="3356408"/>
                </a:cubicBezTo>
                <a:cubicBezTo>
                  <a:pt x="1478144" y="3360921"/>
                  <a:pt x="1478144" y="3369944"/>
                  <a:pt x="1471962" y="3372198"/>
                </a:cubicBezTo>
                <a:cubicBezTo>
                  <a:pt x="1465783" y="3372198"/>
                  <a:pt x="1461663" y="3374456"/>
                  <a:pt x="1457543" y="3378968"/>
                </a:cubicBezTo>
                <a:cubicBezTo>
                  <a:pt x="1453423" y="3385734"/>
                  <a:pt x="1449301" y="3390246"/>
                  <a:pt x="1441062" y="3390246"/>
                </a:cubicBezTo>
                <a:cubicBezTo>
                  <a:pt x="1439001" y="3390246"/>
                  <a:pt x="1439001" y="3390246"/>
                  <a:pt x="1439001" y="3390246"/>
                </a:cubicBezTo>
                <a:cubicBezTo>
                  <a:pt x="1439001" y="3387992"/>
                  <a:pt x="1439001" y="3387992"/>
                  <a:pt x="1439001" y="3385734"/>
                </a:cubicBezTo>
                <a:cubicBezTo>
                  <a:pt x="1439001" y="3381223"/>
                  <a:pt x="1439001" y="3376710"/>
                  <a:pt x="1432823" y="3378968"/>
                </a:cubicBezTo>
                <a:cubicBezTo>
                  <a:pt x="1455482" y="3358663"/>
                  <a:pt x="1478144" y="3338361"/>
                  <a:pt x="1502864" y="3320314"/>
                </a:cubicBezTo>
                <a:close/>
                <a:moveTo>
                  <a:pt x="1502864" y="3408294"/>
                </a:moveTo>
                <a:cubicBezTo>
                  <a:pt x="1502864" y="3408294"/>
                  <a:pt x="1500803" y="3410550"/>
                  <a:pt x="1498742" y="3412805"/>
                </a:cubicBezTo>
                <a:cubicBezTo>
                  <a:pt x="1500803" y="3410550"/>
                  <a:pt x="1500803" y="3408294"/>
                  <a:pt x="1502864" y="3406039"/>
                </a:cubicBezTo>
                <a:cubicBezTo>
                  <a:pt x="1502864" y="3406039"/>
                  <a:pt x="1502864" y="3406039"/>
                  <a:pt x="1502864" y="3408294"/>
                </a:cubicBezTo>
                <a:close/>
                <a:moveTo>
                  <a:pt x="1515222" y="4051223"/>
                </a:moveTo>
                <a:cubicBezTo>
                  <a:pt x="1509042" y="4053481"/>
                  <a:pt x="1506984" y="4057993"/>
                  <a:pt x="1502864" y="4060247"/>
                </a:cubicBezTo>
                <a:cubicBezTo>
                  <a:pt x="1502864" y="4060247"/>
                  <a:pt x="1500803" y="4057993"/>
                  <a:pt x="1500803" y="4057993"/>
                </a:cubicBezTo>
                <a:cubicBezTo>
                  <a:pt x="1504923" y="4055736"/>
                  <a:pt x="1509042" y="4051223"/>
                  <a:pt x="1513163" y="4048968"/>
                </a:cubicBezTo>
                <a:cubicBezTo>
                  <a:pt x="1513163" y="4048968"/>
                  <a:pt x="1513163" y="4048968"/>
                  <a:pt x="1515222" y="4051223"/>
                </a:cubicBezTo>
                <a:close/>
                <a:moveTo>
                  <a:pt x="1521403" y="3708328"/>
                </a:moveTo>
                <a:cubicBezTo>
                  <a:pt x="1513163" y="3715096"/>
                  <a:pt x="1504923" y="3719608"/>
                  <a:pt x="1496683" y="3726376"/>
                </a:cubicBezTo>
                <a:cubicBezTo>
                  <a:pt x="1492562" y="3719608"/>
                  <a:pt x="1494621" y="3715096"/>
                  <a:pt x="1500803" y="3712840"/>
                </a:cubicBezTo>
                <a:cubicBezTo>
                  <a:pt x="1503894" y="3711712"/>
                  <a:pt x="1506468" y="3708328"/>
                  <a:pt x="1509558" y="3706354"/>
                </a:cubicBezTo>
                <a:cubicBezTo>
                  <a:pt x="1512648" y="3704380"/>
                  <a:pt x="1516252" y="3703816"/>
                  <a:pt x="1521403" y="3708328"/>
                </a:cubicBezTo>
                <a:close/>
                <a:moveTo>
                  <a:pt x="1544062" y="3688026"/>
                </a:moveTo>
                <a:cubicBezTo>
                  <a:pt x="1542003" y="3690281"/>
                  <a:pt x="1542003" y="3690281"/>
                  <a:pt x="1539942" y="3692538"/>
                </a:cubicBezTo>
                <a:cubicBezTo>
                  <a:pt x="1537883" y="3694792"/>
                  <a:pt x="1535822" y="3694792"/>
                  <a:pt x="1533764" y="3697050"/>
                </a:cubicBezTo>
                <a:cubicBezTo>
                  <a:pt x="1533764" y="3697050"/>
                  <a:pt x="1533764" y="3694792"/>
                  <a:pt x="1531703" y="3694792"/>
                </a:cubicBezTo>
                <a:cubicBezTo>
                  <a:pt x="1535822" y="3692538"/>
                  <a:pt x="1539942" y="3690281"/>
                  <a:pt x="1544062" y="3688026"/>
                </a:cubicBezTo>
                <a:close/>
                <a:moveTo>
                  <a:pt x="1563267" y="4241450"/>
                </a:moveTo>
                <a:lnTo>
                  <a:pt x="1562601" y="4240721"/>
                </a:lnTo>
                <a:cubicBezTo>
                  <a:pt x="1560542" y="4242976"/>
                  <a:pt x="1558484" y="4242976"/>
                  <a:pt x="1556423" y="4245233"/>
                </a:cubicBezTo>
                <a:lnTo>
                  <a:pt x="1556955" y="4245815"/>
                </a:lnTo>
                <a:close/>
                <a:moveTo>
                  <a:pt x="1572903" y="3234588"/>
                </a:moveTo>
                <a:cubicBezTo>
                  <a:pt x="1570844" y="3236846"/>
                  <a:pt x="1566722" y="3236846"/>
                  <a:pt x="1564663" y="3239100"/>
                </a:cubicBezTo>
                <a:cubicBezTo>
                  <a:pt x="1565692" y="3236844"/>
                  <a:pt x="1566207" y="3234588"/>
                  <a:pt x="1567237" y="3233460"/>
                </a:cubicBezTo>
                <a:cubicBezTo>
                  <a:pt x="1568268" y="3232332"/>
                  <a:pt x="1569812" y="3232332"/>
                  <a:pt x="1572903" y="3234588"/>
                </a:cubicBezTo>
                <a:close/>
                <a:moveTo>
                  <a:pt x="1597624" y="3254894"/>
                </a:moveTo>
                <a:cubicBezTo>
                  <a:pt x="1597624" y="3268428"/>
                  <a:pt x="1585263" y="3268428"/>
                  <a:pt x="1581144" y="3275196"/>
                </a:cubicBezTo>
                <a:cubicBezTo>
                  <a:pt x="1583202" y="3263916"/>
                  <a:pt x="1589383" y="3259405"/>
                  <a:pt x="1597624" y="3254894"/>
                </a:cubicBezTo>
                <a:close/>
                <a:moveTo>
                  <a:pt x="1609983" y="3651932"/>
                </a:moveTo>
                <a:cubicBezTo>
                  <a:pt x="1607922" y="3656443"/>
                  <a:pt x="1603803" y="3660954"/>
                  <a:pt x="1597624" y="3665466"/>
                </a:cubicBezTo>
                <a:cubicBezTo>
                  <a:pt x="1579085" y="3679002"/>
                  <a:pt x="1560542" y="3694792"/>
                  <a:pt x="1544062" y="3708328"/>
                </a:cubicBezTo>
                <a:cubicBezTo>
                  <a:pt x="1537883" y="3712840"/>
                  <a:pt x="1533764" y="3717352"/>
                  <a:pt x="1529644" y="3721863"/>
                </a:cubicBezTo>
                <a:cubicBezTo>
                  <a:pt x="1527582" y="3721863"/>
                  <a:pt x="1527582" y="3724118"/>
                  <a:pt x="1525523" y="3724118"/>
                </a:cubicBezTo>
                <a:cubicBezTo>
                  <a:pt x="1511101" y="3726376"/>
                  <a:pt x="1500803" y="3742168"/>
                  <a:pt x="1488442" y="3748934"/>
                </a:cubicBezTo>
                <a:cubicBezTo>
                  <a:pt x="1482264" y="3753446"/>
                  <a:pt x="1474021" y="3755700"/>
                  <a:pt x="1467842" y="3757958"/>
                </a:cubicBezTo>
                <a:cubicBezTo>
                  <a:pt x="1488442" y="3737656"/>
                  <a:pt x="1513163" y="3721863"/>
                  <a:pt x="1535822" y="3703816"/>
                </a:cubicBezTo>
                <a:cubicBezTo>
                  <a:pt x="1542003" y="3699304"/>
                  <a:pt x="1550244" y="3692538"/>
                  <a:pt x="1556423" y="3688026"/>
                </a:cubicBezTo>
                <a:cubicBezTo>
                  <a:pt x="1560542" y="3685768"/>
                  <a:pt x="1564663" y="3681256"/>
                  <a:pt x="1562601" y="3674490"/>
                </a:cubicBezTo>
                <a:cubicBezTo>
                  <a:pt x="1564663" y="3674490"/>
                  <a:pt x="1566722" y="3672234"/>
                  <a:pt x="1566722" y="3672234"/>
                </a:cubicBezTo>
                <a:cubicBezTo>
                  <a:pt x="1570844" y="3672234"/>
                  <a:pt x="1577023" y="3672234"/>
                  <a:pt x="1579085" y="3665466"/>
                </a:cubicBezTo>
                <a:cubicBezTo>
                  <a:pt x="1579085" y="3665466"/>
                  <a:pt x="1579085" y="3665466"/>
                  <a:pt x="1577023" y="3665466"/>
                </a:cubicBezTo>
                <a:cubicBezTo>
                  <a:pt x="1587322" y="3660954"/>
                  <a:pt x="1595565" y="3656443"/>
                  <a:pt x="1605864" y="3651932"/>
                </a:cubicBezTo>
                <a:cubicBezTo>
                  <a:pt x="1607922" y="3651932"/>
                  <a:pt x="1607922" y="3651932"/>
                  <a:pt x="1609983" y="3651932"/>
                </a:cubicBezTo>
                <a:close/>
                <a:moveTo>
                  <a:pt x="1628523" y="3193984"/>
                </a:moveTo>
                <a:cubicBezTo>
                  <a:pt x="1626465" y="3196238"/>
                  <a:pt x="1624403" y="3198493"/>
                  <a:pt x="1622344" y="3198493"/>
                </a:cubicBezTo>
                <a:cubicBezTo>
                  <a:pt x="1618224" y="3200752"/>
                  <a:pt x="1614104" y="3203006"/>
                  <a:pt x="1612042" y="3205263"/>
                </a:cubicBezTo>
                <a:cubicBezTo>
                  <a:pt x="1616163" y="3198493"/>
                  <a:pt x="1622344" y="3196238"/>
                  <a:pt x="1628523" y="3193984"/>
                </a:cubicBezTo>
                <a:close/>
                <a:moveTo>
                  <a:pt x="1675903" y="3620348"/>
                </a:moveTo>
                <a:cubicBezTo>
                  <a:pt x="1673844" y="3629372"/>
                  <a:pt x="1669724" y="3636141"/>
                  <a:pt x="1663545" y="3633884"/>
                </a:cubicBezTo>
                <a:cubicBezTo>
                  <a:pt x="1663545" y="3631626"/>
                  <a:pt x="1661483" y="3631626"/>
                  <a:pt x="1661483" y="3629372"/>
                </a:cubicBezTo>
                <a:cubicBezTo>
                  <a:pt x="1663545" y="3627114"/>
                  <a:pt x="1663545" y="3627114"/>
                  <a:pt x="1665604" y="3624860"/>
                </a:cubicBezTo>
                <a:cubicBezTo>
                  <a:pt x="1665604" y="3624860"/>
                  <a:pt x="1667665" y="3624860"/>
                  <a:pt x="1667665" y="3622603"/>
                </a:cubicBezTo>
                <a:cubicBezTo>
                  <a:pt x="1669724" y="3622603"/>
                  <a:pt x="1671785" y="3620348"/>
                  <a:pt x="1675903" y="3620348"/>
                </a:cubicBezTo>
                <a:close/>
                <a:moveTo>
                  <a:pt x="1793324" y="3649674"/>
                </a:moveTo>
                <a:cubicBezTo>
                  <a:pt x="1793324" y="3642907"/>
                  <a:pt x="1793324" y="3640652"/>
                  <a:pt x="1791265" y="3640652"/>
                </a:cubicBezTo>
                <a:cubicBezTo>
                  <a:pt x="1791265" y="3640652"/>
                  <a:pt x="1793324" y="3640652"/>
                  <a:pt x="1793324" y="3640652"/>
                </a:cubicBezTo>
                <a:cubicBezTo>
                  <a:pt x="1793324" y="3642907"/>
                  <a:pt x="1793324" y="3645162"/>
                  <a:pt x="1793324" y="3649674"/>
                </a:cubicBezTo>
                <a:close/>
                <a:moveTo>
                  <a:pt x="1834525" y="3818867"/>
                </a:moveTo>
                <a:cubicBezTo>
                  <a:pt x="1834525" y="3821124"/>
                  <a:pt x="1832467" y="3823379"/>
                  <a:pt x="1828347" y="3823379"/>
                </a:cubicBezTo>
                <a:cubicBezTo>
                  <a:pt x="1828347" y="3823379"/>
                  <a:pt x="1828347" y="3821124"/>
                  <a:pt x="1826285" y="3821124"/>
                </a:cubicBezTo>
                <a:cubicBezTo>
                  <a:pt x="1828347" y="3818867"/>
                  <a:pt x="1830406" y="3818867"/>
                  <a:pt x="1832467" y="3816613"/>
                </a:cubicBezTo>
                <a:cubicBezTo>
                  <a:pt x="1832467" y="3816613"/>
                  <a:pt x="1832467" y="3818867"/>
                  <a:pt x="1834525" y="3818867"/>
                </a:cubicBezTo>
                <a:close/>
                <a:moveTo>
                  <a:pt x="1923684" y="4070248"/>
                </a:moveTo>
                <a:lnTo>
                  <a:pt x="1913886" y="4076685"/>
                </a:lnTo>
                <a:lnTo>
                  <a:pt x="1914866" y="4078295"/>
                </a:lnTo>
                <a:close/>
                <a:moveTo>
                  <a:pt x="1925858" y="4068264"/>
                </a:moveTo>
                <a:lnTo>
                  <a:pt x="1923684" y="4070248"/>
                </a:lnTo>
                <a:lnTo>
                  <a:pt x="1925167" y="4069274"/>
                </a:lnTo>
                <a:close/>
                <a:moveTo>
                  <a:pt x="1931347" y="4080552"/>
                </a:moveTo>
                <a:cubicBezTo>
                  <a:pt x="1931347" y="4078295"/>
                  <a:pt x="1931347" y="4078295"/>
                  <a:pt x="1931347" y="4078295"/>
                </a:cubicBezTo>
                <a:cubicBezTo>
                  <a:pt x="1929288" y="4080552"/>
                  <a:pt x="1929288" y="4082806"/>
                  <a:pt x="1927226" y="4085063"/>
                </a:cubicBezTo>
                <a:cubicBezTo>
                  <a:pt x="1929288" y="4085063"/>
                  <a:pt x="1929288" y="4082806"/>
                  <a:pt x="1931347" y="4080552"/>
                </a:cubicBezTo>
                <a:close/>
                <a:moveTo>
                  <a:pt x="1991953" y="4021688"/>
                </a:moveTo>
                <a:lnTo>
                  <a:pt x="1989027" y="4021898"/>
                </a:lnTo>
                <a:cubicBezTo>
                  <a:pt x="1986968" y="4021898"/>
                  <a:pt x="1980788" y="4024155"/>
                  <a:pt x="1978726" y="4026410"/>
                </a:cubicBezTo>
                <a:cubicBezTo>
                  <a:pt x="1975637" y="4030922"/>
                  <a:pt x="1972547" y="4032614"/>
                  <a:pt x="1969457" y="4032896"/>
                </a:cubicBezTo>
                <a:lnTo>
                  <a:pt x="1966927" y="4032357"/>
                </a:lnTo>
                <a:lnTo>
                  <a:pt x="1941647" y="4048968"/>
                </a:lnTo>
                <a:lnTo>
                  <a:pt x="1932866" y="4054147"/>
                </a:lnTo>
                <a:lnTo>
                  <a:pt x="1931347" y="4060247"/>
                </a:lnTo>
                <a:lnTo>
                  <a:pt x="1925858" y="4068264"/>
                </a:lnTo>
                <a:lnTo>
                  <a:pt x="1927226" y="4067016"/>
                </a:lnTo>
                <a:cubicBezTo>
                  <a:pt x="1929288" y="4064761"/>
                  <a:pt x="1931347" y="4062504"/>
                  <a:pt x="1933408" y="4062504"/>
                </a:cubicBezTo>
                <a:cubicBezTo>
                  <a:pt x="1941647" y="4062504"/>
                  <a:pt x="1945768" y="4060247"/>
                  <a:pt x="1949888" y="4055736"/>
                </a:cubicBezTo>
                <a:close/>
                <a:moveTo>
                  <a:pt x="2046706" y="3135330"/>
                </a:moveTo>
                <a:cubicBezTo>
                  <a:pt x="2044647" y="3135330"/>
                  <a:pt x="2046706" y="3135330"/>
                  <a:pt x="2044647" y="3137585"/>
                </a:cubicBezTo>
                <a:cubicBezTo>
                  <a:pt x="2044647" y="3137585"/>
                  <a:pt x="2042588" y="3137585"/>
                  <a:pt x="2042588" y="3135330"/>
                </a:cubicBezTo>
                <a:cubicBezTo>
                  <a:pt x="2044647" y="3135330"/>
                  <a:pt x="2044647" y="3135330"/>
                  <a:pt x="2046706" y="3135330"/>
                </a:cubicBezTo>
                <a:close/>
                <a:moveTo>
                  <a:pt x="2073488" y="3124049"/>
                </a:moveTo>
                <a:cubicBezTo>
                  <a:pt x="2071427" y="3126307"/>
                  <a:pt x="2069368" y="3128562"/>
                  <a:pt x="2069368" y="3130818"/>
                </a:cubicBezTo>
                <a:cubicBezTo>
                  <a:pt x="2069368" y="3128562"/>
                  <a:pt x="2071427" y="3126307"/>
                  <a:pt x="2071427" y="3124049"/>
                </a:cubicBezTo>
                <a:cubicBezTo>
                  <a:pt x="2071427" y="3124049"/>
                  <a:pt x="2073488" y="3124049"/>
                  <a:pt x="2073488" y="3124049"/>
                </a:cubicBezTo>
                <a:close/>
                <a:moveTo>
                  <a:pt x="2281549" y="4073783"/>
                </a:moveTo>
                <a:cubicBezTo>
                  <a:pt x="2279491" y="4076040"/>
                  <a:pt x="2277430" y="4078295"/>
                  <a:pt x="2275371" y="4080552"/>
                </a:cubicBezTo>
                <a:cubicBezTo>
                  <a:pt x="2275371" y="4076040"/>
                  <a:pt x="2277430" y="4073783"/>
                  <a:pt x="2279491" y="4071529"/>
                </a:cubicBezTo>
                <a:cubicBezTo>
                  <a:pt x="2279491" y="4071529"/>
                  <a:pt x="2281549" y="4073783"/>
                  <a:pt x="2281549" y="4073783"/>
                </a:cubicBezTo>
                <a:close/>
                <a:moveTo>
                  <a:pt x="2413392" y="4281325"/>
                </a:moveTo>
                <a:cubicBezTo>
                  <a:pt x="2411330" y="4283582"/>
                  <a:pt x="2407210" y="4283582"/>
                  <a:pt x="2403091" y="4285837"/>
                </a:cubicBezTo>
                <a:cubicBezTo>
                  <a:pt x="2405152" y="4281325"/>
                  <a:pt x="2409272" y="4279071"/>
                  <a:pt x="2411330" y="4276814"/>
                </a:cubicBezTo>
                <a:cubicBezTo>
                  <a:pt x="2411330" y="4279071"/>
                  <a:pt x="2411330" y="4279071"/>
                  <a:pt x="2413392" y="4281325"/>
                </a:cubicBezTo>
                <a:close/>
                <a:moveTo>
                  <a:pt x="2414936" y="4303039"/>
                </a:moveTo>
                <a:cubicBezTo>
                  <a:pt x="2414936" y="4305577"/>
                  <a:pt x="2414422" y="4308396"/>
                  <a:pt x="2413392" y="4312909"/>
                </a:cubicBezTo>
                <a:cubicBezTo>
                  <a:pt x="2405152" y="4303884"/>
                  <a:pt x="2405152" y="4303884"/>
                  <a:pt x="2413392" y="4294863"/>
                </a:cubicBezTo>
                <a:cubicBezTo>
                  <a:pt x="2414422" y="4298246"/>
                  <a:pt x="2414936" y="4300502"/>
                  <a:pt x="2414936" y="4303039"/>
                </a:cubicBezTo>
                <a:close/>
                <a:moveTo>
                  <a:pt x="2425752" y="4279071"/>
                </a:moveTo>
                <a:cubicBezTo>
                  <a:pt x="2423691" y="4279071"/>
                  <a:pt x="2423691" y="4281325"/>
                  <a:pt x="2423691" y="4281325"/>
                </a:cubicBezTo>
                <a:cubicBezTo>
                  <a:pt x="2421632" y="4279071"/>
                  <a:pt x="2419571" y="4276814"/>
                  <a:pt x="2419571" y="4274559"/>
                </a:cubicBezTo>
                <a:cubicBezTo>
                  <a:pt x="2419571" y="4274559"/>
                  <a:pt x="2421632" y="4272305"/>
                  <a:pt x="2421632" y="4272305"/>
                </a:cubicBezTo>
                <a:cubicBezTo>
                  <a:pt x="2423691" y="4274559"/>
                  <a:pt x="2423691" y="4276814"/>
                  <a:pt x="2425752" y="4279071"/>
                </a:cubicBezTo>
                <a:close/>
                <a:moveTo>
                  <a:pt x="2462830" y="4308397"/>
                </a:moveTo>
                <a:cubicBezTo>
                  <a:pt x="2454593" y="4319677"/>
                  <a:pt x="2448412" y="4326444"/>
                  <a:pt x="2442230" y="4330956"/>
                </a:cubicBezTo>
                <a:cubicBezTo>
                  <a:pt x="2442230" y="4330956"/>
                  <a:pt x="2440171" y="4328701"/>
                  <a:pt x="2440171" y="4328701"/>
                </a:cubicBezTo>
                <a:cubicBezTo>
                  <a:pt x="2442230" y="4324190"/>
                  <a:pt x="2444291" y="4321932"/>
                  <a:pt x="2446353" y="4317420"/>
                </a:cubicBezTo>
                <a:cubicBezTo>
                  <a:pt x="2446353" y="4317420"/>
                  <a:pt x="2444291" y="4315166"/>
                  <a:pt x="2444291" y="4315166"/>
                </a:cubicBezTo>
                <a:cubicBezTo>
                  <a:pt x="2440171" y="4317420"/>
                  <a:pt x="2436051" y="4319677"/>
                  <a:pt x="2433992" y="4321932"/>
                </a:cubicBezTo>
                <a:cubicBezTo>
                  <a:pt x="2436051" y="4315166"/>
                  <a:pt x="2438110" y="4308397"/>
                  <a:pt x="2442230" y="4301630"/>
                </a:cubicBezTo>
                <a:cubicBezTo>
                  <a:pt x="2444291" y="4303884"/>
                  <a:pt x="2446353" y="4306142"/>
                  <a:pt x="2450473" y="4310654"/>
                </a:cubicBezTo>
                <a:cubicBezTo>
                  <a:pt x="2454593" y="4308397"/>
                  <a:pt x="2458710" y="4308397"/>
                  <a:pt x="2462830" y="4306142"/>
                </a:cubicBezTo>
                <a:cubicBezTo>
                  <a:pt x="2462830" y="4306142"/>
                  <a:pt x="2462830" y="4308397"/>
                  <a:pt x="2462830" y="4308397"/>
                </a:cubicBezTo>
                <a:close/>
                <a:moveTo>
                  <a:pt x="2497853" y="4344492"/>
                </a:moveTo>
                <a:cubicBezTo>
                  <a:pt x="2493732" y="4353515"/>
                  <a:pt x="2487551" y="4360281"/>
                  <a:pt x="2479312" y="4360281"/>
                </a:cubicBezTo>
                <a:cubicBezTo>
                  <a:pt x="2481373" y="4349003"/>
                  <a:pt x="2481373" y="4349003"/>
                  <a:pt x="2497853" y="4344492"/>
                </a:cubicBezTo>
                <a:close/>
                <a:moveTo>
                  <a:pt x="2504032" y="4378328"/>
                </a:moveTo>
                <a:cubicBezTo>
                  <a:pt x="2504032" y="4385098"/>
                  <a:pt x="2501973" y="4389610"/>
                  <a:pt x="2495794" y="4389610"/>
                </a:cubicBezTo>
                <a:cubicBezTo>
                  <a:pt x="2495794" y="4380587"/>
                  <a:pt x="2495794" y="4380587"/>
                  <a:pt x="2504032" y="4378328"/>
                </a:cubicBezTo>
                <a:close/>
                <a:moveTo>
                  <a:pt x="2626780" y="4360905"/>
                </a:moveTo>
                <a:lnTo>
                  <a:pt x="2623016" y="4359669"/>
                </a:lnTo>
                <a:lnTo>
                  <a:pt x="2620939" y="4360419"/>
                </a:lnTo>
                <a:lnTo>
                  <a:pt x="2617333" y="4369308"/>
                </a:lnTo>
                <a:lnTo>
                  <a:pt x="2619443" y="4368317"/>
                </a:lnTo>
                <a:lnTo>
                  <a:pt x="2621453" y="4364796"/>
                </a:lnTo>
                <a:close/>
                <a:moveTo>
                  <a:pt x="2646173" y="4351260"/>
                </a:moveTo>
                <a:cubicBezTo>
                  <a:pt x="2644112" y="4360281"/>
                  <a:pt x="2644112" y="4360281"/>
                  <a:pt x="2633813" y="4358026"/>
                </a:cubicBezTo>
                <a:cubicBezTo>
                  <a:pt x="2639994" y="4353515"/>
                  <a:pt x="2642053" y="4353515"/>
                  <a:pt x="2646173" y="4351260"/>
                </a:cubicBezTo>
                <a:close/>
                <a:moveTo>
                  <a:pt x="2662654" y="4382841"/>
                </a:moveTo>
                <a:cubicBezTo>
                  <a:pt x="2662654" y="4382841"/>
                  <a:pt x="2660595" y="4380587"/>
                  <a:pt x="2660595" y="4380587"/>
                </a:cubicBezTo>
                <a:cubicBezTo>
                  <a:pt x="2658533" y="4380587"/>
                  <a:pt x="2656475" y="4382841"/>
                  <a:pt x="2652353" y="4387353"/>
                </a:cubicBezTo>
                <a:cubicBezTo>
                  <a:pt x="2658533" y="4385098"/>
                  <a:pt x="2660595" y="4382841"/>
                  <a:pt x="2662654" y="4382841"/>
                </a:cubicBezTo>
                <a:close/>
                <a:moveTo>
                  <a:pt x="2670894" y="4328701"/>
                </a:moveTo>
                <a:lnTo>
                  <a:pt x="2670893" y="4328701"/>
                </a:lnTo>
                <a:lnTo>
                  <a:pt x="2664392" y="4332261"/>
                </a:lnTo>
                <a:close/>
                <a:moveTo>
                  <a:pt x="2703855" y="4319677"/>
                </a:moveTo>
                <a:cubicBezTo>
                  <a:pt x="2701794" y="4317420"/>
                  <a:pt x="2699735" y="4317420"/>
                  <a:pt x="2697673" y="4317420"/>
                </a:cubicBezTo>
                <a:cubicBezTo>
                  <a:pt x="2697673" y="4319677"/>
                  <a:pt x="2697673" y="4321932"/>
                  <a:pt x="2697673" y="4324190"/>
                </a:cubicBezTo>
                <a:cubicBezTo>
                  <a:pt x="2697673" y="4324190"/>
                  <a:pt x="2701794" y="4324190"/>
                  <a:pt x="2701794" y="4324190"/>
                </a:cubicBezTo>
                <a:cubicBezTo>
                  <a:pt x="2703855" y="4324190"/>
                  <a:pt x="2703855" y="4319677"/>
                  <a:pt x="2703855" y="4319677"/>
                </a:cubicBezTo>
                <a:close/>
                <a:moveTo>
                  <a:pt x="2798615" y="4288095"/>
                </a:moveTo>
                <a:cubicBezTo>
                  <a:pt x="2798615" y="4288095"/>
                  <a:pt x="2796556" y="4285837"/>
                  <a:pt x="2796556" y="4285837"/>
                </a:cubicBezTo>
                <a:cubicBezTo>
                  <a:pt x="2786254" y="4292607"/>
                  <a:pt x="2778014" y="4297118"/>
                  <a:pt x="2769774" y="4303884"/>
                </a:cubicBezTo>
                <a:cubicBezTo>
                  <a:pt x="2782134" y="4306142"/>
                  <a:pt x="2790374" y="4297118"/>
                  <a:pt x="2798615" y="4288095"/>
                </a:cubicBezTo>
                <a:close/>
                <a:moveTo>
                  <a:pt x="2858354" y="4254254"/>
                </a:moveTo>
                <a:cubicBezTo>
                  <a:pt x="2854234" y="4252000"/>
                  <a:pt x="2852176" y="4252000"/>
                  <a:pt x="2852176" y="4252000"/>
                </a:cubicBezTo>
                <a:cubicBezTo>
                  <a:pt x="2839815" y="4258766"/>
                  <a:pt x="2827455" y="4265535"/>
                  <a:pt x="2817156" y="4272305"/>
                </a:cubicBezTo>
                <a:cubicBezTo>
                  <a:pt x="2810974" y="4276814"/>
                  <a:pt x="2806854" y="4281325"/>
                  <a:pt x="2802735" y="4285837"/>
                </a:cubicBezTo>
                <a:cubicBezTo>
                  <a:pt x="2817156" y="4281325"/>
                  <a:pt x="2827455" y="4274559"/>
                  <a:pt x="2839815" y="4270048"/>
                </a:cubicBezTo>
                <a:cubicBezTo>
                  <a:pt x="2845997" y="4265535"/>
                  <a:pt x="2850115" y="4258766"/>
                  <a:pt x="2858354" y="4254254"/>
                </a:cubicBezTo>
                <a:close/>
                <a:moveTo>
                  <a:pt x="2893376" y="4220417"/>
                </a:moveTo>
                <a:cubicBezTo>
                  <a:pt x="2883075" y="4229440"/>
                  <a:pt x="2872776" y="4236210"/>
                  <a:pt x="2862477" y="4245233"/>
                </a:cubicBezTo>
                <a:cubicBezTo>
                  <a:pt x="2887195" y="4240721"/>
                  <a:pt x="2893376" y="4233953"/>
                  <a:pt x="2893376" y="4220417"/>
                </a:cubicBezTo>
                <a:close/>
                <a:moveTo>
                  <a:pt x="2911915" y="4173043"/>
                </a:moveTo>
                <a:cubicBezTo>
                  <a:pt x="2909856" y="4173043"/>
                  <a:pt x="2909856" y="4177555"/>
                  <a:pt x="2909856" y="4177555"/>
                </a:cubicBezTo>
                <a:cubicBezTo>
                  <a:pt x="2907795" y="4179809"/>
                  <a:pt x="2905737" y="4177555"/>
                  <a:pt x="2903676" y="4177555"/>
                </a:cubicBezTo>
                <a:cubicBezTo>
                  <a:pt x="2903676" y="4177555"/>
                  <a:pt x="2903676" y="4173043"/>
                  <a:pt x="2903676" y="4170789"/>
                </a:cubicBezTo>
                <a:cubicBezTo>
                  <a:pt x="2907795" y="4170789"/>
                  <a:pt x="2909856" y="4170789"/>
                  <a:pt x="2911915" y="4173043"/>
                </a:cubicBezTo>
                <a:close/>
                <a:moveTo>
                  <a:pt x="2920156" y="4213651"/>
                </a:moveTo>
                <a:cubicBezTo>
                  <a:pt x="2920156" y="4213651"/>
                  <a:pt x="2918097" y="4211393"/>
                  <a:pt x="2918097" y="4211393"/>
                </a:cubicBezTo>
                <a:cubicBezTo>
                  <a:pt x="2916036" y="4211393"/>
                  <a:pt x="2913977" y="4213651"/>
                  <a:pt x="2911915" y="4215904"/>
                </a:cubicBezTo>
                <a:cubicBezTo>
                  <a:pt x="2911915" y="4215904"/>
                  <a:pt x="2913977" y="4218162"/>
                  <a:pt x="2913977" y="4218162"/>
                </a:cubicBezTo>
                <a:cubicBezTo>
                  <a:pt x="2916036" y="4215904"/>
                  <a:pt x="2918097" y="4213651"/>
                  <a:pt x="2920156" y="4213651"/>
                </a:cubicBezTo>
                <a:close/>
                <a:moveTo>
                  <a:pt x="2934577" y="4159507"/>
                </a:moveTo>
                <a:cubicBezTo>
                  <a:pt x="2930458" y="4164020"/>
                  <a:pt x="2924276" y="4170789"/>
                  <a:pt x="2913977" y="4168532"/>
                </a:cubicBezTo>
                <a:cubicBezTo>
                  <a:pt x="2920156" y="4164020"/>
                  <a:pt x="2926335" y="4161762"/>
                  <a:pt x="2932516" y="4157251"/>
                </a:cubicBezTo>
                <a:cubicBezTo>
                  <a:pt x="2932516" y="4157251"/>
                  <a:pt x="2934577" y="4159507"/>
                  <a:pt x="2934577" y="4159507"/>
                </a:cubicBezTo>
                <a:close/>
                <a:moveTo>
                  <a:pt x="2934577" y="4197857"/>
                </a:moveTo>
                <a:cubicBezTo>
                  <a:pt x="2930458" y="4200115"/>
                  <a:pt x="2928396" y="4200115"/>
                  <a:pt x="2928396" y="4202370"/>
                </a:cubicBezTo>
                <a:cubicBezTo>
                  <a:pt x="2926335" y="4204627"/>
                  <a:pt x="2928396" y="4204627"/>
                  <a:pt x="2928396" y="4206881"/>
                </a:cubicBezTo>
                <a:cubicBezTo>
                  <a:pt x="2930458" y="4206881"/>
                  <a:pt x="2932516" y="4204627"/>
                  <a:pt x="2932516" y="4204627"/>
                </a:cubicBezTo>
                <a:cubicBezTo>
                  <a:pt x="2934577" y="4204627"/>
                  <a:pt x="2932516" y="4202370"/>
                  <a:pt x="2934577" y="4197857"/>
                </a:cubicBezTo>
                <a:close/>
                <a:moveTo>
                  <a:pt x="2979899" y="4168532"/>
                </a:moveTo>
                <a:cubicBezTo>
                  <a:pt x="2973717" y="4168532"/>
                  <a:pt x="2969597" y="4168532"/>
                  <a:pt x="2965477" y="4168532"/>
                </a:cubicBezTo>
                <a:cubicBezTo>
                  <a:pt x="2971656" y="4179809"/>
                  <a:pt x="2971656" y="4179809"/>
                  <a:pt x="2979899" y="4168532"/>
                </a:cubicBezTo>
                <a:close/>
                <a:moveTo>
                  <a:pt x="3002558" y="4060247"/>
                </a:moveTo>
                <a:cubicBezTo>
                  <a:pt x="2998438" y="4064761"/>
                  <a:pt x="2994317" y="4073783"/>
                  <a:pt x="2986077" y="4073783"/>
                </a:cubicBezTo>
                <a:cubicBezTo>
                  <a:pt x="2988136" y="4067016"/>
                  <a:pt x="2990197" y="4062504"/>
                  <a:pt x="2994317" y="4055736"/>
                </a:cubicBezTo>
                <a:cubicBezTo>
                  <a:pt x="2996376" y="4057993"/>
                  <a:pt x="3000497" y="4060247"/>
                  <a:pt x="3002558" y="4060247"/>
                </a:cubicBezTo>
                <a:close/>
                <a:moveTo>
                  <a:pt x="3012856" y="4053481"/>
                </a:moveTo>
                <a:cubicBezTo>
                  <a:pt x="3008736" y="4055736"/>
                  <a:pt x="3004616" y="4060247"/>
                  <a:pt x="3002558" y="4062504"/>
                </a:cubicBezTo>
                <a:cubicBezTo>
                  <a:pt x="3002558" y="4056864"/>
                  <a:pt x="3002558" y="4054043"/>
                  <a:pt x="3003845" y="4052916"/>
                </a:cubicBezTo>
                <a:cubicBezTo>
                  <a:pt x="3005132" y="4051788"/>
                  <a:pt x="3007707" y="4052352"/>
                  <a:pt x="3012856" y="4053481"/>
                </a:cubicBezTo>
                <a:close/>
                <a:moveTo>
                  <a:pt x="3025003" y="4140210"/>
                </a:moveTo>
                <a:lnTo>
                  <a:pt x="3023406" y="4138086"/>
                </a:lnTo>
                <a:lnTo>
                  <a:pt x="3016977" y="4143718"/>
                </a:lnTo>
                <a:cubicBezTo>
                  <a:pt x="3019037" y="4143718"/>
                  <a:pt x="3021612" y="4144282"/>
                  <a:pt x="3023672" y="4143436"/>
                </a:cubicBezTo>
                <a:close/>
                <a:moveTo>
                  <a:pt x="3039636" y="4078295"/>
                </a:moveTo>
                <a:cubicBezTo>
                  <a:pt x="3037577" y="4085063"/>
                  <a:pt x="3037577" y="4087318"/>
                  <a:pt x="3037577" y="4089576"/>
                </a:cubicBezTo>
                <a:cubicBezTo>
                  <a:pt x="3027278" y="4098599"/>
                  <a:pt x="3014915" y="4107623"/>
                  <a:pt x="3004616" y="4116647"/>
                </a:cubicBezTo>
                <a:cubicBezTo>
                  <a:pt x="3002558" y="4118901"/>
                  <a:pt x="3000497" y="4118901"/>
                  <a:pt x="2998438" y="4118901"/>
                </a:cubicBezTo>
                <a:cubicBezTo>
                  <a:pt x="2998438" y="4116647"/>
                  <a:pt x="2996376" y="4116647"/>
                  <a:pt x="2996376" y="4114390"/>
                </a:cubicBezTo>
                <a:cubicBezTo>
                  <a:pt x="3008736" y="4103111"/>
                  <a:pt x="3023158" y="4089576"/>
                  <a:pt x="3039636" y="4078295"/>
                </a:cubicBezTo>
                <a:close/>
                <a:moveTo>
                  <a:pt x="3054058" y="4060247"/>
                </a:moveTo>
                <a:cubicBezTo>
                  <a:pt x="3054058" y="4062504"/>
                  <a:pt x="3051999" y="4064761"/>
                  <a:pt x="3049938" y="4064761"/>
                </a:cubicBezTo>
                <a:cubicBezTo>
                  <a:pt x="3033457" y="4062504"/>
                  <a:pt x="3025217" y="4076040"/>
                  <a:pt x="3014915" y="4085063"/>
                </a:cubicBezTo>
                <a:cubicBezTo>
                  <a:pt x="3006677" y="4091833"/>
                  <a:pt x="3000497" y="4098599"/>
                  <a:pt x="2992256" y="4105365"/>
                </a:cubicBezTo>
                <a:cubicBezTo>
                  <a:pt x="2990197" y="4107623"/>
                  <a:pt x="2990197" y="4107623"/>
                  <a:pt x="2981957" y="4100854"/>
                </a:cubicBezTo>
                <a:cubicBezTo>
                  <a:pt x="2988136" y="4094088"/>
                  <a:pt x="2994317" y="4087318"/>
                  <a:pt x="3004616" y="4082806"/>
                </a:cubicBezTo>
                <a:cubicBezTo>
                  <a:pt x="3016977" y="4076040"/>
                  <a:pt x="3027278" y="4067016"/>
                  <a:pt x="3039636" y="4057993"/>
                </a:cubicBezTo>
                <a:cubicBezTo>
                  <a:pt x="3041697" y="4055736"/>
                  <a:pt x="3045817" y="4055736"/>
                  <a:pt x="3049938" y="4055736"/>
                </a:cubicBezTo>
                <a:cubicBezTo>
                  <a:pt x="3051999" y="4055736"/>
                  <a:pt x="3054058" y="4057993"/>
                  <a:pt x="3054058" y="4060247"/>
                </a:cubicBezTo>
                <a:close/>
                <a:moveTo>
                  <a:pt x="3064356" y="4030921"/>
                </a:moveTo>
                <a:cubicBezTo>
                  <a:pt x="3056116" y="4035434"/>
                  <a:pt x="3049938" y="4039945"/>
                  <a:pt x="3039636" y="4044457"/>
                </a:cubicBezTo>
                <a:cubicBezTo>
                  <a:pt x="3037577" y="4024155"/>
                  <a:pt x="3056116" y="4026410"/>
                  <a:pt x="3058177" y="4012874"/>
                </a:cubicBezTo>
                <a:cubicBezTo>
                  <a:pt x="3060236" y="4012874"/>
                  <a:pt x="3060236" y="4012874"/>
                  <a:pt x="3062297" y="4015132"/>
                </a:cubicBezTo>
                <a:cubicBezTo>
                  <a:pt x="3062297" y="4019643"/>
                  <a:pt x="3062297" y="4024155"/>
                  <a:pt x="3064356" y="4030921"/>
                </a:cubicBezTo>
                <a:close/>
                <a:moveTo>
                  <a:pt x="3078778" y="4008362"/>
                </a:moveTo>
                <a:cubicBezTo>
                  <a:pt x="3076717" y="4010619"/>
                  <a:pt x="3074658" y="4012874"/>
                  <a:pt x="3072599" y="4012874"/>
                </a:cubicBezTo>
                <a:cubicBezTo>
                  <a:pt x="3072599" y="4010619"/>
                  <a:pt x="3072599" y="4010619"/>
                  <a:pt x="3070538" y="4010619"/>
                </a:cubicBezTo>
                <a:cubicBezTo>
                  <a:pt x="3072599" y="4010619"/>
                  <a:pt x="3072599" y="4001596"/>
                  <a:pt x="3074658" y="4001596"/>
                </a:cubicBezTo>
                <a:cubicBezTo>
                  <a:pt x="3078778" y="4003851"/>
                  <a:pt x="3078778" y="4006108"/>
                  <a:pt x="3078778" y="4008362"/>
                </a:cubicBezTo>
                <a:close/>
                <a:moveTo>
                  <a:pt x="3097317" y="4046714"/>
                </a:moveTo>
                <a:cubicBezTo>
                  <a:pt x="3093197" y="4051223"/>
                  <a:pt x="3093197" y="4051223"/>
                  <a:pt x="3093197" y="4053481"/>
                </a:cubicBezTo>
                <a:cubicBezTo>
                  <a:pt x="3082898" y="4060247"/>
                  <a:pt x="3076717" y="4071529"/>
                  <a:pt x="3062297" y="4069274"/>
                </a:cubicBezTo>
                <a:cubicBezTo>
                  <a:pt x="3060236" y="4069274"/>
                  <a:pt x="3058177" y="4073783"/>
                  <a:pt x="3056116" y="4073783"/>
                </a:cubicBezTo>
                <a:cubicBezTo>
                  <a:pt x="3054058" y="4073783"/>
                  <a:pt x="3051999" y="4073783"/>
                  <a:pt x="3049938" y="4073783"/>
                </a:cubicBezTo>
                <a:cubicBezTo>
                  <a:pt x="3049938" y="4071529"/>
                  <a:pt x="3049938" y="4071529"/>
                  <a:pt x="3047879" y="4069274"/>
                </a:cubicBezTo>
                <a:cubicBezTo>
                  <a:pt x="3056116" y="4062504"/>
                  <a:pt x="3064356" y="4055736"/>
                  <a:pt x="3072599" y="4048968"/>
                </a:cubicBezTo>
                <a:cubicBezTo>
                  <a:pt x="3076717" y="4046714"/>
                  <a:pt x="3078778" y="4044457"/>
                  <a:pt x="3078778" y="4037691"/>
                </a:cubicBezTo>
                <a:cubicBezTo>
                  <a:pt x="3078778" y="4035434"/>
                  <a:pt x="3082898" y="4030921"/>
                  <a:pt x="3084957" y="4026410"/>
                </a:cubicBezTo>
                <a:cubicBezTo>
                  <a:pt x="3084957" y="4028664"/>
                  <a:pt x="3087018" y="4028664"/>
                  <a:pt x="3087018" y="4030921"/>
                </a:cubicBezTo>
                <a:cubicBezTo>
                  <a:pt x="3087018" y="4033179"/>
                  <a:pt x="3084957" y="4035434"/>
                  <a:pt x="3084957" y="4037691"/>
                </a:cubicBezTo>
                <a:cubicBezTo>
                  <a:pt x="3087018" y="4037691"/>
                  <a:pt x="3089077" y="4035434"/>
                  <a:pt x="3089077" y="4035434"/>
                </a:cubicBezTo>
                <a:cubicBezTo>
                  <a:pt x="3091138" y="4037691"/>
                  <a:pt x="3093197" y="4042202"/>
                  <a:pt x="3095259" y="4044457"/>
                </a:cubicBezTo>
                <a:cubicBezTo>
                  <a:pt x="3095259" y="4044457"/>
                  <a:pt x="3097317" y="4046714"/>
                  <a:pt x="3097317" y="4046714"/>
                </a:cubicBezTo>
                <a:close/>
                <a:moveTo>
                  <a:pt x="3101438" y="4080552"/>
                </a:moveTo>
                <a:cubicBezTo>
                  <a:pt x="3099379" y="4080552"/>
                  <a:pt x="3099379" y="4080552"/>
                  <a:pt x="3097317" y="4080552"/>
                </a:cubicBezTo>
                <a:cubicBezTo>
                  <a:pt x="3097317" y="4080552"/>
                  <a:pt x="3097317" y="4078295"/>
                  <a:pt x="3097317" y="4078295"/>
                </a:cubicBezTo>
                <a:cubicBezTo>
                  <a:pt x="3099379" y="4078295"/>
                  <a:pt x="3101438" y="4078295"/>
                  <a:pt x="3101438" y="4078295"/>
                </a:cubicBezTo>
                <a:cubicBezTo>
                  <a:pt x="3103499" y="4078295"/>
                  <a:pt x="3101438" y="4080552"/>
                  <a:pt x="3101438" y="4080552"/>
                </a:cubicBezTo>
                <a:close/>
                <a:moveTo>
                  <a:pt x="3187959" y="3954220"/>
                </a:moveTo>
                <a:cubicBezTo>
                  <a:pt x="3185898" y="3954220"/>
                  <a:pt x="3183839" y="3956477"/>
                  <a:pt x="3181777" y="3956477"/>
                </a:cubicBezTo>
                <a:cubicBezTo>
                  <a:pt x="3181777" y="3956477"/>
                  <a:pt x="3181777" y="3954220"/>
                  <a:pt x="3181777" y="3954220"/>
                </a:cubicBezTo>
                <a:cubicBezTo>
                  <a:pt x="3183839" y="3954220"/>
                  <a:pt x="3185898" y="3951965"/>
                  <a:pt x="3187959" y="3951965"/>
                </a:cubicBezTo>
                <a:cubicBezTo>
                  <a:pt x="3187959" y="3951965"/>
                  <a:pt x="3187959" y="3954220"/>
                  <a:pt x="3187959" y="3954220"/>
                </a:cubicBezTo>
                <a:close/>
                <a:moveTo>
                  <a:pt x="3190018" y="3920382"/>
                </a:moveTo>
                <a:cubicBezTo>
                  <a:pt x="3187959" y="3920382"/>
                  <a:pt x="3187959" y="3920382"/>
                  <a:pt x="3185898" y="3922640"/>
                </a:cubicBezTo>
                <a:cubicBezTo>
                  <a:pt x="3183839" y="3920382"/>
                  <a:pt x="3185898" y="3920382"/>
                  <a:pt x="3185898" y="3918128"/>
                </a:cubicBezTo>
                <a:cubicBezTo>
                  <a:pt x="3187959" y="3918128"/>
                  <a:pt x="3187959" y="3918128"/>
                  <a:pt x="3190018" y="3920382"/>
                </a:cubicBezTo>
                <a:close/>
                <a:moveTo>
                  <a:pt x="3235339" y="4089576"/>
                </a:moveTo>
                <a:lnTo>
                  <a:pt x="3232259" y="4086203"/>
                </a:lnTo>
                <a:lnTo>
                  <a:pt x="3231219" y="4087318"/>
                </a:lnTo>
                <a:lnTo>
                  <a:pt x="3231219" y="4088447"/>
                </a:lnTo>
                <a:close/>
                <a:moveTo>
                  <a:pt x="3245638" y="4103111"/>
                </a:moveTo>
                <a:lnTo>
                  <a:pt x="3241084" y="4094799"/>
                </a:lnTo>
                <a:lnTo>
                  <a:pt x="3239459" y="4097470"/>
                </a:lnTo>
                <a:lnTo>
                  <a:pt x="3239459" y="4101983"/>
                </a:lnTo>
                <a:lnTo>
                  <a:pt x="3241518" y="4103111"/>
                </a:lnTo>
                <a:lnTo>
                  <a:pt x="3239459" y="4104464"/>
                </a:lnTo>
                <a:lnTo>
                  <a:pt x="3239459" y="4105365"/>
                </a:lnTo>
                <a:cubicBezTo>
                  <a:pt x="3241518" y="4105365"/>
                  <a:pt x="3243579" y="4103111"/>
                  <a:pt x="3245638" y="4103111"/>
                </a:cubicBezTo>
                <a:close/>
                <a:moveTo>
                  <a:pt x="3284239" y="3898060"/>
                </a:moveTo>
                <a:lnTo>
                  <a:pt x="3274479" y="3902335"/>
                </a:lnTo>
                <a:cubicBezTo>
                  <a:pt x="3272420" y="3904589"/>
                  <a:pt x="3272420" y="3904589"/>
                  <a:pt x="3272420" y="3904589"/>
                </a:cubicBezTo>
                <a:cubicBezTo>
                  <a:pt x="3270359" y="3906846"/>
                  <a:pt x="3268300" y="3911359"/>
                  <a:pt x="3268300" y="3913616"/>
                </a:cubicBezTo>
                <a:cubicBezTo>
                  <a:pt x="3270359" y="3913616"/>
                  <a:pt x="3270359" y="3911359"/>
                  <a:pt x="3270359" y="3911359"/>
                </a:cubicBezTo>
                <a:close/>
                <a:moveTo>
                  <a:pt x="3286836" y="3895572"/>
                </a:moveTo>
                <a:lnTo>
                  <a:pt x="3284239" y="3898060"/>
                </a:lnTo>
                <a:lnTo>
                  <a:pt x="3284780" y="3897823"/>
                </a:lnTo>
                <a:close/>
                <a:moveTo>
                  <a:pt x="3286839" y="3895569"/>
                </a:moveTo>
                <a:lnTo>
                  <a:pt x="3286839" y="3895567"/>
                </a:lnTo>
                <a:lnTo>
                  <a:pt x="3286836" y="3895572"/>
                </a:lnTo>
                <a:close/>
                <a:moveTo>
                  <a:pt x="3356880" y="3870752"/>
                </a:moveTo>
                <a:cubicBezTo>
                  <a:pt x="3354819" y="3873010"/>
                  <a:pt x="3354819" y="3873010"/>
                  <a:pt x="3354819" y="3875264"/>
                </a:cubicBezTo>
                <a:cubicBezTo>
                  <a:pt x="3354819" y="3875264"/>
                  <a:pt x="3352760" y="3877521"/>
                  <a:pt x="3352760" y="3877521"/>
                </a:cubicBezTo>
                <a:cubicBezTo>
                  <a:pt x="3352760" y="3877521"/>
                  <a:pt x="3350701" y="3875264"/>
                  <a:pt x="3350701" y="3875264"/>
                </a:cubicBezTo>
                <a:cubicBezTo>
                  <a:pt x="3352760" y="3873010"/>
                  <a:pt x="3354819" y="3873010"/>
                  <a:pt x="3356880" y="3870752"/>
                </a:cubicBezTo>
                <a:close/>
                <a:moveTo>
                  <a:pt x="3363059" y="3900080"/>
                </a:moveTo>
                <a:cubicBezTo>
                  <a:pt x="3361000" y="3902335"/>
                  <a:pt x="3358939" y="3902335"/>
                  <a:pt x="3358939" y="3902335"/>
                </a:cubicBezTo>
                <a:cubicBezTo>
                  <a:pt x="3358939" y="3902335"/>
                  <a:pt x="3358939" y="3900080"/>
                  <a:pt x="3361000" y="3900080"/>
                </a:cubicBezTo>
                <a:cubicBezTo>
                  <a:pt x="3361000" y="3900080"/>
                  <a:pt x="3363059" y="3900080"/>
                  <a:pt x="3363059" y="3900080"/>
                </a:cubicBezTo>
                <a:close/>
                <a:moveTo>
                  <a:pt x="3466062" y="3891057"/>
                </a:moveTo>
                <a:cubicBezTo>
                  <a:pt x="3461942" y="3895569"/>
                  <a:pt x="3455760" y="3900080"/>
                  <a:pt x="3447519" y="3900080"/>
                </a:cubicBezTo>
                <a:cubicBezTo>
                  <a:pt x="3447519" y="3897823"/>
                  <a:pt x="3449582" y="3897823"/>
                  <a:pt x="3449582" y="3895569"/>
                </a:cubicBezTo>
                <a:cubicBezTo>
                  <a:pt x="3447519" y="3895569"/>
                  <a:pt x="3445462" y="3897823"/>
                  <a:pt x="3443403" y="3897823"/>
                </a:cubicBezTo>
                <a:cubicBezTo>
                  <a:pt x="3441341" y="3897823"/>
                  <a:pt x="3439282" y="3895569"/>
                  <a:pt x="3439282" y="3893312"/>
                </a:cubicBezTo>
                <a:cubicBezTo>
                  <a:pt x="3439282" y="3891057"/>
                  <a:pt x="3439282" y="3891057"/>
                  <a:pt x="3439282" y="3888799"/>
                </a:cubicBezTo>
                <a:cubicBezTo>
                  <a:pt x="3443403" y="3886545"/>
                  <a:pt x="3447519" y="3886545"/>
                  <a:pt x="3449582" y="3884287"/>
                </a:cubicBezTo>
                <a:cubicBezTo>
                  <a:pt x="3451641" y="3884287"/>
                  <a:pt x="3453702" y="3882033"/>
                  <a:pt x="3453702" y="3882033"/>
                </a:cubicBezTo>
                <a:cubicBezTo>
                  <a:pt x="3457821" y="3884287"/>
                  <a:pt x="3461942" y="3886545"/>
                  <a:pt x="3466062" y="3891057"/>
                </a:cubicBezTo>
                <a:close/>
                <a:moveTo>
                  <a:pt x="3474301" y="4033179"/>
                </a:moveTo>
                <a:cubicBezTo>
                  <a:pt x="3474301" y="4042202"/>
                  <a:pt x="3468121" y="4051223"/>
                  <a:pt x="3461942" y="4057993"/>
                </a:cubicBezTo>
                <a:cubicBezTo>
                  <a:pt x="3464000" y="4048968"/>
                  <a:pt x="3466062" y="4039945"/>
                  <a:pt x="3474301" y="4033179"/>
                </a:cubicBezTo>
                <a:close/>
                <a:moveTo>
                  <a:pt x="3478423" y="4177555"/>
                </a:moveTo>
                <a:cubicBezTo>
                  <a:pt x="3478423" y="4186579"/>
                  <a:pt x="3472241" y="4188834"/>
                  <a:pt x="3472241" y="4193349"/>
                </a:cubicBezTo>
                <a:cubicBezTo>
                  <a:pt x="3470182" y="4186579"/>
                  <a:pt x="3472241" y="4182068"/>
                  <a:pt x="3478423" y="4177555"/>
                </a:cubicBezTo>
                <a:close/>
                <a:moveTo>
                  <a:pt x="3536103" y="4301630"/>
                </a:moveTo>
                <a:cubicBezTo>
                  <a:pt x="3538162" y="4308397"/>
                  <a:pt x="3529922" y="4310654"/>
                  <a:pt x="3529922" y="4317420"/>
                </a:cubicBezTo>
                <a:cubicBezTo>
                  <a:pt x="3527860" y="4310654"/>
                  <a:pt x="3529922" y="4306142"/>
                  <a:pt x="3536103" y="4301630"/>
                </a:cubicBezTo>
                <a:close/>
                <a:moveTo>
                  <a:pt x="3552581" y="4012874"/>
                </a:moveTo>
                <a:cubicBezTo>
                  <a:pt x="3554642" y="4019643"/>
                  <a:pt x="3552581" y="4024155"/>
                  <a:pt x="3550522" y="4028664"/>
                </a:cubicBezTo>
                <a:cubicBezTo>
                  <a:pt x="3544341" y="4037691"/>
                  <a:pt x="3538162" y="4046714"/>
                  <a:pt x="3531983" y="4057993"/>
                </a:cubicBezTo>
                <a:cubicBezTo>
                  <a:pt x="3527860" y="4057993"/>
                  <a:pt x="3525801" y="4060247"/>
                  <a:pt x="3523740" y="4064761"/>
                </a:cubicBezTo>
                <a:cubicBezTo>
                  <a:pt x="3525801" y="4062504"/>
                  <a:pt x="3527860" y="4062504"/>
                  <a:pt x="3529922" y="4060247"/>
                </a:cubicBezTo>
                <a:cubicBezTo>
                  <a:pt x="3525801" y="4064761"/>
                  <a:pt x="3523740" y="4069274"/>
                  <a:pt x="3519621" y="4073783"/>
                </a:cubicBezTo>
                <a:cubicBezTo>
                  <a:pt x="3519621" y="4073783"/>
                  <a:pt x="3517562" y="4073783"/>
                  <a:pt x="3515503" y="4073783"/>
                </a:cubicBezTo>
                <a:cubicBezTo>
                  <a:pt x="3513442" y="4069274"/>
                  <a:pt x="3515503" y="4064761"/>
                  <a:pt x="3517562" y="4060247"/>
                </a:cubicBezTo>
                <a:cubicBezTo>
                  <a:pt x="3521682" y="4053481"/>
                  <a:pt x="3523740" y="4046714"/>
                  <a:pt x="3525801" y="4037691"/>
                </a:cubicBezTo>
                <a:cubicBezTo>
                  <a:pt x="3525801" y="4035434"/>
                  <a:pt x="3525801" y="4035434"/>
                  <a:pt x="3525801" y="4033179"/>
                </a:cubicBezTo>
                <a:cubicBezTo>
                  <a:pt x="3529922" y="4024155"/>
                  <a:pt x="3536103" y="4015132"/>
                  <a:pt x="3542282" y="4010619"/>
                </a:cubicBezTo>
                <a:cubicBezTo>
                  <a:pt x="3546403" y="4008362"/>
                  <a:pt x="3548462" y="4008362"/>
                  <a:pt x="3552581" y="4012874"/>
                </a:cubicBezTo>
                <a:close/>
                <a:moveTo>
                  <a:pt x="3579363" y="4324190"/>
                </a:moveTo>
                <a:cubicBezTo>
                  <a:pt x="3577302" y="4324190"/>
                  <a:pt x="3575243" y="4326444"/>
                  <a:pt x="3573181" y="4326444"/>
                </a:cubicBezTo>
                <a:cubicBezTo>
                  <a:pt x="3573181" y="4333211"/>
                  <a:pt x="3571123" y="4337724"/>
                  <a:pt x="3567003" y="4339979"/>
                </a:cubicBezTo>
                <a:cubicBezTo>
                  <a:pt x="3573181" y="4335468"/>
                  <a:pt x="3577302" y="4330956"/>
                  <a:pt x="3579363" y="4324190"/>
                </a:cubicBezTo>
                <a:close/>
                <a:moveTo>
                  <a:pt x="3614383" y="4136949"/>
                </a:moveTo>
                <a:cubicBezTo>
                  <a:pt x="3612321" y="4141460"/>
                  <a:pt x="3610262" y="4148230"/>
                  <a:pt x="3608203" y="4152739"/>
                </a:cubicBezTo>
                <a:cubicBezTo>
                  <a:pt x="3597902" y="4168532"/>
                  <a:pt x="3587603" y="4182068"/>
                  <a:pt x="3577302" y="4197857"/>
                </a:cubicBezTo>
                <a:cubicBezTo>
                  <a:pt x="3577302" y="4197857"/>
                  <a:pt x="3575243" y="4197857"/>
                  <a:pt x="3573181" y="4197857"/>
                </a:cubicBezTo>
                <a:cubicBezTo>
                  <a:pt x="3571123" y="4193349"/>
                  <a:pt x="3573181" y="4188834"/>
                  <a:pt x="3575243" y="4184322"/>
                </a:cubicBezTo>
                <a:cubicBezTo>
                  <a:pt x="3577302" y="4182068"/>
                  <a:pt x="3577302" y="4179809"/>
                  <a:pt x="3579363" y="4175298"/>
                </a:cubicBezTo>
                <a:cubicBezTo>
                  <a:pt x="3579363" y="4175298"/>
                  <a:pt x="3579363" y="4175298"/>
                  <a:pt x="3581422" y="4177555"/>
                </a:cubicBezTo>
                <a:cubicBezTo>
                  <a:pt x="3583483" y="4173043"/>
                  <a:pt x="3585542" y="4170789"/>
                  <a:pt x="3589662" y="4166277"/>
                </a:cubicBezTo>
                <a:cubicBezTo>
                  <a:pt x="3589662" y="4166277"/>
                  <a:pt x="3587603" y="4164020"/>
                  <a:pt x="3587603" y="4164020"/>
                </a:cubicBezTo>
                <a:cubicBezTo>
                  <a:pt x="3585542" y="4166277"/>
                  <a:pt x="3583483" y="4168532"/>
                  <a:pt x="3583483" y="4170789"/>
                </a:cubicBezTo>
                <a:cubicBezTo>
                  <a:pt x="3585542" y="4168532"/>
                  <a:pt x="3585542" y="4164020"/>
                  <a:pt x="3585542" y="4161762"/>
                </a:cubicBezTo>
                <a:cubicBezTo>
                  <a:pt x="3587603" y="4150484"/>
                  <a:pt x="3595844" y="4141460"/>
                  <a:pt x="3604084" y="4134694"/>
                </a:cubicBezTo>
                <a:cubicBezTo>
                  <a:pt x="3608203" y="4132437"/>
                  <a:pt x="3610262" y="4132437"/>
                  <a:pt x="3614383" y="4136949"/>
                </a:cubicBezTo>
                <a:close/>
                <a:moveTo>
                  <a:pt x="3639103" y="4252000"/>
                </a:moveTo>
                <a:cubicBezTo>
                  <a:pt x="3637042" y="4254254"/>
                  <a:pt x="3632922" y="4258766"/>
                  <a:pt x="3634983" y="4265535"/>
                </a:cubicBezTo>
                <a:cubicBezTo>
                  <a:pt x="3637042" y="4261023"/>
                  <a:pt x="3639103" y="4256512"/>
                  <a:pt x="3639103" y="4252000"/>
                </a:cubicBezTo>
                <a:close/>
                <a:moveTo>
                  <a:pt x="3641162" y="4098599"/>
                </a:moveTo>
                <a:cubicBezTo>
                  <a:pt x="3641162" y="4100854"/>
                  <a:pt x="3641162" y="4100854"/>
                  <a:pt x="3639103" y="4103111"/>
                </a:cubicBezTo>
                <a:cubicBezTo>
                  <a:pt x="3639103" y="4103111"/>
                  <a:pt x="3637042" y="4103111"/>
                  <a:pt x="3637042" y="4103111"/>
                </a:cubicBezTo>
                <a:cubicBezTo>
                  <a:pt x="3639103" y="4100854"/>
                  <a:pt x="3639103" y="4098599"/>
                  <a:pt x="3641162" y="4098599"/>
                </a:cubicBezTo>
                <a:close/>
                <a:moveTo>
                  <a:pt x="3651464" y="4209138"/>
                </a:moveTo>
                <a:cubicBezTo>
                  <a:pt x="3651464" y="4209138"/>
                  <a:pt x="3649405" y="4209138"/>
                  <a:pt x="3647344" y="4209138"/>
                </a:cubicBezTo>
                <a:cubicBezTo>
                  <a:pt x="3647344" y="4211393"/>
                  <a:pt x="3647344" y="4211393"/>
                  <a:pt x="3647344" y="4213651"/>
                </a:cubicBezTo>
                <a:cubicBezTo>
                  <a:pt x="3649405" y="4213651"/>
                  <a:pt x="3649405" y="4211393"/>
                  <a:pt x="3651464" y="4209138"/>
                </a:cubicBezTo>
                <a:close/>
                <a:moveTo>
                  <a:pt x="3653522" y="4114390"/>
                </a:moveTo>
                <a:cubicBezTo>
                  <a:pt x="3649405" y="4121158"/>
                  <a:pt x="3647344" y="4127925"/>
                  <a:pt x="3639103" y="4130180"/>
                </a:cubicBezTo>
                <a:cubicBezTo>
                  <a:pt x="3643223" y="4116647"/>
                  <a:pt x="3643223" y="4116647"/>
                  <a:pt x="3653522" y="4114390"/>
                </a:cubicBezTo>
                <a:close/>
                <a:moveTo>
                  <a:pt x="3653522" y="4234328"/>
                </a:moveTo>
                <a:lnTo>
                  <a:pt x="3653069" y="4234246"/>
                </a:lnTo>
                <a:lnTo>
                  <a:pt x="3648631" y="4238747"/>
                </a:lnTo>
                <a:cubicBezTo>
                  <a:pt x="3646828" y="4241848"/>
                  <a:pt x="3645283" y="4245232"/>
                  <a:pt x="3643223" y="4247487"/>
                </a:cubicBezTo>
                <a:close/>
                <a:moveTo>
                  <a:pt x="3762703" y="4082806"/>
                </a:moveTo>
                <a:cubicBezTo>
                  <a:pt x="3758583" y="4089576"/>
                  <a:pt x="3750343" y="4100854"/>
                  <a:pt x="3742106" y="4103111"/>
                </a:cubicBezTo>
                <a:cubicBezTo>
                  <a:pt x="3740044" y="4105365"/>
                  <a:pt x="3737983" y="4107623"/>
                  <a:pt x="3737983" y="4107623"/>
                </a:cubicBezTo>
                <a:cubicBezTo>
                  <a:pt x="3737983" y="4118901"/>
                  <a:pt x="3731804" y="4121158"/>
                  <a:pt x="3725622" y="4123413"/>
                </a:cubicBezTo>
                <a:cubicBezTo>
                  <a:pt x="3731804" y="4105365"/>
                  <a:pt x="3737983" y="4094088"/>
                  <a:pt x="3748285" y="4087318"/>
                </a:cubicBezTo>
                <a:cubicBezTo>
                  <a:pt x="3752404" y="4082806"/>
                  <a:pt x="3756524" y="4080552"/>
                  <a:pt x="3762703" y="4082806"/>
                </a:cubicBezTo>
                <a:close/>
                <a:moveTo>
                  <a:pt x="3779183" y="4051223"/>
                </a:moveTo>
                <a:cubicBezTo>
                  <a:pt x="3777122" y="4053481"/>
                  <a:pt x="3775064" y="4055736"/>
                  <a:pt x="3775064" y="4057993"/>
                </a:cubicBezTo>
                <a:cubicBezTo>
                  <a:pt x="3775064" y="4055736"/>
                  <a:pt x="3775064" y="4051223"/>
                  <a:pt x="3777122" y="4048968"/>
                </a:cubicBezTo>
                <a:cubicBezTo>
                  <a:pt x="3777122" y="4048968"/>
                  <a:pt x="3779183" y="4048968"/>
                  <a:pt x="3779183" y="4051223"/>
                </a:cubicBezTo>
                <a:close/>
                <a:moveTo>
                  <a:pt x="4065527" y="3967758"/>
                </a:moveTo>
                <a:cubicBezTo>
                  <a:pt x="4051108" y="3983549"/>
                  <a:pt x="4009906" y="4008362"/>
                  <a:pt x="3981066" y="4017386"/>
                </a:cubicBezTo>
                <a:cubicBezTo>
                  <a:pt x="4007845" y="3994826"/>
                  <a:pt x="4036686" y="3983549"/>
                  <a:pt x="4065527" y="3967758"/>
                </a:cubicBezTo>
                <a:close/>
                <a:moveTo>
                  <a:pt x="5171757" y="3006744"/>
                </a:moveTo>
                <a:cubicBezTo>
                  <a:pt x="5167637" y="3006744"/>
                  <a:pt x="5163517" y="3008998"/>
                  <a:pt x="5159397" y="3011256"/>
                </a:cubicBezTo>
                <a:cubicBezTo>
                  <a:pt x="5159397" y="3011256"/>
                  <a:pt x="5159397" y="3008998"/>
                  <a:pt x="5159397" y="3008998"/>
                </a:cubicBezTo>
                <a:cubicBezTo>
                  <a:pt x="5157336" y="3008998"/>
                  <a:pt x="5155277" y="3008998"/>
                  <a:pt x="5151157" y="3006744"/>
                </a:cubicBezTo>
                <a:cubicBezTo>
                  <a:pt x="5159397" y="3004489"/>
                  <a:pt x="5163517" y="3004489"/>
                  <a:pt x="5165579" y="3004489"/>
                </a:cubicBezTo>
                <a:cubicBezTo>
                  <a:pt x="5167637" y="3004489"/>
                  <a:pt x="5169698" y="3006744"/>
                  <a:pt x="5171757" y="3006744"/>
                </a:cubicBezTo>
                <a:close/>
                <a:moveTo>
                  <a:pt x="5196477" y="2975160"/>
                </a:moveTo>
                <a:cubicBezTo>
                  <a:pt x="5196477" y="2975160"/>
                  <a:pt x="5194418" y="2977418"/>
                  <a:pt x="5194418" y="2977418"/>
                </a:cubicBezTo>
                <a:cubicBezTo>
                  <a:pt x="5194418" y="2977418"/>
                  <a:pt x="5192357" y="2977418"/>
                  <a:pt x="5190299" y="2977418"/>
                </a:cubicBezTo>
                <a:cubicBezTo>
                  <a:pt x="5186177" y="2977418"/>
                  <a:pt x="5182056" y="2979672"/>
                  <a:pt x="5182056" y="2986440"/>
                </a:cubicBezTo>
                <a:cubicBezTo>
                  <a:pt x="5182056" y="2988696"/>
                  <a:pt x="5175877" y="2990954"/>
                  <a:pt x="5171757" y="2993208"/>
                </a:cubicBezTo>
                <a:cubicBezTo>
                  <a:pt x="5171757" y="2986440"/>
                  <a:pt x="5171757" y="2984185"/>
                  <a:pt x="5171757" y="2979672"/>
                </a:cubicBezTo>
                <a:cubicBezTo>
                  <a:pt x="5171757" y="2979672"/>
                  <a:pt x="5171757" y="2977418"/>
                  <a:pt x="5173818" y="2977418"/>
                </a:cubicBezTo>
                <a:cubicBezTo>
                  <a:pt x="5179997" y="2975160"/>
                  <a:pt x="5186177" y="2972904"/>
                  <a:pt x="5192357" y="2968394"/>
                </a:cubicBezTo>
                <a:cubicBezTo>
                  <a:pt x="5194418" y="2968394"/>
                  <a:pt x="5196477" y="2968394"/>
                  <a:pt x="5196477" y="2968394"/>
                </a:cubicBezTo>
                <a:cubicBezTo>
                  <a:pt x="5194418" y="2970649"/>
                  <a:pt x="5192357" y="2970649"/>
                  <a:pt x="5188238" y="2972904"/>
                </a:cubicBezTo>
                <a:cubicBezTo>
                  <a:pt x="5190299" y="2975160"/>
                  <a:pt x="5194418" y="2975160"/>
                  <a:pt x="5196477" y="2975160"/>
                </a:cubicBezTo>
                <a:close/>
                <a:moveTo>
                  <a:pt x="5466341" y="2717988"/>
                </a:moveTo>
                <a:lnTo>
                  <a:pt x="5458098" y="2720245"/>
                </a:lnTo>
                <a:lnTo>
                  <a:pt x="5458100" y="2720245"/>
                </a:lnTo>
                <a:cubicBezTo>
                  <a:pt x="5460159" y="2720245"/>
                  <a:pt x="5464282" y="2717988"/>
                  <a:pt x="5466341" y="2717988"/>
                </a:cubicBezTo>
                <a:close/>
                <a:moveTo>
                  <a:pt x="5472521" y="2742804"/>
                </a:moveTo>
                <a:cubicBezTo>
                  <a:pt x="5470460" y="2742804"/>
                  <a:pt x="5466341" y="2745058"/>
                  <a:pt x="5464282" y="2745058"/>
                </a:cubicBezTo>
                <a:cubicBezTo>
                  <a:pt x="5464282" y="2747316"/>
                  <a:pt x="5464282" y="2747316"/>
                  <a:pt x="5462220" y="2747316"/>
                </a:cubicBezTo>
                <a:cubicBezTo>
                  <a:pt x="5464282" y="2745058"/>
                  <a:pt x="5466341" y="2740547"/>
                  <a:pt x="5468402" y="2738292"/>
                </a:cubicBezTo>
                <a:cubicBezTo>
                  <a:pt x="5470460" y="2740547"/>
                  <a:pt x="5472521" y="2740547"/>
                  <a:pt x="5472521" y="2742804"/>
                </a:cubicBezTo>
                <a:close/>
                <a:moveTo>
                  <a:pt x="5476639" y="2751828"/>
                </a:moveTo>
                <a:cubicBezTo>
                  <a:pt x="5474580" y="2751828"/>
                  <a:pt x="5470460" y="2751828"/>
                  <a:pt x="5468402" y="2754082"/>
                </a:cubicBezTo>
                <a:cubicBezTo>
                  <a:pt x="5466341" y="2754082"/>
                  <a:pt x="5462220" y="2754082"/>
                  <a:pt x="5460159" y="2754082"/>
                </a:cubicBezTo>
                <a:cubicBezTo>
                  <a:pt x="5464282" y="2751828"/>
                  <a:pt x="5470460" y="2749571"/>
                  <a:pt x="5474580" y="2747316"/>
                </a:cubicBezTo>
                <a:cubicBezTo>
                  <a:pt x="5474580" y="2749571"/>
                  <a:pt x="5476639" y="2749571"/>
                  <a:pt x="5476639" y="2751828"/>
                </a:cubicBezTo>
                <a:close/>
                <a:moveTo>
                  <a:pt x="5497239" y="2871388"/>
                </a:moveTo>
                <a:cubicBezTo>
                  <a:pt x="5497239" y="2871388"/>
                  <a:pt x="5497239" y="2869133"/>
                  <a:pt x="5497239" y="2869133"/>
                </a:cubicBezTo>
                <a:cubicBezTo>
                  <a:pt x="5493121" y="2869133"/>
                  <a:pt x="5489000" y="2871388"/>
                  <a:pt x="5486941" y="2871388"/>
                </a:cubicBezTo>
                <a:cubicBezTo>
                  <a:pt x="5484880" y="2871388"/>
                  <a:pt x="5482821" y="2873645"/>
                  <a:pt x="5486941" y="2878158"/>
                </a:cubicBezTo>
                <a:cubicBezTo>
                  <a:pt x="5491061" y="2875903"/>
                  <a:pt x="5493121" y="2873645"/>
                  <a:pt x="5497239" y="2871388"/>
                </a:cubicBezTo>
                <a:close/>
                <a:moveTo>
                  <a:pt x="5513720" y="2887180"/>
                </a:moveTo>
                <a:cubicBezTo>
                  <a:pt x="5501360" y="2893947"/>
                  <a:pt x="5491061" y="2896205"/>
                  <a:pt x="5482821" y="2896205"/>
                </a:cubicBezTo>
                <a:cubicBezTo>
                  <a:pt x="5464282" y="2898460"/>
                  <a:pt x="5443680" y="2902971"/>
                  <a:pt x="5425139" y="2907482"/>
                </a:cubicBezTo>
                <a:cubicBezTo>
                  <a:pt x="5418960" y="2907482"/>
                  <a:pt x="5412779" y="2909740"/>
                  <a:pt x="5404539" y="2911994"/>
                </a:cubicBezTo>
                <a:cubicBezTo>
                  <a:pt x="5400421" y="2911994"/>
                  <a:pt x="5396298" y="2914252"/>
                  <a:pt x="5396298" y="2916507"/>
                </a:cubicBezTo>
                <a:cubicBezTo>
                  <a:pt x="5390120" y="2927788"/>
                  <a:pt x="5379821" y="2930042"/>
                  <a:pt x="5369519" y="2934554"/>
                </a:cubicBezTo>
                <a:cubicBezTo>
                  <a:pt x="5369519" y="2934554"/>
                  <a:pt x="5369519" y="2936811"/>
                  <a:pt x="5367457" y="2936811"/>
                </a:cubicBezTo>
                <a:cubicBezTo>
                  <a:pt x="5369519" y="2939066"/>
                  <a:pt x="5371578" y="2941323"/>
                  <a:pt x="5371578" y="2943578"/>
                </a:cubicBezTo>
                <a:cubicBezTo>
                  <a:pt x="5369519" y="2945836"/>
                  <a:pt x="5367457" y="2948090"/>
                  <a:pt x="5365399" y="2948090"/>
                </a:cubicBezTo>
                <a:cubicBezTo>
                  <a:pt x="5361279" y="2948090"/>
                  <a:pt x="5355100" y="2948090"/>
                  <a:pt x="5350980" y="2950347"/>
                </a:cubicBezTo>
                <a:cubicBezTo>
                  <a:pt x="5348918" y="2950347"/>
                  <a:pt x="5346860" y="2950347"/>
                  <a:pt x="5344798" y="2950347"/>
                </a:cubicBezTo>
                <a:cubicBezTo>
                  <a:pt x="5346860" y="2948090"/>
                  <a:pt x="5346860" y="2945836"/>
                  <a:pt x="5346860" y="2943578"/>
                </a:cubicBezTo>
                <a:cubicBezTo>
                  <a:pt x="5340679" y="2941323"/>
                  <a:pt x="5334500" y="2941323"/>
                  <a:pt x="5330380" y="2945836"/>
                </a:cubicBezTo>
                <a:cubicBezTo>
                  <a:pt x="5311838" y="2959370"/>
                  <a:pt x="5287120" y="2952602"/>
                  <a:pt x="5266520" y="2968394"/>
                </a:cubicBezTo>
                <a:cubicBezTo>
                  <a:pt x="5266520" y="2968394"/>
                  <a:pt x="5266520" y="2968394"/>
                  <a:pt x="5264458" y="2968394"/>
                </a:cubicBezTo>
                <a:cubicBezTo>
                  <a:pt x="5256218" y="2966138"/>
                  <a:pt x="5247977" y="2970649"/>
                  <a:pt x="5241799" y="2972904"/>
                </a:cubicBezTo>
                <a:cubicBezTo>
                  <a:pt x="5227377" y="2975160"/>
                  <a:pt x="5210897" y="2979672"/>
                  <a:pt x="5196477" y="2981930"/>
                </a:cubicBezTo>
                <a:cubicBezTo>
                  <a:pt x="5204718" y="2979672"/>
                  <a:pt x="5212958" y="2977418"/>
                  <a:pt x="5221198" y="2972904"/>
                </a:cubicBezTo>
                <a:cubicBezTo>
                  <a:pt x="5221198" y="2972904"/>
                  <a:pt x="5221198" y="2970649"/>
                  <a:pt x="5221198" y="2970649"/>
                </a:cubicBezTo>
                <a:cubicBezTo>
                  <a:pt x="5217079" y="2970649"/>
                  <a:pt x="5212958" y="2970649"/>
                  <a:pt x="5208838" y="2970649"/>
                </a:cubicBezTo>
                <a:cubicBezTo>
                  <a:pt x="5208838" y="2970649"/>
                  <a:pt x="5208838" y="2968394"/>
                  <a:pt x="5208838" y="2968394"/>
                </a:cubicBezTo>
                <a:cubicBezTo>
                  <a:pt x="5208838" y="2968394"/>
                  <a:pt x="5210897" y="2966138"/>
                  <a:pt x="5210897" y="2963883"/>
                </a:cubicBezTo>
                <a:cubicBezTo>
                  <a:pt x="5210897" y="2963883"/>
                  <a:pt x="5210897" y="2963883"/>
                  <a:pt x="5210897" y="2961625"/>
                </a:cubicBezTo>
                <a:cubicBezTo>
                  <a:pt x="5221198" y="2959370"/>
                  <a:pt x="5229438" y="2957113"/>
                  <a:pt x="5239738" y="2954858"/>
                </a:cubicBezTo>
                <a:cubicBezTo>
                  <a:pt x="5264458" y="2952602"/>
                  <a:pt x="5289179" y="2945836"/>
                  <a:pt x="5311838" y="2939066"/>
                </a:cubicBezTo>
                <a:cubicBezTo>
                  <a:pt x="5324198" y="2934554"/>
                  <a:pt x="5336559" y="2934554"/>
                  <a:pt x="5348918" y="2932300"/>
                </a:cubicBezTo>
                <a:cubicBezTo>
                  <a:pt x="5361279" y="2930042"/>
                  <a:pt x="5371578" y="2925530"/>
                  <a:pt x="5383938" y="2923276"/>
                </a:cubicBezTo>
                <a:cubicBezTo>
                  <a:pt x="5386000" y="2923276"/>
                  <a:pt x="5388059" y="2921018"/>
                  <a:pt x="5392178" y="2918764"/>
                </a:cubicBezTo>
                <a:cubicBezTo>
                  <a:pt x="5388059" y="2916507"/>
                  <a:pt x="5386000" y="2916507"/>
                  <a:pt x="5383938" y="2916507"/>
                </a:cubicBezTo>
                <a:cubicBezTo>
                  <a:pt x="5373639" y="2918764"/>
                  <a:pt x="5363338" y="2921018"/>
                  <a:pt x="5353039" y="2923276"/>
                </a:cubicBezTo>
                <a:cubicBezTo>
                  <a:pt x="5322139" y="2930042"/>
                  <a:pt x="5291237" y="2936811"/>
                  <a:pt x="5260338" y="2943578"/>
                </a:cubicBezTo>
                <a:cubicBezTo>
                  <a:pt x="5258279" y="2943578"/>
                  <a:pt x="5256218" y="2943578"/>
                  <a:pt x="5254157" y="2943578"/>
                </a:cubicBezTo>
                <a:cubicBezTo>
                  <a:pt x="5258279" y="2934554"/>
                  <a:pt x="5268578" y="2936811"/>
                  <a:pt x="5274757" y="2934554"/>
                </a:cubicBezTo>
                <a:cubicBezTo>
                  <a:pt x="5280938" y="2932300"/>
                  <a:pt x="5287120" y="2930042"/>
                  <a:pt x="5295357" y="2930042"/>
                </a:cubicBezTo>
                <a:cubicBezTo>
                  <a:pt x="5301539" y="2927788"/>
                  <a:pt x="5309779" y="2925530"/>
                  <a:pt x="5315957" y="2925530"/>
                </a:cubicBezTo>
                <a:cubicBezTo>
                  <a:pt x="5324198" y="2923276"/>
                  <a:pt x="5330380" y="2923276"/>
                  <a:pt x="5338620" y="2921018"/>
                </a:cubicBezTo>
                <a:cubicBezTo>
                  <a:pt x="5344798" y="2918764"/>
                  <a:pt x="5350980" y="2918764"/>
                  <a:pt x="5359220" y="2916507"/>
                </a:cubicBezTo>
                <a:cubicBezTo>
                  <a:pt x="5365399" y="2914252"/>
                  <a:pt x="5373639" y="2914252"/>
                  <a:pt x="5379821" y="2911994"/>
                </a:cubicBezTo>
                <a:cubicBezTo>
                  <a:pt x="5377759" y="2909740"/>
                  <a:pt x="5377759" y="2907482"/>
                  <a:pt x="5377759" y="2905228"/>
                </a:cubicBezTo>
                <a:cubicBezTo>
                  <a:pt x="5394239" y="2905228"/>
                  <a:pt x="5406600" y="2898460"/>
                  <a:pt x="5423080" y="2896205"/>
                </a:cubicBezTo>
                <a:cubicBezTo>
                  <a:pt x="5423080" y="2896205"/>
                  <a:pt x="5423080" y="2896205"/>
                  <a:pt x="5423080" y="2898460"/>
                </a:cubicBezTo>
                <a:cubicBezTo>
                  <a:pt x="5421019" y="2898460"/>
                  <a:pt x="5421019" y="2900716"/>
                  <a:pt x="5418960" y="2900716"/>
                </a:cubicBezTo>
                <a:cubicBezTo>
                  <a:pt x="5421019" y="2902971"/>
                  <a:pt x="5421019" y="2905228"/>
                  <a:pt x="5423080" y="2902971"/>
                </a:cubicBezTo>
                <a:cubicBezTo>
                  <a:pt x="5441619" y="2898460"/>
                  <a:pt x="5462220" y="2893947"/>
                  <a:pt x="5480759" y="2891692"/>
                </a:cubicBezTo>
                <a:cubicBezTo>
                  <a:pt x="5491061" y="2896205"/>
                  <a:pt x="5501360" y="2887180"/>
                  <a:pt x="5511661" y="2887180"/>
                </a:cubicBezTo>
                <a:cubicBezTo>
                  <a:pt x="5511661" y="2887180"/>
                  <a:pt x="5513720" y="2887180"/>
                  <a:pt x="5513720" y="2887180"/>
                </a:cubicBezTo>
                <a:close/>
                <a:moveTo>
                  <a:pt x="5532262" y="2812736"/>
                </a:moveTo>
                <a:cubicBezTo>
                  <a:pt x="5528139" y="2817248"/>
                  <a:pt x="5526080" y="2814991"/>
                  <a:pt x="5526080" y="2810480"/>
                </a:cubicBezTo>
                <a:cubicBezTo>
                  <a:pt x="5526080" y="2805968"/>
                  <a:pt x="5526080" y="2803714"/>
                  <a:pt x="5526080" y="2796944"/>
                </a:cubicBezTo>
                <a:cubicBezTo>
                  <a:pt x="5528139" y="2803714"/>
                  <a:pt x="5530200" y="2808225"/>
                  <a:pt x="5532262" y="2812736"/>
                </a:cubicBezTo>
                <a:close/>
                <a:moveTo>
                  <a:pt x="5540502" y="2751828"/>
                </a:moveTo>
                <a:cubicBezTo>
                  <a:pt x="5538441" y="2751828"/>
                  <a:pt x="5534321" y="2754082"/>
                  <a:pt x="5530200" y="2754082"/>
                </a:cubicBezTo>
                <a:cubicBezTo>
                  <a:pt x="5532262" y="2751828"/>
                  <a:pt x="5536382" y="2749571"/>
                  <a:pt x="5538441" y="2747316"/>
                </a:cubicBezTo>
                <a:cubicBezTo>
                  <a:pt x="5538441" y="2747316"/>
                  <a:pt x="5540502" y="2747316"/>
                  <a:pt x="5540502" y="2747316"/>
                </a:cubicBezTo>
                <a:cubicBezTo>
                  <a:pt x="5540502" y="2749571"/>
                  <a:pt x="5540502" y="2749571"/>
                  <a:pt x="5540502" y="2751828"/>
                </a:cubicBezTo>
                <a:close/>
                <a:moveTo>
                  <a:pt x="5556982" y="2866878"/>
                </a:moveTo>
                <a:cubicBezTo>
                  <a:pt x="5550801" y="2869133"/>
                  <a:pt x="5542560" y="2871388"/>
                  <a:pt x="5536382" y="2875903"/>
                </a:cubicBezTo>
                <a:cubicBezTo>
                  <a:pt x="5532262" y="2875903"/>
                  <a:pt x="5530200" y="2878158"/>
                  <a:pt x="5526080" y="2878158"/>
                </a:cubicBezTo>
                <a:cubicBezTo>
                  <a:pt x="5524021" y="2878158"/>
                  <a:pt x="5519901" y="2878158"/>
                  <a:pt x="5517840" y="2878158"/>
                </a:cubicBezTo>
                <a:cubicBezTo>
                  <a:pt x="5526080" y="2871388"/>
                  <a:pt x="5536382" y="2869133"/>
                  <a:pt x="5546680" y="2869133"/>
                </a:cubicBezTo>
                <a:cubicBezTo>
                  <a:pt x="5550801" y="2866878"/>
                  <a:pt x="5554921" y="2866878"/>
                  <a:pt x="5556982" y="2866878"/>
                </a:cubicBezTo>
                <a:close/>
                <a:moveTo>
                  <a:pt x="5569340" y="2643544"/>
                </a:moveTo>
                <a:cubicBezTo>
                  <a:pt x="5567281" y="2643544"/>
                  <a:pt x="5563161" y="2645800"/>
                  <a:pt x="5561102" y="2645800"/>
                </a:cubicBezTo>
                <a:cubicBezTo>
                  <a:pt x="5561102" y="2645800"/>
                  <a:pt x="5561102" y="2645800"/>
                  <a:pt x="5559041" y="2645800"/>
                </a:cubicBezTo>
                <a:cubicBezTo>
                  <a:pt x="5563161" y="2643544"/>
                  <a:pt x="5565223" y="2643544"/>
                  <a:pt x="5569340" y="2643544"/>
                </a:cubicBezTo>
                <a:close/>
                <a:moveTo>
                  <a:pt x="5569340" y="2729269"/>
                </a:moveTo>
                <a:cubicBezTo>
                  <a:pt x="5559041" y="2738292"/>
                  <a:pt x="5550801" y="2740547"/>
                  <a:pt x="5540502" y="2740547"/>
                </a:cubicBezTo>
                <a:cubicBezTo>
                  <a:pt x="5540502" y="2740547"/>
                  <a:pt x="5538441" y="2740547"/>
                  <a:pt x="5538441" y="2740547"/>
                </a:cubicBezTo>
                <a:cubicBezTo>
                  <a:pt x="5536382" y="2738292"/>
                  <a:pt x="5536382" y="2736036"/>
                  <a:pt x="5536382" y="2733780"/>
                </a:cubicBezTo>
                <a:cubicBezTo>
                  <a:pt x="5540502" y="2731524"/>
                  <a:pt x="5546680" y="2731524"/>
                  <a:pt x="5550801" y="2729269"/>
                </a:cubicBezTo>
                <a:cubicBezTo>
                  <a:pt x="5554921" y="2727011"/>
                  <a:pt x="5561102" y="2729269"/>
                  <a:pt x="5569340" y="2729269"/>
                </a:cubicBezTo>
                <a:close/>
                <a:moveTo>
                  <a:pt x="5589941" y="2936811"/>
                </a:moveTo>
                <a:lnTo>
                  <a:pt x="5587588" y="2931656"/>
                </a:lnTo>
                <a:lnTo>
                  <a:pt x="5585823" y="2932300"/>
                </a:lnTo>
                <a:lnTo>
                  <a:pt x="5583762" y="2933426"/>
                </a:lnTo>
                <a:lnTo>
                  <a:pt x="5583762" y="2934554"/>
                </a:lnTo>
                <a:cubicBezTo>
                  <a:pt x="5583762" y="2936811"/>
                  <a:pt x="5587882" y="2939066"/>
                  <a:pt x="5589941" y="2936811"/>
                </a:cubicBezTo>
                <a:close/>
                <a:moveTo>
                  <a:pt x="5598180" y="2778898"/>
                </a:moveTo>
                <a:cubicBezTo>
                  <a:pt x="5594060" y="2787920"/>
                  <a:pt x="5589941" y="2790178"/>
                  <a:pt x="5583762" y="2785666"/>
                </a:cubicBezTo>
                <a:cubicBezTo>
                  <a:pt x="5583762" y="2785666"/>
                  <a:pt x="5581700" y="2783408"/>
                  <a:pt x="5581700" y="2783408"/>
                </a:cubicBezTo>
                <a:cubicBezTo>
                  <a:pt x="5585823" y="2781153"/>
                  <a:pt x="5589941" y="2778898"/>
                  <a:pt x="5594060" y="2776642"/>
                </a:cubicBezTo>
                <a:cubicBezTo>
                  <a:pt x="5596121" y="2776642"/>
                  <a:pt x="5598180" y="2778898"/>
                  <a:pt x="5598180" y="2778898"/>
                </a:cubicBezTo>
                <a:close/>
                <a:moveTo>
                  <a:pt x="5618781" y="2927788"/>
                </a:moveTo>
                <a:cubicBezTo>
                  <a:pt x="5616723" y="2927788"/>
                  <a:pt x="5614660" y="2927788"/>
                  <a:pt x="5612602" y="2930042"/>
                </a:cubicBezTo>
                <a:cubicBezTo>
                  <a:pt x="5612602" y="2927788"/>
                  <a:pt x="5614660" y="2927788"/>
                  <a:pt x="5616723" y="2927788"/>
                </a:cubicBezTo>
                <a:cubicBezTo>
                  <a:pt x="5616723" y="2927788"/>
                  <a:pt x="5618781" y="2927788"/>
                  <a:pt x="5618781" y="2927788"/>
                </a:cubicBezTo>
                <a:close/>
                <a:moveTo>
                  <a:pt x="5624962" y="2607449"/>
                </a:moveTo>
                <a:cubicBezTo>
                  <a:pt x="5622901" y="2609706"/>
                  <a:pt x="5620840" y="2611960"/>
                  <a:pt x="5618781" y="2611960"/>
                </a:cubicBezTo>
                <a:cubicBezTo>
                  <a:pt x="5616723" y="2611960"/>
                  <a:pt x="5614660" y="2611960"/>
                  <a:pt x="5612602" y="2611960"/>
                </a:cubicBezTo>
                <a:cubicBezTo>
                  <a:pt x="5616723" y="2609706"/>
                  <a:pt x="5620840" y="2609706"/>
                  <a:pt x="5624962" y="2607449"/>
                </a:cubicBezTo>
                <a:close/>
                <a:moveTo>
                  <a:pt x="5629082" y="2853344"/>
                </a:moveTo>
                <a:cubicBezTo>
                  <a:pt x="5624962" y="2855598"/>
                  <a:pt x="5622901" y="2855598"/>
                  <a:pt x="5618781" y="2857856"/>
                </a:cubicBezTo>
                <a:cubicBezTo>
                  <a:pt x="5614660" y="2860110"/>
                  <a:pt x="5608482" y="2860110"/>
                  <a:pt x="5604362" y="2862367"/>
                </a:cubicBezTo>
                <a:cubicBezTo>
                  <a:pt x="5602301" y="2862367"/>
                  <a:pt x="5600242" y="2862367"/>
                  <a:pt x="5600242" y="2862367"/>
                </a:cubicBezTo>
                <a:cubicBezTo>
                  <a:pt x="5589941" y="2864622"/>
                  <a:pt x="5577580" y="2866878"/>
                  <a:pt x="5567281" y="2869133"/>
                </a:cubicBezTo>
                <a:cubicBezTo>
                  <a:pt x="5569340" y="2866878"/>
                  <a:pt x="5569340" y="2866878"/>
                  <a:pt x="5567281" y="2864622"/>
                </a:cubicBezTo>
                <a:cubicBezTo>
                  <a:pt x="5573460" y="2864622"/>
                  <a:pt x="5577580" y="2862367"/>
                  <a:pt x="5583762" y="2860110"/>
                </a:cubicBezTo>
                <a:cubicBezTo>
                  <a:pt x="5592001" y="2855598"/>
                  <a:pt x="5602301" y="2855598"/>
                  <a:pt x="5610541" y="2853344"/>
                </a:cubicBezTo>
                <a:cubicBezTo>
                  <a:pt x="5614660" y="2851086"/>
                  <a:pt x="5620840" y="2853344"/>
                  <a:pt x="5629082" y="2853344"/>
                </a:cubicBezTo>
                <a:close/>
                <a:moveTo>
                  <a:pt x="5639382" y="2774387"/>
                </a:moveTo>
                <a:cubicBezTo>
                  <a:pt x="5633203" y="2774387"/>
                  <a:pt x="5624962" y="2776642"/>
                  <a:pt x="5618781" y="2778898"/>
                </a:cubicBezTo>
                <a:cubicBezTo>
                  <a:pt x="5616723" y="2776642"/>
                  <a:pt x="5620840" y="2776642"/>
                  <a:pt x="5620840" y="2774387"/>
                </a:cubicBezTo>
                <a:cubicBezTo>
                  <a:pt x="5620840" y="2772130"/>
                  <a:pt x="5620840" y="2769873"/>
                  <a:pt x="5622901" y="2767618"/>
                </a:cubicBezTo>
                <a:cubicBezTo>
                  <a:pt x="5624962" y="2767618"/>
                  <a:pt x="5624962" y="2767618"/>
                  <a:pt x="5627021" y="2767618"/>
                </a:cubicBezTo>
                <a:cubicBezTo>
                  <a:pt x="5631141" y="2767618"/>
                  <a:pt x="5635262" y="2767618"/>
                  <a:pt x="5639382" y="2769873"/>
                </a:cubicBezTo>
                <a:cubicBezTo>
                  <a:pt x="5639382" y="2772130"/>
                  <a:pt x="5639382" y="2772130"/>
                  <a:pt x="5639382" y="2774387"/>
                </a:cubicBezTo>
                <a:close/>
                <a:moveTo>
                  <a:pt x="5655862" y="2900716"/>
                </a:moveTo>
                <a:cubicBezTo>
                  <a:pt x="5651742" y="2909740"/>
                  <a:pt x="5647621" y="2911994"/>
                  <a:pt x="5641440" y="2907482"/>
                </a:cubicBezTo>
                <a:cubicBezTo>
                  <a:pt x="5645560" y="2905228"/>
                  <a:pt x="5651742" y="2902971"/>
                  <a:pt x="5655862" y="2900716"/>
                </a:cubicBezTo>
                <a:close/>
                <a:moveTo>
                  <a:pt x="5672342" y="2778898"/>
                </a:moveTo>
                <a:cubicBezTo>
                  <a:pt x="5672342" y="2781153"/>
                  <a:pt x="5670281" y="2783408"/>
                  <a:pt x="5670281" y="2783408"/>
                </a:cubicBezTo>
                <a:cubicBezTo>
                  <a:pt x="5666160" y="2783408"/>
                  <a:pt x="5659982" y="2783408"/>
                  <a:pt x="5655862" y="2783408"/>
                </a:cubicBezTo>
                <a:cubicBezTo>
                  <a:pt x="5655862" y="2783408"/>
                  <a:pt x="5655862" y="2783408"/>
                  <a:pt x="5655862" y="2781153"/>
                </a:cubicBezTo>
                <a:cubicBezTo>
                  <a:pt x="5662041" y="2781153"/>
                  <a:pt x="5666160" y="2781153"/>
                  <a:pt x="5672342" y="2778898"/>
                </a:cubicBezTo>
                <a:close/>
                <a:moveTo>
                  <a:pt x="5678523" y="2763106"/>
                </a:moveTo>
                <a:cubicBezTo>
                  <a:pt x="5674403" y="2765364"/>
                  <a:pt x="5670281" y="2767618"/>
                  <a:pt x="5666160" y="2767618"/>
                </a:cubicBezTo>
                <a:cubicBezTo>
                  <a:pt x="5664102" y="2767618"/>
                  <a:pt x="5662041" y="2767618"/>
                  <a:pt x="5659982" y="2767618"/>
                </a:cubicBezTo>
                <a:cubicBezTo>
                  <a:pt x="5666160" y="2767618"/>
                  <a:pt x="5670281" y="2758594"/>
                  <a:pt x="5678523" y="2763106"/>
                </a:cubicBezTo>
                <a:close/>
                <a:moveTo>
                  <a:pt x="5697062" y="2893947"/>
                </a:moveTo>
                <a:cubicBezTo>
                  <a:pt x="5690881" y="2896205"/>
                  <a:pt x="5682641" y="2898460"/>
                  <a:pt x="5676462" y="2900716"/>
                </a:cubicBezTo>
                <a:cubicBezTo>
                  <a:pt x="5674403" y="2898460"/>
                  <a:pt x="5678523" y="2898460"/>
                  <a:pt x="5678523" y="2896205"/>
                </a:cubicBezTo>
                <a:cubicBezTo>
                  <a:pt x="5678523" y="2896205"/>
                  <a:pt x="5678523" y="2893947"/>
                  <a:pt x="5678523" y="2893947"/>
                </a:cubicBezTo>
                <a:cubicBezTo>
                  <a:pt x="5682641" y="2891692"/>
                  <a:pt x="5686762" y="2891692"/>
                  <a:pt x="5690881" y="2889438"/>
                </a:cubicBezTo>
                <a:cubicBezTo>
                  <a:pt x="5690881" y="2889438"/>
                  <a:pt x="5692942" y="2889438"/>
                  <a:pt x="5692942" y="2889438"/>
                </a:cubicBezTo>
                <a:cubicBezTo>
                  <a:pt x="5692942" y="2889438"/>
                  <a:pt x="5692942" y="2891692"/>
                  <a:pt x="5695001" y="2891692"/>
                </a:cubicBezTo>
                <a:cubicBezTo>
                  <a:pt x="5695001" y="2891692"/>
                  <a:pt x="5695001" y="2891692"/>
                  <a:pt x="5697062" y="2891692"/>
                </a:cubicBezTo>
                <a:cubicBezTo>
                  <a:pt x="5697062" y="2893947"/>
                  <a:pt x="5697062" y="2893947"/>
                  <a:pt x="5697062" y="2893947"/>
                </a:cubicBezTo>
                <a:close/>
                <a:moveTo>
                  <a:pt x="5719722" y="2695429"/>
                </a:moveTo>
                <a:lnTo>
                  <a:pt x="5717205" y="2695930"/>
                </a:lnTo>
                <a:lnTo>
                  <a:pt x="5713543" y="2699940"/>
                </a:lnTo>
                <a:cubicBezTo>
                  <a:pt x="5705303" y="2699940"/>
                  <a:pt x="5697062" y="2702198"/>
                  <a:pt x="5690881" y="2702198"/>
                </a:cubicBezTo>
                <a:cubicBezTo>
                  <a:pt x="5690881" y="2702198"/>
                  <a:pt x="5690881" y="2702198"/>
                  <a:pt x="5688823" y="2702198"/>
                </a:cubicBezTo>
                <a:cubicBezTo>
                  <a:pt x="5688823" y="2702198"/>
                  <a:pt x="5686762" y="2702198"/>
                  <a:pt x="5686762" y="2702198"/>
                </a:cubicBezTo>
                <a:cubicBezTo>
                  <a:pt x="5682641" y="2706709"/>
                  <a:pt x="5678523" y="2706709"/>
                  <a:pt x="5674403" y="2704452"/>
                </a:cubicBezTo>
                <a:lnTo>
                  <a:pt x="5717205" y="2695930"/>
                </a:lnTo>
                <a:lnTo>
                  <a:pt x="5717663" y="2695429"/>
                </a:lnTo>
                <a:cubicBezTo>
                  <a:pt x="5719722" y="2695429"/>
                  <a:pt x="5719722" y="2695429"/>
                  <a:pt x="5719722" y="2695429"/>
                </a:cubicBezTo>
                <a:close/>
                <a:moveTo>
                  <a:pt x="5723842" y="2717988"/>
                </a:moveTo>
                <a:cubicBezTo>
                  <a:pt x="5721783" y="2717988"/>
                  <a:pt x="5717663" y="2717988"/>
                  <a:pt x="5715601" y="2720245"/>
                </a:cubicBezTo>
                <a:cubicBezTo>
                  <a:pt x="5713543" y="2720245"/>
                  <a:pt x="5711482" y="2720245"/>
                  <a:pt x="5709423" y="2720245"/>
                </a:cubicBezTo>
                <a:cubicBezTo>
                  <a:pt x="5709423" y="2720245"/>
                  <a:pt x="5707362" y="2720245"/>
                  <a:pt x="5707362" y="2720245"/>
                </a:cubicBezTo>
                <a:cubicBezTo>
                  <a:pt x="5699121" y="2722500"/>
                  <a:pt x="5690881" y="2722500"/>
                  <a:pt x="5682641" y="2720245"/>
                </a:cubicBezTo>
                <a:cubicBezTo>
                  <a:pt x="5686762" y="2715734"/>
                  <a:pt x="5692942" y="2715734"/>
                  <a:pt x="5699121" y="2713476"/>
                </a:cubicBezTo>
                <a:cubicBezTo>
                  <a:pt x="5707362" y="2711222"/>
                  <a:pt x="5713543" y="2711222"/>
                  <a:pt x="5719722" y="2715734"/>
                </a:cubicBezTo>
                <a:cubicBezTo>
                  <a:pt x="5721783" y="2715734"/>
                  <a:pt x="5721783" y="2715734"/>
                  <a:pt x="5723842" y="2717988"/>
                </a:cubicBezTo>
                <a:close/>
                <a:moveTo>
                  <a:pt x="5736203" y="2884924"/>
                </a:moveTo>
                <a:cubicBezTo>
                  <a:pt x="5727962" y="2891692"/>
                  <a:pt x="5721783" y="2889438"/>
                  <a:pt x="5717663" y="2889438"/>
                </a:cubicBezTo>
                <a:cubicBezTo>
                  <a:pt x="5723842" y="2889438"/>
                  <a:pt x="5727962" y="2880414"/>
                  <a:pt x="5736203" y="2884924"/>
                </a:cubicBezTo>
                <a:close/>
                <a:moveTo>
                  <a:pt x="5738262" y="1714115"/>
                </a:moveTo>
                <a:cubicBezTo>
                  <a:pt x="5730023" y="1716370"/>
                  <a:pt x="5721783" y="1716370"/>
                  <a:pt x="5713543" y="1718627"/>
                </a:cubicBezTo>
                <a:cubicBezTo>
                  <a:pt x="5713543" y="1718627"/>
                  <a:pt x="5713543" y="1716370"/>
                  <a:pt x="5713543" y="1716370"/>
                </a:cubicBezTo>
                <a:cubicBezTo>
                  <a:pt x="5715601" y="1714115"/>
                  <a:pt x="5717663" y="1711857"/>
                  <a:pt x="5719722" y="1711857"/>
                </a:cubicBezTo>
                <a:cubicBezTo>
                  <a:pt x="5725903" y="1711857"/>
                  <a:pt x="5732082" y="1714115"/>
                  <a:pt x="5738262" y="1714115"/>
                </a:cubicBezTo>
                <a:close/>
                <a:moveTo>
                  <a:pt x="5738262" y="2799200"/>
                </a:moveTo>
                <a:cubicBezTo>
                  <a:pt x="5738262" y="2799200"/>
                  <a:pt x="5736203" y="2801455"/>
                  <a:pt x="5736203" y="2801455"/>
                </a:cubicBezTo>
                <a:cubicBezTo>
                  <a:pt x="5736203" y="2801455"/>
                  <a:pt x="5734141" y="2801455"/>
                  <a:pt x="5734141" y="2801455"/>
                </a:cubicBezTo>
                <a:cubicBezTo>
                  <a:pt x="5736203" y="2801455"/>
                  <a:pt x="5736203" y="2799200"/>
                  <a:pt x="5738262" y="2799200"/>
                </a:cubicBezTo>
                <a:close/>
                <a:moveTo>
                  <a:pt x="5746503" y="2731524"/>
                </a:moveTo>
                <a:cubicBezTo>
                  <a:pt x="5744442" y="2731524"/>
                  <a:pt x="5744442" y="2731524"/>
                  <a:pt x="5742383" y="2733780"/>
                </a:cubicBezTo>
                <a:cubicBezTo>
                  <a:pt x="5740323" y="2733780"/>
                  <a:pt x="5738262" y="2733780"/>
                  <a:pt x="5736203" y="2733780"/>
                </a:cubicBezTo>
                <a:cubicBezTo>
                  <a:pt x="5740323" y="2731524"/>
                  <a:pt x="5744442" y="2731524"/>
                  <a:pt x="5746503" y="2731524"/>
                </a:cubicBezTo>
                <a:close/>
                <a:moveTo>
                  <a:pt x="5750624" y="2711222"/>
                </a:moveTo>
                <a:cubicBezTo>
                  <a:pt x="5744442" y="2711222"/>
                  <a:pt x="5740323" y="2713476"/>
                  <a:pt x="5736203" y="2713476"/>
                </a:cubicBezTo>
                <a:cubicBezTo>
                  <a:pt x="5734141" y="2711222"/>
                  <a:pt x="5734141" y="2708964"/>
                  <a:pt x="5732082" y="2708964"/>
                </a:cubicBezTo>
                <a:cubicBezTo>
                  <a:pt x="5736203" y="2708964"/>
                  <a:pt x="5740323" y="2706709"/>
                  <a:pt x="5744442" y="2706709"/>
                </a:cubicBezTo>
                <a:cubicBezTo>
                  <a:pt x="5746503" y="2708964"/>
                  <a:pt x="5748562" y="2711222"/>
                  <a:pt x="5750624" y="2711222"/>
                </a:cubicBezTo>
                <a:close/>
                <a:moveTo>
                  <a:pt x="5762982" y="2555564"/>
                </a:moveTo>
                <a:cubicBezTo>
                  <a:pt x="5758862" y="2555564"/>
                  <a:pt x="5756803" y="2557818"/>
                  <a:pt x="5752683" y="2557818"/>
                </a:cubicBezTo>
                <a:cubicBezTo>
                  <a:pt x="5752683" y="2557818"/>
                  <a:pt x="5750624" y="2557818"/>
                  <a:pt x="5750624" y="2557818"/>
                </a:cubicBezTo>
                <a:cubicBezTo>
                  <a:pt x="5748562" y="2557818"/>
                  <a:pt x="5746503" y="2557818"/>
                  <a:pt x="5746503" y="2557818"/>
                </a:cubicBezTo>
                <a:cubicBezTo>
                  <a:pt x="5752683" y="2557818"/>
                  <a:pt x="5758862" y="2557818"/>
                  <a:pt x="5762982" y="2555564"/>
                </a:cubicBezTo>
                <a:close/>
                <a:moveTo>
                  <a:pt x="5769163" y="1702834"/>
                </a:moveTo>
                <a:cubicBezTo>
                  <a:pt x="5769163" y="1711857"/>
                  <a:pt x="5767105" y="1714115"/>
                  <a:pt x="5754742" y="1714115"/>
                </a:cubicBezTo>
                <a:cubicBezTo>
                  <a:pt x="5754742" y="1714115"/>
                  <a:pt x="5754742" y="1711857"/>
                  <a:pt x="5754742" y="1711857"/>
                </a:cubicBezTo>
                <a:cubicBezTo>
                  <a:pt x="5758862" y="1707346"/>
                  <a:pt x="5765043" y="1705092"/>
                  <a:pt x="5769163" y="1702834"/>
                </a:cubicBezTo>
                <a:close/>
                <a:moveTo>
                  <a:pt x="5773283" y="2546540"/>
                </a:moveTo>
                <a:cubicBezTo>
                  <a:pt x="5771224" y="2548798"/>
                  <a:pt x="5769163" y="2553309"/>
                  <a:pt x="5767105" y="2555564"/>
                </a:cubicBezTo>
                <a:cubicBezTo>
                  <a:pt x="5765043" y="2553309"/>
                  <a:pt x="5762982" y="2551052"/>
                  <a:pt x="5760923" y="2551052"/>
                </a:cubicBezTo>
                <a:cubicBezTo>
                  <a:pt x="5765043" y="2548798"/>
                  <a:pt x="5769163" y="2548798"/>
                  <a:pt x="5773283" y="2546540"/>
                </a:cubicBezTo>
                <a:close/>
                <a:moveTo>
                  <a:pt x="5775342" y="2760851"/>
                </a:moveTo>
                <a:cubicBezTo>
                  <a:pt x="5775342" y="2760851"/>
                  <a:pt x="5773283" y="2763106"/>
                  <a:pt x="5773283" y="2763106"/>
                </a:cubicBezTo>
                <a:cubicBezTo>
                  <a:pt x="5771224" y="2763106"/>
                  <a:pt x="5771224" y="2760851"/>
                  <a:pt x="5771224" y="2760851"/>
                </a:cubicBezTo>
                <a:cubicBezTo>
                  <a:pt x="5773283" y="2760851"/>
                  <a:pt x="5773283" y="2760851"/>
                  <a:pt x="5775342" y="2760851"/>
                </a:cubicBezTo>
                <a:close/>
                <a:moveTo>
                  <a:pt x="5777403" y="2620984"/>
                </a:moveTo>
                <a:cubicBezTo>
                  <a:pt x="5777403" y="2620984"/>
                  <a:pt x="5777403" y="2618730"/>
                  <a:pt x="5777403" y="2618730"/>
                </a:cubicBezTo>
                <a:cubicBezTo>
                  <a:pt x="5775342" y="2618730"/>
                  <a:pt x="5775342" y="2620984"/>
                  <a:pt x="5775342" y="2618730"/>
                </a:cubicBezTo>
                <a:cubicBezTo>
                  <a:pt x="5775342" y="2620984"/>
                  <a:pt x="5777403" y="2620984"/>
                  <a:pt x="5777403" y="2620984"/>
                </a:cubicBezTo>
                <a:close/>
                <a:moveTo>
                  <a:pt x="5800062" y="2636778"/>
                </a:moveTo>
                <a:cubicBezTo>
                  <a:pt x="5798003" y="2636778"/>
                  <a:pt x="5798003" y="2636778"/>
                  <a:pt x="5795942" y="2636778"/>
                </a:cubicBezTo>
                <a:cubicBezTo>
                  <a:pt x="5795942" y="2636778"/>
                  <a:pt x="5795942" y="2636778"/>
                  <a:pt x="5798003" y="2634520"/>
                </a:cubicBezTo>
                <a:cubicBezTo>
                  <a:pt x="5798003" y="2636778"/>
                  <a:pt x="5800062" y="2636778"/>
                  <a:pt x="5800062" y="2636778"/>
                </a:cubicBezTo>
                <a:close/>
                <a:moveTo>
                  <a:pt x="5804183" y="2851086"/>
                </a:moveTo>
                <a:cubicBezTo>
                  <a:pt x="5793883" y="2855598"/>
                  <a:pt x="5779462" y="2860110"/>
                  <a:pt x="5767105" y="2862367"/>
                </a:cubicBezTo>
                <a:cubicBezTo>
                  <a:pt x="5769163" y="2860110"/>
                  <a:pt x="5771224" y="2860110"/>
                  <a:pt x="5773283" y="2857856"/>
                </a:cubicBezTo>
                <a:cubicBezTo>
                  <a:pt x="5775342" y="2857856"/>
                  <a:pt x="5779462" y="2855598"/>
                  <a:pt x="5781523" y="2855598"/>
                </a:cubicBezTo>
                <a:cubicBezTo>
                  <a:pt x="5789764" y="2853344"/>
                  <a:pt x="5795942" y="2853344"/>
                  <a:pt x="5804183" y="2851086"/>
                </a:cubicBezTo>
                <a:close/>
                <a:moveTo>
                  <a:pt x="5808303" y="2501422"/>
                </a:moveTo>
                <a:cubicBezTo>
                  <a:pt x="5804183" y="2501422"/>
                  <a:pt x="5802124" y="2499167"/>
                  <a:pt x="5798003" y="2499167"/>
                </a:cubicBezTo>
                <a:cubicBezTo>
                  <a:pt x="5795942" y="2499167"/>
                  <a:pt x="5791825" y="2501422"/>
                  <a:pt x="5789764" y="2501422"/>
                </a:cubicBezTo>
                <a:cubicBezTo>
                  <a:pt x="5795942" y="2499167"/>
                  <a:pt x="5802124" y="2494656"/>
                  <a:pt x="5808303" y="2496910"/>
                </a:cubicBezTo>
                <a:cubicBezTo>
                  <a:pt x="5808303" y="2499167"/>
                  <a:pt x="5808303" y="2499167"/>
                  <a:pt x="5808303" y="2501422"/>
                </a:cubicBezTo>
                <a:close/>
                <a:moveTo>
                  <a:pt x="5816542" y="2623242"/>
                </a:moveTo>
                <a:cubicBezTo>
                  <a:pt x="5808303" y="2623242"/>
                  <a:pt x="5800062" y="2623242"/>
                  <a:pt x="5791825" y="2625496"/>
                </a:cubicBezTo>
                <a:cubicBezTo>
                  <a:pt x="5789764" y="2625496"/>
                  <a:pt x="5785644" y="2627754"/>
                  <a:pt x="5785644" y="2627754"/>
                </a:cubicBezTo>
                <a:cubicBezTo>
                  <a:pt x="5785644" y="2630008"/>
                  <a:pt x="5785644" y="2632265"/>
                  <a:pt x="5785644" y="2632265"/>
                </a:cubicBezTo>
                <a:cubicBezTo>
                  <a:pt x="5781523" y="2632265"/>
                  <a:pt x="5777403" y="2634520"/>
                  <a:pt x="5771224" y="2634520"/>
                </a:cubicBezTo>
                <a:cubicBezTo>
                  <a:pt x="5762982" y="2636778"/>
                  <a:pt x="5754742" y="2641289"/>
                  <a:pt x="5746503" y="2645800"/>
                </a:cubicBezTo>
                <a:cubicBezTo>
                  <a:pt x="5740323" y="2645800"/>
                  <a:pt x="5734141" y="2645800"/>
                  <a:pt x="5727962" y="2648056"/>
                </a:cubicBezTo>
                <a:cubicBezTo>
                  <a:pt x="5719722" y="2648056"/>
                  <a:pt x="5711482" y="2650312"/>
                  <a:pt x="5705303" y="2652567"/>
                </a:cubicBezTo>
                <a:cubicBezTo>
                  <a:pt x="5703242" y="2652567"/>
                  <a:pt x="5703242" y="2654825"/>
                  <a:pt x="5701183" y="2654825"/>
                </a:cubicBezTo>
                <a:cubicBezTo>
                  <a:pt x="5692942" y="2657080"/>
                  <a:pt x="5682641" y="2659333"/>
                  <a:pt x="5674403" y="2661591"/>
                </a:cubicBezTo>
                <a:cubicBezTo>
                  <a:pt x="5668222" y="2661591"/>
                  <a:pt x="5662041" y="2661591"/>
                  <a:pt x="5657923" y="2661591"/>
                </a:cubicBezTo>
                <a:cubicBezTo>
                  <a:pt x="5657923" y="2661591"/>
                  <a:pt x="5655862" y="2663848"/>
                  <a:pt x="5655862" y="2663848"/>
                </a:cubicBezTo>
                <a:cubicBezTo>
                  <a:pt x="5655862" y="2663848"/>
                  <a:pt x="5655862" y="2666102"/>
                  <a:pt x="5655862" y="2666102"/>
                </a:cubicBezTo>
                <a:cubicBezTo>
                  <a:pt x="5639382" y="2670614"/>
                  <a:pt x="5620840" y="2675127"/>
                  <a:pt x="5604362" y="2679638"/>
                </a:cubicBezTo>
                <a:cubicBezTo>
                  <a:pt x="5602301" y="2679638"/>
                  <a:pt x="5600242" y="2679638"/>
                  <a:pt x="5598180" y="2681893"/>
                </a:cubicBezTo>
                <a:cubicBezTo>
                  <a:pt x="5596121" y="2681893"/>
                  <a:pt x="5596121" y="2681893"/>
                  <a:pt x="5594060" y="2681893"/>
                </a:cubicBezTo>
                <a:cubicBezTo>
                  <a:pt x="5583762" y="2681893"/>
                  <a:pt x="5573460" y="2681893"/>
                  <a:pt x="5565223" y="2688662"/>
                </a:cubicBezTo>
                <a:cubicBezTo>
                  <a:pt x="5556982" y="2693174"/>
                  <a:pt x="5550801" y="2695429"/>
                  <a:pt x="5542560" y="2688662"/>
                </a:cubicBezTo>
                <a:cubicBezTo>
                  <a:pt x="5540502" y="2688662"/>
                  <a:pt x="5538441" y="2686404"/>
                  <a:pt x="5536382" y="2688662"/>
                </a:cubicBezTo>
                <a:cubicBezTo>
                  <a:pt x="5526080" y="2690916"/>
                  <a:pt x="5515782" y="2693174"/>
                  <a:pt x="5503421" y="2699940"/>
                </a:cubicBezTo>
                <a:cubicBezTo>
                  <a:pt x="5507541" y="2702198"/>
                  <a:pt x="5511661" y="2704452"/>
                  <a:pt x="5513720" y="2704452"/>
                </a:cubicBezTo>
                <a:cubicBezTo>
                  <a:pt x="5505480" y="2706709"/>
                  <a:pt x="5497239" y="2708964"/>
                  <a:pt x="5486941" y="2711222"/>
                </a:cubicBezTo>
                <a:lnTo>
                  <a:pt x="5482014" y="2711600"/>
                </a:lnTo>
                <a:lnTo>
                  <a:pt x="5453980" y="2724756"/>
                </a:lnTo>
                <a:lnTo>
                  <a:pt x="5440859" y="2727256"/>
                </a:lnTo>
                <a:lnTo>
                  <a:pt x="5439561" y="2731524"/>
                </a:lnTo>
                <a:cubicBezTo>
                  <a:pt x="5443680" y="2731524"/>
                  <a:pt x="5449860" y="2731524"/>
                  <a:pt x="5453980" y="2731524"/>
                </a:cubicBezTo>
                <a:cubicBezTo>
                  <a:pt x="5453980" y="2731524"/>
                  <a:pt x="5453980" y="2733780"/>
                  <a:pt x="5453980" y="2733780"/>
                </a:cubicBezTo>
                <a:cubicBezTo>
                  <a:pt x="5449860" y="2731524"/>
                  <a:pt x="5443680" y="2731524"/>
                  <a:pt x="5439561" y="2733780"/>
                </a:cubicBezTo>
                <a:cubicBezTo>
                  <a:pt x="5433380" y="2736036"/>
                  <a:pt x="5429259" y="2738292"/>
                  <a:pt x="5423080" y="2738292"/>
                </a:cubicBezTo>
                <a:lnTo>
                  <a:pt x="5419867" y="2731254"/>
                </a:lnTo>
                <a:lnTo>
                  <a:pt x="5406600" y="2733780"/>
                </a:lnTo>
                <a:cubicBezTo>
                  <a:pt x="5404540" y="2734908"/>
                  <a:pt x="5402996" y="2735472"/>
                  <a:pt x="5401450" y="2734626"/>
                </a:cubicBezTo>
                <a:lnTo>
                  <a:pt x="5399283" y="2731422"/>
                </a:lnTo>
                <a:lnTo>
                  <a:pt x="5398360" y="2731524"/>
                </a:lnTo>
                <a:cubicBezTo>
                  <a:pt x="5398360" y="2731524"/>
                  <a:pt x="5396298" y="2729269"/>
                  <a:pt x="5396298" y="2729269"/>
                </a:cubicBezTo>
                <a:cubicBezTo>
                  <a:pt x="5396298" y="2729269"/>
                  <a:pt x="5396298" y="2729269"/>
                  <a:pt x="5396298" y="2727011"/>
                </a:cubicBezTo>
                <a:lnTo>
                  <a:pt x="5399283" y="2731422"/>
                </a:lnTo>
                <a:lnTo>
                  <a:pt x="5418960" y="2729269"/>
                </a:lnTo>
                <a:lnTo>
                  <a:pt x="5419867" y="2731254"/>
                </a:lnTo>
                <a:lnTo>
                  <a:pt x="5440859" y="2727256"/>
                </a:lnTo>
                <a:lnTo>
                  <a:pt x="5441619" y="2724756"/>
                </a:lnTo>
                <a:lnTo>
                  <a:pt x="5458098" y="2720245"/>
                </a:lnTo>
                <a:lnTo>
                  <a:pt x="5456039" y="2720245"/>
                </a:lnTo>
                <a:cubicBezTo>
                  <a:pt x="5463250" y="2715734"/>
                  <a:pt x="5467885" y="2713478"/>
                  <a:pt x="5472263" y="2712350"/>
                </a:cubicBezTo>
                <a:lnTo>
                  <a:pt x="5482014" y="2711600"/>
                </a:lnTo>
                <a:lnTo>
                  <a:pt x="5482821" y="2711222"/>
                </a:lnTo>
                <a:cubicBezTo>
                  <a:pt x="5474580" y="2706709"/>
                  <a:pt x="5474580" y="2706709"/>
                  <a:pt x="5466341" y="2708964"/>
                </a:cubicBezTo>
                <a:cubicBezTo>
                  <a:pt x="5453980" y="2713476"/>
                  <a:pt x="5441619" y="2715734"/>
                  <a:pt x="5429259" y="2708964"/>
                </a:cubicBezTo>
                <a:cubicBezTo>
                  <a:pt x="5437500" y="2704452"/>
                  <a:pt x="5447801" y="2702198"/>
                  <a:pt x="5458100" y="2699940"/>
                </a:cubicBezTo>
                <a:cubicBezTo>
                  <a:pt x="5468402" y="2697686"/>
                  <a:pt x="5478700" y="2693174"/>
                  <a:pt x="5489000" y="2688662"/>
                </a:cubicBezTo>
                <a:cubicBezTo>
                  <a:pt x="5489000" y="2688662"/>
                  <a:pt x="5491061" y="2686404"/>
                  <a:pt x="5491061" y="2686404"/>
                </a:cubicBezTo>
                <a:cubicBezTo>
                  <a:pt x="5486941" y="2686404"/>
                  <a:pt x="5482821" y="2688662"/>
                  <a:pt x="5480759" y="2684150"/>
                </a:cubicBezTo>
                <a:cubicBezTo>
                  <a:pt x="5484880" y="2681893"/>
                  <a:pt x="5486941" y="2677384"/>
                  <a:pt x="5491061" y="2675127"/>
                </a:cubicBezTo>
                <a:cubicBezTo>
                  <a:pt x="5489000" y="2672869"/>
                  <a:pt x="5486941" y="2672869"/>
                  <a:pt x="5482821" y="2670614"/>
                </a:cubicBezTo>
                <a:cubicBezTo>
                  <a:pt x="5484880" y="2670614"/>
                  <a:pt x="5489000" y="2668358"/>
                  <a:pt x="5491061" y="2668358"/>
                </a:cubicBezTo>
                <a:cubicBezTo>
                  <a:pt x="5499301" y="2666102"/>
                  <a:pt x="5509600" y="2666102"/>
                  <a:pt x="5517840" y="2661591"/>
                </a:cubicBezTo>
                <a:cubicBezTo>
                  <a:pt x="5519901" y="2661591"/>
                  <a:pt x="5521960" y="2661591"/>
                  <a:pt x="5521960" y="2661591"/>
                </a:cubicBezTo>
                <a:cubicBezTo>
                  <a:pt x="5550801" y="2654825"/>
                  <a:pt x="5567281" y="2650312"/>
                  <a:pt x="5577580" y="2645800"/>
                </a:cubicBezTo>
                <a:cubicBezTo>
                  <a:pt x="5592001" y="2645800"/>
                  <a:pt x="5592001" y="2643544"/>
                  <a:pt x="5598180" y="2634520"/>
                </a:cubicBezTo>
                <a:cubicBezTo>
                  <a:pt x="5608482" y="2632265"/>
                  <a:pt x="5616723" y="2627754"/>
                  <a:pt x="5627021" y="2625496"/>
                </a:cubicBezTo>
                <a:cubicBezTo>
                  <a:pt x="5637323" y="2623242"/>
                  <a:pt x="5649683" y="2618730"/>
                  <a:pt x="5659982" y="2618730"/>
                </a:cubicBezTo>
                <a:cubicBezTo>
                  <a:pt x="5659982" y="2618730"/>
                  <a:pt x="5662041" y="2618730"/>
                  <a:pt x="5662041" y="2618730"/>
                </a:cubicBezTo>
                <a:cubicBezTo>
                  <a:pt x="5662041" y="2620984"/>
                  <a:pt x="5659982" y="2620984"/>
                  <a:pt x="5659982" y="2623242"/>
                </a:cubicBezTo>
                <a:cubicBezTo>
                  <a:pt x="5657923" y="2627754"/>
                  <a:pt x="5662041" y="2634520"/>
                  <a:pt x="5664102" y="2634520"/>
                </a:cubicBezTo>
                <a:cubicBezTo>
                  <a:pt x="5668222" y="2634520"/>
                  <a:pt x="5670281" y="2634520"/>
                  <a:pt x="5674403" y="2632265"/>
                </a:cubicBezTo>
                <a:cubicBezTo>
                  <a:pt x="5692942" y="2620984"/>
                  <a:pt x="5715601" y="2620984"/>
                  <a:pt x="5736203" y="2616472"/>
                </a:cubicBezTo>
                <a:cubicBezTo>
                  <a:pt x="5740323" y="2616472"/>
                  <a:pt x="5746503" y="2614218"/>
                  <a:pt x="5750624" y="2614218"/>
                </a:cubicBezTo>
                <a:cubicBezTo>
                  <a:pt x="5748562" y="2614218"/>
                  <a:pt x="5748562" y="2616472"/>
                  <a:pt x="5748562" y="2618730"/>
                </a:cubicBezTo>
                <a:cubicBezTo>
                  <a:pt x="5746503" y="2623242"/>
                  <a:pt x="5742383" y="2627754"/>
                  <a:pt x="5738262" y="2632265"/>
                </a:cubicBezTo>
                <a:cubicBezTo>
                  <a:pt x="5734141" y="2632265"/>
                  <a:pt x="5730023" y="2632265"/>
                  <a:pt x="5725903" y="2634520"/>
                </a:cubicBezTo>
                <a:cubicBezTo>
                  <a:pt x="5721783" y="2634520"/>
                  <a:pt x="5717663" y="2630008"/>
                  <a:pt x="5715601" y="2636778"/>
                </a:cubicBezTo>
                <a:cubicBezTo>
                  <a:pt x="5715601" y="2639032"/>
                  <a:pt x="5717663" y="2639032"/>
                  <a:pt x="5717663" y="2639032"/>
                </a:cubicBezTo>
                <a:cubicBezTo>
                  <a:pt x="5734141" y="2639032"/>
                  <a:pt x="5750624" y="2636778"/>
                  <a:pt x="5767105" y="2634520"/>
                </a:cubicBezTo>
                <a:cubicBezTo>
                  <a:pt x="5769163" y="2634520"/>
                  <a:pt x="5769163" y="2632265"/>
                  <a:pt x="5771224" y="2630008"/>
                </a:cubicBezTo>
                <a:cubicBezTo>
                  <a:pt x="5765043" y="2625496"/>
                  <a:pt x="5756803" y="2630008"/>
                  <a:pt x="5750624" y="2625496"/>
                </a:cubicBezTo>
                <a:cubicBezTo>
                  <a:pt x="5752683" y="2616472"/>
                  <a:pt x="5754742" y="2614218"/>
                  <a:pt x="5760923" y="2614218"/>
                </a:cubicBezTo>
                <a:cubicBezTo>
                  <a:pt x="5762982" y="2614218"/>
                  <a:pt x="5767105" y="2616472"/>
                  <a:pt x="5769163" y="2616472"/>
                </a:cubicBezTo>
                <a:cubicBezTo>
                  <a:pt x="5781523" y="2623242"/>
                  <a:pt x="5793883" y="2620984"/>
                  <a:pt x="5806244" y="2616472"/>
                </a:cubicBezTo>
                <a:cubicBezTo>
                  <a:pt x="5808303" y="2616472"/>
                  <a:pt x="5810364" y="2614218"/>
                  <a:pt x="5814485" y="2614218"/>
                </a:cubicBezTo>
                <a:cubicBezTo>
                  <a:pt x="5814485" y="2618730"/>
                  <a:pt x="5816542" y="2620984"/>
                  <a:pt x="5816542" y="2623242"/>
                </a:cubicBezTo>
                <a:close/>
                <a:moveTo>
                  <a:pt x="5822724" y="2794689"/>
                </a:moveTo>
                <a:cubicBezTo>
                  <a:pt x="5820663" y="2794689"/>
                  <a:pt x="5818604" y="2794689"/>
                  <a:pt x="5816542" y="2794689"/>
                </a:cubicBezTo>
                <a:cubicBezTo>
                  <a:pt x="5816542" y="2794689"/>
                  <a:pt x="5818604" y="2792432"/>
                  <a:pt x="5818604" y="2792432"/>
                </a:cubicBezTo>
                <a:cubicBezTo>
                  <a:pt x="5820663" y="2792432"/>
                  <a:pt x="5820663" y="2792432"/>
                  <a:pt x="5822724" y="2792432"/>
                </a:cubicBezTo>
                <a:cubicBezTo>
                  <a:pt x="5822724" y="2792432"/>
                  <a:pt x="5822724" y="2792432"/>
                  <a:pt x="5822724" y="2794689"/>
                </a:cubicBezTo>
                <a:close/>
                <a:moveTo>
                  <a:pt x="5826842" y="1698322"/>
                </a:moveTo>
                <a:cubicBezTo>
                  <a:pt x="5826842" y="1702834"/>
                  <a:pt x="5824783" y="1705092"/>
                  <a:pt x="5824783" y="1705092"/>
                </a:cubicBezTo>
                <a:cubicBezTo>
                  <a:pt x="5820663" y="1705092"/>
                  <a:pt x="5818604" y="1705092"/>
                  <a:pt x="5814485" y="1705092"/>
                </a:cubicBezTo>
                <a:cubicBezTo>
                  <a:pt x="5818604" y="1700579"/>
                  <a:pt x="5822724" y="1700579"/>
                  <a:pt x="5826842" y="1698322"/>
                </a:cubicBezTo>
                <a:close/>
                <a:moveTo>
                  <a:pt x="5826842" y="2481120"/>
                </a:moveTo>
                <a:cubicBezTo>
                  <a:pt x="5816542" y="2483374"/>
                  <a:pt x="5804183" y="2485631"/>
                  <a:pt x="5793883" y="2490142"/>
                </a:cubicBezTo>
                <a:cubicBezTo>
                  <a:pt x="5791825" y="2490142"/>
                  <a:pt x="5789764" y="2490142"/>
                  <a:pt x="5789764" y="2494656"/>
                </a:cubicBezTo>
                <a:cubicBezTo>
                  <a:pt x="5789764" y="2494656"/>
                  <a:pt x="5787703" y="2494656"/>
                  <a:pt x="5787703" y="2494656"/>
                </a:cubicBezTo>
                <a:cubicBezTo>
                  <a:pt x="5777403" y="2492397"/>
                  <a:pt x="5769163" y="2494656"/>
                  <a:pt x="5758862" y="2496910"/>
                </a:cubicBezTo>
                <a:cubicBezTo>
                  <a:pt x="5754742" y="2496910"/>
                  <a:pt x="5748562" y="2496910"/>
                  <a:pt x="5744442" y="2496910"/>
                </a:cubicBezTo>
                <a:cubicBezTo>
                  <a:pt x="5752683" y="2492397"/>
                  <a:pt x="5762982" y="2490142"/>
                  <a:pt x="5771224" y="2487886"/>
                </a:cubicBezTo>
                <a:cubicBezTo>
                  <a:pt x="5777403" y="2485631"/>
                  <a:pt x="5783582" y="2485631"/>
                  <a:pt x="5789764" y="2483374"/>
                </a:cubicBezTo>
                <a:cubicBezTo>
                  <a:pt x="5798003" y="2481120"/>
                  <a:pt x="5806244" y="2478862"/>
                  <a:pt x="5812423" y="2476608"/>
                </a:cubicBezTo>
                <a:cubicBezTo>
                  <a:pt x="5816542" y="2476608"/>
                  <a:pt x="5818604" y="2478862"/>
                  <a:pt x="5822724" y="2476608"/>
                </a:cubicBezTo>
                <a:cubicBezTo>
                  <a:pt x="5824783" y="2476608"/>
                  <a:pt x="5826842" y="2478862"/>
                  <a:pt x="5826842" y="2478862"/>
                </a:cubicBezTo>
                <a:cubicBezTo>
                  <a:pt x="5826842" y="2478862"/>
                  <a:pt x="5826842" y="2478862"/>
                  <a:pt x="5826842" y="2481120"/>
                </a:cubicBezTo>
                <a:close/>
                <a:moveTo>
                  <a:pt x="5830965" y="2733780"/>
                </a:moveTo>
                <a:cubicBezTo>
                  <a:pt x="5826842" y="2733780"/>
                  <a:pt x="5824783" y="2736036"/>
                  <a:pt x="5822724" y="2736036"/>
                </a:cubicBezTo>
                <a:cubicBezTo>
                  <a:pt x="5810364" y="2736036"/>
                  <a:pt x="5798003" y="2738292"/>
                  <a:pt x="5783582" y="2736036"/>
                </a:cubicBezTo>
                <a:cubicBezTo>
                  <a:pt x="5791825" y="2733780"/>
                  <a:pt x="5793883" y="2733780"/>
                  <a:pt x="5798003" y="2733780"/>
                </a:cubicBezTo>
                <a:cubicBezTo>
                  <a:pt x="5808303" y="2731524"/>
                  <a:pt x="5818604" y="2731524"/>
                  <a:pt x="5828903" y="2731524"/>
                </a:cubicBezTo>
                <a:cubicBezTo>
                  <a:pt x="5828903" y="2731524"/>
                  <a:pt x="5830965" y="2733780"/>
                  <a:pt x="5830965" y="2733780"/>
                </a:cubicBezTo>
                <a:close/>
                <a:moveTo>
                  <a:pt x="5833023" y="2884924"/>
                </a:moveTo>
                <a:cubicBezTo>
                  <a:pt x="5833023" y="2882669"/>
                  <a:pt x="5833023" y="2882669"/>
                  <a:pt x="5833023" y="2882669"/>
                </a:cubicBezTo>
                <a:cubicBezTo>
                  <a:pt x="5833023" y="2882669"/>
                  <a:pt x="5830965" y="2882669"/>
                  <a:pt x="5828903" y="2882669"/>
                </a:cubicBezTo>
                <a:cubicBezTo>
                  <a:pt x="5828903" y="2882669"/>
                  <a:pt x="5828903" y="2884924"/>
                  <a:pt x="5828903" y="2884924"/>
                </a:cubicBezTo>
                <a:cubicBezTo>
                  <a:pt x="5830965" y="2884924"/>
                  <a:pt x="5833023" y="2884924"/>
                  <a:pt x="5833023" y="2884924"/>
                </a:cubicBezTo>
                <a:close/>
                <a:moveTo>
                  <a:pt x="5837144" y="2596170"/>
                </a:moveTo>
                <a:cubicBezTo>
                  <a:pt x="5835085" y="2598424"/>
                  <a:pt x="5830965" y="2600682"/>
                  <a:pt x="5828903" y="2602936"/>
                </a:cubicBezTo>
                <a:cubicBezTo>
                  <a:pt x="5828903" y="2602936"/>
                  <a:pt x="5826842" y="2605194"/>
                  <a:pt x="5826842" y="2605194"/>
                </a:cubicBezTo>
                <a:cubicBezTo>
                  <a:pt x="5824783" y="2605194"/>
                  <a:pt x="5822724" y="2605194"/>
                  <a:pt x="5820663" y="2605194"/>
                </a:cubicBezTo>
                <a:cubicBezTo>
                  <a:pt x="5820663" y="2609706"/>
                  <a:pt x="5818604" y="2611960"/>
                  <a:pt x="5814485" y="2611960"/>
                </a:cubicBezTo>
                <a:cubicBezTo>
                  <a:pt x="5812423" y="2611960"/>
                  <a:pt x="5808303" y="2609706"/>
                  <a:pt x="5806244" y="2609706"/>
                </a:cubicBezTo>
                <a:cubicBezTo>
                  <a:pt x="5804183" y="2609706"/>
                  <a:pt x="5800062" y="2607449"/>
                  <a:pt x="5798003" y="2607449"/>
                </a:cubicBezTo>
                <a:cubicBezTo>
                  <a:pt x="5795942" y="2607449"/>
                  <a:pt x="5795942" y="2609706"/>
                  <a:pt x="5793883" y="2609706"/>
                </a:cubicBezTo>
                <a:cubicBezTo>
                  <a:pt x="5793883" y="2609706"/>
                  <a:pt x="5791825" y="2609706"/>
                  <a:pt x="5791825" y="2609706"/>
                </a:cubicBezTo>
                <a:cubicBezTo>
                  <a:pt x="5791825" y="2609706"/>
                  <a:pt x="5791825" y="2607449"/>
                  <a:pt x="5791825" y="2607449"/>
                </a:cubicBezTo>
                <a:cubicBezTo>
                  <a:pt x="5793883" y="2607449"/>
                  <a:pt x="5793883" y="2607449"/>
                  <a:pt x="5798003" y="2607449"/>
                </a:cubicBezTo>
                <a:cubicBezTo>
                  <a:pt x="5804183" y="2605194"/>
                  <a:pt x="5812423" y="2602936"/>
                  <a:pt x="5818604" y="2600682"/>
                </a:cubicBezTo>
                <a:cubicBezTo>
                  <a:pt x="5824783" y="2598424"/>
                  <a:pt x="5830965" y="2596170"/>
                  <a:pt x="5837144" y="2596170"/>
                </a:cubicBezTo>
                <a:close/>
                <a:moveTo>
                  <a:pt x="5851562" y="2616472"/>
                </a:moveTo>
                <a:cubicBezTo>
                  <a:pt x="5849503" y="2616472"/>
                  <a:pt x="5847442" y="2616472"/>
                  <a:pt x="5847442" y="2614218"/>
                </a:cubicBezTo>
                <a:cubicBezTo>
                  <a:pt x="5847442" y="2614218"/>
                  <a:pt x="5849503" y="2611960"/>
                  <a:pt x="5849503" y="2611960"/>
                </a:cubicBezTo>
                <a:cubicBezTo>
                  <a:pt x="5849503" y="2611960"/>
                  <a:pt x="5851562" y="2614218"/>
                  <a:pt x="5851562" y="2614218"/>
                </a:cubicBezTo>
                <a:cubicBezTo>
                  <a:pt x="5851562" y="2614218"/>
                  <a:pt x="5851562" y="2616472"/>
                  <a:pt x="5851562" y="2616472"/>
                </a:cubicBezTo>
                <a:close/>
                <a:moveTo>
                  <a:pt x="5851562" y="2625496"/>
                </a:moveTo>
                <a:cubicBezTo>
                  <a:pt x="5845383" y="2627754"/>
                  <a:pt x="5837144" y="2627754"/>
                  <a:pt x="5830965" y="2630008"/>
                </a:cubicBezTo>
                <a:cubicBezTo>
                  <a:pt x="5826842" y="2630008"/>
                  <a:pt x="5820663" y="2630008"/>
                  <a:pt x="5816542" y="2630008"/>
                </a:cubicBezTo>
                <a:cubicBezTo>
                  <a:pt x="5823754" y="2626626"/>
                  <a:pt x="5829420" y="2624933"/>
                  <a:pt x="5834827" y="2624370"/>
                </a:cubicBezTo>
                <a:cubicBezTo>
                  <a:pt x="5840235" y="2623805"/>
                  <a:pt x="5845383" y="2624368"/>
                  <a:pt x="5851562" y="2625496"/>
                </a:cubicBezTo>
                <a:close/>
                <a:moveTo>
                  <a:pt x="5853624" y="2729269"/>
                </a:moveTo>
                <a:cubicBezTo>
                  <a:pt x="5853624" y="2729269"/>
                  <a:pt x="5851562" y="2731524"/>
                  <a:pt x="5851562" y="2731524"/>
                </a:cubicBezTo>
                <a:cubicBezTo>
                  <a:pt x="5851562" y="2731524"/>
                  <a:pt x="5849503" y="2731524"/>
                  <a:pt x="5849503" y="2731524"/>
                </a:cubicBezTo>
                <a:cubicBezTo>
                  <a:pt x="5849503" y="2731524"/>
                  <a:pt x="5849503" y="2729269"/>
                  <a:pt x="5849503" y="2729269"/>
                </a:cubicBezTo>
                <a:cubicBezTo>
                  <a:pt x="5851562" y="2729269"/>
                  <a:pt x="5853624" y="2729269"/>
                  <a:pt x="5853624" y="2729269"/>
                </a:cubicBezTo>
                <a:close/>
                <a:moveTo>
                  <a:pt x="5853863" y="2704557"/>
                </a:moveTo>
                <a:lnTo>
                  <a:pt x="5853624" y="2702198"/>
                </a:lnTo>
                <a:lnTo>
                  <a:pt x="5850334" y="2701940"/>
                </a:lnTo>
                <a:lnTo>
                  <a:pt x="5851562" y="2704452"/>
                </a:lnTo>
                <a:cubicBezTo>
                  <a:pt x="5853624" y="2704452"/>
                  <a:pt x="5853624" y="2704452"/>
                  <a:pt x="5853624" y="2704452"/>
                </a:cubicBezTo>
                <a:close/>
                <a:moveTo>
                  <a:pt x="5861864" y="2560075"/>
                </a:moveTo>
                <a:cubicBezTo>
                  <a:pt x="5853624" y="2573611"/>
                  <a:pt x="5839205" y="2578122"/>
                  <a:pt x="5824783" y="2580377"/>
                </a:cubicBezTo>
                <a:cubicBezTo>
                  <a:pt x="5808303" y="2582634"/>
                  <a:pt x="5791825" y="2584889"/>
                  <a:pt x="5775342" y="2589402"/>
                </a:cubicBezTo>
                <a:cubicBezTo>
                  <a:pt x="5756803" y="2593913"/>
                  <a:pt x="5736203" y="2600682"/>
                  <a:pt x="5717663" y="2598424"/>
                </a:cubicBezTo>
                <a:cubicBezTo>
                  <a:pt x="5715601" y="2598424"/>
                  <a:pt x="5713543" y="2598424"/>
                  <a:pt x="5711482" y="2598424"/>
                </a:cubicBezTo>
                <a:cubicBezTo>
                  <a:pt x="5705303" y="2602936"/>
                  <a:pt x="5699121" y="2605194"/>
                  <a:pt x="5692942" y="2607449"/>
                </a:cubicBezTo>
                <a:cubicBezTo>
                  <a:pt x="5690881" y="2607449"/>
                  <a:pt x="5690881" y="2607449"/>
                  <a:pt x="5688823" y="2607449"/>
                </a:cubicBezTo>
                <a:cubicBezTo>
                  <a:pt x="5670281" y="2609706"/>
                  <a:pt x="5651742" y="2611960"/>
                  <a:pt x="5633203" y="2611960"/>
                </a:cubicBezTo>
                <a:cubicBezTo>
                  <a:pt x="5635262" y="2609706"/>
                  <a:pt x="5637323" y="2605194"/>
                  <a:pt x="5641440" y="2602936"/>
                </a:cubicBezTo>
                <a:cubicBezTo>
                  <a:pt x="5643501" y="2602936"/>
                  <a:pt x="5649683" y="2602936"/>
                  <a:pt x="5653803" y="2600682"/>
                </a:cubicBezTo>
                <a:cubicBezTo>
                  <a:pt x="5653803" y="2598424"/>
                  <a:pt x="5653803" y="2598424"/>
                  <a:pt x="5651742" y="2596170"/>
                </a:cubicBezTo>
                <a:cubicBezTo>
                  <a:pt x="5655862" y="2593913"/>
                  <a:pt x="5659982" y="2593913"/>
                  <a:pt x="5664102" y="2591658"/>
                </a:cubicBezTo>
                <a:cubicBezTo>
                  <a:pt x="5668222" y="2593913"/>
                  <a:pt x="5672342" y="2596170"/>
                  <a:pt x="5678523" y="2593913"/>
                </a:cubicBezTo>
                <a:cubicBezTo>
                  <a:pt x="5678523" y="2591658"/>
                  <a:pt x="5678523" y="2591658"/>
                  <a:pt x="5678523" y="2589402"/>
                </a:cubicBezTo>
                <a:cubicBezTo>
                  <a:pt x="5682641" y="2589402"/>
                  <a:pt x="5686762" y="2589402"/>
                  <a:pt x="5690881" y="2591658"/>
                </a:cubicBezTo>
                <a:cubicBezTo>
                  <a:pt x="5695001" y="2593913"/>
                  <a:pt x="5699121" y="2591658"/>
                  <a:pt x="5703242" y="2591658"/>
                </a:cubicBezTo>
                <a:cubicBezTo>
                  <a:pt x="5711482" y="2591658"/>
                  <a:pt x="5717663" y="2591658"/>
                  <a:pt x="5725903" y="2589402"/>
                </a:cubicBezTo>
                <a:cubicBezTo>
                  <a:pt x="5725903" y="2589402"/>
                  <a:pt x="5727962" y="2587147"/>
                  <a:pt x="5727962" y="2587147"/>
                </a:cubicBezTo>
                <a:cubicBezTo>
                  <a:pt x="5744442" y="2584889"/>
                  <a:pt x="5758862" y="2580377"/>
                  <a:pt x="5775342" y="2575868"/>
                </a:cubicBezTo>
                <a:cubicBezTo>
                  <a:pt x="5800062" y="2569100"/>
                  <a:pt x="5826842" y="2557818"/>
                  <a:pt x="5853624" y="2562334"/>
                </a:cubicBezTo>
                <a:cubicBezTo>
                  <a:pt x="5855683" y="2562334"/>
                  <a:pt x="5859805" y="2562334"/>
                  <a:pt x="5861864" y="2560075"/>
                </a:cubicBezTo>
                <a:close/>
                <a:moveTo>
                  <a:pt x="5865985" y="2677384"/>
                </a:moveTo>
                <a:cubicBezTo>
                  <a:pt x="5863926" y="2677384"/>
                  <a:pt x="5861864" y="2679638"/>
                  <a:pt x="5861864" y="2679638"/>
                </a:cubicBezTo>
                <a:cubicBezTo>
                  <a:pt x="5861864" y="2679638"/>
                  <a:pt x="5861864" y="2677384"/>
                  <a:pt x="5861864" y="2677384"/>
                </a:cubicBezTo>
                <a:cubicBezTo>
                  <a:pt x="5861864" y="2677384"/>
                  <a:pt x="5863926" y="2677384"/>
                  <a:pt x="5863926" y="2677384"/>
                </a:cubicBezTo>
                <a:cubicBezTo>
                  <a:pt x="5863926" y="2677384"/>
                  <a:pt x="5865985" y="2677384"/>
                  <a:pt x="5865985" y="2677384"/>
                </a:cubicBezTo>
                <a:close/>
                <a:moveTo>
                  <a:pt x="5874224" y="2388628"/>
                </a:moveTo>
                <a:cubicBezTo>
                  <a:pt x="5874224" y="2390882"/>
                  <a:pt x="5874224" y="2390882"/>
                  <a:pt x="5872163" y="2393140"/>
                </a:cubicBezTo>
                <a:cubicBezTo>
                  <a:pt x="5872163" y="2393140"/>
                  <a:pt x="5870104" y="2393140"/>
                  <a:pt x="5870104" y="2393140"/>
                </a:cubicBezTo>
                <a:cubicBezTo>
                  <a:pt x="5870104" y="2390882"/>
                  <a:pt x="5870104" y="2390882"/>
                  <a:pt x="5870104" y="2388628"/>
                </a:cubicBezTo>
                <a:cubicBezTo>
                  <a:pt x="5870104" y="2388628"/>
                  <a:pt x="5872163" y="2388628"/>
                  <a:pt x="5874224" y="2388628"/>
                </a:cubicBezTo>
                <a:close/>
                <a:moveTo>
                  <a:pt x="5878344" y="2749571"/>
                </a:moveTo>
                <a:cubicBezTo>
                  <a:pt x="5872163" y="2749571"/>
                  <a:pt x="5865985" y="2749571"/>
                  <a:pt x="5859805" y="2749571"/>
                </a:cubicBezTo>
                <a:cubicBezTo>
                  <a:pt x="5859805" y="2749571"/>
                  <a:pt x="5857744" y="2749571"/>
                  <a:pt x="5857744" y="2749571"/>
                </a:cubicBezTo>
                <a:cubicBezTo>
                  <a:pt x="5855683" y="2749571"/>
                  <a:pt x="5855683" y="2749571"/>
                  <a:pt x="5853624" y="2749571"/>
                </a:cubicBezTo>
                <a:cubicBezTo>
                  <a:pt x="5851562" y="2749571"/>
                  <a:pt x="5847442" y="2751828"/>
                  <a:pt x="5847442" y="2751828"/>
                </a:cubicBezTo>
                <a:cubicBezTo>
                  <a:pt x="5845383" y="2751828"/>
                  <a:pt x="5845383" y="2754082"/>
                  <a:pt x="5843324" y="2756340"/>
                </a:cubicBezTo>
                <a:cubicBezTo>
                  <a:pt x="5845383" y="2756340"/>
                  <a:pt x="5845383" y="2756340"/>
                  <a:pt x="5847442" y="2756340"/>
                </a:cubicBezTo>
                <a:cubicBezTo>
                  <a:pt x="5845383" y="2758594"/>
                  <a:pt x="5843324" y="2758594"/>
                  <a:pt x="5841263" y="2760851"/>
                </a:cubicBezTo>
                <a:cubicBezTo>
                  <a:pt x="5826842" y="2763106"/>
                  <a:pt x="5812423" y="2765364"/>
                  <a:pt x="5800062" y="2767618"/>
                </a:cubicBezTo>
                <a:cubicBezTo>
                  <a:pt x="5814485" y="2769873"/>
                  <a:pt x="5826842" y="2767618"/>
                  <a:pt x="5839205" y="2765364"/>
                </a:cubicBezTo>
                <a:cubicBezTo>
                  <a:pt x="5839205" y="2765364"/>
                  <a:pt x="5839205" y="2767618"/>
                  <a:pt x="5839205" y="2767618"/>
                </a:cubicBezTo>
                <a:cubicBezTo>
                  <a:pt x="5822724" y="2769873"/>
                  <a:pt x="5808303" y="2769873"/>
                  <a:pt x="5791825" y="2772130"/>
                </a:cubicBezTo>
                <a:cubicBezTo>
                  <a:pt x="5783582" y="2772130"/>
                  <a:pt x="5775342" y="2774387"/>
                  <a:pt x="5769163" y="2776642"/>
                </a:cubicBezTo>
                <a:cubicBezTo>
                  <a:pt x="5752683" y="2785666"/>
                  <a:pt x="5738262" y="2785666"/>
                  <a:pt x="5719722" y="2785666"/>
                </a:cubicBezTo>
                <a:cubicBezTo>
                  <a:pt x="5719722" y="2785666"/>
                  <a:pt x="5717663" y="2787920"/>
                  <a:pt x="5717663" y="2787920"/>
                </a:cubicBezTo>
                <a:cubicBezTo>
                  <a:pt x="5713543" y="2799200"/>
                  <a:pt x="5717663" y="2801455"/>
                  <a:pt x="5711482" y="2805968"/>
                </a:cubicBezTo>
                <a:cubicBezTo>
                  <a:pt x="5695001" y="2803714"/>
                  <a:pt x="5680582" y="2808225"/>
                  <a:pt x="5664102" y="2812736"/>
                </a:cubicBezTo>
                <a:cubicBezTo>
                  <a:pt x="5659982" y="2814991"/>
                  <a:pt x="5655862" y="2812736"/>
                  <a:pt x="5651742" y="2812736"/>
                </a:cubicBezTo>
                <a:cubicBezTo>
                  <a:pt x="5641440" y="2812736"/>
                  <a:pt x="5631141" y="2812736"/>
                  <a:pt x="5622901" y="2819502"/>
                </a:cubicBezTo>
                <a:cubicBezTo>
                  <a:pt x="5614660" y="2824016"/>
                  <a:pt x="5608482" y="2826272"/>
                  <a:pt x="5600242" y="2819502"/>
                </a:cubicBezTo>
                <a:cubicBezTo>
                  <a:pt x="5598180" y="2819502"/>
                  <a:pt x="5596121" y="2817248"/>
                  <a:pt x="5594060" y="2819502"/>
                </a:cubicBezTo>
                <a:cubicBezTo>
                  <a:pt x="5587882" y="2821760"/>
                  <a:pt x="5581700" y="2821760"/>
                  <a:pt x="5577580" y="2824016"/>
                </a:cubicBezTo>
                <a:cubicBezTo>
                  <a:pt x="5581700" y="2819502"/>
                  <a:pt x="5587882" y="2817248"/>
                  <a:pt x="5592001" y="2812736"/>
                </a:cubicBezTo>
                <a:cubicBezTo>
                  <a:pt x="5587882" y="2812736"/>
                  <a:pt x="5583762" y="2812736"/>
                  <a:pt x="5579641" y="2812736"/>
                </a:cubicBezTo>
                <a:cubicBezTo>
                  <a:pt x="5577580" y="2812736"/>
                  <a:pt x="5575521" y="2812736"/>
                  <a:pt x="5573460" y="2812736"/>
                </a:cubicBezTo>
                <a:cubicBezTo>
                  <a:pt x="5567281" y="2821760"/>
                  <a:pt x="5554921" y="2821760"/>
                  <a:pt x="5546680" y="2826272"/>
                </a:cubicBezTo>
                <a:lnTo>
                  <a:pt x="5545034" y="2828076"/>
                </a:lnTo>
                <a:lnTo>
                  <a:pt x="5546680" y="2828527"/>
                </a:lnTo>
                <a:lnTo>
                  <a:pt x="5543644" y="2831022"/>
                </a:lnTo>
                <a:lnTo>
                  <a:pt x="5552860" y="2833038"/>
                </a:lnTo>
                <a:cubicBezTo>
                  <a:pt x="5556982" y="2833038"/>
                  <a:pt x="5559041" y="2833038"/>
                  <a:pt x="5563161" y="2830784"/>
                </a:cubicBezTo>
                <a:cubicBezTo>
                  <a:pt x="5575521" y="2837550"/>
                  <a:pt x="5575521" y="2837550"/>
                  <a:pt x="5587882" y="2835296"/>
                </a:cubicBezTo>
                <a:cubicBezTo>
                  <a:pt x="5602301" y="2833038"/>
                  <a:pt x="5614660" y="2828527"/>
                  <a:pt x="5629082" y="2830784"/>
                </a:cubicBezTo>
                <a:cubicBezTo>
                  <a:pt x="5618781" y="2833038"/>
                  <a:pt x="5608482" y="2837550"/>
                  <a:pt x="5598180" y="2839808"/>
                </a:cubicBezTo>
                <a:cubicBezTo>
                  <a:pt x="5589941" y="2842062"/>
                  <a:pt x="5581700" y="2842062"/>
                  <a:pt x="5575521" y="2846574"/>
                </a:cubicBezTo>
                <a:cubicBezTo>
                  <a:pt x="5573460" y="2848831"/>
                  <a:pt x="5569340" y="2848831"/>
                  <a:pt x="5567281" y="2848831"/>
                </a:cubicBezTo>
                <a:cubicBezTo>
                  <a:pt x="5561102" y="2846574"/>
                  <a:pt x="5556982" y="2851086"/>
                  <a:pt x="5550801" y="2853344"/>
                </a:cubicBezTo>
                <a:cubicBezTo>
                  <a:pt x="5546680" y="2855598"/>
                  <a:pt x="5542560" y="2857856"/>
                  <a:pt x="5538441" y="2864622"/>
                </a:cubicBezTo>
                <a:cubicBezTo>
                  <a:pt x="5536382" y="2869133"/>
                  <a:pt x="5528139" y="2871388"/>
                  <a:pt x="5524021" y="2871388"/>
                </a:cubicBezTo>
                <a:cubicBezTo>
                  <a:pt x="5511661" y="2873645"/>
                  <a:pt x="5499301" y="2873645"/>
                  <a:pt x="5486941" y="2878158"/>
                </a:cubicBezTo>
                <a:cubicBezTo>
                  <a:pt x="5484880" y="2878158"/>
                  <a:pt x="5482821" y="2880414"/>
                  <a:pt x="5480759" y="2880414"/>
                </a:cubicBezTo>
                <a:cubicBezTo>
                  <a:pt x="5478700" y="2880414"/>
                  <a:pt x="5476639" y="2882669"/>
                  <a:pt x="5474580" y="2882669"/>
                </a:cubicBezTo>
                <a:cubicBezTo>
                  <a:pt x="5474580" y="2882669"/>
                  <a:pt x="5472521" y="2882669"/>
                  <a:pt x="5472521" y="2882669"/>
                </a:cubicBezTo>
                <a:cubicBezTo>
                  <a:pt x="5458100" y="2882669"/>
                  <a:pt x="5441619" y="2884924"/>
                  <a:pt x="5427200" y="2889438"/>
                </a:cubicBezTo>
                <a:cubicBezTo>
                  <a:pt x="5400421" y="2893947"/>
                  <a:pt x="5375700" y="2898460"/>
                  <a:pt x="5348918" y="2902971"/>
                </a:cubicBezTo>
                <a:cubicBezTo>
                  <a:pt x="5348918" y="2902971"/>
                  <a:pt x="5346860" y="2902971"/>
                  <a:pt x="5346860" y="2900716"/>
                </a:cubicBezTo>
                <a:cubicBezTo>
                  <a:pt x="5348918" y="2900716"/>
                  <a:pt x="5350980" y="2900716"/>
                  <a:pt x="5353039" y="2898460"/>
                </a:cubicBezTo>
                <a:cubicBezTo>
                  <a:pt x="5361279" y="2896205"/>
                  <a:pt x="5369519" y="2893947"/>
                  <a:pt x="5375700" y="2891692"/>
                </a:cubicBezTo>
                <a:cubicBezTo>
                  <a:pt x="5394239" y="2884924"/>
                  <a:pt x="5410720" y="2880414"/>
                  <a:pt x="5429259" y="2873645"/>
                </a:cubicBezTo>
                <a:cubicBezTo>
                  <a:pt x="5429259" y="2873645"/>
                  <a:pt x="5427200" y="2873645"/>
                  <a:pt x="5427200" y="2875903"/>
                </a:cubicBezTo>
                <a:cubicBezTo>
                  <a:pt x="5427200" y="2875903"/>
                  <a:pt x="5429259" y="2878158"/>
                  <a:pt x="5429259" y="2878158"/>
                </a:cubicBezTo>
                <a:cubicBezTo>
                  <a:pt x="5431321" y="2878158"/>
                  <a:pt x="5433380" y="2875903"/>
                  <a:pt x="5435438" y="2875903"/>
                </a:cubicBezTo>
                <a:cubicBezTo>
                  <a:pt x="5435438" y="2873645"/>
                  <a:pt x="5433380" y="2873645"/>
                  <a:pt x="5433380" y="2871388"/>
                </a:cubicBezTo>
                <a:cubicBezTo>
                  <a:pt x="5445739" y="2866878"/>
                  <a:pt x="5458100" y="2864622"/>
                  <a:pt x="5468402" y="2860110"/>
                </a:cubicBezTo>
                <a:cubicBezTo>
                  <a:pt x="5474580" y="2857856"/>
                  <a:pt x="5482821" y="2855598"/>
                  <a:pt x="5489000" y="2848831"/>
                </a:cubicBezTo>
                <a:cubicBezTo>
                  <a:pt x="5497239" y="2846574"/>
                  <a:pt x="5505480" y="2844320"/>
                  <a:pt x="5515782" y="2844320"/>
                </a:cubicBezTo>
                <a:cubicBezTo>
                  <a:pt x="5521960" y="2842062"/>
                  <a:pt x="5528139" y="2839808"/>
                  <a:pt x="5536382" y="2835296"/>
                </a:cubicBezTo>
                <a:cubicBezTo>
                  <a:pt x="5536382" y="2835296"/>
                  <a:pt x="5536382" y="2835296"/>
                  <a:pt x="5538441" y="2835296"/>
                </a:cubicBezTo>
                <a:lnTo>
                  <a:pt x="5543644" y="2831022"/>
                </a:lnTo>
                <a:lnTo>
                  <a:pt x="5542560" y="2830784"/>
                </a:lnTo>
                <a:lnTo>
                  <a:pt x="5545034" y="2828076"/>
                </a:lnTo>
                <a:lnTo>
                  <a:pt x="5538441" y="2826272"/>
                </a:lnTo>
                <a:cubicBezTo>
                  <a:pt x="5538441" y="2826272"/>
                  <a:pt x="5538441" y="2826272"/>
                  <a:pt x="5536382" y="2826272"/>
                </a:cubicBezTo>
                <a:cubicBezTo>
                  <a:pt x="5534321" y="2826272"/>
                  <a:pt x="5532262" y="2826272"/>
                  <a:pt x="5528139" y="2826272"/>
                </a:cubicBezTo>
                <a:cubicBezTo>
                  <a:pt x="5528139" y="2826272"/>
                  <a:pt x="5526080" y="2826272"/>
                  <a:pt x="5521960" y="2826272"/>
                </a:cubicBezTo>
                <a:cubicBezTo>
                  <a:pt x="5536382" y="2821760"/>
                  <a:pt x="5546680" y="2817248"/>
                  <a:pt x="5559041" y="2812736"/>
                </a:cubicBezTo>
                <a:cubicBezTo>
                  <a:pt x="5554921" y="2803714"/>
                  <a:pt x="5556982" y="2801455"/>
                  <a:pt x="5561102" y="2799200"/>
                </a:cubicBezTo>
                <a:cubicBezTo>
                  <a:pt x="5563161" y="2799200"/>
                  <a:pt x="5565223" y="2799200"/>
                  <a:pt x="5569340" y="2799200"/>
                </a:cubicBezTo>
                <a:cubicBezTo>
                  <a:pt x="5581700" y="2801455"/>
                  <a:pt x="5592001" y="2796944"/>
                  <a:pt x="5602301" y="2792432"/>
                </a:cubicBezTo>
                <a:cubicBezTo>
                  <a:pt x="5608482" y="2787920"/>
                  <a:pt x="5616723" y="2787920"/>
                  <a:pt x="5627021" y="2785666"/>
                </a:cubicBezTo>
                <a:cubicBezTo>
                  <a:pt x="5624962" y="2790178"/>
                  <a:pt x="5624962" y="2792432"/>
                  <a:pt x="5624962" y="2794689"/>
                </a:cubicBezTo>
                <a:cubicBezTo>
                  <a:pt x="5620840" y="2796944"/>
                  <a:pt x="5616723" y="2799200"/>
                  <a:pt x="5612602" y="2799200"/>
                </a:cubicBezTo>
                <a:cubicBezTo>
                  <a:pt x="5606421" y="2799200"/>
                  <a:pt x="5602301" y="2801455"/>
                  <a:pt x="5598180" y="2805968"/>
                </a:cubicBezTo>
                <a:cubicBezTo>
                  <a:pt x="5600242" y="2808225"/>
                  <a:pt x="5602301" y="2810480"/>
                  <a:pt x="5604362" y="2810480"/>
                </a:cubicBezTo>
                <a:cubicBezTo>
                  <a:pt x="5612602" y="2810480"/>
                  <a:pt x="5618781" y="2810480"/>
                  <a:pt x="5627021" y="2808225"/>
                </a:cubicBezTo>
                <a:cubicBezTo>
                  <a:pt x="5631141" y="2805968"/>
                  <a:pt x="5637323" y="2803714"/>
                  <a:pt x="5641440" y="2803714"/>
                </a:cubicBezTo>
                <a:cubicBezTo>
                  <a:pt x="5641440" y="2803714"/>
                  <a:pt x="5641440" y="2803714"/>
                  <a:pt x="5643501" y="2805968"/>
                </a:cubicBezTo>
                <a:cubicBezTo>
                  <a:pt x="5643501" y="2805968"/>
                  <a:pt x="5645560" y="2803714"/>
                  <a:pt x="5645560" y="2803714"/>
                </a:cubicBezTo>
                <a:cubicBezTo>
                  <a:pt x="5655862" y="2801455"/>
                  <a:pt x="5666160" y="2799200"/>
                  <a:pt x="5674403" y="2796944"/>
                </a:cubicBezTo>
                <a:cubicBezTo>
                  <a:pt x="5682641" y="2794689"/>
                  <a:pt x="5690881" y="2792432"/>
                  <a:pt x="5697062" y="2790178"/>
                </a:cubicBezTo>
                <a:cubicBezTo>
                  <a:pt x="5705303" y="2785666"/>
                  <a:pt x="5713543" y="2783408"/>
                  <a:pt x="5721783" y="2781153"/>
                </a:cubicBezTo>
                <a:cubicBezTo>
                  <a:pt x="5732082" y="2781153"/>
                  <a:pt x="5740323" y="2778898"/>
                  <a:pt x="5748562" y="2774387"/>
                </a:cubicBezTo>
                <a:cubicBezTo>
                  <a:pt x="5756803" y="2772130"/>
                  <a:pt x="5767105" y="2769873"/>
                  <a:pt x="5775342" y="2767618"/>
                </a:cubicBezTo>
                <a:cubicBezTo>
                  <a:pt x="5781523" y="2765364"/>
                  <a:pt x="5789764" y="2763106"/>
                  <a:pt x="5795942" y="2760851"/>
                </a:cubicBezTo>
                <a:cubicBezTo>
                  <a:pt x="5806244" y="2760851"/>
                  <a:pt x="5818604" y="2758594"/>
                  <a:pt x="5828903" y="2758594"/>
                </a:cubicBezTo>
                <a:cubicBezTo>
                  <a:pt x="5830965" y="2758594"/>
                  <a:pt x="5830965" y="2756340"/>
                  <a:pt x="5833023" y="2754082"/>
                </a:cubicBezTo>
                <a:cubicBezTo>
                  <a:pt x="5826842" y="2749571"/>
                  <a:pt x="5818604" y="2754082"/>
                  <a:pt x="5812423" y="2749571"/>
                </a:cubicBezTo>
                <a:cubicBezTo>
                  <a:pt x="5818604" y="2749571"/>
                  <a:pt x="5824783" y="2749571"/>
                  <a:pt x="5828903" y="2745058"/>
                </a:cubicBezTo>
                <a:cubicBezTo>
                  <a:pt x="5833023" y="2745058"/>
                  <a:pt x="5835085" y="2745058"/>
                  <a:pt x="5839205" y="2745058"/>
                </a:cubicBezTo>
                <a:cubicBezTo>
                  <a:pt x="5845383" y="2747316"/>
                  <a:pt x="5853624" y="2747316"/>
                  <a:pt x="5859805" y="2745058"/>
                </a:cubicBezTo>
                <a:cubicBezTo>
                  <a:pt x="5865985" y="2745058"/>
                  <a:pt x="5870104" y="2745058"/>
                  <a:pt x="5876283" y="2745058"/>
                </a:cubicBezTo>
                <a:cubicBezTo>
                  <a:pt x="5876283" y="2747316"/>
                  <a:pt x="5876283" y="2747316"/>
                  <a:pt x="5878344" y="2749571"/>
                </a:cubicBezTo>
                <a:close/>
                <a:moveTo>
                  <a:pt x="5884526" y="164310"/>
                </a:moveTo>
                <a:cubicBezTo>
                  <a:pt x="5882465" y="164310"/>
                  <a:pt x="5882465" y="164310"/>
                  <a:pt x="5882465" y="164310"/>
                </a:cubicBezTo>
                <a:cubicBezTo>
                  <a:pt x="5882465" y="164310"/>
                  <a:pt x="5882465" y="164310"/>
                  <a:pt x="5884526" y="162056"/>
                </a:cubicBezTo>
                <a:cubicBezTo>
                  <a:pt x="5882465" y="162056"/>
                  <a:pt x="5884526" y="164310"/>
                  <a:pt x="5884526" y="164310"/>
                </a:cubicBezTo>
                <a:close/>
                <a:moveTo>
                  <a:pt x="5890705" y="2805968"/>
                </a:moveTo>
                <a:cubicBezTo>
                  <a:pt x="5880403" y="2805968"/>
                  <a:pt x="5870104" y="2808225"/>
                  <a:pt x="5861864" y="2810480"/>
                </a:cubicBezTo>
                <a:cubicBezTo>
                  <a:pt x="5851562" y="2812736"/>
                  <a:pt x="5841263" y="2812736"/>
                  <a:pt x="5833023" y="2817248"/>
                </a:cubicBezTo>
                <a:cubicBezTo>
                  <a:pt x="5820663" y="2824016"/>
                  <a:pt x="5806244" y="2826272"/>
                  <a:pt x="5791825" y="2830784"/>
                </a:cubicBezTo>
                <a:cubicBezTo>
                  <a:pt x="5775342" y="2835296"/>
                  <a:pt x="5758862" y="2839808"/>
                  <a:pt x="5742383" y="2846574"/>
                </a:cubicBezTo>
                <a:cubicBezTo>
                  <a:pt x="5736203" y="2848831"/>
                  <a:pt x="5727962" y="2851086"/>
                  <a:pt x="5721783" y="2851086"/>
                </a:cubicBezTo>
                <a:cubicBezTo>
                  <a:pt x="5730023" y="2846574"/>
                  <a:pt x="5736203" y="2844320"/>
                  <a:pt x="5744442" y="2842062"/>
                </a:cubicBezTo>
                <a:cubicBezTo>
                  <a:pt x="5756803" y="2837550"/>
                  <a:pt x="5771224" y="2835296"/>
                  <a:pt x="5783582" y="2830784"/>
                </a:cubicBezTo>
                <a:cubicBezTo>
                  <a:pt x="5785644" y="2830784"/>
                  <a:pt x="5789764" y="2828527"/>
                  <a:pt x="5787703" y="2821760"/>
                </a:cubicBezTo>
                <a:cubicBezTo>
                  <a:pt x="5777403" y="2826272"/>
                  <a:pt x="5767105" y="2835296"/>
                  <a:pt x="5752683" y="2830784"/>
                </a:cubicBezTo>
                <a:cubicBezTo>
                  <a:pt x="5752683" y="2828527"/>
                  <a:pt x="5752683" y="2828527"/>
                  <a:pt x="5754742" y="2826272"/>
                </a:cubicBezTo>
                <a:cubicBezTo>
                  <a:pt x="5765043" y="2824016"/>
                  <a:pt x="5775342" y="2824016"/>
                  <a:pt x="5785644" y="2821760"/>
                </a:cubicBezTo>
                <a:cubicBezTo>
                  <a:pt x="5789764" y="2821760"/>
                  <a:pt x="5793883" y="2819502"/>
                  <a:pt x="5798003" y="2819502"/>
                </a:cubicBezTo>
                <a:cubicBezTo>
                  <a:pt x="5804183" y="2817248"/>
                  <a:pt x="5808303" y="2812736"/>
                  <a:pt x="5812423" y="2812736"/>
                </a:cubicBezTo>
                <a:cubicBezTo>
                  <a:pt x="5818604" y="2810480"/>
                  <a:pt x="5824783" y="2812736"/>
                  <a:pt x="5830965" y="2812736"/>
                </a:cubicBezTo>
                <a:cubicBezTo>
                  <a:pt x="5835085" y="2812736"/>
                  <a:pt x="5841263" y="2812736"/>
                  <a:pt x="5845383" y="2810480"/>
                </a:cubicBezTo>
                <a:cubicBezTo>
                  <a:pt x="5845383" y="2810480"/>
                  <a:pt x="5843324" y="2812736"/>
                  <a:pt x="5843324" y="2812736"/>
                </a:cubicBezTo>
                <a:cubicBezTo>
                  <a:pt x="5851562" y="2812736"/>
                  <a:pt x="5859805" y="2810480"/>
                  <a:pt x="5868042" y="2808225"/>
                </a:cubicBezTo>
                <a:cubicBezTo>
                  <a:pt x="5876283" y="2808225"/>
                  <a:pt x="5882465" y="2805968"/>
                  <a:pt x="5890705" y="2805968"/>
                </a:cubicBezTo>
                <a:close/>
                <a:moveTo>
                  <a:pt x="5896883" y="2611960"/>
                </a:moveTo>
                <a:cubicBezTo>
                  <a:pt x="5894824" y="2611960"/>
                  <a:pt x="5890705" y="2611960"/>
                  <a:pt x="5888644" y="2614218"/>
                </a:cubicBezTo>
                <a:cubicBezTo>
                  <a:pt x="5889675" y="2611962"/>
                  <a:pt x="5890705" y="2611397"/>
                  <a:pt x="5891991" y="2611397"/>
                </a:cubicBezTo>
                <a:cubicBezTo>
                  <a:pt x="5893279" y="2611397"/>
                  <a:pt x="5894823" y="2611960"/>
                  <a:pt x="5896883" y="2611960"/>
                </a:cubicBezTo>
                <a:close/>
                <a:moveTo>
                  <a:pt x="5903065" y="2855598"/>
                </a:moveTo>
                <a:cubicBezTo>
                  <a:pt x="5901003" y="2853344"/>
                  <a:pt x="5898945" y="2853344"/>
                  <a:pt x="5896883" y="2851086"/>
                </a:cubicBezTo>
                <a:cubicBezTo>
                  <a:pt x="5894824" y="2851086"/>
                  <a:pt x="5894824" y="2851086"/>
                  <a:pt x="5894824" y="2851086"/>
                </a:cubicBezTo>
                <a:cubicBezTo>
                  <a:pt x="5894824" y="2853344"/>
                  <a:pt x="5892763" y="2853344"/>
                  <a:pt x="5892763" y="2853344"/>
                </a:cubicBezTo>
                <a:cubicBezTo>
                  <a:pt x="5890705" y="2855598"/>
                  <a:pt x="5890705" y="2855598"/>
                  <a:pt x="5888644" y="2857856"/>
                </a:cubicBezTo>
                <a:cubicBezTo>
                  <a:pt x="5892763" y="2857856"/>
                  <a:pt x="5896883" y="2855598"/>
                  <a:pt x="5903065" y="2855598"/>
                </a:cubicBezTo>
                <a:close/>
                <a:moveTo>
                  <a:pt x="5911305" y="2833038"/>
                </a:moveTo>
                <a:cubicBezTo>
                  <a:pt x="5905124" y="2835296"/>
                  <a:pt x="5898945" y="2835296"/>
                  <a:pt x="5892763" y="2837550"/>
                </a:cubicBezTo>
                <a:cubicBezTo>
                  <a:pt x="5884526" y="2837550"/>
                  <a:pt x="5876283" y="2837550"/>
                  <a:pt x="5865985" y="2837550"/>
                </a:cubicBezTo>
                <a:cubicBezTo>
                  <a:pt x="5872163" y="2835296"/>
                  <a:pt x="5880403" y="2835296"/>
                  <a:pt x="5884526" y="2830784"/>
                </a:cubicBezTo>
                <a:cubicBezTo>
                  <a:pt x="5887615" y="2826272"/>
                  <a:pt x="5891734" y="2824580"/>
                  <a:pt x="5896370" y="2824298"/>
                </a:cubicBezTo>
                <a:cubicBezTo>
                  <a:pt x="5901004" y="2824016"/>
                  <a:pt x="5906154" y="2825144"/>
                  <a:pt x="5911305" y="2826272"/>
                </a:cubicBezTo>
                <a:cubicBezTo>
                  <a:pt x="5913364" y="2828527"/>
                  <a:pt x="5913364" y="2833038"/>
                  <a:pt x="5911305" y="2833038"/>
                </a:cubicBezTo>
                <a:close/>
                <a:moveTo>
                  <a:pt x="5913364" y="2575868"/>
                </a:moveTo>
                <a:cubicBezTo>
                  <a:pt x="5913364" y="2575868"/>
                  <a:pt x="5911305" y="2578122"/>
                  <a:pt x="5911305" y="2578122"/>
                </a:cubicBezTo>
                <a:cubicBezTo>
                  <a:pt x="5911305" y="2578122"/>
                  <a:pt x="5909244" y="2575868"/>
                  <a:pt x="5909244" y="2575868"/>
                </a:cubicBezTo>
                <a:cubicBezTo>
                  <a:pt x="5909244" y="2575868"/>
                  <a:pt x="5911305" y="2575868"/>
                  <a:pt x="5911305" y="2575868"/>
                </a:cubicBezTo>
                <a:cubicBezTo>
                  <a:pt x="5911305" y="2575868"/>
                  <a:pt x="5913364" y="2575868"/>
                  <a:pt x="5913364" y="2575868"/>
                </a:cubicBezTo>
                <a:close/>
                <a:moveTo>
                  <a:pt x="5915426" y="2751828"/>
                </a:moveTo>
                <a:cubicBezTo>
                  <a:pt x="5901003" y="2754082"/>
                  <a:pt x="5888644" y="2751828"/>
                  <a:pt x="5876283" y="2754082"/>
                </a:cubicBezTo>
                <a:cubicBezTo>
                  <a:pt x="5884523" y="2750699"/>
                  <a:pt x="5890703" y="2749008"/>
                  <a:pt x="5896625" y="2748726"/>
                </a:cubicBezTo>
                <a:cubicBezTo>
                  <a:pt x="5902548" y="2748444"/>
                  <a:pt x="5908214" y="2749572"/>
                  <a:pt x="5915426" y="2751828"/>
                </a:cubicBezTo>
                <a:close/>
                <a:moveTo>
                  <a:pt x="5917483" y="2600682"/>
                </a:moveTo>
                <a:cubicBezTo>
                  <a:pt x="5894824" y="2600682"/>
                  <a:pt x="5872163" y="2602936"/>
                  <a:pt x="5849503" y="2602936"/>
                </a:cubicBezTo>
                <a:cubicBezTo>
                  <a:pt x="5847442" y="2600682"/>
                  <a:pt x="5847442" y="2598424"/>
                  <a:pt x="5845383" y="2596170"/>
                </a:cubicBezTo>
                <a:cubicBezTo>
                  <a:pt x="5855683" y="2596170"/>
                  <a:pt x="5865985" y="2596170"/>
                  <a:pt x="5876283" y="2593913"/>
                </a:cubicBezTo>
                <a:cubicBezTo>
                  <a:pt x="5882465" y="2598424"/>
                  <a:pt x="5888644" y="2596170"/>
                  <a:pt x="5894824" y="2596170"/>
                </a:cubicBezTo>
                <a:cubicBezTo>
                  <a:pt x="5903065" y="2596170"/>
                  <a:pt x="5911305" y="2596170"/>
                  <a:pt x="5917483" y="2600682"/>
                </a:cubicBezTo>
                <a:close/>
                <a:moveTo>
                  <a:pt x="5921604" y="2763106"/>
                </a:moveTo>
                <a:cubicBezTo>
                  <a:pt x="5915426" y="2767618"/>
                  <a:pt x="5907185" y="2769873"/>
                  <a:pt x="5901003" y="2772130"/>
                </a:cubicBezTo>
                <a:cubicBezTo>
                  <a:pt x="5896883" y="2769873"/>
                  <a:pt x="5892763" y="2772130"/>
                  <a:pt x="5888644" y="2772130"/>
                </a:cubicBezTo>
                <a:cubicBezTo>
                  <a:pt x="5880403" y="2772130"/>
                  <a:pt x="5874224" y="2772130"/>
                  <a:pt x="5865985" y="2772130"/>
                </a:cubicBezTo>
                <a:cubicBezTo>
                  <a:pt x="5863926" y="2772130"/>
                  <a:pt x="5859805" y="2772130"/>
                  <a:pt x="5857744" y="2772130"/>
                </a:cubicBezTo>
                <a:cubicBezTo>
                  <a:pt x="5857744" y="2772130"/>
                  <a:pt x="5855683" y="2772130"/>
                  <a:pt x="5855683" y="2772130"/>
                </a:cubicBezTo>
                <a:cubicBezTo>
                  <a:pt x="5851562" y="2772130"/>
                  <a:pt x="5847442" y="2772130"/>
                  <a:pt x="5843324" y="2772130"/>
                </a:cubicBezTo>
                <a:cubicBezTo>
                  <a:pt x="5845383" y="2769873"/>
                  <a:pt x="5847442" y="2767618"/>
                  <a:pt x="5847442" y="2767618"/>
                </a:cubicBezTo>
                <a:cubicBezTo>
                  <a:pt x="5849503" y="2767618"/>
                  <a:pt x="5851562" y="2765364"/>
                  <a:pt x="5853624" y="2765364"/>
                </a:cubicBezTo>
                <a:cubicBezTo>
                  <a:pt x="5851562" y="2765364"/>
                  <a:pt x="5849503" y="2765364"/>
                  <a:pt x="5847442" y="2765364"/>
                </a:cubicBezTo>
                <a:cubicBezTo>
                  <a:pt x="5849503" y="2763106"/>
                  <a:pt x="5851562" y="2760851"/>
                  <a:pt x="5855683" y="2756340"/>
                </a:cubicBezTo>
                <a:cubicBezTo>
                  <a:pt x="5870104" y="2760851"/>
                  <a:pt x="5886585" y="2758594"/>
                  <a:pt x="5903065" y="2765364"/>
                </a:cubicBezTo>
                <a:cubicBezTo>
                  <a:pt x="5903065" y="2765364"/>
                  <a:pt x="5905124" y="2765364"/>
                  <a:pt x="5905124" y="2765364"/>
                </a:cubicBezTo>
                <a:cubicBezTo>
                  <a:pt x="5911305" y="2763106"/>
                  <a:pt x="5915426" y="2763106"/>
                  <a:pt x="5921604" y="2763106"/>
                </a:cubicBezTo>
                <a:close/>
                <a:moveTo>
                  <a:pt x="5923665" y="1700579"/>
                </a:moveTo>
                <a:cubicBezTo>
                  <a:pt x="5921604" y="1700579"/>
                  <a:pt x="5921604" y="1700579"/>
                  <a:pt x="5919542" y="1702834"/>
                </a:cubicBezTo>
                <a:cubicBezTo>
                  <a:pt x="5919542" y="1702834"/>
                  <a:pt x="5917483" y="1702834"/>
                  <a:pt x="5915426" y="1702834"/>
                </a:cubicBezTo>
                <a:cubicBezTo>
                  <a:pt x="5915426" y="1698322"/>
                  <a:pt x="5916454" y="1696631"/>
                  <a:pt x="5917999" y="1696067"/>
                </a:cubicBezTo>
                <a:cubicBezTo>
                  <a:pt x="5919544" y="1695503"/>
                  <a:pt x="5921604" y="1696068"/>
                  <a:pt x="5923665" y="1696068"/>
                </a:cubicBezTo>
                <a:cubicBezTo>
                  <a:pt x="5923665" y="1698322"/>
                  <a:pt x="5923665" y="1698322"/>
                  <a:pt x="5923665" y="1700579"/>
                </a:cubicBezTo>
                <a:close/>
                <a:moveTo>
                  <a:pt x="5936026" y="162056"/>
                </a:moveTo>
                <a:cubicBezTo>
                  <a:pt x="5929844" y="171080"/>
                  <a:pt x="5923665" y="175592"/>
                  <a:pt x="5913364" y="173335"/>
                </a:cubicBezTo>
                <a:cubicBezTo>
                  <a:pt x="5913364" y="171080"/>
                  <a:pt x="5913364" y="168823"/>
                  <a:pt x="5913364" y="168823"/>
                </a:cubicBezTo>
                <a:cubicBezTo>
                  <a:pt x="5921604" y="166568"/>
                  <a:pt x="5925724" y="157544"/>
                  <a:pt x="5936026" y="162056"/>
                </a:cubicBezTo>
                <a:close/>
                <a:moveTo>
                  <a:pt x="5948386" y="2510444"/>
                </a:moveTo>
                <a:cubicBezTo>
                  <a:pt x="5946324" y="2510444"/>
                  <a:pt x="5946324" y="2510444"/>
                  <a:pt x="5944263" y="2512702"/>
                </a:cubicBezTo>
                <a:cubicBezTo>
                  <a:pt x="5936026" y="2517214"/>
                  <a:pt x="5927785" y="2519469"/>
                  <a:pt x="5919542" y="2521726"/>
                </a:cubicBezTo>
                <a:cubicBezTo>
                  <a:pt x="5919542" y="2521726"/>
                  <a:pt x="5919542" y="2521726"/>
                  <a:pt x="5917483" y="2521726"/>
                </a:cubicBezTo>
                <a:cubicBezTo>
                  <a:pt x="5901003" y="2523980"/>
                  <a:pt x="5886585" y="2523980"/>
                  <a:pt x="5870104" y="2526238"/>
                </a:cubicBezTo>
                <a:cubicBezTo>
                  <a:pt x="5870104" y="2526238"/>
                  <a:pt x="5868042" y="2526238"/>
                  <a:pt x="5868042" y="2526238"/>
                </a:cubicBezTo>
                <a:cubicBezTo>
                  <a:pt x="5845383" y="2523980"/>
                  <a:pt x="5824783" y="2526238"/>
                  <a:pt x="5802124" y="2530750"/>
                </a:cubicBezTo>
                <a:cubicBezTo>
                  <a:pt x="5793883" y="2533004"/>
                  <a:pt x="5783582" y="2533004"/>
                  <a:pt x="5777403" y="2537516"/>
                </a:cubicBezTo>
                <a:cubicBezTo>
                  <a:pt x="5762982" y="2539773"/>
                  <a:pt x="5746503" y="2542028"/>
                  <a:pt x="5730023" y="2542028"/>
                </a:cubicBezTo>
                <a:cubicBezTo>
                  <a:pt x="5736203" y="2539773"/>
                  <a:pt x="5742383" y="2535262"/>
                  <a:pt x="5746503" y="2533004"/>
                </a:cubicBezTo>
                <a:cubicBezTo>
                  <a:pt x="5773283" y="2523980"/>
                  <a:pt x="5800062" y="2517214"/>
                  <a:pt x="5828903" y="2519469"/>
                </a:cubicBezTo>
                <a:cubicBezTo>
                  <a:pt x="5833023" y="2519469"/>
                  <a:pt x="5839205" y="2519469"/>
                  <a:pt x="5841263" y="2517214"/>
                </a:cubicBezTo>
                <a:cubicBezTo>
                  <a:pt x="5861864" y="2508190"/>
                  <a:pt x="5882465" y="2510444"/>
                  <a:pt x="5903065" y="2505933"/>
                </a:cubicBezTo>
                <a:cubicBezTo>
                  <a:pt x="5919542" y="2508190"/>
                  <a:pt x="5933965" y="2508190"/>
                  <a:pt x="5948386" y="2510444"/>
                </a:cubicBezTo>
                <a:close/>
                <a:moveTo>
                  <a:pt x="5950445" y="229734"/>
                </a:moveTo>
                <a:cubicBezTo>
                  <a:pt x="5948386" y="229734"/>
                  <a:pt x="5946324" y="229734"/>
                  <a:pt x="5946324" y="227477"/>
                </a:cubicBezTo>
                <a:cubicBezTo>
                  <a:pt x="5946324" y="227477"/>
                  <a:pt x="5948386" y="225222"/>
                  <a:pt x="5948386" y="225222"/>
                </a:cubicBezTo>
                <a:cubicBezTo>
                  <a:pt x="5948386" y="227477"/>
                  <a:pt x="5950445" y="229734"/>
                  <a:pt x="5950445" y="229734"/>
                </a:cubicBezTo>
                <a:close/>
                <a:moveTo>
                  <a:pt x="5950445" y="1761489"/>
                </a:moveTo>
                <a:cubicBezTo>
                  <a:pt x="5948386" y="1763742"/>
                  <a:pt x="5946324" y="1763742"/>
                  <a:pt x="5944263" y="1763742"/>
                </a:cubicBezTo>
                <a:cubicBezTo>
                  <a:pt x="5940143" y="1763742"/>
                  <a:pt x="5936026" y="1763742"/>
                  <a:pt x="5931906" y="1761489"/>
                </a:cubicBezTo>
                <a:cubicBezTo>
                  <a:pt x="5931906" y="1761489"/>
                  <a:pt x="5929844" y="1759231"/>
                  <a:pt x="5929844" y="1759231"/>
                </a:cubicBezTo>
                <a:cubicBezTo>
                  <a:pt x="5938085" y="1759231"/>
                  <a:pt x="5944263" y="1759231"/>
                  <a:pt x="5950445" y="1761489"/>
                </a:cubicBezTo>
                <a:close/>
                <a:moveTo>
                  <a:pt x="5962805" y="2607449"/>
                </a:moveTo>
                <a:cubicBezTo>
                  <a:pt x="5962805" y="2607449"/>
                  <a:pt x="5960744" y="2607449"/>
                  <a:pt x="5960744" y="2609706"/>
                </a:cubicBezTo>
                <a:cubicBezTo>
                  <a:pt x="5954565" y="2611960"/>
                  <a:pt x="5948386" y="2614218"/>
                  <a:pt x="5944263" y="2616472"/>
                </a:cubicBezTo>
                <a:cubicBezTo>
                  <a:pt x="5942204" y="2616472"/>
                  <a:pt x="5942204" y="2616472"/>
                  <a:pt x="5940143" y="2618730"/>
                </a:cubicBezTo>
                <a:cubicBezTo>
                  <a:pt x="5938085" y="2618730"/>
                  <a:pt x="5938085" y="2618730"/>
                  <a:pt x="5936026" y="2618730"/>
                </a:cubicBezTo>
                <a:cubicBezTo>
                  <a:pt x="5936026" y="2618730"/>
                  <a:pt x="5933965" y="2618730"/>
                  <a:pt x="5933965" y="2620984"/>
                </a:cubicBezTo>
                <a:cubicBezTo>
                  <a:pt x="5923665" y="2623242"/>
                  <a:pt x="5911305" y="2623242"/>
                  <a:pt x="5898945" y="2623242"/>
                </a:cubicBezTo>
                <a:cubicBezTo>
                  <a:pt x="5901003" y="2620984"/>
                  <a:pt x="5903065" y="2618730"/>
                  <a:pt x="5905124" y="2616472"/>
                </a:cubicBezTo>
                <a:cubicBezTo>
                  <a:pt x="5909244" y="2614218"/>
                  <a:pt x="5911305" y="2611960"/>
                  <a:pt x="5915426" y="2611960"/>
                </a:cubicBezTo>
                <a:cubicBezTo>
                  <a:pt x="5927785" y="2607449"/>
                  <a:pt x="5938085" y="2607449"/>
                  <a:pt x="5946324" y="2605194"/>
                </a:cubicBezTo>
                <a:cubicBezTo>
                  <a:pt x="5952506" y="2602936"/>
                  <a:pt x="5958685" y="2605194"/>
                  <a:pt x="5962805" y="2607449"/>
                </a:cubicBezTo>
                <a:close/>
                <a:moveTo>
                  <a:pt x="5964863" y="2781153"/>
                </a:moveTo>
                <a:cubicBezTo>
                  <a:pt x="5958685" y="2781153"/>
                  <a:pt x="5958685" y="2781153"/>
                  <a:pt x="5956626" y="2785666"/>
                </a:cubicBezTo>
                <a:cubicBezTo>
                  <a:pt x="5960744" y="2785666"/>
                  <a:pt x="5962805" y="2783408"/>
                  <a:pt x="5964863" y="2781153"/>
                </a:cubicBezTo>
                <a:close/>
                <a:moveTo>
                  <a:pt x="5973104" y="2693174"/>
                </a:moveTo>
                <a:cubicBezTo>
                  <a:pt x="5968983" y="2695429"/>
                  <a:pt x="5964863" y="2697686"/>
                  <a:pt x="5962805" y="2699940"/>
                </a:cubicBezTo>
                <a:cubicBezTo>
                  <a:pt x="5946324" y="2702198"/>
                  <a:pt x="5929844" y="2702198"/>
                  <a:pt x="5911305" y="2702198"/>
                </a:cubicBezTo>
                <a:cubicBezTo>
                  <a:pt x="5913364" y="2699940"/>
                  <a:pt x="5915426" y="2699940"/>
                  <a:pt x="5917483" y="2697686"/>
                </a:cubicBezTo>
                <a:cubicBezTo>
                  <a:pt x="5896883" y="2690916"/>
                  <a:pt x="5878344" y="2690916"/>
                  <a:pt x="5863926" y="2708964"/>
                </a:cubicBezTo>
                <a:lnTo>
                  <a:pt x="5853863" y="2704557"/>
                </a:lnTo>
                <a:lnTo>
                  <a:pt x="5854138" y="2707272"/>
                </a:lnTo>
                <a:cubicBezTo>
                  <a:pt x="5854137" y="2708400"/>
                  <a:pt x="5853622" y="2708964"/>
                  <a:pt x="5851562" y="2708964"/>
                </a:cubicBezTo>
                <a:cubicBezTo>
                  <a:pt x="5845383" y="2711222"/>
                  <a:pt x="5839205" y="2711222"/>
                  <a:pt x="5833023" y="2713476"/>
                </a:cubicBezTo>
                <a:cubicBezTo>
                  <a:pt x="5824783" y="2713476"/>
                  <a:pt x="5816542" y="2713476"/>
                  <a:pt x="5806244" y="2713476"/>
                </a:cubicBezTo>
                <a:cubicBezTo>
                  <a:pt x="5812423" y="2711222"/>
                  <a:pt x="5820663" y="2711222"/>
                  <a:pt x="5824783" y="2706709"/>
                </a:cubicBezTo>
                <a:cubicBezTo>
                  <a:pt x="5829934" y="2703326"/>
                  <a:pt x="5834569" y="2701633"/>
                  <a:pt x="5839205" y="2701070"/>
                </a:cubicBezTo>
                <a:lnTo>
                  <a:pt x="5850334" y="2701940"/>
                </a:lnTo>
                <a:lnTo>
                  <a:pt x="5847701" y="2696558"/>
                </a:lnTo>
                <a:cubicBezTo>
                  <a:pt x="5845899" y="2694866"/>
                  <a:pt x="5843323" y="2694301"/>
                  <a:pt x="5839205" y="2695429"/>
                </a:cubicBezTo>
                <a:cubicBezTo>
                  <a:pt x="5822724" y="2697686"/>
                  <a:pt x="5806244" y="2697686"/>
                  <a:pt x="5791825" y="2702198"/>
                </a:cubicBezTo>
                <a:cubicBezTo>
                  <a:pt x="5787703" y="2704452"/>
                  <a:pt x="5781523" y="2704452"/>
                  <a:pt x="5777403" y="2706709"/>
                </a:cubicBezTo>
                <a:cubicBezTo>
                  <a:pt x="5775342" y="2706709"/>
                  <a:pt x="5771224" y="2706709"/>
                  <a:pt x="5769163" y="2706709"/>
                </a:cubicBezTo>
                <a:cubicBezTo>
                  <a:pt x="5767105" y="2704452"/>
                  <a:pt x="5765043" y="2702198"/>
                  <a:pt x="5762982" y="2702198"/>
                </a:cubicBezTo>
                <a:cubicBezTo>
                  <a:pt x="5769163" y="2699940"/>
                  <a:pt x="5777403" y="2699940"/>
                  <a:pt x="5781523" y="2693174"/>
                </a:cubicBezTo>
                <a:cubicBezTo>
                  <a:pt x="5781523" y="2693174"/>
                  <a:pt x="5781523" y="2693174"/>
                  <a:pt x="5783582" y="2690916"/>
                </a:cubicBezTo>
                <a:cubicBezTo>
                  <a:pt x="5800062" y="2693174"/>
                  <a:pt x="5816542" y="2695429"/>
                  <a:pt x="5833023" y="2690916"/>
                </a:cubicBezTo>
                <a:cubicBezTo>
                  <a:pt x="5835085" y="2690916"/>
                  <a:pt x="5837144" y="2690916"/>
                  <a:pt x="5841263" y="2690916"/>
                </a:cubicBezTo>
                <a:cubicBezTo>
                  <a:pt x="5851562" y="2693174"/>
                  <a:pt x="5859805" y="2688662"/>
                  <a:pt x="5863926" y="2679638"/>
                </a:cubicBezTo>
                <a:cubicBezTo>
                  <a:pt x="5870104" y="2686404"/>
                  <a:pt x="5878344" y="2686404"/>
                  <a:pt x="5886585" y="2686404"/>
                </a:cubicBezTo>
                <a:cubicBezTo>
                  <a:pt x="5888644" y="2684150"/>
                  <a:pt x="5888644" y="2681893"/>
                  <a:pt x="5890705" y="2681893"/>
                </a:cubicBezTo>
                <a:cubicBezTo>
                  <a:pt x="5892763" y="2679638"/>
                  <a:pt x="5896883" y="2679638"/>
                  <a:pt x="5898945" y="2677384"/>
                </a:cubicBezTo>
                <a:cubicBezTo>
                  <a:pt x="5903065" y="2675127"/>
                  <a:pt x="5907185" y="2675127"/>
                  <a:pt x="5911305" y="2675127"/>
                </a:cubicBezTo>
                <a:cubicBezTo>
                  <a:pt x="5911305" y="2675127"/>
                  <a:pt x="5913364" y="2675127"/>
                  <a:pt x="5913364" y="2675127"/>
                </a:cubicBezTo>
                <a:cubicBezTo>
                  <a:pt x="5917483" y="2675127"/>
                  <a:pt x="5921604" y="2675127"/>
                  <a:pt x="5925724" y="2675127"/>
                </a:cubicBezTo>
                <a:cubicBezTo>
                  <a:pt x="5925724" y="2677384"/>
                  <a:pt x="5927785" y="2677384"/>
                  <a:pt x="5927785" y="2679638"/>
                </a:cubicBezTo>
                <a:cubicBezTo>
                  <a:pt x="5929844" y="2684150"/>
                  <a:pt x="5931906" y="2684150"/>
                  <a:pt x="5936026" y="2684150"/>
                </a:cubicBezTo>
                <a:cubicBezTo>
                  <a:pt x="5938085" y="2684150"/>
                  <a:pt x="5940143" y="2684150"/>
                  <a:pt x="5942204" y="2681893"/>
                </a:cubicBezTo>
                <a:cubicBezTo>
                  <a:pt x="5940143" y="2684150"/>
                  <a:pt x="5938085" y="2688662"/>
                  <a:pt x="5936026" y="2693174"/>
                </a:cubicBezTo>
                <a:cubicBezTo>
                  <a:pt x="5946324" y="2697686"/>
                  <a:pt x="5958685" y="2681893"/>
                  <a:pt x="5973104" y="2693174"/>
                </a:cubicBezTo>
                <a:close/>
                <a:moveTo>
                  <a:pt x="5983406" y="155287"/>
                </a:moveTo>
                <a:cubicBezTo>
                  <a:pt x="5979285" y="159799"/>
                  <a:pt x="5975165" y="164310"/>
                  <a:pt x="5968983" y="162056"/>
                </a:cubicBezTo>
                <a:cubicBezTo>
                  <a:pt x="5964863" y="168823"/>
                  <a:pt x="5960744" y="175592"/>
                  <a:pt x="5956626" y="182358"/>
                </a:cubicBezTo>
                <a:cubicBezTo>
                  <a:pt x="5956626" y="186870"/>
                  <a:pt x="5958685" y="186870"/>
                  <a:pt x="5962805" y="189127"/>
                </a:cubicBezTo>
                <a:cubicBezTo>
                  <a:pt x="5956626" y="193639"/>
                  <a:pt x="5950445" y="198150"/>
                  <a:pt x="5948386" y="202663"/>
                </a:cubicBezTo>
                <a:cubicBezTo>
                  <a:pt x="5946324" y="207175"/>
                  <a:pt x="5944263" y="209429"/>
                  <a:pt x="5940143" y="211686"/>
                </a:cubicBezTo>
                <a:cubicBezTo>
                  <a:pt x="5940143" y="209429"/>
                  <a:pt x="5938085" y="207175"/>
                  <a:pt x="5938085" y="204917"/>
                </a:cubicBezTo>
                <a:cubicBezTo>
                  <a:pt x="5940143" y="202663"/>
                  <a:pt x="5942204" y="198150"/>
                  <a:pt x="5940143" y="191382"/>
                </a:cubicBezTo>
                <a:cubicBezTo>
                  <a:pt x="5938085" y="193639"/>
                  <a:pt x="5936026" y="195894"/>
                  <a:pt x="5933965" y="198150"/>
                </a:cubicBezTo>
                <a:cubicBezTo>
                  <a:pt x="5931906" y="193639"/>
                  <a:pt x="5929844" y="191382"/>
                  <a:pt x="5925724" y="186870"/>
                </a:cubicBezTo>
                <a:cubicBezTo>
                  <a:pt x="5931906" y="173335"/>
                  <a:pt x="5942204" y="164310"/>
                  <a:pt x="5954565" y="159799"/>
                </a:cubicBezTo>
                <a:cubicBezTo>
                  <a:pt x="5948386" y="159799"/>
                  <a:pt x="5942204" y="159799"/>
                  <a:pt x="5938085" y="159799"/>
                </a:cubicBezTo>
                <a:cubicBezTo>
                  <a:pt x="5942204" y="155287"/>
                  <a:pt x="5946324" y="150778"/>
                  <a:pt x="5950445" y="146263"/>
                </a:cubicBezTo>
                <a:cubicBezTo>
                  <a:pt x="5948386" y="144008"/>
                  <a:pt x="5944263" y="141751"/>
                  <a:pt x="5942204" y="139497"/>
                </a:cubicBezTo>
                <a:cubicBezTo>
                  <a:pt x="5944263" y="137242"/>
                  <a:pt x="5946324" y="134985"/>
                  <a:pt x="5946324" y="128218"/>
                </a:cubicBezTo>
                <a:cubicBezTo>
                  <a:pt x="5944263" y="132727"/>
                  <a:pt x="5942204" y="134985"/>
                  <a:pt x="5940143" y="137242"/>
                </a:cubicBezTo>
                <a:cubicBezTo>
                  <a:pt x="5936026" y="137242"/>
                  <a:pt x="5933965" y="134985"/>
                  <a:pt x="5929844" y="134985"/>
                </a:cubicBezTo>
                <a:cubicBezTo>
                  <a:pt x="5927785" y="137242"/>
                  <a:pt x="5927785" y="139497"/>
                  <a:pt x="5925724" y="141751"/>
                </a:cubicBezTo>
                <a:cubicBezTo>
                  <a:pt x="5923665" y="141751"/>
                  <a:pt x="5921604" y="139497"/>
                  <a:pt x="5919542" y="139497"/>
                </a:cubicBezTo>
                <a:cubicBezTo>
                  <a:pt x="5919542" y="141751"/>
                  <a:pt x="5917483" y="144008"/>
                  <a:pt x="5917483" y="146263"/>
                </a:cubicBezTo>
                <a:cubicBezTo>
                  <a:pt x="5915426" y="144008"/>
                  <a:pt x="5915426" y="141751"/>
                  <a:pt x="5915426" y="139497"/>
                </a:cubicBezTo>
                <a:cubicBezTo>
                  <a:pt x="5917483" y="137242"/>
                  <a:pt x="5919542" y="132727"/>
                  <a:pt x="5919542" y="130472"/>
                </a:cubicBezTo>
                <a:cubicBezTo>
                  <a:pt x="5929844" y="123706"/>
                  <a:pt x="5942204" y="116938"/>
                  <a:pt x="5952506" y="110172"/>
                </a:cubicBezTo>
                <a:cubicBezTo>
                  <a:pt x="5954565" y="114683"/>
                  <a:pt x="5954565" y="116938"/>
                  <a:pt x="5952506" y="121449"/>
                </a:cubicBezTo>
                <a:cubicBezTo>
                  <a:pt x="5950445" y="123706"/>
                  <a:pt x="5952506" y="128218"/>
                  <a:pt x="5954565" y="130472"/>
                </a:cubicBezTo>
                <a:cubicBezTo>
                  <a:pt x="5956626" y="132727"/>
                  <a:pt x="5958685" y="134985"/>
                  <a:pt x="5962805" y="137242"/>
                </a:cubicBezTo>
                <a:cubicBezTo>
                  <a:pt x="5960744" y="144008"/>
                  <a:pt x="5960744" y="150778"/>
                  <a:pt x="5958685" y="157544"/>
                </a:cubicBezTo>
                <a:cubicBezTo>
                  <a:pt x="5966925" y="155287"/>
                  <a:pt x="5975165" y="155287"/>
                  <a:pt x="5983406" y="155287"/>
                </a:cubicBezTo>
                <a:close/>
                <a:moveTo>
                  <a:pt x="5987526" y="2738292"/>
                </a:moveTo>
                <a:cubicBezTo>
                  <a:pt x="5977226" y="2742804"/>
                  <a:pt x="5964863" y="2745058"/>
                  <a:pt x="5954565" y="2747316"/>
                </a:cubicBezTo>
                <a:cubicBezTo>
                  <a:pt x="5958685" y="2742804"/>
                  <a:pt x="5962805" y="2738292"/>
                  <a:pt x="5966925" y="2733780"/>
                </a:cubicBezTo>
                <a:cubicBezTo>
                  <a:pt x="5971045" y="2733780"/>
                  <a:pt x="5975165" y="2733780"/>
                  <a:pt x="5977226" y="2736036"/>
                </a:cubicBezTo>
                <a:cubicBezTo>
                  <a:pt x="5981344" y="2736036"/>
                  <a:pt x="5983406" y="2738292"/>
                  <a:pt x="5987526" y="2738292"/>
                </a:cubicBezTo>
                <a:close/>
                <a:moveTo>
                  <a:pt x="5991645" y="2591658"/>
                </a:moveTo>
                <a:cubicBezTo>
                  <a:pt x="5987526" y="2593913"/>
                  <a:pt x="5983406" y="2596170"/>
                  <a:pt x="5979285" y="2598424"/>
                </a:cubicBezTo>
                <a:cubicBezTo>
                  <a:pt x="5979285" y="2598424"/>
                  <a:pt x="5979285" y="2598424"/>
                  <a:pt x="5977226" y="2598424"/>
                </a:cubicBezTo>
                <a:cubicBezTo>
                  <a:pt x="5975165" y="2598424"/>
                  <a:pt x="5975165" y="2596170"/>
                  <a:pt x="5971045" y="2596170"/>
                </a:cubicBezTo>
                <a:cubicBezTo>
                  <a:pt x="5977226" y="2593913"/>
                  <a:pt x="5977226" y="2591658"/>
                  <a:pt x="5979285" y="2591658"/>
                </a:cubicBezTo>
                <a:cubicBezTo>
                  <a:pt x="5983406" y="2591658"/>
                  <a:pt x="5987526" y="2591658"/>
                  <a:pt x="5991645" y="2591658"/>
                </a:cubicBezTo>
                <a:close/>
                <a:moveTo>
                  <a:pt x="6006065" y="209429"/>
                </a:moveTo>
                <a:cubicBezTo>
                  <a:pt x="6004006" y="211686"/>
                  <a:pt x="6004006" y="216198"/>
                  <a:pt x="6001945" y="218452"/>
                </a:cubicBezTo>
                <a:cubicBezTo>
                  <a:pt x="5999886" y="222965"/>
                  <a:pt x="5999886" y="227477"/>
                  <a:pt x="5999886" y="229734"/>
                </a:cubicBezTo>
                <a:cubicBezTo>
                  <a:pt x="5995765" y="229734"/>
                  <a:pt x="5993704" y="231988"/>
                  <a:pt x="5991645" y="231988"/>
                </a:cubicBezTo>
                <a:cubicBezTo>
                  <a:pt x="5989584" y="229734"/>
                  <a:pt x="5989584" y="227477"/>
                  <a:pt x="5987526" y="225222"/>
                </a:cubicBezTo>
                <a:cubicBezTo>
                  <a:pt x="5983406" y="234243"/>
                  <a:pt x="5975165" y="236500"/>
                  <a:pt x="5968983" y="243267"/>
                </a:cubicBezTo>
                <a:cubicBezTo>
                  <a:pt x="5966925" y="243267"/>
                  <a:pt x="5966925" y="243267"/>
                  <a:pt x="5964863" y="241013"/>
                </a:cubicBezTo>
                <a:cubicBezTo>
                  <a:pt x="5964863" y="241013"/>
                  <a:pt x="5966925" y="238758"/>
                  <a:pt x="5966925" y="238758"/>
                </a:cubicBezTo>
                <a:cubicBezTo>
                  <a:pt x="5973104" y="231988"/>
                  <a:pt x="5981344" y="227477"/>
                  <a:pt x="5987526" y="222965"/>
                </a:cubicBezTo>
                <a:cubicBezTo>
                  <a:pt x="5991645" y="220707"/>
                  <a:pt x="5995765" y="216198"/>
                  <a:pt x="5999886" y="213941"/>
                </a:cubicBezTo>
                <a:cubicBezTo>
                  <a:pt x="5999886" y="213941"/>
                  <a:pt x="5999886" y="211686"/>
                  <a:pt x="5997824" y="211686"/>
                </a:cubicBezTo>
                <a:cubicBezTo>
                  <a:pt x="5999886" y="209429"/>
                  <a:pt x="6001945" y="207175"/>
                  <a:pt x="6006065" y="209429"/>
                </a:cubicBezTo>
                <a:close/>
                <a:moveTo>
                  <a:pt x="6008126" y="2772130"/>
                </a:moveTo>
                <a:cubicBezTo>
                  <a:pt x="6004006" y="2772130"/>
                  <a:pt x="5999886" y="2774387"/>
                  <a:pt x="5995765" y="2774387"/>
                </a:cubicBezTo>
                <a:cubicBezTo>
                  <a:pt x="5997824" y="2774387"/>
                  <a:pt x="6001945" y="2774387"/>
                  <a:pt x="6006065" y="2774387"/>
                </a:cubicBezTo>
                <a:cubicBezTo>
                  <a:pt x="6008126" y="2772130"/>
                  <a:pt x="6008126" y="2772130"/>
                  <a:pt x="6008126" y="2772130"/>
                </a:cubicBezTo>
                <a:close/>
                <a:moveTo>
                  <a:pt x="6010185" y="2345767"/>
                </a:moveTo>
                <a:cubicBezTo>
                  <a:pt x="6004006" y="2348022"/>
                  <a:pt x="5999886" y="2350278"/>
                  <a:pt x="5993704" y="2345767"/>
                </a:cubicBezTo>
                <a:cubicBezTo>
                  <a:pt x="5993704" y="2345767"/>
                  <a:pt x="5995765" y="2345767"/>
                  <a:pt x="5997824" y="2345767"/>
                </a:cubicBezTo>
                <a:cubicBezTo>
                  <a:pt x="5997824" y="2345767"/>
                  <a:pt x="5999886" y="2345767"/>
                  <a:pt x="5999886" y="2345767"/>
                </a:cubicBezTo>
                <a:cubicBezTo>
                  <a:pt x="6004006" y="2345767"/>
                  <a:pt x="6006065" y="2345767"/>
                  <a:pt x="6010185" y="2345767"/>
                </a:cubicBezTo>
                <a:close/>
                <a:moveTo>
                  <a:pt x="6010185" y="2672869"/>
                </a:moveTo>
                <a:cubicBezTo>
                  <a:pt x="6006065" y="2675127"/>
                  <a:pt x="5999886" y="2679638"/>
                  <a:pt x="5995765" y="2681893"/>
                </a:cubicBezTo>
                <a:cubicBezTo>
                  <a:pt x="5987526" y="2672869"/>
                  <a:pt x="5979285" y="2668358"/>
                  <a:pt x="5966925" y="2672869"/>
                </a:cubicBezTo>
                <a:cubicBezTo>
                  <a:pt x="5954565" y="2675127"/>
                  <a:pt x="5950445" y="2677384"/>
                  <a:pt x="5946324" y="2679638"/>
                </a:cubicBezTo>
                <a:cubicBezTo>
                  <a:pt x="5944263" y="2677384"/>
                  <a:pt x="5942204" y="2677384"/>
                  <a:pt x="5940143" y="2675127"/>
                </a:cubicBezTo>
                <a:cubicBezTo>
                  <a:pt x="5944263" y="2668358"/>
                  <a:pt x="5946324" y="2663848"/>
                  <a:pt x="5954565" y="2663848"/>
                </a:cubicBezTo>
                <a:cubicBezTo>
                  <a:pt x="5958685" y="2663848"/>
                  <a:pt x="5964863" y="2661591"/>
                  <a:pt x="5968983" y="2661591"/>
                </a:cubicBezTo>
                <a:cubicBezTo>
                  <a:pt x="5975165" y="2663848"/>
                  <a:pt x="5981344" y="2663848"/>
                  <a:pt x="5985465" y="2663848"/>
                </a:cubicBezTo>
                <a:cubicBezTo>
                  <a:pt x="5985465" y="2663848"/>
                  <a:pt x="5983406" y="2663848"/>
                  <a:pt x="5983406" y="2666102"/>
                </a:cubicBezTo>
                <a:cubicBezTo>
                  <a:pt x="5985465" y="2666102"/>
                  <a:pt x="5987526" y="2666102"/>
                  <a:pt x="5991645" y="2666102"/>
                </a:cubicBezTo>
                <a:cubicBezTo>
                  <a:pt x="5993704" y="2666102"/>
                  <a:pt x="5995765" y="2668358"/>
                  <a:pt x="5997824" y="2668358"/>
                </a:cubicBezTo>
                <a:cubicBezTo>
                  <a:pt x="6001945" y="2670614"/>
                  <a:pt x="6006065" y="2670614"/>
                  <a:pt x="6010185" y="2672869"/>
                </a:cubicBezTo>
                <a:close/>
                <a:moveTo>
                  <a:pt x="6014304" y="2756340"/>
                </a:moveTo>
                <a:cubicBezTo>
                  <a:pt x="5993704" y="2760851"/>
                  <a:pt x="5971045" y="2765364"/>
                  <a:pt x="5948386" y="2769873"/>
                </a:cubicBezTo>
                <a:cubicBezTo>
                  <a:pt x="5950445" y="2767618"/>
                  <a:pt x="5952506" y="2765364"/>
                  <a:pt x="5952506" y="2765364"/>
                </a:cubicBezTo>
                <a:cubicBezTo>
                  <a:pt x="5954565" y="2765364"/>
                  <a:pt x="5954565" y="2765364"/>
                  <a:pt x="5956626" y="2765364"/>
                </a:cubicBezTo>
                <a:cubicBezTo>
                  <a:pt x="5960744" y="2765364"/>
                  <a:pt x="5966925" y="2765364"/>
                  <a:pt x="5973104" y="2763106"/>
                </a:cubicBezTo>
                <a:cubicBezTo>
                  <a:pt x="5973104" y="2763106"/>
                  <a:pt x="5973104" y="2763106"/>
                  <a:pt x="5971045" y="2763106"/>
                </a:cubicBezTo>
                <a:cubicBezTo>
                  <a:pt x="5981344" y="2760851"/>
                  <a:pt x="5989584" y="2758594"/>
                  <a:pt x="5999886" y="2756340"/>
                </a:cubicBezTo>
                <a:cubicBezTo>
                  <a:pt x="6004006" y="2756340"/>
                  <a:pt x="6010185" y="2756340"/>
                  <a:pt x="6014304" y="2756340"/>
                </a:cubicBezTo>
                <a:close/>
                <a:moveTo>
                  <a:pt x="6014564" y="251447"/>
                </a:moveTo>
                <a:cubicBezTo>
                  <a:pt x="6015336" y="249473"/>
                  <a:pt x="6014305" y="246653"/>
                  <a:pt x="6012244" y="241013"/>
                </a:cubicBezTo>
                <a:lnTo>
                  <a:pt x="5998154" y="246155"/>
                </a:lnTo>
                <a:lnTo>
                  <a:pt x="5999574" y="258581"/>
                </a:lnTo>
                <a:lnTo>
                  <a:pt x="6006065" y="256802"/>
                </a:lnTo>
                <a:cubicBezTo>
                  <a:pt x="6011216" y="254547"/>
                  <a:pt x="6013791" y="253420"/>
                  <a:pt x="6014564" y="251447"/>
                </a:cubicBezTo>
                <a:close/>
                <a:moveTo>
                  <a:pt x="6020486" y="184616"/>
                </a:moveTo>
                <a:cubicBezTo>
                  <a:pt x="6020486" y="186870"/>
                  <a:pt x="6018425" y="186870"/>
                  <a:pt x="6014304" y="186870"/>
                </a:cubicBezTo>
                <a:cubicBezTo>
                  <a:pt x="6014304" y="186870"/>
                  <a:pt x="6014304" y="184616"/>
                  <a:pt x="6014304" y="184616"/>
                </a:cubicBezTo>
                <a:cubicBezTo>
                  <a:pt x="6016367" y="184616"/>
                  <a:pt x="6018425" y="184616"/>
                  <a:pt x="6020486" y="184616"/>
                </a:cubicBezTo>
                <a:close/>
                <a:moveTo>
                  <a:pt x="6032654" y="219684"/>
                </a:moveTo>
                <a:lnTo>
                  <a:pt x="6030785" y="220707"/>
                </a:lnTo>
                <a:cubicBezTo>
                  <a:pt x="6030785" y="220707"/>
                  <a:pt x="6030785" y="222965"/>
                  <a:pt x="6030785" y="222965"/>
                </a:cubicBezTo>
                <a:cubicBezTo>
                  <a:pt x="6028726" y="225222"/>
                  <a:pt x="6026665" y="227477"/>
                  <a:pt x="6024606" y="229734"/>
                </a:cubicBezTo>
                <a:lnTo>
                  <a:pt x="6021859" y="223716"/>
                </a:lnTo>
                <a:lnTo>
                  <a:pt x="6020486" y="225222"/>
                </a:lnTo>
                <a:cubicBezTo>
                  <a:pt x="6018425" y="229734"/>
                  <a:pt x="6014304" y="236500"/>
                  <a:pt x="6012244" y="241013"/>
                </a:cubicBezTo>
                <a:cubicBezTo>
                  <a:pt x="6019454" y="237628"/>
                  <a:pt x="6024090" y="233680"/>
                  <a:pt x="6027695" y="228887"/>
                </a:cubicBezTo>
                <a:close/>
                <a:moveTo>
                  <a:pt x="6032844" y="1804350"/>
                </a:moveTo>
                <a:cubicBezTo>
                  <a:pt x="6034906" y="1808862"/>
                  <a:pt x="6032844" y="1811116"/>
                  <a:pt x="6030785" y="1813373"/>
                </a:cubicBezTo>
                <a:cubicBezTo>
                  <a:pt x="6030785" y="1811116"/>
                  <a:pt x="6028726" y="1806607"/>
                  <a:pt x="6032844" y="1804350"/>
                </a:cubicBezTo>
                <a:close/>
                <a:moveTo>
                  <a:pt x="6043145" y="213941"/>
                </a:moveTo>
                <a:cubicBezTo>
                  <a:pt x="6043145" y="213941"/>
                  <a:pt x="6043145" y="211686"/>
                  <a:pt x="6043145" y="211686"/>
                </a:cubicBezTo>
                <a:lnTo>
                  <a:pt x="6036965" y="211686"/>
                </a:lnTo>
                <a:lnTo>
                  <a:pt x="6032654" y="219684"/>
                </a:lnTo>
                <a:close/>
                <a:moveTo>
                  <a:pt x="6054685" y="96520"/>
                </a:moveTo>
                <a:lnTo>
                  <a:pt x="6051386" y="99455"/>
                </a:lnTo>
                <a:cubicBezTo>
                  <a:pt x="6047781" y="101711"/>
                  <a:pt x="6044176" y="104531"/>
                  <a:pt x="6043145" y="110172"/>
                </a:cubicBezTo>
                <a:cubicBezTo>
                  <a:pt x="6041087" y="107914"/>
                  <a:pt x="6039026" y="107914"/>
                  <a:pt x="6036965" y="107914"/>
                </a:cubicBezTo>
                <a:lnTo>
                  <a:pt x="6029662" y="125244"/>
                </a:lnTo>
                <a:lnTo>
                  <a:pt x="6030785" y="123706"/>
                </a:lnTo>
                <a:cubicBezTo>
                  <a:pt x="6030785" y="125961"/>
                  <a:pt x="6032844" y="125961"/>
                  <a:pt x="6032844" y="125961"/>
                </a:cubicBezTo>
                <a:cubicBezTo>
                  <a:pt x="6032844" y="125961"/>
                  <a:pt x="6032844" y="128218"/>
                  <a:pt x="6032844" y="128218"/>
                </a:cubicBezTo>
                <a:cubicBezTo>
                  <a:pt x="6032844" y="130472"/>
                  <a:pt x="6032844" y="130472"/>
                  <a:pt x="6030785" y="134985"/>
                </a:cubicBezTo>
                <a:cubicBezTo>
                  <a:pt x="6041087" y="128218"/>
                  <a:pt x="6049327" y="125961"/>
                  <a:pt x="6049327" y="114683"/>
                </a:cubicBezTo>
                <a:close/>
                <a:moveTo>
                  <a:pt x="6055506" y="277108"/>
                </a:moveTo>
                <a:cubicBezTo>
                  <a:pt x="6055506" y="277108"/>
                  <a:pt x="6055506" y="274849"/>
                  <a:pt x="6053445" y="274849"/>
                </a:cubicBezTo>
                <a:cubicBezTo>
                  <a:pt x="6051386" y="277108"/>
                  <a:pt x="6049327" y="277108"/>
                  <a:pt x="6047265" y="279362"/>
                </a:cubicBezTo>
                <a:cubicBezTo>
                  <a:pt x="6047265" y="279362"/>
                  <a:pt x="6047265" y="281619"/>
                  <a:pt x="6049327" y="281619"/>
                </a:cubicBezTo>
                <a:cubicBezTo>
                  <a:pt x="6051386" y="279362"/>
                  <a:pt x="6053445" y="279362"/>
                  <a:pt x="6055506" y="277108"/>
                </a:cubicBezTo>
                <a:close/>
                <a:moveTo>
                  <a:pt x="6055506" y="1556200"/>
                </a:moveTo>
                <a:cubicBezTo>
                  <a:pt x="6053445" y="1556200"/>
                  <a:pt x="6051386" y="1556200"/>
                  <a:pt x="6051386" y="1556200"/>
                </a:cubicBezTo>
                <a:cubicBezTo>
                  <a:pt x="6051386" y="1558457"/>
                  <a:pt x="6051386" y="1558457"/>
                  <a:pt x="6051386" y="1560712"/>
                </a:cubicBezTo>
                <a:cubicBezTo>
                  <a:pt x="6053445" y="1560712"/>
                  <a:pt x="6055506" y="1565224"/>
                  <a:pt x="6055506" y="1556200"/>
                </a:cubicBezTo>
                <a:close/>
                <a:moveTo>
                  <a:pt x="6061685" y="2724756"/>
                </a:moveTo>
                <a:cubicBezTo>
                  <a:pt x="6057565" y="2724756"/>
                  <a:pt x="6055506" y="2724756"/>
                  <a:pt x="6051386" y="2727011"/>
                </a:cubicBezTo>
                <a:cubicBezTo>
                  <a:pt x="6051386" y="2727011"/>
                  <a:pt x="6049327" y="2724756"/>
                  <a:pt x="6049327" y="2724756"/>
                </a:cubicBezTo>
                <a:cubicBezTo>
                  <a:pt x="6053445" y="2722500"/>
                  <a:pt x="6057565" y="2722500"/>
                  <a:pt x="6061685" y="2724756"/>
                </a:cubicBezTo>
                <a:close/>
                <a:moveTo>
                  <a:pt x="6092586" y="1984820"/>
                </a:moveTo>
                <a:cubicBezTo>
                  <a:pt x="6088467" y="1984820"/>
                  <a:pt x="6086406" y="1984820"/>
                  <a:pt x="6082285" y="1984820"/>
                </a:cubicBezTo>
                <a:cubicBezTo>
                  <a:pt x="6086406" y="1984820"/>
                  <a:pt x="6088467" y="1982566"/>
                  <a:pt x="6090525" y="1980309"/>
                </a:cubicBezTo>
                <a:cubicBezTo>
                  <a:pt x="6092586" y="1982566"/>
                  <a:pt x="6092586" y="1982566"/>
                  <a:pt x="6092586" y="1984820"/>
                </a:cubicBezTo>
                <a:close/>
                <a:moveTo>
                  <a:pt x="6092586" y="2729269"/>
                </a:moveTo>
                <a:cubicBezTo>
                  <a:pt x="6092586" y="2729269"/>
                  <a:pt x="6092586" y="2727011"/>
                  <a:pt x="6092586" y="2727011"/>
                </a:cubicBezTo>
                <a:cubicBezTo>
                  <a:pt x="6090525" y="2727011"/>
                  <a:pt x="6090525" y="2727011"/>
                  <a:pt x="6088467" y="2727011"/>
                </a:cubicBezTo>
                <a:cubicBezTo>
                  <a:pt x="6090525" y="2727011"/>
                  <a:pt x="6090525" y="2729269"/>
                  <a:pt x="6092586" y="2729269"/>
                </a:cubicBezTo>
                <a:close/>
                <a:moveTo>
                  <a:pt x="6107006" y="128218"/>
                </a:moveTo>
                <a:cubicBezTo>
                  <a:pt x="6107006" y="128218"/>
                  <a:pt x="6104945" y="125961"/>
                  <a:pt x="6104945" y="125961"/>
                </a:cubicBezTo>
                <a:cubicBezTo>
                  <a:pt x="6102886" y="128218"/>
                  <a:pt x="6098765" y="130472"/>
                  <a:pt x="6096706" y="132727"/>
                </a:cubicBezTo>
                <a:cubicBezTo>
                  <a:pt x="6096706" y="134985"/>
                  <a:pt x="6098765" y="134985"/>
                  <a:pt x="6098765" y="137242"/>
                </a:cubicBezTo>
                <a:cubicBezTo>
                  <a:pt x="6100827" y="134985"/>
                  <a:pt x="6102886" y="132727"/>
                  <a:pt x="6107006" y="128218"/>
                </a:cubicBezTo>
                <a:close/>
                <a:moveTo>
                  <a:pt x="6115245" y="2833038"/>
                </a:moveTo>
                <a:cubicBezTo>
                  <a:pt x="6113187" y="2830784"/>
                  <a:pt x="6113187" y="2830784"/>
                  <a:pt x="6111126" y="2830784"/>
                </a:cubicBezTo>
                <a:cubicBezTo>
                  <a:pt x="6109067" y="2830784"/>
                  <a:pt x="6109067" y="2833038"/>
                  <a:pt x="6109067" y="2833038"/>
                </a:cubicBezTo>
                <a:cubicBezTo>
                  <a:pt x="6111126" y="2833038"/>
                  <a:pt x="6111126" y="2835296"/>
                  <a:pt x="6113187" y="2835296"/>
                </a:cubicBezTo>
                <a:cubicBezTo>
                  <a:pt x="6113187" y="2835296"/>
                  <a:pt x="6113187" y="2835296"/>
                  <a:pt x="6115245" y="2833038"/>
                </a:cubicBezTo>
                <a:close/>
                <a:moveTo>
                  <a:pt x="6121427" y="89866"/>
                </a:moveTo>
                <a:cubicBezTo>
                  <a:pt x="6116276" y="88740"/>
                  <a:pt x="6112671" y="89867"/>
                  <a:pt x="6110096" y="92404"/>
                </a:cubicBezTo>
                <a:lnTo>
                  <a:pt x="6107739" y="97436"/>
                </a:lnTo>
                <a:lnTo>
                  <a:pt x="6113187" y="103402"/>
                </a:lnTo>
                <a:lnTo>
                  <a:pt x="6114642" y="102871"/>
                </a:lnTo>
                <a:close/>
                <a:moveTo>
                  <a:pt x="6131726" y="103402"/>
                </a:moveTo>
                <a:cubicBezTo>
                  <a:pt x="6131726" y="101147"/>
                  <a:pt x="6131726" y="101147"/>
                  <a:pt x="6131726" y="96636"/>
                </a:cubicBezTo>
                <a:lnTo>
                  <a:pt x="6114642" y="102871"/>
                </a:lnTo>
                <a:lnTo>
                  <a:pt x="6113187" y="105659"/>
                </a:lnTo>
                <a:cubicBezTo>
                  <a:pt x="6111126" y="105659"/>
                  <a:pt x="6109067" y="103402"/>
                  <a:pt x="6104945" y="103402"/>
                </a:cubicBezTo>
                <a:lnTo>
                  <a:pt x="6107739" y="97436"/>
                </a:lnTo>
                <a:lnTo>
                  <a:pt x="6106749" y="96352"/>
                </a:lnTo>
                <a:cubicBezTo>
                  <a:pt x="6104946" y="93814"/>
                  <a:pt x="6103915" y="90995"/>
                  <a:pt x="6104945" y="87612"/>
                </a:cubicBezTo>
                <a:cubicBezTo>
                  <a:pt x="6107006" y="83100"/>
                  <a:pt x="6111126" y="80843"/>
                  <a:pt x="6115245" y="78588"/>
                </a:cubicBezTo>
                <a:cubicBezTo>
                  <a:pt x="6117307" y="67307"/>
                  <a:pt x="6119366" y="56028"/>
                  <a:pt x="6121427" y="44748"/>
                </a:cubicBezTo>
                <a:cubicBezTo>
                  <a:pt x="6121427" y="44748"/>
                  <a:pt x="6119366" y="44748"/>
                  <a:pt x="6115245" y="42494"/>
                </a:cubicBezTo>
                <a:lnTo>
                  <a:pt x="6122799" y="33469"/>
                </a:lnTo>
                <a:lnTo>
                  <a:pt x="6117307" y="33469"/>
                </a:lnTo>
                <a:cubicBezTo>
                  <a:pt x="6117307" y="28958"/>
                  <a:pt x="6123486" y="22192"/>
                  <a:pt x="6113187" y="19934"/>
                </a:cubicBezTo>
                <a:cubicBezTo>
                  <a:pt x="6109067" y="26703"/>
                  <a:pt x="6107006" y="31212"/>
                  <a:pt x="6102886" y="37981"/>
                </a:cubicBezTo>
                <a:cubicBezTo>
                  <a:pt x="6092586" y="53771"/>
                  <a:pt x="6080226" y="67307"/>
                  <a:pt x="6069927" y="83100"/>
                </a:cubicBezTo>
                <a:cubicBezTo>
                  <a:pt x="6069927" y="83100"/>
                  <a:pt x="6067866" y="83100"/>
                  <a:pt x="6067866" y="83100"/>
                </a:cubicBezTo>
                <a:cubicBezTo>
                  <a:pt x="6063746" y="87612"/>
                  <a:pt x="6058596" y="91560"/>
                  <a:pt x="6054734" y="96354"/>
                </a:cubicBezTo>
                <a:lnTo>
                  <a:pt x="6054685" y="96520"/>
                </a:lnTo>
                <a:lnTo>
                  <a:pt x="6059626" y="92123"/>
                </a:lnTo>
                <a:cubicBezTo>
                  <a:pt x="6067866" y="92123"/>
                  <a:pt x="6076106" y="94378"/>
                  <a:pt x="6082285" y="94378"/>
                </a:cubicBezTo>
                <a:cubicBezTo>
                  <a:pt x="6082285" y="96636"/>
                  <a:pt x="6082285" y="98890"/>
                  <a:pt x="6082285" y="98890"/>
                </a:cubicBezTo>
                <a:cubicBezTo>
                  <a:pt x="6080226" y="101147"/>
                  <a:pt x="6078165" y="101147"/>
                  <a:pt x="6078165" y="103402"/>
                </a:cubicBezTo>
                <a:cubicBezTo>
                  <a:pt x="6078165" y="114683"/>
                  <a:pt x="6076106" y="125961"/>
                  <a:pt x="6076106" y="137242"/>
                </a:cubicBezTo>
                <a:cubicBezTo>
                  <a:pt x="6082285" y="132727"/>
                  <a:pt x="6086406" y="130472"/>
                  <a:pt x="6092586" y="128218"/>
                </a:cubicBezTo>
                <a:cubicBezTo>
                  <a:pt x="6094645" y="125961"/>
                  <a:pt x="6096706" y="125961"/>
                  <a:pt x="6098765" y="123706"/>
                </a:cubicBezTo>
                <a:cubicBezTo>
                  <a:pt x="6109067" y="121449"/>
                  <a:pt x="6127606" y="110172"/>
                  <a:pt x="6131726" y="103402"/>
                </a:cubicBezTo>
                <a:close/>
                <a:moveTo>
                  <a:pt x="6137908" y="2580377"/>
                </a:moveTo>
                <a:cubicBezTo>
                  <a:pt x="6135847" y="2580377"/>
                  <a:pt x="6133788" y="2580377"/>
                  <a:pt x="6131726" y="2582634"/>
                </a:cubicBezTo>
                <a:cubicBezTo>
                  <a:pt x="6131726" y="2582634"/>
                  <a:pt x="6131726" y="2580377"/>
                  <a:pt x="6131726" y="2580377"/>
                </a:cubicBezTo>
                <a:cubicBezTo>
                  <a:pt x="6133788" y="2580377"/>
                  <a:pt x="6135847" y="2580377"/>
                  <a:pt x="6137908" y="2580377"/>
                </a:cubicBezTo>
                <a:close/>
                <a:moveTo>
                  <a:pt x="6137908" y="2828527"/>
                </a:moveTo>
                <a:cubicBezTo>
                  <a:pt x="6133788" y="2828527"/>
                  <a:pt x="6131726" y="2830784"/>
                  <a:pt x="6129665" y="2830784"/>
                </a:cubicBezTo>
                <a:cubicBezTo>
                  <a:pt x="6129665" y="2830784"/>
                  <a:pt x="6127606" y="2833038"/>
                  <a:pt x="6131726" y="2835296"/>
                </a:cubicBezTo>
                <a:cubicBezTo>
                  <a:pt x="6131726" y="2835296"/>
                  <a:pt x="6133788" y="2835296"/>
                  <a:pt x="6133788" y="2835296"/>
                </a:cubicBezTo>
                <a:cubicBezTo>
                  <a:pt x="6135847" y="2833038"/>
                  <a:pt x="6135847" y="2830784"/>
                  <a:pt x="6137908" y="2828527"/>
                </a:cubicBezTo>
                <a:close/>
                <a:moveTo>
                  <a:pt x="6146145" y="17677"/>
                </a:moveTo>
                <a:lnTo>
                  <a:pt x="6146145" y="170"/>
                </a:lnTo>
                <a:lnTo>
                  <a:pt x="6132232" y="8452"/>
                </a:lnTo>
                <a:lnTo>
                  <a:pt x="6129665" y="10910"/>
                </a:lnTo>
                <a:cubicBezTo>
                  <a:pt x="6129665" y="13167"/>
                  <a:pt x="6129665" y="13167"/>
                  <a:pt x="6129665" y="15422"/>
                </a:cubicBezTo>
                <a:cubicBezTo>
                  <a:pt x="6131726" y="13167"/>
                  <a:pt x="6135847" y="13167"/>
                  <a:pt x="6137908" y="10910"/>
                </a:cubicBezTo>
                <a:cubicBezTo>
                  <a:pt x="6137908" y="13167"/>
                  <a:pt x="6137908" y="13167"/>
                  <a:pt x="6137908" y="15422"/>
                </a:cubicBezTo>
                <a:lnTo>
                  <a:pt x="6122799" y="33469"/>
                </a:lnTo>
                <a:lnTo>
                  <a:pt x="6135847" y="33469"/>
                </a:lnTo>
                <a:lnTo>
                  <a:pt x="6136801" y="32324"/>
                </a:lnTo>
                <a:lnTo>
                  <a:pt x="6131726" y="31212"/>
                </a:lnTo>
                <a:cubicBezTo>
                  <a:pt x="6135847" y="26703"/>
                  <a:pt x="6144086" y="24446"/>
                  <a:pt x="6146145" y="17677"/>
                </a:cubicBezTo>
                <a:close/>
                <a:moveTo>
                  <a:pt x="6146431" y="0"/>
                </a:moveTo>
                <a:lnTo>
                  <a:pt x="6146145" y="0"/>
                </a:lnTo>
                <a:lnTo>
                  <a:pt x="6146145" y="170"/>
                </a:lnTo>
                <a:close/>
                <a:moveTo>
                  <a:pt x="6156447" y="1926166"/>
                </a:moveTo>
                <a:cubicBezTo>
                  <a:pt x="6154386" y="1937448"/>
                  <a:pt x="6148206" y="1939702"/>
                  <a:pt x="6137908" y="1939702"/>
                </a:cubicBezTo>
                <a:cubicBezTo>
                  <a:pt x="6142027" y="1923912"/>
                  <a:pt x="6152327" y="1937448"/>
                  <a:pt x="6156447" y="1926166"/>
                </a:cubicBezTo>
                <a:close/>
                <a:moveTo>
                  <a:pt x="6168006" y="14401"/>
                </a:moveTo>
                <a:lnTo>
                  <a:pt x="6160567" y="10910"/>
                </a:lnTo>
                <a:cubicBezTo>
                  <a:pt x="6156447" y="14293"/>
                  <a:pt x="6151297" y="17113"/>
                  <a:pt x="6146662" y="20498"/>
                </a:cubicBezTo>
                <a:lnTo>
                  <a:pt x="6136801" y="32324"/>
                </a:lnTo>
                <a:lnTo>
                  <a:pt x="6142027" y="33469"/>
                </a:lnTo>
                <a:cubicBezTo>
                  <a:pt x="6150265" y="28958"/>
                  <a:pt x="6158508" y="22192"/>
                  <a:pt x="6166745" y="15422"/>
                </a:cubicBezTo>
                <a:close/>
                <a:moveTo>
                  <a:pt x="6185318" y="0"/>
                </a:moveTo>
                <a:lnTo>
                  <a:pt x="6183054" y="0"/>
                </a:lnTo>
                <a:lnTo>
                  <a:pt x="6183226" y="1886"/>
                </a:lnTo>
                <a:close/>
                <a:moveTo>
                  <a:pt x="6203113" y="0"/>
                </a:moveTo>
                <a:lnTo>
                  <a:pt x="6185800" y="0"/>
                </a:lnTo>
                <a:lnTo>
                  <a:pt x="6168006" y="14401"/>
                </a:lnTo>
                <a:lnTo>
                  <a:pt x="6174986" y="17677"/>
                </a:lnTo>
                <a:cubicBezTo>
                  <a:pt x="6178077" y="15422"/>
                  <a:pt x="6181682" y="12039"/>
                  <a:pt x="6186317" y="8655"/>
                </a:cubicBezTo>
                <a:close/>
                <a:moveTo>
                  <a:pt x="6207947" y="1919400"/>
                </a:moveTo>
                <a:cubicBezTo>
                  <a:pt x="6205888" y="1919400"/>
                  <a:pt x="6203827" y="1921657"/>
                  <a:pt x="6201768" y="1921657"/>
                </a:cubicBezTo>
                <a:cubicBezTo>
                  <a:pt x="6181167" y="1921657"/>
                  <a:pt x="6160567" y="1921657"/>
                  <a:pt x="6142027" y="1921657"/>
                </a:cubicBezTo>
                <a:cubicBezTo>
                  <a:pt x="6137908" y="1921657"/>
                  <a:pt x="6135847" y="1923912"/>
                  <a:pt x="6131726" y="1923912"/>
                </a:cubicBezTo>
                <a:cubicBezTo>
                  <a:pt x="6127606" y="1923912"/>
                  <a:pt x="6123486" y="1923912"/>
                  <a:pt x="6117307" y="1923912"/>
                </a:cubicBezTo>
                <a:cubicBezTo>
                  <a:pt x="6119366" y="1923912"/>
                  <a:pt x="6121427" y="1921657"/>
                  <a:pt x="6123486" y="1921657"/>
                </a:cubicBezTo>
                <a:cubicBezTo>
                  <a:pt x="6119366" y="1921657"/>
                  <a:pt x="6117307" y="1923912"/>
                  <a:pt x="6115245" y="1923912"/>
                </a:cubicBezTo>
                <a:cubicBezTo>
                  <a:pt x="6115245" y="1921657"/>
                  <a:pt x="6115245" y="1919400"/>
                  <a:pt x="6115245" y="1919400"/>
                </a:cubicBezTo>
                <a:cubicBezTo>
                  <a:pt x="6121427" y="1914889"/>
                  <a:pt x="6129665" y="1914889"/>
                  <a:pt x="6137908" y="1917146"/>
                </a:cubicBezTo>
                <a:cubicBezTo>
                  <a:pt x="6142027" y="1917146"/>
                  <a:pt x="6148206" y="1914889"/>
                  <a:pt x="6154386" y="1912631"/>
                </a:cubicBezTo>
                <a:cubicBezTo>
                  <a:pt x="6158508" y="1912631"/>
                  <a:pt x="6162628" y="1912631"/>
                  <a:pt x="6166745" y="1912631"/>
                </a:cubicBezTo>
                <a:cubicBezTo>
                  <a:pt x="6174986" y="1912631"/>
                  <a:pt x="6183226" y="1912631"/>
                  <a:pt x="6191466" y="1914889"/>
                </a:cubicBezTo>
                <a:cubicBezTo>
                  <a:pt x="6195586" y="1914889"/>
                  <a:pt x="6201768" y="1917146"/>
                  <a:pt x="6207947" y="1919400"/>
                </a:cubicBezTo>
                <a:close/>
                <a:moveTo>
                  <a:pt x="6207947" y="1944218"/>
                </a:moveTo>
                <a:cubicBezTo>
                  <a:pt x="6205888" y="1944218"/>
                  <a:pt x="6203827" y="1944218"/>
                  <a:pt x="6201768" y="1944218"/>
                </a:cubicBezTo>
                <a:cubicBezTo>
                  <a:pt x="6201768" y="1941959"/>
                  <a:pt x="6201768" y="1939702"/>
                  <a:pt x="6201768" y="1939702"/>
                </a:cubicBezTo>
                <a:cubicBezTo>
                  <a:pt x="6203827" y="1939702"/>
                  <a:pt x="6205888" y="1939702"/>
                  <a:pt x="6207947" y="1939702"/>
                </a:cubicBezTo>
                <a:cubicBezTo>
                  <a:pt x="6207947" y="1941959"/>
                  <a:pt x="6207947" y="1941959"/>
                  <a:pt x="6207947" y="1944218"/>
                </a:cubicBezTo>
                <a:close/>
                <a:moveTo>
                  <a:pt x="6212067" y="1975797"/>
                </a:moveTo>
                <a:cubicBezTo>
                  <a:pt x="6210008" y="1975797"/>
                  <a:pt x="6207947" y="1978054"/>
                  <a:pt x="6207947" y="1980309"/>
                </a:cubicBezTo>
                <a:cubicBezTo>
                  <a:pt x="6207947" y="1980309"/>
                  <a:pt x="6205888" y="1978054"/>
                  <a:pt x="6205888" y="1978054"/>
                </a:cubicBezTo>
                <a:cubicBezTo>
                  <a:pt x="6207947" y="1975797"/>
                  <a:pt x="6207947" y="1973542"/>
                  <a:pt x="6210008" y="1973542"/>
                </a:cubicBezTo>
                <a:cubicBezTo>
                  <a:pt x="6210008" y="1973542"/>
                  <a:pt x="6210008" y="1975797"/>
                  <a:pt x="6212067" y="1975797"/>
                </a:cubicBezTo>
                <a:close/>
                <a:moveTo>
                  <a:pt x="6226488" y="1903610"/>
                </a:moveTo>
                <a:cubicBezTo>
                  <a:pt x="6224427" y="1903610"/>
                  <a:pt x="6222366" y="1903610"/>
                  <a:pt x="6220307" y="1903610"/>
                </a:cubicBezTo>
                <a:cubicBezTo>
                  <a:pt x="6212067" y="1905864"/>
                  <a:pt x="6201768" y="1910376"/>
                  <a:pt x="6191466" y="1903610"/>
                </a:cubicBezTo>
                <a:cubicBezTo>
                  <a:pt x="6191466" y="1903610"/>
                  <a:pt x="6189408" y="1903610"/>
                  <a:pt x="6189408" y="1903610"/>
                </a:cubicBezTo>
                <a:cubicBezTo>
                  <a:pt x="6177047" y="1908122"/>
                  <a:pt x="6164687" y="1905864"/>
                  <a:pt x="6152327" y="1905864"/>
                </a:cubicBezTo>
                <a:cubicBezTo>
                  <a:pt x="6150265" y="1905864"/>
                  <a:pt x="6146145" y="1903610"/>
                  <a:pt x="6142027" y="1903610"/>
                </a:cubicBezTo>
                <a:cubicBezTo>
                  <a:pt x="6142027" y="1901353"/>
                  <a:pt x="6142027" y="1899098"/>
                  <a:pt x="6144086" y="1899098"/>
                </a:cubicBezTo>
                <a:cubicBezTo>
                  <a:pt x="6150265" y="1899098"/>
                  <a:pt x="6156447" y="1899098"/>
                  <a:pt x="6162628" y="1899098"/>
                </a:cubicBezTo>
                <a:cubicBezTo>
                  <a:pt x="6183226" y="1901353"/>
                  <a:pt x="6205888" y="1903610"/>
                  <a:pt x="6226488" y="1903610"/>
                </a:cubicBezTo>
                <a:close/>
                <a:moveTo>
                  <a:pt x="6228547" y="1930682"/>
                </a:moveTo>
                <a:cubicBezTo>
                  <a:pt x="6226488" y="1932936"/>
                  <a:pt x="6226488" y="1937448"/>
                  <a:pt x="6224427" y="1937448"/>
                </a:cubicBezTo>
                <a:cubicBezTo>
                  <a:pt x="6220307" y="1937448"/>
                  <a:pt x="6214128" y="1937448"/>
                  <a:pt x="6210008" y="1937448"/>
                </a:cubicBezTo>
                <a:cubicBezTo>
                  <a:pt x="6210008" y="1935191"/>
                  <a:pt x="6210008" y="1932936"/>
                  <a:pt x="6210008" y="1932936"/>
                </a:cubicBezTo>
                <a:cubicBezTo>
                  <a:pt x="6214128" y="1928424"/>
                  <a:pt x="6218245" y="1926166"/>
                  <a:pt x="6224427" y="1926166"/>
                </a:cubicBezTo>
                <a:cubicBezTo>
                  <a:pt x="6226488" y="1926166"/>
                  <a:pt x="6226488" y="1928424"/>
                  <a:pt x="6228547" y="1930682"/>
                </a:cubicBezTo>
                <a:close/>
                <a:moveTo>
                  <a:pt x="6245027" y="1824652"/>
                </a:moveTo>
                <a:cubicBezTo>
                  <a:pt x="6245027" y="1822397"/>
                  <a:pt x="6245027" y="1822397"/>
                  <a:pt x="6245027" y="1820142"/>
                </a:cubicBezTo>
                <a:cubicBezTo>
                  <a:pt x="6245027" y="1820142"/>
                  <a:pt x="6242966" y="1820142"/>
                  <a:pt x="6242966" y="1820142"/>
                </a:cubicBezTo>
                <a:cubicBezTo>
                  <a:pt x="6242966" y="1822397"/>
                  <a:pt x="6245027" y="1822397"/>
                  <a:pt x="6245027" y="1824652"/>
                </a:cubicBezTo>
                <a:close/>
                <a:moveTo>
                  <a:pt x="6300647" y="2002869"/>
                </a:moveTo>
                <a:cubicBezTo>
                  <a:pt x="6298588" y="2009637"/>
                  <a:pt x="6294468" y="2009637"/>
                  <a:pt x="6290349" y="2007380"/>
                </a:cubicBezTo>
                <a:cubicBezTo>
                  <a:pt x="6292408" y="2003997"/>
                  <a:pt x="6293953" y="2002306"/>
                  <a:pt x="6295498" y="2001741"/>
                </a:cubicBezTo>
                <a:cubicBezTo>
                  <a:pt x="6297043" y="2001178"/>
                  <a:pt x="6298587" y="2001741"/>
                  <a:pt x="6300647" y="2002869"/>
                </a:cubicBezTo>
                <a:close/>
                <a:moveTo>
                  <a:pt x="6302709" y="1921657"/>
                </a:moveTo>
                <a:cubicBezTo>
                  <a:pt x="6294468" y="1928424"/>
                  <a:pt x="6286229" y="1935191"/>
                  <a:pt x="6280047" y="1941959"/>
                </a:cubicBezTo>
                <a:cubicBezTo>
                  <a:pt x="6271807" y="1948727"/>
                  <a:pt x="6265627" y="1946472"/>
                  <a:pt x="6257388" y="1944218"/>
                </a:cubicBezTo>
                <a:cubicBezTo>
                  <a:pt x="6255329" y="1939702"/>
                  <a:pt x="6255329" y="1935191"/>
                  <a:pt x="6259447" y="1935191"/>
                </a:cubicBezTo>
                <a:cubicBezTo>
                  <a:pt x="6261508" y="1935191"/>
                  <a:pt x="6263566" y="1935191"/>
                  <a:pt x="6263566" y="1935191"/>
                </a:cubicBezTo>
                <a:cubicBezTo>
                  <a:pt x="6271807" y="1941959"/>
                  <a:pt x="6277988" y="1937448"/>
                  <a:pt x="6284167" y="1926166"/>
                </a:cubicBezTo>
                <a:cubicBezTo>
                  <a:pt x="6284167" y="1926166"/>
                  <a:pt x="6282108" y="1923912"/>
                  <a:pt x="6280047" y="1921657"/>
                </a:cubicBezTo>
                <a:cubicBezTo>
                  <a:pt x="6288288" y="1921657"/>
                  <a:pt x="6294468" y="1921657"/>
                  <a:pt x="6302709" y="1921657"/>
                </a:cubicBezTo>
                <a:close/>
                <a:moveTo>
                  <a:pt x="6304768" y="1939702"/>
                </a:moveTo>
                <a:cubicBezTo>
                  <a:pt x="6302709" y="1941959"/>
                  <a:pt x="6300647" y="1941959"/>
                  <a:pt x="6296527" y="1944218"/>
                </a:cubicBezTo>
                <a:cubicBezTo>
                  <a:pt x="6296527" y="1941959"/>
                  <a:pt x="6296527" y="1941959"/>
                  <a:pt x="6296527" y="1939702"/>
                </a:cubicBezTo>
                <a:cubicBezTo>
                  <a:pt x="6298588" y="1939702"/>
                  <a:pt x="6300647" y="1937448"/>
                  <a:pt x="6304768" y="1939702"/>
                </a:cubicBezTo>
                <a:close/>
                <a:moveTo>
                  <a:pt x="6317127" y="1919400"/>
                </a:moveTo>
                <a:lnTo>
                  <a:pt x="6313931" y="1919984"/>
                </a:lnTo>
                <a:lnTo>
                  <a:pt x="6312248" y="1924741"/>
                </a:lnTo>
                <a:close/>
                <a:moveTo>
                  <a:pt x="6327429" y="1987078"/>
                </a:moveTo>
                <a:cubicBezTo>
                  <a:pt x="6327429" y="1987078"/>
                  <a:pt x="6327429" y="1989333"/>
                  <a:pt x="6325368" y="1993844"/>
                </a:cubicBezTo>
                <a:cubicBezTo>
                  <a:pt x="6325368" y="1991590"/>
                  <a:pt x="6323309" y="1989333"/>
                  <a:pt x="6323309" y="1989333"/>
                </a:cubicBezTo>
                <a:cubicBezTo>
                  <a:pt x="6323309" y="1989333"/>
                  <a:pt x="6323309" y="1987078"/>
                  <a:pt x="6325368" y="1984820"/>
                </a:cubicBezTo>
                <a:cubicBezTo>
                  <a:pt x="6325368" y="1984820"/>
                  <a:pt x="6327429" y="1987078"/>
                  <a:pt x="6327429" y="1987078"/>
                </a:cubicBezTo>
                <a:close/>
                <a:moveTo>
                  <a:pt x="6341848" y="1982566"/>
                </a:moveTo>
                <a:cubicBezTo>
                  <a:pt x="6339787" y="1982566"/>
                  <a:pt x="6337729" y="1982566"/>
                  <a:pt x="6333608" y="1982566"/>
                </a:cubicBezTo>
                <a:cubicBezTo>
                  <a:pt x="6333608" y="1982566"/>
                  <a:pt x="6333608" y="1980309"/>
                  <a:pt x="6333608" y="1980309"/>
                </a:cubicBezTo>
                <a:cubicBezTo>
                  <a:pt x="6337729" y="1978054"/>
                  <a:pt x="6339787" y="1978054"/>
                  <a:pt x="6341848" y="1978054"/>
                </a:cubicBezTo>
                <a:cubicBezTo>
                  <a:pt x="6341848" y="1980309"/>
                  <a:pt x="6341848" y="1980309"/>
                  <a:pt x="6341848" y="1982566"/>
                </a:cubicBezTo>
                <a:close/>
                <a:moveTo>
                  <a:pt x="6350088" y="2002869"/>
                </a:moveTo>
                <a:cubicBezTo>
                  <a:pt x="6345968" y="2009637"/>
                  <a:pt x="6341848" y="2009637"/>
                  <a:pt x="6335667" y="2009637"/>
                </a:cubicBezTo>
                <a:cubicBezTo>
                  <a:pt x="6329488" y="2009637"/>
                  <a:pt x="6325368" y="2009637"/>
                  <a:pt x="6319189" y="2009637"/>
                </a:cubicBezTo>
                <a:cubicBezTo>
                  <a:pt x="6315070" y="2009637"/>
                  <a:pt x="6308888" y="2016404"/>
                  <a:pt x="6304768" y="2007380"/>
                </a:cubicBezTo>
                <a:cubicBezTo>
                  <a:pt x="6311979" y="2003997"/>
                  <a:pt x="6321248" y="2001741"/>
                  <a:pt x="6329746" y="2000895"/>
                </a:cubicBezTo>
                <a:cubicBezTo>
                  <a:pt x="6338243" y="2000048"/>
                  <a:pt x="6345968" y="2000612"/>
                  <a:pt x="6350088" y="2002869"/>
                </a:cubicBezTo>
                <a:close/>
                <a:moveTo>
                  <a:pt x="6356268" y="2034451"/>
                </a:moveTo>
                <a:cubicBezTo>
                  <a:pt x="6356268" y="2034451"/>
                  <a:pt x="6356268" y="2032196"/>
                  <a:pt x="6356268" y="2032196"/>
                </a:cubicBezTo>
                <a:cubicBezTo>
                  <a:pt x="6356268" y="2032196"/>
                  <a:pt x="6354209" y="2032196"/>
                  <a:pt x="6352147" y="2034451"/>
                </a:cubicBezTo>
                <a:cubicBezTo>
                  <a:pt x="6352147" y="2034451"/>
                  <a:pt x="6352147" y="2036706"/>
                  <a:pt x="6354209" y="2041217"/>
                </a:cubicBezTo>
                <a:cubicBezTo>
                  <a:pt x="6356268" y="2036706"/>
                  <a:pt x="6356268" y="2036706"/>
                  <a:pt x="6356268" y="2034451"/>
                </a:cubicBezTo>
                <a:close/>
                <a:moveTo>
                  <a:pt x="6436611" y="1860747"/>
                </a:moveTo>
                <a:cubicBezTo>
                  <a:pt x="6426309" y="1858492"/>
                  <a:pt x="6418069" y="1856234"/>
                  <a:pt x="6409829" y="1856234"/>
                </a:cubicBezTo>
                <a:cubicBezTo>
                  <a:pt x="6366569" y="1853979"/>
                  <a:pt x="6325368" y="1851722"/>
                  <a:pt x="6282108" y="1849468"/>
                </a:cubicBezTo>
                <a:cubicBezTo>
                  <a:pt x="6267686" y="1849468"/>
                  <a:pt x="6251209" y="1849468"/>
                  <a:pt x="6236788" y="1849468"/>
                </a:cubicBezTo>
                <a:cubicBezTo>
                  <a:pt x="6224427" y="1829166"/>
                  <a:pt x="6203827" y="1840445"/>
                  <a:pt x="6187347" y="1833675"/>
                </a:cubicBezTo>
                <a:cubicBezTo>
                  <a:pt x="6185288" y="1833675"/>
                  <a:pt x="6183226" y="1831420"/>
                  <a:pt x="6174986" y="1826909"/>
                </a:cubicBezTo>
                <a:cubicBezTo>
                  <a:pt x="6187347" y="1824652"/>
                  <a:pt x="6193527" y="1820142"/>
                  <a:pt x="6199706" y="1820142"/>
                </a:cubicBezTo>
                <a:cubicBezTo>
                  <a:pt x="6212067" y="1822397"/>
                  <a:pt x="6222366" y="1820142"/>
                  <a:pt x="6234729" y="1817886"/>
                </a:cubicBezTo>
                <a:cubicBezTo>
                  <a:pt x="6245027" y="1815631"/>
                  <a:pt x="6255329" y="1815631"/>
                  <a:pt x="6267686" y="1815631"/>
                </a:cubicBezTo>
                <a:cubicBezTo>
                  <a:pt x="6292407" y="1815631"/>
                  <a:pt x="6319189" y="1815631"/>
                  <a:pt x="6343909" y="1817886"/>
                </a:cubicBezTo>
                <a:cubicBezTo>
                  <a:pt x="6317127" y="1808862"/>
                  <a:pt x="6292407" y="1806607"/>
                  <a:pt x="6265627" y="1806607"/>
                </a:cubicBezTo>
                <a:cubicBezTo>
                  <a:pt x="6259447" y="1806607"/>
                  <a:pt x="6255329" y="1806607"/>
                  <a:pt x="6253268" y="1797582"/>
                </a:cubicBezTo>
                <a:cubicBezTo>
                  <a:pt x="6257388" y="1784048"/>
                  <a:pt x="6269748" y="1790814"/>
                  <a:pt x="6275929" y="1786302"/>
                </a:cubicBezTo>
                <a:cubicBezTo>
                  <a:pt x="6277988" y="1784048"/>
                  <a:pt x="6277988" y="1781790"/>
                  <a:pt x="6280047" y="1779535"/>
                </a:cubicBezTo>
                <a:cubicBezTo>
                  <a:pt x="6280047" y="1777278"/>
                  <a:pt x="6277988" y="1775024"/>
                  <a:pt x="6277988" y="1772766"/>
                </a:cubicBezTo>
                <a:cubicBezTo>
                  <a:pt x="6271807" y="1770512"/>
                  <a:pt x="6265627" y="1768255"/>
                  <a:pt x="6259447" y="1768255"/>
                </a:cubicBezTo>
                <a:cubicBezTo>
                  <a:pt x="6242966" y="1772766"/>
                  <a:pt x="6226488" y="1777278"/>
                  <a:pt x="6210008" y="1781790"/>
                </a:cubicBezTo>
                <a:cubicBezTo>
                  <a:pt x="6201768" y="1784048"/>
                  <a:pt x="6195586" y="1786302"/>
                  <a:pt x="6187347" y="1786302"/>
                </a:cubicBezTo>
                <a:cubicBezTo>
                  <a:pt x="6152327" y="1784048"/>
                  <a:pt x="6117307" y="1786302"/>
                  <a:pt x="6080226" y="1790814"/>
                </a:cubicBezTo>
                <a:cubicBezTo>
                  <a:pt x="6069927" y="1790814"/>
                  <a:pt x="6061685" y="1790814"/>
                  <a:pt x="6051386" y="1788560"/>
                </a:cubicBezTo>
                <a:lnTo>
                  <a:pt x="6047265" y="1788560"/>
                </a:lnTo>
                <a:cubicBezTo>
                  <a:pt x="6047265" y="1788560"/>
                  <a:pt x="6047265" y="1786302"/>
                  <a:pt x="6047265" y="1786302"/>
                </a:cubicBezTo>
                <a:cubicBezTo>
                  <a:pt x="6045206" y="1786302"/>
                  <a:pt x="6043145" y="1786302"/>
                  <a:pt x="6039026" y="1788560"/>
                </a:cubicBezTo>
                <a:cubicBezTo>
                  <a:pt x="6039026" y="1788560"/>
                  <a:pt x="6039026" y="1788560"/>
                  <a:pt x="6039026" y="1790814"/>
                </a:cubicBezTo>
                <a:cubicBezTo>
                  <a:pt x="6036965" y="1788560"/>
                  <a:pt x="6030785" y="1786302"/>
                  <a:pt x="6026665" y="1790814"/>
                </a:cubicBezTo>
                <a:cubicBezTo>
                  <a:pt x="6024606" y="1793071"/>
                  <a:pt x="6022545" y="1795326"/>
                  <a:pt x="6020486" y="1797582"/>
                </a:cubicBezTo>
                <a:cubicBezTo>
                  <a:pt x="6016367" y="1797582"/>
                  <a:pt x="6014304" y="1797582"/>
                  <a:pt x="6010185" y="1797582"/>
                </a:cubicBezTo>
                <a:cubicBezTo>
                  <a:pt x="6010185" y="1795326"/>
                  <a:pt x="6012244" y="1795326"/>
                  <a:pt x="6012244" y="1793071"/>
                </a:cubicBezTo>
                <a:cubicBezTo>
                  <a:pt x="6014304" y="1790814"/>
                  <a:pt x="6018425" y="1790814"/>
                  <a:pt x="6020486" y="1788560"/>
                </a:cubicBezTo>
                <a:cubicBezTo>
                  <a:pt x="6026665" y="1779535"/>
                  <a:pt x="6024606" y="1770512"/>
                  <a:pt x="6016367" y="1768255"/>
                </a:cubicBezTo>
                <a:cubicBezTo>
                  <a:pt x="6014304" y="1768255"/>
                  <a:pt x="6014304" y="1768255"/>
                  <a:pt x="6012244" y="1766000"/>
                </a:cubicBezTo>
                <a:cubicBezTo>
                  <a:pt x="6014304" y="1766000"/>
                  <a:pt x="6014304" y="1763742"/>
                  <a:pt x="6016367" y="1761489"/>
                </a:cubicBezTo>
                <a:cubicBezTo>
                  <a:pt x="6010185" y="1761489"/>
                  <a:pt x="6006065" y="1761489"/>
                  <a:pt x="6001945" y="1763742"/>
                </a:cubicBezTo>
                <a:cubicBezTo>
                  <a:pt x="5997824" y="1763742"/>
                  <a:pt x="5993704" y="1761489"/>
                  <a:pt x="5989584" y="1759231"/>
                </a:cubicBezTo>
                <a:cubicBezTo>
                  <a:pt x="5993704" y="1759231"/>
                  <a:pt x="5995765" y="1759231"/>
                  <a:pt x="5999886" y="1759231"/>
                </a:cubicBezTo>
                <a:cubicBezTo>
                  <a:pt x="6010185" y="1759231"/>
                  <a:pt x="6020486" y="1754719"/>
                  <a:pt x="6030785" y="1752464"/>
                </a:cubicBezTo>
                <a:cubicBezTo>
                  <a:pt x="6069927" y="1747953"/>
                  <a:pt x="6107006" y="1745695"/>
                  <a:pt x="6146145" y="1743440"/>
                </a:cubicBezTo>
                <a:cubicBezTo>
                  <a:pt x="6150265" y="1743440"/>
                  <a:pt x="6152327" y="1741184"/>
                  <a:pt x="6158508" y="1736672"/>
                </a:cubicBezTo>
                <a:cubicBezTo>
                  <a:pt x="6152327" y="1729904"/>
                  <a:pt x="6148206" y="1725393"/>
                  <a:pt x="6144086" y="1720882"/>
                </a:cubicBezTo>
                <a:cubicBezTo>
                  <a:pt x="6135847" y="1720882"/>
                  <a:pt x="6127606" y="1720882"/>
                  <a:pt x="6119366" y="1718627"/>
                </a:cubicBezTo>
                <a:cubicBezTo>
                  <a:pt x="6113187" y="1716370"/>
                  <a:pt x="6109067" y="1711857"/>
                  <a:pt x="6104945" y="1707346"/>
                </a:cubicBezTo>
                <a:cubicBezTo>
                  <a:pt x="6107006" y="1707346"/>
                  <a:pt x="6109067" y="1705092"/>
                  <a:pt x="6109067" y="1705092"/>
                </a:cubicBezTo>
                <a:cubicBezTo>
                  <a:pt x="6115245" y="1702834"/>
                  <a:pt x="6119366" y="1702834"/>
                  <a:pt x="6125545" y="1700579"/>
                </a:cubicBezTo>
                <a:cubicBezTo>
                  <a:pt x="6123486" y="1691556"/>
                  <a:pt x="6119366" y="1693811"/>
                  <a:pt x="6117307" y="1696068"/>
                </a:cubicBezTo>
                <a:cubicBezTo>
                  <a:pt x="6115245" y="1696068"/>
                  <a:pt x="6113187" y="1700579"/>
                  <a:pt x="6111126" y="1696068"/>
                </a:cubicBezTo>
                <a:cubicBezTo>
                  <a:pt x="6111126" y="1696068"/>
                  <a:pt x="6109067" y="1693811"/>
                  <a:pt x="6109067" y="1693811"/>
                </a:cubicBezTo>
                <a:cubicBezTo>
                  <a:pt x="6109067" y="1693811"/>
                  <a:pt x="6109067" y="1696068"/>
                  <a:pt x="6109067" y="1696068"/>
                </a:cubicBezTo>
                <a:cubicBezTo>
                  <a:pt x="6096706" y="1691556"/>
                  <a:pt x="6082285" y="1689298"/>
                  <a:pt x="6067866" y="1689298"/>
                </a:cubicBezTo>
                <a:cubicBezTo>
                  <a:pt x="6053445" y="1689298"/>
                  <a:pt x="6039026" y="1689298"/>
                  <a:pt x="6026665" y="1687044"/>
                </a:cubicBezTo>
                <a:cubicBezTo>
                  <a:pt x="6016367" y="1687044"/>
                  <a:pt x="6004006" y="1684786"/>
                  <a:pt x="5993704" y="1682532"/>
                </a:cubicBezTo>
                <a:cubicBezTo>
                  <a:pt x="5995765" y="1680275"/>
                  <a:pt x="5997824" y="1675762"/>
                  <a:pt x="5999886" y="1671251"/>
                </a:cubicBezTo>
                <a:cubicBezTo>
                  <a:pt x="5991645" y="1673508"/>
                  <a:pt x="5985465" y="1675762"/>
                  <a:pt x="5979285" y="1680275"/>
                </a:cubicBezTo>
                <a:cubicBezTo>
                  <a:pt x="5981344" y="1680275"/>
                  <a:pt x="5981344" y="1682532"/>
                  <a:pt x="5983406" y="1682532"/>
                </a:cubicBezTo>
                <a:cubicBezTo>
                  <a:pt x="5977226" y="1682532"/>
                  <a:pt x="5971045" y="1680275"/>
                  <a:pt x="5966925" y="1680275"/>
                </a:cubicBezTo>
                <a:cubicBezTo>
                  <a:pt x="5966925" y="1680275"/>
                  <a:pt x="5966925" y="1678020"/>
                  <a:pt x="5966925" y="1678020"/>
                </a:cubicBezTo>
                <a:cubicBezTo>
                  <a:pt x="5966925" y="1678020"/>
                  <a:pt x="5964863" y="1678020"/>
                  <a:pt x="5964863" y="1675762"/>
                </a:cubicBezTo>
                <a:cubicBezTo>
                  <a:pt x="5964863" y="1675762"/>
                  <a:pt x="5964863" y="1678020"/>
                  <a:pt x="5964863" y="1678020"/>
                </a:cubicBezTo>
                <a:cubicBezTo>
                  <a:pt x="5954565" y="1675762"/>
                  <a:pt x="5942204" y="1675762"/>
                  <a:pt x="5931906" y="1675762"/>
                </a:cubicBezTo>
                <a:cubicBezTo>
                  <a:pt x="5929844" y="1675762"/>
                  <a:pt x="5927785" y="1675762"/>
                  <a:pt x="5925724" y="1675762"/>
                </a:cubicBezTo>
                <a:cubicBezTo>
                  <a:pt x="5921604" y="1675762"/>
                  <a:pt x="5917483" y="1675762"/>
                  <a:pt x="5913364" y="1678020"/>
                </a:cubicBezTo>
                <a:cubicBezTo>
                  <a:pt x="5911305" y="1678020"/>
                  <a:pt x="5911305" y="1675762"/>
                  <a:pt x="5909244" y="1675762"/>
                </a:cubicBezTo>
                <a:cubicBezTo>
                  <a:pt x="5909244" y="1673508"/>
                  <a:pt x="5909244" y="1673508"/>
                  <a:pt x="5909244" y="1671251"/>
                </a:cubicBezTo>
                <a:cubicBezTo>
                  <a:pt x="5903065" y="1673508"/>
                  <a:pt x="5896883" y="1668996"/>
                  <a:pt x="5890705" y="1675762"/>
                </a:cubicBezTo>
                <a:cubicBezTo>
                  <a:pt x="5888644" y="1678020"/>
                  <a:pt x="5886585" y="1680275"/>
                  <a:pt x="5884526" y="1680275"/>
                </a:cubicBezTo>
                <a:cubicBezTo>
                  <a:pt x="5874224" y="1678020"/>
                  <a:pt x="5865985" y="1680275"/>
                  <a:pt x="5855683" y="1684786"/>
                </a:cubicBezTo>
                <a:cubicBezTo>
                  <a:pt x="5847442" y="1684786"/>
                  <a:pt x="5839205" y="1684786"/>
                  <a:pt x="5830965" y="1684786"/>
                </a:cubicBezTo>
                <a:cubicBezTo>
                  <a:pt x="5830965" y="1680275"/>
                  <a:pt x="5830965" y="1673508"/>
                  <a:pt x="5833023" y="1668996"/>
                </a:cubicBezTo>
                <a:cubicBezTo>
                  <a:pt x="5835085" y="1668996"/>
                  <a:pt x="5835085" y="1668996"/>
                  <a:pt x="5837144" y="1668996"/>
                </a:cubicBezTo>
                <a:cubicBezTo>
                  <a:pt x="5837144" y="1671251"/>
                  <a:pt x="5835085" y="1673508"/>
                  <a:pt x="5837144" y="1673508"/>
                </a:cubicBezTo>
                <a:cubicBezTo>
                  <a:pt x="5841263" y="1673508"/>
                  <a:pt x="5845383" y="1671251"/>
                  <a:pt x="5847442" y="1668996"/>
                </a:cubicBezTo>
                <a:cubicBezTo>
                  <a:pt x="5868042" y="1671251"/>
                  <a:pt x="5890705" y="1666739"/>
                  <a:pt x="5913364" y="1666739"/>
                </a:cubicBezTo>
                <a:cubicBezTo>
                  <a:pt x="5911305" y="1662228"/>
                  <a:pt x="5909244" y="1659973"/>
                  <a:pt x="5905124" y="1657715"/>
                </a:cubicBezTo>
                <a:cubicBezTo>
                  <a:pt x="5917483" y="1657715"/>
                  <a:pt x="5929844" y="1659973"/>
                  <a:pt x="5940143" y="1659973"/>
                </a:cubicBezTo>
                <a:cubicBezTo>
                  <a:pt x="5942204" y="1655460"/>
                  <a:pt x="5940143" y="1653203"/>
                  <a:pt x="5938085" y="1653203"/>
                </a:cubicBezTo>
                <a:cubicBezTo>
                  <a:pt x="5940143" y="1653203"/>
                  <a:pt x="5940143" y="1653203"/>
                  <a:pt x="5942204" y="1653203"/>
                </a:cubicBezTo>
                <a:cubicBezTo>
                  <a:pt x="6001945" y="1659973"/>
                  <a:pt x="6059626" y="1664484"/>
                  <a:pt x="6119366" y="1671251"/>
                </a:cubicBezTo>
                <a:cubicBezTo>
                  <a:pt x="6123486" y="1671251"/>
                  <a:pt x="6129665" y="1671251"/>
                  <a:pt x="6139967" y="1671251"/>
                </a:cubicBezTo>
                <a:cubicBezTo>
                  <a:pt x="6133788" y="1666739"/>
                  <a:pt x="6131726" y="1662228"/>
                  <a:pt x="6129665" y="1662228"/>
                </a:cubicBezTo>
                <a:cubicBezTo>
                  <a:pt x="6131726" y="1662228"/>
                  <a:pt x="6133788" y="1659973"/>
                  <a:pt x="6137908" y="1657715"/>
                </a:cubicBezTo>
                <a:cubicBezTo>
                  <a:pt x="6131726" y="1657715"/>
                  <a:pt x="6127606" y="1657715"/>
                  <a:pt x="6121427" y="1657715"/>
                </a:cubicBezTo>
                <a:cubicBezTo>
                  <a:pt x="6111126" y="1655460"/>
                  <a:pt x="6102886" y="1653203"/>
                  <a:pt x="6092586" y="1650949"/>
                </a:cubicBezTo>
                <a:cubicBezTo>
                  <a:pt x="6092586" y="1648692"/>
                  <a:pt x="6094645" y="1644180"/>
                  <a:pt x="6094645" y="1639669"/>
                </a:cubicBezTo>
                <a:cubicBezTo>
                  <a:pt x="6090525" y="1641926"/>
                  <a:pt x="6088467" y="1646437"/>
                  <a:pt x="6086406" y="1648692"/>
                </a:cubicBezTo>
                <a:cubicBezTo>
                  <a:pt x="6051386" y="1644180"/>
                  <a:pt x="6014304" y="1641926"/>
                  <a:pt x="5979285" y="1639669"/>
                </a:cubicBezTo>
                <a:cubicBezTo>
                  <a:pt x="5973104" y="1639669"/>
                  <a:pt x="5964863" y="1637414"/>
                  <a:pt x="5958685" y="1637414"/>
                </a:cubicBezTo>
                <a:cubicBezTo>
                  <a:pt x="5956626" y="1637414"/>
                  <a:pt x="5954565" y="1635156"/>
                  <a:pt x="5954565" y="1632901"/>
                </a:cubicBezTo>
                <a:cubicBezTo>
                  <a:pt x="5952506" y="1628390"/>
                  <a:pt x="5950445" y="1621621"/>
                  <a:pt x="5946324" y="1614854"/>
                </a:cubicBezTo>
                <a:cubicBezTo>
                  <a:pt x="5983406" y="1603576"/>
                  <a:pt x="6018425" y="1601318"/>
                  <a:pt x="6057565" y="1585529"/>
                </a:cubicBezTo>
                <a:cubicBezTo>
                  <a:pt x="6045206" y="1581016"/>
                  <a:pt x="6036965" y="1585529"/>
                  <a:pt x="6026665" y="1585529"/>
                </a:cubicBezTo>
                <a:cubicBezTo>
                  <a:pt x="6026665" y="1585529"/>
                  <a:pt x="6028726" y="1583271"/>
                  <a:pt x="6028726" y="1581016"/>
                </a:cubicBezTo>
                <a:cubicBezTo>
                  <a:pt x="6026665" y="1581016"/>
                  <a:pt x="6022545" y="1581016"/>
                  <a:pt x="6020486" y="1581016"/>
                </a:cubicBezTo>
                <a:cubicBezTo>
                  <a:pt x="6022545" y="1576504"/>
                  <a:pt x="6024606" y="1571993"/>
                  <a:pt x="6026665" y="1567482"/>
                </a:cubicBezTo>
                <a:cubicBezTo>
                  <a:pt x="6026665" y="1565224"/>
                  <a:pt x="6026665" y="1560712"/>
                  <a:pt x="6026665" y="1558457"/>
                </a:cubicBezTo>
                <a:cubicBezTo>
                  <a:pt x="6032844" y="1556200"/>
                  <a:pt x="6039026" y="1551689"/>
                  <a:pt x="6043145" y="1549434"/>
                </a:cubicBezTo>
                <a:cubicBezTo>
                  <a:pt x="6036965" y="1549434"/>
                  <a:pt x="6030785" y="1551689"/>
                  <a:pt x="6022545" y="1551689"/>
                </a:cubicBezTo>
                <a:cubicBezTo>
                  <a:pt x="6020486" y="1549434"/>
                  <a:pt x="6020486" y="1549434"/>
                  <a:pt x="6018425" y="1547176"/>
                </a:cubicBezTo>
                <a:cubicBezTo>
                  <a:pt x="6018425" y="1544921"/>
                  <a:pt x="6016367" y="1544921"/>
                  <a:pt x="6014304" y="1542664"/>
                </a:cubicBezTo>
                <a:cubicBezTo>
                  <a:pt x="6030785" y="1540410"/>
                  <a:pt x="6047265" y="1540410"/>
                  <a:pt x="6063746" y="1538153"/>
                </a:cubicBezTo>
                <a:cubicBezTo>
                  <a:pt x="6078165" y="1535898"/>
                  <a:pt x="6092586" y="1533641"/>
                  <a:pt x="6107006" y="1531387"/>
                </a:cubicBezTo>
                <a:cubicBezTo>
                  <a:pt x="6107006" y="1526874"/>
                  <a:pt x="6107006" y="1524617"/>
                  <a:pt x="6107006" y="1522362"/>
                </a:cubicBezTo>
                <a:cubicBezTo>
                  <a:pt x="6096706" y="1522362"/>
                  <a:pt x="6086406" y="1524617"/>
                  <a:pt x="6076106" y="1522362"/>
                </a:cubicBezTo>
                <a:cubicBezTo>
                  <a:pt x="6078165" y="1517851"/>
                  <a:pt x="6080226" y="1515596"/>
                  <a:pt x="6080226" y="1513339"/>
                </a:cubicBezTo>
                <a:cubicBezTo>
                  <a:pt x="6078165" y="1511081"/>
                  <a:pt x="6076106" y="1508828"/>
                  <a:pt x="6074045" y="1506570"/>
                </a:cubicBezTo>
                <a:cubicBezTo>
                  <a:pt x="6078165" y="1504315"/>
                  <a:pt x="6080226" y="1504315"/>
                  <a:pt x="6084347" y="1502060"/>
                </a:cubicBezTo>
                <a:cubicBezTo>
                  <a:pt x="6078165" y="1499804"/>
                  <a:pt x="6071986" y="1493037"/>
                  <a:pt x="6067866" y="1502060"/>
                </a:cubicBezTo>
                <a:cubicBezTo>
                  <a:pt x="6071986" y="1522362"/>
                  <a:pt x="6069927" y="1524617"/>
                  <a:pt x="6055506" y="1524617"/>
                </a:cubicBezTo>
                <a:cubicBezTo>
                  <a:pt x="6045206" y="1524617"/>
                  <a:pt x="6036965" y="1522362"/>
                  <a:pt x="6026665" y="1520106"/>
                </a:cubicBezTo>
                <a:cubicBezTo>
                  <a:pt x="6026665" y="1520106"/>
                  <a:pt x="6026665" y="1517851"/>
                  <a:pt x="6024606" y="1517851"/>
                </a:cubicBezTo>
                <a:cubicBezTo>
                  <a:pt x="6026665" y="1515596"/>
                  <a:pt x="6028726" y="1513339"/>
                  <a:pt x="6030785" y="1511081"/>
                </a:cubicBezTo>
                <a:cubicBezTo>
                  <a:pt x="6024606" y="1511081"/>
                  <a:pt x="6018425" y="1513339"/>
                  <a:pt x="6016367" y="1517851"/>
                </a:cubicBezTo>
                <a:cubicBezTo>
                  <a:pt x="6010185" y="1529128"/>
                  <a:pt x="6004006" y="1529128"/>
                  <a:pt x="5993704" y="1531387"/>
                </a:cubicBezTo>
                <a:cubicBezTo>
                  <a:pt x="5991645" y="1531387"/>
                  <a:pt x="5991645" y="1531387"/>
                  <a:pt x="5989584" y="1531387"/>
                </a:cubicBezTo>
                <a:cubicBezTo>
                  <a:pt x="5987526" y="1531387"/>
                  <a:pt x="5985465" y="1531387"/>
                  <a:pt x="5983406" y="1531387"/>
                </a:cubicBezTo>
                <a:cubicBezTo>
                  <a:pt x="5968983" y="1529128"/>
                  <a:pt x="5954565" y="1526874"/>
                  <a:pt x="5940143" y="1526874"/>
                </a:cubicBezTo>
                <a:cubicBezTo>
                  <a:pt x="5942204" y="1526874"/>
                  <a:pt x="5944263" y="1524617"/>
                  <a:pt x="5948386" y="1524617"/>
                </a:cubicBezTo>
                <a:cubicBezTo>
                  <a:pt x="5927785" y="1526874"/>
                  <a:pt x="5907185" y="1524617"/>
                  <a:pt x="5886585" y="1520106"/>
                </a:cubicBezTo>
                <a:cubicBezTo>
                  <a:pt x="5888644" y="1517851"/>
                  <a:pt x="5890705" y="1517851"/>
                  <a:pt x="5890705" y="1515596"/>
                </a:cubicBezTo>
                <a:cubicBezTo>
                  <a:pt x="5894824" y="1515596"/>
                  <a:pt x="5898945" y="1513339"/>
                  <a:pt x="5903065" y="1513339"/>
                </a:cubicBezTo>
                <a:cubicBezTo>
                  <a:pt x="5909244" y="1513339"/>
                  <a:pt x="5917483" y="1511081"/>
                  <a:pt x="5923665" y="1511081"/>
                </a:cubicBezTo>
                <a:cubicBezTo>
                  <a:pt x="5923665" y="1511081"/>
                  <a:pt x="5923665" y="1511081"/>
                  <a:pt x="5923665" y="1508828"/>
                </a:cubicBezTo>
                <a:cubicBezTo>
                  <a:pt x="5923665" y="1508828"/>
                  <a:pt x="5925724" y="1508828"/>
                  <a:pt x="5925724" y="1508828"/>
                </a:cubicBezTo>
                <a:cubicBezTo>
                  <a:pt x="5929844" y="1508828"/>
                  <a:pt x="5933965" y="1506570"/>
                  <a:pt x="5936026" y="1504315"/>
                </a:cubicBezTo>
                <a:cubicBezTo>
                  <a:pt x="5938085" y="1499804"/>
                  <a:pt x="5940143" y="1499804"/>
                  <a:pt x="5944263" y="1499804"/>
                </a:cubicBezTo>
                <a:cubicBezTo>
                  <a:pt x="5946324" y="1499804"/>
                  <a:pt x="5950445" y="1497549"/>
                  <a:pt x="5956626" y="1495292"/>
                </a:cubicBezTo>
                <a:cubicBezTo>
                  <a:pt x="5952506" y="1493037"/>
                  <a:pt x="5950445" y="1490779"/>
                  <a:pt x="5948386" y="1493037"/>
                </a:cubicBezTo>
                <a:cubicBezTo>
                  <a:pt x="5940143" y="1495292"/>
                  <a:pt x="5933965" y="1499804"/>
                  <a:pt x="5925724" y="1504315"/>
                </a:cubicBezTo>
                <a:cubicBezTo>
                  <a:pt x="5925724" y="1502060"/>
                  <a:pt x="5923665" y="1502060"/>
                  <a:pt x="5921604" y="1499804"/>
                </a:cubicBezTo>
                <a:cubicBezTo>
                  <a:pt x="5921604" y="1499804"/>
                  <a:pt x="5923665" y="1497549"/>
                  <a:pt x="5923665" y="1497549"/>
                </a:cubicBezTo>
                <a:cubicBezTo>
                  <a:pt x="5925724" y="1495292"/>
                  <a:pt x="5929844" y="1493037"/>
                  <a:pt x="5931906" y="1490779"/>
                </a:cubicBezTo>
                <a:cubicBezTo>
                  <a:pt x="5933965" y="1479502"/>
                  <a:pt x="5940143" y="1479502"/>
                  <a:pt x="5946324" y="1477243"/>
                </a:cubicBezTo>
                <a:cubicBezTo>
                  <a:pt x="5950445" y="1477243"/>
                  <a:pt x="5954565" y="1474990"/>
                  <a:pt x="5956626" y="1474990"/>
                </a:cubicBezTo>
                <a:cubicBezTo>
                  <a:pt x="5960744" y="1472732"/>
                  <a:pt x="5962805" y="1468220"/>
                  <a:pt x="5962805" y="1459196"/>
                </a:cubicBezTo>
                <a:cubicBezTo>
                  <a:pt x="5956626" y="1463709"/>
                  <a:pt x="5950445" y="1468220"/>
                  <a:pt x="5944263" y="1472732"/>
                </a:cubicBezTo>
                <a:cubicBezTo>
                  <a:pt x="5942204" y="1470477"/>
                  <a:pt x="5942204" y="1468220"/>
                  <a:pt x="5940143" y="1468220"/>
                </a:cubicBezTo>
                <a:cubicBezTo>
                  <a:pt x="5962805" y="1445661"/>
                  <a:pt x="5987526" y="1423101"/>
                  <a:pt x="6010185" y="1400546"/>
                </a:cubicBezTo>
                <a:cubicBezTo>
                  <a:pt x="6028726" y="1382498"/>
                  <a:pt x="6047265" y="1366706"/>
                  <a:pt x="6063746" y="1348657"/>
                </a:cubicBezTo>
                <a:cubicBezTo>
                  <a:pt x="6088467" y="1321586"/>
                  <a:pt x="6199706" y="1260678"/>
                  <a:pt x="6222366" y="1231352"/>
                </a:cubicBezTo>
                <a:cubicBezTo>
                  <a:pt x="6224427" y="1229095"/>
                  <a:pt x="6226488" y="1229095"/>
                  <a:pt x="6228547" y="1226840"/>
                </a:cubicBezTo>
                <a:cubicBezTo>
                  <a:pt x="6251209" y="1206535"/>
                  <a:pt x="6275929" y="1186234"/>
                  <a:pt x="6298588" y="1161419"/>
                </a:cubicBezTo>
                <a:cubicBezTo>
                  <a:pt x="6315070" y="1143372"/>
                  <a:pt x="6329488" y="1120813"/>
                  <a:pt x="6343909" y="1100508"/>
                </a:cubicBezTo>
                <a:cubicBezTo>
                  <a:pt x="6352147" y="1089230"/>
                  <a:pt x="6360388" y="1075694"/>
                  <a:pt x="6368630" y="1062159"/>
                </a:cubicBezTo>
                <a:cubicBezTo>
                  <a:pt x="6370689" y="1059904"/>
                  <a:pt x="6370689" y="1057648"/>
                  <a:pt x="6370689" y="1055393"/>
                </a:cubicBezTo>
                <a:cubicBezTo>
                  <a:pt x="6374809" y="1046369"/>
                  <a:pt x="6376868" y="1037344"/>
                  <a:pt x="6380988" y="1032833"/>
                </a:cubicBezTo>
                <a:cubicBezTo>
                  <a:pt x="6391289" y="1017040"/>
                  <a:pt x="6399530" y="1001251"/>
                  <a:pt x="6399530" y="983202"/>
                </a:cubicBezTo>
                <a:cubicBezTo>
                  <a:pt x="6401588" y="956132"/>
                  <a:pt x="6405709" y="929061"/>
                  <a:pt x="6391289" y="901990"/>
                </a:cubicBezTo>
                <a:cubicBezTo>
                  <a:pt x="6389228" y="899735"/>
                  <a:pt x="6391289" y="897477"/>
                  <a:pt x="6391289" y="895223"/>
                </a:cubicBezTo>
                <a:cubicBezTo>
                  <a:pt x="6391289" y="886199"/>
                  <a:pt x="6393348" y="877176"/>
                  <a:pt x="6391289" y="870410"/>
                </a:cubicBezTo>
                <a:cubicBezTo>
                  <a:pt x="6389228" y="861386"/>
                  <a:pt x="6385108" y="852359"/>
                  <a:pt x="6383050" y="843338"/>
                </a:cubicBezTo>
                <a:cubicBezTo>
                  <a:pt x="6380988" y="834314"/>
                  <a:pt x="6374809" y="827545"/>
                  <a:pt x="6368630" y="818521"/>
                </a:cubicBezTo>
                <a:cubicBezTo>
                  <a:pt x="6364507" y="811755"/>
                  <a:pt x="6360388" y="807243"/>
                  <a:pt x="6356268" y="800474"/>
                </a:cubicBezTo>
                <a:cubicBezTo>
                  <a:pt x="6348030" y="784683"/>
                  <a:pt x="6341848" y="766636"/>
                  <a:pt x="6329488" y="755358"/>
                </a:cubicBezTo>
                <a:cubicBezTo>
                  <a:pt x="6323309" y="748590"/>
                  <a:pt x="6319189" y="739565"/>
                  <a:pt x="6315070" y="730541"/>
                </a:cubicBezTo>
                <a:cubicBezTo>
                  <a:pt x="6306829" y="717006"/>
                  <a:pt x="6302709" y="698959"/>
                  <a:pt x="6286229" y="694448"/>
                </a:cubicBezTo>
                <a:cubicBezTo>
                  <a:pt x="6284167" y="694448"/>
                  <a:pt x="6282108" y="692193"/>
                  <a:pt x="6282108" y="689935"/>
                </a:cubicBezTo>
                <a:cubicBezTo>
                  <a:pt x="6280047" y="678657"/>
                  <a:pt x="6271807" y="674146"/>
                  <a:pt x="6265627" y="667378"/>
                </a:cubicBezTo>
                <a:cubicBezTo>
                  <a:pt x="6255329" y="653842"/>
                  <a:pt x="6240907" y="642562"/>
                  <a:pt x="6226488" y="635795"/>
                </a:cubicBezTo>
                <a:cubicBezTo>
                  <a:pt x="6222366" y="633538"/>
                  <a:pt x="6218245" y="631283"/>
                  <a:pt x="6216186" y="626772"/>
                </a:cubicBezTo>
                <a:cubicBezTo>
                  <a:pt x="6207947" y="620003"/>
                  <a:pt x="6201768" y="610979"/>
                  <a:pt x="6189408" y="613236"/>
                </a:cubicBezTo>
                <a:cubicBezTo>
                  <a:pt x="6177047" y="615490"/>
                  <a:pt x="6166745" y="610979"/>
                  <a:pt x="6158508" y="604213"/>
                </a:cubicBezTo>
                <a:cubicBezTo>
                  <a:pt x="6150265" y="597443"/>
                  <a:pt x="6142027" y="595188"/>
                  <a:pt x="6131726" y="595188"/>
                </a:cubicBezTo>
                <a:cubicBezTo>
                  <a:pt x="6119366" y="595188"/>
                  <a:pt x="6104945" y="592932"/>
                  <a:pt x="6092586" y="595188"/>
                </a:cubicBezTo>
                <a:cubicBezTo>
                  <a:pt x="6078165" y="597443"/>
                  <a:pt x="6063746" y="604213"/>
                  <a:pt x="6049327" y="606468"/>
                </a:cubicBezTo>
                <a:cubicBezTo>
                  <a:pt x="6026665" y="613236"/>
                  <a:pt x="5929844" y="669633"/>
                  <a:pt x="5907185" y="676400"/>
                </a:cubicBezTo>
                <a:cubicBezTo>
                  <a:pt x="5890705" y="680912"/>
                  <a:pt x="5876283" y="689935"/>
                  <a:pt x="5861864" y="696704"/>
                </a:cubicBezTo>
                <a:cubicBezTo>
                  <a:pt x="5857744" y="698959"/>
                  <a:pt x="5853624" y="698959"/>
                  <a:pt x="5845383" y="703470"/>
                </a:cubicBezTo>
                <a:cubicBezTo>
                  <a:pt x="5845383" y="696704"/>
                  <a:pt x="5845383" y="692193"/>
                  <a:pt x="5847442" y="687680"/>
                </a:cubicBezTo>
                <a:cubicBezTo>
                  <a:pt x="5849503" y="678657"/>
                  <a:pt x="5853624" y="669633"/>
                  <a:pt x="5855683" y="660610"/>
                </a:cubicBezTo>
                <a:cubicBezTo>
                  <a:pt x="5868042" y="631283"/>
                  <a:pt x="5878344" y="601955"/>
                  <a:pt x="5890705" y="570372"/>
                </a:cubicBezTo>
                <a:cubicBezTo>
                  <a:pt x="5892763" y="568118"/>
                  <a:pt x="5894824" y="565860"/>
                  <a:pt x="5896883" y="565860"/>
                </a:cubicBezTo>
                <a:cubicBezTo>
                  <a:pt x="5901003" y="563605"/>
                  <a:pt x="5905124" y="561348"/>
                  <a:pt x="5907185" y="556839"/>
                </a:cubicBezTo>
                <a:cubicBezTo>
                  <a:pt x="5911305" y="550070"/>
                  <a:pt x="5913364" y="541046"/>
                  <a:pt x="5921604" y="536535"/>
                </a:cubicBezTo>
                <a:cubicBezTo>
                  <a:pt x="5913364" y="534280"/>
                  <a:pt x="5907185" y="538792"/>
                  <a:pt x="5903065" y="543303"/>
                </a:cubicBezTo>
                <a:cubicBezTo>
                  <a:pt x="5903065" y="541046"/>
                  <a:pt x="5905124" y="538792"/>
                  <a:pt x="5905124" y="538792"/>
                </a:cubicBezTo>
                <a:cubicBezTo>
                  <a:pt x="5911305" y="522999"/>
                  <a:pt x="5917483" y="507208"/>
                  <a:pt x="5923665" y="491416"/>
                </a:cubicBezTo>
                <a:cubicBezTo>
                  <a:pt x="5933965" y="489161"/>
                  <a:pt x="5944263" y="484650"/>
                  <a:pt x="5952506" y="477880"/>
                </a:cubicBezTo>
                <a:cubicBezTo>
                  <a:pt x="5950445" y="477880"/>
                  <a:pt x="5948386" y="475626"/>
                  <a:pt x="5946324" y="475626"/>
                </a:cubicBezTo>
                <a:cubicBezTo>
                  <a:pt x="5940143" y="475626"/>
                  <a:pt x="5933965" y="477880"/>
                  <a:pt x="5927785" y="480138"/>
                </a:cubicBezTo>
                <a:cubicBezTo>
                  <a:pt x="5936026" y="462090"/>
                  <a:pt x="5944263" y="441788"/>
                  <a:pt x="5952506" y="421484"/>
                </a:cubicBezTo>
                <a:cubicBezTo>
                  <a:pt x="5958685" y="405694"/>
                  <a:pt x="5960744" y="389901"/>
                  <a:pt x="5968983" y="374110"/>
                </a:cubicBezTo>
                <a:cubicBezTo>
                  <a:pt x="5979285" y="353808"/>
                  <a:pt x="5983406" y="331250"/>
                  <a:pt x="5989584" y="310944"/>
                </a:cubicBezTo>
                <a:cubicBezTo>
                  <a:pt x="5993704" y="308690"/>
                  <a:pt x="5995765" y="306432"/>
                  <a:pt x="5997824" y="304178"/>
                </a:cubicBezTo>
                <a:cubicBezTo>
                  <a:pt x="6004006" y="299666"/>
                  <a:pt x="6008126" y="292897"/>
                  <a:pt x="6018425" y="295155"/>
                </a:cubicBezTo>
                <a:cubicBezTo>
                  <a:pt x="6016367" y="301921"/>
                  <a:pt x="6014304" y="306432"/>
                  <a:pt x="6014304" y="310944"/>
                </a:cubicBezTo>
                <a:cubicBezTo>
                  <a:pt x="6028726" y="310944"/>
                  <a:pt x="6032844" y="301921"/>
                  <a:pt x="6034906" y="290642"/>
                </a:cubicBezTo>
                <a:cubicBezTo>
                  <a:pt x="6032844" y="290642"/>
                  <a:pt x="6030785" y="288385"/>
                  <a:pt x="6026665" y="288385"/>
                </a:cubicBezTo>
                <a:cubicBezTo>
                  <a:pt x="6028726" y="279362"/>
                  <a:pt x="6034906" y="272595"/>
                  <a:pt x="6041087" y="268083"/>
                </a:cubicBezTo>
                <a:cubicBezTo>
                  <a:pt x="6045206" y="270338"/>
                  <a:pt x="6051386" y="274849"/>
                  <a:pt x="6053445" y="274849"/>
                </a:cubicBezTo>
                <a:cubicBezTo>
                  <a:pt x="6055506" y="277108"/>
                  <a:pt x="6057565" y="279362"/>
                  <a:pt x="6061685" y="281619"/>
                </a:cubicBezTo>
                <a:cubicBezTo>
                  <a:pt x="6065804" y="277108"/>
                  <a:pt x="6071986" y="274849"/>
                  <a:pt x="6076106" y="268083"/>
                </a:cubicBezTo>
                <a:cubicBezTo>
                  <a:pt x="6080226" y="263572"/>
                  <a:pt x="6078165" y="256802"/>
                  <a:pt x="6071986" y="256802"/>
                </a:cubicBezTo>
                <a:cubicBezTo>
                  <a:pt x="6065804" y="256802"/>
                  <a:pt x="6059626" y="254547"/>
                  <a:pt x="6053445" y="254547"/>
                </a:cubicBezTo>
                <a:cubicBezTo>
                  <a:pt x="6055506" y="252293"/>
                  <a:pt x="6057565" y="247779"/>
                  <a:pt x="6059626" y="245524"/>
                </a:cubicBezTo>
                <a:cubicBezTo>
                  <a:pt x="6053445" y="247779"/>
                  <a:pt x="6045206" y="247779"/>
                  <a:pt x="6043145" y="259060"/>
                </a:cubicBezTo>
                <a:cubicBezTo>
                  <a:pt x="6043145" y="261314"/>
                  <a:pt x="6041087" y="261314"/>
                  <a:pt x="6041087" y="263572"/>
                </a:cubicBezTo>
                <a:cubicBezTo>
                  <a:pt x="6039026" y="263572"/>
                  <a:pt x="6039026" y="265826"/>
                  <a:pt x="6036965" y="265826"/>
                </a:cubicBezTo>
                <a:cubicBezTo>
                  <a:pt x="6028726" y="268083"/>
                  <a:pt x="6022545" y="272595"/>
                  <a:pt x="6016367" y="277108"/>
                </a:cubicBezTo>
                <a:cubicBezTo>
                  <a:pt x="6018425" y="272595"/>
                  <a:pt x="6020486" y="268083"/>
                  <a:pt x="6022545" y="263572"/>
                </a:cubicBezTo>
                <a:cubicBezTo>
                  <a:pt x="6020486" y="263572"/>
                  <a:pt x="6016367" y="263572"/>
                  <a:pt x="6014304" y="263572"/>
                </a:cubicBezTo>
                <a:cubicBezTo>
                  <a:pt x="6010185" y="265826"/>
                  <a:pt x="6006065" y="270338"/>
                  <a:pt x="5999886" y="274849"/>
                </a:cubicBezTo>
                <a:cubicBezTo>
                  <a:pt x="5999886" y="270338"/>
                  <a:pt x="5999886" y="265826"/>
                  <a:pt x="5999886" y="261314"/>
                </a:cubicBezTo>
                <a:lnTo>
                  <a:pt x="5999574" y="258581"/>
                </a:lnTo>
                <a:lnTo>
                  <a:pt x="5997824" y="259060"/>
                </a:lnTo>
                <a:cubicBezTo>
                  <a:pt x="5993704" y="254547"/>
                  <a:pt x="5991645" y="252293"/>
                  <a:pt x="5987526" y="250036"/>
                </a:cubicBezTo>
                <a:lnTo>
                  <a:pt x="5998154" y="246155"/>
                </a:lnTo>
                <a:lnTo>
                  <a:pt x="5997824" y="243267"/>
                </a:lnTo>
                <a:cubicBezTo>
                  <a:pt x="6004006" y="236500"/>
                  <a:pt x="6010185" y="227477"/>
                  <a:pt x="6016367" y="220707"/>
                </a:cubicBezTo>
                <a:cubicBezTo>
                  <a:pt x="6016367" y="220707"/>
                  <a:pt x="6018425" y="220707"/>
                  <a:pt x="6020486" y="220707"/>
                </a:cubicBezTo>
                <a:lnTo>
                  <a:pt x="6021859" y="223716"/>
                </a:lnTo>
                <a:lnTo>
                  <a:pt x="6022545" y="222965"/>
                </a:lnTo>
                <a:cubicBezTo>
                  <a:pt x="6024606" y="222965"/>
                  <a:pt x="6024606" y="222965"/>
                  <a:pt x="6026665" y="220707"/>
                </a:cubicBezTo>
                <a:cubicBezTo>
                  <a:pt x="6030785" y="218452"/>
                  <a:pt x="6028726" y="211686"/>
                  <a:pt x="6036965" y="211686"/>
                </a:cubicBezTo>
                <a:lnTo>
                  <a:pt x="6032844" y="211686"/>
                </a:lnTo>
                <a:cubicBezTo>
                  <a:pt x="6032844" y="209429"/>
                  <a:pt x="6034906" y="207175"/>
                  <a:pt x="6034906" y="207175"/>
                </a:cubicBezTo>
                <a:cubicBezTo>
                  <a:pt x="6034906" y="207175"/>
                  <a:pt x="6034906" y="204917"/>
                  <a:pt x="6034906" y="204917"/>
                </a:cubicBezTo>
                <a:cubicBezTo>
                  <a:pt x="6034906" y="204917"/>
                  <a:pt x="6032844" y="204917"/>
                  <a:pt x="6032844" y="204917"/>
                </a:cubicBezTo>
                <a:cubicBezTo>
                  <a:pt x="6032844" y="195894"/>
                  <a:pt x="6032844" y="184616"/>
                  <a:pt x="6032844" y="175592"/>
                </a:cubicBezTo>
                <a:cubicBezTo>
                  <a:pt x="6032844" y="175592"/>
                  <a:pt x="6034906" y="173335"/>
                  <a:pt x="6034906" y="173335"/>
                </a:cubicBezTo>
                <a:cubicBezTo>
                  <a:pt x="6034906" y="173335"/>
                  <a:pt x="6036965" y="171080"/>
                  <a:pt x="6036965" y="168823"/>
                </a:cubicBezTo>
                <a:cubicBezTo>
                  <a:pt x="6034906" y="166568"/>
                  <a:pt x="6034906" y="164310"/>
                  <a:pt x="6032844" y="164310"/>
                </a:cubicBezTo>
                <a:cubicBezTo>
                  <a:pt x="6030785" y="162056"/>
                  <a:pt x="6030785" y="159799"/>
                  <a:pt x="6028726" y="159799"/>
                </a:cubicBezTo>
                <a:cubicBezTo>
                  <a:pt x="6030785" y="155287"/>
                  <a:pt x="6032844" y="153033"/>
                  <a:pt x="6032844" y="153033"/>
                </a:cubicBezTo>
                <a:cubicBezTo>
                  <a:pt x="6028726" y="146263"/>
                  <a:pt x="6026665" y="141751"/>
                  <a:pt x="6024606" y="137242"/>
                </a:cubicBezTo>
                <a:lnTo>
                  <a:pt x="6029662" y="125244"/>
                </a:lnTo>
                <a:lnTo>
                  <a:pt x="6022545" y="134985"/>
                </a:lnTo>
                <a:cubicBezTo>
                  <a:pt x="6020486" y="132727"/>
                  <a:pt x="6018425" y="132727"/>
                  <a:pt x="6018425" y="132727"/>
                </a:cubicBezTo>
                <a:cubicBezTo>
                  <a:pt x="6014304" y="134985"/>
                  <a:pt x="6008126" y="134985"/>
                  <a:pt x="6008126" y="141751"/>
                </a:cubicBezTo>
                <a:cubicBezTo>
                  <a:pt x="6012244" y="144008"/>
                  <a:pt x="6014304" y="144008"/>
                  <a:pt x="6016367" y="144008"/>
                </a:cubicBezTo>
                <a:cubicBezTo>
                  <a:pt x="6014304" y="146263"/>
                  <a:pt x="6014304" y="146263"/>
                  <a:pt x="6012244" y="148520"/>
                </a:cubicBezTo>
                <a:cubicBezTo>
                  <a:pt x="6006065" y="146263"/>
                  <a:pt x="6001945" y="144008"/>
                  <a:pt x="5997824" y="144008"/>
                </a:cubicBezTo>
                <a:cubicBezTo>
                  <a:pt x="5995765" y="146263"/>
                  <a:pt x="5993704" y="148520"/>
                  <a:pt x="5991645" y="150778"/>
                </a:cubicBezTo>
                <a:cubicBezTo>
                  <a:pt x="5991645" y="150778"/>
                  <a:pt x="5991645" y="148520"/>
                  <a:pt x="5989584" y="148520"/>
                </a:cubicBezTo>
                <a:cubicBezTo>
                  <a:pt x="5979285" y="137242"/>
                  <a:pt x="5971045" y="123706"/>
                  <a:pt x="5968983" y="107914"/>
                </a:cubicBezTo>
                <a:cubicBezTo>
                  <a:pt x="5973104" y="105659"/>
                  <a:pt x="5979285" y="101147"/>
                  <a:pt x="5983406" y="98890"/>
                </a:cubicBezTo>
                <a:cubicBezTo>
                  <a:pt x="5983406" y="98890"/>
                  <a:pt x="5983406" y="98890"/>
                  <a:pt x="5983406" y="101147"/>
                </a:cubicBezTo>
                <a:cubicBezTo>
                  <a:pt x="5981344" y="105659"/>
                  <a:pt x="5983406" y="110172"/>
                  <a:pt x="5985465" y="119192"/>
                </a:cubicBezTo>
                <a:cubicBezTo>
                  <a:pt x="5987526" y="116938"/>
                  <a:pt x="5989584" y="114683"/>
                  <a:pt x="5991645" y="112426"/>
                </a:cubicBezTo>
                <a:cubicBezTo>
                  <a:pt x="6004006" y="116938"/>
                  <a:pt x="6004006" y="116938"/>
                  <a:pt x="6012244" y="110172"/>
                </a:cubicBezTo>
                <a:cubicBezTo>
                  <a:pt x="6008126" y="105659"/>
                  <a:pt x="6004006" y="105659"/>
                  <a:pt x="5997824" y="105659"/>
                </a:cubicBezTo>
                <a:cubicBezTo>
                  <a:pt x="5999886" y="103402"/>
                  <a:pt x="5999886" y="103402"/>
                  <a:pt x="6001945" y="101147"/>
                </a:cubicBezTo>
                <a:cubicBezTo>
                  <a:pt x="6004006" y="98890"/>
                  <a:pt x="6006065" y="96636"/>
                  <a:pt x="6006065" y="92123"/>
                </a:cubicBezTo>
                <a:cubicBezTo>
                  <a:pt x="6006065" y="87612"/>
                  <a:pt x="6008126" y="85355"/>
                  <a:pt x="6008126" y="83100"/>
                </a:cubicBezTo>
                <a:cubicBezTo>
                  <a:pt x="6008126" y="83100"/>
                  <a:pt x="6010185" y="83100"/>
                  <a:pt x="6010185" y="80843"/>
                </a:cubicBezTo>
                <a:cubicBezTo>
                  <a:pt x="6012244" y="80843"/>
                  <a:pt x="6014304" y="80843"/>
                  <a:pt x="6018425" y="80843"/>
                </a:cubicBezTo>
                <a:cubicBezTo>
                  <a:pt x="6022545" y="80843"/>
                  <a:pt x="6026665" y="80843"/>
                  <a:pt x="6028726" y="78588"/>
                </a:cubicBezTo>
                <a:cubicBezTo>
                  <a:pt x="6041087" y="69564"/>
                  <a:pt x="6053445" y="60541"/>
                  <a:pt x="6065804" y="51517"/>
                </a:cubicBezTo>
                <a:cubicBezTo>
                  <a:pt x="6071986" y="47005"/>
                  <a:pt x="6080226" y="40236"/>
                  <a:pt x="6086406" y="35724"/>
                </a:cubicBezTo>
                <a:lnTo>
                  <a:pt x="6132232" y="8452"/>
                </a:lnTo>
                <a:lnTo>
                  <a:pt x="6141053" y="0"/>
                </a:lnTo>
                <a:lnTo>
                  <a:pt x="0" y="0"/>
                </a:lnTo>
                <a:lnTo>
                  <a:pt x="0" y="199016"/>
                </a:lnTo>
                <a:lnTo>
                  <a:pt x="13470" y="189127"/>
                </a:lnTo>
                <a:lnTo>
                  <a:pt x="0" y="206500"/>
                </a:lnTo>
                <a:lnTo>
                  <a:pt x="0" y="3498582"/>
                </a:lnTo>
                <a:lnTo>
                  <a:pt x="2653" y="3499657"/>
                </a:lnTo>
                <a:cubicBezTo>
                  <a:pt x="6773" y="3502478"/>
                  <a:pt x="10379" y="3506426"/>
                  <a:pt x="13470" y="3512066"/>
                </a:cubicBezTo>
                <a:cubicBezTo>
                  <a:pt x="15528" y="3518832"/>
                  <a:pt x="25830" y="3518832"/>
                  <a:pt x="27889" y="3525598"/>
                </a:cubicBezTo>
                <a:cubicBezTo>
                  <a:pt x="29950" y="3534625"/>
                  <a:pt x="40248" y="3536880"/>
                  <a:pt x="44369" y="3541392"/>
                </a:cubicBezTo>
                <a:cubicBezTo>
                  <a:pt x="50550" y="3548158"/>
                  <a:pt x="58788" y="3552670"/>
                  <a:pt x="69089" y="3545904"/>
                </a:cubicBezTo>
                <a:cubicBezTo>
                  <a:pt x="75268" y="3541392"/>
                  <a:pt x="83509" y="3545904"/>
                  <a:pt x="91748" y="3541392"/>
                </a:cubicBezTo>
                <a:cubicBezTo>
                  <a:pt x="99989" y="3536880"/>
                  <a:pt x="108229" y="3532368"/>
                  <a:pt x="116469" y="3534625"/>
                </a:cubicBezTo>
                <a:cubicBezTo>
                  <a:pt x="124710" y="3530111"/>
                  <a:pt x="132950" y="3532368"/>
                  <a:pt x="141189" y="3530111"/>
                </a:cubicBezTo>
                <a:cubicBezTo>
                  <a:pt x="149430" y="3527856"/>
                  <a:pt x="157670" y="3523344"/>
                  <a:pt x="165910" y="3518832"/>
                </a:cubicBezTo>
                <a:cubicBezTo>
                  <a:pt x="182391" y="3509809"/>
                  <a:pt x="196810" y="3500785"/>
                  <a:pt x="213290" y="3491762"/>
                </a:cubicBezTo>
                <a:cubicBezTo>
                  <a:pt x="227710" y="3482738"/>
                  <a:pt x="244190" y="3480483"/>
                  <a:pt x="252430" y="3462436"/>
                </a:cubicBezTo>
                <a:cubicBezTo>
                  <a:pt x="252430" y="3460178"/>
                  <a:pt x="293630" y="3484994"/>
                  <a:pt x="295692" y="3484994"/>
                </a:cubicBezTo>
                <a:cubicBezTo>
                  <a:pt x="316292" y="3473714"/>
                  <a:pt x="338951" y="3460178"/>
                  <a:pt x="359553" y="3448900"/>
                </a:cubicBezTo>
                <a:cubicBezTo>
                  <a:pt x="361610" y="3446643"/>
                  <a:pt x="367792" y="3448900"/>
                  <a:pt x="369851" y="3448900"/>
                </a:cubicBezTo>
                <a:cubicBezTo>
                  <a:pt x="373971" y="3448900"/>
                  <a:pt x="376033" y="3446643"/>
                  <a:pt x="378092" y="3442131"/>
                </a:cubicBezTo>
                <a:cubicBezTo>
                  <a:pt x="380153" y="3435365"/>
                  <a:pt x="386331" y="3433107"/>
                  <a:pt x="392513" y="3433107"/>
                </a:cubicBezTo>
                <a:cubicBezTo>
                  <a:pt x="396633" y="3433107"/>
                  <a:pt x="400753" y="3433107"/>
                  <a:pt x="402812" y="3430852"/>
                </a:cubicBezTo>
                <a:cubicBezTo>
                  <a:pt x="429594" y="3417318"/>
                  <a:pt x="454312" y="3401524"/>
                  <a:pt x="481094" y="3387992"/>
                </a:cubicBezTo>
                <a:cubicBezTo>
                  <a:pt x="485214" y="3385734"/>
                  <a:pt x="489334" y="3383480"/>
                  <a:pt x="489334" y="3381223"/>
                </a:cubicBezTo>
                <a:cubicBezTo>
                  <a:pt x="495513" y="3365432"/>
                  <a:pt x="511994" y="3363174"/>
                  <a:pt x="522295" y="3356408"/>
                </a:cubicBezTo>
                <a:cubicBezTo>
                  <a:pt x="526412" y="3354151"/>
                  <a:pt x="530533" y="3351896"/>
                  <a:pt x="536713" y="3349640"/>
                </a:cubicBezTo>
                <a:cubicBezTo>
                  <a:pt x="547013" y="3342874"/>
                  <a:pt x="557314" y="3338361"/>
                  <a:pt x="567613" y="3331592"/>
                </a:cubicBezTo>
                <a:cubicBezTo>
                  <a:pt x="573795" y="3329338"/>
                  <a:pt x="577915" y="3322568"/>
                  <a:pt x="579974" y="3315802"/>
                </a:cubicBezTo>
                <a:cubicBezTo>
                  <a:pt x="584094" y="3315802"/>
                  <a:pt x="590275" y="3318056"/>
                  <a:pt x="594395" y="3313545"/>
                </a:cubicBezTo>
                <a:cubicBezTo>
                  <a:pt x="600574" y="3309036"/>
                  <a:pt x="606755" y="3306778"/>
                  <a:pt x="612934" y="3302266"/>
                </a:cubicBezTo>
                <a:cubicBezTo>
                  <a:pt x="614995" y="3306778"/>
                  <a:pt x="619113" y="3306778"/>
                  <a:pt x="621174" y="3309036"/>
                </a:cubicBezTo>
                <a:cubicBezTo>
                  <a:pt x="623233" y="3313545"/>
                  <a:pt x="627356" y="3315802"/>
                  <a:pt x="631474" y="3318056"/>
                </a:cubicBezTo>
                <a:cubicBezTo>
                  <a:pt x="635593" y="3322568"/>
                  <a:pt x="639713" y="3324825"/>
                  <a:pt x="645895" y="3320314"/>
                </a:cubicBezTo>
                <a:cubicBezTo>
                  <a:pt x="650015" y="3318056"/>
                  <a:pt x="654135" y="3320314"/>
                  <a:pt x="658255" y="3318056"/>
                </a:cubicBezTo>
                <a:cubicBezTo>
                  <a:pt x="662376" y="3315802"/>
                  <a:pt x="666495" y="3313545"/>
                  <a:pt x="672674" y="3313545"/>
                </a:cubicBezTo>
                <a:cubicBezTo>
                  <a:pt x="676795" y="3311290"/>
                  <a:pt x="682976" y="3311290"/>
                  <a:pt x="687096" y="3311290"/>
                </a:cubicBezTo>
                <a:cubicBezTo>
                  <a:pt x="691215" y="3309036"/>
                  <a:pt x="697395" y="3306778"/>
                  <a:pt x="701515" y="3304520"/>
                </a:cubicBezTo>
                <a:cubicBezTo>
                  <a:pt x="709755" y="3300009"/>
                  <a:pt x="717995" y="3295500"/>
                  <a:pt x="724174" y="3290988"/>
                </a:cubicBezTo>
                <a:cubicBezTo>
                  <a:pt x="728295" y="3295500"/>
                  <a:pt x="730356" y="3297754"/>
                  <a:pt x="736534" y="3300009"/>
                </a:cubicBezTo>
                <a:cubicBezTo>
                  <a:pt x="740654" y="3306778"/>
                  <a:pt x="744775" y="3313545"/>
                  <a:pt x="753015" y="3318056"/>
                </a:cubicBezTo>
                <a:cubicBezTo>
                  <a:pt x="759197" y="3320314"/>
                  <a:pt x="707697" y="3378968"/>
                  <a:pt x="713875" y="3381223"/>
                </a:cubicBezTo>
                <a:cubicBezTo>
                  <a:pt x="720056" y="3385734"/>
                  <a:pt x="726236" y="3390246"/>
                  <a:pt x="732415" y="3394758"/>
                </a:cubicBezTo>
                <a:cubicBezTo>
                  <a:pt x="734476" y="3397016"/>
                  <a:pt x="738595" y="3401524"/>
                  <a:pt x="738595" y="3403782"/>
                </a:cubicBezTo>
                <a:cubicBezTo>
                  <a:pt x="742716" y="3412805"/>
                  <a:pt x="746836" y="3417318"/>
                  <a:pt x="755076" y="3419572"/>
                </a:cubicBezTo>
                <a:cubicBezTo>
                  <a:pt x="759197" y="3426341"/>
                  <a:pt x="765375" y="3426341"/>
                  <a:pt x="771556" y="3424084"/>
                </a:cubicBezTo>
                <a:cubicBezTo>
                  <a:pt x="775677" y="3424084"/>
                  <a:pt x="779797" y="3426341"/>
                  <a:pt x="781856" y="3424084"/>
                </a:cubicBezTo>
                <a:cubicBezTo>
                  <a:pt x="788036" y="3421829"/>
                  <a:pt x="790095" y="3424084"/>
                  <a:pt x="794216" y="3428596"/>
                </a:cubicBezTo>
                <a:cubicBezTo>
                  <a:pt x="798336" y="3433107"/>
                  <a:pt x="804515" y="3435365"/>
                  <a:pt x="808638" y="3439876"/>
                </a:cubicBezTo>
                <a:cubicBezTo>
                  <a:pt x="808638" y="3442131"/>
                  <a:pt x="812758" y="3439876"/>
                  <a:pt x="814816" y="3439876"/>
                </a:cubicBezTo>
                <a:cubicBezTo>
                  <a:pt x="816875" y="3439876"/>
                  <a:pt x="818936" y="3437620"/>
                  <a:pt x="820995" y="3437620"/>
                </a:cubicBezTo>
                <a:cubicBezTo>
                  <a:pt x="825115" y="3435365"/>
                  <a:pt x="829236" y="3437620"/>
                  <a:pt x="831297" y="3439876"/>
                </a:cubicBezTo>
                <a:cubicBezTo>
                  <a:pt x="835417" y="3444388"/>
                  <a:pt x="839536" y="3444388"/>
                  <a:pt x="843657" y="3442131"/>
                </a:cubicBezTo>
                <a:cubicBezTo>
                  <a:pt x="845716" y="3439876"/>
                  <a:pt x="847777" y="3437620"/>
                  <a:pt x="849836" y="3439876"/>
                </a:cubicBezTo>
                <a:cubicBezTo>
                  <a:pt x="860138" y="3442131"/>
                  <a:pt x="872497" y="3442131"/>
                  <a:pt x="880738" y="3453412"/>
                </a:cubicBezTo>
                <a:cubicBezTo>
                  <a:pt x="886916" y="3457924"/>
                  <a:pt x="895157" y="3460178"/>
                  <a:pt x="901338" y="3455667"/>
                </a:cubicBezTo>
                <a:cubicBezTo>
                  <a:pt x="907517" y="3451154"/>
                  <a:pt x="913698" y="3453412"/>
                  <a:pt x="919877" y="3455667"/>
                </a:cubicBezTo>
                <a:cubicBezTo>
                  <a:pt x="926059" y="3457924"/>
                  <a:pt x="928118" y="3462436"/>
                  <a:pt x="930177" y="3466947"/>
                </a:cubicBezTo>
                <a:cubicBezTo>
                  <a:pt x="932238" y="3471460"/>
                  <a:pt x="934297" y="3475969"/>
                  <a:pt x="936357" y="3482738"/>
                </a:cubicBezTo>
                <a:cubicBezTo>
                  <a:pt x="938416" y="3487249"/>
                  <a:pt x="936357" y="3491762"/>
                  <a:pt x="934297" y="3494019"/>
                </a:cubicBezTo>
                <a:cubicBezTo>
                  <a:pt x="930177" y="3498528"/>
                  <a:pt x="930177" y="3503040"/>
                  <a:pt x="932238" y="3507554"/>
                </a:cubicBezTo>
                <a:cubicBezTo>
                  <a:pt x="934297" y="3512066"/>
                  <a:pt x="936357" y="3514321"/>
                  <a:pt x="938416" y="3518832"/>
                </a:cubicBezTo>
                <a:cubicBezTo>
                  <a:pt x="940477" y="3523344"/>
                  <a:pt x="944598" y="3523344"/>
                  <a:pt x="946657" y="3525598"/>
                </a:cubicBezTo>
                <a:cubicBezTo>
                  <a:pt x="956958" y="3527856"/>
                  <a:pt x="963137" y="3525598"/>
                  <a:pt x="969318" y="3516578"/>
                </a:cubicBezTo>
                <a:cubicBezTo>
                  <a:pt x="971377" y="3514321"/>
                  <a:pt x="971377" y="3509809"/>
                  <a:pt x="975497" y="3507554"/>
                </a:cubicBezTo>
                <a:cubicBezTo>
                  <a:pt x="985799" y="3500785"/>
                  <a:pt x="987857" y="3487249"/>
                  <a:pt x="1000218" y="3482738"/>
                </a:cubicBezTo>
                <a:cubicBezTo>
                  <a:pt x="1002277" y="3482738"/>
                  <a:pt x="1002277" y="3478226"/>
                  <a:pt x="1000218" y="3475969"/>
                </a:cubicBezTo>
                <a:cubicBezTo>
                  <a:pt x="1000218" y="3473714"/>
                  <a:pt x="998159" y="3471460"/>
                  <a:pt x="996098" y="3469202"/>
                </a:cubicBezTo>
                <a:cubicBezTo>
                  <a:pt x="994039" y="3460178"/>
                  <a:pt x="996098" y="3455667"/>
                  <a:pt x="1004338" y="3455667"/>
                </a:cubicBezTo>
                <a:cubicBezTo>
                  <a:pt x="1010516" y="3455667"/>
                  <a:pt x="1012578" y="3453412"/>
                  <a:pt x="1014637" y="3448900"/>
                </a:cubicBezTo>
                <a:cubicBezTo>
                  <a:pt x="1014637" y="3446643"/>
                  <a:pt x="1016698" y="3446643"/>
                  <a:pt x="1016698" y="3446643"/>
                </a:cubicBezTo>
                <a:cubicBezTo>
                  <a:pt x="1029059" y="3437620"/>
                  <a:pt x="1043477" y="3430852"/>
                  <a:pt x="1055838" y="3421829"/>
                </a:cubicBezTo>
                <a:cubicBezTo>
                  <a:pt x="1057899" y="3419572"/>
                  <a:pt x="1059957" y="3419572"/>
                  <a:pt x="1062019" y="3421829"/>
                </a:cubicBezTo>
                <a:cubicBezTo>
                  <a:pt x="1064078" y="3421829"/>
                  <a:pt x="1066139" y="3424084"/>
                  <a:pt x="1070259" y="3424084"/>
                </a:cubicBezTo>
                <a:cubicBezTo>
                  <a:pt x="1078500" y="3426341"/>
                  <a:pt x="1086739" y="3428596"/>
                  <a:pt x="1090860" y="3439876"/>
                </a:cubicBezTo>
                <a:cubicBezTo>
                  <a:pt x="1090860" y="3442131"/>
                  <a:pt x="1094977" y="3444388"/>
                  <a:pt x="1097039" y="3444388"/>
                </a:cubicBezTo>
                <a:cubicBezTo>
                  <a:pt x="1103218" y="3446643"/>
                  <a:pt x="1113519" y="3448900"/>
                  <a:pt x="1117639" y="3453412"/>
                </a:cubicBezTo>
                <a:cubicBezTo>
                  <a:pt x="1121759" y="3457924"/>
                  <a:pt x="1127939" y="3460178"/>
                  <a:pt x="1134120" y="3462436"/>
                </a:cubicBezTo>
                <a:cubicBezTo>
                  <a:pt x="1134120" y="3466947"/>
                  <a:pt x="1134120" y="3473714"/>
                  <a:pt x="1134120" y="3480483"/>
                </a:cubicBezTo>
                <a:cubicBezTo>
                  <a:pt x="1144419" y="3473714"/>
                  <a:pt x="1150600" y="3473714"/>
                  <a:pt x="1158841" y="3478226"/>
                </a:cubicBezTo>
                <a:cubicBezTo>
                  <a:pt x="1160898" y="3484994"/>
                  <a:pt x="1160898" y="3491762"/>
                  <a:pt x="1162960" y="3498528"/>
                </a:cubicBezTo>
                <a:cubicBezTo>
                  <a:pt x="1165019" y="3507554"/>
                  <a:pt x="1169139" y="3512066"/>
                  <a:pt x="1177380" y="3514321"/>
                </a:cubicBezTo>
                <a:cubicBezTo>
                  <a:pt x="1179441" y="3514321"/>
                  <a:pt x="1183561" y="3514321"/>
                  <a:pt x="1185619" y="3516578"/>
                </a:cubicBezTo>
                <a:cubicBezTo>
                  <a:pt x="1191798" y="3518832"/>
                  <a:pt x="1200039" y="3521087"/>
                  <a:pt x="1200039" y="3532368"/>
                </a:cubicBezTo>
                <a:cubicBezTo>
                  <a:pt x="1200039" y="3534625"/>
                  <a:pt x="1204161" y="3536880"/>
                  <a:pt x="1206220" y="3539136"/>
                </a:cubicBezTo>
                <a:cubicBezTo>
                  <a:pt x="1210341" y="3541392"/>
                  <a:pt x="1214460" y="3541392"/>
                  <a:pt x="1220639" y="3543646"/>
                </a:cubicBezTo>
                <a:cubicBezTo>
                  <a:pt x="1220639" y="3548158"/>
                  <a:pt x="1160898" y="3577486"/>
                  <a:pt x="1160898" y="3577486"/>
                </a:cubicBezTo>
                <a:cubicBezTo>
                  <a:pt x="1167080" y="3581999"/>
                  <a:pt x="1173259" y="3588765"/>
                  <a:pt x="1179441" y="3591022"/>
                </a:cubicBezTo>
                <a:cubicBezTo>
                  <a:pt x="1181500" y="3593276"/>
                  <a:pt x="1185619" y="3593276"/>
                  <a:pt x="1187680" y="3591022"/>
                </a:cubicBezTo>
                <a:cubicBezTo>
                  <a:pt x="1185619" y="3595534"/>
                  <a:pt x="1185619" y="3600042"/>
                  <a:pt x="1185619" y="3604556"/>
                </a:cubicBezTo>
                <a:cubicBezTo>
                  <a:pt x="1185619" y="3606812"/>
                  <a:pt x="1187680" y="3606812"/>
                  <a:pt x="1187680" y="3609070"/>
                </a:cubicBezTo>
                <a:cubicBezTo>
                  <a:pt x="1189739" y="3604556"/>
                  <a:pt x="1191798" y="3597788"/>
                  <a:pt x="1195918" y="3597788"/>
                </a:cubicBezTo>
                <a:cubicBezTo>
                  <a:pt x="1195918" y="3597788"/>
                  <a:pt x="1195918" y="3597788"/>
                  <a:pt x="1197980" y="3597788"/>
                </a:cubicBezTo>
                <a:cubicBezTo>
                  <a:pt x="1197980" y="3611324"/>
                  <a:pt x="1191798" y="3622603"/>
                  <a:pt x="1193860" y="3636141"/>
                </a:cubicBezTo>
                <a:cubicBezTo>
                  <a:pt x="1197980" y="3633884"/>
                  <a:pt x="1202100" y="3631626"/>
                  <a:pt x="1204161" y="3631626"/>
                </a:cubicBezTo>
                <a:cubicBezTo>
                  <a:pt x="1206220" y="3631626"/>
                  <a:pt x="1210341" y="3633884"/>
                  <a:pt x="1212398" y="3633884"/>
                </a:cubicBezTo>
                <a:cubicBezTo>
                  <a:pt x="1210341" y="3636141"/>
                  <a:pt x="1210341" y="3636141"/>
                  <a:pt x="1208282" y="3638396"/>
                </a:cubicBezTo>
                <a:cubicBezTo>
                  <a:pt x="1206220" y="3638396"/>
                  <a:pt x="1204161" y="3638396"/>
                  <a:pt x="1202100" y="3638396"/>
                </a:cubicBezTo>
                <a:cubicBezTo>
                  <a:pt x="1200039" y="3645162"/>
                  <a:pt x="1202100" y="3647418"/>
                  <a:pt x="1206220" y="3651932"/>
                </a:cubicBezTo>
                <a:cubicBezTo>
                  <a:pt x="1204161" y="3658698"/>
                  <a:pt x="1197980" y="3660954"/>
                  <a:pt x="1191798" y="3665466"/>
                </a:cubicBezTo>
                <a:cubicBezTo>
                  <a:pt x="1189739" y="3665466"/>
                  <a:pt x="1187680" y="3665466"/>
                  <a:pt x="1185619" y="3663209"/>
                </a:cubicBezTo>
                <a:cubicBezTo>
                  <a:pt x="1187680" y="3658698"/>
                  <a:pt x="1191798" y="3654185"/>
                  <a:pt x="1193860" y="3647418"/>
                </a:cubicBezTo>
                <a:cubicBezTo>
                  <a:pt x="1187680" y="3647418"/>
                  <a:pt x="1181500" y="3649674"/>
                  <a:pt x="1177380" y="3649674"/>
                </a:cubicBezTo>
                <a:cubicBezTo>
                  <a:pt x="1175321" y="3645162"/>
                  <a:pt x="1175321" y="3640652"/>
                  <a:pt x="1171198" y="3642907"/>
                </a:cubicBezTo>
                <a:cubicBezTo>
                  <a:pt x="1169139" y="3642907"/>
                  <a:pt x="1167080" y="3647418"/>
                  <a:pt x="1167080" y="3649674"/>
                </a:cubicBezTo>
                <a:cubicBezTo>
                  <a:pt x="1165019" y="3656443"/>
                  <a:pt x="1165019" y="3660954"/>
                  <a:pt x="1165019" y="3667720"/>
                </a:cubicBezTo>
                <a:cubicBezTo>
                  <a:pt x="1167080" y="3669979"/>
                  <a:pt x="1169139" y="3674490"/>
                  <a:pt x="1171198" y="3676745"/>
                </a:cubicBezTo>
                <a:cubicBezTo>
                  <a:pt x="1169139" y="3685768"/>
                  <a:pt x="1167080" y="3692538"/>
                  <a:pt x="1154720" y="3692538"/>
                </a:cubicBezTo>
                <a:cubicBezTo>
                  <a:pt x="1152659" y="3692538"/>
                  <a:pt x="1148539" y="3697050"/>
                  <a:pt x="1146480" y="3699304"/>
                </a:cubicBezTo>
                <a:cubicBezTo>
                  <a:pt x="1140298" y="3706070"/>
                  <a:pt x="1134120" y="3710585"/>
                  <a:pt x="1125880" y="3717352"/>
                </a:cubicBezTo>
                <a:cubicBezTo>
                  <a:pt x="1119698" y="3721863"/>
                  <a:pt x="1113519" y="3726376"/>
                  <a:pt x="1107338" y="3730887"/>
                </a:cubicBezTo>
                <a:cubicBezTo>
                  <a:pt x="1111461" y="3733142"/>
                  <a:pt x="1115578" y="3733142"/>
                  <a:pt x="1117639" y="3730887"/>
                </a:cubicBezTo>
                <a:cubicBezTo>
                  <a:pt x="1125880" y="3724118"/>
                  <a:pt x="1136181" y="3717352"/>
                  <a:pt x="1144419" y="3710585"/>
                </a:cubicBezTo>
                <a:cubicBezTo>
                  <a:pt x="1150600" y="3706070"/>
                  <a:pt x="1158841" y="3701558"/>
                  <a:pt x="1162960" y="3694792"/>
                </a:cubicBezTo>
                <a:cubicBezTo>
                  <a:pt x="1165019" y="3690281"/>
                  <a:pt x="1169139" y="3685768"/>
                  <a:pt x="1173259" y="3683514"/>
                </a:cubicBezTo>
                <a:cubicBezTo>
                  <a:pt x="1173259" y="3685768"/>
                  <a:pt x="1173259" y="3690281"/>
                  <a:pt x="1173259" y="3692538"/>
                </a:cubicBezTo>
                <a:cubicBezTo>
                  <a:pt x="1175321" y="3692538"/>
                  <a:pt x="1177380" y="3692538"/>
                  <a:pt x="1177380" y="3692538"/>
                </a:cubicBezTo>
                <a:cubicBezTo>
                  <a:pt x="1171198" y="3699304"/>
                  <a:pt x="1162960" y="3706070"/>
                  <a:pt x="1154720" y="3715096"/>
                </a:cubicBezTo>
                <a:cubicBezTo>
                  <a:pt x="1165019" y="3708328"/>
                  <a:pt x="1171198" y="3701558"/>
                  <a:pt x="1179441" y="3697050"/>
                </a:cubicBezTo>
                <a:cubicBezTo>
                  <a:pt x="1181500" y="3694792"/>
                  <a:pt x="1185619" y="3692538"/>
                  <a:pt x="1187680" y="3690281"/>
                </a:cubicBezTo>
                <a:cubicBezTo>
                  <a:pt x="1189739" y="3690281"/>
                  <a:pt x="1191798" y="3692538"/>
                  <a:pt x="1193860" y="3692538"/>
                </a:cubicBezTo>
                <a:cubicBezTo>
                  <a:pt x="1183561" y="3703816"/>
                  <a:pt x="1171198" y="3712840"/>
                  <a:pt x="1160898" y="3724118"/>
                </a:cubicBezTo>
                <a:cubicBezTo>
                  <a:pt x="1165019" y="3724118"/>
                  <a:pt x="1167080" y="3724118"/>
                  <a:pt x="1171198" y="3724118"/>
                </a:cubicBezTo>
                <a:cubicBezTo>
                  <a:pt x="1146480" y="3751189"/>
                  <a:pt x="1146480" y="3751189"/>
                  <a:pt x="1136181" y="3746678"/>
                </a:cubicBezTo>
                <a:cubicBezTo>
                  <a:pt x="1138239" y="3760212"/>
                  <a:pt x="1132059" y="3764728"/>
                  <a:pt x="1123818" y="3769236"/>
                </a:cubicBezTo>
                <a:cubicBezTo>
                  <a:pt x="1119698" y="3771494"/>
                  <a:pt x="1117639" y="3776005"/>
                  <a:pt x="1113519" y="3780518"/>
                </a:cubicBezTo>
                <a:cubicBezTo>
                  <a:pt x="1123818" y="3780518"/>
                  <a:pt x="1132059" y="3778260"/>
                  <a:pt x="1140298" y="3778260"/>
                </a:cubicBezTo>
                <a:cubicBezTo>
                  <a:pt x="1138239" y="3789541"/>
                  <a:pt x="1127939" y="3791796"/>
                  <a:pt x="1121759" y="3796307"/>
                </a:cubicBezTo>
                <a:cubicBezTo>
                  <a:pt x="1117639" y="3800820"/>
                  <a:pt x="1107338" y="3803074"/>
                  <a:pt x="1107338" y="3812100"/>
                </a:cubicBezTo>
                <a:cubicBezTo>
                  <a:pt x="1115578" y="3812100"/>
                  <a:pt x="1123818" y="3809843"/>
                  <a:pt x="1130000" y="3803074"/>
                </a:cubicBezTo>
                <a:cubicBezTo>
                  <a:pt x="1136181" y="3796307"/>
                  <a:pt x="1142360" y="3789541"/>
                  <a:pt x="1152659" y="3791796"/>
                </a:cubicBezTo>
                <a:cubicBezTo>
                  <a:pt x="1154720" y="3791796"/>
                  <a:pt x="1158841" y="3789541"/>
                  <a:pt x="1160898" y="3787284"/>
                </a:cubicBezTo>
                <a:cubicBezTo>
                  <a:pt x="1167080" y="3778260"/>
                  <a:pt x="1173259" y="3776005"/>
                  <a:pt x="1183561" y="3780518"/>
                </a:cubicBezTo>
                <a:cubicBezTo>
                  <a:pt x="1175321" y="3785030"/>
                  <a:pt x="1165019" y="3791796"/>
                  <a:pt x="1156779" y="3796307"/>
                </a:cubicBezTo>
                <a:cubicBezTo>
                  <a:pt x="1156779" y="3796307"/>
                  <a:pt x="1154720" y="3798565"/>
                  <a:pt x="1154720" y="3800820"/>
                </a:cubicBezTo>
                <a:cubicBezTo>
                  <a:pt x="1154720" y="3800820"/>
                  <a:pt x="1154720" y="3803074"/>
                  <a:pt x="1154720" y="3803074"/>
                </a:cubicBezTo>
                <a:cubicBezTo>
                  <a:pt x="1169139" y="3807589"/>
                  <a:pt x="1183561" y="3812100"/>
                  <a:pt x="1197980" y="3814355"/>
                </a:cubicBezTo>
                <a:cubicBezTo>
                  <a:pt x="1204161" y="3814355"/>
                  <a:pt x="1210341" y="3814355"/>
                  <a:pt x="1214460" y="3812100"/>
                </a:cubicBezTo>
                <a:cubicBezTo>
                  <a:pt x="1233000" y="3805332"/>
                  <a:pt x="1253600" y="3803074"/>
                  <a:pt x="1272141" y="3789541"/>
                </a:cubicBezTo>
                <a:cubicBezTo>
                  <a:pt x="1274200" y="3787284"/>
                  <a:pt x="1278321" y="3787284"/>
                  <a:pt x="1280382" y="3787284"/>
                </a:cubicBezTo>
                <a:cubicBezTo>
                  <a:pt x="1292742" y="3782772"/>
                  <a:pt x="1305100" y="3778260"/>
                  <a:pt x="1317460" y="3769236"/>
                </a:cubicBezTo>
                <a:cubicBezTo>
                  <a:pt x="1327762" y="3762470"/>
                  <a:pt x="1338060" y="3753446"/>
                  <a:pt x="1350421" y="3753446"/>
                </a:cubicBezTo>
                <a:cubicBezTo>
                  <a:pt x="1352482" y="3753446"/>
                  <a:pt x="1356600" y="3751189"/>
                  <a:pt x="1358660" y="3748934"/>
                </a:cubicBezTo>
                <a:cubicBezTo>
                  <a:pt x="1368962" y="3739910"/>
                  <a:pt x="1379262" y="3733142"/>
                  <a:pt x="1393683" y="3733142"/>
                </a:cubicBezTo>
                <a:cubicBezTo>
                  <a:pt x="1395742" y="3733142"/>
                  <a:pt x="1399862" y="3730887"/>
                  <a:pt x="1401921" y="3730887"/>
                </a:cubicBezTo>
                <a:cubicBezTo>
                  <a:pt x="1399862" y="3735398"/>
                  <a:pt x="1397801" y="3739910"/>
                  <a:pt x="1395742" y="3744423"/>
                </a:cubicBezTo>
                <a:cubicBezTo>
                  <a:pt x="1399862" y="3742168"/>
                  <a:pt x="1403982" y="3739910"/>
                  <a:pt x="1408102" y="3737656"/>
                </a:cubicBezTo>
                <a:cubicBezTo>
                  <a:pt x="1420462" y="3726376"/>
                  <a:pt x="1432823" y="3717352"/>
                  <a:pt x="1445183" y="3706070"/>
                </a:cubicBezTo>
                <a:cubicBezTo>
                  <a:pt x="1445183" y="3706070"/>
                  <a:pt x="1447242" y="3706070"/>
                  <a:pt x="1447242" y="3703816"/>
                </a:cubicBezTo>
                <a:cubicBezTo>
                  <a:pt x="1449301" y="3701558"/>
                  <a:pt x="1451362" y="3701558"/>
                  <a:pt x="1453423" y="3699304"/>
                </a:cubicBezTo>
                <a:cubicBezTo>
                  <a:pt x="1457543" y="3697050"/>
                  <a:pt x="1459601" y="3694792"/>
                  <a:pt x="1463722" y="3692538"/>
                </a:cubicBezTo>
                <a:cubicBezTo>
                  <a:pt x="1469901" y="3690281"/>
                  <a:pt x="1478144" y="3685768"/>
                  <a:pt x="1484322" y="3683514"/>
                </a:cubicBezTo>
                <a:cubicBezTo>
                  <a:pt x="1476082" y="3688026"/>
                  <a:pt x="1467842" y="3694792"/>
                  <a:pt x="1461663" y="3703816"/>
                </a:cubicBezTo>
                <a:cubicBezTo>
                  <a:pt x="1459601" y="3706070"/>
                  <a:pt x="1457543" y="3706070"/>
                  <a:pt x="1457543" y="3708328"/>
                </a:cubicBezTo>
                <a:cubicBezTo>
                  <a:pt x="1447242" y="3717352"/>
                  <a:pt x="1436942" y="3724118"/>
                  <a:pt x="1426641" y="3733142"/>
                </a:cubicBezTo>
                <a:cubicBezTo>
                  <a:pt x="1430762" y="3737656"/>
                  <a:pt x="1432823" y="3742168"/>
                  <a:pt x="1430762" y="3751189"/>
                </a:cubicBezTo>
                <a:cubicBezTo>
                  <a:pt x="1426641" y="3746678"/>
                  <a:pt x="1424582" y="3742168"/>
                  <a:pt x="1420462" y="3737656"/>
                </a:cubicBezTo>
                <a:cubicBezTo>
                  <a:pt x="1406041" y="3748934"/>
                  <a:pt x="1393683" y="3760212"/>
                  <a:pt x="1379262" y="3773748"/>
                </a:cubicBezTo>
                <a:cubicBezTo>
                  <a:pt x="1389562" y="3773748"/>
                  <a:pt x="1395742" y="3773748"/>
                  <a:pt x="1401921" y="3773748"/>
                </a:cubicBezTo>
                <a:cubicBezTo>
                  <a:pt x="1401921" y="3764728"/>
                  <a:pt x="1401921" y="3757958"/>
                  <a:pt x="1412222" y="3755700"/>
                </a:cubicBezTo>
                <a:cubicBezTo>
                  <a:pt x="1412222" y="3760212"/>
                  <a:pt x="1412222" y="3764728"/>
                  <a:pt x="1412222" y="3771494"/>
                </a:cubicBezTo>
                <a:cubicBezTo>
                  <a:pt x="1426641" y="3760212"/>
                  <a:pt x="1436942" y="3751189"/>
                  <a:pt x="1449301" y="3742168"/>
                </a:cubicBezTo>
                <a:cubicBezTo>
                  <a:pt x="1447242" y="3746678"/>
                  <a:pt x="1447242" y="3751189"/>
                  <a:pt x="1445183" y="3753446"/>
                </a:cubicBezTo>
                <a:cubicBezTo>
                  <a:pt x="1426641" y="3769236"/>
                  <a:pt x="1408102" y="3785030"/>
                  <a:pt x="1389562" y="3800820"/>
                </a:cubicBezTo>
                <a:cubicBezTo>
                  <a:pt x="1383382" y="3805332"/>
                  <a:pt x="1381321" y="3812100"/>
                  <a:pt x="1379262" y="3823379"/>
                </a:cubicBezTo>
                <a:cubicBezTo>
                  <a:pt x="1403982" y="3805332"/>
                  <a:pt x="1426641" y="3787284"/>
                  <a:pt x="1449301" y="3771494"/>
                </a:cubicBezTo>
                <a:cubicBezTo>
                  <a:pt x="1449301" y="3771494"/>
                  <a:pt x="1451362" y="3773748"/>
                  <a:pt x="1451362" y="3773748"/>
                </a:cubicBezTo>
                <a:cubicBezTo>
                  <a:pt x="1430762" y="3791796"/>
                  <a:pt x="1410160" y="3809843"/>
                  <a:pt x="1385443" y="3827891"/>
                </a:cubicBezTo>
                <a:cubicBezTo>
                  <a:pt x="1393683" y="3825634"/>
                  <a:pt x="1397801" y="3823379"/>
                  <a:pt x="1406041" y="3821124"/>
                </a:cubicBezTo>
                <a:cubicBezTo>
                  <a:pt x="1397801" y="3830145"/>
                  <a:pt x="1393683" y="3834657"/>
                  <a:pt x="1387501" y="3839172"/>
                </a:cubicBezTo>
                <a:cubicBezTo>
                  <a:pt x="1385443" y="3841426"/>
                  <a:pt x="1383382" y="3843683"/>
                  <a:pt x="1379262" y="3845938"/>
                </a:cubicBezTo>
                <a:cubicBezTo>
                  <a:pt x="1373082" y="3845938"/>
                  <a:pt x="1366901" y="3850450"/>
                  <a:pt x="1360723" y="3854962"/>
                </a:cubicBezTo>
                <a:cubicBezTo>
                  <a:pt x="1356600" y="3857217"/>
                  <a:pt x="1354541" y="3859474"/>
                  <a:pt x="1352482" y="3861728"/>
                </a:cubicBezTo>
                <a:cubicBezTo>
                  <a:pt x="1340121" y="3866243"/>
                  <a:pt x="1329821" y="3868497"/>
                  <a:pt x="1317460" y="3870752"/>
                </a:cubicBezTo>
                <a:cubicBezTo>
                  <a:pt x="1309219" y="3873010"/>
                  <a:pt x="1303041" y="3875264"/>
                  <a:pt x="1294801" y="3879776"/>
                </a:cubicBezTo>
                <a:cubicBezTo>
                  <a:pt x="1276262" y="3888799"/>
                  <a:pt x="1257720" y="3895569"/>
                  <a:pt x="1239180" y="3900080"/>
                </a:cubicBezTo>
                <a:cubicBezTo>
                  <a:pt x="1228882" y="3902335"/>
                  <a:pt x="1226821" y="3904589"/>
                  <a:pt x="1212398" y="3915871"/>
                </a:cubicBezTo>
                <a:cubicBezTo>
                  <a:pt x="1230941" y="3911359"/>
                  <a:pt x="1245360" y="3906846"/>
                  <a:pt x="1261840" y="3902335"/>
                </a:cubicBezTo>
                <a:cubicBezTo>
                  <a:pt x="1268021" y="3900080"/>
                  <a:pt x="1274200" y="3897823"/>
                  <a:pt x="1282441" y="3895569"/>
                </a:cubicBezTo>
                <a:cubicBezTo>
                  <a:pt x="1298921" y="3891057"/>
                  <a:pt x="1315401" y="3888799"/>
                  <a:pt x="1331882" y="3882033"/>
                </a:cubicBezTo>
                <a:cubicBezTo>
                  <a:pt x="1342180" y="3877521"/>
                  <a:pt x="1352482" y="3875264"/>
                  <a:pt x="1362781" y="3870752"/>
                </a:cubicBezTo>
                <a:cubicBezTo>
                  <a:pt x="1362781" y="3879776"/>
                  <a:pt x="1356600" y="3886545"/>
                  <a:pt x="1348362" y="3891057"/>
                </a:cubicBezTo>
                <a:cubicBezTo>
                  <a:pt x="1344242" y="3893312"/>
                  <a:pt x="1338060" y="3895569"/>
                  <a:pt x="1342180" y="3904589"/>
                </a:cubicBezTo>
                <a:cubicBezTo>
                  <a:pt x="1356600" y="3893312"/>
                  <a:pt x="1368962" y="3882033"/>
                  <a:pt x="1383382" y="3873010"/>
                </a:cubicBezTo>
                <a:cubicBezTo>
                  <a:pt x="1385443" y="3873010"/>
                  <a:pt x="1385443" y="3875264"/>
                  <a:pt x="1387501" y="3875264"/>
                </a:cubicBezTo>
                <a:cubicBezTo>
                  <a:pt x="1379262" y="3882033"/>
                  <a:pt x="1377200" y="3888799"/>
                  <a:pt x="1377200" y="3897823"/>
                </a:cubicBezTo>
                <a:cubicBezTo>
                  <a:pt x="1373082" y="3897823"/>
                  <a:pt x="1366901" y="3895569"/>
                  <a:pt x="1364842" y="3897823"/>
                </a:cubicBezTo>
                <a:cubicBezTo>
                  <a:pt x="1360723" y="3902335"/>
                  <a:pt x="1356600" y="3904589"/>
                  <a:pt x="1352482" y="3906846"/>
                </a:cubicBezTo>
                <a:cubicBezTo>
                  <a:pt x="1352482" y="3906846"/>
                  <a:pt x="1350421" y="3906846"/>
                  <a:pt x="1350421" y="3906846"/>
                </a:cubicBezTo>
                <a:cubicBezTo>
                  <a:pt x="1350421" y="3906846"/>
                  <a:pt x="1350421" y="3906846"/>
                  <a:pt x="1350421" y="3909104"/>
                </a:cubicBezTo>
                <a:cubicBezTo>
                  <a:pt x="1346301" y="3911359"/>
                  <a:pt x="1340121" y="3913616"/>
                  <a:pt x="1336001" y="3918128"/>
                </a:cubicBezTo>
                <a:cubicBezTo>
                  <a:pt x="1340121" y="3924894"/>
                  <a:pt x="1346301" y="3922640"/>
                  <a:pt x="1350421" y="3922640"/>
                </a:cubicBezTo>
                <a:cubicBezTo>
                  <a:pt x="1352482" y="3924894"/>
                  <a:pt x="1352482" y="3924894"/>
                  <a:pt x="1354541" y="3927148"/>
                </a:cubicBezTo>
                <a:cubicBezTo>
                  <a:pt x="1356600" y="3924894"/>
                  <a:pt x="1358660" y="3922640"/>
                  <a:pt x="1360723" y="3920382"/>
                </a:cubicBezTo>
                <a:cubicBezTo>
                  <a:pt x="1366901" y="3918128"/>
                  <a:pt x="1373082" y="3915871"/>
                  <a:pt x="1379262" y="3913616"/>
                </a:cubicBezTo>
                <a:cubicBezTo>
                  <a:pt x="1379262" y="3920382"/>
                  <a:pt x="1377200" y="3922640"/>
                  <a:pt x="1368962" y="3924894"/>
                </a:cubicBezTo>
                <a:cubicBezTo>
                  <a:pt x="1366901" y="3924894"/>
                  <a:pt x="1364842" y="3927148"/>
                  <a:pt x="1362781" y="3927148"/>
                </a:cubicBezTo>
                <a:cubicBezTo>
                  <a:pt x="1354541" y="3933918"/>
                  <a:pt x="1348362" y="3942942"/>
                  <a:pt x="1340121" y="3949708"/>
                </a:cubicBezTo>
                <a:cubicBezTo>
                  <a:pt x="1342180" y="3951965"/>
                  <a:pt x="1344242" y="3954220"/>
                  <a:pt x="1346301" y="3958732"/>
                </a:cubicBezTo>
                <a:cubicBezTo>
                  <a:pt x="1348362" y="3956477"/>
                  <a:pt x="1352482" y="3956477"/>
                  <a:pt x="1352482" y="3956477"/>
                </a:cubicBezTo>
                <a:cubicBezTo>
                  <a:pt x="1354541" y="3951965"/>
                  <a:pt x="1354541" y="3945199"/>
                  <a:pt x="1356600" y="3942942"/>
                </a:cubicBezTo>
                <a:cubicBezTo>
                  <a:pt x="1366901" y="3933918"/>
                  <a:pt x="1379262" y="3924894"/>
                  <a:pt x="1389562" y="3915871"/>
                </a:cubicBezTo>
                <a:cubicBezTo>
                  <a:pt x="1391621" y="3913616"/>
                  <a:pt x="1393683" y="3911359"/>
                  <a:pt x="1397801" y="3909104"/>
                </a:cubicBezTo>
                <a:cubicBezTo>
                  <a:pt x="1412222" y="3904589"/>
                  <a:pt x="1424582" y="3900080"/>
                  <a:pt x="1439001" y="3895569"/>
                </a:cubicBezTo>
                <a:cubicBezTo>
                  <a:pt x="1432823" y="3902335"/>
                  <a:pt x="1426641" y="3909104"/>
                  <a:pt x="1418401" y="3915871"/>
                </a:cubicBezTo>
                <a:cubicBezTo>
                  <a:pt x="1412222" y="3920382"/>
                  <a:pt x="1403982" y="3924894"/>
                  <a:pt x="1397801" y="3929406"/>
                </a:cubicBezTo>
                <a:cubicBezTo>
                  <a:pt x="1391621" y="3933918"/>
                  <a:pt x="1385443" y="3938430"/>
                  <a:pt x="1385443" y="3949708"/>
                </a:cubicBezTo>
                <a:cubicBezTo>
                  <a:pt x="1385443" y="3951965"/>
                  <a:pt x="1383382" y="3954220"/>
                  <a:pt x="1383382" y="3954220"/>
                </a:cubicBezTo>
                <a:cubicBezTo>
                  <a:pt x="1375141" y="3951965"/>
                  <a:pt x="1375141" y="3960990"/>
                  <a:pt x="1371021" y="3967758"/>
                </a:cubicBezTo>
                <a:cubicBezTo>
                  <a:pt x="1373082" y="3967758"/>
                  <a:pt x="1375141" y="3967758"/>
                  <a:pt x="1375141" y="3967758"/>
                </a:cubicBezTo>
                <a:cubicBezTo>
                  <a:pt x="1389562" y="3956477"/>
                  <a:pt x="1397801" y="3954220"/>
                  <a:pt x="1414283" y="3956477"/>
                </a:cubicBezTo>
                <a:cubicBezTo>
                  <a:pt x="1420462" y="3956477"/>
                  <a:pt x="1426641" y="3954220"/>
                  <a:pt x="1430762" y="3949708"/>
                </a:cubicBezTo>
                <a:cubicBezTo>
                  <a:pt x="1439001" y="3938430"/>
                  <a:pt x="1449301" y="3933918"/>
                  <a:pt x="1461663" y="3929406"/>
                </a:cubicBezTo>
                <a:cubicBezTo>
                  <a:pt x="1465783" y="3929406"/>
                  <a:pt x="1469901" y="3927148"/>
                  <a:pt x="1471962" y="3924894"/>
                </a:cubicBezTo>
                <a:cubicBezTo>
                  <a:pt x="1476082" y="3922640"/>
                  <a:pt x="1480203" y="3920382"/>
                  <a:pt x="1484322" y="3915871"/>
                </a:cubicBezTo>
                <a:cubicBezTo>
                  <a:pt x="1484322" y="3920382"/>
                  <a:pt x="1486383" y="3922640"/>
                  <a:pt x="1486383" y="3927148"/>
                </a:cubicBezTo>
                <a:cubicBezTo>
                  <a:pt x="1498742" y="3927148"/>
                  <a:pt x="1488442" y="3911359"/>
                  <a:pt x="1494621" y="3911359"/>
                </a:cubicBezTo>
                <a:cubicBezTo>
                  <a:pt x="1498742" y="3913616"/>
                  <a:pt x="1500803" y="3918128"/>
                  <a:pt x="1504923" y="3920382"/>
                </a:cubicBezTo>
                <a:cubicBezTo>
                  <a:pt x="1500803" y="3936173"/>
                  <a:pt x="1484322" y="3936173"/>
                  <a:pt x="1471962" y="3945199"/>
                </a:cubicBezTo>
                <a:cubicBezTo>
                  <a:pt x="1474021" y="3947454"/>
                  <a:pt x="1476082" y="3949708"/>
                  <a:pt x="1478144" y="3951965"/>
                </a:cubicBezTo>
                <a:cubicBezTo>
                  <a:pt x="1474021" y="3960990"/>
                  <a:pt x="1467842" y="3965501"/>
                  <a:pt x="1459601" y="3965501"/>
                </a:cubicBezTo>
                <a:cubicBezTo>
                  <a:pt x="1453423" y="3965501"/>
                  <a:pt x="1451362" y="3970013"/>
                  <a:pt x="1447242" y="3974524"/>
                </a:cubicBezTo>
                <a:cubicBezTo>
                  <a:pt x="1441062" y="3983549"/>
                  <a:pt x="1436942" y="3992572"/>
                  <a:pt x="1432823" y="4003851"/>
                </a:cubicBezTo>
                <a:cubicBezTo>
                  <a:pt x="1428703" y="4003851"/>
                  <a:pt x="1424582" y="4001596"/>
                  <a:pt x="1418401" y="4006108"/>
                </a:cubicBezTo>
                <a:cubicBezTo>
                  <a:pt x="1412222" y="4012874"/>
                  <a:pt x="1412222" y="4026410"/>
                  <a:pt x="1401921" y="4030921"/>
                </a:cubicBezTo>
                <a:cubicBezTo>
                  <a:pt x="1399862" y="4033179"/>
                  <a:pt x="1397801" y="4037691"/>
                  <a:pt x="1395742" y="4042202"/>
                </a:cubicBezTo>
                <a:cubicBezTo>
                  <a:pt x="1391621" y="4048968"/>
                  <a:pt x="1389562" y="4037691"/>
                  <a:pt x="1387501" y="4039945"/>
                </a:cubicBezTo>
                <a:cubicBezTo>
                  <a:pt x="1381321" y="4044457"/>
                  <a:pt x="1366901" y="4039945"/>
                  <a:pt x="1366901" y="4055736"/>
                </a:cubicBezTo>
                <a:cubicBezTo>
                  <a:pt x="1366901" y="4057993"/>
                  <a:pt x="1362781" y="4057993"/>
                  <a:pt x="1360723" y="4060247"/>
                </a:cubicBezTo>
                <a:cubicBezTo>
                  <a:pt x="1350421" y="4069274"/>
                  <a:pt x="1338060" y="4078295"/>
                  <a:pt x="1327762" y="4087318"/>
                </a:cubicBezTo>
                <a:cubicBezTo>
                  <a:pt x="1325700" y="4089576"/>
                  <a:pt x="1323641" y="4091833"/>
                  <a:pt x="1321582" y="4094088"/>
                </a:cubicBezTo>
                <a:cubicBezTo>
                  <a:pt x="1323641" y="4096342"/>
                  <a:pt x="1323641" y="4096342"/>
                  <a:pt x="1325700" y="4096342"/>
                </a:cubicBezTo>
                <a:cubicBezTo>
                  <a:pt x="1346301" y="4082806"/>
                  <a:pt x="1366901" y="4071529"/>
                  <a:pt x="1387501" y="4057993"/>
                </a:cubicBezTo>
                <a:cubicBezTo>
                  <a:pt x="1383382" y="4064761"/>
                  <a:pt x="1377200" y="4067016"/>
                  <a:pt x="1373082" y="4071529"/>
                </a:cubicBezTo>
                <a:cubicBezTo>
                  <a:pt x="1368962" y="4076040"/>
                  <a:pt x="1362781" y="4080552"/>
                  <a:pt x="1358660" y="4085063"/>
                </a:cubicBezTo>
                <a:cubicBezTo>
                  <a:pt x="1358660" y="4085063"/>
                  <a:pt x="1358660" y="4085063"/>
                  <a:pt x="1358660" y="4087318"/>
                </a:cubicBezTo>
                <a:cubicBezTo>
                  <a:pt x="1368962" y="4080552"/>
                  <a:pt x="1381321" y="4071529"/>
                  <a:pt x="1391621" y="4064761"/>
                </a:cubicBezTo>
                <a:cubicBezTo>
                  <a:pt x="1383382" y="4076040"/>
                  <a:pt x="1371021" y="4082806"/>
                  <a:pt x="1362781" y="4091833"/>
                </a:cubicBezTo>
                <a:cubicBezTo>
                  <a:pt x="1352482" y="4100854"/>
                  <a:pt x="1340121" y="4105365"/>
                  <a:pt x="1331882" y="4116647"/>
                </a:cubicBezTo>
                <a:cubicBezTo>
                  <a:pt x="1331882" y="4116647"/>
                  <a:pt x="1333940" y="4118901"/>
                  <a:pt x="1333940" y="4118901"/>
                </a:cubicBezTo>
                <a:cubicBezTo>
                  <a:pt x="1348362" y="4109878"/>
                  <a:pt x="1364842" y="4100854"/>
                  <a:pt x="1383382" y="4091833"/>
                </a:cubicBezTo>
                <a:cubicBezTo>
                  <a:pt x="1381321" y="4098599"/>
                  <a:pt x="1379262" y="4103111"/>
                  <a:pt x="1377200" y="4109878"/>
                </a:cubicBezTo>
                <a:cubicBezTo>
                  <a:pt x="1383382" y="4107623"/>
                  <a:pt x="1389562" y="4107623"/>
                  <a:pt x="1395742" y="4105365"/>
                </a:cubicBezTo>
                <a:cubicBezTo>
                  <a:pt x="1403982" y="4100854"/>
                  <a:pt x="1393683" y="4094088"/>
                  <a:pt x="1401921" y="4087318"/>
                </a:cubicBezTo>
                <a:cubicBezTo>
                  <a:pt x="1414283" y="4094088"/>
                  <a:pt x="1426641" y="4087318"/>
                  <a:pt x="1436942" y="4078295"/>
                </a:cubicBezTo>
                <a:cubicBezTo>
                  <a:pt x="1439001" y="4076040"/>
                  <a:pt x="1441062" y="4073783"/>
                  <a:pt x="1443121" y="4073783"/>
                </a:cubicBezTo>
                <a:cubicBezTo>
                  <a:pt x="1449301" y="4069274"/>
                  <a:pt x="1457543" y="4064761"/>
                  <a:pt x="1463722" y="4060247"/>
                </a:cubicBezTo>
                <a:cubicBezTo>
                  <a:pt x="1463722" y="4060247"/>
                  <a:pt x="1465783" y="4062504"/>
                  <a:pt x="1465783" y="4062504"/>
                </a:cubicBezTo>
                <a:lnTo>
                  <a:pt x="1465053" y="4063572"/>
                </a:lnTo>
                <a:lnTo>
                  <a:pt x="1474021" y="4062504"/>
                </a:lnTo>
                <a:cubicBezTo>
                  <a:pt x="1470932" y="4064760"/>
                  <a:pt x="1468872" y="4068708"/>
                  <a:pt x="1466040" y="4071527"/>
                </a:cubicBezTo>
                <a:lnTo>
                  <a:pt x="1458706" y="4072838"/>
                </a:lnTo>
                <a:lnTo>
                  <a:pt x="1453423" y="4080552"/>
                </a:lnTo>
                <a:cubicBezTo>
                  <a:pt x="1447242" y="4087318"/>
                  <a:pt x="1441062" y="4091833"/>
                  <a:pt x="1432823" y="4091833"/>
                </a:cubicBezTo>
                <a:cubicBezTo>
                  <a:pt x="1430762" y="4091833"/>
                  <a:pt x="1426641" y="4096342"/>
                  <a:pt x="1424582" y="4098599"/>
                </a:cubicBezTo>
                <a:cubicBezTo>
                  <a:pt x="1418401" y="4107623"/>
                  <a:pt x="1412222" y="4114390"/>
                  <a:pt x="1403982" y="4123413"/>
                </a:cubicBezTo>
                <a:cubicBezTo>
                  <a:pt x="1406041" y="4127925"/>
                  <a:pt x="1406041" y="4134694"/>
                  <a:pt x="1397801" y="4136949"/>
                </a:cubicBezTo>
                <a:cubicBezTo>
                  <a:pt x="1395742" y="4134694"/>
                  <a:pt x="1395742" y="4132437"/>
                  <a:pt x="1391621" y="4127925"/>
                </a:cubicBezTo>
                <a:cubicBezTo>
                  <a:pt x="1385443" y="4134694"/>
                  <a:pt x="1381321" y="4136949"/>
                  <a:pt x="1377200" y="4143718"/>
                </a:cubicBezTo>
                <a:cubicBezTo>
                  <a:pt x="1373082" y="4154996"/>
                  <a:pt x="1366901" y="4164020"/>
                  <a:pt x="1358660" y="4168532"/>
                </a:cubicBezTo>
                <a:cubicBezTo>
                  <a:pt x="1352482" y="4173043"/>
                  <a:pt x="1346301" y="4175298"/>
                  <a:pt x="1340121" y="4179809"/>
                </a:cubicBezTo>
                <a:cubicBezTo>
                  <a:pt x="1338060" y="4182068"/>
                  <a:pt x="1336001" y="4184322"/>
                  <a:pt x="1333940" y="4184322"/>
                </a:cubicBezTo>
                <a:cubicBezTo>
                  <a:pt x="1350421" y="4184322"/>
                  <a:pt x="1362781" y="4175298"/>
                  <a:pt x="1375141" y="4166277"/>
                </a:cubicBezTo>
                <a:cubicBezTo>
                  <a:pt x="1375141" y="4170789"/>
                  <a:pt x="1375141" y="4175298"/>
                  <a:pt x="1377200" y="4177555"/>
                </a:cubicBezTo>
                <a:cubicBezTo>
                  <a:pt x="1379262" y="4182068"/>
                  <a:pt x="1383382" y="4186579"/>
                  <a:pt x="1387501" y="4179809"/>
                </a:cubicBezTo>
                <a:cubicBezTo>
                  <a:pt x="1385443" y="4177555"/>
                  <a:pt x="1383382" y="4175298"/>
                  <a:pt x="1379262" y="4173043"/>
                </a:cubicBezTo>
                <a:cubicBezTo>
                  <a:pt x="1391621" y="4161762"/>
                  <a:pt x="1401921" y="4152739"/>
                  <a:pt x="1412222" y="4143718"/>
                </a:cubicBezTo>
                <a:cubicBezTo>
                  <a:pt x="1418401" y="4139205"/>
                  <a:pt x="1424582" y="4134694"/>
                  <a:pt x="1430762" y="4139205"/>
                </a:cubicBezTo>
                <a:cubicBezTo>
                  <a:pt x="1428703" y="4125671"/>
                  <a:pt x="1436942" y="4123413"/>
                  <a:pt x="1445183" y="4121158"/>
                </a:cubicBezTo>
                <a:cubicBezTo>
                  <a:pt x="1451362" y="4118901"/>
                  <a:pt x="1457543" y="4114390"/>
                  <a:pt x="1463722" y="4109878"/>
                </a:cubicBezTo>
                <a:cubicBezTo>
                  <a:pt x="1455482" y="4130180"/>
                  <a:pt x="1445183" y="4143718"/>
                  <a:pt x="1430762" y="4154996"/>
                </a:cubicBezTo>
                <a:cubicBezTo>
                  <a:pt x="1426641" y="4159507"/>
                  <a:pt x="1420462" y="4161762"/>
                  <a:pt x="1418401" y="4166277"/>
                </a:cubicBezTo>
                <a:cubicBezTo>
                  <a:pt x="1414283" y="4177555"/>
                  <a:pt x="1408102" y="4184322"/>
                  <a:pt x="1397801" y="4191091"/>
                </a:cubicBezTo>
                <a:cubicBezTo>
                  <a:pt x="1395742" y="4193349"/>
                  <a:pt x="1395742" y="4195603"/>
                  <a:pt x="1391621" y="4200115"/>
                </a:cubicBezTo>
                <a:cubicBezTo>
                  <a:pt x="1401921" y="4200115"/>
                  <a:pt x="1410160" y="4206881"/>
                  <a:pt x="1418401" y="4193349"/>
                </a:cubicBezTo>
                <a:cubicBezTo>
                  <a:pt x="1420462" y="4200115"/>
                  <a:pt x="1422521" y="4204627"/>
                  <a:pt x="1422521" y="4209138"/>
                </a:cubicBezTo>
                <a:cubicBezTo>
                  <a:pt x="1418401" y="4209138"/>
                  <a:pt x="1414283" y="4209138"/>
                  <a:pt x="1412222" y="4209138"/>
                </a:cubicBezTo>
                <a:cubicBezTo>
                  <a:pt x="1410160" y="4213651"/>
                  <a:pt x="1408102" y="4222674"/>
                  <a:pt x="1406041" y="4222674"/>
                </a:cubicBezTo>
                <a:cubicBezTo>
                  <a:pt x="1397801" y="4224929"/>
                  <a:pt x="1395742" y="4233953"/>
                  <a:pt x="1389562" y="4238464"/>
                </a:cubicBezTo>
                <a:cubicBezTo>
                  <a:pt x="1385443" y="4236210"/>
                  <a:pt x="1381321" y="4231695"/>
                  <a:pt x="1375141" y="4227185"/>
                </a:cubicBezTo>
                <a:cubicBezTo>
                  <a:pt x="1379262" y="4245233"/>
                  <a:pt x="1366901" y="4245233"/>
                  <a:pt x="1358660" y="4249746"/>
                </a:cubicBezTo>
                <a:cubicBezTo>
                  <a:pt x="1362781" y="4254254"/>
                  <a:pt x="1364842" y="4256512"/>
                  <a:pt x="1368962" y="4258766"/>
                </a:cubicBezTo>
                <a:cubicBezTo>
                  <a:pt x="1371021" y="4261023"/>
                  <a:pt x="1375141" y="4261023"/>
                  <a:pt x="1379262" y="4261023"/>
                </a:cubicBezTo>
                <a:cubicBezTo>
                  <a:pt x="1387501" y="4256512"/>
                  <a:pt x="1397801" y="4252000"/>
                  <a:pt x="1406041" y="4249746"/>
                </a:cubicBezTo>
                <a:cubicBezTo>
                  <a:pt x="1408102" y="4249746"/>
                  <a:pt x="1410160" y="4249746"/>
                  <a:pt x="1416342" y="4249746"/>
                </a:cubicBezTo>
                <a:cubicBezTo>
                  <a:pt x="1406041" y="4261023"/>
                  <a:pt x="1397801" y="4270048"/>
                  <a:pt x="1385443" y="4272305"/>
                </a:cubicBezTo>
                <a:cubicBezTo>
                  <a:pt x="1383382" y="4272305"/>
                  <a:pt x="1379262" y="4274559"/>
                  <a:pt x="1377200" y="4276814"/>
                </a:cubicBezTo>
                <a:cubicBezTo>
                  <a:pt x="1362781" y="4283582"/>
                  <a:pt x="1350421" y="4292607"/>
                  <a:pt x="1336001" y="4299373"/>
                </a:cubicBezTo>
                <a:cubicBezTo>
                  <a:pt x="1331882" y="4301630"/>
                  <a:pt x="1327762" y="4303884"/>
                  <a:pt x="1323641" y="4299373"/>
                </a:cubicBezTo>
                <a:cubicBezTo>
                  <a:pt x="1323641" y="4299373"/>
                  <a:pt x="1321582" y="4299373"/>
                  <a:pt x="1321582" y="4301630"/>
                </a:cubicBezTo>
                <a:cubicBezTo>
                  <a:pt x="1321582" y="4306142"/>
                  <a:pt x="1323641" y="4310654"/>
                  <a:pt x="1323641" y="4315166"/>
                </a:cubicBezTo>
                <a:cubicBezTo>
                  <a:pt x="1352482" y="4303884"/>
                  <a:pt x="1373082" y="4279071"/>
                  <a:pt x="1403982" y="4272305"/>
                </a:cubicBezTo>
                <a:cubicBezTo>
                  <a:pt x="1401921" y="4276814"/>
                  <a:pt x="1399862" y="4281325"/>
                  <a:pt x="1397801" y="4283582"/>
                </a:cubicBezTo>
                <a:cubicBezTo>
                  <a:pt x="1406041" y="4281325"/>
                  <a:pt x="1412222" y="4279071"/>
                  <a:pt x="1418401" y="4274559"/>
                </a:cubicBezTo>
                <a:cubicBezTo>
                  <a:pt x="1424582" y="4270048"/>
                  <a:pt x="1432823" y="4265535"/>
                  <a:pt x="1441062" y="4263280"/>
                </a:cubicBezTo>
                <a:cubicBezTo>
                  <a:pt x="1449301" y="4261023"/>
                  <a:pt x="1453423" y="4254254"/>
                  <a:pt x="1463722" y="4256512"/>
                </a:cubicBezTo>
                <a:cubicBezTo>
                  <a:pt x="1465783" y="4256512"/>
                  <a:pt x="1469901" y="4254254"/>
                  <a:pt x="1471962" y="4249746"/>
                </a:cubicBezTo>
                <a:cubicBezTo>
                  <a:pt x="1471962" y="4247487"/>
                  <a:pt x="1469901" y="4242976"/>
                  <a:pt x="1467842" y="4240721"/>
                </a:cubicBezTo>
                <a:cubicBezTo>
                  <a:pt x="1467842" y="4238464"/>
                  <a:pt x="1465783" y="4238464"/>
                  <a:pt x="1463722" y="4233953"/>
                </a:cubicBezTo>
                <a:cubicBezTo>
                  <a:pt x="1474021" y="4231695"/>
                  <a:pt x="1478144" y="4240721"/>
                  <a:pt x="1482264" y="4245233"/>
                </a:cubicBezTo>
                <a:cubicBezTo>
                  <a:pt x="1500803" y="4236210"/>
                  <a:pt x="1517283" y="4227185"/>
                  <a:pt x="1535822" y="4218162"/>
                </a:cubicBezTo>
                <a:cubicBezTo>
                  <a:pt x="1535822" y="4218162"/>
                  <a:pt x="1535822" y="4220417"/>
                  <a:pt x="1537883" y="4220417"/>
                </a:cubicBezTo>
                <a:cubicBezTo>
                  <a:pt x="1535822" y="4222674"/>
                  <a:pt x="1533764" y="4222674"/>
                  <a:pt x="1531703" y="4224929"/>
                </a:cubicBezTo>
                <a:cubicBezTo>
                  <a:pt x="1521403" y="4231695"/>
                  <a:pt x="1509042" y="4236210"/>
                  <a:pt x="1502864" y="4252000"/>
                </a:cubicBezTo>
                <a:cubicBezTo>
                  <a:pt x="1506984" y="4252000"/>
                  <a:pt x="1511101" y="4252000"/>
                  <a:pt x="1515222" y="4249746"/>
                </a:cubicBezTo>
                <a:cubicBezTo>
                  <a:pt x="1529644" y="4242976"/>
                  <a:pt x="1542003" y="4238464"/>
                  <a:pt x="1556423" y="4231695"/>
                </a:cubicBezTo>
                <a:cubicBezTo>
                  <a:pt x="1562601" y="4229440"/>
                  <a:pt x="1566722" y="4231695"/>
                  <a:pt x="1570844" y="4236210"/>
                </a:cubicBezTo>
                <a:lnTo>
                  <a:pt x="1563267" y="4241450"/>
                </a:lnTo>
                <a:lnTo>
                  <a:pt x="1564663" y="4242976"/>
                </a:lnTo>
                <a:cubicBezTo>
                  <a:pt x="1562601" y="4245233"/>
                  <a:pt x="1560542" y="4245233"/>
                  <a:pt x="1558484" y="4247487"/>
                </a:cubicBezTo>
                <a:lnTo>
                  <a:pt x="1556955" y="4245815"/>
                </a:lnTo>
                <a:lnTo>
                  <a:pt x="1531703" y="4263280"/>
                </a:lnTo>
                <a:cubicBezTo>
                  <a:pt x="1531703" y="4263280"/>
                  <a:pt x="1533764" y="4263280"/>
                  <a:pt x="1533764" y="4263280"/>
                </a:cubicBezTo>
                <a:cubicBezTo>
                  <a:pt x="1554364" y="4252000"/>
                  <a:pt x="1574965" y="4242976"/>
                  <a:pt x="1595565" y="4231695"/>
                </a:cubicBezTo>
                <a:cubicBezTo>
                  <a:pt x="1612042" y="4222674"/>
                  <a:pt x="1626465" y="4215904"/>
                  <a:pt x="1642945" y="4206881"/>
                </a:cubicBezTo>
                <a:cubicBezTo>
                  <a:pt x="1642945" y="4206881"/>
                  <a:pt x="1645003" y="4206881"/>
                  <a:pt x="1647065" y="4209138"/>
                </a:cubicBezTo>
                <a:cubicBezTo>
                  <a:pt x="1642945" y="4211393"/>
                  <a:pt x="1640883" y="4215904"/>
                  <a:pt x="1636763" y="4220417"/>
                </a:cubicBezTo>
                <a:cubicBezTo>
                  <a:pt x="1653244" y="4213651"/>
                  <a:pt x="1665604" y="4209138"/>
                  <a:pt x="1682085" y="4204627"/>
                </a:cubicBezTo>
                <a:cubicBezTo>
                  <a:pt x="1677965" y="4211393"/>
                  <a:pt x="1673844" y="4213651"/>
                  <a:pt x="1671785" y="4218162"/>
                </a:cubicBezTo>
                <a:cubicBezTo>
                  <a:pt x="1682085" y="4218162"/>
                  <a:pt x="1690324" y="4213651"/>
                  <a:pt x="1692386" y="4206881"/>
                </a:cubicBezTo>
                <a:cubicBezTo>
                  <a:pt x="1696503" y="4197857"/>
                  <a:pt x="1700624" y="4193349"/>
                  <a:pt x="1708863" y="4191091"/>
                </a:cubicBezTo>
                <a:cubicBezTo>
                  <a:pt x="1708863" y="4193349"/>
                  <a:pt x="1710925" y="4195603"/>
                  <a:pt x="1710925" y="4200115"/>
                </a:cubicBezTo>
                <a:cubicBezTo>
                  <a:pt x="1719165" y="4200115"/>
                  <a:pt x="1725344" y="4195603"/>
                  <a:pt x="1729465" y="4188834"/>
                </a:cubicBezTo>
                <a:cubicBezTo>
                  <a:pt x="1735645" y="4182068"/>
                  <a:pt x="1737704" y="4170789"/>
                  <a:pt x="1750065" y="4173043"/>
                </a:cubicBezTo>
                <a:cubicBezTo>
                  <a:pt x="1750065" y="4173043"/>
                  <a:pt x="1752126" y="4170789"/>
                  <a:pt x="1752126" y="4170789"/>
                </a:cubicBezTo>
                <a:cubicBezTo>
                  <a:pt x="1760367" y="4157251"/>
                  <a:pt x="1772724" y="4157251"/>
                  <a:pt x="1785087" y="4152739"/>
                </a:cubicBezTo>
                <a:cubicBezTo>
                  <a:pt x="1780967" y="4157251"/>
                  <a:pt x="1778906" y="4159507"/>
                  <a:pt x="1776847" y="4161762"/>
                </a:cubicBezTo>
                <a:cubicBezTo>
                  <a:pt x="1795386" y="4150484"/>
                  <a:pt x="1811866" y="4139205"/>
                  <a:pt x="1830406" y="4127925"/>
                </a:cubicBezTo>
                <a:cubicBezTo>
                  <a:pt x="1828347" y="4125671"/>
                  <a:pt x="1826285" y="4123413"/>
                  <a:pt x="1824226" y="4118901"/>
                </a:cubicBezTo>
                <a:cubicBezTo>
                  <a:pt x="1832467" y="4118901"/>
                  <a:pt x="1838645" y="4118901"/>
                  <a:pt x="1846886" y="4116647"/>
                </a:cubicBezTo>
                <a:cubicBezTo>
                  <a:pt x="1851006" y="4107623"/>
                  <a:pt x="1857187" y="4100854"/>
                  <a:pt x="1869547" y="4105365"/>
                </a:cubicBezTo>
                <a:cubicBezTo>
                  <a:pt x="1873667" y="4107623"/>
                  <a:pt x="1883966" y="4100854"/>
                  <a:pt x="1883966" y="4096342"/>
                </a:cubicBezTo>
                <a:cubicBezTo>
                  <a:pt x="1886025" y="4085063"/>
                  <a:pt x="1896327" y="4082806"/>
                  <a:pt x="1898388" y="4073783"/>
                </a:cubicBezTo>
                <a:cubicBezTo>
                  <a:pt x="1900447" y="4076040"/>
                  <a:pt x="1902506" y="4078295"/>
                  <a:pt x="1904567" y="4082806"/>
                </a:cubicBezTo>
                <a:lnTo>
                  <a:pt x="1913886" y="4076685"/>
                </a:lnTo>
                <a:lnTo>
                  <a:pt x="1910232" y="4070683"/>
                </a:lnTo>
                <a:cubicBezTo>
                  <a:pt x="1910232" y="4068709"/>
                  <a:pt x="1911776" y="4067017"/>
                  <a:pt x="1914866" y="4064761"/>
                </a:cubicBezTo>
                <a:lnTo>
                  <a:pt x="1932866" y="4054147"/>
                </a:lnTo>
                <a:lnTo>
                  <a:pt x="1934437" y="4047842"/>
                </a:lnTo>
                <a:cubicBezTo>
                  <a:pt x="1937012" y="4045586"/>
                  <a:pt x="1940617" y="4044458"/>
                  <a:pt x="1943706" y="4042202"/>
                </a:cubicBezTo>
                <a:cubicBezTo>
                  <a:pt x="1949888" y="4039945"/>
                  <a:pt x="1954006" y="4035434"/>
                  <a:pt x="1960186" y="4030921"/>
                </a:cubicBezTo>
                <a:lnTo>
                  <a:pt x="1966927" y="4032357"/>
                </a:lnTo>
                <a:lnTo>
                  <a:pt x="1972547" y="4028664"/>
                </a:lnTo>
                <a:cubicBezTo>
                  <a:pt x="1974606" y="4028664"/>
                  <a:pt x="1976667" y="4024155"/>
                  <a:pt x="1974606" y="4021898"/>
                </a:cubicBezTo>
                <a:cubicBezTo>
                  <a:pt x="1972547" y="4015132"/>
                  <a:pt x="1978726" y="4012874"/>
                  <a:pt x="1982846" y="4010619"/>
                </a:cubicBezTo>
                <a:cubicBezTo>
                  <a:pt x="1984907" y="4012874"/>
                  <a:pt x="1984907" y="4015132"/>
                  <a:pt x="1986968" y="4017386"/>
                </a:cubicBezTo>
                <a:cubicBezTo>
                  <a:pt x="1993147" y="4015132"/>
                  <a:pt x="1997268" y="4010619"/>
                  <a:pt x="2003447" y="4008362"/>
                </a:cubicBezTo>
                <a:cubicBezTo>
                  <a:pt x="2003447" y="4008362"/>
                  <a:pt x="2005508" y="4010619"/>
                  <a:pt x="2005508" y="4010619"/>
                </a:cubicBezTo>
                <a:cubicBezTo>
                  <a:pt x="2003447" y="4010619"/>
                  <a:pt x="2001388" y="4015132"/>
                  <a:pt x="1997268" y="4017386"/>
                </a:cubicBezTo>
                <a:lnTo>
                  <a:pt x="1991953" y="4021688"/>
                </a:lnTo>
                <a:lnTo>
                  <a:pt x="2004735" y="4020770"/>
                </a:lnTo>
                <a:cubicBezTo>
                  <a:pt x="2009113" y="4018514"/>
                  <a:pt x="2012717" y="4015129"/>
                  <a:pt x="2015807" y="4012874"/>
                </a:cubicBezTo>
                <a:cubicBezTo>
                  <a:pt x="2036407" y="3997084"/>
                  <a:pt x="2151770" y="4028664"/>
                  <a:pt x="2174429" y="4017386"/>
                </a:cubicBezTo>
                <a:cubicBezTo>
                  <a:pt x="2186789" y="4010619"/>
                  <a:pt x="2201209" y="4010619"/>
                  <a:pt x="2209448" y="3997084"/>
                </a:cubicBezTo>
                <a:cubicBezTo>
                  <a:pt x="2209448" y="3994826"/>
                  <a:pt x="2213568" y="3997084"/>
                  <a:pt x="2215630" y="3994826"/>
                </a:cubicBezTo>
                <a:cubicBezTo>
                  <a:pt x="2219750" y="3994826"/>
                  <a:pt x="2221809" y="3992572"/>
                  <a:pt x="2225929" y="3990317"/>
                </a:cubicBezTo>
                <a:cubicBezTo>
                  <a:pt x="2242409" y="3979037"/>
                  <a:pt x="2256828" y="3965501"/>
                  <a:pt x="2273309" y="3954220"/>
                </a:cubicBezTo>
                <a:cubicBezTo>
                  <a:pt x="2275371" y="3951965"/>
                  <a:pt x="2279491" y="3951965"/>
                  <a:pt x="2283610" y="3951965"/>
                </a:cubicBezTo>
                <a:cubicBezTo>
                  <a:pt x="2283610" y="3951965"/>
                  <a:pt x="2283610" y="3954220"/>
                  <a:pt x="2283610" y="3954220"/>
                </a:cubicBezTo>
                <a:cubicBezTo>
                  <a:pt x="2277430" y="3963247"/>
                  <a:pt x="2269191" y="3972267"/>
                  <a:pt x="2263010" y="3983549"/>
                </a:cubicBezTo>
                <a:cubicBezTo>
                  <a:pt x="2271250" y="3988060"/>
                  <a:pt x="2277430" y="3992572"/>
                  <a:pt x="2283610" y="3997084"/>
                </a:cubicBezTo>
                <a:cubicBezTo>
                  <a:pt x="2283610" y="4010619"/>
                  <a:pt x="2287730" y="4021898"/>
                  <a:pt x="2275371" y="4028664"/>
                </a:cubicBezTo>
                <a:cubicBezTo>
                  <a:pt x="2273309" y="4035434"/>
                  <a:pt x="2283610" y="4039945"/>
                  <a:pt x="2273309" y="4046714"/>
                </a:cubicBezTo>
                <a:cubicBezTo>
                  <a:pt x="2271250" y="4044457"/>
                  <a:pt x="2267130" y="4042202"/>
                  <a:pt x="2265071" y="4039945"/>
                </a:cubicBezTo>
                <a:cubicBezTo>
                  <a:pt x="2254770" y="4051223"/>
                  <a:pt x="2244471" y="4060247"/>
                  <a:pt x="2234169" y="4069274"/>
                </a:cubicBezTo>
                <a:cubicBezTo>
                  <a:pt x="2234169" y="4069274"/>
                  <a:pt x="2236230" y="4071529"/>
                  <a:pt x="2236230" y="4071529"/>
                </a:cubicBezTo>
                <a:cubicBezTo>
                  <a:pt x="2240350" y="4069274"/>
                  <a:pt x="2246530" y="4067016"/>
                  <a:pt x="2250650" y="4062504"/>
                </a:cubicBezTo>
                <a:cubicBezTo>
                  <a:pt x="2250650" y="4062504"/>
                  <a:pt x="2250650" y="4062504"/>
                  <a:pt x="2252709" y="4064761"/>
                </a:cubicBezTo>
                <a:cubicBezTo>
                  <a:pt x="2250650" y="4067016"/>
                  <a:pt x="2246530" y="4071529"/>
                  <a:pt x="2242409" y="4073783"/>
                </a:cubicBezTo>
                <a:cubicBezTo>
                  <a:pt x="2254770" y="4076040"/>
                  <a:pt x="2250650" y="4094088"/>
                  <a:pt x="2263010" y="4091833"/>
                </a:cubicBezTo>
                <a:cubicBezTo>
                  <a:pt x="2260951" y="4096342"/>
                  <a:pt x="2258889" y="4098599"/>
                  <a:pt x="2256828" y="4103111"/>
                </a:cubicBezTo>
                <a:cubicBezTo>
                  <a:pt x="2260951" y="4103111"/>
                  <a:pt x="2265071" y="4103111"/>
                  <a:pt x="2271250" y="4103111"/>
                </a:cubicBezTo>
                <a:cubicBezTo>
                  <a:pt x="2260951" y="4114390"/>
                  <a:pt x="2252709" y="4123413"/>
                  <a:pt x="2244471" y="4134694"/>
                </a:cubicBezTo>
                <a:cubicBezTo>
                  <a:pt x="2250650" y="4134694"/>
                  <a:pt x="2252709" y="4134694"/>
                  <a:pt x="2256828" y="4134694"/>
                </a:cubicBezTo>
                <a:cubicBezTo>
                  <a:pt x="2250650" y="4143718"/>
                  <a:pt x="2246530" y="4148230"/>
                  <a:pt x="2242409" y="4154996"/>
                </a:cubicBezTo>
                <a:cubicBezTo>
                  <a:pt x="2242409" y="4154996"/>
                  <a:pt x="2242409" y="4157251"/>
                  <a:pt x="2244471" y="4157251"/>
                </a:cubicBezTo>
                <a:cubicBezTo>
                  <a:pt x="2256828" y="4148230"/>
                  <a:pt x="2267130" y="4139205"/>
                  <a:pt x="2279491" y="4130180"/>
                </a:cubicBezTo>
                <a:cubicBezTo>
                  <a:pt x="2279491" y="4136949"/>
                  <a:pt x="2277430" y="4141460"/>
                  <a:pt x="2277430" y="4145973"/>
                </a:cubicBezTo>
                <a:cubicBezTo>
                  <a:pt x="2281549" y="4143718"/>
                  <a:pt x="2285669" y="4141460"/>
                  <a:pt x="2287730" y="4141460"/>
                </a:cubicBezTo>
                <a:cubicBezTo>
                  <a:pt x="2287730" y="4148230"/>
                  <a:pt x="2289791" y="4152739"/>
                  <a:pt x="2289791" y="4159507"/>
                </a:cubicBezTo>
                <a:cubicBezTo>
                  <a:pt x="2275371" y="4173043"/>
                  <a:pt x="2258889" y="4184322"/>
                  <a:pt x="2250650" y="4206881"/>
                </a:cubicBezTo>
                <a:cubicBezTo>
                  <a:pt x="2260951" y="4200115"/>
                  <a:pt x="2269191" y="4195603"/>
                  <a:pt x="2277430" y="4188834"/>
                </a:cubicBezTo>
                <a:cubicBezTo>
                  <a:pt x="2285669" y="4182068"/>
                  <a:pt x="2289791" y="4173043"/>
                  <a:pt x="2306269" y="4173043"/>
                </a:cubicBezTo>
                <a:cubicBezTo>
                  <a:pt x="2298030" y="4182068"/>
                  <a:pt x="2291850" y="4191091"/>
                  <a:pt x="2283610" y="4197857"/>
                </a:cubicBezTo>
                <a:cubicBezTo>
                  <a:pt x="2277430" y="4204627"/>
                  <a:pt x="2265071" y="4204627"/>
                  <a:pt x="2263010" y="4218162"/>
                </a:cubicBezTo>
                <a:cubicBezTo>
                  <a:pt x="2281549" y="4211393"/>
                  <a:pt x="2293909" y="4195603"/>
                  <a:pt x="2312451" y="4188834"/>
                </a:cubicBezTo>
                <a:cubicBezTo>
                  <a:pt x="2310389" y="4193349"/>
                  <a:pt x="2308331" y="4195603"/>
                  <a:pt x="2304211" y="4200115"/>
                </a:cubicBezTo>
                <a:cubicBezTo>
                  <a:pt x="2316571" y="4197857"/>
                  <a:pt x="2324809" y="4186579"/>
                  <a:pt x="2339230" y="4193349"/>
                </a:cubicBezTo>
                <a:cubicBezTo>
                  <a:pt x="2335110" y="4204627"/>
                  <a:pt x="2347471" y="4197857"/>
                  <a:pt x="2349530" y="4204627"/>
                </a:cubicBezTo>
                <a:cubicBezTo>
                  <a:pt x="2351591" y="4209138"/>
                  <a:pt x="2353652" y="4215904"/>
                  <a:pt x="2357773" y="4220417"/>
                </a:cubicBezTo>
                <a:cubicBezTo>
                  <a:pt x="2355710" y="4229440"/>
                  <a:pt x="2353652" y="4238464"/>
                  <a:pt x="2351591" y="4247487"/>
                </a:cubicBezTo>
                <a:cubicBezTo>
                  <a:pt x="2339230" y="4261023"/>
                  <a:pt x="2318630" y="4272305"/>
                  <a:pt x="2306269" y="4290350"/>
                </a:cubicBezTo>
                <a:cubicBezTo>
                  <a:pt x="2312451" y="4288095"/>
                  <a:pt x="2316571" y="4283582"/>
                  <a:pt x="2322750" y="4281325"/>
                </a:cubicBezTo>
                <a:cubicBezTo>
                  <a:pt x="2322750" y="4281325"/>
                  <a:pt x="2324809" y="4283582"/>
                  <a:pt x="2324809" y="4283582"/>
                </a:cubicBezTo>
                <a:cubicBezTo>
                  <a:pt x="2320691" y="4285837"/>
                  <a:pt x="2318630" y="4290350"/>
                  <a:pt x="2314510" y="4292607"/>
                </a:cubicBezTo>
                <a:cubicBezTo>
                  <a:pt x="2316571" y="4292607"/>
                  <a:pt x="2320691" y="4292607"/>
                  <a:pt x="2322750" y="4290350"/>
                </a:cubicBezTo>
                <a:cubicBezTo>
                  <a:pt x="2333051" y="4283582"/>
                  <a:pt x="2343350" y="4274559"/>
                  <a:pt x="2351591" y="4267793"/>
                </a:cubicBezTo>
                <a:cubicBezTo>
                  <a:pt x="2361892" y="4258766"/>
                  <a:pt x="2372191" y="4252000"/>
                  <a:pt x="2382493" y="4242976"/>
                </a:cubicBezTo>
                <a:cubicBezTo>
                  <a:pt x="2382493" y="4249746"/>
                  <a:pt x="2380432" y="4256512"/>
                  <a:pt x="2380432" y="4265535"/>
                </a:cubicBezTo>
                <a:cubicBezTo>
                  <a:pt x="2376312" y="4272305"/>
                  <a:pt x="2368071" y="4281325"/>
                  <a:pt x="2361892" y="4290350"/>
                </a:cubicBezTo>
                <a:cubicBezTo>
                  <a:pt x="2363951" y="4290350"/>
                  <a:pt x="2368071" y="4290350"/>
                  <a:pt x="2370130" y="4292607"/>
                </a:cubicBezTo>
                <a:cubicBezTo>
                  <a:pt x="2368071" y="4297118"/>
                  <a:pt x="2368071" y="4301630"/>
                  <a:pt x="2368071" y="4303884"/>
                </a:cubicBezTo>
                <a:cubicBezTo>
                  <a:pt x="2376312" y="4306142"/>
                  <a:pt x="2380432" y="4292607"/>
                  <a:pt x="2388671" y="4301630"/>
                </a:cubicBezTo>
                <a:cubicBezTo>
                  <a:pt x="2390730" y="4310654"/>
                  <a:pt x="2378373" y="4306142"/>
                  <a:pt x="2380432" y="4315166"/>
                </a:cubicBezTo>
                <a:cubicBezTo>
                  <a:pt x="2382493" y="4319677"/>
                  <a:pt x="2376312" y="4326444"/>
                  <a:pt x="2384551" y="4330956"/>
                </a:cubicBezTo>
                <a:cubicBezTo>
                  <a:pt x="2390730" y="4324190"/>
                  <a:pt x="2396912" y="4315166"/>
                  <a:pt x="2405152" y="4308397"/>
                </a:cubicBezTo>
                <a:cubicBezTo>
                  <a:pt x="2413392" y="4308397"/>
                  <a:pt x="2403091" y="4324190"/>
                  <a:pt x="2415451" y="4319677"/>
                </a:cubicBezTo>
                <a:cubicBezTo>
                  <a:pt x="2419571" y="4337724"/>
                  <a:pt x="2396912" y="4328701"/>
                  <a:pt x="2394850" y="4342237"/>
                </a:cubicBezTo>
                <a:cubicBezTo>
                  <a:pt x="2398971" y="4344492"/>
                  <a:pt x="2403091" y="4344492"/>
                  <a:pt x="2407210" y="4346749"/>
                </a:cubicBezTo>
                <a:cubicBezTo>
                  <a:pt x="2403091" y="4351260"/>
                  <a:pt x="2401032" y="4355770"/>
                  <a:pt x="2396912" y="4362539"/>
                </a:cubicBezTo>
                <a:cubicBezTo>
                  <a:pt x="2405152" y="4358026"/>
                  <a:pt x="2409272" y="4353515"/>
                  <a:pt x="2415451" y="4349003"/>
                </a:cubicBezTo>
                <a:cubicBezTo>
                  <a:pt x="2413392" y="4360281"/>
                  <a:pt x="2398971" y="4360281"/>
                  <a:pt x="2401032" y="4376074"/>
                </a:cubicBezTo>
                <a:cubicBezTo>
                  <a:pt x="2409272" y="4369308"/>
                  <a:pt x="2417512" y="4362539"/>
                  <a:pt x="2423691" y="4358026"/>
                </a:cubicBezTo>
                <a:cubicBezTo>
                  <a:pt x="2433992" y="4351260"/>
                  <a:pt x="2440171" y="4351260"/>
                  <a:pt x="2448412" y="4360281"/>
                </a:cubicBezTo>
                <a:cubicBezTo>
                  <a:pt x="2446353" y="4367051"/>
                  <a:pt x="2436051" y="4358026"/>
                  <a:pt x="2433992" y="4364796"/>
                </a:cubicBezTo>
                <a:cubicBezTo>
                  <a:pt x="2444291" y="4369308"/>
                  <a:pt x="2452532" y="4373819"/>
                  <a:pt x="2462830" y="4380587"/>
                </a:cubicBezTo>
                <a:cubicBezTo>
                  <a:pt x="2452532" y="4387353"/>
                  <a:pt x="2442230" y="4387353"/>
                  <a:pt x="2440171" y="4400889"/>
                </a:cubicBezTo>
                <a:cubicBezTo>
                  <a:pt x="2454593" y="4391867"/>
                  <a:pt x="2469012" y="4385098"/>
                  <a:pt x="2485492" y="4385098"/>
                </a:cubicBezTo>
                <a:cubicBezTo>
                  <a:pt x="2485492" y="4387353"/>
                  <a:pt x="2487551" y="4391867"/>
                  <a:pt x="2487551" y="4394121"/>
                </a:cubicBezTo>
                <a:cubicBezTo>
                  <a:pt x="2493732" y="4391867"/>
                  <a:pt x="2499912" y="4389610"/>
                  <a:pt x="2504032" y="4389610"/>
                </a:cubicBezTo>
                <a:cubicBezTo>
                  <a:pt x="2506093" y="4391867"/>
                  <a:pt x="2506093" y="4394121"/>
                  <a:pt x="2508151" y="4396379"/>
                </a:cubicBezTo>
                <a:cubicBezTo>
                  <a:pt x="2522573" y="4389610"/>
                  <a:pt x="2536992" y="4380587"/>
                  <a:pt x="2551412" y="4373819"/>
                </a:cubicBezTo>
                <a:cubicBezTo>
                  <a:pt x="2543173" y="4387353"/>
                  <a:pt x="2530811" y="4394121"/>
                  <a:pt x="2520512" y="4400889"/>
                </a:cubicBezTo>
                <a:cubicBezTo>
                  <a:pt x="2512271" y="4405400"/>
                  <a:pt x="2501973" y="4412169"/>
                  <a:pt x="2493732" y="4418936"/>
                </a:cubicBezTo>
                <a:cubicBezTo>
                  <a:pt x="2512271" y="4421193"/>
                  <a:pt x="2524632" y="4405400"/>
                  <a:pt x="2541112" y="4400889"/>
                </a:cubicBezTo>
                <a:cubicBezTo>
                  <a:pt x="2557592" y="4396379"/>
                  <a:pt x="2572012" y="4385098"/>
                  <a:pt x="2588494" y="4376074"/>
                </a:cubicBezTo>
                <a:cubicBezTo>
                  <a:pt x="2595704" y="4372691"/>
                  <a:pt x="2602914" y="4368179"/>
                  <a:pt x="2610381" y="4364232"/>
                </a:cubicBezTo>
                <a:lnTo>
                  <a:pt x="2620939" y="4360419"/>
                </a:lnTo>
                <a:lnTo>
                  <a:pt x="2621453" y="4359154"/>
                </a:lnTo>
                <a:lnTo>
                  <a:pt x="2623016" y="4359669"/>
                </a:lnTo>
                <a:lnTo>
                  <a:pt x="2633813" y="4355770"/>
                </a:lnTo>
                <a:lnTo>
                  <a:pt x="2626780" y="4360905"/>
                </a:lnTo>
                <a:lnTo>
                  <a:pt x="2631755" y="4362539"/>
                </a:lnTo>
                <a:lnTo>
                  <a:pt x="2619443" y="4368317"/>
                </a:lnTo>
                <a:lnTo>
                  <a:pt x="2617592" y="4371562"/>
                </a:lnTo>
                <a:cubicBezTo>
                  <a:pt x="2617334" y="4374381"/>
                  <a:pt x="2617334" y="4377202"/>
                  <a:pt x="2615274" y="4378328"/>
                </a:cubicBezTo>
                <a:cubicBezTo>
                  <a:pt x="2611154" y="4380587"/>
                  <a:pt x="2607033" y="4385098"/>
                  <a:pt x="2600853" y="4387353"/>
                </a:cubicBezTo>
                <a:cubicBezTo>
                  <a:pt x="2615274" y="4382841"/>
                  <a:pt x="2629692" y="4376074"/>
                  <a:pt x="2644112" y="4367051"/>
                </a:cubicBezTo>
                <a:cubicBezTo>
                  <a:pt x="2648232" y="4364796"/>
                  <a:pt x="2650294" y="4358026"/>
                  <a:pt x="2654414" y="4358026"/>
                </a:cubicBezTo>
                <a:cubicBezTo>
                  <a:pt x="2660595" y="4355770"/>
                  <a:pt x="2658533" y="4351260"/>
                  <a:pt x="2656475" y="4349003"/>
                </a:cubicBezTo>
                <a:cubicBezTo>
                  <a:pt x="2652353" y="4344492"/>
                  <a:pt x="2650294" y="4342237"/>
                  <a:pt x="2654414" y="4337724"/>
                </a:cubicBezTo>
                <a:lnTo>
                  <a:pt x="2664392" y="4332261"/>
                </a:lnTo>
                <a:lnTo>
                  <a:pt x="2650294" y="4339979"/>
                </a:lnTo>
                <a:cubicBezTo>
                  <a:pt x="2653384" y="4332084"/>
                  <a:pt x="2654929" y="4328137"/>
                  <a:pt x="2657504" y="4326727"/>
                </a:cubicBezTo>
                <a:lnTo>
                  <a:pt x="2670893" y="4328701"/>
                </a:lnTo>
                <a:lnTo>
                  <a:pt x="2683254" y="4321932"/>
                </a:lnTo>
                <a:cubicBezTo>
                  <a:pt x="2691494" y="4315166"/>
                  <a:pt x="2705913" y="4317420"/>
                  <a:pt x="2707974" y="4301630"/>
                </a:cubicBezTo>
                <a:cubicBezTo>
                  <a:pt x="2707974" y="4301630"/>
                  <a:pt x="2710033" y="4301630"/>
                  <a:pt x="2710033" y="4299373"/>
                </a:cubicBezTo>
                <a:cubicBezTo>
                  <a:pt x="2712095" y="4301630"/>
                  <a:pt x="2712095" y="4303884"/>
                  <a:pt x="2714154" y="4306142"/>
                </a:cubicBezTo>
                <a:cubicBezTo>
                  <a:pt x="2722394" y="4301630"/>
                  <a:pt x="2730635" y="4297118"/>
                  <a:pt x="2738874" y="4292607"/>
                </a:cubicBezTo>
                <a:cubicBezTo>
                  <a:pt x="2738874" y="4294863"/>
                  <a:pt x="2740933" y="4297118"/>
                  <a:pt x="2740933" y="4301630"/>
                </a:cubicBezTo>
                <a:cubicBezTo>
                  <a:pt x="2745056" y="4301630"/>
                  <a:pt x="2751235" y="4299373"/>
                  <a:pt x="2755354" y="4299373"/>
                </a:cubicBezTo>
                <a:cubicBezTo>
                  <a:pt x="2751235" y="4303884"/>
                  <a:pt x="2749176" y="4308397"/>
                  <a:pt x="2747115" y="4310654"/>
                </a:cubicBezTo>
                <a:cubicBezTo>
                  <a:pt x="2755354" y="4306142"/>
                  <a:pt x="2765654" y="4303884"/>
                  <a:pt x="2769774" y="4294863"/>
                </a:cubicBezTo>
                <a:cubicBezTo>
                  <a:pt x="2773896" y="4285837"/>
                  <a:pt x="2778014" y="4283582"/>
                  <a:pt x="2784195" y="4279071"/>
                </a:cubicBezTo>
                <a:cubicBezTo>
                  <a:pt x="2790374" y="4274559"/>
                  <a:pt x="2794494" y="4270048"/>
                  <a:pt x="2802735" y="4272305"/>
                </a:cubicBezTo>
                <a:cubicBezTo>
                  <a:pt x="2802735" y="4272305"/>
                  <a:pt x="2806854" y="4270048"/>
                  <a:pt x="2806854" y="4270048"/>
                </a:cubicBezTo>
                <a:cubicBezTo>
                  <a:pt x="2808913" y="4261023"/>
                  <a:pt x="2819215" y="4258766"/>
                  <a:pt x="2823335" y="4252000"/>
                </a:cubicBezTo>
                <a:cubicBezTo>
                  <a:pt x="2825396" y="4254254"/>
                  <a:pt x="2827455" y="4258766"/>
                  <a:pt x="2827455" y="4261023"/>
                </a:cubicBezTo>
                <a:cubicBezTo>
                  <a:pt x="2827455" y="4261023"/>
                  <a:pt x="2829513" y="4261023"/>
                  <a:pt x="2829513" y="4258766"/>
                </a:cubicBezTo>
                <a:cubicBezTo>
                  <a:pt x="2829513" y="4256512"/>
                  <a:pt x="2827455" y="4252000"/>
                  <a:pt x="2827455" y="4252000"/>
                </a:cubicBezTo>
                <a:cubicBezTo>
                  <a:pt x="2837756" y="4245233"/>
                  <a:pt x="2848056" y="4238464"/>
                  <a:pt x="2858354" y="4231695"/>
                </a:cubicBezTo>
                <a:cubicBezTo>
                  <a:pt x="2858354" y="4231695"/>
                  <a:pt x="2858354" y="4233953"/>
                  <a:pt x="2860415" y="4233953"/>
                </a:cubicBezTo>
                <a:cubicBezTo>
                  <a:pt x="2858354" y="4238464"/>
                  <a:pt x="2854234" y="4240721"/>
                  <a:pt x="2852176" y="4245233"/>
                </a:cubicBezTo>
                <a:cubicBezTo>
                  <a:pt x="2852176" y="4245233"/>
                  <a:pt x="2852176" y="4247487"/>
                  <a:pt x="2854234" y="4247487"/>
                </a:cubicBezTo>
                <a:cubicBezTo>
                  <a:pt x="2866597" y="4238464"/>
                  <a:pt x="2878954" y="4231695"/>
                  <a:pt x="2889256" y="4222674"/>
                </a:cubicBezTo>
                <a:cubicBezTo>
                  <a:pt x="2889256" y="4215904"/>
                  <a:pt x="2887195" y="4211393"/>
                  <a:pt x="2887195" y="4206881"/>
                </a:cubicBezTo>
                <a:cubicBezTo>
                  <a:pt x="2893376" y="4209138"/>
                  <a:pt x="2901617" y="4211393"/>
                  <a:pt x="2907795" y="4211393"/>
                </a:cubicBezTo>
                <a:cubicBezTo>
                  <a:pt x="2911915" y="4211393"/>
                  <a:pt x="2913977" y="4204627"/>
                  <a:pt x="2918097" y="4200115"/>
                </a:cubicBezTo>
                <a:cubicBezTo>
                  <a:pt x="2918097" y="4200115"/>
                  <a:pt x="2920156" y="4197857"/>
                  <a:pt x="2920156" y="4197857"/>
                </a:cubicBezTo>
                <a:cubicBezTo>
                  <a:pt x="2936636" y="4184322"/>
                  <a:pt x="2953117" y="4173043"/>
                  <a:pt x="2969597" y="4159507"/>
                </a:cubicBezTo>
                <a:cubicBezTo>
                  <a:pt x="2969597" y="4159507"/>
                  <a:pt x="2971656" y="4159507"/>
                  <a:pt x="2971656" y="4159507"/>
                </a:cubicBezTo>
                <a:cubicBezTo>
                  <a:pt x="2969597" y="4157251"/>
                  <a:pt x="2969597" y="4154996"/>
                  <a:pt x="2967536" y="4152739"/>
                </a:cubicBezTo>
                <a:cubicBezTo>
                  <a:pt x="2971656" y="4145973"/>
                  <a:pt x="2975776" y="4139205"/>
                  <a:pt x="2979899" y="4132437"/>
                </a:cubicBezTo>
                <a:cubicBezTo>
                  <a:pt x="2984016" y="4139205"/>
                  <a:pt x="2988136" y="4143718"/>
                  <a:pt x="2994317" y="4148230"/>
                </a:cubicBezTo>
                <a:cubicBezTo>
                  <a:pt x="2998438" y="4145973"/>
                  <a:pt x="3002558" y="4141460"/>
                  <a:pt x="3004616" y="4139205"/>
                </a:cubicBezTo>
                <a:cubicBezTo>
                  <a:pt x="3010796" y="4133565"/>
                  <a:pt x="3014917" y="4130746"/>
                  <a:pt x="3018521" y="4131591"/>
                </a:cubicBezTo>
                <a:lnTo>
                  <a:pt x="3023406" y="4138086"/>
                </a:lnTo>
                <a:lnTo>
                  <a:pt x="3027278" y="4134694"/>
                </a:lnTo>
                <a:lnTo>
                  <a:pt x="3025003" y="4140210"/>
                </a:lnTo>
                <a:lnTo>
                  <a:pt x="3029336" y="4145973"/>
                </a:lnTo>
                <a:cubicBezTo>
                  <a:pt x="3033457" y="4136949"/>
                  <a:pt x="3039636" y="4130180"/>
                  <a:pt x="3041697" y="4121158"/>
                </a:cubicBezTo>
                <a:cubicBezTo>
                  <a:pt x="3045817" y="4109878"/>
                  <a:pt x="3054058" y="4109878"/>
                  <a:pt x="3062297" y="4103111"/>
                </a:cubicBezTo>
                <a:cubicBezTo>
                  <a:pt x="3060236" y="4107623"/>
                  <a:pt x="3060236" y="4114390"/>
                  <a:pt x="3058177" y="4118901"/>
                </a:cubicBezTo>
                <a:cubicBezTo>
                  <a:pt x="3058177" y="4118901"/>
                  <a:pt x="3060236" y="4121158"/>
                  <a:pt x="3060236" y="4121158"/>
                </a:cubicBezTo>
                <a:cubicBezTo>
                  <a:pt x="3066418" y="4116647"/>
                  <a:pt x="3070538" y="4114390"/>
                  <a:pt x="3076717" y="4109878"/>
                </a:cubicBezTo>
                <a:cubicBezTo>
                  <a:pt x="3080836" y="4105365"/>
                  <a:pt x="3082898" y="4103111"/>
                  <a:pt x="3087018" y="4098599"/>
                </a:cubicBezTo>
                <a:cubicBezTo>
                  <a:pt x="3087018" y="4100854"/>
                  <a:pt x="3087018" y="4103111"/>
                  <a:pt x="3087018" y="4103111"/>
                </a:cubicBezTo>
                <a:cubicBezTo>
                  <a:pt x="3087018" y="4105365"/>
                  <a:pt x="3089077" y="4107623"/>
                  <a:pt x="3089077" y="4109878"/>
                </a:cubicBezTo>
                <a:cubicBezTo>
                  <a:pt x="3099379" y="4109878"/>
                  <a:pt x="3107616" y="4105365"/>
                  <a:pt x="3115859" y="4105365"/>
                </a:cubicBezTo>
                <a:cubicBezTo>
                  <a:pt x="3117918" y="4112135"/>
                  <a:pt x="3122038" y="4118901"/>
                  <a:pt x="3119979" y="4123413"/>
                </a:cubicBezTo>
                <a:cubicBezTo>
                  <a:pt x="3117918" y="4134694"/>
                  <a:pt x="3126158" y="4143718"/>
                  <a:pt x="3130277" y="4152739"/>
                </a:cubicBezTo>
                <a:cubicBezTo>
                  <a:pt x="3134398" y="4159507"/>
                  <a:pt x="3138518" y="4168532"/>
                  <a:pt x="3148817" y="4168532"/>
                </a:cubicBezTo>
                <a:cubicBezTo>
                  <a:pt x="3152938" y="4166277"/>
                  <a:pt x="3159118" y="4161762"/>
                  <a:pt x="3163239" y="4161762"/>
                </a:cubicBezTo>
                <a:cubicBezTo>
                  <a:pt x="3171479" y="4159507"/>
                  <a:pt x="3177658" y="4154996"/>
                  <a:pt x="3185898" y="4148230"/>
                </a:cubicBezTo>
                <a:cubicBezTo>
                  <a:pt x="3200317" y="4134694"/>
                  <a:pt x="3212680" y="4118901"/>
                  <a:pt x="3229161" y="4107623"/>
                </a:cubicBezTo>
                <a:cubicBezTo>
                  <a:pt x="3229161" y="4107623"/>
                  <a:pt x="3231219" y="4107623"/>
                  <a:pt x="3231219" y="4109878"/>
                </a:cubicBezTo>
                <a:lnTo>
                  <a:pt x="3239459" y="4104464"/>
                </a:lnTo>
                <a:lnTo>
                  <a:pt x="3239459" y="4101983"/>
                </a:lnTo>
                <a:lnTo>
                  <a:pt x="3237400" y="4100854"/>
                </a:lnTo>
                <a:lnTo>
                  <a:pt x="3239459" y="4097470"/>
                </a:lnTo>
                <a:lnTo>
                  <a:pt x="3239459" y="4091833"/>
                </a:lnTo>
                <a:lnTo>
                  <a:pt x="3241084" y="4094799"/>
                </a:lnTo>
                <a:lnTo>
                  <a:pt x="3241518" y="4094088"/>
                </a:lnTo>
                <a:cubicBezTo>
                  <a:pt x="3241518" y="4094088"/>
                  <a:pt x="3241518" y="4091833"/>
                  <a:pt x="3241518" y="4089576"/>
                </a:cubicBezTo>
                <a:lnTo>
                  <a:pt x="3235339" y="4089576"/>
                </a:lnTo>
                <a:lnTo>
                  <a:pt x="3231219" y="4089576"/>
                </a:lnTo>
                <a:lnTo>
                  <a:pt x="3231219" y="4088447"/>
                </a:lnTo>
                <a:lnTo>
                  <a:pt x="3227099" y="4087318"/>
                </a:lnTo>
                <a:cubicBezTo>
                  <a:pt x="3229161" y="4085063"/>
                  <a:pt x="3229161" y="4085063"/>
                  <a:pt x="3231219" y="4082806"/>
                </a:cubicBezTo>
                <a:cubicBezTo>
                  <a:pt x="3231219" y="4082806"/>
                  <a:pt x="3231219" y="4085063"/>
                  <a:pt x="3231219" y="4085063"/>
                </a:cubicBezTo>
                <a:lnTo>
                  <a:pt x="3232259" y="4086203"/>
                </a:lnTo>
                <a:lnTo>
                  <a:pt x="3244093" y="4073501"/>
                </a:lnTo>
                <a:cubicBezTo>
                  <a:pt x="3247183" y="4069272"/>
                  <a:pt x="3248729" y="4065889"/>
                  <a:pt x="3247700" y="4064761"/>
                </a:cubicBezTo>
                <a:cubicBezTo>
                  <a:pt x="3245638" y="4062504"/>
                  <a:pt x="3243579" y="4060247"/>
                  <a:pt x="3241518" y="4060247"/>
                </a:cubicBezTo>
                <a:cubicBezTo>
                  <a:pt x="3241518" y="4048968"/>
                  <a:pt x="3241518" y="4039945"/>
                  <a:pt x="3239459" y="4030921"/>
                </a:cubicBezTo>
                <a:cubicBezTo>
                  <a:pt x="3237400" y="4019643"/>
                  <a:pt x="3245638" y="4012874"/>
                  <a:pt x="3247700" y="4001596"/>
                </a:cubicBezTo>
                <a:cubicBezTo>
                  <a:pt x="3245638" y="3999339"/>
                  <a:pt x="3243579" y="3994826"/>
                  <a:pt x="3241518" y="3992572"/>
                </a:cubicBezTo>
                <a:cubicBezTo>
                  <a:pt x="3239459" y="3992572"/>
                  <a:pt x="3237400" y="3994826"/>
                  <a:pt x="3237400" y="3994826"/>
                </a:cubicBezTo>
                <a:cubicBezTo>
                  <a:pt x="3235339" y="3999339"/>
                  <a:pt x="3233280" y="4003851"/>
                  <a:pt x="3231219" y="4008362"/>
                </a:cubicBezTo>
                <a:cubicBezTo>
                  <a:pt x="3229161" y="4006108"/>
                  <a:pt x="3229161" y="4003851"/>
                  <a:pt x="3229161" y="4001596"/>
                </a:cubicBezTo>
                <a:cubicBezTo>
                  <a:pt x="3233280" y="3994826"/>
                  <a:pt x="3237400" y="3990317"/>
                  <a:pt x="3241518" y="3983549"/>
                </a:cubicBezTo>
                <a:cubicBezTo>
                  <a:pt x="3243579" y="3983549"/>
                  <a:pt x="3245638" y="3983549"/>
                  <a:pt x="3249758" y="3983549"/>
                </a:cubicBezTo>
                <a:cubicBezTo>
                  <a:pt x="3251820" y="3960990"/>
                  <a:pt x="3266239" y="3947454"/>
                  <a:pt x="3278598" y="3929406"/>
                </a:cubicBezTo>
                <a:cubicBezTo>
                  <a:pt x="3276540" y="3927148"/>
                  <a:pt x="3276540" y="3924894"/>
                  <a:pt x="3274479" y="3922640"/>
                </a:cubicBezTo>
                <a:cubicBezTo>
                  <a:pt x="3268300" y="3929406"/>
                  <a:pt x="3264180" y="3933918"/>
                  <a:pt x="3258000" y="3938430"/>
                </a:cubicBezTo>
                <a:cubicBezTo>
                  <a:pt x="3253878" y="3942942"/>
                  <a:pt x="3247700" y="3949708"/>
                  <a:pt x="3241518" y="3956477"/>
                </a:cubicBezTo>
                <a:cubicBezTo>
                  <a:pt x="3241518" y="3947454"/>
                  <a:pt x="3243579" y="3942942"/>
                  <a:pt x="3245638" y="3936173"/>
                </a:cubicBezTo>
                <a:cubicBezTo>
                  <a:pt x="3247700" y="3936173"/>
                  <a:pt x="3247700" y="3936173"/>
                  <a:pt x="3247700" y="3936173"/>
                </a:cubicBezTo>
                <a:cubicBezTo>
                  <a:pt x="3249758" y="3936173"/>
                  <a:pt x="3249758" y="3936173"/>
                  <a:pt x="3251820" y="3936173"/>
                </a:cubicBezTo>
                <a:cubicBezTo>
                  <a:pt x="3258000" y="3929406"/>
                  <a:pt x="3266239" y="3924894"/>
                  <a:pt x="3268300" y="3913616"/>
                </a:cubicBezTo>
                <a:cubicBezTo>
                  <a:pt x="3266239" y="3913616"/>
                  <a:pt x="3264180" y="3915871"/>
                  <a:pt x="3260059" y="3918128"/>
                </a:cubicBezTo>
                <a:cubicBezTo>
                  <a:pt x="3255939" y="3918128"/>
                  <a:pt x="3253878" y="3920382"/>
                  <a:pt x="3251820" y="3922640"/>
                </a:cubicBezTo>
                <a:cubicBezTo>
                  <a:pt x="3249758" y="3924894"/>
                  <a:pt x="3245638" y="3927148"/>
                  <a:pt x="3243579" y="3929406"/>
                </a:cubicBezTo>
                <a:cubicBezTo>
                  <a:pt x="3241518" y="3929406"/>
                  <a:pt x="3241518" y="3929406"/>
                  <a:pt x="3239459" y="3931661"/>
                </a:cubicBezTo>
                <a:cubicBezTo>
                  <a:pt x="3239459" y="3931661"/>
                  <a:pt x="3239459" y="3933918"/>
                  <a:pt x="3239459" y="3933918"/>
                </a:cubicBezTo>
                <a:cubicBezTo>
                  <a:pt x="3237400" y="3938430"/>
                  <a:pt x="3233280" y="3942942"/>
                  <a:pt x="3231219" y="3945199"/>
                </a:cubicBezTo>
                <a:cubicBezTo>
                  <a:pt x="3229161" y="3947454"/>
                  <a:pt x="3227099" y="3947454"/>
                  <a:pt x="3225038" y="3945199"/>
                </a:cubicBezTo>
                <a:cubicBezTo>
                  <a:pt x="3227099" y="3938430"/>
                  <a:pt x="3229161" y="3933918"/>
                  <a:pt x="3231219" y="3927148"/>
                </a:cubicBezTo>
                <a:cubicBezTo>
                  <a:pt x="3222979" y="3931661"/>
                  <a:pt x="3214739" y="3936173"/>
                  <a:pt x="3208559" y="3945199"/>
                </a:cubicBezTo>
                <a:cubicBezTo>
                  <a:pt x="3206498" y="3940688"/>
                  <a:pt x="3202379" y="3940688"/>
                  <a:pt x="3194138" y="3942942"/>
                </a:cubicBezTo>
                <a:cubicBezTo>
                  <a:pt x="3198259" y="3938430"/>
                  <a:pt x="3200317" y="3936173"/>
                  <a:pt x="3202379" y="3933918"/>
                </a:cubicBezTo>
                <a:cubicBezTo>
                  <a:pt x="3220918" y="3915871"/>
                  <a:pt x="3243579" y="3902335"/>
                  <a:pt x="3264180" y="3884287"/>
                </a:cubicBezTo>
                <a:cubicBezTo>
                  <a:pt x="3264180" y="3884287"/>
                  <a:pt x="3264180" y="3884287"/>
                  <a:pt x="3264180" y="3886545"/>
                </a:cubicBezTo>
                <a:cubicBezTo>
                  <a:pt x="3268300" y="3884287"/>
                  <a:pt x="3270359" y="3882033"/>
                  <a:pt x="3274479" y="3879776"/>
                </a:cubicBezTo>
                <a:cubicBezTo>
                  <a:pt x="3274479" y="3879776"/>
                  <a:pt x="3276540" y="3879776"/>
                  <a:pt x="3276540" y="3879776"/>
                </a:cubicBezTo>
                <a:cubicBezTo>
                  <a:pt x="3280661" y="3884287"/>
                  <a:pt x="3284780" y="3886545"/>
                  <a:pt x="3288900" y="3888799"/>
                </a:cubicBezTo>
                <a:cubicBezTo>
                  <a:pt x="3290959" y="3888799"/>
                  <a:pt x="3290959" y="3886545"/>
                  <a:pt x="3293018" y="3886545"/>
                </a:cubicBezTo>
                <a:cubicBezTo>
                  <a:pt x="3290959" y="3889928"/>
                  <a:pt x="3289415" y="3891619"/>
                  <a:pt x="3288385" y="3892748"/>
                </a:cubicBezTo>
                <a:lnTo>
                  <a:pt x="3286839" y="3895567"/>
                </a:lnTo>
                <a:lnTo>
                  <a:pt x="3288900" y="3893312"/>
                </a:lnTo>
                <a:cubicBezTo>
                  <a:pt x="3293018" y="3884287"/>
                  <a:pt x="3299200" y="3879776"/>
                  <a:pt x="3307439" y="3875264"/>
                </a:cubicBezTo>
                <a:cubicBezTo>
                  <a:pt x="3307439" y="3877521"/>
                  <a:pt x="3305380" y="3879776"/>
                  <a:pt x="3305380" y="3882033"/>
                </a:cubicBezTo>
                <a:cubicBezTo>
                  <a:pt x="3309500" y="3879776"/>
                  <a:pt x="3311559" y="3877521"/>
                  <a:pt x="3315680" y="3875264"/>
                </a:cubicBezTo>
                <a:cubicBezTo>
                  <a:pt x="3313618" y="3882033"/>
                  <a:pt x="3305380" y="3884287"/>
                  <a:pt x="3311559" y="3893312"/>
                </a:cubicBezTo>
                <a:cubicBezTo>
                  <a:pt x="3317739" y="3891057"/>
                  <a:pt x="3323919" y="3886545"/>
                  <a:pt x="3330101" y="3882033"/>
                </a:cubicBezTo>
                <a:cubicBezTo>
                  <a:pt x="3325981" y="3888799"/>
                  <a:pt x="3321861" y="3893312"/>
                  <a:pt x="3319800" y="3897823"/>
                </a:cubicBezTo>
                <a:cubicBezTo>
                  <a:pt x="3319800" y="3900080"/>
                  <a:pt x="3319800" y="3902335"/>
                  <a:pt x="3319800" y="3904589"/>
                </a:cubicBezTo>
                <a:cubicBezTo>
                  <a:pt x="3328039" y="3893312"/>
                  <a:pt x="3332160" y="3900080"/>
                  <a:pt x="3336280" y="3906846"/>
                </a:cubicBezTo>
                <a:cubicBezTo>
                  <a:pt x="3342459" y="3900080"/>
                  <a:pt x="3346582" y="3893312"/>
                  <a:pt x="3352760" y="3888799"/>
                </a:cubicBezTo>
                <a:cubicBezTo>
                  <a:pt x="3356880" y="3888799"/>
                  <a:pt x="3358939" y="3891057"/>
                  <a:pt x="3363059" y="3891057"/>
                </a:cubicBezTo>
                <a:cubicBezTo>
                  <a:pt x="3356880" y="3897823"/>
                  <a:pt x="3352760" y="3902335"/>
                  <a:pt x="3350701" y="3911359"/>
                </a:cubicBezTo>
                <a:cubicBezTo>
                  <a:pt x="3354819" y="3918128"/>
                  <a:pt x="3358939" y="3922640"/>
                  <a:pt x="3363059" y="3924894"/>
                </a:cubicBezTo>
                <a:cubicBezTo>
                  <a:pt x="3363059" y="3924894"/>
                  <a:pt x="3363059" y="3927148"/>
                  <a:pt x="3361000" y="3927148"/>
                </a:cubicBezTo>
                <a:cubicBezTo>
                  <a:pt x="3358939" y="3929406"/>
                  <a:pt x="3356880" y="3931661"/>
                  <a:pt x="3354819" y="3933918"/>
                </a:cubicBezTo>
                <a:cubicBezTo>
                  <a:pt x="3346582" y="3933918"/>
                  <a:pt x="3340400" y="3942942"/>
                  <a:pt x="3334219" y="3947454"/>
                </a:cubicBezTo>
                <a:cubicBezTo>
                  <a:pt x="3325981" y="3954220"/>
                  <a:pt x="3317739" y="3963247"/>
                  <a:pt x="3317739" y="3976779"/>
                </a:cubicBezTo>
                <a:cubicBezTo>
                  <a:pt x="3328039" y="3974524"/>
                  <a:pt x="3334219" y="3970013"/>
                  <a:pt x="3338339" y="3963247"/>
                </a:cubicBezTo>
                <a:cubicBezTo>
                  <a:pt x="3346582" y="3951965"/>
                  <a:pt x="3356880" y="3942942"/>
                  <a:pt x="3367180" y="3936173"/>
                </a:cubicBezTo>
                <a:cubicBezTo>
                  <a:pt x="3369241" y="3933918"/>
                  <a:pt x="3371300" y="3931661"/>
                  <a:pt x="3373361" y="3929406"/>
                </a:cubicBezTo>
                <a:cubicBezTo>
                  <a:pt x="3375419" y="3929406"/>
                  <a:pt x="3377481" y="3929406"/>
                  <a:pt x="3377481" y="3929406"/>
                </a:cubicBezTo>
                <a:cubicBezTo>
                  <a:pt x="3387780" y="3929406"/>
                  <a:pt x="3389841" y="3922640"/>
                  <a:pt x="3385721" y="3915871"/>
                </a:cubicBezTo>
                <a:lnTo>
                  <a:pt x="3383660" y="3915871"/>
                </a:lnTo>
                <a:cubicBezTo>
                  <a:pt x="3381601" y="3913616"/>
                  <a:pt x="3379539" y="3911359"/>
                  <a:pt x="3381601" y="3906846"/>
                </a:cubicBezTo>
                <a:cubicBezTo>
                  <a:pt x="3383660" y="3904589"/>
                  <a:pt x="3385721" y="3902335"/>
                  <a:pt x="3387780" y="3900080"/>
                </a:cubicBezTo>
                <a:cubicBezTo>
                  <a:pt x="3393961" y="3897823"/>
                  <a:pt x="3398082" y="3897823"/>
                  <a:pt x="3404260" y="3893312"/>
                </a:cubicBezTo>
                <a:cubicBezTo>
                  <a:pt x="3408380" y="3895569"/>
                  <a:pt x="3410439" y="3900080"/>
                  <a:pt x="3414562" y="3902335"/>
                </a:cubicBezTo>
                <a:cubicBezTo>
                  <a:pt x="3414562" y="3902335"/>
                  <a:pt x="3414562" y="3902335"/>
                  <a:pt x="3412500" y="3904589"/>
                </a:cubicBezTo>
                <a:cubicBezTo>
                  <a:pt x="3408380" y="3909104"/>
                  <a:pt x="3404260" y="3915871"/>
                  <a:pt x="3400140" y="3918128"/>
                </a:cubicBezTo>
                <a:cubicBezTo>
                  <a:pt x="3389841" y="3924894"/>
                  <a:pt x="3383660" y="3936173"/>
                  <a:pt x="3375419" y="3945199"/>
                </a:cubicBezTo>
                <a:cubicBezTo>
                  <a:pt x="3373361" y="3947454"/>
                  <a:pt x="3373361" y="3949708"/>
                  <a:pt x="3371300" y="3954220"/>
                </a:cubicBezTo>
                <a:cubicBezTo>
                  <a:pt x="3363059" y="3958732"/>
                  <a:pt x="3358939" y="3967758"/>
                  <a:pt x="3352760" y="3972267"/>
                </a:cubicBezTo>
                <a:cubicBezTo>
                  <a:pt x="3350701" y="3974524"/>
                  <a:pt x="3350701" y="3976779"/>
                  <a:pt x="3350701" y="3981292"/>
                </a:cubicBezTo>
                <a:cubicBezTo>
                  <a:pt x="3361000" y="3974524"/>
                  <a:pt x="3371300" y="3967758"/>
                  <a:pt x="3379539" y="3956477"/>
                </a:cubicBezTo>
                <a:cubicBezTo>
                  <a:pt x="3380570" y="3955349"/>
                  <a:pt x="3381600" y="3954221"/>
                  <a:pt x="3381858" y="3953093"/>
                </a:cubicBezTo>
                <a:lnTo>
                  <a:pt x="3379884" y="3950211"/>
                </a:lnTo>
                <a:lnTo>
                  <a:pt x="3377481" y="3951965"/>
                </a:lnTo>
                <a:cubicBezTo>
                  <a:pt x="3377481" y="3949708"/>
                  <a:pt x="3379539" y="3949708"/>
                  <a:pt x="3379539" y="3949708"/>
                </a:cubicBezTo>
                <a:lnTo>
                  <a:pt x="3379884" y="3950211"/>
                </a:lnTo>
                <a:lnTo>
                  <a:pt x="3383660" y="3947454"/>
                </a:lnTo>
                <a:cubicBezTo>
                  <a:pt x="3396020" y="3933918"/>
                  <a:pt x="3408380" y="3922640"/>
                  <a:pt x="3420741" y="3909104"/>
                </a:cubicBezTo>
                <a:cubicBezTo>
                  <a:pt x="3420741" y="3909104"/>
                  <a:pt x="3422802" y="3906846"/>
                  <a:pt x="3422802" y="3906846"/>
                </a:cubicBezTo>
                <a:cubicBezTo>
                  <a:pt x="3424861" y="3909104"/>
                  <a:pt x="3426920" y="3911359"/>
                  <a:pt x="3428981" y="3913616"/>
                </a:cubicBezTo>
                <a:cubicBezTo>
                  <a:pt x="3422802" y="3918128"/>
                  <a:pt x="3418682" y="3924894"/>
                  <a:pt x="3412500" y="3931661"/>
                </a:cubicBezTo>
                <a:cubicBezTo>
                  <a:pt x="3406319" y="3940688"/>
                  <a:pt x="3398082" y="3949708"/>
                  <a:pt x="3391900" y="3956477"/>
                </a:cubicBezTo>
                <a:cubicBezTo>
                  <a:pt x="3391900" y="3956477"/>
                  <a:pt x="3391900" y="3958732"/>
                  <a:pt x="3391900" y="3960990"/>
                </a:cubicBezTo>
                <a:cubicBezTo>
                  <a:pt x="3385721" y="3965501"/>
                  <a:pt x="3379539" y="3972267"/>
                  <a:pt x="3373361" y="3979037"/>
                </a:cubicBezTo>
                <a:cubicBezTo>
                  <a:pt x="3385721" y="3976779"/>
                  <a:pt x="3396020" y="3967758"/>
                  <a:pt x="3404260" y="3960990"/>
                </a:cubicBezTo>
                <a:cubicBezTo>
                  <a:pt x="3408380" y="3965501"/>
                  <a:pt x="3410439" y="3967758"/>
                  <a:pt x="3412500" y="3972267"/>
                </a:cubicBezTo>
                <a:cubicBezTo>
                  <a:pt x="3414562" y="3979037"/>
                  <a:pt x="3420741" y="3981292"/>
                  <a:pt x="3424861" y="3983549"/>
                </a:cubicBezTo>
                <a:cubicBezTo>
                  <a:pt x="3426920" y="3983549"/>
                  <a:pt x="3428981" y="3985803"/>
                  <a:pt x="3428981" y="3988060"/>
                </a:cubicBezTo>
                <a:cubicBezTo>
                  <a:pt x="3428981" y="3988060"/>
                  <a:pt x="3428981" y="3990317"/>
                  <a:pt x="3428981" y="3990317"/>
                </a:cubicBezTo>
                <a:cubicBezTo>
                  <a:pt x="3426920" y="3990317"/>
                  <a:pt x="3422802" y="3992572"/>
                  <a:pt x="3420741" y="3994826"/>
                </a:cubicBezTo>
                <a:cubicBezTo>
                  <a:pt x="3422802" y="3999339"/>
                  <a:pt x="3424861" y="4001596"/>
                  <a:pt x="3426920" y="4003851"/>
                </a:cubicBezTo>
                <a:cubicBezTo>
                  <a:pt x="3426920" y="4006108"/>
                  <a:pt x="3424861" y="4008362"/>
                  <a:pt x="3424861" y="4010619"/>
                </a:cubicBezTo>
                <a:cubicBezTo>
                  <a:pt x="3418682" y="4019643"/>
                  <a:pt x="3410439" y="4026410"/>
                  <a:pt x="3406319" y="4035434"/>
                </a:cubicBezTo>
                <a:cubicBezTo>
                  <a:pt x="3412500" y="4046714"/>
                  <a:pt x="3422802" y="4051223"/>
                  <a:pt x="3435160" y="4051223"/>
                </a:cubicBezTo>
                <a:cubicBezTo>
                  <a:pt x="3435160" y="4051223"/>
                  <a:pt x="3435160" y="4051223"/>
                  <a:pt x="3437221" y="4051223"/>
                </a:cubicBezTo>
                <a:cubicBezTo>
                  <a:pt x="3437221" y="4053481"/>
                  <a:pt x="3437221" y="4055736"/>
                  <a:pt x="3435160" y="4057993"/>
                </a:cubicBezTo>
                <a:cubicBezTo>
                  <a:pt x="3433101" y="4064761"/>
                  <a:pt x="3431039" y="4071529"/>
                  <a:pt x="3431039" y="4076040"/>
                </a:cubicBezTo>
                <a:cubicBezTo>
                  <a:pt x="3424861" y="4080552"/>
                  <a:pt x="3418682" y="4087318"/>
                  <a:pt x="3412500" y="4094088"/>
                </a:cubicBezTo>
                <a:cubicBezTo>
                  <a:pt x="3410439" y="4096342"/>
                  <a:pt x="3410439" y="4098599"/>
                  <a:pt x="3410439" y="4103111"/>
                </a:cubicBezTo>
                <a:cubicBezTo>
                  <a:pt x="3416621" y="4098599"/>
                  <a:pt x="3424861" y="4094088"/>
                  <a:pt x="3431039" y="4087318"/>
                </a:cubicBezTo>
                <a:cubicBezTo>
                  <a:pt x="3431039" y="4091833"/>
                  <a:pt x="3431039" y="4096342"/>
                  <a:pt x="3433101" y="4098599"/>
                </a:cubicBezTo>
                <a:cubicBezTo>
                  <a:pt x="3435160" y="4116647"/>
                  <a:pt x="3443403" y="4134694"/>
                  <a:pt x="3453702" y="4150484"/>
                </a:cubicBezTo>
                <a:cubicBezTo>
                  <a:pt x="3451641" y="4159507"/>
                  <a:pt x="3447519" y="4166277"/>
                  <a:pt x="3445462" y="4175298"/>
                </a:cubicBezTo>
                <a:cubicBezTo>
                  <a:pt x="3445462" y="4177555"/>
                  <a:pt x="3445462" y="4182068"/>
                  <a:pt x="3445462" y="4184322"/>
                </a:cubicBezTo>
                <a:cubicBezTo>
                  <a:pt x="3447519" y="4188834"/>
                  <a:pt x="3451641" y="4188834"/>
                  <a:pt x="3455760" y="4184322"/>
                </a:cubicBezTo>
                <a:cubicBezTo>
                  <a:pt x="3455760" y="4182068"/>
                  <a:pt x="3457821" y="4182068"/>
                  <a:pt x="3457821" y="4179809"/>
                </a:cubicBezTo>
                <a:cubicBezTo>
                  <a:pt x="3457821" y="4182068"/>
                  <a:pt x="3459880" y="4184322"/>
                  <a:pt x="3461942" y="4184322"/>
                </a:cubicBezTo>
                <a:cubicBezTo>
                  <a:pt x="3464000" y="4184322"/>
                  <a:pt x="3468121" y="4179809"/>
                  <a:pt x="3470182" y="4184322"/>
                </a:cubicBezTo>
                <a:cubicBezTo>
                  <a:pt x="3470182" y="4186579"/>
                  <a:pt x="3468121" y="4188834"/>
                  <a:pt x="3468121" y="4191091"/>
                </a:cubicBezTo>
                <a:cubicBezTo>
                  <a:pt x="3468121" y="4191091"/>
                  <a:pt x="3468121" y="4191091"/>
                  <a:pt x="3468121" y="4188834"/>
                </a:cubicBezTo>
                <a:cubicBezTo>
                  <a:pt x="3468121" y="4188834"/>
                  <a:pt x="3466062" y="4186579"/>
                  <a:pt x="3466062" y="4186579"/>
                </a:cubicBezTo>
                <a:cubicBezTo>
                  <a:pt x="3464000" y="4188834"/>
                  <a:pt x="3464000" y="4188834"/>
                  <a:pt x="3461942" y="4191091"/>
                </a:cubicBezTo>
                <a:cubicBezTo>
                  <a:pt x="3461942" y="4193349"/>
                  <a:pt x="3461942" y="4193349"/>
                  <a:pt x="3464000" y="4195603"/>
                </a:cubicBezTo>
                <a:cubicBezTo>
                  <a:pt x="3464000" y="4195603"/>
                  <a:pt x="3466062" y="4195603"/>
                  <a:pt x="3466062" y="4193349"/>
                </a:cubicBezTo>
                <a:cubicBezTo>
                  <a:pt x="3466062" y="4193349"/>
                  <a:pt x="3466062" y="4193349"/>
                  <a:pt x="3466062" y="4195603"/>
                </a:cubicBezTo>
                <a:cubicBezTo>
                  <a:pt x="3466062" y="4197857"/>
                  <a:pt x="3466062" y="4200115"/>
                  <a:pt x="3466062" y="4204627"/>
                </a:cubicBezTo>
                <a:cubicBezTo>
                  <a:pt x="3472241" y="4197857"/>
                  <a:pt x="3476360" y="4193349"/>
                  <a:pt x="3480481" y="4191091"/>
                </a:cubicBezTo>
                <a:cubicBezTo>
                  <a:pt x="3484601" y="4195603"/>
                  <a:pt x="3476360" y="4202370"/>
                  <a:pt x="3486662" y="4204627"/>
                </a:cubicBezTo>
                <a:cubicBezTo>
                  <a:pt x="3486662" y="4204627"/>
                  <a:pt x="3486662" y="4206881"/>
                  <a:pt x="3488721" y="4206881"/>
                </a:cubicBezTo>
                <a:cubicBezTo>
                  <a:pt x="3488721" y="4209138"/>
                  <a:pt x="3488721" y="4211393"/>
                  <a:pt x="3488721" y="4213651"/>
                </a:cubicBezTo>
                <a:cubicBezTo>
                  <a:pt x="3488721" y="4215904"/>
                  <a:pt x="3488721" y="4215904"/>
                  <a:pt x="3488721" y="4218162"/>
                </a:cubicBezTo>
                <a:cubicBezTo>
                  <a:pt x="3488721" y="4220417"/>
                  <a:pt x="3488721" y="4220417"/>
                  <a:pt x="3490782" y="4222674"/>
                </a:cubicBezTo>
                <a:cubicBezTo>
                  <a:pt x="3492841" y="4236210"/>
                  <a:pt x="3496962" y="4249746"/>
                  <a:pt x="3505201" y="4261023"/>
                </a:cubicBezTo>
                <a:cubicBezTo>
                  <a:pt x="3505201" y="4261023"/>
                  <a:pt x="3503140" y="4263280"/>
                  <a:pt x="3505201" y="4265535"/>
                </a:cubicBezTo>
                <a:cubicBezTo>
                  <a:pt x="3505201" y="4267793"/>
                  <a:pt x="3507262" y="4267793"/>
                  <a:pt x="3509321" y="4267793"/>
                </a:cubicBezTo>
                <a:cubicBezTo>
                  <a:pt x="3509321" y="4267793"/>
                  <a:pt x="3509321" y="4265535"/>
                  <a:pt x="3509321" y="4265535"/>
                </a:cubicBezTo>
                <a:cubicBezTo>
                  <a:pt x="3511383" y="4267793"/>
                  <a:pt x="3511383" y="4267793"/>
                  <a:pt x="3513442" y="4270048"/>
                </a:cubicBezTo>
                <a:cubicBezTo>
                  <a:pt x="3511383" y="4279071"/>
                  <a:pt x="3507262" y="4285837"/>
                  <a:pt x="3505201" y="4294863"/>
                </a:cubicBezTo>
                <a:cubicBezTo>
                  <a:pt x="3505201" y="4297118"/>
                  <a:pt x="3505201" y="4301630"/>
                  <a:pt x="3505201" y="4303884"/>
                </a:cubicBezTo>
                <a:cubicBezTo>
                  <a:pt x="3507262" y="4308397"/>
                  <a:pt x="3511383" y="4308397"/>
                  <a:pt x="3515503" y="4303884"/>
                </a:cubicBezTo>
                <a:cubicBezTo>
                  <a:pt x="3515503" y="4301630"/>
                  <a:pt x="3517562" y="4301630"/>
                  <a:pt x="3517562" y="4299373"/>
                </a:cubicBezTo>
                <a:cubicBezTo>
                  <a:pt x="3517562" y="4301630"/>
                  <a:pt x="3519621" y="4303884"/>
                  <a:pt x="3521682" y="4303884"/>
                </a:cubicBezTo>
                <a:cubicBezTo>
                  <a:pt x="3523740" y="4303884"/>
                  <a:pt x="3527860" y="4299373"/>
                  <a:pt x="3529922" y="4303884"/>
                </a:cubicBezTo>
                <a:cubicBezTo>
                  <a:pt x="3527860" y="4306142"/>
                  <a:pt x="3525801" y="4310654"/>
                  <a:pt x="3525801" y="4312909"/>
                </a:cubicBezTo>
                <a:cubicBezTo>
                  <a:pt x="3525801" y="4315166"/>
                  <a:pt x="3525801" y="4317420"/>
                  <a:pt x="3525801" y="4321932"/>
                </a:cubicBezTo>
                <a:cubicBezTo>
                  <a:pt x="3531983" y="4315166"/>
                  <a:pt x="3536103" y="4310654"/>
                  <a:pt x="3540221" y="4308397"/>
                </a:cubicBezTo>
                <a:cubicBezTo>
                  <a:pt x="3544341" y="4312909"/>
                  <a:pt x="3536103" y="4319677"/>
                  <a:pt x="3546403" y="4321932"/>
                </a:cubicBezTo>
                <a:cubicBezTo>
                  <a:pt x="3546403" y="4321932"/>
                  <a:pt x="3548462" y="4326444"/>
                  <a:pt x="3548462" y="4328701"/>
                </a:cubicBezTo>
                <a:cubicBezTo>
                  <a:pt x="3548462" y="4330956"/>
                  <a:pt x="3548462" y="4333211"/>
                  <a:pt x="3548462" y="4337724"/>
                </a:cubicBezTo>
                <a:cubicBezTo>
                  <a:pt x="3548462" y="4342237"/>
                  <a:pt x="3552581" y="4344492"/>
                  <a:pt x="3556703" y="4344492"/>
                </a:cubicBezTo>
                <a:cubicBezTo>
                  <a:pt x="3560821" y="4344492"/>
                  <a:pt x="3562883" y="4342237"/>
                  <a:pt x="3567003" y="4339979"/>
                </a:cubicBezTo>
                <a:cubicBezTo>
                  <a:pt x="3564942" y="4330956"/>
                  <a:pt x="3564942" y="4330956"/>
                  <a:pt x="3573181" y="4326444"/>
                </a:cubicBezTo>
                <a:cubicBezTo>
                  <a:pt x="3575243" y="4321932"/>
                  <a:pt x="3577302" y="4319677"/>
                  <a:pt x="3579363" y="4315166"/>
                </a:cubicBezTo>
                <a:cubicBezTo>
                  <a:pt x="3579363" y="4317420"/>
                  <a:pt x="3581422" y="4319677"/>
                  <a:pt x="3581422" y="4324190"/>
                </a:cubicBezTo>
                <a:cubicBezTo>
                  <a:pt x="3585542" y="4317420"/>
                  <a:pt x="3591721" y="4312909"/>
                  <a:pt x="3591721" y="4301630"/>
                </a:cubicBezTo>
                <a:cubicBezTo>
                  <a:pt x="3587603" y="4303884"/>
                  <a:pt x="3585542" y="4303884"/>
                  <a:pt x="3583483" y="4306142"/>
                </a:cubicBezTo>
                <a:cubicBezTo>
                  <a:pt x="3589662" y="4297118"/>
                  <a:pt x="3595844" y="4288095"/>
                  <a:pt x="3602022" y="4279071"/>
                </a:cubicBezTo>
                <a:cubicBezTo>
                  <a:pt x="3606142" y="4272305"/>
                  <a:pt x="3610262" y="4265535"/>
                  <a:pt x="3614383" y="4258766"/>
                </a:cubicBezTo>
                <a:cubicBezTo>
                  <a:pt x="3616442" y="4256512"/>
                  <a:pt x="3620562" y="4254254"/>
                  <a:pt x="3622623" y="4252000"/>
                </a:cubicBezTo>
                <a:cubicBezTo>
                  <a:pt x="3622623" y="4254254"/>
                  <a:pt x="3622623" y="4254254"/>
                  <a:pt x="3620562" y="4256512"/>
                </a:cubicBezTo>
                <a:cubicBezTo>
                  <a:pt x="3634983" y="4245233"/>
                  <a:pt x="3645282" y="4229440"/>
                  <a:pt x="3651464" y="4211393"/>
                </a:cubicBezTo>
                <a:cubicBezTo>
                  <a:pt x="3649405" y="4213651"/>
                  <a:pt x="3647344" y="4213651"/>
                  <a:pt x="3645282" y="4215904"/>
                </a:cubicBezTo>
                <a:cubicBezTo>
                  <a:pt x="3643223" y="4206881"/>
                  <a:pt x="3649405" y="4200115"/>
                  <a:pt x="3655583" y="4197857"/>
                </a:cubicBezTo>
                <a:cubicBezTo>
                  <a:pt x="3655583" y="4193349"/>
                  <a:pt x="3657642" y="4188834"/>
                  <a:pt x="3661762" y="4186579"/>
                </a:cubicBezTo>
                <a:cubicBezTo>
                  <a:pt x="3661762" y="4191091"/>
                  <a:pt x="3659703" y="4195603"/>
                  <a:pt x="3657642" y="4197857"/>
                </a:cubicBezTo>
                <a:cubicBezTo>
                  <a:pt x="3657642" y="4200115"/>
                  <a:pt x="3657642" y="4200115"/>
                  <a:pt x="3657642" y="4202370"/>
                </a:cubicBezTo>
                <a:cubicBezTo>
                  <a:pt x="3659703" y="4200115"/>
                  <a:pt x="3663824" y="4197857"/>
                  <a:pt x="3665883" y="4195603"/>
                </a:cubicBezTo>
                <a:cubicBezTo>
                  <a:pt x="3680305" y="4173043"/>
                  <a:pt x="3696785" y="4150484"/>
                  <a:pt x="3711203" y="4127925"/>
                </a:cubicBezTo>
                <a:cubicBezTo>
                  <a:pt x="3705022" y="4127925"/>
                  <a:pt x="3700904" y="4134694"/>
                  <a:pt x="3696785" y="4139205"/>
                </a:cubicBezTo>
                <a:cubicBezTo>
                  <a:pt x="3688544" y="4150484"/>
                  <a:pt x="3680305" y="4161762"/>
                  <a:pt x="3674122" y="4173043"/>
                </a:cubicBezTo>
                <a:cubicBezTo>
                  <a:pt x="3672064" y="4177555"/>
                  <a:pt x="3667944" y="4179809"/>
                  <a:pt x="3663824" y="4184322"/>
                </a:cubicBezTo>
                <a:cubicBezTo>
                  <a:pt x="3667944" y="4175298"/>
                  <a:pt x="3667944" y="4175298"/>
                  <a:pt x="3667944" y="4164020"/>
                </a:cubicBezTo>
                <a:cubicBezTo>
                  <a:pt x="3659703" y="4166277"/>
                  <a:pt x="3657642" y="4177555"/>
                  <a:pt x="3649405" y="4182068"/>
                </a:cubicBezTo>
                <a:cubicBezTo>
                  <a:pt x="3649405" y="4177555"/>
                  <a:pt x="3649405" y="4177555"/>
                  <a:pt x="3651464" y="4175298"/>
                </a:cubicBezTo>
                <a:cubicBezTo>
                  <a:pt x="3663824" y="4157251"/>
                  <a:pt x="3676183" y="4139205"/>
                  <a:pt x="3688544" y="4121158"/>
                </a:cubicBezTo>
                <a:cubicBezTo>
                  <a:pt x="3694723" y="4112135"/>
                  <a:pt x="3700904" y="4107623"/>
                  <a:pt x="3711203" y="4112135"/>
                </a:cubicBezTo>
                <a:cubicBezTo>
                  <a:pt x="3711203" y="4112135"/>
                  <a:pt x="3713265" y="4112135"/>
                  <a:pt x="3715324" y="4112135"/>
                </a:cubicBezTo>
                <a:cubicBezTo>
                  <a:pt x="3715324" y="4116647"/>
                  <a:pt x="3715324" y="4123413"/>
                  <a:pt x="3713265" y="4127925"/>
                </a:cubicBezTo>
                <a:cubicBezTo>
                  <a:pt x="3717385" y="4123413"/>
                  <a:pt x="3719444" y="4116647"/>
                  <a:pt x="3727684" y="4112135"/>
                </a:cubicBezTo>
                <a:cubicBezTo>
                  <a:pt x="3725622" y="4116647"/>
                  <a:pt x="3725622" y="4118901"/>
                  <a:pt x="3725622" y="4118901"/>
                </a:cubicBezTo>
                <a:cubicBezTo>
                  <a:pt x="3709142" y="4141460"/>
                  <a:pt x="3692664" y="4164020"/>
                  <a:pt x="3678242" y="4188834"/>
                </a:cubicBezTo>
                <a:cubicBezTo>
                  <a:pt x="3667944" y="4202370"/>
                  <a:pt x="3657642" y="4215904"/>
                  <a:pt x="3651464" y="4233953"/>
                </a:cubicBezTo>
                <a:lnTo>
                  <a:pt x="3653069" y="4234246"/>
                </a:lnTo>
                <a:lnTo>
                  <a:pt x="3655583" y="4231695"/>
                </a:lnTo>
                <a:lnTo>
                  <a:pt x="3653522" y="4234328"/>
                </a:lnTo>
                <a:lnTo>
                  <a:pt x="3663824" y="4236210"/>
                </a:lnTo>
                <a:cubicBezTo>
                  <a:pt x="3670003" y="4229440"/>
                  <a:pt x="3674122" y="4222674"/>
                  <a:pt x="3680305" y="4215904"/>
                </a:cubicBezTo>
                <a:cubicBezTo>
                  <a:pt x="3684422" y="4209138"/>
                  <a:pt x="3688544" y="4204627"/>
                  <a:pt x="3694723" y="4200115"/>
                </a:cubicBezTo>
                <a:cubicBezTo>
                  <a:pt x="3696785" y="4195603"/>
                  <a:pt x="3698844" y="4188834"/>
                  <a:pt x="3705022" y="4188834"/>
                </a:cubicBezTo>
                <a:cubicBezTo>
                  <a:pt x="3705022" y="4177555"/>
                  <a:pt x="3713265" y="4173043"/>
                  <a:pt x="3717385" y="4166277"/>
                </a:cubicBezTo>
                <a:cubicBezTo>
                  <a:pt x="3731804" y="4150484"/>
                  <a:pt x="3742106" y="4130180"/>
                  <a:pt x="3756524" y="4112135"/>
                </a:cubicBezTo>
                <a:cubicBezTo>
                  <a:pt x="3760644" y="4105365"/>
                  <a:pt x="3764765" y="4098599"/>
                  <a:pt x="3773005" y="4096342"/>
                </a:cubicBezTo>
                <a:cubicBezTo>
                  <a:pt x="3777122" y="4094088"/>
                  <a:pt x="3779183" y="4091833"/>
                  <a:pt x="3779183" y="4085063"/>
                </a:cubicBezTo>
                <a:cubicBezTo>
                  <a:pt x="3781245" y="4078295"/>
                  <a:pt x="3785365" y="4073783"/>
                  <a:pt x="3789485" y="4069274"/>
                </a:cubicBezTo>
                <a:cubicBezTo>
                  <a:pt x="3791544" y="4069274"/>
                  <a:pt x="3791544" y="4069274"/>
                  <a:pt x="3793605" y="4069274"/>
                </a:cubicBezTo>
                <a:cubicBezTo>
                  <a:pt x="3791544" y="4073783"/>
                  <a:pt x="3789485" y="4076040"/>
                  <a:pt x="3787424" y="4080552"/>
                </a:cubicBezTo>
                <a:cubicBezTo>
                  <a:pt x="3793605" y="4080552"/>
                  <a:pt x="3797723" y="4076040"/>
                  <a:pt x="3799784" y="4069274"/>
                </a:cubicBezTo>
                <a:cubicBezTo>
                  <a:pt x="3803904" y="4069274"/>
                  <a:pt x="3810086" y="4069274"/>
                  <a:pt x="3814206" y="4069274"/>
                </a:cubicBezTo>
                <a:cubicBezTo>
                  <a:pt x="3801843" y="4085063"/>
                  <a:pt x="3789485" y="4100854"/>
                  <a:pt x="3777122" y="4118901"/>
                </a:cubicBezTo>
                <a:cubicBezTo>
                  <a:pt x="3754463" y="4148230"/>
                  <a:pt x="3733863" y="4177555"/>
                  <a:pt x="3711203" y="4209138"/>
                </a:cubicBezTo>
                <a:cubicBezTo>
                  <a:pt x="3709142" y="4213651"/>
                  <a:pt x="3705022" y="4215904"/>
                  <a:pt x="3705022" y="4220417"/>
                </a:cubicBezTo>
                <a:cubicBezTo>
                  <a:pt x="3707083" y="4218162"/>
                  <a:pt x="3709142" y="4218162"/>
                  <a:pt x="3711203" y="4215904"/>
                </a:cubicBezTo>
                <a:cubicBezTo>
                  <a:pt x="3729742" y="4193349"/>
                  <a:pt x="3746223" y="4168532"/>
                  <a:pt x="3766824" y="4148230"/>
                </a:cubicBezTo>
                <a:cubicBezTo>
                  <a:pt x="3768885" y="4145973"/>
                  <a:pt x="3768885" y="4143718"/>
                  <a:pt x="3770944" y="4143718"/>
                </a:cubicBezTo>
                <a:cubicBezTo>
                  <a:pt x="3781245" y="4132437"/>
                  <a:pt x="3787424" y="4116647"/>
                  <a:pt x="3799784" y="4105365"/>
                </a:cubicBezTo>
                <a:cubicBezTo>
                  <a:pt x="3805965" y="4094088"/>
                  <a:pt x="3812144" y="4085063"/>
                  <a:pt x="3820385" y="4078295"/>
                </a:cubicBezTo>
                <a:cubicBezTo>
                  <a:pt x="3822444" y="4076040"/>
                  <a:pt x="3824505" y="4073783"/>
                  <a:pt x="3824505" y="4073783"/>
                </a:cubicBezTo>
                <a:cubicBezTo>
                  <a:pt x="3832745" y="4076040"/>
                  <a:pt x="3843044" y="4076040"/>
                  <a:pt x="3851285" y="4073783"/>
                </a:cubicBezTo>
                <a:cubicBezTo>
                  <a:pt x="3869824" y="4071529"/>
                  <a:pt x="3888365" y="4064761"/>
                  <a:pt x="3908965" y="4057993"/>
                </a:cubicBezTo>
                <a:cubicBezTo>
                  <a:pt x="3927507" y="4051223"/>
                  <a:pt x="3946047" y="4037691"/>
                  <a:pt x="3966647" y="4037691"/>
                </a:cubicBezTo>
                <a:cubicBezTo>
                  <a:pt x="3970767" y="4037691"/>
                  <a:pt x="3972826" y="4035434"/>
                  <a:pt x="3976946" y="4035434"/>
                </a:cubicBezTo>
                <a:cubicBezTo>
                  <a:pt x="4005786" y="4024155"/>
                  <a:pt x="4032566" y="4010619"/>
                  <a:pt x="4057286" y="3992572"/>
                </a:cubicBezTo>
                <a:cubicBezTo>
                  <a:pt x="4069647" y="3983549"/>
                  <a:pt x="4082007" y="3974524"/>
                  <a:pt x="4094367" y="3967758"/>
                </a:cubicBezTo>
                <a:cubicBezTo>
                  <a:pt x="4117027" y="3954220"/>
                  <a:pt x="4137627" y="3938430"/>
                  <a:pt x="4158227" y="3920382"/>
                </a:cubicBezTo>
                <a:cubicBezTo>
                  <a:pt x="4178827" y="3902335"/>
                  <a:pt x="4201490" y="3884287"/>
                  <a:pt x="4222088" y="3866243"/>
                </a:cubicBezTo>
                <a:cubicBezTo>
                  <a:pt x="4236509" y="3854962"/>
                  <a:pt x="4250929" y="3843683"/>
                  <a:pt x="4263288" y="3830145"/>
                </a:cubicBezTo>
                <a:cubicBezTo>
                  <a:pt x="4279768" y="3814355"/>
                  <a:pt x="4296249" y="3800820"/>
                  <a:pt x="4316850" y="3789541"/>
                </a:cubicBezTo>
                <a:cubicBezTo>
                  <a:pt x="4333330" y="3780518"/>
                  <a:pt x="4349810" y="3769236"/>
                  <a:pt x="4366291" y="3760212"/>
                </a:cubicBezTo>
                <a:cubicBezTo>
                  <a:pt x="4393069" y="3742168"/>
                  <a:pt x="4421910" y="3726376"/>
                  <a:pt x="4448691" y="3708328"/>
                </a:cubicBezTo>
                <a:cubicBezTo>
                  <a:pt x="4448691" y="3708328"/>
                  <a:pt x="4450751" y="3708328"/>
                  <a:pt x="4450751" y="3706070"/>
                </a:cubicBezTo>
                <a:cubicBezTo>
                  <a:pt x="4452810" y="3706070"/>
                  <a:pt x="4452810" y="3703816"/>
                  <a:pt x="4454871" y="3703816"/>
                </a:cubicBezTo>
                <a:cubicBezTo>
                  <a:pt x="4458991" y="3701558"/>
                  <a:pt x="4463112" y="3701558"/>
                  <a:pt x="4469290" y="3703816"/>
                </a:cubicBezTo>
                <a:cubicBezTo>
                  <a:pt x="4471351" y="3703816"/>
                  <a:pt x="4475472" y="3703816"/>
                  <a:pt x="4477531" y="3701558"/>
                </a:cubicBezTo>
                <a:cubicBezTo>
                  <a:pt x="4487830" y="3697050"/>
                  <a:pt x="4500192" y="3690281"/>
                  <a:pt x="4510491" y="3685768"/>
                </a:cubicBezTo>
                <a:cubicBezTo>
                  <a:pt x="4539332" y="3667720"/>
                  <a:pt x="4601132" y="3521087"/>
                  <a:pt x="4629971" y="3507554"/>
                </a:cubicBezTo>
                <a:cubicBezTo>
                  <a:pt x="4640273" y="3503040"/>
                  <a:pt x="4650573" y="3494019"/>
                  <a:pt x="4658812" y="3487249"/>
                </a:cubicBezTo>
                <a:cubicBezTo>
                  <a:pt x="4660873" y="3484994"/>
                  <a:pt x="4664994" y="3482738"/>
                  <a:pt x="4667053" y="3480483"/>
                </a:cubicBezTo>
                <a:cubicBezTo>
                  <a:pt x="4685594" y="3469202"/>
                  <a:pt x="4706195" y="3457924"/>
                  <a:pt x="4724734" y="3444388"/>
                </a:cubicBezTo>
                <a:cubicBezTo>
                  <a:pt x="4743273" y="3433107"/>
                  <a:pt x="4761814" y="3424084"/>
                  <a:pt x="4778295" y="3412805"/>
                </a:cubicBezTo>
                <a:cubicBezTo>
                  <a:pt x="4790653" y="3406039"/>
                  <a:pt x="4803015" y="3399270"/>
                  <a:pt x="4811253" y="3385734"/>
                </a:cubicBezTo>
                <a:cubicBezTo>
                  <a:pt x="4815372" y="3378968"/>
                  <a:pt x="4825674" y="3372198"/>
                  <a:pt x="4835974" y="3376710"/>
                </a:cubicBezTo>
                <a:cubicBezTo>
                  <a:pt x="4842155" y="3378968"/>
                  <a:pt x="4846275" y="3374456"/>
                  <a:pt x="4850395" y="3372198"/>
                </a:cubicBezTo>
                <a:cubicBezTo>
                  <a:pt x="4848333" y="3369944"/>
                  <a:pt x="4846275" y="3369944"/>
                  <a:pt x="4844213" y="3367687"/>
                </a:cubicBezTo>
                <a:cubicBezTo>
                  <a:pt x="4846275" y="3363174"/>
                  <a:pt x="4850395" y="3360921"/>
                  <a:pt x="4854515" y="3358663"/>
                </a:cubicBezTo>
                <a:cubicBezTo>
                  <a:pt x="4875115" y="3347385"/>
                  <a:pt x="4897775" y="3336104"/>
                  <a:pt x="4918375" y="3324825"/>
                </a:cubicBezTo>
                <a:cubicBezTo>
                  <a:pt x="4928674" y="3318056"/>
                  <a:pt x="4938976" y="3311290"/>
                  <a:pt x="4951333" y="3306778"/>
                </a:cubicBezTo>
                <a:cubicBezTo>
                  <a:pt x="4988417" y="3288730"/>
                  <a:pt x="5025495" y="3270682"/>
                  <a:pt x="5062576" y="3254894"/>
                </a:cubicBezTo>
                <a:cubicBezTo>
                  <a:pt x="5070816" y="3250380"/>
                  <a:pt x="5079056" y="3248124"/>
                  <a:pt x="5083177" y="3243612"/>
                </a:cubicBezTo>
                <a:cubicBezTo>
                  <a:pt x="5089356" y="3236846"/>
                  <a:pt x="5099657" y="3232334"/>
                  <a:pt x="5107897" y="3227822"/>
                </a:cubicBezTo>
                <a:cubicBezTo>
                  <a:pt x="5112017" y="3225565"/>
                  <a:pt x="5116138" y="3223310"/>
                  <a:pt x="5118196" y="3221054"/>
                </a:cubicBezTo>
                <a:cubicBezTo>
                  <a:pt x="5124377" y="3214286"/>
                  <a:pt x="5134677" y="3209774"/>
                  <a:pt x="5142916" y="3205263"/>
                </a:cubicBezTo>
                <a:cubicBezTo>
                  <a:pt x="5184118" y="3187216"/>
                  <a:pt x="5225318" y="3171425"/>
                  <a:pt x="5266520" y="3153378"/>
                </a:cubicBezTo>
                <a:cubicBezTo>
                  <a:pt x="5295357" y="3142096"/>
                  <a:pt x="5324198" y="3128562"/>
                  <a:pt x="5353039" y="3117283"/>
                </a:cubicBezTo>
                <a:cubicBezTo>
                  <a:pt x="5367457" y="3110514"/>
                  <a:pt x="5383938" y="3106005"/>
                  <a:pt x="5398360" y="3099236"/>
                </a:cubicBezTo>
                <a:cubicBezTo>
                  <a:pt x="5398360" y="3099236"/>
                  <a:pt x="5396298" y="3101490"/>
                  <a:pt x="5396298" y="3101490"/>
                </a:cubicBezTo>
                <a:cubicBezTo>
                  <a:pt x="5404539" y="3103747"/>
                  <a:pt x="5410720" y="3096978"/>
                  <a:pt x="5416898" y="3094724"/>
                </a:cubicBezTo>
                <a:cubicBezTo>
                  <a:pt x="5416898" y="3094724"/>
                  <a:pt x="5416898" y="3092469"/>
                  <a:pt x="5416898" y="3092469"/>
                </a:cubicBezTo>
                <a:cubicBezTo>
                  <a:pt x="5423080" y="3090212"/>
                  <a:pt x="5429259" y="3087954"/>
                  <a:pt x="5433380" y="3085700"/>
                </a:cubicBezTo>
                <a:cubicBezTo>
                  <a:pt x="5437500" y="3087954"/>
                  <a:pt x="5439561" y="3090212"/>
                  <a:pt x="5441619" y="3087954"/>
                </a:cubicBezTo>
                <a:cubicBezTo>
                  <a:pt x="5451921" y="3087954"/>
                  <a:pt x="5456039" y="3085700"/>
                  <a:pt x="5464282" y="3074418"/>
                </a:cubicBezTo>
                <a:cubicBezTo>
                  <a:pt x="5458100" y="3076676"/>
                  <a:pt x="5451921" y="3076676"/>
                  <a:pt x="5445739" y="3078934"/>
                </a:cubicBezTo>
                <a:cubicBezTo>
                  <a:pt x="5453980" y="3076676"/>
                  <a:pt x="5460159" y="3072165"/>
                  <a:pt x="5466341" y="3065398"/>
                </a:cubicBezTo>
                <a:cubicBezTo>
                  <a:pt x="5470460" y="3058629"/>
                  <a:pt x="5478700" y="3056374"/>
                  <a:pt x="5484880" y="3054116"/>
                </a:cubicBezTo>
                <a:cubicBezTo>
                  <a:pt x="5495180" y="3049605"/>
                  <a:pt x="5507541" y="3047350"/>
                  <a:pt x="5519901" y="3045093"/>
                </a:cubicBezTo>
                <a:cubicBezTo>
                  <a:pt x="5519901" y="3051863"/>
                  <a:pt x="5526080" y="3049605"/>
                  <a:pt x="5530200" y="3049605"/>
                </a:cubicBezTo>
                <a:cubicBezTo>
                  <a:pt x="5554921" y="3040582"/>
                  <a:pt x="5579641" y="3033816"/>
                  <a:pt x="5604362" y="3024791"/>
                </a:cubicBezTo>
                <a:cubicBezTo>
                  <a:pt x="5616723" y="3020280"/>
                  <a:pt x="5627021" y="3011256"/>
                  <a:pt x="5633203" y="2999974"/>
                </a:cubicBezTo>
                <a:cubicBezTo>
                  <a:pt x="5633203" y="2999974"/>
                  <a:pt x="5635262" y="2999974"/>
                  <a:pt x="5637323" y="2997720"/>
                </a:cubicBezTo>
                <a:cubicBezTo>
                  <a:pt x="5639382" y="2999974"/>
                  <a:pt x="5643501" y="2999974"/>
                  <a:pt x="5647621" y="3002232"/>
                </a:cubicBezTo>
                <a:cubicBezTo>
                  <a:pt x="5647621" y="2995462"/>
                  <a:pt x="5649683" y="2993208"/>
                  <a:pt x="5649683" y="2988696"/>
                </a:cubicBezTo>
                <a:cubicBezTo>
                  <a:pt x="5643501" y="2988696"/>
                  <a:pt x="5639382" y="2988696"/>
                  <a:pt x="5633203" y="2988696"/>
                </a:cubicBezTo>
                <a:cubicBezTo>
                  <a:pt x="5637323" y="2984185"/>
                  <a:pt x="5641440" y="2979672"/>
                  <a:pt x="5645560" y="2975160"/>
                </a:cubicBezTo>
                <a:cubicBezTo>
                  <a:pt x="5631141" y="2975160"/>
                  <a:pt x="5620840" y="2979672"/>
                  <a:pt x="5610541" y="2984185"/>
                </a:cubicBezTo>
                <a:cubicBezTo>
                  <a:pt x="5589941" y="2990954"/>
                  <a:pt x="5571401" y="2999974"/>
                  <a:pt x="5550801" y="3006744"/>
                </a:cubicBezTo>
                <a:cubicBezTo>
                  <a:pt x="5538441" y="3011256"/>
                  <a:pt x="5526080" y="3015767"/>
                  <a:pt x="5517840" y="3022534"/>
                </a:cubicBezTo>
                <a:cubicBezTo>
                  <a:pt x="5509600" y="3022534"/>
                  <a:pt x="5503421" y="3022534"/>
                  <a:pt x="5497239" y="3024791"/>
                </a:cubicBezTo>
                <a:cubicBezTo>
                  <a:pt x="5472521" y="3033816"/>
                  <a:pt x="5449860" y="3040582"/>
                  <a:pt x="5425139" y="3049605"/>
                </a:cubicBezTo>
                <a:cubicBezTo>
                  <a:pt x="5423080" y="3049605"/>
                  <a:pt x="5418960" y="3051863"/>
                  <a:pt x="5416898" y="3051863"/>
                </a:cubicBezTo>
                <a:cubicBezTo>
                  <a:pt x="5406600" y="3054116"/>
                  <a:pt x="5398360" y="3056374"/>
                  <a:pt x="5388059" y="3063140"/>
                </a:cubicBezTo>
                <a:cubicBezTo>
                  <a:pt x="5373639" y="3072165"/>
                  <a:pt x="5359220" y="3076676"/>
                  <a:pt x="5340679" y="3076676"/>
                </a:cubicBezTo>
                <a:cubicBezTo>
                  <a:pt x="5350980" y="3069910"/>
                  <a:pt x="5359220" y="3065398"/>
                  <a:pt x="5363338" y="3056374"/>
                </a:cubicBezTo>
                <a:cubicBezTo>
                  <a:pt x="5367457" y="3051863"/>
                  <a:pt x="5371578" y="3047350"/>
                  <a:pt x="5377759" y="3045093"/>
                </a:cubicBezTo>
                <a:cubicBezTo>
                  <a:pt x="5394239" y="3038327"/>
                  <a:pt x="5412779" y="3033816"/>
                  <a:pt x="5427200" y="3018022"/>
                </a:cubicBezTo>
                <a:cubicBezTo>
                  <a:pt x="5429259" y="3015767"/>
                  <a:pt x="5431321" y="3015767"/>
                  <a:pt x="5433380" y="3015767"/>
                </a:cubicBezTo>
                <a:cubicBezTo>
                  <a:pt x="5460159" y="3002232"/>
                  <a:pt x="5486941" y="2988696"/>
                  <a:pt x="5511661" y="2977418"/>
                </a:cubicBezTo>
                <a:cubicBezTo>
                  <a:pt x="5513720" y="2972904"/>
                  <a:pt x="5515782" y="2970649"/>
                  <a:pt x="5517840" y="2968394"/>
                </a:cubicBezTo>
                <a:cubicBezTo>
                  <a:pt x="5524021" y="2966138"/>
                  <a:pt x="5530200" y="2963883"/>
                  <a:pt x="5536382" y="2957113"/>
                </a:cubicBezTo>
                <a:cubicBezTo>
                  <a:pt x="5542560" y="2950347"/>
                  <a:pt x="5552860" y="2954858"/>
                  <a:pt x="5559041" y="2952602"/>
                </a:cubicBezTo>
                <a:cubicBezTo>
                  <a:pt x="5561102" y="2952602"/>
                  <a:pt x="5561102" y="2952602"/>
                  <a:pt x="5563161" y="2950347"/>
                </a:cubicBezTo>
                <a:cubicBezTo>
                  <a:pt x="5567281" y="2945836"/>
                  <a:pt x="5573460" y="2945836"/>
                  <a:pt x="5579641" y="2945836"/>
                </a:cubicBezTo>
                <a:cubicBezTo>
                  <a:pt x="5583762" y="2945836"/>
                  <a:pt x="5585823" y="2943578"/>
                  <a:pt x="5587882" y="2939066"/>
                </a:cubicBezTo>
                <a:cubicBezTo>
                  <a:pt x="5585823" y="2936811"/>
                  <a:pt x="5585823" y="2936811"/>
                  <a:pt x="5583762" y="2934554"/>
                </a:cubicBezTo>
                <a:cubicBezTo>
                  <a:pt x="5583762" y="2934554"/>
                  <a:pt x="5583762" y="2934554"/>
                  <a:pt x="5581700" y="2934554"/>
                </a:cubicBezTo>
                <a:lnTo>
                  <a:pt x="5583762" y="2933426"/>
                </a:lnTo>
                <a:lnTo>
                  <a:pt x="5583762" y="2927788"/>
                </a:lnTo>
                <a:cubicBezTo>
                  <a:pt x="5583762" y="2927788"/>
                  <a:pt x="5585823" y="2927788"/>
                  <a:pt x="5585823" y="2927788"/>
                </a:cubicBezTo>
                <a:lnTo>
                  <a:pt x="5587588" y="2931656"/>
                </a:lnTo>
                <a:lnTo>
                  <a:pt x="5595092" y="2928916"/>
                </a:lnTo>
                <a:lnTo>
                  <a:pt x="5596121" y="2927788"/>
                </a:lnTo>
                <a:cubicBezTo>
                  <a:pt x="5596121" y="2927788"/>
                  <a:pt x="5598180" y="2927788"/>
                  <a:pt x="5598180" y="2927788"/>
                </a:cubicBezTo>
                <a:lnTo>
                  <a:pt x="5595092" y="2928916"/>
                </a:lnTo>
                <a:lnTo>
                  <a:pt x="5592001" y="2932300"/>
                </a:lnTo>
                <a:cubicBezTo>
                  <a:pt x="5596121" y="2932300"/>
                  <a:pt x="5598180" y="2934554"/>
                  <a:pt x="5602301" y="2934554"/>
                </a:cubicBezTo>
                <a:cubicBezTo>
                  <a:pt x="5616723" y="2934554"/>
                  <a:pt x="5627021" y="2925530"/>
                  <a:pt x="5637323" y="2916507"/>
                </a:cubicBezTo>
                <a:cubicBezTo>
                  <a:pt x="5639382" y="2916507"/>
                  <a:pt x="5641440" y="2914252"/>
                  <a:pt x="5643501" y="2914252"/>
                </a:cubicBezTo>
                <a:cubicBezTo>
                  <a:pt x="5645560" y="2916507"/>
                  <a:pt x="5645560" y="2916507"/>
                  <a:pt x="5647621" y="2916507"/>
                </a:cubicBezTo>
                <a:cubicBezTo>
                  <a:pt x="5655862" y="2916507"/>
                  <a:pt x="5662041" y="2916507"/>
                  <a:pt x="5670281" y="2914252"/>
                </a:cubicBezTo>
                <a:cubicBezTo>
                  <a:pt x="5686762" y="2907482"/>
                  <a:pt x="5703242" y="2905228"/>
                  <a:pt x="5717663" y="2900716"/>
                </a:cubicBezTo>
                <a:cubicBezTo>
                  <a:pt x="5725903" y="2898460"/>
                  <a:pt x="5734141" y="2896205"/>
                  <a:pt x="5740323" y="2893947"/>
                </a:cubicBezTo>
                <a:cubicBezTo>
                  <a:pt x="5748562" y="2889438"/>
                  <a:pt x="5756803" y="2887180"/>
                  <a:pt x="5765043" y="2884924"/>
                </a:cubicBezTo>
                <a:cubicBezTo>
                  <a:pt x="5775342" y="2884924"/>
                  <a:pt x="5783582" y="2882669"/>
                  <a:pt x="5791825" y="2878158"/>
                </a:cubicBezTo>
                <a:cubicBezTo>
                  <a:pt x="5800062" y="2875903"/>
                  <a:pt x="5810364" y="2873645"/>
                  <a:pt x="5818604" y="2871388"/>
                </a:cubicBezTo>
                <a:cubicBezTo>
                  <a:pt x="5826842" y="2869133"/>
                  <a:pt x="5833023" y="2866878"/>
                  <a:pt x="5841263" y="2864622"/>
                </a:cubicBezTo>
                <a:cubicBezTo>
                  <a:pt x="5849503" y="2851086"/>
                  <a:pt x="5863926" y="2855598"/>
                  <a:pt x="5874224" y="2851086"/>
                </a:cubicBezTo>
                <a:cubicBezTo>
                  <a:pt x="5905124" y="2848831"/>
                  <a:pt x="5938085" y="2848831"/>
                  <a:pt x="5968983" y="2846574"/>
                </a:cubicBezTo>
                <a:cubicBezTo>
                  <a:pt x="5979285" y="2846574"/>
                  <a:pt x="5991645" y="2846574"/>
                  <a:pt x="6001945" y="2839808"/>
                </a:cubicBezTo>
                <a:cubicBezTo>
                  <a:pt x="6010185" y="2835296"/>
                  <a:pt x="6018425" y="2835296"/>
                  <a:pt x="6026665" y="2837550"/>
                </a:cubicBezTo>
                <a:cubicBezTo>
                  <a:pt x="6034906" y="2839808"/>
                  <a:pt x="6043145" y="2842062"/>
                  <a:pt x="6049327" y="2842062"/>
                </a:cubicBezTo>
                <a:cubicBezTo>
                  <a:pt x="6065804" y="2842062"/>
                  <a:pt x="6084347" y="2839808"/>
                  <a:pt x="6100827" y="2839808"/>
                </a:cubicBezTo>
                <a:cubicBezTo>
                  <a:pt x="6102886" y="2839808"/>
                  <a:pt x="6102886" y="2837550"/>
                  <a:pt x="6107006" y="2835296"/>
                </a:cubicBezTo>
                <a:cubicBezTo>
                  <a:pt x="6098765" y="2833038"/>
                  <a:pt x="6094645" y="2830784"/>
                  <a:pt x="6088467" y="2830784"/>
                </a:cubicBezTo>
                <a:cubicBezTo>
                  <a:pt x="6082285" y="2830784"/>
                  <a:pt x="6076106" y="2833038"/>
                  <a:pt x="6069927" y="2828527"/>
                </a:cubicBezTo>
                <a:cubicBezTo>
                  <a:pt x="6086406" y="2824016"/>
                  <a:pt x="6102886" y="2824016"/>
                  <a:pt x="6117307" y="2828527"/>
                </a:cubicBezTo>
                <a:cubicBezTo>
                  <a:pt x="6123486" y="2824016"/>
                  <a:pt x="6129665" y="2819502"/>
                  <a:pt x="6135847" y="2814991"/>
                </a:cubicBezTo>
                <a:cubicBezTo>
                  <a:pt x="6135847" y="2812736"/>
                  <a:pt x="6133788" y="2810480"/>
                  <a:pt x="6133788" y="2808225"/>
                </a:cubicBezTo>
                <a:cubicBezTo>
                  <a:pt x="6131726" y="2805968"/>
                  <a:pt x="6129665" y="2803714"/>
                  <a:pt x="6127606" y="2803714"/>
                </a:cubicBezTo>
                <a:cubicBezTo>
                  <a:pt x="6113187" y="2801455"/>
                  <a:pt x="6098765" y="2799200"/>
                  <a:pt x="6082285" y="2796944"/>
                </a:cubicBezTo>
                <a:cubicBezTo>
                  <a:pt x="6076106" y="2796944"/>
                  <a:pt x="6069927" y="2794689"/>
                  <a:pt x="6063746" y="2794689"/>
                </a:cubicBezTo>
                <a:cubicBezTo>
                  <a:pt x="6065804" y="2794689"/>
                  <a:pt x="6067866" y="2794689"/>
                  <a:pt x="6067866" y="2792432"/>
                </a:cubicBezTo>
                <a:cubicBezTo>
                  <a:pt x="6074045" y="2790178"/>
                  <a:pt x="6078165" y="2787920"/>
                  <a:pt x="6084347" y="2778898"/>
                </a:cubicBezTo>
                <a:cubicBezTo>
                  <a:pt x="6078165" y="2778898"/>
                  <a:pt x="6074045" y="2781153"/>
                  <a:pt x="6071986" y="2781153"/>
                </a:cubicBezTo>
                <a:cubicBezTo>
                  <a:pt x="6045206" y="2785666"/>
                  <a:pt x="6020486" y="2790178"/>
                  <a:pt x="5993704" y="2796944"/>
                </a:cubicBezTo>
                <a:cubicBezTo>
                  <a:pt x="5985465" y="2799200"/>
                  <a:pt x="5979285" y="2801455"/>
                  <a:pt x="5971045" y="2803714"/>
                </a:cubicBezTo>
                <a:cubicBezTo>
                  <a:pt x="5964863" y="2803714"/>
                  <a:pt x="5956626" y="2803714"/>
                  <a:pt x="5950445" y="2801455"/>
                </a:cubicBezTo>
                <a:cubicBezTo>
                  <a:pt x="5946324" y="2801455"/>
                  <a:pt x="5942204" y="2801455"/>
                  <a:pt x="5940143" y="2803714"/>
                </a:cubicBezTo>
                <a:cubicBezTo>
                  <a:pt x="5927785" y="2812736"/>
                  <a:pt x="5915426" y="2810480"/>
                  <a:pt x="5901003" y="2805968"/>
                </a:cubicBezTo>
                <a:cubicBezTo>
                  <a:pt x="5901003" y="2805968"/>
                  <a:pt x="5901003" y="2805968"/>
                  <a:pt x="5898945" y="2805968"/>
                </a:cubicBezTo>
                <a:cubicBezTo>
                  <a:pt x="5896883" y="2799200"/>
                  <a:pt x="5894824" y="2794689"/>
                  <a:pt x="5886585" y="2796944"/>
                </a:cubicBezTo>
                <a:cubicBezTo>
                  <a:pt x="5882465" y="2796944"/>
                  <a:pt x="5878344" y="2799200"/>
                  <a:pt x="5874224" y="2799200"/>
                </a:cubicBezTo>
                <a:cubicBezTo>
                  <a:pt x="5876283" y="2799200"/>
                  <a:pt x="5878344" y="2796944"/>
                  <a:pt x="5878344" y="2796944"/>
                </a:cubicBezTo>
                <a:cubicBezTo>
                  <a:pt x="5892763" y="2792432"/>
                  <a:pt x="5909244" y="2787920"/>
                  <a:pt x="5925724" y="2783408"/>
                </a:cubicBezTo>
                <a:cubicBezTo>
                  <a:pt x="5931906" y="2781153"/>
                  <a:pt x="5938085" y="2781153"/>
                  <a:pt x="5942204" y="2778898"/>
                </a:cubicBezTo>
                <a:cubicBezTo>
                  <a:pt x="5942204" y="2778898"/>
                  <a:pt x="5944263" y="2778898"/>
                  <a:pt x="5944263" y="2778898"/>
                </a:cubicBezTo>
                <a:cubicBezTo>
                  <a:pt x="5950445" y="2778898"/>
                  <a:pt x="5956626" y="2778898"/>
                  <a:pt x="5962805" y="2778898"/>
                </a:cubicBezTo>
                <a:cubicBezTo>
                  <a:pt x="5971045" y="2778898"/>
                  <a:pt x="5979285" y="2781153"/>
                  <a:pt x="5983406" y="2772130"/>
                </a:cubicBezTo>
                <a:cubicBezTo>
                  <a:pt x="5983406" y="2769873"/>
                  <a:pt x="5987526" y="2772130"/>
                  <a:pt x="5989584" y="2769873"/>
                </a:cubicBezTo>
                <a:cubicBezTo>
                  <a:pt x="5993704" y="2769873"/>
                  <a:pt x="5997824" y="2769873"/>
                  <a:pt x="6001945" y="2769873"/>
                </a:cubicBezTo>
                <a:cubicBezTo>
                  <a:pt x="6016367" y="2767618"/>
                  <a:pt x="6028726" y="2767618"/>
                  <a:pt x="6041087" y="2774387"/>
                </a:cubicBezTo>
                <a:cubicBezTo>
                  <a:pt x="6049327" y="2776642"/>
                  <a:pt x="6055506" y="2778898"/>
                  <a:pt x="6063746" y="2781153"/>
                </a:cubicBezTo>
                <a:cubicBezTo>
                  <a:pt x="6067866" y="2781153"/>
                  <a:pt x="6069927" y="2778898"/>
                  <a:pt x="6074045" y="2776642"/>
                </a:cubicBezTo>
                <a:cubicBezTo>
                  <a:pt x="6071986" y="2767618"/>
                  <a:pt x="6082285" y="2772130"/>
                  <a:pt x="6084347" y="2765364"/>
                </a:cubicBezTo>
                <a:cubicBezTo>
                  <a:pt x="6080226" y="2763106"/>
                  <a:pt x="6074045" y="2760851"/>
                  <a:pt x="6069927" y="2758594"/>
                </a:cubicBezTo>
                <a:cubicBezTo>
                  <a:pt x="6065804" y="2756340"/>
                  <a:pt x="6061685" y="2751828"/>
                  <a:pt x="6057565" y="2749571"/>
                </a:cubicBezTo>
                <a:cubicBezTo>
                  <a:pt x="6061685" y="2745058"/>
                  <a:pt x="6063746" y="2740547"/>
                  <a:pt x="6063746" y="2736036"/>
                </a:cubicBezTo>
                <a:cubicBezTo>
                  <a:pt x="6067866" y="2736036"/>
                  <a:pt x="6071986" y="2733780"/>
                  <a:pt x="6078165" y="2733780"/>
                </a:cubicBezTo>
                <a:cubicBezTo>
                  <a:pt x="6080226" y="2733780"/>
                  <a:pt x="6084347" y="2733780"/>
                  <a:pt x="6084347" y="2729269"/>
                </a:cubicBezTo>
                <a:cubicBezTo>
                  <a:pt x="6076106" y="2717988"/>
                  <a:pt x="6067866" y="2731524"/>
                  <a:pt x="6057565" y="2727011"/>
                </a:cubicBezTo>
                <a:cubicBezTo>
                  <a:pt x="6069927" y="2720245"/>
                  <a:pt x="6080226" y="2717988"/>
                  <a:pt x="6092586" y="2715734"/>
                </a:cubicBezTo>
                <a:cubicBezTo>
                  <a:pt x="6102886" y="2713476"/>
                  <a:pt x="6111126" y="2711222"/>
                  <a:pt x="6117307" y="2699940"/>
                </a:cubicBezTo>
                <a:cubicBezTo>
                  <a:pt x="6117307" y="2699940"/>
                  <a:pt x="6119366" y="2699940"/>
                  <a:pt x="6119366" y="2699940"/>
                </a:cubicBezTo>
                <a:cubicBezTo>
                  <a:pt x="6123486" y="2697686"/>
                  <a:pt x="6127606" y="2695429"/>
                  <a:pt x="6131726" y="2695429"/>
                </a:cubicBezTo>
                <a:cubicBezTo>
                  <a:pt x="6135847" y="2695429"/>
                  <a:pt x="6137908" y="2695429"/>
                  <a:pt x="6139967" y="2693174"/>
                </a:cubicBezTo>
                <a:cubicBezTo>
                  <a:pt x="6144086" y="2693174"/>
                  <a:pt x="6146145" y="2690916"/>
                  <a:pt x="6150265" y="2690916"/>
                </a:cubicBezTo>
                <a:cubicBezTo>
                  <a:pt x="6150265" y="2690916"/>
                  <a:pt x="6152327" y="2688662"/>
                  <a:pt x="6154386" y="2686404"/>
                </a:cubicBezTo>
                <a:cubicBezTo>
                  <a:pt x="6133788" y="2688662"/>
                  <a:pt x="6115245" y="2693174"/>
                  <a:pt x="6098765" y="2702198"/>
                </a:cubicBezTo>
                <a:cubicBezTo>
                  <a:pt x="6098765" y="2702198"/>
                  <a:pt x="6100827" y="2704452"/>
                  <a:pt x="6100827" y="2704452"/>
                </a:cubicBezTo>
                <a:cubicBezTo>
                  <a:pt x="6088467" y="2706709"/>
                  <a:pt x="6076106" y="2708964"/>
                  <a:pt x="6065804" y="2711222"/>
                </a:cubicBezTo>
                <a:cubicBezTo>
                  <a:pt x="6069927" y="2708964"/>
                  <a:pt x="6074045" y="2706709"/>
                  <a:pt x="6078165" y="2702198"/>
                </a:cubicBezTo>
                <a:cubicBezTo>
                  <a:pt x="6078165" y="2699940"/>
                  <a:pt x="6076106" y="2697686"/>
                  <a:pt x="6076106" y="2695429"/>
                </a:cubicBezTo>
                <a:cubicBezTo>
                  <a:pt x="6076106" y="2693174"/>
                  <a:pt x="6076106" y="2693174"/>
                  <a:pt x="6076106" y="2690916"/>
                </a:cubicBezTo>
                <a:cubicBezTo>
                  <a:pt x="6071986" y="2690916"/>
                  <a:pt x="6067866" y="2690916"/>
                  <a:pt x="6063746" y="2690916"/>
                </a:cubicBezTo>
                <a:cubicBezTo>
                  <a:pt x="6051386" y="2688662"/>
                  <a:pt x="6036965" y="2686404"/>
                  <a:pt x="6024606" y="2684150"/>
                </a:cubicBezTo>
                <a:cubicBezTo>
                  <a:pt x="6024606" y="2684150"/>
                  <a:pt x="6024606" y="2684150"/>
                  <a:pt x="6022545" y="2684150"/>
                </a:cubicBezTo>
                <a:cubicBezTo>
                  <a:pt x="6039026" y="2679638"/>
                  <a:pt x="6055506" y="2675127"/>
                  <a:pt x="6071986" y="2672869"/>
                </a:cubicBezTo>
                <a:cubicBezTo>
                  <a:pt x="6071986" y="2675127"/>
                  <a:pt x="6069927" y="2675127"/>
                  <a:pt x="6069927" y="2677384"/>
                </a:cubicBezTo>
                <a:cubicBezTo>
                  <a:pt x="6080226" y="2675127"/>
                  <a:pt x="6090525" y="2672869"/>
                  <a:pt x="6098765" y="2672869"/>
                </a:cubicBezTo>
                <a:cubicBezTo>
                  <a:pt x="6117307" y="2668358"/>
                  <a:pt x="6133788" y="2663848"/>
                  <a:pt x="6152327" y="2661591"/>
                </a:cubicBezTo>
                <a:cubicBezTo>
                  <a:pt x="6168807" y="2659333"/>
                  <a:pt x="6183226" y="2654825"/>
                  <a:pt x="6199706" y="2650312"/>
                </a:cubicBezTo>
                <a:cubicBezTo>
                  <a:pt x="6201768" y="2650312"/>
                  <a:pt x="6201768" y="2648056"/>
                  <a:pt x="6205888" y="2645800"/>
                </a:cubicBezTo>
                <a:cubicBezTo>
                  <a:pt x="6195586" y="2643544"/>
                  <a:pt x="6187347" y="2645800"/>
                  <a:pt x="6181167" y="2648056"/>
                </a:cubicBezTo>
                <a:cubicBezTo>
                  <a:pt x="6164687" y="2652567"/>
                  <a:pt x="6148206" y="2654825"/>
                  <a:pt x="6131726" y="2657080"/>
                </a:cubicBezTo>
                <a:cubicBezTo>
                  <a:pt x="6121427" y="2657080"/>
                  <a:pt x="6111126" y="2659333"/>
                  <a:pt x="6100827" y="2659333"/>
                </a:cubicBezTo>
                <a:cubicBezTo>
                  <a:pt x="6092586" y="2659333"/>
                  <a:pt x="6086406" y="2661591"/>
                  <a:pt x="6080226" y="2666102"/>
                </a:cubicBezTo>
                <a:cubicBezTo>
                  <a:pt x="6057565" y="2668358"/>
                  <a:pt x="6034906" y="2670614"/>
                  <a:pt x="6014304" y="2672869"/>
                </a:cubicBezTo>
                <a:cubicBezTo>
                  <a:pt x="6022545" y="2666102"/>
                  <a:pt x="6030785" y="2666102"/>
                  <a:pt x="6039026" y="2663848"/>
                </a:cubicBezTo>
                <a:cubicBezTo>
                  <a:pt x="6043145" y="2661591"/>
                  <a:pt x="6045206" y="2661591"/>
                  <a:pt x="6049327" y="2659333"/>
                </a:cubicBezTo>
                <a:cubicBezTo>
                  <a:pt x="6063746" y="2661591"/>
                  <a:pt x="6080226" y="2661591"/>
                  <a:pt x="6094645" y="2657080"/>
                </a:cubicBezTo>
                <a:cubicBezTo>
                  <a:pt x="6115245" y="2652567"/>
                  <a:pt x="6133788" y="2648056"/>
                  <a:pt x="6154386" y="2645800"/>
                </a:cubicBezTo>
                <a:cubicBezTo>
                  <a:pt x="6174986" y="2643544"/>
                  <a:pt x="6195586" y="2643544"/>
                  <a:pt x="6216186" y="2639032"/>
                </a:cubicBezTo>
                <a:cubicBezTo>
                  <a:pt x="6240907" y="2634520"/>
                  <a:pt x="6267686" y="2630008"/>
                  <a:pt x="6292407" y="2625496"/>
                </a:cubicBezTo>
                <a:cubicBezTo>
                  <a:pt x="6294468" y="2625496"/>
                  <a:pt x="6298588" y="2623242"/>
                  <a:pt x="6298588" y="2616472"/>
                </a:cubicBezTo>
                <a:cubicBezTo>
                  <a:pt x="6282108" y="2618730"/>
                  <a:pt x="6265627" y="2618730"/>
                  <a:pt x="6251209" y="2620984"/>
                </a:cubicBezTo>
                <a:cubicBezTo>
                  <a:pt x="6230608" y="2623242"/>
                  <a:pt x="6210008" y="2627754"/>
                  <a:pt x="6189408" y="2630008"/>
                </a:cubicBezTo>
                <a:cubicBezTo>
                  <a:pt x="6193527" y="2627754"/>
                  <a:pt x="6197647" y="2627754"/>
                  <a:pt x="6199706" y="2627754"/>
                </a:cubicBezTo>
                <a:cubicBezTo>
                  <a:pt x="6195586" y="2625496"/>
                  <a:pt x="6191466" y="2623242"/>
                  <a:pt x="6189408" y="2623242"/>
                </a:cubicBezTo>
                <a:cubicBezTo>
                  <a:pt x="6181167" y="2623242"/>
                  <a:pt x="6170866" y="2623242"/>
                  <a:pt x="6162628" y="2625496"/>
                </a:cubicBezTo>
                <a:cubicBezTo>
                  <a:pt x="6125545" y="2632265"/>
                  <a:pt x="6086406" y="2639032"/>
                  <a:pt x="6049327" y="2645800"/>
                </a:cubicBezTo>
                <a:cubicBezTo>
                  <a:pt x="6045206" y="2645800"/>
                  <a:pt x="6041087" y="2648056"/>
                  <a:pt x="6034906" y="2648056"/>
                </a:cubicBezTo>
                <a:cubicBezTo>
                  <a:pt x="6030785" y="2645800"/>
                  <a:pt x="6026665" y="2645800"/>
                  <a:pt x="6022545" y="2643544"/>
                </a:cubicBezTo>
                <a:cubicBezTo>
                  <a:pt x="6020486" y="2643544"/>
                  <a:pt x="6020486" y="2641289"/>
                  <a:pt x="6018425" y="2641289"/>
                </a:cubicBezTo>
                <a:cubicBezTo>
                  <a:pt x="6022545" y="2641289"/>
                  <a:pt x="6024606" y="2639032"/>
                  <a:pt x="6028726" y="2639032"/>
                </a:cubicBezTo>
                <a:cubicBezTo>
                  <a:pt x="6034906" y="2636778"/>
                  <a:pt x="6041087" y="2636778"/>
                  <a:pt x="6049327" y="2627754"/>
                </a:cubicBezTo>
                <a:cubicBezTo>
                  <a:pt x="6034906" y="2630008"/>
                  <a:pt x="6024606" y="2632265"/>
                  <a:pt x="6012244" y="2634520"/>
                </a:cubicBezTo>
                <a:cubicBezTo>
                  <a:pt x="6012244" y="2634520"/>
                  <a:pt x="6010185" y="2632265"/>
                  <a:pt x="6010185" y="2632265"/>
                </a:cubicBezTo>
                <a:cubicBezTo>
                  <a:pt x="6012244" y="2630008"/>
                  <a:pt x="6012244" y="2627754"/>
                  <a:pt x="6014304" y="2625496"/>
                </a:cubicBezTo>
                <a:cubicBezTo>
                  <a:pt x="6022545" y="2625496"/>
                  <a:pt x="6030785" y="2627754"/>
                  <a:pt x="6041087" y="2623242"/>
                </a:cubicBezTo>
                <a:cubicBezTo>
                  <a:pt x="6047265" y="2620984"/>
                  <a:pt x="6053445" y="2618730"/>
                  <a:pt x="6059626" y="2618730"/>
                </a:cubicBezTo>
                <a:cubicBezTo>
                  <a:pt x="6080226" y="2623242"/>
                  <a:pt x="6100827" y="2611960"/>
                  <a:pt x="6121427" y="2607449"/>
                </a:cubicBezTo>
                <a:cubicBezTo>
                  <a:pt x="6131726" y="2607449"/>
                  <a:pt x="6142027" y="2605194"/>
                  <a:pt x="6150265" y="2600682"/>
                </a:cubicBezTo>
                <a:cubicBezTo>
                  <a:pt x="6146145" y="2600682"/>
                  <a:pt x="6144086" y="2600682"/>
                  <a:pt x="6139967" y="2600682"/>
                </a:cubicBezTo>
                <a:cubicBezTo>
                  <a:pt x="6142027" y="2600682"/>
                  <a:pt x="6142027" y="2598424"/>
                  <a:pt x="6144086" y="2598424"/>
                </a:cubicBezTo>
                <a:cubicBezTo>
                  <a:pt x="6135847" y="2591658"/>
                  <a:pt x="6123486" y="2602936"/>
                  <a:pt x="6113187" y="2589402"/>
                </a:cubicBezTo>
                <a:cubicBezTo>
                  <a:pt x="6123486" y="2589402"/>
                  <a:pt x="6131726" y="2589402"/>
                  <a:pt x="6137908" y="2589402"/>
                </a:cubicBezTo>
                <a:cubicBezTo>
                  <a:pt x="6146145" y="2589402"/>
                  <a:pt x="6152327" y="2584889"/>
                  <a:pt x="6160567" y="2582634"/>
                </a:cubicBezTo>
                <a:cubicBezTo>
                  <a:pt x="6168807" y="2580377"/>
                  <a:pt x="6174986" y="2580377"/>
                  <a:pt x="6183226" y="2578122"/>
                </a:cubicBezTo>
                <a:cubicBezTo>
                  <a:pt x="6191466" y="2575868"/>
                  <a:pt x="6197647" y="2573611"/>
                  <a:pt x="6205888" y="2571354"/>
                </a:cubicBezTo>
                <a:cubicBezTo>
                  <a:pt x="6214128" y="2569100"/>
                  <a:pt x="6220307" y="2569100"/>
                  <a:pt x="6228547" y="2566842"/>
                </a:cubicBezTo>
                <a:cubicBezTo>
                  <a:pt x="6234729" y="2564587"/>
                  <a:pt x="6242966" y="2566842"/>
                  <a:pt x="6249147" y="2557818"/>
                </a:cubicBezTo>
                <a:cubicBezTo>
                  <a:pt x="6234729" y="2553309"/>
                  <a:pt x="6220307" y="2560075"/>
                  <a:pt x="6212067" y="2557818"/>
                </a:cubicBezTo>
                <a:cubicBezTo>
                  <a:pt x="6210008" y="2551052"/>
                  <a:pt x="6210008" y="2544282"/>
                  <a:pt x="6207947" y="2542028"/>
                </a:cubicBezTo>
                <a:cubicBezTo>
                  <a:pt x="6205888" y="2539773"/>
                  <a:pt x="6201768" y="2539773"/>
                  <a:pt x="6199706" y="2539773"/>
                </a:cubicBezTo>
                <a:cubicBezTo>
                  <a:pt x="6179106" y="2546540"/>
                  <a:pt x="6158508" y="2546540"/>
                  <a:pt x="6137908" y="2546540"/>
                </a:cubicBezTo>
                <a:cubicBezTo>
                  <a:pt x="6121427" y="2546540"/>
                  <a:pt x="6104945" y="2551052"/>
                  <a:pt x="6090525" y="2557818"/>
                </a:cubicBezTo>
                <a:cubicBezTo>
                  <a:pt x="6074045" y="2560075"/>
                  <a:pt x="6057565" y="2562334"/>
                  <a:pt x="6039026" y="2564587"/>
                </a:cubicBezTo>
                <a:cubicBezTo>
                  <a:pt x="6045206" y="2566842"/>
                  <a:pt x="6051386" y="2566842"/>
                  <a:pt x="6057565" y="2566842"/>
                </a:cubicBezTo>
                <a:cubicBezTo>
                  <a:pt x="6059626" y="2566842"/>
                  <a:pt x="6061685" y="2566842"/>
                  <a:pt x="6061685" y="2566842"/>
                </a:cubicBezTo>
                <a:cubicBezTo>
                  <a:pt x="6055506" y="2569100"/>
                  <a:pt x="6049327" y="2569100"/>
                  <a:pt x="6045206" y="2571354"/>
                </a:cubicBezTo>
                <a:cubicBezTo>
                  <a:pt x="6043145" y="2571354"/>
                  <a:pt x="6041087" y="2580377"/>
                  <a:pt x="6039026" y="2584889"/>
                </a:cubicBezTo>
                <a:cubicBezTo>
                  <a:pt x="6032844" y="2582634"/>
                  <a:pt x="6028726" y="2580377"/>
                  <a:pt x="6024606" y="2578122"/>
                </a:cubicBezTo>
                <a:cubicBezTo>
                  <a:pt x="6020486" y="2575868"/>
                  <a:pt x="6018425" y="2575868"/>
                  <a:pt x="6014304" y="2575868"/>
                </a:cubicBezTo>
                <a:cubicBezTo>
                  <a:pt x="6018425" y="2575868"/>
                  <a:pt x="6020486" y="2571354"/>
                  <a:pt x="6018425" y="2566842"/>
                </a:cubicBezTo>
                <a:cubicBezTo>
                  <a:pt x="6010185" y="2566842"/>
                  <a:pt x="6004006" y="2569100"/>
                  <a:pt x="5995765" y="2569100"/>
                </a:cubicBezTo>
                <a:cubicBezTo>
                  <a:pt x="5971045" y="2569100"/>
                  <a:pt x="5944263" y="2569100"/>
                  <a:pt x="5919542" y="2569100"/>
                </a:cubicBezTo>
                <a:cubicBezTo>
                  <a:pt x="5925724" y="2566842"/>
                  <a:pt x="5931906" y="2562334"/>
                  <a:pt x="5936026" y="2553309"/>
                </a:cubicBezTo>
                <a:cubicBezTo>
                  <a:pt x="5940143" y="2544282"/>
                  <a:pt x="5954565" y="2551052"/>
                  <a:pt x="5962805" y="2537516"/>
                </a:cubicBezTo>
                <a:cubicBezTo>
                  <a:pt x="5944263" y="2539773"/>
                  <a:pt x="5929844" y="2539773"/>
                  <a:pt x="5915426" y="2539773"/>
                </a:cubicBezTo>
                <a:cubicBezTo>
                  <a:pt x="5940143" y="2533004"/>
                  <a:pt x="5962805" y="2526238"/>
                  <a:pt x="5987526" y="2526238"/>
                </a:cubicBezTo>
                <a:cubicBezTo>
                  <a:pt x="6018425" y="2526238"/>
                  <a:pt x="6041087" y="2510444"/>
                  <a:pt x="6065804" y="2492397"/>
                </a:cubicBezTo>
                <a:cubicBezTo>
                  <a:pt x="6065804" y="2492397"/>
                  <a:pt x="6065804" y="2490142"/>
                  <a:pt x="6065804" y="2487886"/>
                </a:cubicBezTo>
                <a:cubicBezTo>
                  <a:pt x="6055506" y="2483374"/>
                  <a:pt x="6045206" y="2485631"/>
                  <a:pt x="6034906" y="2487886"/>
                </a:cubicBezTo>
                <a:cubicBezTo>
                  <a:pt x="6014304" y="2492397"/>
                  <a:pt x="5991645" y="2494656"/>
                  <a:pt x="5971045" y="2494656"/>
                </a:cubicBezTo>
                <a:cubicBezTo>
                  <a:pt x="5979285" y="2490142"/>
                  <a:pt x="5987526" y="2487886"/>
                  <a:pt x="5997824" y="2490142"/>
                </a:cubicBezTo>
                <a:cubicBezTo>
                  <a:pt x="6001945" y="2490142"/>
                  <a:pt x="6008126" y="2490142"/>
                  <a:pt x="6012244" y="2487886"/>
                </a:cubicBezTo>
                <a:cubicBezTo>
                  <a:pt x="6018425" y="2487886"/>
                  <a:pt x="6020486" y="2485631"/>
                  <a:pt x="6022545" y="2478862"/>
                </a:cubicBezTo>
                <a:cubicBezTo>
                  <a:pt x="6024606" y="2476608"/>
                  <a:pt x="6026665" y="2474354"/>
                  <a:pt x="6028726" y="2474354"/>
                </a:cubicBezTo>
                <a:cubicBezTo>
                  <a:pt x="6036965" y="2476608"/>
                  <a:pt x="6043145" y="2478862"/>
                  <a:pt x="6053445" y="2481120"/>
                </a:cubicBezTo>
                <a:cubicBezTo>
                  <a:pt x="6053445" y="2478862"/>
                  <a:pt x="6055506" y="2474354"/>
                  <a:pt x="6055506" y="2472095"/>
                </a:cubicBezTo>
                <a:cubicBezTo>
                  <a:pt x="6055506" y="2469838"/>
                  <a:pt x="6057565" y="2467584"/>
                  <a:pt x="6059626" y="2465326"/>
                </a:cubicBezTo>
                <a:cubicBezTo>
                  <a:pt x="6074045" y="2463072"/>
                  <a:pt x="6088467" y="2458560"/>
                  <a:pt x="6102886" y="2454048"/>
                </a:cubicBezTo>
                <a:cubicBezTo>
                  <a:pt x="6107006" y="2454048"/>
                  <a:pt x="6113187" y="2454048"/>
                  <a:pt x="6117307" y="2454048"/>
                </a:cubicBezTo>
                <a:cubicBezTo>
                  <a:pt x="6117307" y="2454048"/>
                  <a:pt x="6117307" y="2456302"/>
                  <a:pt x="6117307" y="2456302"/>
                </a:cubicBezTo>
                <a:cubicBezTo>
                  <a:pt x="6115245" y="2456302"/>
                  <a:pt x="6113187" y="2458560"/>
                  <a:pt x="6111126" y="2458560"/>
                </a:cubicBezTo>
                <a:cubicBezTo>
                  <a:pt x="6117307" y="2463072"/>
                  <a:pt x="6123486" y="2460818"/>
                  <a:pt x="6129665" y="2460818"/>
                </a:cubicBezTo>
                <a:cubicBezTo>
                  <a:pt x="6146145" y="2458560"/>
                  <a:pt x="6162628" y="2463072"/>
                  <a:pt x="6181167" y="2463072"/>
                </a:cubicBezTo>
                <a:cubicBezTo>
                  <a:pt x="6187347" y="2463072"/>
                  <a:pt x="6191466" y="2467584"/>
                  <a:pt x="6195586" y="2469838"/>
                </a:cubicBezTo>
                <a:cubicBezTo>
                  <a:pt x="6199706" y="2472095"/>
                  <a:pt x="6201768" y="2474354"/>
                  <a:pt x="6205888" y="2474354"/>
                </a:cubicBezTo>
                <a:cubicBezTo>
                  <a:pt x="6216186" y="2474354"/>
                  <a:pt x="6222366" y="2481120"/>
                  <a:pt x="6228547" y="2490142"/>
                </a:cubicBezTo>
                <a:cubicBezTo>
                  <a:pt x="6226488" y="2494656"/>
                  <a:pt x="6224427" y="2499167"/>
                  <a:pt x="6224427" y="2503678"/>
                </a:cubicBezTo>
                <a:cubicBezTo>
                  <a:pt x="6228547" y="2503678"/>
                  <a:pt x="6230608" y="2503678"/>
                  <a:pt x="6234729" y="2501422"/>
                </a:cubicBezTo>
                <a:cubicBezTo>
                  <a:pt x="6238846" y="2492397"/>
                  <a:pt x="6238846" y="2485631"/>
                  <a:pt x="6232667" y="2478862"/>
                </a:cubicBezTo>
                <a:cubicBezTo>
                  <a:pt x="6228547" y="2474354"/>
                  <a:pt x="6224427" y="2472095"/>
                  <a:pt x="6220307" y="2467584"/>
                </a:cubicBezTo>
                <a:cubicBezTo>
                  <a:pt x="6216186" y="2467584"/>
                  <a:pt x="6210008" y="2467584"/>
                  <a:pt x="6207947" y="2463072"/>
                </a:cubicBezTo>
                <a:cubicBezTo>
                  <a:pt x="6205888" y="2463072"/>
                  <a:pt x="6203827" y="2463072"/>
                  <a:pt x="6201768" y="2460818"/>
                </a:cubicBezTo>
                <a:cubicBezTo>
                  <a:pt x="6189408" y="2456302"/>
                  <a:pt x="6174986" y="2449536"/>
                  <a:pt x="6160567" y="2451793"/>
                </a:cubicBezTo>
                <a:cubicBezTo>
                  <a:pt x="6154386" y="2451793"/>
                  <a:pt x="6150265" y="2451793"/>
                  <a:pt x="6144086" y="2449536"/>
                </a:cubicBezTo>
                <a:cubicBezTo>
                  <a:pt x="6137908" y="2447282"/>
                  <a:pt x="6131726" y="2445024"/>
                  <a:pt x="6125545" y="2445024"/>
                </a:cubicBezTo>
                <a:cubicBezTo>
                  <a:pt x="6137908" y="2442768"/>
                  <a:pt x="6152327" y="2442768"/>
                  <a:pt x="6164687" y="2440513"/>
                </a:cubicBezTo>
                <a:cubicBezTo>
                  <a:pt x="6177047" y="2438258"/>
                  <a:pt x="6191466" y="2440513"/>
                  <a:pt x="6201768" y="2429234"/>
                </a:cubicBezTo>
                <a:cubicBezTo>
                  <a:pt x="6210008" y="2420211"/>
                  <a:pt x="6222366" y="2420211"/>
                  <a:pt x="6232667" y="2426978"/>
                </a:cubicBezTo>
                <a:cubicBezTo>
                  <a:pt x="6240907" y="2431489"/>
                  <a:pt x="6247086" y="2431489"/>
                  <a:pt x="6255329" y="2426978"/>
                </a:cubicBezTo>
                <a:cubicBezTo>
                  <a:pt x="6259447" y="2424722"/>
                  <a:pt x="6265627" y="2426978"/>
                  <a:pt x="6267686" y="2429234"/>
                </a:cubicBezTo>
                <a:cubicBezTo>
                  <a:pt x="6275929" y="2438258"/>
                  <a:pt x="6280047" y="2424722"/>
                  <a:pt x="6284167" y="2424722"/>
                </a:cubicBezTo>
                <a:cubicBezTo>
                  <a:pt x="6290349" y="2424722"/>
                  <a:pt x="6296527" y="2433746"/>
                  <a:pt x="6304768" y="2429234"/>
                </a:cubicBezTo>
                <a:cubicBezTo>
                  <a:pt x="6317127" y="2424722"/>
                  <a:pt x="6329488" y="2422466"/>
                  <a:pt x="6343909" y="2420211"/>
                </a:cubicBezTo>
                <a:cubicBezTo>
                  <a:pt x="6348030" y="2420211"/>
                  <a:pt x="6354209" y="2420211"/>
                  <a:pt x="6352147" y="2411187"/>
                </a:cubicBezTo>
                <a:cubicBezTo>
                  <a:pt x="6313008" y="2406676"/>
                  <a:pt x="6273868" y="2404418"/>
                  <a:pt x="6234729" y="2408930"/>
                </a:cubicBezTo>
                <a:cubicBezTo>
                  <a:pt x="6199706" y="2413442"/>
                  <a:pt x="6162628" y="2420211"/>
                  <a:pt x="6127606" y="2429234"/>
                </a:cubicBezTo>
                <a:cubicBezTo>
                  <a:pt x="6119366" y="2431489"/>
                  <a:pt x="6113187" y="2429234"/>
                  <a:pt x="6104945" y="2429234"/>
                </a:cubicBezTo>
                <a:cubicBezTo>
                  <a:pt x="6100827" y="2429234"/>
                  <a:pt x="6094645" y="2431489"/>
                  <a:pt x="6090525" y="2436000"/>
                </a:cubicBezTo>
                <a:cubicBezTo>
                  <a:pt x="6090525" y="2436000"/>
                  <a:pt x="6088467" y="2436000"/>
                  <a:pt x="6088467" y="2436000"/>
                </a:cubicBezTo>
                <a:cubicBezTo>
                  <a:pt x="6084347" y="2436000"/>
                  <a:pt x="6082285" y="2431489"/>
                  <a:pt x="6084347" y="2426978"/>
                </a:cubicBezTo>
                <a:cubicBezTo>
                  <a:pt x="6082285" y="2426978"/>
                  <a:pt x="6080226" y="2426978"/>
                  <a:pt x="6076106" y="2426978"/>
                </a:cubicBezTo>
                <a:cubicBezTo>
                  <a:pt x="6074045" y="2424722"/>
                  <a:pt x="6074045" y="2422466"/>
                  <a:pt x="6074045" y="2420211"/>
                </a:cubicBezTo>
                <a:cubicBezTo>
                  <a:pt x="6071986" y="2420211"/>
                  <a:pt x="6069927" y="2420211"/>
                  <a:pt x="6067866" y="2420211"/>
                </a:cubicBezTo>
                <a:cubicBezTo>
                  <a:pt x="6067866" y="2420211"/>
                  <a:pt x="6067866" y="2417953"/>
                  <a:pt x="6065804" y="2417953"/>
                </a:cubicBezTo>
                <a:cubicBezTo>
                  <a:pt x="6063746" y="2415698"/>
                  <a:pt x="6061685" y="2413442"/>
                  <a:pt x="6059626" y="2411187"/>
                </a:cubicBezTo>
                <a:cubicBezTo>
                  <a:pt x="6080226" y="2411187"/>
                  <a:pt x="6100827" y="2411187"/>
                  <a:pt x="6121427" y="2402164"/>
                </a:cubicBezTo>
                <a:cubicBezTo>
                  <a:pt x="6121427" y="2397651"/>
                  <a:pt x="6121427" y="2395394"/>
                  <a:pt x="6121427" y="2390882"/>
                </a:cubicBezTo>
                <a:cubicBezTo>
                  <a:pt x="6111126" y="2390882"/>
                  <a:pt x="6098765" y="2393140"/>
                  <a:pt x="6088467" y="2395394"/>
                </a:cubicBezTo>
                <a:cubicBezTo>
                  <a:pt x="6076106" y="2397651"/>
                  <a:pt x="6063746" y="2402164"/>
                  <a:pt x="6051386" y="2404418"/>
                </a:cubicBezTo>
                <a:cubicBezTo>
                  <a:pt x="6049327" y="2402164"/>
                  <a:pt x="6047265" y="2399906"/>
                  <a:pt x="6045206" y="2397651"/>
                </a:cubicBezTo>
                <a:cubicBezTo>
                  <a:pt x="6049327" y="2390882"/>
                  <a:pt x="6057565" y="2399906"/>
                  <a:pt x="6059626" y="2390882"/>
                </a:cubicBezTo>
                <a:cubicBezTo>
                  <a:pt x="6055506" y="2384116"/>
                  <a:pt x="6049327" y="2377346"/>
                  <a:pt x="6045206" y="2370580"/>
                </a:cubicBezTo>
                <a:cubicBezTo>
                  <a:pt x="6043145" y="2368322"/>
                  <a:pt x="6041087" y="2368322"/>
                  <a:pt x="6039026" y="2366069"/>
                </a:cubicBezTo>
                <a:cubicBezTo>
                  <a:pt x="6043145" y="2363811"/>
                  <a:pt x="6047265" y="2363811"/>
                  <a:pt x="6051386" y="2361556"/>
                </a:cubicBezTo>
                <a:cubicBezTo>
                  <a:pt x="6045206" y="2359302"/>
                  <a:pt x="6041087" y="2357044"/>
                  <a:pt x="6034906" y="2357044"/>
                </a:cubicBezTo>
                <a:cubicBezTo>
                  <a:pt x="6034906" y="2354788"/>
                  <a:pt x="6034906" y="2350278"/>
                  <a:pt x="6036965" y="2345767"/>
                </a:cubicBezTo>
                <a:cubicBezTo>
                  <a:pt x="6036965" y="2343509"/>
                  <a:pt x="6039026" y="2343509"/>
                  <a:pt x="6041087" y="2341252"/>
                </a:cubicBezTo>
                <a:cubicBezTo>
                  <a:pt x="6047265" y="2341252"/>
                  <a:pt x="6051386" y="2343509"/>
                  <a:pt x="6057565" y="2348022"/>
                </a:cubicBezTo>
                <a:cubicBezTo>
                  <a:pt x="6067866" y="2336742"/>
                  <a:pt x="6082285" y="2334486"/>
                  <a:pt x="6094645" y="2334486"/>
                </a:cubicBezTo>
                <a:cubicBezTo>
                  <a:pt x="6104945" y="2334486"/>
                  <a:pt x="6113187" y="2336742"/>
                  <a:pt x="6123486" y="2336742"/>
                </a:cubicBezTo>
                <a:cubicBezTo>
                  <a:pt x="6129665" y="2336742"/>
                  <a:pt x="6133788" y="2341252"/>
                  <a:pt x="6137908" y="2343509"/>
                </a:cubicBezTo>
                <a:cubicBezTo>
                  <a:pt x="6142027" y="2345767"/>
                  <a:pt x="6144086" y="2348022"/>
                  <a:pt x="6148206" y="2348022"/>
                </a:cubicBezTo>
                <a:cubicBezTo>
                  <a:pt x="6158508" y="2348022"/>
                  <a:pt x="6164687" y="2354788"/>
                  <a:pt x="6170866" y="2363811"/>
                </a:cubicBezTo>
                <a:cubicBezTo>
                  <a:pt x="6168807" y="2368322"/>
                  <a:pt x="6166745" y="2372838"/>
                  <a:pt x="6166745" y="2377346"/>
                </a:cubicBezTo>
                <a:cubicBezTo>
                  <a:pt x="6170866" y="2377346"/>
                  <a:pt x="6172927" y="2377346"/>
                  <a:pt x="6177047" y="2375092"/>
                </a:cubicBezTo>
                <a:cubicBezTo>
                  <a:pt x="6181167" y="2366069"/>
                  <a:pt x="6181167" y="2359302"/>
                  <a:pt x="6174986" y="2352533"/>
                </a:cubicBezTo>
                <a:cubicBezTo>
                  <a:pt x="6170866" y="2348022"/>
                  <a:pt x="6166745" y="2345767"/>
                  <a:pt x="6162628" y="2341252"/>
                </a:cubicBezTo>
                <a:cubicBezTo>
                  <a:pt x="6158508" y="2341252"/>
                  <a:pt x="6152327" y="2341252"/>
                  <a:pt x="6150265" y="2336742"/>
                </a:cubicBezTo>
                <a:cubicBezTo>
                  <a:pt x="6148206" y="2336742"/>
                  <a:pt x="6146145" y="2336742"/>
                  <a:pt x="6144086" y="2334486"/>
                </a:cubicBezTo>
                <a:cubicBezTo>
                  <a:pt x="6137908" y="2332231"/>
                  <a:pt x="6129665" y="2329973"/>
                  <a:pt x="6123486" y="2327720"/>
                </a:cubicBezTo>
                <a:cubicBezTo>
                  <a:pt x="6127606" y="2325462"/>
                  <a:pt x="6133788" y="2320950"/>
                  <a:pt x="6137908" y="2316438"/>
                </a:cubicBezTo>
                <a:cubicBezTo>
                  <a:pt x="6123486" y="2320950"/>
                  <a:pt x="6107006" y="2323207"/>
                  <a:pt x="6090525" y="2325462"/>
                </a:cubicBezTo>
                <a:cubicBezTo>
                  <a:pt x="6090525" y="2325462"/>
                  <a:pt x="6088467" y="2325462"/>
                  <a:pt x="6088467" y="2325462"/>
                </a:cubicBezTo>
                <a:cubicBezTo>
                  <a:pt x="6084347" y="2323207"/>
                  <a:pt x="6080226" y="2320950"/>
                  <a:pt x="6074045" y="2320950"/>
                </a:cubicBezTo>
                <a:cubicBezTo>
                  <a:pt x="6088467" y="2316438"/>
                  <a:pt x="6100827" y="2314184"/>
                  <a:pt x="6115245" y="2316438"/>
                </a:cubicBezTo>
                <a:cubicBezTo>
                  <a:pt x="6123486" y="2316438"/>
                  <a:pt x="6129665" y="2316438"/>
                  <a:pt x="6137908" y="2316438"/>
                </a:cubicBezTo>
                <a:cubicBezTo>
                  <a:pt x="6164687" y="2314184"/>
                  <a:pt x="6189408" y="2311926"/>
                  <a:pt x="6216186" y="2309672"/>
                </a:cubicBezTo>
                <a:cubicBezTo>
                  <a:pt x="6224427" y="2309672"/>
                  <a:pt x="6232667" y="2311926"/>
                  <a:pt x="6236788" y="2300648"/>
                </a:cubicBezTo>
                <a:cubicBezTo>
                  <a:pt x="6238846" y="2293878"/>
                  <a:pt x="6226488" y="2284855"/>
                  <a:pt x="6214128" y="2284855"/>
                </a:cubicBezTo>
                <a:cubicBezTo>
                  <a:pt x="6210008" y="2284855"/>
                  <a:pt x="6207947" y="2287112"/>
                  <a:pt x="6203827" y="2287112"/>
                </a:cubicBezTo>
                <a:cubicBezTo>
                  <a:pt x="6181167" y="2289367"/>
                  <a:pt x="6160567" y="2291624"/>
                  <a:pt x="6137908" y="2291624"/>
                </a:cubicBezTo>
                <a:cubicBezTo>
                  <a:pt x="6123486" y="2291624"/>
                  <a:pt x="6109067" y="2291624"/>
                  <a:pt x="6094645" y="2291624"/>
                </a:cubicBezTo>
                <a:cubicBezTo>
                  <a:pt x="6094645" y="2291624"/>
                  <a:pt x="6092586" y="2291624"/>
                  <a:pt x="6092586" y="2291624"/>
                </a:cubicBezTo>
                <a:cubicBezTo>
                  <a:pt x="6129665" y="2280344"/>
                  <a:pt x="6166745" y="2271319"/>
                  <a:pt x="6203827" y="2260042"/>
                </a:cubicBezTo>
                <a:cubicBezTo>
                  <a:pt x="6228547" y="2253272"/>
                  <a:pt x="6242966" y="2235227"/>
                  <a:pt x="6249147" y="2217180"/>
                </a:cubicBezTo>
                <a:cubicBezTo>
                  <a:pt x="6284167" y="2214922"/>
                  <a:pt x="6292407" y="2187852"/>
                  <a:pt x="6329488" y="2185597"/>
                </a:cubicBezTo>
                <a:cubicBezTo>
                  <a:pt x="6413948" y="2181085"/>
                  <a:pt x="6442789" y="2075058"/>
                  <a:pt x="6358329" y="2068289"/>
                </a:cubicBezTo>
                <a:cubicBezTo>
                  <a:pt x="6335667" y="2066034"/>
                  <a:pt x="6315070" y="2066034"/>
                  <a:pt x="6292407" y="2063777"/>
                </a:cubicBezTo>
                <a:cubicBezTo>
                  <a:pt x="6294468" y="2054753"/>
                  <a:pt x="6294468" y="2047987"/>
                  <a:pt x="6294468" y="2038964"/>
                </a:cubicBezTo>
                <a:cubicBezTo>
                  <a:pt x="6308888" y="2038964"/>
                  <a:pt x="6321248" y="2036706"/>
                  <a:pt x="6335667" y="2036706"/>
                </a:cubicBezTo>
                <a:cubicBezTo>
                  <a:pt x="6327429" y="2029939"/>
                  <a:pt x="6315070" y="2038964"/>
                  <a:pt x="6306829" y="2029939"/>
                </a:cubicBezTo>
                <a:cubicBezTo>
                  <a:pt x="6308888" y="2027682"/>
                  <a:pt x="6308888" y="2027682"/>
                  <a:pt x="6310947" y="2027682"/>
                </a:cubicBezTo>
                <a:cubicBezTo>
                  <a:pt x="6325368" y="2025428"/>
                  <a:pt x="6341848" y="2025428"/>
                  <a:pt x="6356268" y="2023173"/>
                </a:cubicBezTo>
                <a:cubicBezTo>
                  <a:pt x="6358329" y="2020916"/>
                  <a:pt x="6360388" y="2016404"/>
                  <a:pt x="6360388" y="2014150"/>
                </a:cubicBezTo>
                <a:cubicBezTo>
                  <a:pt x="6364507" y="2018662"/>
                  <a:pt x="6368630" y="2023173"/>
                  <a:pt x="6374809" y="2025428"/>
                </a:cubicBezTo>
                <a:cubicBezTo>
                  <a:pt x="6376868" y="2011892"/>
                  <a:pt x="6378929" y="2009637"/>
                  <a:pt x="6387170" y="2009637"/>
                </a:cubicBezTo>
                <a:cubicBezTo>
                  <a:pt x="6389228" y="2009637"/>
                  <a:pt x="6393348" y="2009637"/>
                  <a:pt x="6395409" y="2007380"/>
                </a:cubicBezTo>
                <a:cubicBezTo>
                  <a:pt x="6399530" y="2007380"/>
                  <a:pt x="6403647" y="2005126"/>
                  <a:pt x="6407770" y="2005126"/>
                </a:cubicBezTo>
                <a:cubicBezTo>
                  <a:pt x="6411890" y="2005126"/>
                  <a:pt x="6416011" y="2005126"/>
                  <a:pt x="6420130" y="2005126"/>
                </a:cubicBezTo>
                <a:cubicBezTo>
                  <a:pt x="6409829" y="1996102"/>
                  <a:pt x="6397468" y="1998356"/>
                  <a:pt x="6385108" y="1998356"/>
                </a:cubicBezTo>
                <a:cubicBezTo>
                  <a:pt x="6378929" y="1998356"/>
                  <a:pt x="6372748" y="2000614"/>
                  <a:pt x="6366569" y="2002869"/>
                </a:cubicBezTo>
                <a:cubicBezTo>
                  <a:pt x="6364507" y="1998356"/>
                  <a:pt x="6364507" y="1993844"/>
                  <a:pt x="6362449" y="1989333"/>
                </a:cubicBezTo>
                <a:cubicBezTo>
                  <a:pt x="6366569" y="1987078"/>
                  <a:pt x="6370689" y="1984820"/>
                  <a:pt x="6374809" y="1980309"/>
                </a:cubicBezTo>
                <a:cubicBezTo>
                  <a:pt x="6368630" y="1978054"/>
                  <a:pt x="6368630" y="1978054"/>
                  <a:pt x="6362449" y="1980309"/>
                </a:cubicBezTo>
                <a:cubicBezTo>
                  <a:pt x="6358329" y="1982566"/>
                  <a:pt x="6348030" y="1980309"/>
                  <a:pt x="6345968" y="1975797"/>
                </a:cubicBezTo>
                <a:cubicBezTo>
                  <a:pt x="6343909" y="1969031"/>
                  <a:pt x="6341848" y="1964518"/>
                  <a:pt x="6339787" y="1957750"/>
                </a:cubicBezTo>
                <a:cubicBezTo>
                  <a:pt x="6348030" y="1955495"/>
                  <a:pt x="6354209" y="1946472"/>
                  <a:pt x="6362449" y="1955495"/>
                </a:cubicBezTo>
                <a:cubicBezTo>
                  <a:pt x="6366569" y="1960007"/>
                  <a:pt x="6370689" y="1955495"/>
                  <a:pt x="6372748" y="1950984"/>
                </a:cubicBezTo>
                <a:cubicBezTo>
                  <a:pt x="6374809" y="1948727"/>
                  <a:pt x="6376868" y="1946472"/>
                  <a:pt x="6376868" y="1944218"/>
                </a:cubicBezTo>
                <a:cubicBezTo>
                  <a:pt x="6376868" y="1941959"/>
                  <a:pt x="6378929" y="1939702"/>
                  <a:pt x="6378929" y="1935191"/>
                </a:cubicBezTo>
                <a:cubicBezTo>
                  <a:pt x="6356268" y="1932936"/>
                  <a:pt x="6333608" y="1930682"/>
                  <a:pt x="6310947" y="1928424"/>
                </a:cubicBezTo>
                <a:lnTo>
                  <a:pt x="6312248" y="1924741"/>
                </a:lnTo>
                <a:lnTo>
                  <a:pt x="6310947" y="1926166"/>
                </a:lnTo>
                <a:cubicBezTo>
                  <a:pt x="6310947" y="1922784"/>
                  <a:pt x="6311462" y="1921092"/>
                  <a:pt x="6312492" y="1920246"/>
                </a:cubicBezTo>
                <a:lnTo>
                  <a:pt x="6313931" y="1919984"/>
                </a:lnTo>
                <a:lnTo>
                  <a:pt x="6317128" y="1910940"/>
                </a:lnTo>
                <a:cubicBezTo>
                  <a:pt x="6320218" y="1906992"/>
                  <a:pt x="6324339" y="1904738"/>
                  <a:pt x="6329488" y="1903610"/>
                </a:cubicBezTo>
                <a:cubicBezTo>
                  <a:pt x="6323309" y="1903610"/>
                  <a:pt x="6321248" y="1901353"/>
                  <a:pt x="6317127" y="1901353"/>
                </a:cubicBezTo>
                <a:cubicBezTo>
                  <a:pt x="6323309" y="1899098"/>
                  <a:pt x="6325368" y="1896842"/>
                  <a:pt x="6329488" y="1896842"/>
                </a:cubicBezTo>
                <a:cubicBezTo>
                  <a:pt x="6319189" y="1894587"/>
                  <a:pt x="6308888" y="1894587"/>
                  <a:pt x="6300647" y="1894587"/>
                </a:cubicBezTo>
                <a:cubicBezTo>
                  <a:pt x="6294468" y="1894587"/>
                  <a:pt x="6288288" y="1896842"/>
                  <a:pt x="6282108" y="1896842"/>
                </a:cubicBezTo>
                <a:cubicBezTo>
                  <a:pt x="6273868" y="1896842"/>
                  <a:pt x="6265627" y="1892330"/>
                  <a:pt x="6257388" y="1903610"/>
                </a:cubicBezTo>
                <a:cubicBezTo>
                  <a:pt x="6257388" y="1905864"/>
                  <a:pt x="6253268" y="1903610"/>
                  <a:pt x="6251209" y="1903610"/>
                </a:cubicBezTo>
                <a:cubicBezTo>
                  <a:pt x="6245027" y="1903610"/>
                  <a:pt x="6238846" y="1903610"/>
                  <a:pt x="6232667" y="1901353"/>
                </a:cubicBezTo>
                <a:cubicBezTo>
                  <a:pt x="6222366" y="1901353"/>
                  <a:pt x="6212067" y="1899098"/>
                  <a:pt x="6201768" y="1899098"/>
                </a:cubicBezTo>
                <a:cubicBezTo>
                  <a:pt x="6201768" y="1899098"/>
                  <a:pt x="6201768" y="1896842"/>
                  <a:pt x="6201768" y="1894587"/>
                </a:cubicBezTo>
                <a:cubicBezTo>
                  <a:pt x="6207947" y="1894587"/>
                  <a:pt x="6212067" y="1894587"/>
                  <a:pt x="6218245" y="1894587"/>
                </a:cubicBezTo>
                <a:cubicBezTo>
                  <a:pt x="6226488" y="1894587"/>
                  <a:pt x="6230608" y="1892330"/>
                  <a:pt x="6234729" y="1883306"/>
                </a:cubicBezTo>
                <a:lnTo>
                  <a:pt x="6273868" y="1883306"/>
                </a:lnTo>
                <a:cubicBezTo>
                  <a:pt x="6273868" y="1885562"/>
                  <a:pt x="6273868" y="1885562"/>
                  <a:pt x="6273868" y="1887817"/>
                </a:cubicBezTo>
                <a:cubicBezTo>
                  <a:pt x="6275929" y="1885562"/>
                  <a:pt x="6280047" y="1885562"/>
                  <a:pt x="6282108" y="1883306"/>
                </a:cubicBezTo>
                <a:cubicBezTo>
                  <a:pt x="6284167" y="1883306"/>
                  <a:pt x="6284167" y="1883306"/>
                  <a:pt x="6286229" y="1883306"/>
                </a:cubicBezTo>
                <a:cubicBezTo>
                  <a:pt x="6304768" y="1883306"/>
                  <a:pt x="6325368" y="1883306"/>
                  <a:pt x="6343909" y="1883306"/>
                </a:cubicBezTo>
                <a:cubicBezTo>
                  <a:pt x="6372748" y="1883306"/>
                  <a:pt x="6401588" y="1872028"/>
                  <a:pt x="6430429" y="1867515"/>
                </a:cubicBezTo>
                <a:cubicBezTo>
                  <a:pt x="6432488" y="1867515"/>
                  <a:pt x="6432488" y="1865258"/>
                  <a:pt x="6436611" y="1860747"/>
                </a:cubicBezTo>
                <a:close/>
              </a:path>
            </a:pathLst>
          </a:custGeom>
          <a:solidFill>
            <a:srgbClr val="004E59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E116536-EAFF-0626-8A0B-4CFB850B0D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32686" y="2425700"/>
            <a:ext cx="2554514" cy="463550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953F834-6F46-B69E-C28F-795ABF74C4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32686" y="2971800"/>
            <a:ext cx="2554514" cy="32131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B14DB1A-A470-A156-0B9D-3A9A557D2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400"/>
            <a:ext cx="6718771" cy="66308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18C352-B22A-66C4-FF89-D08AFB644D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6718771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A740A3D-78BA-05DF-08C6-2A8C498206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6718771" cy="426891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B5ECEDB6-4203-6ACE-D6CD-6FF87466B40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4DD3A62F-7D0F-22DE-B098-D2C173E47B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62E0C7E4-AE92-E10D-82C0-3BBB2D9970B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0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EF9C1F0-9D88-EA72-244C-26A3FDFF9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14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A359A5-D128-9034-4054-9A638B6FB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52723" y="0"/>
            <a:ext cx="4439277" cy="6858000"/>
          </a:xfrm>
          <a:custGeom>
            <a:avLst/>
            <a:gdLst>
              <a:gd name="connsiteX0" fmla="*/ 3056238 w 4439277"/>
              <a:gd name="connsiteY0" fmla="*/ 6708222 h 6858000"/>
              <a:gd name="connsiteX1" fmla="*/ 3073602 w 4439277"/>
              <a:gd name="connsiteY1" fmla="*/ 6728079 h 6858000"/>
              <a:gd name="connsiteX2" fmla="*/ 3063678 w 4439277"/>
              <a:gd name="connsiteY2" fmla="*/ 6715666 h 6858000"/>
              <a:gd name="connsiteX3" fmla="*/ 3066161 w 4439277"/>
              <a:gd name="connsiteY3" fmla="*/ 6715666 h 6858000"/>
              <a:gd name="connsiteX4" fmla="*/ 3056238 w 4439277"/>
              <a:gd name="connsiteY4" fmla="*/ 6708222 h 6858000"/>
              <a:gd name="connsiteX5" fmla="*/ 1103918 w 4439277"/>
              <a:gd name="connsiteY5" fmla="*/ 5727794 h 6858000"/>
              <a:gd name="connsiteX6" fmla="*/ 1103918 w 4439277"/>
              <a:gd name="connsiteY6" fmla="*/ 5735238 h 6858000"/>
              <a:gd name="connsiteX7" fmla="*/ 1108879 w 4439277"/>
              <a:gd name="connsiteY7" fmla="*/ 5735238 h 6858000"/>
              <a:gd name="connsiteX8" fmla="*/ 1108879 w 4439277"/>
              <a:gd name="connsiteY8" fmla="*/ 5730274 h 6858000"/>
              <a:gd name="connsiteX9" fmla="*/ 1103918 w 4439277"/>
              <a:gd name="connsiteY9" fmla="*/ 5727794 h 6858000"/>
              <a:gd name="connsiteX10" fmla="*/ 1123764 w 4439277"/>
              <a:gd name="connsiteY10" fmla="*/ 5588795 h 6858000"/>
              <a:gd name="connsiteX11" fmla="*/ 1123764 w 4439277"/>
              <a:gd name="connsiteY11" fmla="*/ 5591278 h 6858000"/>
              <a:gd name="connsiteX12" fmla="*/ 1126244 w 4439277"/>
              <a:gd name="connsiteY12" fmla="*/ 5591278 h 6858000"/>
              <a:gd name="connsiteX13" fmla="*/ 1123764 w 4439277"/>
              <a:gd name="connsiteY13" fmla="*/ 5588795 h 6858000"/>
              <a:gd name="connsiteX14" fmla="*/ 1002208 w 4439277"/>
              <a:gd name="connsiteY14" fmla="*/ 5541636 h 6858000"/>
              <a:gd name="connsiteX15" fmla="*/ 1004687 w 4439277"/>
              <a:gd name="connsiteY15" fmla="*/ 5546600 h 6858000"/>
              <a:gd name="connsiteX16" fmla="*/ 1007171 w 4439277"/>
              <a:gd name="connsiteY16" fmla="*/ 5544119 h 6858000"/>
              <a:gd name="connsiteX17" fmla="*/ 1002208 w 4439277"/>
              <a:gd name="connsiteY17" fmla="*/ 5541636 h 6858000"/>
              <a:gd name="connsiteX18" fmla="*/ 838480 w 4439277"/>
              <a:gd name="connsiteY18" fmla="*/ 5380299 h 6858000"/>
              <a:gd name="connsiteX19" fmla="*/ 858325 w 4439277"/>
              <a:gd name="connsiteY19" fmla="*/ 5437389 h 6858000"/>
              <a:gd name="connsiteX20" fmla="*/ 838480 w 4439277"/>
              <a:gd name="connsiteY20" fmla="*/ 5380299 h 6858000"/>
              <a:gd name="connsiteX21" fmla="*/ 756617 w 4439277"/>
              <a:gd name="connsiteY21" fmla="*/ 5040252 h 6858000"/>
              <a:gd name="connsiteX22" fmla="*/ 744215 w 4439277"/>
              <a:gd name="connsiteY22" fmla="*/ 5050180 h 6858000"/>
              <a:gd name="connsiteX23" fmla="*/ 764061 w 4439277"/>
              <a:gd name="connsiteY23" fmla="*/ 5087410 h 6858000"/>
              <a:gd name="connsiteX24" fmla="*/ 756617 w 4439277"/>
              <a:gd name="connsiteY24" fmla="*/ 5040252 h 6858000"/>
              <a:gd name="connsiteX25" fmla="*/ 771501 w 4439277"/>
              <a:gd name="connsiteY25" fmla="*/ 4973236 h 6858000"/>
              <a:gd name="connsiteX26" fmla="*/ 769022 w 4439277"/>
              <a:gd name="connsiteY26" fmla="*/ 4975715 h 6858000"/>
              <a:gd name="connsiteX27" fmla="*/ 773983 w 4439277"/>
              <a:gd name="connsiteY27" fmla="*/ 4990612 h 6858000"/>
              <a:gd name="connsiteX28" fmla="*/ 776462 w 4439277"/>
              <a:gd name="connsiteY28" fmla="*/ 4980681 h 6858000"/>
              <a:gd name="connsiteX29" fmla="*/ 776462 w 4439277"/>
              <a:gd name="connsiteY29" fmla="*/ 4978200 h 6858000"/>
              <a:gd name="connsiteX30" fmla="*/ 771501 w 4439277"/>
              <a:gd name="connsiteY30" fmla="*/ 4973236 h 6858000"/>
              <a:gd name="connsiteX31" fmla="*/ 721886 w 4439277"/>
              <a:gd name="connsiteY31" fmla="*/ 4955862 h 6858000"/>
              <a:gd name="connsiteX32" fmla="*/ 734291 w 4439277"/>
              <a:gd name="connsiteY32" fmla="*/ 4995574 h 6858000"/>
              <a:gd name="connsiteX33" fmla="*/ 721886 w 4439277"/>
              <a:gd name="connsiteY33" fmla="*/ 4955862 h 6858000"/>
              <a:gd name="connsiteX34" fmla="*/ 689638 w 4439277"/>
              <a:gd name="connsiteY34" fmla="*/ 4801970 h 6858000"/>
              <a:gd name="connsiteX35" fmla="*/ 689638 w 4439277"/>
              <a:gd name="connsiteY35" fmla="*/ 4814382 h 6858000"/>
              <a:gd name="connsiteX36" fmla="*/ 702040 w 4439277"/>
              <a:gd name="connsiteY36" fmla="*/ 4816863 h 6858000"/>
              <a:gd name="connsiteX37" fmla="*/ 699561 w 4439277"/>
              <a:gd name="connsiteY37" fmla="*/ 4804453 h 6858000"/>
              <a:gd name="connsiteX38" fmla="*/ 689638 w 4439277"/>
              <a:gd name="connsiteY38" fmla="*/ 4801970 h 6858000"/>
              <a:gd name="connsiteX39" fmla="*/ 697081 w 4439277"/>
              <a:gd name="connsiteY39" fmla="*/ 4764739 h 6858000"/>
              <a:gd name="connsiteX40" fmla="*/ 692118 w 4439277"/>
              <a:gd name="connsiteY40" fmla="*/ 4767224 h 6858000"/>
              <a:gd name="connsiteX41" fmla="*/ 694599 w 4439277"/>
              <a:gd name="connsiteY41" fmla="*/ 4772184 h 6858000"/>
              <a:gd name="connsiteX42" fmla="*/ 702040 w 4439277"/>
              <a:gd name="connsiteY42" fmla="*/ 4772184 h 6858000"/>
              <a:gd name="connsiteX43" fmla="*/ 697081 w 4439277"/>
              <a:gd name="connsiteY43" fmla="*/ 4764739 h 6858000"/>
              <a:gd name="connsiteX44" fmla="*/ 1046859 w 4439277"/>
              <a:gd name="connsiteY44" fmla="*/ 4667937 h 6858000"/>
              <a:gd name="connsiteX45" fmla="*/ 1071667 w 4439277"/>
              <a:gd name="connsiteY45" fmla="*/ 4720061 h 6858000"/>
              <a:gd name="connsiteX46" fmla="*/ 1046859 w 4439277"/>
              <a:gd name="connsiteY46" fmla="*/ 4667937 h 6858000"/>
              <a:gd name="connsiteX47" fmla="*/ 850885 w 4439277"/>
              <a:gd name="connsiteY47" fmla="*/ 4658009 h 6858000"/>
              <a:gd name="connsiteX48" fmla="*/ 858325 w 4439277"/>
              <a:gd name="connsiteY48" fmla="*/ 4670418 h 6858000"/>
              <a:gd name="connsiteX49" fmla="*/ 870731 w 4439277"/>
              <a:gd name="connsiteY49" fmla="*/ 4680347 h 6858000"/>
              <a:gd name="connsiteX50" fmla="*/ 875692 w 4439277"/>
              <a:gd name="connsiteY50" fmla="*/ 4677867 h 6858000"/>
              <a:gd name="connsiteX51" fmla="*/ 870731 w 4439277"/>
              <a:gd name="connsiteY51" fmla="*/ 4675383 h 6858000"/>
              <a:gd name="connsiteX52" fmla="*/ 868249 w 4439277"/>
              <a:gd name="connsiteY52" fmla="*/ 4672903 h 6858000"/>
              <a:gd name="connsiteX53" fmla="*/ 850885 w 4439277"/>
              <a:gd name="connsiteY53" fmla="*/ 4658009 h 6858000"/>
              <a:gd name="connsiteX54" fmla="*/ 878171 w 4439277"/>
              <a:gd name="connsiteY54" fmla="*/ 4645597 h 6858000"/>
              <a:gd name="connsiteX55" fmla="*/ 880653 w 4439277"/>
              <a:gd name="connsiteY55" fmla="*/ 4672903 h 6858000"/>
              <a:gd name="connsiteX56" fmla="*/ 888095 w 4439277"/>
              <a:gd name="connsiteY56" fmla="*/ 4667937 h 6858000"/>
              <a:gd name="connsiteX57" fmla="*/ 883133 w 4439277"/>
              <a:gd name="connsiteY57" fmla="*/ 4645597 h 6858000"/>
              <a:gd name="connsiteX58" fmla="*/ 878171 w 4439277"/>
              <a:gd name="connsiteY58" fmla="*/ 4645597 h 6858000"/>
              <a:gd name="connsiteX59" fmla="*/ 999726 w 4439277"/>
              <a:gd name="connsiteY59" fmla="*/ 4583545 h 6858000"/>
              <a:gd name="connsiteX60" fmla="*/ 997247 w 4439277"/>
              <a:gd name="connsiteY60" fmla="*/ 4586026 h 6858000"/>
              <a:gd name="connsiteX61" fmla="*/ 1019572 w 4439277"/>
              <a:gd name="connsiteY61" fmla="*/ 4623259 h 6858000"/>
              <a:gd name="connsiteX62" fmla="*/ 1024533 w 4439277"/>
              <a:gd name="connsiteY62" fmla="*/ 4620776 h 6858000"/>
              <a:gd name="connsiteX63" fmla="*/ 999726 w 4439277"/>
              <a:gd name="connsiteY63" fmla="*/ 4583545 h 6858000"/>
              <a:gd name="connsiteX64" fmla="*/ 773983 w 4439277"/>
              <a:gd name="connsiteY64" fmla="*/ 4536387 h 6858000"/>
              <a:gd name="connsiteX65" fmla="*/ 779347 w 4439277"/>
              <a:gd name="connsiteY65" fmla="*/ 4537130 h 6858000"/>
              <a:gd name="connsiteX66" fmla="*/ 781424 w 4439277"/>
              <a:gd name="connsiteY66" fmla="*/ 4541351 h 6858000"/>
              <a:gd name="connsiteX67" fmla="*/ 777975 w 4439277"/>
              <a:gd name="connsiteY67" fmla="*/ 4541978 h 6858000"/>
              <a:gd name="connsiteX68" fmla="*/ 960034 w 4439277"/>
              <a:gd name="connsiteY68" fmla="*/ 4526458 h 6858000"/>
              <a:gd name="connsiteX69" fmla="*/ 962516 w 4439277"/>
              <a:gd name="connsiteY69" fmla="*/ 4533903 h 6858000"/>
              <a:gd name="connsiteX70" fmla="*/ 962516 w 4439277"/>
              <a:gd name="connsiteY70" fmla="*/ 4531423 h 6858000"/>
              <a:gd name="connsiteX71" fmla="*/ 979880 w 4439277"/>
              <a:gd name="connsiteY71" fmla="*/ 4551280 h 6858000"/>
              <a:gd name="connsiteX72" fmla="*/ 984841 w 4439277"/>
              <a:gd name="connsiteY72" fmla="*/ 4538867 h 6858000"/>
              <a:gd name="connsiteX73" fmla="*/ 969958 w 4439277"/>
              <a:gd name="connsiteY73" fmla="*/ 4533903 h 6858000"/>
              <a:gd name="connsiteX74" fmla="*/ 962516 w 4439277"/>
              <a:gd name="connsiteY74" fmla="*/ 4528938 h 6858000"/>
              <a:gd name="connsiteX75" fmla="*/ 960034 w 4439277"/>
              <a:gd name="connsiteY75" fmla="*/ 4526458 h 6858000"/>
              <a:gd name="connsiteX76" fmla="*/ 969958 w 4439277"/>
              <a:gd name="connsiteY76" fmla="*/ 4516530 h 6858000"/>
              <a:gd name="connsiteX77" fmla="*/ 969958 w 4439277"/>
              <a:gd name="connsiteY77" fmla="*/ 4519013 h 6858000"/>
              <a:gd name="connsiteX78" fmla="*/ 972440 w 4439277"/>
              <a:gd name="connsiteY78" fmla="*/ 4521494 h 6858000"/>
              <a:gd name="connsiteX79" fmla="*/ 969958 w 4439277"/>
              <a:gd name="connsiteY79" fmla="*/ 4516530 h 6858000"/>
              <a:gd name="connsiteX80" fmla="*/ 905462 w 4439277"/>
              <a:gd name="connsiteY80" fmla="*/ 4494192 h 6858000"/>
              <a:gd name="connsiteX81" fmla="*/ 907941 w 4439277"/>
              <a:gd name="connsiteY81" fmla="*/ 4506601 h 6858000"/>
              <a:gd name="connsiteX82" fmla="*/ 915384 w 4439277"/>
              <a:gd name="connsiteY82" fmla="*/ 4516530 h 6858000"/>
              <a:gd name="connsiteX83" fmla="*/ 898017 w 4439277"/>
              <a:gd name="connsiteY83" fmla="*/ 4521494 h 6858000"/>
              <a:gd name="connsiteX84" fmla="*/ 907941 w 4439277"/>
              <a:gd name="connsiteY84" fmla="*/ 4556244 h 6858000"/>
              <a:gd name="connsiteX85" fmla="*/ 912902 w 4439277"/>
              <a:gd name="connsiteY85" fmla="*/ 4546315 h 6858000"/>
              <a:gd name="connsiteX86" fmla="*/ 915384 w 4439277"/>
              <a:gd name="connsiteY86" fmla="*/ 4548795 h 6858000"/>
              <a:gd name="connsiteX87" fmla="*/ 969958 w 4439277"/>
              <a:gd name="connsiteY87" fmla="*/ 4682830 h 6858000"/>
              <a:gd name="connsiteX88" fmla="*/ 972440 w 4439277"/>
              <a:gd name="connsiteY88" fmla="*/ 4687794 h 6858000"/>
              <a:gd name="connsiteX89" fmla="*/ 987325 w 4439277"/>
              <a:gd name="connsiteY89" fmla="*/ 4695240 h 6858000"/>
              <a:gd name="connsiteX90" fmla="*/ 1012132 w 4439277"/>
              <a:gd name="connsiteY90" fmla="*/ 4705168 h 6858000"/>
              <a:gd name="connsiteX91" fmla="*/ 1004687 w 4439277"/>
              <a:gd name="connsiteY91" fmla="*/ 4690275 h 6858000"/>
              <a:gd name="connsiteX92" fmla="*/ 997247 w 4439277"/>
              <a:gd name="connsiteY92" fmla="*/ 4677867 h 6858000"/>
              <a:gd name="connsiteX93" fmla="*/ 994765 w 4439277"/>
              <a:gd name="connsiteY93" fmla="*/ 4672903 h 6858000"/>
              <a:gd name="connsiteX94" fmla="*/ 987325 w 4439277"/>
              <a:gd name="connsiteY94" fmla="*/ 4658009 h 6858000"/>
              <a:gd name="connsiteX95" fmla="*/ 984841 w 4439277"/>
              <a:gd name="connsiteY95" fmla="*/ 4653046 h 6858000"/>
              <a:gd name="connsiteX96" fmla="*/ 977401 w 4439277"/>
              <a:gd name="connsiteY96" fmla="*/ 4638152 h 6858000"/>
              <a:gd name="connsiteX97" fmla="*/ 922824 w 4439277"/>
              <a:gd name="connsiteY97" fmla="*/ 4523974 h 6858000"/>
              <a:gd name="connsiteX98" fmla="*/ 917863 w 4439277"/>
              <a:gd name="connsiteY98" fmla="*/ 4516530 h 6858000"/>
              <a:gd name="connsiteX99" fmla="*/ 905462 w 4439277"/>
              <a:gd name="connsiteY99" fmla="*/ 4494192 h 6858000"/>
              <a:gd name="connsiteX100" fmla="*/ 885616 w 4439277"/>
              <a:gd name="connsiteY100" fmla="*/ 4481780 h 6858000"/>
              <a:gd name="connsiteX101" fmla="*/ 878793 w 4439277"/>
              <a:gd name="connsiteY101" fmla="*/ 4485814 h 6858000"/>
              <a:gd name="connsiteX102" fmla="*/ 890577 w 4439277"/>
              <a:gd name="connsiteY102" fmla="*/ 4499153 h 6858000"/>
              <a:gd name="connsiteX103" fmla="*/ 885616 w 4439277"/>
              <a:gd name="connsiteY103" fmla="*/ 4481780 h 6858000"/>
              <a:gd name="connsiteX104" fmla="*/ 1074149 w 4439277"/>
              <a:gd name="connsiteY104" fmla="*/ 4461923 h 6858000"/>
              <a:gd name="connsiteX105" fmla="*/ 1071667 w 4439277"/>
              <a:gd name="connsiteY105" fmla="*/ 4469371 h 6858000"/>
              <a:gd name="connsiteX106" fmla="*/ 1079110 w 4439277"/>
              <a:gd name="connsiteY106" fmla="*/ 4479296 h 6858000"/>
              <a:gd name="connsiteX107" fmla="*/ 1081589 w 4439277"/>
              <a:gd name="connsiteY107" fmla="*/ 4479296 h 6858000"/>
              <a:gd name="connsiteX108" fmla="*/ 1074149 w 4439277"/>
              <a:gd name="connsiteY108" fmla="*/ 4461923 h 6858000"/>
              <a:gd name="connsiteX109" fmla="*/ 1061743 w 4439277"/>
              <a:gd name="connsiteY109" fmla="*/ 4432138 h 6858000"/>
              <a:gd name="connsiteX110" fmla="*/ 1071667 w 4439277"/>
              <a:gd name="connsiteY110" fmla="*/ 4456959 h 6858000"/>
              <a:gd name="connsiteX111" fmla="*/ 1071667 w 4439277"/>
              <a:gd name="connsiteY111" fmla="*/ 4454478 h 6858000"/>
              <a:gd name="connsiteX112" fmla="*/ 1081589 w 4439277"/>
              <a:gd name="connsiteY112" fmla="*/ 4456959 h 6858000"/>
              <a:gd name="connsiteX113" fmla="*/ 1084072 w 4439277"/>
              <a:gd name="connsiteY113" fmla="*/ 4459442 h 6858000"/>
              <a:gd name="connsiteX114" fmla="*/ 1061743 w 4439277"/>
              <a:gd name="connsiteY114" fmla="*/ 4432138 h 6858000"/>
              <a:gd name="connsiteX115" fmla="*/ 885616 w 4439277"/>
              <a:gd name="connsiteY115" fmla="*/ 4330371 h 6858000"/>
              <a:gd name="connsiteX116" fmla="*/ 895538 w 4439277"/>
              <a:gd name="connsiteY116" fmla="*/ 4367601 h 6858000"/>
              <a:gd name="connsiteX117" fmla="*/ 907941 w 4439277"/>
              <a:gd name="connsiteY117" fmla="*/ 4372569 h 6858000"/>
              <a:gd name="connsiteX118" fmla="*/ 895538 w 4439277"/>
              <a:gd name="connsiteY118" fmla="*/ 4340300 h 6858000"/>
              <a:gd name="connsiteX119" fmla="*/ 885616 w 4439277"/>
              <a:gd name="connsiteY119" fmla="*/ 4330371 h 6858000"/>
              <a:gd name="connsiteX120" fmla="*/ 783907 w 4439277"/>
              <a:gd name="connsiteY120" fmla="*/ 4317962 h 6858000"/>
              <a:gd name="connsiteX121" fmla="*/ 791347 w 4439277"/>
              <a:gd name="connsiteY121" fmla="*/ 4345264 h 6858000"/>
              <a:gd name="connsiteX122" fmla="*/ 791347 w 4439277"/>
              <a:gd name="connsiteY122" fmla="*/ 4342783 h 6858000"/>
              <a:gd name="connsiteX123" fmla="*/ 788868 w 4439277"/>
              <a:gd name="connsiteY123" fmla="*/ 4325407 h 6858000"/>
              <a:gd name="connsiteX124" fmla="*/ 783907 w 4439277"/>
              <a:gd name="connsiteY124" fmla="*/ 4317962 h 6858000"/>
              <a:gd name="connsiteX125" fmla="*/ 1017093 w 4439277"/>
              <a:gd name="connsiteY125" fmla="*/ 4315479 h 6858000"/>
              <a:gd name="connsiteX126" fmla="*/ 1017093 w 4439277"/>
              <a:gd name="connsiteY126" fmla="*/ 4317962 h 6858000"/>
              <a:gd name="connsiteX127" fmla="*/ 1029496 w 4439277"/>
              <a:gd name="connsiteY127" fmla="*/ 4332855 h 6858000"/>
              <a:gd name="connsiteX128" fmla="*/ 1027016 w 4439277"/>
              <a:gd name="connsiteY128" fmla="*/ 4320443 h 6858000"/>
              <a:gd name="connsiteX129" fmla="*/ 1017093 w 4439277"/>
              <a:gd name="connsiteY129" fmla="*/ 4315479 h 6858000"/>
              <a:gd name="connsiteX130" fmla="*/ 796309 w 4439277"/>
              <a:gd name="connsiteY130" fmla="*/ 4205956 h 6858000"/>
              <a:gd name="connsiteX131" fmla="*/ 791347 w 4439277"/>
              <a:gd name="connsiteY131" fmla="*/ 4208748 h 6858000"/>
              <a:gd name="connsiteX132" fmla="*/ 801270 w 4439277"/>
              <a:gd name="connsiteY132" fmla="*/ 4208748 h 6858000"/>
              <a:gd name="connsiteX133" fmla="*/ 796309 w 4439277"/>
              <a:gd name="connsiteY133" fmla="*/ 4205956 h 6858000"/>
              <a:gd name="connsiteX134" fmla="*/ 905462 w 4439277"/>
              <a:gd name="connsiteY134" fmla="*/ 4149177 h 6858000"/>
              <a:gd name="connsiteX135" fmla="*/ 910420 w 4439277"/>
              <a:gd name="connsiteY135" fmla="*/ 4149177 h 6858000"/>
              <a:gd name="connsiteX136" fmla="*/ 907902 w 4439277"/>
              <a:gd name="connsiteY136" fmla="*/ 4150438 h 6858000"/>
              <a:gd name="connsiteX137" fmla="*/ 905462 w 4439277"/>
              <a:gd name="connsiteY137" fmla="*/ 4149840 h 6858000"/>
              <a:gd name="connsiteX138" fmla="*/ 719407 w 4439277"/>
              <a:gd name="connsiteY138" fmla="*/ 3960538 h 6858000"/>
              <a:gd name="connsiteX139" fmla="*/ 721886 w 4439277"/>
              <a:gd name="connsiteY139" fmla="*/ 3963022 h 6858000"/>
              <a:gd name="connsiteX140" fmla="*/ 724368 w 4439277"/>
              <a:gd name="connsiteY140" fmla="*/ 3963022 h 6858000"/>
              <a:gd name="connsiteX141" fmla="*/ 724368 w 4439277"/>
              <a:gd name="connsiteY141" fmla="*/ 3960538 h 6858000"/>
              <a:gd name="connsiteX142" fmla="*/ 719407 w 4439277"/>
              <a:gd name="connsiteY142" fmla="*/ 3960538 h 6858000"/>
              <a:gd name="connsiteX143" fmla="*/ 578006 w 4439277"/>
              <a:gd name="connsiteY143" fmla="*/ 3230802 h 6858000"/>
              <a:gd name="connsiteX144" fmla="*/ 575524 w 4439277"/>
              <a:gd name="connsiteY144" fmla="*/ 3233285 h 6858000"/>
              <a:gd name="connsiteX145" fmla="*/ 578006 w 4439277"/>
              <a:gd name="connsiteY145" fmla="*/ 3238249 h 6858000"/>
              <a:gd name="connsiteX146" fmla="*/ 582967 w 4439277"/>
              <a:gd name="connsiteY146" fmla="*/ 3243214 h 6858000"/>
              <a:gd name="connsiteX147" fmla="*/ 587929 w 4439277"/>
              <a:gd name="connsiteY147" fmla="*/ 3258106 h 6858000"/>
              <a:gd name="connsiteX148" fmla="*/ 595370 w 4439277"/>
              <a:gd name="connsiteY148" fmla="*/ 3255623 h 6858000"/>
              <a:gd name="connsiteX149" fmla="*/ 597852 w 4439277"/>
              <a:gd name="connsiteY149" fmla="*/ 3250659 h 6858000"/>
              <a:gd name="connsiteX150" fmla="*/ 592891 w 4439277"/>
              <a:gd name="connsiteY150" fmla="*/ 3243214 h 6858000"/>
              <a:gd name="connsiteX151" fmla="*/ 585450 w 4439277"/>
              <a:gd name="connsiteY151" fmla="*/ 3233285 h 6858000"/>
              <a:gd name="connsiteX152" fmla="*/ 582967 w 4439277"/>
              <a:gd name="connsiteY152" fmla="*/ 3230802 h 6858000"/>
              <a:gd name="connsiteX153" fmla="*/ 578006 w 4439277"/>
              <a:gd name="connsiteY153" fmla="*/ 3230802 h 6858000"/>
              <a:gd name="connsiteX154" fmla="*/ 756617 w 4439277"/>
              <a:gd name="connsiteY154" fmla="*/ 2409229 h 6858000"/>
              <a:gd name="connsiteX155" fmla="*/ 759099 w 4439277"/>
              <a:gd name="connsiteY155" fmla="*/ 2409229 h 6858000"/>
              <a:gd name="connsiteX156" fmla="*/ 757056 w 4439277"/>
              <a:gd name="connsiteY156" fmla="*/ 2415360 h 6858000"/>
              <a:gd name="connsiteX157" fmla="*/ 756617 w 4439277"/>
              <a:gd name="connsiteY157" fmla="*/ 2415433 h 6858000"/>
              <a:gd name="connsiteX158" fmla="*/ 622659 w 4439277"/>
              <a:gd name="connsiteY158" fmla="*/ 2396817 h 6858000"/>
              <a:gd name="connsiteX159" fmla="*/ 625139 w 4439277"/>
              <a:gd name="connsiteY159" fmla="*/ 2399298 h 6858000"/>
              <a:gd name="connsiteX160" fmla="*/ 630101 w 4439277"/>
              <a:gd name="connsiteY160" fmla="*/ 2406746 h 6858000"/>
              <a:gd name="connsiteX161" fmla="*/ 625139 w 4439277"/>
              <a:gd name="connsiteY161" fmla="*/ 2404266 h 6858000"/>
              <a:gd name="connsiteX162" fmla="*/ 622659 w 4439277"/>
              <a:gd name="connsiteY162" fmla="*/ 2396817 h 6858000"/>
              <a:gd name="connsiteX163" fmla="*/ 739239 w 4439277"/>
              <a:gd name="connsiteY163" fmla="*/ 2390826 h 6858000"/>
              <a:gd name="connsiteX164" fmla="*/ 744834 w 4439277"/>
              <a:gd name="connsiteY164" fmla="*/ 2392475 h 6858000"/>
              <a:gd name="connsiteX165" fmla="*/ 744215 w 4439277"/>
              <a:gd name="connsiteY165" fmla="*/ 2399298 h 6858000"/>
              <a:gd name="connsiteX166" fmla="*/ 741421 w 4439277"/>
              <a:gd name="connsiteY166" fmla="*/ 2396503 h 6858000"/>
              <a:gd name="connsiteX167" fmla="*/ 773984 w 4439277"/>
              <a:gd name="connsiteY167" fmla="*/ 2349658 h 6858000"/>
              <a:gd name="connsiteX168" fmla="*/ 771502 w 4439277"/>
              <a:gd name="connsiteY168" fmla="*/ 2352139 h 6858000"/>
              <a:gd name="connsiteX169" fmla="*/ 773984 w 4439277"/>
              <a:gd name="connsiteY169" fmla="*/ 2357103 h 6858000"/>
              <a:gd name="connsiteX170" fmla="*/ 778945 w 4439277"/>
              <a:gd name="connsiteY170" fmla="*/ 2354623 h 6858000"/>
              <a:gd name="connsiteX171" fmla="*/ 773984 w 4439277"/>
              <a:gd name="connsiteY171" fmla="*/ 2349658 h 6858000"/>
              <a:gd name="connsiteX172" fmla="*/ 816155 w 4439277"/>
              <a:gd name="connsiteY172" fmla="*/ 2329801 h 6858000"/>
              <a:gd name="connsiteX173" fmla="*/ 811194 w 4439277"/>
              <a:gd name="connsiteY173" fmla="*/ 2337246 h 6858000"/>
              <a:gd name="connsiteX174" fmla="*/ 816155 w 4439277"/>
              <a:gd name="connsiteY174" fmla="*/ 2337246 h 6858000"/>
              <a:gd name="connsiteX175" fmla="*/ 823595 w 4439277"/>
              <a:gd name="connsiteY175" fmla="*/ 2332282 h 6858000"/>
              <a:gd name="connsiteX176" fmla="*/ 816155 w 4439277"/>
              <a:gd name="connsiteY176" fmla="*/ 2329801 h 6858000"/>
              <a:gd name="connsiteX177" fmla="*/ 831039 w 4439277"/>
              <a:gd name="connsiteY177" fmla="*/ 2327319 h 6858000"/>
              <a:gd name="connsiteX178" fmla="*/ 840962 w 4439277"/>
              <a:gd name="connsiteY178" fmla="*/ 2342212 h 6858000"/>
              <a:gd name="connsiteX179" fmla="*/ 839423 w 4439277"/>
              <a:gd name="connsiteY179" fmla="*/ 2347605 h 6858000"/>
              <a:gd name="connsiteX180" fmla="*/ 833519 w 4439277"/>
              <a:gd name="connsiteY180" fmla="*/ 2339731 h 6858000"/>
              <a:gd name="connsiteX181" fmla="*/ 831039 w 4439277"/>
              <a:gd name="connsiteY181" fmla="*/ 2331049 h 6858000"/>
              <a:gd name="connsiteX182" fmla="*/ 707002 w 4439277"/>
              <a:gd name="connsiteY182" fmla="*/ 2327319 h 6858000"/>
              <a:gd name="connsiteX183" fmla="*/ 711964 w 4439277"/>
              <a:gd name="connsiteY183" fmla="*/ 2337246 h 6858000"/>
              <a:gd name="connsiteX184" fmla="*/ 709485 w 4439277"/>
              <a:gd name="connsiteY184" fmla="*/ 2339731 h 6858000"/>
              <a:gd name="connsiteX185" fmla="*/ 702040 w 4439277"/>
              <a:gd name="connsiteY185" fmla="*/ 2329801 h 6858000"/>
              <a:gd name="connsiteX186" fmla="*/ 707002 w 4439277"/>
              <a:gd name="connsiteY186" fmla="*/ 2327319 h 6858000"/>
              <a:gd name="connsiteX187" fmla="*/ 697082 w 4439277"/>
              <a:gd name="connsiteY187" fmla="*/ 2317389 h 6858000"/>
              <a:gd name="connsiteX188" fmla="*/ 702040 w 4439277"/>
              <a:gd name="connsiteY188" fmla="*/ 2322357 h 6858000"/>
              <a:gd name="connsiteX189" fmla="*/ 699561 w 4439277"/>
              <a:gd name="connsiteY189" fmla="*/ 2324838 h 6858000"/>
              <a:gd name="connsiteX190" fmla="*/ 694600 w 4439277"/>
              <a:gd name="connsiteY190" fmla="*/ 2319874 h 6858000"/>
              <a:gd name="connsiteX191" fmla="*/ 697082 w 4439277"/>
              <a:gd name="connsiteY191" fmla="*/ 2317389 h 6858000"/>
              <a:gd name="connsiteX192" fmla="*/ 813673 w 4439277"/>
              <a:gd name="connsiteY192" fmla="*/ 2300016 h 6858000"/>
              <a:gd name="connsiteX193" fmla="*/ 818634 w 4439277"/>
              <a:gd name="connsiteY193" fmla="*/ 2300016 h 6858000"/>
              <a:gd name="connsiteX194" fmla="*/ 823595 w 4439277"/>
              <a:gd name="connsiteY194" fmla="*/ 2307461 h 6858000"/>
              <a:gd name="connsiteX195" fmla="*/ 821116 w 4439277"/>
              <a:gd name="connsiteY195" fmla="*/ 2307461 h 6858000"/>
              <a:gd name="connsiteX196" fmla="*/ 813673 w 4439277"/>
              <a:gd name="connsiteY196" fmla="*/ 2300016 h 6858000"/>
              <a:gd name="connsiteX197" fmla="*/ 719407 w 4439277"/>
              <a:gd name="connsiteY197" fmla="*/ 1704312 h 6858000"/>
              <a:gd name="connsiteX198" fmla="*/ 726847 w 4439277"/>
              <a:gd name="connsiteY198" fmla="*/ 1721688 h 6858000"/>
              <a:gd name="connsiteX199" fmla="*/ 731810 w 4439277"/>
              <a:gd name="connsiteY199" fmla="*/ 1729132 h 6858000"/>
              <a:gd name="connsiteX200" fmla="*/ 736771 w 4439277"/>
              <a:gd name="connsiteY200" fmla="*/ 1729132 h 6858000"/>
              <a:gd name="connsiteX201" fmla="*/ 734292 w 4439277"/>
              <a:gd name="connsiteY201" fmla="*/ 1721688 h 6858000"/>
              <a:gd name="connsiteX202" fmla="*/ 719407 w 4439277"/>
              <a:gd name="connsiteY202" fmla="*/ 1704312 h 6858000"/>
              <a:gd name="connsiteX203" fmla="*/ 707002 w 4439277"/>
              <a:gd name="connsiteY203" fmla="*/ 1704312 h 6858000"/>
              <a:gd name="connsiteX204" fmla="*/ 707003 w 4439277"/>
              <a:gd name="connsiteY204" fmla="*/ 1704313 h 6858000"/>
              <a:gd name="connsiteX205" fmla="*/ 706999 w 4439277"/>
              <a:gd name="connsiteY205" fmla="*/ 1704314 h 6858000"/>
              <a:gd name="connsiteX206" fmla="*/ 707002 w 4439277"/>
              <a:gd name="connsiteY206" fmla="*/ 1701831 h 6858000"/>
              <a:gd name="connsiteX207" fmla="*/ 711964 w 4439277"/>
              <a:gd name="connsiteY207" fmla="*/ 1701831 h 6858000"/>
              <a:gd name="connsiteX208" fmla="*/ 710103 w 4439277"/>
              <a:gd name="connsiteY208" fmla="*/ 1703693 h 6858000"/>
              <a:gd name="connsiteX209" fmla="*/ 709072 w 4439277"/>
              <a:gd name="connsiteY209" fmla="*/ 1703900 h 6858000"/>
              <a:gd name="connsiteX210" fmla="*/ 664830 w 4439277"/>
              <a:gd name="connsiteY210" fmla="*/ 1595101 h 6858000"/>
              <a:gd name="connsiteX211" fmla="*/ 667314 w 4439277"/>
              <a:gd name="connsiteY211" fmla="*/ 1605029 h 6858000"/>
              <a:gd name="connsiteX212" fmla="*/ 669793 w 4439277"/>
              <a:gd name="connsiteY212" fmla="*/ 1602548 h 6858000"/>
              <a:gd name="connsiteX213" fmla="*/ 664830 w 4439277"/>
              <a:gd name="connsiteY213" fmla="*/ 1595101 h 6858000"/>
              <a:gd name="connsiteX214" fmla="*/ 627622 w 4439277"/>
              <a:gd name="connsiteY214" fmla="*/ 1575243 h 6858000"/>
              <a:gd name="connsiteX215" fmla="*/ 637544 w 4439277"/>
              <a:gd name="connsiteY215" fmla="*/ 1592617 h 6858000"/>
              <a:gd name="connsiteX216" fmla="*/ 640023 w 4439277"/>
              <a:gd name="connsiteY216" fmla="*/ 1590136 h 6858000"/>
              <a:gd name="connsiteX217" fmla="*/ 627622 w 4439277"/>
              <a:gd name="connsiteY217" fmla="*/ 1575243 h 6858000"/>
              <a:gd name="connsiteX218" fmla="*/ 677233 w 4439277"/>
              <a:gd name="connsiteY218" fmla="*/ 1572763 h 6858000"/>
              <a:gd name="connsiteX219" fmla="*/ 687156 w 4439277"/>
              <a:gd name="connsiteY219" fmla="*/ 1587653 h 6858000"/>
              <a:gd name="connsiteX220" fmla="*/ 677233 w 4439277"/>
              <a:gd name="connsiteY220" fmla="*/ 1572763 h 6858000"/>
              <a:gd name="connsiteX221" fmla="*/ 607776 w 4439277"/>
              <a:gd name="connsiteY221" fmla="*/ 1562832 h 6858000"/>
              <a:gd name="connsiteX222" fmla="*/ 605293 w 4439277"/>
              <a:gd name="connsiteY222" fmla="*/ 1565315 h 6858000"/>
              <a:gd name="connsiteX223" fmla="*/ 612737 w 4439277"/>
              <a:gd name="connsiteY223" fmla="*/ 1575243 h 6858000"/>
              <a:gd name="connsiteX224" fmla="*/ 607776 w 4439277"/>
              <a:gd name="connsiteY224" fmla="*/ 1562832 h 6858000"/>
              <a:gd name="connsiteX225" fmla="*/ 627622 w 4439277"/>
              <a:gd name="connsiteY225" fmla="*/ 1555386 h 6858000"/>
              <a:gd name="connsiteX226" fmla="*/ 630101 w 4439277"/>
              <a:gd name="connsiteY226" fmla="*/ 1565315 h 6858000"/>
              <a:gd name="connsiteX227" fmla="*/ 632583 w 4439277"/>
              <a:gd name="connsiteY227" fmla="*/ 1565315 h 6858000"/>
              <a:gd name="connsiteX228" fmla="*/ 630101 w 4439277"/>
              <a:gd name="connsiteY228" fmla="*/ 1555386 h 6858000"/>
              <a:gd name="connsiteX229" fmla="*/ 627622 w 4439277"/>
              <a:gd name="connsiteY229" fmla="*/ 1555386 h 6858000"/>
              <a:gd name="connsiteX230" fmla="*/ 729331 w 4439277"/>
              <a:gd name="connsiteY230" fmla="*/ 1545458 h 6858000"/>
              <a:gd name="connsiteX231" fmla="*/ 721886 w 4439277"/>
              <a:gd name="connsiteY231" fmla="*/ 1552906 h 6858000"/>
              <a:gd name="connsiteX232" fmla="*/ 726847 w 4439277"/>
              <a:gd name="connsiteY232" fmla="*/ 1562832 h 6858000"/>
              <a:gd name="connsiteX233" fmla="*/ 739253 w 4439277"/>
              <a:gd name="connsiteY233" fmla="*/ 1587653 h 6858000"/>
              <a:gd name="connsiteX234" fmla="*/ 736771 w 4439277"/>
              <a:gd name="connsiteY234" fmla="*/ 1557867 h 6858000"/>
              <a:gd name="connsiteX235" fmla="*/ 731810 w 4439277"/>
              <a:gd name="connsiteY235" fmla="*/ 1547941 h 6858000"/>
              <a:gd name="connsiteX236" fmla="*/ 729331 w 4439277"/>
              <a:gd name="connsiteY236" fmla="*/ 1545458 h 6858000"/>
              <a:gd name="connsiteX237" fmla="*/ 707002 w 4439277"/>
              <a:gd name="connsiteY237" fmla="*/ 1525601 h 6858000"/>
              <a:gd name="connsiteX238" fmla="*/ 711964 w 4439277"/>
              <a:gd name="connsiteY238" fmla="*/ 1530565 h 6858000"/>
              <a:gd name="connsiteX239" fmla="*/ 714446 w 4439277"/>
              <a:gd name="connsiteY239" fmla="*/ 1533046 h 6858000"/>
              <a:gd name="connsiteX240" fmla="*/ 707002 w 4439277"/>
              <a:gd name="connsiteY240" fmla="*/ 1525601 h 6858000"/>
              <a:gd name="connsiteX241" fmla="*/ 640023 w 4439277"/>
              <a:gd name="connsiteY241" fmla="*/ 1493334 h 6858000"/>
              <a:gd name="connsiteX242" fmla="*/ 635062 w 4439277"/>
              <a:gd name="connsiteY242" fmla="*/ 1495815 h 6858000"/>
              <a:gd name="connsiteX243" fmla="*/ 635062 w 4439277"/>
              <a:gd name="connsiteY243" fmla="*/ 1503263 h 6858000"/>
              <a:gd name="connsiteX244" fmla="*/ 640023 w 4439277"/>
              <a:gd name="connsiteY244" fmla="*/ 1510708 h 6858000"/>
              <a:gd name="connsiteX245" fmla="*/ 657390 w 4439277"/>
              <a:gd name="connsiteY245" fmla="*/ 1547941 h 6858000"/>
              <a:gd name="connsiteX246" fmla="*/ 672275 w 4439277"/>
              <a:gd name="connsiteY246" fmla="*/ 1560351 h 6858000"/>
              <a:gd name="connsiteX247" fmla="*/ 679715 w 4439277"/>
              <a:gd name="connsiteY247" fmla="*/ 1555386 h 6858000"/>
              <a:gd name="connsiteX248" fmla="*/ 674754 w 4439277"/>
              <a:gd name="connsiteY248" fmla="*/ 1538013 h 6858000"/>
              <a:gd name="connsiteX249" fmla="*/ 674754 w 4439277"/>
              <a:gd name="connsiteY249" fmla="*/ 1535529 h 6858000"/>
              <a:gd name="connsiteX250" fmla="*/ 677233 w 4439277"/>
              <a:gd name="connsiteY250" fmla="*/ 1535529 h 6858000"/>
              <a:gd name="connsiteX251" fmla="*/ 679715 w 4439277"/>
              <a:gd name="connsiteY251" fmla="*/ 1530565 h 6858000"/>
              <a:gd name="connsiteX252" fmla="*/ 674754 w 4439277"/>
              <a:gd name="connsiteY252" fmla="*/ 1530565 h 6858000"/>
              <a:gd name="connsiteX253" fmla="*/ 662351 w 4439277"/>
              <a:gd name="connsiteY253" fmla="*/ 1523120 h 6858000"/>
              <a:gd name="connsiteX254" fmla="*/ 640023 w 4439277"/>
              <a:gd name="connsiteY254" fmla="*/ 1493334 h 6858000"/>
              <a:gd name="connsiteX255" fmla="*/ 667314 w 4439277"/>
              <a:gd name="connsiteY255" fmla="*/ 1483406 h 6858000"/>
              <a:gd name="connsiteX256" fmla="*/ 682197 w 4439277"/>
              <a:gd name="connsiteY256" fmla="*/ 1513191 h 6858000"/>
              <a:gd name="connsiteX257" fmla="*/ 694600 w 4439277"/>
              <a:gd name="connsiteY257" fmla="*/ 1513191 h 6858000"/>
              <a:gd name="connsiteX258" fmla="*/ 694600 w 4439277"/>
              <a:gd name="connsiteY258" fmla="*/ 1510708 h 6858000"/>
              <a:gd name="connsiteX259" fmla="*/ 697082 w 4439277"/>
              <a:gd name="connsiteY259" fmla="*/ 1513191 h 6858000"/>
              <a:gd name="connsiteX260" fmla="*/ 702040 w 4439277"/>
              <a:gd name="connsiteY260" fmla="*/ 1513191 h 6858000"/>
              <a:gd name="connsiteX261" fmla="*/ 704522 w 4439277"/>
              <a:gd name="connsiteY261" fmla="*/ 1508227 h 6858000"/>
              <a:gd name="connsiteX262" fmla="*/ 667314 w 4439277"/>
              <a:gd name="connsiteY262" fmla="*/ 1483406 h 6858000"/>
              <a:gd name="connsiteX263" fmla="*/ 558160 w 4439277"/>
              <a:gd name="connsiteY263" fmla="*/ 1456101 h 6858000"/>
              <a:gd name="connsiteX264" fmla="*/ 568084 w 4439277"/>
              <a:gd name="connsiteY264" fmla="*/ 1468513 h 6858000"/>
              <a:gd name="connsiteX265" fmla="*/ 558160 w 4439277"/>
              <a:gd name="connsiteY265" fmla="*/ 1456101 h 6858000"/>
              <a:gd name="connsiteX266" fmla="*/ 647468 w 4439277"/>
              <a:gd name="connsiteY266" fmla="*/ 1438728 h 6858000"/>
              <a:gd name="connsiteX267" fmla="*/ 657390 w 4439277"/>
              <a:gd name="connsiteY267" fmla="*/ 1451137 h 6858000"/>
              <a:gd name="connsiteX268" fmla="*/ 647468 w 4439277"/>
              <a:gd name="connsiteY268" fmla="*/ 1438728 h 6858000"/>
              <a:gd name="connsiteX269" fmla="*/ 592891 w 4439277"/>
              <a:gd name="connsiteY269" fmla="*/ 1431282 h 6858000"/>
              <a:gd name="connsiteX270" fmla="*/ 587930 w 4439277"/>
              <a:gd name="connsiteY270" fmla="*/ 1433763 h 6858000"/>
              <a:gd name="connsiteX271" fmla="*/ 590409 w 4439277"/>
              <a:gd name="connsiteY271" fmla="*/ 1441212 h 6858000"/>
              <a:gd name="connsiteX272" fmla="*/ 620177 w 4439277"/>
              <a:gd name="connsiteY272" fmla="*/ 1480923 h 6858000"/>
              <a:gd name="connsiteX273" fmla="*/ 622659 w 4439277"/>
              <a:gd name="connsiteY273" fmla="*/ 1480923 h 6858000"/>
              <a:gd name="connsiteX274" fmla="*/ 635062 w 4439277"/>
              <a:gd name="connsiteY274" fmla="*/ 1483406 h 6858000"/>
              <a:gd name="connsiteX275" fmla="*/ 620177 w 4439277"/>
              <a:gd name="connsiteY275" fmla="*/ 1463549 h 6858000"/>
              <a:gd name="connsiteX276" fmla="*/ 622659 w 4439277"/>
              <a:gd name="connsiteY276" fmla="*/ 1468513 h 6858000"/>
              <a:gd name="connsiteX277" fmla="*/ 617698 w 4439277"/>
              <a:gd name="connsiteY277" fmla="*/ 1470994 h 6858000"/>
              <a:gd name="connsiteX278" fmla="*/ 610255 w 4439277"/>
              <a:gd name="connsiteY278" fmla="*/ 1453620 h 6858000"/>
              <a:gd name="connsiteX279" fmla="*/ 592891 w 4439277"/>
              <a:gd name="connsiteY279" fmla="*/ 1431282 h 6858000"/>
              <a:gd name="connsiteX280" fmla="*/ 635062 w 4439277"/>
              <a:gd name="connsiteY280" fmla="*/ 1416391 h 6858000"/>
              <a:gd name="connsiteX281" fmla="*/ 649947 w 4439277"/>
              <a:gd name="connsiteY281" fmla="*/ 1438728 h 6858000"/>
              <a:gd name="connsiteX282" fmla="*/ 652429 w 4439277"/>
              <a:gd name="connsiteY282" fmla="*/ 1428799 h 6858000"/>
              <a:gd name="connsiteX283" fmla="*/ 635062 w 4439277"/>
              <a:gd name="connsiteY283" fmla="*/ 1416391 h 6858000"/>
              <a:gd name="connsiteX284" fmla="*/ 607776 w 4439277"/>
              <a:gd name="connsiteY284" fmla="*/ 1413906 h 6858000"/>
              <a:gd name="connsiteX285" fmla="*/ 601572 w 4439277"/>
              <a:gd name="connsiteY285" fmla="*/ 1422905 h 6858000"/>
              <a:gd name="connsiteX286" fmla="*/ 602813 w 4439277"/>
              <a:gd name="connsiteY286" fmla="*/ 1426318 h 6858000"/>
              <a:gd name="connsiteX287" fmla="*/ 625139 w 4439277"/>
              <a:gd name="connsiteY287" fmla="*/ 1453620 h 6858000"/>
              <a:gd name="connsiteX288" fmla="*/ 647468 w 4439277"/>
              <a:gd name="connsiteY288" fmla="*/ 1495815 h 6858000"/>
              <a:gd name="connsiteX289" fmla="*/ 652429 w 4439277"/>
              <a:gd name="connsiteY289" fmla="*/ 1500780 h 6858000"/>
              <a:gd name="connsiteX290" fmla="*/ 657390 w 4439277"/>
              <a:gd name="connsiteY290" fmla="*/ 1495815 h 6858000"/>
              <a:gd name="connsiteX291" fmla="*/ 654908 w 4439277"/>
              <a:gd name="connsiteY291" fmla="*/ 1483406 h 6858000"/>
              <a:gd name="connsiteX292" fmla="*/ 627622 w 4439277"/>
              <a:gd name="connsiteY292" fmla="*/ 1441212 h 6858000"/>
              <a:gd name="connsiteX293" fmla="*/ 607776 w 4439277"/>
              <a:gd name="connsiteY293" fmla="*/ 1413906 h 6858000"/>
              <a:gd name="connsiteX294" fmla="*/ 530874 w 4439277"/>
              <a:gd name="connsiteY294" fmla="*/ 1394049 h 6858000"/>
              <a:gd name="connsiteX295" fmla="*/ 521570 w 4439277"/>
              <a:gd name="connsiteY295" fmla="*/ 1401807 h 6858000"/>
              <a:gd name="connsiteX296" fmla="*/ 530874 w 4439277"/>
              <a:gd name="connsiteY296" fmla="*/ 1411425 h 6858000"/>
              <a:gd name="connsiteX297" fmla="*/ 530874 w 4439277"/>
              <a:gd name="connsiteY297" fmla="*/ 1394049 h 6858000"/>
              <a:gd name="connsiteX298" fmla="*/ 488700 w 4439277"/>
              <a:gd name="connsiteY298" fmla="*/ 1349374 h 6858000"/>
              <a:gd name="connsiteX299" fmla="*/ 491182 w 4439277"/>
              <a:gd name="connsiteY299" fmla="*/ 1354339 h 6858000"/>
              <a:gd name="connsiteX300" fmla="*/ 498623 w 4439277"/>
              <a:gd name="connsiteY300" fmla="*/ 1356820 h 6858000"/>
              <a:gd name="connsiteX301" fmla="*/ 493661 w 4439277"/>
              <a:gd name="connsiteY301" fmla="*/ 1349374 h 6858000"/>
              <a:gd name="connsiteX302" fmla="*/ 488700 w 4439277"/>
              <a:gd name="connsiteY302" fmla="*/ 1349374 h 6858000"/>
              <a:gd name="connsiteX303" fmla="*/ 533353 w 4439277"/>
              <a:gd name="connsiteY303" fmla="*/ 1334478 h 6858000"/>
              <a:gd name="connsiteX304" fmla="*/ 543276 w 4439277"/>
              <a:gd name="connsiteY304" fmla="*/ 1359300 h 6858000"/>
              <a:gd name="connsiteX305" fmla="*/ 545759 w 4439277"/>
              <a:gd name="connsiteY305" fmla="*/ 1356820 h 6858000"/>
              <a:gd name="connsiteX306" fmla="*/ 533353 w 4439277"/>
              <a:gd name="connsiteY306" fmla="*/ 1334478 h 6858000"/>
              <a:gd name="connsiteX307" fmla="*/ 481258 w 4439277"/>
              <a:gd name="connsiteY307" fmla="*/ 1331997 h 6858000"/>
              <a:gd name="connsiteX308" fmla="*/ 478777 w 4439277"/>
              <a:gd name="connsiteY308" fmla="*/ 1334478 h 6858000"/>
              <a:gd name="connsiteX309" fmla="*/ 486221 w 4439277"/>
              <a:gd name="connsiteY309" fmla="*/ 1336963 h 6858000"/>
              <a:gd name="connsiteX310" fmla="*/ 481258 w 4439277"/>
              <a:gd name="connsiteY310" fmla="*/ 1331997 h 6858000"/>
              <a:gd name="connsiteX311" fmla="*/ 524982 w 4439277"/>
              <a:gd name="connsiteY311" fmla="*/ 1318968 h 6858000"/>
              <a:gd name="connsiteX312" fmla="*/ 520950 w 4439277"/>
              <a:gd name="connsiteY312" fmla="*/ 1322069 h 6858000"/>
              <a:gd name="connsiteX313" fmla="*/ 520950 w 4439277"/>
              <a:gd name="connsiteY313" fmla="*/ 1329517 h 6858000"/>
              <a:gd name="connsiteX314" fmla="*/ 528392 w 4439277"/>
              <a:gd name="connsiteY314" fmla="*/ 1329517 h 6858000"/>
              <a:gd name="connsiteX315" fmla="*/ 530874 w 4439277"/>
              <a:gd name="connsiteY315" fmla="*/ 1319589 h 6858000"/>
              <a:gd name="connsiteX316" fmla="*/ 524982 w 4439277"/>
              <a:gd name="connsiteY316" fmla="*/ 1318968 h 6858000"/>
              <a:gd name="connsiteX317" fmla="*/ 449011 w 4439277"/>
              <a:gd name="connsiteY317" fmla="*/ 1269946 h 6858000"/>
              <a:gd name="connsiteX318" fmla="*/ 473818 w 4439277"/>
              <a:gd name="connsiteY318" fmla="*/ 1307176 h 6858000"/>
              <a:gd name="connsiteX319" fmla="*/ 449011 w 4439277"/>
              <a:gd name="connsiteY319" fmla="*/ 1269946 h 6858000"/>
              <a:gd name="connsiteX320" fmla="*/ 401875 w 4439277"/>
              <a:gd name="connsiteY320" fmla="*/ 1200447 h 6858000"/>
              <a:gd name="connsiteX321" fmla="*/ 419241 w 4439277"/>
              <a:gd name="connsiteY321" fmla="*/ 1245125 h 6858000"/>
              <a:gd name="connsiteX322" fmla="*/ 436605 w 4439277"/>
              <a:gd name="connsiteY322" fmla="*/ 1264982 h 6858000"/>
              <a:gd name="connsiteX323" fmla="*/ 439085 w 4439277"/>
              <a:gd name="connsiteY323" fmla="*/ 1257534 h 6858000"/>
              <a:gd name="connsiteX324" fmla="*/ 416760 w 4439277"/>
              <a:gd name="connsiteY324" fmla="*/ 1215340 h 6858000"/>
              <a:gd name="connsiteX325" fmla="*/ 401875 w 4439277"/>
              <a:gd name="connsiteY325" fmla="*/ 1200447 h 6858000"/>
              <a:gd name="connsiteX326" fmla="*/ 384511 w 4439277"/>
              <a:gd name="connsiteY326" fmla="*/ 1158252 h 6858000"/>
              <a:gd name="connsiteX327" fmla="*/ 401875 w 4439277"/>
              <a:gd name="connsiteY327" fmla="*/ 1190518 h 6858000"/>
              <a:gd name="connsiteX328" fmla="*/ 404358 w 4439277"/>
              <a:gd name="connsiteY328" fmla="*/ 1188037 h 6858000"/>
              <a:gd name="connsiteX329" fmla="*/ 384511 w 4439277"/>
              <a:gd name="connsiteY329" fmla="*/ 1158252 h 6858000"/>
              <a:gd name="connsiteX330" fmla="*/ 362183 w 4439277"/>
              <a:gd name="connsiteY330" fmla="*/ 1071379 h 6858000"/>
              <a:gd name="connsiteX331" fmla="*/ 362183 w 4439277"/>
              <a:gd name="connsiteY331" fmla="*/ 1076343 h 6858000"/>
              <a:gd name="connsiteX332" fmla="*/ 367144 w 4439277"/>
              <a:gd name="connsiteY332" fmla="*/ 1078824 h 6858000"/>
              <a:gd name="connsiteX333" fmla="*/ 369627 w 4439277"/>
              <a:gd name="connsiteY333" fmla="*/ 1071379 h 6858000"/>
              <a:gd name="connsiteX334" fmla="*/ 362183 w 4439277"/>
              <a:gd name="connsiteY334" fmla="*/ 1071379 h 6858000"/>
              <a:gd name="connsiteX335" fmla="*/ 295205 w 4439277"/>
              <a:gd name="connsiteY335" fmla="*/ 1016772 h 6858000"/>
              <a:gd name="connsiteX336" fmla="*/ 301189 w 4439277"/>
              <a:gd name="connsiteY336" fmla="*/ 1024754 h 6858000"/>
              <a:gd name="connsiteX337" fmla="*/ 302033 w 4439277"/>
              <a:gd name="connsiteY337" fmla="*/ 1027315 h 6858000"/>
              <a:gd name="connsiteX338" fmla="*/ 301656 w 4439277"/>
              <a:gd name="connsiteY338" fmla="*/ 1027692 h 6858000"/>
              <a:gd name="connsiteX339" fmla="*/ 296441 w 4439277"/>
              <a:gd name="connsiteY339" fmla="*/ 1019865 h 6858000"/>
              <a:gd name="connsiteX340" fmla="*/ 344819 w 4439277"/>
              <a:gd name="connsiteY340" fmla="*/ 1011808 h 6858000"/>
              <a:gd name="connsiteX341" fmla="*/ 357222 w 4439277"/>
              <a:gd name="connsiteY341" fmla="*/ 1036629 h 6858000"/>
              <a:gd name="connsiteX342" fmla="*/ 344819 w 4439277"/>
              <a:gd name="connsiteY342" fmla="*/ 1011808 h 6858000"/>
              <a:gd name="connsiteX343" fmla="*/ 327452 w 4439277"/>
              <a:gd name="connsiteY343" fmla="*/ 991951 h 6858000"/>
              <a:gd name="connsiteX344" fmla="*/ 326524 w 4439277"/>
              <a:gd name="connsiteY344" fmla="*/ 1004982 h 6858000"/>
              <a:gd name="connsiteX345" fmla="*/ 334897 w 4439277"/>
              <a:gd name="connsiteY345" fmla="*/ 1006843 h 6858000"/>
              <a:gd name="connsiteX346" fmla="*/ 327452 w 4439277"/>
              <a:gd name="connsiteY346" fmla="*/ 991951 h 6858000"/>
              <a:gd name="connsiteX347" fmla="*/ 312571 w 4439277"/>
              <a:gd name="connsiteY347" fmla="*/ 974574 h 6858000"/>
              <a:gd name="connsiteX348" fmla="*/ 320012 w 4439277"/>
              <a:gd name="connsiteY348" fmla="*/ 991951 h 6858000"/>
              <a:gd name="connsiteX349" fmla="*/ 312571 w 4439277"/>
              <a:gd name="connsiteY349" fmla="*/ 974574 h 6858000"/>
              <a:gd name="connsiteX350" fmla="*/ 292725 w 4439277"/>
              <a:gd name="connsiteY350" fmla="*/ 825649 h 6858000"/>
              <a:gd name="connsiteX351" fmla="*/ 305127 w 4439277"/>
              <a:gd name="connsiteY351" fmla="*/ 835578 h 6858000"/>
              <a:gd name="connsiteX352" fmla="*/ 292725 w 4439277"/>
              <a:gd name="connsiteY352" fmla="*/ 825649 h 6858000"/>
              <a:gd name="connsiteX353" fmla="*/ 324973 w 4439277"/>
              <a:gd name="connsiteY353" fmla="*/ 805792 h 6858000"/>
              <a:gd name="connsiteX354" fmla="*/ 342337 w 4439277"/>
              <a:gd name="connsiteY354" fmla="*/ 828132 h 6858000"/>
              <a:gd name="connsiteX355" fmla="*/ 324973 w 4439277"/>
              <a:gd name="connsiteY355" fmla="*/ 805792 h 6858000"/>
              <a:gd name="connsiteX356" fmla="*/ 355981 w 4439277"/>
              <a:gd name="connsiteY356" fmla="*/ 757393 h 6858000"/>
              <a:gd name="connsiteX357" fmla="*/ 357222 w 4439277"/>
              <a:gd name="connsiteY357" fmla="*/ 758634 h 6858000"/>
              <a:gd name="connsiteX358" fmla="*/ 355552 w 4439277"/>
              <a:gd name="connsiteY358" fmla="*/ 759533 h 6858000"/>
              <a:gd name="connsiteX359" fmla="*/ 354742 w 4439277"/>
              <a:gd name="connsiteY359" fmla="*/ 758634 h 6858000"/>
              <a:gd name="connsiteX360" fmla="*/ 419241 w 4439277"/>
              <a:gd name="connsiteY360" fmla="*/ 733813 h 6858000"/>
              <a:gd name="connsiteX361" fmla="*/ 411798 w 4439277"/>
              <a:gd name="connsiteY361" fmla="*/ 738776 h 6858000"/>
              <a:gd name="connsiteX362" fmla="*/ 414280 w 4439277"/>
              <a:gd name="connsiteY362" fmla="*/ 741260 h 6858000"/>
              <a:gd name="connsiteX363" fmla="*/ 421721 w 4439277"/>
              <a:gd name="connsiteY363" fmla="*/ 736296 h 6858000"/>
              <a:gd name="connsiteX364" fmla="*/ 419241 w 4439277"/>
              <a:gd name="connsiteY364" fmla="*/ 733813 h 6858000"/>
              <a:gd name="connsiteX365" fmla="*/ 389473 w 4439277"/>
              <a:gd name="connsiteY365" fmla="*/ 721401 h 6858000"/>
              <a:gd name="connsiteX366" fmla="*/ 379550 w 4439277"/>
              <a:gd name="connsiteY366" fmla="*/ 728847 h 6858000"/>
              <a:gd name="connsiteX367" fmla="*/ 399395 w 4439277"/>
              <a:gd name="connsiteY367" fmla="*/ 728847 h 6858000"/>
              <a:gd name="connsiteX368" fmla="*/ 389473 w 4439277"/>
              <a:gd name="connsiteY368" fmla="*/ 721401 h 6858000"/>
              <a:gd name="connsiteX369" fmla="*/ 406836 w 4439277"/>
              <a:gd name="connsiteY369" fmla="*/ 718919 h 6858000"/>
              <a:gd name="connsiteX370" fmla="*/ 409319 w 4439277"/>
              <a:gd name="connsiteY370" fmla="*/ 718919 h 6858000"/>
              <a:gd name="connsiteX371" fmla="*/ 416760 w 4439277"/>
              <a:gd name="connsiteY371" fmla="*/ 728847 h 6858000"/>
              <a:gd name="connsiteX372" fmla="*/ 414692 w 4439277"/>
              <a:gd name="connsiteY372" fmla="*/ 729882 h 6858000"/>
              <a:gd name="connsiteX373" fmla="*/ 411075 w 4439277"/>
              <a:gd name="connsiteY373" fmla="*/ 729520 h 6858000"/>
              <a:gd name="connsiteX374" fmla="*/ 977401 w 4439277"/>
              <a:gd name="connsiteY374" fmla="*/ 582404 h 6858000"/>
              <a:gd name="connsiteX375" fmla="*/ 982363 w 4439277"/>
              <a:gd name="connsiteY375" fmla="*/ 587368 h 6858000"/>
              <a:gd name="connsiteX376" fmla="*/ 984842 w 4439277"/>
              <a:gd name="connsiteY376" fmla="*/ 587368 h 6858000"/>
              <a:gd name="connsiteX377" fmla="*/ 977401 w 4439277"/>
              <a:gd name="connsiteY377" fmla="*/ 582404 h 6858000"/>
              <a:gd name="connsiteX378" fmla="*/ 994146 w 4439277"/>
              <a:gd name="connsiteY378" fmla="*/ 564409 h 6858000"/>
              <a:gd name="connsiteX379" fmla="*/ 984842 w 4439277"/>
              <a:gd name="connsiteY379" fmla="*/ 569995 h 6858000"/>
              <a:gd name="connsiteX380" fmla="*/ 997247 w 4439277"/>
              <a:gd name="connsiteY380" fmla="*/ 584887 h 6858000"/>
              <a:gd name="connsiteX381" fmla="*/ 1002209 w 4439277"/>
              <a:gd name="connsiteY381" fmla="*/ 592333 h 6858000"/>
              <a:gd name="connsiteX382" fmla="*/ 1009650 w 4439277"/>
              <a:gd name="connsiteY382" fmla="*/ 612190 h 6858000"/>
              <a:gd name="connsiteX383" fmla="*/ 1051821 w 4439277"/>
              <a:gd name="connsiteY383" fmla="*/ 669276 h 6858000"/>
              <a:gd name="connsiteX384" fmla="*/ 1061744 w 4439277"/>
              <a:gd name="connsiteY384" fmla="*/ 679205 h 6858000"/>
              <a:gd name="connsiteX385" fmla="*/ 1051821 w 4439277"/>
              <a:gd name="connsiteY385" fmla="*/ 656868 h 6858000"/>
              <a:gd name="connsiteX386" fmla="*/ 1059264 w 4439277"/>
              <a:gd name="connsiteY386" fmla="*/ 651904 h 6858000"/>
              <a:gd name="connsiteX387" fmla="*/ 1046859 w 4439277"/>
              <a:gd name="connsiteY387" fmla="*/ 641975 h 6858000"/>
              <a:gd name="connsiteX388" fmla="*/ 1039418 w 4439277"/>
              <a:gd name="connsiteY388" fmla="*/ 639491 h 6858000"/>
              <a:gd name="connsiteX389" fmla="*/ 1017093 w 4439277"/>
              <a:gd name="connsiteY389" fmla="*/ 602261 h 6858000"/>
              <a:gd name="connsiteX390" fmla="*/ 999727 w 4439277"/>
              <a:gd name="connsiteY390" fmla="*/ 569995 h 6858000"/>
              <a:gd name="connsiteX391" fmla="*/ 994146 w 4439277"/>
              <a:gd name="connsiteY391" fmla="*/ 564409 h 6858000"/>
              <a:gd name="connsiteX392" fmla="*/ 635936 w 4439277"/>
              <a:gd name="connsiteY392" fmla="*/ 562984 h 6858000"/>
              <a:gd name="connsiteX393" fmla="*/ 644984 w 4439277"/>
              <a:gd name="connsiteY393" fmla="*/ 567511 h 6858000"/>
              <a:gd name="connsiteX394" fmla="*/ 642505 w 4439277"/>
              <a:gd name="connsiteY394" fmla="*/ 569995 h 6858000"/>
              <a:gd name="connsiteX395" fmla="*/ 638775 w 4439277"/>
              <a:gd name="connsiteY395" fmla="*/ 566263 h 6858000"/>
              <a:gd name="connsiteX396" fmla="*/ 1267645 w 4439277"/>
              <a:gd name="connsiteY396" fmla="*/ 465745 h 6858000"/>
              <a:gd name="connsiteX397" fmla="*/ 1265165 w 4439277"/>
              <a:gd name="connsiteY397" fmla="*/ 468229 h 6858000"/>
              <a:gd name="connsiteX398" fmla="*/ 1270124 w 4439277"/>
              <a:gd name="connsiteY398" fmla="*/ 475674 h 6858000"/>
              <a:gd name="connsiteX399" fmla="*/ 1272606 w 4439277"/>
              <a:gd name="connsiteY399" fmla="*/ 473193 h 6858000"/>
              <a:gd name="connsiteX400" fmla="*/ 1267645 w 4439277"/>
              <a:gd name="connsiteY400" fmla="*/ 465745 h 6858000"/>
              <a:gd name="connsiteX401" fmla="*/ 803753 w 4439277"/>
              <a:gd name="connsiteY401" fmla="*/ 135627 h 6858000"/>
              <a:gd name="connsiteX402" fmla="*/ 808714 w 4439277"/>
              <a:gd name="connsiteY402" fmla="*/ 143071 h 6858000"/>
              <a:gd name="connsiteX403" fmla="*/ 806232 w 4439277"/>
              <a:gd name="connsiteY403" fmla="*/ 145554 h 6858000"/>
              <a:gd name="connsiteX404" fmla="*/ 801270 w 4439277"/>
              <a:gd name="connsiteY404" fmla="*/ 138110 h 6858000"/>
              <a:gd name="connsiteX405" fmla="*/ 803753 w 4439277"/>
              <a:gd name="connsiteY405" fmla="*/ 135627 h 6858000"/>
              <a:gd name="connsiteX406" fmla="*/ 1126244 w 4439277"/>
              <a:gd name="connsiteY406" fmla="*/ 73575 h 6858000"/>
              <a:gd name="connsiteX407" fmla="*/ 1146090 w 4439277"/>
              <a:gd name="connsiteY407" fmla="*/ 95912 h 6858000"/>
              <a:gd name="connsiteX408" fmla="*/ 1148568 w 4439277"/>
              <a:gd name="connsiteY408" fmla="*/ 93432 h 6858000"/>
              <a:gd name="connsiteX409" fmla="*/ 1133684 w 4439277"/>
              <a:gd name="connsiteY409" fmla="*/ 83503 h 6858000"/>
              <a:gd name="connsiteX410" fmla="*/ 1126244 w 4439277"/>
              <a:gd name="connsiteY410" fmla="*/ 73575 h 6858000"/>
              <a:gd name="connsiteX411" fmla="*/ 1096474 w 4439277"/>
              <a:gd name="connsiteY411" fmla="*/ 43789 h 6858000"/>
              <a:gd name="connsiteX412" fmla="*/ 1111359 w 4439277"/>
              <a:gd name="connsiteY412" fmla="*/ 66126 h 6858000"/>
              <a:gd name="connsiteX413" fmla="*/ 1118802 w 4439277"/>
              <a:gd name="connsiteY413" fmla="*/ 58682 h 6858000"/>
              <a:gd name="connsiteX414" fmla="*/ 1096474 w 4439277"/>
              <a:gd name="connsiteY414" fmla="*/ 43789 h 6858000"/>
              <a:gd name="connsiteX415" fmla="*/ 979881 w 4439277"/>
              <a:gd name="connsiteY415" fmla="*/ 36341 h 6858000"/>
              <a:gd name="connsiteX416" fmla="*/ 977401 w 4439277"/>
              <a:gd name="connsiteY416" fmla="*/ 38825 h 6858000"/>
              <a:gd name="connsiteX417" fmla="*/ 982363 w 4439277"/>
              <a:gd name="connsiteY417" fmla="*/ 43789 h 6858000"/>
              <a:gd name="connsiteX418" fmla="*/ 982363 w 4439277"/>
              <a:gd name="connsiteY418" fmla="*/ 38825 h 6858000"/>
              <a:gd name="connsiteX419" fmla="*/ 979881 w 4439277"/>
              <a:gd name="connsiteY419" fmla="*/ 36341 h 6858000"/>
              <a:gd name="connsiteX420" fmla="*/ 746555 w 4439277"/>
              <a:gd name="connsiteY420" fmla="*/ 0 h 6858000"/>
              <a:gd name="connsiteX421" fmla="*/ 772748 w 4439277"/>
              <a:gd name="connsiteY421" fmla="*/ 0 h 6858000"/>
              <a:gd name="connsiteX422" fmla="*/ 776463 w 4439277"/>
              <a:gd name="connsiteY422" fmla="*/ 4075 h 6858000"/>
              <a:gd name="connsiteX423" fmla="*/ 776463 w 4439277"/>
              <a:gd name="connsiteY423" fmla="*/ 0 h 6858000"/>
              <a:gd name="connsiteX424" fmla="*/ 823595 w 4439277"/>
              <a:gd name="connsiteY424" fmla="*/ 0 h 6858000"/>
              <a:gd name="connsiteX425" fmla="*/ 823595 w 4439277"/>
              <a:gd name="connsiteY425" fmla="*/ 11523 h 6858000"/>
              <a:gd name="connsiteX426" fmla="*/ 840962 w 4439277"/>
              <a:gd name="connsiteY426" fmla="*/ 6559 h 6858000"/>
              <a:gd name="connsiteX427" fmla="*/ 834441 w 4439277"/>
              <a:gd name="connsiteY427" fmla="*/ 0 h 6858000"/>
              <a:gd name="connsiteX428" fmla="*/ 863520 w 4439277"/>
              <a:gd name="connsiteY428" fmla="*/ 0 h 6858000"/>
              <a:gd name="connsiteX429" fmla="*/ 870731 w 4439277"/>
              <a:gd name="connsiteY429" fmla="*/ 6559 h 6858000"/>
              <a:gd name="connsiteX430" fmla="*/ 883133 w 4439277"/>
              <a:gd name="connsiteY430" fmla="*/ 21451 h 6858000"/>
              <a:gd name="connsiteX431" fmla="*/ 932748 w 4439277"/>
              <a:gd name="connsiteY431" fmla="*/ 61162 h 6858000"/>
              <a:gd name="connsiteX432" fmla="*/ 920346 w 4439277"/>
              <a:gd name="connsiteY432" fmla="*/ 38825 h 6858000"/>
              <a:gd name="connsiteX433" fmla="*/ 900500 w 4439277"/>
              <a:gd name="connsiteY433" fmla="*/ 21451 h 6858000"/>
              <a:gd name="connsiteX434" fmla="*/ 902979 w 4439277"/>
              <a:gd name="connsiteY434" fmla="*/ 16487 h 6858000"/>
              <a:gd name="connsiteX435" fmla="*/ 895538 w 4439277"/>
              <a:gd name="connsiteY435" fmla="*/ 18968 h 6858000"/>
              <a:gd name="connsiteX436" fmla="*/ 878172 w 4439277"/>
              <a:gd name="connsiteY436" fmla="*/ 6559 h 6858000"/>
              <a:gd name="connsiteX437" fmla="*/ 873257 w 4439277"/>
              <a:gd name="connsiteY437" fmla="*/ 0 h 6858000"/>
              <a:gd name="connsiteX438" fmla="*/ 4439277 w 4439277"/>
              <a:gd name="connsiteY438" fmla="*/ 0 h 6858000"/>
              <a:gd name="connsiteX439" fmla="*/ 4439277 w 4439277"/>
              <a:gd name="connsiteY439" fmla="*/ 6858000 h 6858000"/>
              <a:gd name="connsiteX440" fmla="*/ 2265896 w 4439277"/>
              <a:gd name="connsiteY440" fmla="*/ 6858000 h 6858000"/>
              <a:gd name="connsiteX441" fmla="*/ 2264891 w 4439277"/>
              <a:gd name="connsiteY441" fmla="*/ 6857146 h 6858000"/>
              <a:gd name="connsiteX442" fmla="*/ 2265463 w 4439277"/>
              <a:gd name="connsiteY442" fmla="*/ 6858000 h 6858000"/>
              <a:gd name="connsiteX443" fmla="*/ 1639834 w 4439277"/>
              <a:gd name="connsiteY443" fmla="*/ 6858000 h 6858000"/>
              <a:gd name="connsiteX444" fmla="*/ 1629827 w 4439277"/>
              <a:gd name="connsiteY444" fmla="*/ 6839772 h 6858000"/>
              <a:gd name="connsiteX445" fmla="*/ 1622385 w 4439277"/>
              <a:gd name="connsiteY445" fmla="*/ 6829845 h 6858000"/>
              <a:gd name="connsiteX446" fmla="*/ 1533079 w 4439277"/>
              <a:gd name="connsiteY446" fmla="*/ 6755380 h 6858000"/>
              <a:gd name="connsiteX447" fmla="*/ 1476023 w 4439277"/>
              <a:gd name="connsiteY447" fmla="*/ 6673472 h 6858000"/>
              <a:gd name="connsiteX448" fmla="*/ 1453698 w 4439277"/>
              <a:gd name="connsiteY448" fmla="*/ 6648651 h 6858000"/>
              <a:gd name="connsiteX449" fmla="*/ 1428891 w 4439277"/>
              <a:gd name="connsiteY449" fmla="*/ 6613901 h 6858000"/>
              <a:gd name="connsiteX450" fmla="*/ 1384238 w 4439277"/>
              <a:gd name="connsiteY450" fmla="*/ 6531992 h 6858000"/>
              <a:gd name="connsiteX451" fmla="*/ 1342066 w 4439277"/>
              <a:gd name="connsiteY451" fmla="*/ 6464976 h 6858000"/>
              <a:gd name="connsiteX452" fmla="*/ 1257721 w 4439277"/>
              <a:gd name="connsiteY452" fmla="*/ 6360730 h 6858000"/>
              <a:gd name="connsiteX453" fmla="*/ 1200665 w 4439277"/>
              <a:gd name="connsiteY453" fmla="*/ 6263928 h 6858000"/>
              <a:gd name="connsiteX454" fmla="*/ 1183298 w 4439277"/>
              <a:gd name="connsiteY454" fmla="*/ 6234142 h 6858000"/>
              <a:gd name="connsiteX455" fmla="*/ 1096474 w 4439277"/>
              <a:gd name="connsiteY455" fmla="*/ 6090179 h 6858000"/>
              <a:gd name="connsiteX456" fmla="*/ 1081589 w 4439277"/>
              <a:gd name="connsiteY456" fmla="*/ 6067841 h 6858000"/>
              <a:gd name="connsiteX457" fmla="*/ 1046859 w 4439277"/>
              <a:gd name="connsiteY457" fmla="*/ 6008270 h 6858000"/>
              <a:gd name="connsiteX458" fmla="*/ 1017093 w 4439277"/>
              <a:gd name="connsiteY458" fmla="*/ 5951182 h 6858000"/>
              <a:gd name="connsiteX459" fmla="*/ 930269 w 4439277"/>
              <a:gd name="connsiteY459" fmla="*/ 5683116 h 6858000"/>
              <a:gd name="connsiteX460" fmla="*/ 890577 w 4439277"/>
              <a:gd name="connsiteY460" fmla="*/ 5593758 h 6858000"/>
              <a:gd name="connsiteX461" fmla="*/ 843441 w 4439277"/>
              <a:gd name="connsiteY461" fmla="*/ 5501922 h 6858000"/>
              <a:gd name="connsiteX462" fmla="*/ 801270 w 4439277"/>
              <a:gd name="connsiteY462" fmla="*/ 5375334 h 6858000"/>
              <a:gd name="connsiteX463" fmla="*/ 798788 w 4439277"/>
              <a:gd name="connsiteY463" fmla="*/ 5362925 h 6858000"/>
              <a:gd name="connsiteX464" fmla="*/ 771501 w 4439277"/>
              <a:gd name="connsiteY464" fmla="*/ 5313282 h 6858000"/>
              <a:gd name="connsiteX465" fmla="*/ 734291 w 4439277"/>
              <a:gd name="connsiteY465" fmla="*/ 5226409 h 6858000"/>
              <a:gd name="connsiteX466" fmla="*/ 729330 w 4439277"/>
              <a:gd name="connsiteY466" fmla="*/ 5204069 h 6858000"/>
              <a:gd name="connsiteX467" fmla="*/ 702040 w 4439277"/>
              <a:gd name="connsiteY467" fmla="*/ 5129608 h 6858000"/>
              <a:gd name="connsiteX468" fmla="*/ 697081 w 4439277"/>
              <a:gd name="connsiteY468" fmla="*/ 5117196 h 6858000"/>
              <a:gd name="connsiteX469" fmla="*/ 674754 w 4439277"/>
              <a:gd name="connsiteY469" fmla="*/ 5015431 h 6858000"/>
              <a:gd name="connsiteX470" fmla="*/ 652428 w 4439277"/>
              <a:gd name="connsiteY470" fmla="*/ 4916148 h 6858000"/>
              <a:gd name="connsiteX471" fmla="*/ 642505 w 4439277"/>
              <a:gd name="connsiteY471" fmla="*/ 4868986 h 6858000"/>
              <a:gd name="connsiteX472" fmla="*/ 637544 w 4439277"/>
              <a:gd name="connsiteY472" fmla="*/ 4846648 h 6858000"/>
              <a:gd name="connsiteX473" fmla="*/ 635062 w 4439277"/>
              <a:gd name="connsiteY473" fmla="*/ 4759775 h 6858000"/>
              <a:gd name="connsiteX474" fmla="*/ 630101 w 4439277"/>
              <a:gd name="connsiteY474" fmla="*/ 4734954 h 6858000"/>
              <a:gd name="connsiteX475" fmla="*/ 642505 w 4439277"/>
              <a:gd name="connsiteY475" fmla="*/ 4702685 h 6858000"/>
              <a:gd name="connsiteX476" fmla="*/ 644984 w 4439277"/>
              <a:gd name="connsiteY476" fmla="*/ 4702685 h 6858000"/>
              <a:gd name="connsiteX477" fmla="*/ 602813 w 4439277"/>
              <a:gd name="connsiteY477" fmla="*/ 4620776 h 6858000"/>
              <a:gd name="connsiteX478" fmla="*/ 535835 w 4439277"/>
              <a:gd name="connsiteY478" fmla="*/ 4471851 h 6858000"/>
              <a:gd name="connsiteX479" fmla="*/ 525912 w 4439277"/>
              <a:gd name="connsiteY479" fmla="*/ 4442065 h 6858000"/>
              <a:gd name="connsiteX480" fmla="*/ 533353 w 4439277"/>
              <a:gd name="connsiteY480" fmla="*/ 4429657 h 6858000"/>
              <a:gd name="connsiteX481" fmla="*/ 560642 w 4439277"/>
              <a:gd name="connsiteY481" fmla="*/ 4484263 h 6858000"/>
              <a:gd name="connsiteX482" fmla="*/ 590409 w 4439277"/>
              <a:gd name="connsiteY482" fmla="*/ 4538867 h 6858000"/>
              <a:gd name="connsiteX483" fmla="*/ 620177 w 4439277"/>
              <a:gd name="connsiteY483" fmla="*/ 4593475 h 6858000"/>
              <a:gd name="connsiteX484" fmla="*/ 620177 w 4439277"/>
              <a:gd name="connsiteY484" fmla="*/ 4573617 h 6858000"/>
              <a:gd name="connsiteX485" fmla="*/ 578006 w 4439277"/>
              <a:gd name="connsiteY485" fmla="*/ 4491709 h 6858000"/>
              <a:gd name="connsiteX486" fmla="*/ 528392 w 4439277"/>
              <a:gd name="connsiteY486" fmla="*/ 4352712 h 6858000"/>
              <a:gd name="connsiteX487" fmla="*/ 525912 w 4439277"/>
              <a:gd name="connsiteY487" fmla="*/ 4332855 h 6858000"/>
              <a:gd name="connsiteX488" fmla="*/ 535835 w 4439277"/>
              <a:gd name="connsiteY488" fmla="*/ 4315479 h 6858000"/>
              <a:gd name="connsiteX489" fmla="*/ 553199 w 4439277"/>
              <a:gd name="connsiteY489" fmla="*/ 4300586 h 6858000"/>
              <a:gd name="connsiteX490" fmla="*/ 573045 w 4439277"/>
              <a:gd name="connsiteY490" fmla="*/ 4303069 h 6858000"/>
              <a:gd name="connsiteX491" fmla="*/ 555681 w 4439277"/>
              <a:gd name="connsiteY491" fmla="*/ 4260871 h 6858000"/>
              <a:gd name="connsiteX492" fmla="*/ 632582 w 4439277"/>
              <a:gd name="connsiteY492" fmla="*/ 4377533 h 6858000"/>
              <a:gd name="connsiteX493" fmla="*/ 647467 w 4439277"/>
              <a:gd name="connsiteY493" fmla="*/ 4362637 h 6858000"/>
              <a:gd name="connsiteX494" fmla="*/ 649946 w 4439277"/>
              <a:gd name="connsiteY494" fmla="*/ 4355193 h 6858000"/>
              <a:gd name="connsiteX495" fmla="*/ 644984 w 4439277"/>
              <a:gd name="connsiteY495" fmla="*/ 4330371 h 6858000"/>
              <a:gd name="connsiteX496" fmla="*/ 610255 w 4439277"/>
              <a:gd name="connsiteY496" fmla="*/ 4206268 h 6858000"/>
              <a:gd name="connsiteX497" fmla="*/ 602813 w 4439277"/>
              <a:gd name="connsiteY497" fmla="*/ 4156625 h 6858000"/>
              <a:gd name="connsiteX498" fmla="*/ 610255 w 4439277"/>
              <a:gd name="connsiteY498" fmla="*/ 4136768 h 6858000"/>
              <a:gd name="connsiteX499" fmla="*/ 620177 w 4439277"/>
              <a:gd name="connsiteY499" fmla="*/ 4159109 h 6858000"/>
              <a:gd name="connsiteX500" fmla="*/ 674754 w 4439277"/>
              <a:gd name="connsiteY500" fmla="*/ 4365121 h 6858000"/>
              <a:gd name="connsiteX501" fmla="*/ 677233 w 4439277"/>
              <a:gd name="connsiteY501" fmla="*/ 4367601 h 6858000"/>
              <a:gd name="connsiteX502" fmla="*/ 684676 w 4439277"/>
              <a:gd name="connsiteY502" fmla="*/ 4362637 h 6858000"/>
              <a:gd name="connsiteX503" fmla="*/ 697081 w 4439277"/>
              <a:gd name="connsiteY503" fmla="*/ 4404835 h 6858000"/>
              <a:gd name="connsiteX504" fmla="*/ 702040 w 4439277"/>
              <a:gd name="connsiteY504" fmla="*/ 4392422 h 6858000"/>
              <a:gd name="connsiteX505" fmla="*/ 736771 w 4439277"/>
              <a:gd name="connsiteY505" fmla="*/ 4491709 h 6858000"/>
              <a:gd name="connsiteX506" fmla="*/ 704522 w 4439277"/>
              <a:gd name="connsiteY506" fmla="*/ 4434621 h 6858000"/>
              <a:gd name="connsiteX507" fmla="*/ 709484 w 4439277"/>
              <a:gd name="connsiteY507" fmla="*/ 4447029 h 6858000"/>
              <a:gd name="connsiteX508" fmla="*/ 731809 w 4439277"/>
              <a:gd name="connsiteY508" fmla="*/ 4501637 h 6858000"/>
              <a:gd name="connsiteX509" fmla="*/ 754137 w 4439277"/>
              <a:gd name="connsiteY509" fmla="*/ 4546315 h 6858000"/>
              <a:gd name="connsiteX510" fmla="*/ 777975 w 4439277"/>
              <a:gd name="connsiteY510" fmla="*/ 4541978 h 6858000"/>
              <a:gd name="connsiteX511" fmla="*/ 786386 w 4439277"/>
              <a:gd name="connsiteY511" fmla="*/ 4553760 h 6858000"/>
              <a:gd name="connsiteX512" fmla="*/ 808714 w 4439277"/>
              <a:gd name="connsiteY512" fmla="*/ 4588509 h 6858000"/>
              <a:gd name="connsiteX513" fmla="*/ 840961 w 4439277"/>
              <a:gd name="connsiteY513" fmla="*/ 4648080 h 6858000"/>
              <a:gd name="connsiteX514" fmla="*/ 853364 w 4439277"/>
              <a:gd name="connsiteY514" fmla="*/ 4643116 h 6858000"/>
              <a:gd name="connsiteX515" fmla="*/ 811193 w 4439277"/>
              <a:gd name="connsiteY515" fmla="*/ 4548795 h 6858000"/>
              <a:gd name="connsiteX516" fmla="*/ 808714 w 4439277"/>
              <a:gd name="connsiteY516" fmla="*/ 4543831 h 6858000"/>
              <a:gd name="connsiteX517" fmla="*/ 794138 w 4439277"/>
              <a:gd name="connsiteY517" fmla="*/ 4539178 h 6858000"/>
              <a:gd name="connsiteX518" fmla="*/ 779347 w 4439277"/>
              <a:gd name="connsiteY518" fmla="*/ 4537130 h 6858000"/>
              <a:gd name="connsiteX519" fmla="*/ 751345 w 4439277"/>
              <a:gd name="connsiteY519" fmla="*/ 4480229 h 6858000"/>
              <a:gd name="connsiteX520" fmla="*/ 726847 w 4439277"/>
              <a:gd name="connsiteY520" fmla="*/ 4417245 h 6858000"/>
              <a:gd name="connsiteX521" fmla="*/ 719407 w 4439277"/>
              <a:gd name="connsiteY521" fmla="*/ 4399871 h 6858000"/>
              <a:gd name="connsiteX522" fmla="*/ 692118 w 4439277"/>
              <a:gd name="connsiteY522" fmla="*/ 4330371 h 6858000"/>
              <a:gd name="connsiteX523" fmla="*/ 674754 w 4439277"/>
              <a:gd name="connsiteY523" fmla="*/ 4258391 h 6858000"/>
              <a:gd name="connsiteX524" fmla="*/ 659869 w 4439277"/>
              <a:gd name="connsiteY524" fmla="*/ 4208748 h 6858000"/>
              <a:gd name="connsiteX525" fmla="*/ 649946 w 4439277"/>
              <a:gd name="connsiteY525" fmla="*/ 4156625 h 6858000"/>
              <a:gd name="connsiteX526" fmla="*/ 664830 w 4439277"/>
              <a:gd name="connsiteY526" fmla="*/ 4156625 h 6858000"/>
              <a:gd name="connsiteX527" fmla="*/ 669792 w 4439277"/>
              <a:gd name="connsiteY527" fmla="*/ 4136768 h 6858000"/>
              <a:gd name="connsiteX528" fmla="*/ 662351 w 4439277"/>
              <a:gd name="connsiteY528" fmla="*/ 4109467 h 6858000"/>
              <a:gd name="connsiteX529" fmla="*/ 672274 w 4439277"/>
              <a:gd name="connsiteY529" fmla="*/ 4087125 h 6858000"/>
              <a:gd name="connsiteX530" fmla="*/ 684676 w 4439277"/>
              <a:gd name="connsiteY530" fmla="*/ 4099537 h 6858000"/>
              <a:gd name="connsiteX531" fmla="*/ 741732 w 4439277"/>
              <a:gd name="connsiteY531" fmla="*/ 4226122 h 6858000"/>
              <a:gd name="connsiteX532" fmla="*/ 761578 w 4439277"/>
              <a:gd name="connsiteY532" fmla="*/ 4258391 h 6858000"/>
              <a:gd name="connsiteX533" fmla="*/ 766539 w 4439277"/>
              <a:gd name="connsiteY533" fmla="*/ 4268320 h 6858000"/>
              <a:gd name="connsiteX534" fmla="*/ 766539 w 4439277"/>
              <a:gd name="connsiteY534" fmla="*/ 4248462 h 6858000"/>
              <a:gd name="connsiteX535" fmla="*/ 764061 w 4439277"/>
              <a:gd name="connsiteY535" fmla="*/ 4233570 h 6858000"/>
              <a:gd name="connsiteX536" fmla="*/ 783907 w 4439277"/>
              <a:gd name="connsiteY536" fmla="*/ 4221160 h 6858000"/>
              <a:gd name="connsiteX537" fmla="*/ 791347 w 4439277"/>
              <a:gd name="connsiteY537" fmla="*/ 4228605 h 6858000"/>
              <a:gd name="connsiteX538" fmla="*/ 796308 w 4439277"/>
              <a:gd name="connsiteY538" fmla="*/ 4228605 h 6858000"/>
              <a:gd name="connsiteX539" fmla="*/ 791347 w 4439277"/>
              <a:gd name="connsiteY539" fmla="*/ 4218677 h 6858000"/>
              <a:gd name="connsiteX540" fmla="*/ 781424 w 4439277"/>
              <a:gd name="connsiteY540" fmla="*/ 4213713 h 6858000"/>
              <a:gd name="connsiteX541" fmla="*/ 778944 w 4439277"/>
              <a:gd name="connsiteY541" fmla="*/ 4198820 h 6858000"/>
              <a:gd name="connsiteX542" fmla="*/ 776462 w 4439277"/>
              <a:gd name="connsiteY542" fmla="*/ 4186410 h 6858000"/>
              <a:gd name="connsiteX543" fmla="*/ 766539 w 4439277"/>
              <a:gd name="connsiteY543" fmla="*/ 4154145 h 6858000"/>
              <a:gd name="connsiteX544" fmla="*/ 719407 w 4439277"/>
              <a:gd name="connsiteY544" fmla="*/ 4035003 h 6858000"/>
              <a:gd name="connsiteX545" fmla="*/ 707001 w 4439277"/>
              <a:gd name="connsiteY545" fmla="*/ 4012665 h 6858000"/>
              <a:gd name="connsiteX546" fmla="*/ 672274 w 4439277"/>
              <a:gd name="connsiteY546" fmla="*/ 3960538 h 6858000"/>
              <a:gd name="connsiteX547" fmla="*/ 667313 w 4439277"/>
              <a:gd name="connsiteY547" fmla="*/ 3938201 h 6858000"/>
              <a:gd name="connsiteX548" fmla="*/ 672274 w 4439277"/>
              <a:gd name="connsiteY548" fmla="*/ 3933237 h 6858000"/>
              <a:gd name="connsiteX549" fmla="*/ 679715 w 4439277"/>
              <a:gd name="connsiteY549" fmla="*/ 3935720 h 6858000"/>
              <a:gd name="connsiteX550" fmla="*/ 699561 w 4439277"/>
              <a:gd name="connsiteY550" fmla="*/ 3958058 h 6858000"/>
              <a:gd name="connsiteX551" fmla="*/ 704522 w 4439277"/>
              <a:gd name="connsiteY551" fmla="*/ 3940681 h 6858000"/>
              <a:gd name="connsiteX552" fmla="*/ 684676 w 4439277"/>
              <a:gd name="connsiteY552" fmla="*/ 3846364 h 6858000"/>
              <a:gd name="connsiteX553" fmla="*/ 714445 w 4439277"/>
              <a:gd name="connsiteY553" fmla="*/ 3933237 h 6858000"/>
              <a:gd name="connsiteX554" fmla="*/ 729330 w 4439277"/>
              <a:gd name="connsiteY554" fmla="*/ 3970466 h 6858000"/>
              <a:gd name="connsiteX555" fmla="*/ 746693 w 4439277"/>
              <a:gd name="connsiteY555" fmla="*/ 4010180 h 6858000"/>
              <a:gd name="connsiteX556" fmla="*/ 764061 w 4439277"/>
              <a:gd name="connsiteY556" fmla="*/ 4037483 h 6858000"/>
              <a:gd name="connsiteX557" fmla="*/ 766539 w 4439277"/>
              <a:gd name="connsiteY557" fmla="*/ 4022593 h 6858000"/>
              <a:gd name="connsiteX558" fmla="*/ 764061 w 4439277"/>
              <a:gd name="connsiteY558" fmla="*/ 3960538 h 6858000"/>
              <a:gd name="connsiteX559" fmla="*/ 746693 w 4439277"/>
              <a:gd name="connsiteY559" fmla="*/ 3908415 h 6858000"/>
              <a:gd name="connsiteX560" fmla="*/ 702040 w 4439277"/>
              <a:gd name="connsiteY560" fmla="*/ 3761971 h 6858000"/>
              <a:gd name="connsiteX561" fmla="*/ 697081 w 4439277"/>
              <a:gd name="connsiteY561" fmla="*/ 3729705 h 6858000"/>
              <a:gd name="connsiteX562" fmla="*/ 704522 w 4439277"/>
              <a:gd name="connsiteY562" fmla="*/ 3734669 h 6858000"/>
              <a:gd name="connsiteX563" fmla="*/ 756617 w 4439277"/>
              <a:gd name="connsiteY563" fmla="*/ 3826506 h 6858000"/>
              <a:gd name="connsiteX564" fmla="*/ 781424 w 4439277"/>
              <a:gd name="connsiteY564" fmla="*/ 3893523 h 6858000"/>
              <a:gd name="connsiteX565" fmla="*/ 833518 w 4439277"/>
              <a:gd name="connsiteY565" fmla="*/ 4054860 h 6858000"/>
              <a:gd name="connsiteX566" fmla="*/ 878171 w 4439277"/>
              <a:gd name="connsiteY566" fmla="*/ 4169034 h 6858000"/>
              <a:gd name="connsiteX567" fmla="*/ 888095 w 4439277"/>
              <a:gd name="connsiteY567" fmla="*/ 4166553 h 6858000"/>
              <a:gd name="connsiteX568" fmla="*/ 888095 w 4439277"/>
              <a:gd name="connsiteY568" fmla="*/ 4151661 h 6858000"/>
              <a:gd name="connsiteX569" fmla="*/ 893056 w 4439277"/>
              <a:gd name="connsiteY569" fmla="*/ 4161589 h 6858000"/>
              <a:gd name="connsiteX570" fmla="*/ 898017 w 4439277"/>
              <a:gd name="connsiteY570" fmla="*/ 4159109 h 6858000"/>
              <a:gd name="connsiteX571" fmla="*/ 895538 w 4439277"/>
              <a:gd name="connsiteY571" fmla="*/ 4149177 h 6858000"/>
              <a:gd name="connsiteX572" fmla="*/ 888095 w 4439277"/>
              <a:gd name="connsiteY572" fmla="*/ 4151661 h 6858000"/>
              <a:gd name="connsiteX573" fmla="*/ 888095 w 4439277"/>
              <a:gd name="connsiteY573" fmla="*/ 4144213 h 6858000"/>
              <a:gd name="connsiteX574" fmla="*/ 890577 w 4439277"/>
              <a:gd name="connsiteY574" fmla="*/ 4139249 h 6858000"/>
              <a:gd name="connsiteX575" fmla="*/ 898948 w 4439277"/>
              <a:gd name="connsiteY575" fmla="*/ 4148248 h 6858000"/>
              <a:gd name="connsiteX576" fmla="*/ 905462 w 4439277"/>
              <a:gd name="connsiteY576" fmla="*/ 4149840 h 6858000"/>
              <a:gd name="connsiteX577" fmla="*/ 905462 w 4439277"/>
              <a:gd name="connsiteY577" fmla="*/ 4151661 h 6858000"/>
              <a:gd name="connsiteX578" fmla="*/ 907902 w 4439277"/>
              <a:gd name="connsiteY578" fmla="*/ 4150438 h 6858000"/>
              <a:gd name="connsiteX579" fmla="*/ 912902 w 4439277"/>
              <a:gd name="connsiteY579" fmla="*/ 4151661 h 6858000"/>
              <a:gd name="connsiteX580" fmla="*/ 902978 w 4439277"/>
              <a:gd name="connsiteY580" fmla="*/ 4171518 h 6858000"/>
              <a:gd name="connsiteX581" fmla="*/ 905462 w 4439277"/>
              <a:gd name="connsiteY581" fmla="*/ 4178963 h 6858000"/>
              <a:gd name="connsiteX582" fmla="*/ 920345 w 4439277"/>
              <a:gd name="connsiteY582" fmla="*/ 4183931 h 6858000"/>
              <a:gd name="connsiteX583" fmla="*/ 927787 w 4439277"/>
              <a:gd name="connsiteY583" fmla="*/ 4206268 h 6858000"/>
              <a:gd name="connsiteX584" fmla="*/ 930269 w 4439277"/>
              <a:gd name="connsiteY584" fmla="*/ 4216196 h 6858000"/>
              <a:gd name="connsiteX585" fmla="*/ 902978 w 4439277"/>
              <a:gd name="connsiteY585" fmla="*/ 4213713 h 6858000"/>
              <a:gd name="connsiteX586" fmla="*/ 925304 w 4439277"/>
              <a:gd name="connsiteY586" fmla="*/ 4248462 h 6858000"/>
              <a:gd name="connsiteX587" fmla="*/ 915384 w 4439277"/>
              <a:gd name="connsiteY587" fmla="*/ 4231089 h 6858000"/>
              <a:gd name="connsiteX588" fmla="*/ 935227 w 4439277"/>
              <a:gd name="connsiteY588" fmla="*/ 4255908 h 6858000"/>
              <a:gd name="connsiteX589" fmla="*/ 972440 w 4439277"/>
              <a:gd name="connsiteY589" fmla="*/ 4288177 h 6858000"/>
              <a:gd name="connsiteX590" fmla="*/ 950112 w 4439277"/>
              <a:gd name="connsiteY590" fmla="*/ 4221160 h 6858000"/>
              <a:gd name="connsiteX591" fmla="*/ 960034 w 4439277"/>
              <a:gd name="connsiteY591" fmla="*/ 4231089 h 6858000"/>
              <a:gd name="connsiteX592" fmla="*/ 987325 w 4439277"/>
              <a:gd name="connsiteY592" fmla="*/ 4295624 h 6858000"/>
              <a:gd name="connsiteX593" fmla="*/ 999726 w 4439277"/>
              <a:gd name="connsiteY593" fmla="*/ 4320443 h 6858000"/>
              <a:gd name="connsiteX594" fmla="*/ 1012132 w 4439277"/>
              <a:gd name="connsiteY594" fmla="*/ 4310514 h 6858000"/>
              <a:gd name="connsiteX595" fmla="*/ 1007171 w 4439277"/>
              <a:gd name="connsiteY595" fmla="*/ 4293141 h 6858000"/>
              <a:gd name="connsiteX596" fmla="*/ 999726 w 4439277"/>
              <a:gd name="connsiteY596" fmla="*/ 4283212 h 6858000"/>
              <a:gd name="connsiteX597" fmla="*/ 989804 w 4439277"/>
              <a:gd name="connsiteY597" fmla="*/ 4231089 h 6858000"/>
              <a:gd name="connsiteX598" fmla="*/ 902978 w 4439277"/>
              <a:gd name="connsiteY598" fmla="*/ 3903451 h 6858000"/>
              <a:gd name="connsiteX599" fmla="*/ 900499 w 4439277"/>
              <a:gd name="connsiteY599" fmla="*/ 3883594 h 6858000"/>
              <a:gd name="connsiteX600" fmla="*/ 898017 w 4439277"/>
              <a:gd name="connsiteY600" fmla="*/ 3881113 h 6858000"/>
              <a:gd name="connsiteX601" fmla="*/ 893056 w 4439277"/>
              <a:gd name="connsiteY601" fmla="*/ 3873666 h 6858000"/>
              <a:gd name="connsiteX602" fmla="*/ 880653 w 4439277"/>
              <a:gd name="connsiteY602" fmla="*/ 3843880 h 6858000"/>
              <a:gd name="connsiteX603" fmla="*/ 875692 w 4439277"/>
              <a:gd name="connsiteY603" fmla="*/ 3841399 h 6858000"/>
              <a:gd name="connsiteX604" fmla="*/ 870731 w 4439277"/>
              <a:gd name="connsiteY604" fmla="*/ 3831471 h 6858000"/>
              <a:gd name="connsiteX605" fmla="*/ 865770 w 4439277"/>
              <a:gd name="connsiteY605" fmla="*/ 3821542 h 6858000"/>
              <a:gd name="connsiteX606" fmla="*/ 858325 w 4439277"/>
              <a:gd name="connsiteY606" fmla="*/ 3816578 h 6858000"/>
              <a:gd name="connsiteX607" fmla="*/ 843441 w 4439277"/>
              <a:gd name="connsiteY607" fmla="*/ 3794240 h 6858000"/>
              <a:gd name="connsiteX608" fmla="*/ 838480 w 4439277"/>
              <a:gd name="connsiteY608" fmla="*/ 3779345 h 6858000"/>
              <a:gd name="connsiteX609" fmla="*/ 836000 w 4439277"/>
              <a:gd name="connsiteY609" fmla="*/ 3766936 h 6858000"/>
              <a:gd name="connsiteX610" fmla="*/ 826078 w 4439277"/>
              <a:gd name="connsiteY610" fmla="*/ 3757007 h 6858000"/>
              <a:gd name="connsiteX611" fmla="*/ 821115 w 4439277"/>
              <a:gd name="connsiteY611" fmla="*/ 3754524 h 6858000"/>
              <a:gd name="connsiteX612" fmla="*/ 813672 w 4439277"/>
              <a:gd name="connsiteY612" fmla="*/ 3744598 h 6858000"/>
              <a:gd name="connsiteX613" fmla="*/ 808714 w 4439277"/>
              <a:gd name="connsiteY613" fmla="*/ 3734669 h 6858000"/>
              <a:gd name="connsiteX614" fmla="*/ 796308 w 4439277"/>
              <a:gd name="connsiteY614" fmla="*/ 3724741 h 6858000"/>
              <a:gd name="connsiteX615" fmla="*/ 746693 w 4439277"/>
              <a:gd name="connsiteY615" fmla="*/ 3642829 h 6858000"/>
              <a:gd name="connsiteX616" fmla="*/ 744215 w 4439277"/>
              <a:gd name="connsiteY616" fmla="*/ 3625455 h 6858000"/>
              <a:gd name="connsiteX617" fmla="*/ 741732 w 4439277"/>
              <a:gd name="connsiteY617" fmla="*/ 3610563 h 6858000"/>
              <a:gd name="connsiteX618" fmla="*/ 724368 w 4439277"/>
              <a:gd name="connsiteY618" fmla="*/ 3580777 h 6858000"/>
              <a:gd name="connsiteX619" fmla="*/ 721886 w 4439277"/>
              <a:gd name="connsiteY619" fmla="*/ 3568369 h 6858000"/>
              <a:gd name="connsiteX620" fmla="*/ 704522 w 4439277"/>
              <a:gd name="connsiteY620" fmla="*/ 3543546 h 6858000"/>
              <a:gd name="connsiteX621" fmla="*/ 702040 w 4439277"/>
              <a:gd name="connsiteY621" fmla="*/ 3538582 h 6858000"/>
              <a:gd name="connsiteX622" fmla="*/ 699561 w 4439277"/>
              <a:gd name="connsiteY622" fmla="*/ 3528655 h 6858000"/>
              <a:gd name="connsiteX623" fmla="*/ 662351 w 4439277"/>
              <a:gd name="connsiteY623" fmla="*/ 3469083 h 6858000"/>
              <a:gd name="connsiteX624" fmla="*/ 630101 w 4439277"/>
              <a:gd name="connsiteY624" fmla="*/ 3416960 h 6858000"/>
              <a:gd name="connsiteX625" fmla="*/ 627621 w 4439277"/>
              <a:gd name="connsiteY625" fmla="*/ 3407032 h 6858000"/>
              <a:gd name="connsiteX626" fmla="*/ 625138 w 4439277"/>
              <a:gd name="connsiteY626" fmla="*/ 3402067 h 6858000"/>
              <a:gd name="connsiteX627" fmla="*/ 617698 w 4439277"/>
              <a:gd name="connsiteY627" fmla="*/ 3397103 h 6858000"/>
              <a:gd name="connsiteX628" fmla="*/ 610255 w 4439277"/>
              <a:gd name="connsiteY628" fmla="*/ 3377245 h 6858000"/>
              <a:gd name="connsiteX629" fmla="*/ 587929 w 4439277"/>
              <a:gd name="connsiteY629" fmla="*/ 3342496 h 6858000"/>
              <a:gd name="connsiteX630" fmla="*/ 582967 w 4439277"/>
              <a:gd name="connsiteY630" fmla="*/ 3327606 h 6858000"/>
              <a:gd name="connsiteX631" fmla="*/ 575524 w 4439277"/>
              <a:gd name="connsiteY631" fmla="*/ 3315194 h 6858000"/>
              <a:gd name="connsiteX632" fmla="*/ 565600 w 4439277"/>
              <a:gd name="connsiteY632" fmla="*/ 3297820 h 6858000"/>
              <a:gd name="connsiteX633" fmla="*/ 558160 w 4439277"/>
              <a:gd name="connsiteY633" fmla="*/ 3285409 h 6858000"/>
              <a:gd name="connsiteX634" fmla="*/ 545758 w 4439277"/>
              <a:gd name="connsiteY634" fmla="*/ 3272999 h 6858000"/>
              <a:gd name="connsiteX635" fmla="*/ 535835 w 4439277"/>
              <a:gd name="connsiteY635" fmla="*/ 3260587 h 6858000"/>
              <a:gd name="connsiteX636" fmla="*/ 530873 w 4439277"/>
              <a:gd name="connsiteY636" fmla="*/ 3225838 h 6858000"/>
              <a:gd name="connsiteX637" fmla="*/ 535835 w 4439277"/>
              <a:gd name="connsiteY637" fmla="*/ 3223357 h 6858000"/>
              <a:gd name="connsiteX638" fmla="*/ 540796 w 4439277"/>
              <a:gd name="connsiteY638" fmla="*/ 3225838 h 6858000"/>
              <a:gd name="connsiteX639" fmla="*/ 545758 w 4439277"/>
              <a:gd name="connsiteY639" fmla="*/ 3233285 h 6858000"/>
              <a:gd name="connsiteX640" fmla="*/ 560642 w 4439277"/>
              <a:gd name="connsiteY640" fmla="*/ 3255623 h 6858000"/>
              <a:gd name="connsiteX641" fmla="*/ 563121 w 4439277"/>
              <a:gd name="connsiteY641" fmla="*/ 3258106 h 6858000"/>
              <a:gd name="connsiteX642" fmla="*/ 565600 w 4439277"/>
              <a:gd name="connsiteY642" fmla="*/ 3253142 h 6858000"/>
              <a:gd name="connsiteX643" fmla="*/ 565600 w 4439277"/>
              <a:gd name="connsiteY643" fmla="*/ 3240734 h 6858000"/>
              <a:gd name="connsiteX644" fmla="*/ 548238 w 4439277"/>
              <a:gd name="connsiteY644" fmla="*/ 3210948 h 6858000"/>
              <a:gd name="connsiteX645" fmla="*/ 545758 w 4439277"/>
              <a:gd name="connsiteY645" fmla="*/ 3201016 h 6858000"/>
              <a:gd name="connsiteX646" fmla="*/ 535835 w 4439277"/>
              <a:gd name="connsiteY646" fmla="*/ 3186126 h 6858000"/>
              <a:gd name="connsiteX647" fmla="*/ 528392 w 4439277"/>
              <a:gd name="connsiteY647" fmla="*/ 3181162 h 6858000"/>
              <a:gd name="connsiteX648" fmla="*/ 525912 w 4439277"/>
              <a:gd name="connsiteY648" fmla="*/ 3171231 h 6858000"/>
              <a:gd name="connsiteX649" fmla="*/ 533353 w 4439277"/>
              <a:gd name="connsiteY649" fmla="*/ 3134000 h 6858000"/>
              <a:gd name="connsiteX650" fmla="*/ 528392 w 4439277"/>
              <a:gd name="connsiteY650" fmla="*/ 3124071 h 6858000"/>
              <a:gd name="connsiteX651" fmla="*/ 523429 w 4439277"/>
              <a:gd name="connsiteY651" fmla="*/ 3119107 h 6858000"/>
              <a:gd name="connsiteX652" fmla="*/ 520950 w 4439277"/>
              <a:gd name="connsiteY652" fmla="*/ 3106698 h 6858000"/>
              <a:gd name="connsiteX653" fmla="*/ 508546 w 4439277"/>
              <a:gd name="connsiteY653" fmla="*/ 3084357 h 6858000"/>
              <a:gd name="connsiteX654" fmla="*/ 501104 w 4439277"/>
              <a:gd name="connsiteY654" fmla="*/ 3062019 h 6858000"/>
              <a:gd name="connsiteX655" fmla="*/ 501104 w 4439277"/>
              <a:gd name="connsiteY655" fmla="*/ 3059536 h 6858000"/>
              <a:gd name="connsiteX656" fmla="*/ 483737 w 4439277"/>
              <a:gd name="connsiteY656" fmla="*/ 3037198 h 6858000"/>
              <a:gd name="connsiteX657" fmla="*/ 481258 w 4439277"/>
              <a:gd name="connsiteY657" fmla="*/ 3032234 h 6858000"/>
              <a:gd name="connsiteX658" fmla="*/ 478776 w 4439277"/>
              <a:gd name="connsiteY658" fmla="*/ 3022305 h 6858000"/>
              <a:gd name="connsiteX659" fmla="*/ 461412 w 4439277"/>
              <a:gd name="connsiteY659" fmla="*/ 2992523 h 6858000"/>
              <a:gd name="connsiteX660" fmla="*/ 456451 w 4439277"/>
              <a:gd name="connsiteY660" fmla="*/ 2985075 h 6858000"/>
              <a:gd name="connsiteX661" fmla="*/ 444049 w 4439277"/>
              <a:gd name="connsiteY661" fmla="*/ 2952809 h 6858000"/>
              <a:gd name="connsiteX662" fmla="*/ 441566 w 4439277"/>
              <a:gd name="connsiteY662" fmla="*/ 2942881 h 6858000"/>
              <a:gd name="connsiteX663" fmla="*/ 424203 w 4439277"/>
              <a:gd name="connsiteY663" fmla="*/ 2918059 h 6858000"/>
              <a:gd name="connsiteX664" fmla="*/ 416759 w 4439277"/>
              <a:gd name="connsiteY664" fmla="*/ 2905650 h 6858000"/>
              <a:gd name="connsiteX665" fmla="*/ 414280 w 4439277"/>
              <a:gd name="connsiteY665" fmla="*/ 2900682 h 6858000"/>
              <a:gd name="connsiteX666" fmla="*/ 401874 w 4439277"/>
              <a:gd name="connsiteY666" fmla="*/ 2883310 h 6858000"/>
              <a:gd name="connsiteX667" fmla="*/ 389473 w 4439277"/>
              <a:gd name="connsiteY667" fmla="*/ 2853524 h 6858000"/>
              <a:gd name="connsiteX668" fmla="*/ 386990 w 4439277"/>
              <a:gd name="connsiteY668" fmla="*/ 2846079 h 6858000"/>
              <a:gd name="connsiteX669" fmla="*/ 382028 w 4439277"/>
              <a:gd name="connsiteY669" fmla="*/ 2828703 h 6858000"/>
              <a:gd name="connsiteX670" fmla="*/ 342337 w 4439277"/>
              <a:gd name="connsiteY670" fmla="*/ 2761687 h 6858000"/>
              <a:gd name="connsiteX671" fmla="*/ 337378 w 4439277"/>
              <a:gd name="connsiteY671" fmla="*/ 2744313 h 6858000"/>
              <a:gd name="connsiteX672" fmla="*/ 334896 w 4439277"/>
              <a:gd name="connsiteY672" fmla="*/ 2734384 h 6858000"/>
              <a:gd name="connsiteX673" fmla="*/ 307610 w 4439277"/>
              <a:gd name="connsiteY673" fmla="*/ 2687223 h 6858000"/>
              <a:gd name="connsiteX674" fmla="*/ 305127 w 4439277"/>
              <a:gd name="connsiteY674" fmla="*/ 2679777 h 6858000"/>
              <a:gd name="connsiteX675" fmla="*/ 300165 w 4439277"/>
              <a:gd name="connsiteY675" fmla="*/ 2669849 h 6858000"/>
              <a:gd name="connsiteX676" fmla="*/ 295204 w 4439277"/>
              <a:gd name="connsiteY676" fmla="*/ 2664885 h 6858000"/>
              <a:gd name="connsiteX677" fmla="*/ 287764 w 4439277"/>
              <a:gd name="connsiteY677" fmla="*/ 2645028 h 6858000"/>
              <a:gd name="connsiteX678" fmla="*/ 265435 w 4439277"/>
              <a:gd name="connsiteY678" fmla="*/ 2605314 h 6858000"/>
              <a:gd name="connsiteX679" fmla="*/ 262955 w 4439277"/>
              <a:gd name="connsiteY679" fmla="*/ 2595385 h 6858000"/>
              <a:gd name="connsiteX680" fmla="*/ 260474 w 4439277"/>
              <a:gd name="connsiteY680" fmla="*/ 2570564 h 6858000"/>
              <a:gd name="connsiteX681" fmla="*/ 255512 w 4439277"/>
              <a:gd name="connsiteY681" fmla="*/ 2553190 h 6858000"/>
              <a:gd name="connsiteX682" fmla="*/ 240628 w 4439277"/>
              <a:gd name="connsiteY682" fmla="*/ 2528369 h 6858000"/>
              <a:gd name="connsiteX683" fmla="*/ 238149 w 4439277"/>
              <a:gd name="connsiteY683" fmla="*/ 2518440 h 6858000"/>
              <a:gd name="connsiteX684" fmla="*/ 235667 w 4439277"/>
              <a:gd name="connsiteY684" fmla="*/ 2508512 h 6858000"/>
              <a:gd name="connsiteX685" fmla="*/ 225747 w 4439277"/>
              <a:gd name="connsiteY685" fmla="*/ 2488655 h 6858000"/>
              <a:gd name="connsiteX686" fmla="*/ 220785 w 4439277"/>
              <a:gd name="connsiteY686" fmla="*/ 2473762 h 6858000"/>
              <a:gd name="connsiteX687" fmla="*/ 218303 w 4439277"/>
              <a:gd name="connsiteY687" fmla="*/ 2468798 h 6858000"/>
              <a:gd name="connsiteX688" fmla="*/ 205901 w 4439277"/>
              <a:gd name="connsiteY688" fmla="*/ 2448941 h 6858000"/>
              <a:gd name="connsiteX689" fmla="*/ 203418 w 4439277"/>
              <a:gd name="connsiteY689" fmla="*/ 2443977 h 6858000"/>
              <a:gd name="connsiteX690" fmla="*/ 198457 w 4439277"/>
              <a:gd name="connsiteY690" fmla="*/ 2429084 h 6858000"/>
              <a:gd name="connsiteX691" fmla="*/ 181093 w 4439277"/>
              <a:gd name="connsiteY691" fmla="*/ 2399298 h 6858000"/>
              <a:gd name="connsiteX692" fmla="*/ 168689 w 4439277"/>
              <a:gd name="connsiteY692" fmla="*/ 2369516 h 6858000"/>
              <a:gd name="connsiteX693" fmla="*/ 156286 w 4439277"/>
              <a:gd name="connsiteY693" fmla="*/ 2349658 h 6858000"/>
              <a:gd name="connsiteX694" fmla="*/ 153804 w 4439277"/>
              <a:gd name="connsiteY694" fmla="*/ 2344694 h 6858000"/>
              <a:gd name="connsiteX695" fmla="*/ 151325 w 4439277"/>
              <a:gd name="connsiteY695" fmla="*/ 2332282 h 6858000"/>
              <a:gd name="connsiteX696" fmla="*/ 141401 w 4439277"/>
              <a:gd name="connsiteY696" fmla="*/ 2314908 h 6858000"/>
              <a:gd name="connsiteX697" fmla="*/ 138919 w 4439277"/>
              <a:gd name="connsiteY697" fmla="*/ 2302497 h 6858000"/>
              <a:gd name="connsiteX698" fmla="*/ 136440 w 4439277"/>
              <a:gd name="connsiteY698" fmla="*/ 2285123 h 6858000"/>
              <a:gd name="connsiteX699" fmla="*/ 128996 w 4439277"/>
              <a:gd name="connsiteY699" fmla="*/ 2262786 h 6858000"/>
              <a:gd name="connsiteX700" fmla="*/ 126516 w 4439277"/>
              <a:gd name="connsiteY700" fmla="*/ 2257822 h 6858000"/>
              <a:gd name="connsiteX701" fmla="*/ 114115 w 4439277"/>
              <a:gd name="connsiteY701" fmla="*/ 2228036 h 6858000"/>
              <a:gd name="connsiteX702" fmla="*/ 106670 w 4439277"/>
              <a:gd name="connsiteY702" fmla="*/ 2213143 h 6858000"/>
              <a:gd name="connsiteX703" fmla="*/ 99230 w 4439277"/>
              <a:gd name="connsiteY703" fmla="*/ 2175909 h 6858000"/>
              <a:gd name="connsiteX704" fmla="*/ 99230 w 4439277"/>
              <a:gd name="connsiteY704" fmla="*/ 2168465 h 6858000"/>
              <a:gd name="connsiteX705" fmla="*/ 91787 w 4439277"/>
              <a:gd name="connsiteY705" fmla="*/ 2156056 h 6858000"/>
              <a:gd name="connsiteX706" fmla="*/ 79384 w 4439277"/>
              <a:gd name="connsiteY706" fmla="*/ 2143644 h 6858000"/>
              <a:gd name="connsiteX707" fmla="*/ 42171 w 4439277"/>
              <a:gd name="connsiteY707" fmla="*/ 2084073 h 6858000"/>
              <a:gd name="connsiteX708" fmla="*/ 39692 w 4439277"/>
              <a:gd name="connsiteY708" fmla="*/ 2071663 h 6858000"/>
              <a:gd name="connsiteX709" fmla="*/ 39692 w 4439277"/>
              <a:gd name="connsiteY709" fmla="*/ 2069182 h 6858000"/>
              <a:gd name="connsiteX710" fmla="*/ 29770 w 4439277"/>
              <a:gd name="connsiteY710" fmla="*/ 2051806 h 6858000"/>
              <a:gd name="connsiteX711" fmla="*/ 24807 w 4439277"/>
              <a:gd name="connsiteY711" fmla="*/ 2034430 h 6858000"/>
              <a:gd name="connsiteX712" fmla="*/ 22325 w 4439277"/>
              <a:gd name="connsiteY712" fmla="*/ 2031949 h 6858000"/>
              <a:gd name="connsiteX713" fmla="*/ 17364 w 4439277"/>
              <a:gd name="connsiteY713" fmla="*/ 2017056 h 6858000"/>
              <a:gd name="connsiteX714" fmla="*/ 14885 w 4439277"/>
              <a:gd name="connsiteY714" fmla="*/ 1999684 h 6858000"/>
              <a:gd name="connsiteX715" fmla="*/ 9924 w 4439277"/>
              <a:gd name="connsiteY715" fmla="*/ 1984790 h 6858000"/>
              <a:gd name="connsiteX716" fmla="*/ 9924 w 4439277"/>
              <a:gd name="connsiteY716" fmla="*/ 1969897 h 6858000"/>
              <a:gd name="connsiteX717" fmla="*/ 4961 w 4439277"/>
              <a:gd name="connsiteY717" fmla="*/ 1952521 h 6858000"/>
              <a:gd name="connsiteX718" fmla="*/ 2482 w 4439277"/>
              <a:gd name="connsiteY718" fmla="*/ 1932667 h 6858000"/>
              <a:gd name="connsiteX719" fmla="*/ 0 w 4439277"/>
              <a:gd name="connsiteY719" fmla="*/ 1915290 h 6858000"/>
              <a:gd name="connsiteX720" fmla="*/ 4961 w 4439277"/>
              <a:gd name="connsiteY720" fmla="*/ 1907846 h 6858000"/>
              <a:gd name="connsiteX721" fmla="*/ 9924 w 4439277"/>
              <a:gd name="connsiteY721" fmla="*/ 1910326 h 6858000"/>
              <a:gd name="connsiteX722" fmla="*/ 12403 w 4439277"/>
              <a:gd name="connsiteY722" fmla="*/ 1912810 h 6858000"/>
              <a:gd name="connsiteX723" fmla="*/ 27287 w 4439277"/>
              <a:gd name="connsiteY723" fmla="*/ 1920255 h 6858000"/>
              <a:gd name="connsiteX724" fmla="*/ 42171 w 4439277"/>
              <a:gd name="connsiteY724" fmla="*/ 1927703 h 6858000"/>
              <a:gd name="connsiteX725" fmla="*/ 64500 w 4439277"/>
              <a:gd name="connsiteY725" fmla="*/ 1962453 h 6858000"/>
              <a:gd name="connsiteX726" fmla="*/ 91787 w 4439277"/>
              <a:gd name="connsiteY726" fmla="*/ 2002164 h 6858000"/>
              <a:gd name="connsiteX727" fmla="*/ 101709 w 4439277"/>
              <a:gd name="connsiteY727" fmla="*/ 2007128 h 6858000"/>
              <a:gd name="connsiteX728" fmla="*/ 111633 w 4439277"/>
              <a:gd name="connsiteY728" fmla="*/ 2002164 h 6858000"/>
              <a:gd name="connsiteX729" fmla="*/ 114115 w 4439277"/>
              <a:gd name="connsiteY729" fmla="*/ 1997199 h 6858000"/>
              <a:gd name="connsiteX730" fmla="*/ 119073 w 4439277"/>
              <a:gd name="connsiteY730" fmla="*/ 1994718 h 6858000"/>
              <a:gd name="connsiteX731" fmla="*/ 121555 w 4439277"/>
              <a:gd name="connsiteY731" fmla="*/ 1997199 h 6858000"/>
              <a:gd name="connsiteX732" fmla="*/ 124034 w 4439277"/>
              <a:gd name="connsiteY732" fmla="*/ 2009611 h 6858000"/>
              <a:gd name="connsiteX733" fmla="*/ 133958 w 4439277"/>
              <a:gd name="connsiteY733" fmla="*/ 2029466 h 6858000"/>
              <a:gd name="connsiteX734" fmla="*/ 136440 w 4439277"/>
              <a:gd name="connsiteY734" fmla="*/ 2041878 h 6858000"/>
              <a:gd name="connsiteX735" fmla="*/ 143880 w 4439277"/>
              <a:gd name="connsiteY735" fmla="*/ 2046842 h 6858000"/>
              <a:gd name="connsiteX736" fmla="*/ 153804 w 4439277"/>
              <a:gd name="connsiteY736" fmla="*/ 2059251 h 6858000"/>
              <a:gd name="connsiteX737" fmla="*/ 161247 w 4439277"/>
              <a:gd name="connsiteY737" fmla="*/ 2066699 h 6858000"/>
              <a:gd name="connsiteX738" fmla="*/ 171171 w 4439277"/>
              <a:gd name="connsiteY738" fmla="*/ 2074148 h 6858000"/>
              <a:gd name="connsiteX739" fmla="*/ 181093 w 4439277"/>
              <a:gd name="connsiteY739" fmla="*/ 2091520 h 6858000"/>
              <a:gd name="connsiteX740" fmla="*/ 198457 w 4439277"/>
              <a:gd name="connsiteY740" fmla="*/ 2096484 h 6858000"/>
              <a:gd name="connsiteX741" fmla="*/ 203418 w 4439277"/>
              <a:gd name="connsiteY741" fmla="*/ 2089037 h 6858000"/>
              <a:gd name="connsiteX742" fmla="*/ 205901 w 4439277"/>
              <a:gd name="connsiteY742" fmla="*/ 2086556 h 6858000"/>
              <a:gd name="connsiteX743" fmla="*/ 210862 w 4439277"/>
              <a:gd name="connsiteY743" fmla="*/ 2089037 h 6858000"/>
              <a:gd name="connsiteX744" fmla="*/ 213342 w 4439277"/>
              <a:gd name="connsiteY744" fmla="*/ 2094001 h 6858000"/>
              <a:gd name="connsiteX745" fmla="*/ 215821 w 4439277"/>
              <a:gd name="connsiteY745" fmla="*/ 2098965 h 6858000"/>
              <a:gd name="connsiteX746" fmla="*/ 225747 w 4439277"/>
              <a:gd name="connsiteY746" fmla="*/ 2106413 h 6858000"/>
              <a:gd name="connsiteX747" fmla="*/ 238149 w 4439277"/>
              <a:gd name="connsiteY747" fmla="*/ 2128751 h 6858000"/>
              <a:gd name="connsiteX748" fmla="*/ 250550 w 4439277"/>
              <a:gd name="connsiteY748" fmla="*/ 2141159 h 6858000"/>
              <a:gd name="connsiteX749" fmla="*/ 257995 w 4439277"/>
              <a:gd name="connsiteY749" fmla="*/ 2151091 h 6858000"/>
              <a:gd name="connsiteX750" fmla="*/ 265435 w 4439277"/>
              <a:gd name="connsiteY750" fmla="*/ 2173429 h 6858000"/>
              <a:gd name="connsiteX751" fmla="*/ 275359 w 4439277"/>
              <a:gd name="connsiteY751" fmla="*/ 2190802 h 6858000"/>
              <a:gd name="connsiteX752" fmla="*/ 297687 w 4439277"/>
              <a:gd name="connsiteY752" fmla="*/ 2208178 h 6858000"/>
              <a:gd name="connsiteX753" fmla="*/ 305127 w 4439277"/>
              <a:gd name="connsiteY753" fmla="*/ 2213143 h 6858000"/>
              <a:gd name="connsiteX754" fmla="*/ 324973 w 4439277"/>
              <a:gd name="connsiteY754" fmla="*/ 2242929 h 6858000"/>
              <a:gd name="connsiteX755" fmla="*/ 332417 w 4439277"/>
              <a:gd name="connsiteY755" fmla="*/ 2245410 h 6858000"/>
              <a:gd name="connsiteX756" fmla="*/ 337378 w 4439277"/>
              <a:gd name="connsiteY756" fmla="*/ 2245410 h 6858000"/>
              <a:gd name="connsiteX757" fmla="*/ 354742 w 4439277"/>
              <a:gd name="connsiteY757" fmla="*/ 2260303 h 6858000"/>
              <a:gd name="connsiteX758" fmla="*/ 362183 w 4439277"/>
              <a:gd name="connsiteY758" fmla="*/ 2270230 h 6858000"/>
              <a:gd name="connsiteX759" fmla="*/ 369627 w 4439277"/>
              <a:gd name="connsiteY759" fmla="*/ 2275195 h 6858000"/>
              <a:gd name="connsiteX760" fmla="*/ 399395 w 4439277"/>
              <a:gd name="connsiteY760" fmla="*/ 2270230 h 6858000"/>
              <a:gd name="connsiteX761" fmla="*/ 414280 w 4439277"/>
              <a:gd name="connsiteY761" fmla="*/ 2260303 h 6858000"/>
              <a:gd name="connsiteX762" fmla="*/ 419241 w 4439277"/>
              <a:gd name="connsiteY762" fmla="*/ 2260303 h 6858000"/>
              <a:gd name="connsiteX763" fmla="*/ 439085 w 4439277"/>
              <a:gd name="connsiteY763" fmla="*/ 2292571 h 6858000"/>
              <a:gd name="connsiteX764" fmla="*/ 439085 w 4439277"/>
              <a:gd name="connsiteY764" fmla="*/ 2300016 h 6858000"/>
              <a:gd name="connsiteX765" fmla="*/ 449011 w 4439277"/>
              <a:gd name="connsiteY765" fmla="*/ 2304981 h 6858000"/>
              <a:gd name="connsiteX766" fmla="*/ 451490 w 4439277"/>
              <a:gd name="connsiteY766" fmla="*/ 2302497 h 6858000"/>
              <a:gd name="connsiteX767" fmla="*/ 451490 w 4439277"/>
              <a:gd name="connsiteY767" fmla="*/ 2300016 h 6858000"/>
              <a:gd name="connsiteX768" fmla="*/ 463892 w 4439277"/>
              <a:gd name="connsiteY768" fmla="*/ 2302497 h 6858000"/>
              <a:gd name="connsiteX769" fmla="*/ 466375 w 4439277"/>
              <a:gd name="connsiteY769" fmla="*/ 2309945 h 6858000"/>
              <a:gd name="connsiteX770" fmla="*/ 468853 w 4439277"/>
              <a:gd name="connsiteY770" fmla="*/ 2314908 h 6858000"/>
              <a:gd name="connsiteX771" fmla="*/ 476297 w 4439277"/>
              <a:gd name="connsiteY771" fmla="*/ 2319874 h 6858000"/>
              <a:gd name="connsiteX772" fmla="*/ 486221 w 4439277"/>
              <a:gd name="connsiteY772" fmla="*/ 2332282 h 6858000"/>
              <a:gd name="connsiteX773" fmla="*/ 496143 w 4439277"/>
              <a:gd name="connsiteY773" fmla="*/ 2339731 h 6858000"/>
              <a:gd name="connsiteX774" fmla="*/ 511028 w 4439277"/>
              <a:gd name="connsiteY774" fmla="*/ 2349658 h 6858000"/>
              <a:gd name="connsiteX775" fmla="*/ 528392 w 4439277"/>
              <a:gd name="connsiteY775" fmla="*/ 2367033 h 6858000"/>
              <a:gd name="connsiteX776" fmla="*/ 535835 w 4439277"/>
              <a:gd name="connsiteY776" fmla="*/ 2376960 h 6858000"/>
              <a:gd name="connsiteX777" fmla="*/ 545759 w 4439277"/>
              <a:gd name="connsiteY777" fmla="*/ 2389370 h 6858000"/>
              <a:gd name="connsiteX778" fmla="*/ 558160 w 4439277"/>
              <a:gd name="connsiteY778" fmla="*/ 2399298 h 6858000"/>
              <a:gd name="connsiteX779" fmla="*/ 563121 w 4439277"/>
              <a:gd name="connsiteY779" fmla="*/ 2396817 h 6858000"/>
              <a:gd name="connsiteX780" fmla="*/ 558160 w 4439277"/>
              <a:gd name="connsiteY780" fmla="*/ 2386890 h 6858000"/>
              <a:gd name="connsiteX781" fmla="*/ 553199 w 4439277"/>
              <a:gd name="connsiteY781" fmla="*/ 2381926 h 6858000"/>
              <a:gd name="connsiteX782" fmla="*/ 555681 w 4439277"/>
              <a:gd name="connsiteY782" fmla="*/ 2374480 h 6858000"/>
              <a:gd name="connsiteX783" fmla="*/ 565601 w 4439277"/>
              <a:gd name="connsiteY783" fmla="*/ 2374480 h 6858000"/>
              <a:gd name="connsiteX784" fmla="*/ 570566 w 4439277"/>
              <a:gd name="connsiteY784" fmla="*/ 2376960 h 6858000"/>
              <a:gd name="connsiteX785" fmla="*/ 592891 w 4439277"/>
              <a:gd name="connsiteY785" fmla="*/ 2391853 h 6858000"/>
              <a:gd name="connsiteX786" fmla="*/ 610255 w 4439277"/>
              <a:gd name="connsiteY786" fmla="*/ 2419155 h 6858000"/>
              <a:gd name="connsiteX787" fmla="*/ 610255 w 4439277"/>
              <a:gd name="connsiteY787" fmla="*/ 2416674 h 6858000"/>
              <a:gd name="connsiteX788" fmla="*/ 607776 w 4439277"/>
              <a:gd name="connsiteY788" fmla="*/ 2401783 h 6858000"/>
              <a:gd name="connsiteX789" fmla="*/ 590409 w 4439277"/>
              <a:gd name="connsiteY789" fmla="*/ 2349658 h 6858000"/>
              <a:gd name="connsiteX790" fmla="*/ 597852 w 4439277"/>
              <a:gd name="connsiteY790" fmla="*/ 2349658 h 6858000"/>
              <a:gd name="connsiteX791" fmla="*/ 607776 w 4439277"/>
              <a:gd name="connsiteY791" fmla="*/ 2379444 h 6858000"/>
              <a:gd name="connsiteX792" fmla="*/ 610255 w 4439277"/>
              <a:gd name="connsiteY792" fmla="*/ 2389370 h 6858000"/>
              <a:gd name="connsiteX793" fmla="*/ 615216 w 4439277"/>
              <a:gd name="connsiteY793" fmla="*/ 2406746 h 6858000"/>
              <a:gd name="connsiteX794" fmla="*/ 617698 w 4439277"/>
              <a:gd name="connsiteY794" fmla="*/ 2414191 h 6858000"/>
              <a:gd name="connsiteX795" fmla="*/ 632583 w 4439277"/>
              <a:gd name="connsiteY795" fmla="*/ 2446461 h 6858000"/>
              <a:gd name="connsiteX796" fmla="*/ 632583 w 4439277"/>
              <a:gd name="connsiteY796" fmla="*/ 2448941 h 6858000"/>
              <a:gd name="connsiteX797" fmla="*/ 640023 w 4439277"/>
              <a:gd name="connsiteY797" fmla="*/ 2453905 h 6858000"/>
              <a:gd name="connsiteX798" fmla="*/ 644984 w 4439277"/>
              <a:gd name="connsiteY798" fmla="*/ 2461354 h 6858000"/>
              <a:gd name="connsiteX799" fmla="*/ 647468 w 4439277"/>
              <a:gd name="connsiteY799" fmla="*/ 2461354 h 6858000"/>
              <a:gd name="connsiteX800" fmla="*/ 652429 w 4439277"/>
              <a:gd name="connsiteY800" fmla="*/ 2453905 h 6858000"/>
              <a:gd name="connsiteX801" fmla="*/ 662351 w 4439277"/>
              <a:gd name="connsiteY801" fmla="*/ 2466318 h 6858000"/>
              <a:gd name="connsiteX802" fmla="*/ 644984 w 4439277"/>
              <a:gd name="connsiteY802" fmla="*/ 2384409 h 6858000"/>
              <a:gd name="connsiteX803" fmla="*/ 659869 w 4439277"/>
              <a:gd name="connsiteY803" fmla="*/ 2396817 h 6858000"/>
              <a:gd name="connsiteX804" fmla="*/ 652429 w 4439277"/>
              <a:gd name="connsiteY804" fmla="*/ 2379444 h 6858000"/>
              <a:gd name="connsiteX805" fmla="*/ 625139 w 4439277"/>
              <a:gd name="connsiteY805" fmla="*/ 2292571 h 6858000"/>
              <a:gd name="connsiteX806" fmla="*/ 635062 w 4439277"/>
              <a:gd name="connsiteY806" fmla="*/ 2300016 h 6858000"/>
              <a:gd name="connsiteX807" fmla="*/ 640023 w 4439277"/>
              <a:gd name="connsiteY807" fmla="*/ 2290088 h 6858000"/>
              <a:gd name="connsiteX808" fmla="*/ 654908 w 4439277"/>
              <a:gd name="connsiteY808" fmla="*/ 2332282 h 6858000"/>
              <a:gd name="connsiteX809" fmla="*/ 654908 w 4439277"/>
              <a:gd name="connsiteY809" fmla="*/ 2337246 h 6858000"/>
              <a:gd name="connsiteX810" fmla="*/ 664830 w 4439277"/>
              <a:gd name="connsiteY810" fmla="*/ 2362068 h 6858000"/>
              <a:gd name="connsiteX811" fmla="*/ 672275 w 4439277"/>
              <a:gd name="connsiteY811" fmla="*/ 2376960 h 6858000"/>
              <a:gd name="connsiteX812" fmla="*/ 662351 w 4439277"/>
              <a:gd name="connsiteY812" fmla="*/ 2369516 h 6858000"/>
              <a:gd name="connsiteX813" fmla="*/ 677233 w 4439277"/>
              <a:gd name="connsiteY813" fmla="*/ 2396817 h 6858000"/>
              <a:gd name="connsiteX814" fmla="*/ 687156 w 4439277"/>
              <a:gd name="connsiteY814" fmla="*/ 2411711 h 6858000"/>
              <a:gd name="connsiteX815" fmla="*/ 692118 w 4439277"/>
              <a:gd name="connsiteY815" fmla="*/ 2416674 h 6858000"/>
              <a:gd name="connsiteX816" fmla="*/ 694600 w 4439277"/>
              <a:gd name="connsiteY816" fmla="*/ 2419155 h 6858000"/>
              <a:gd name="connsiteX817" fmla="*/ 702040 w 4439277"/>
              <a:gd name="connsiteY817" fmla="*/ 2416674 h 6858000"/>
              <a:gd name="connsiteX818" fmla="*/ 684676 w 4439277"/>
              <a:gd name="connsiteY818" fmla="*/ 2374480 h 6858000"/>
              <a:gd name="connsiteX819" fmla="*/ 667314 w 4439277"/>
              <a:gd name="connsiteY819" fmla="*/ 2329801 h 6858000"/>
              <a:gd name="connsiteX820" fmla="*/ 654908 w 4439277"/>
              <a:gd name="connsiteY820" fmla="*/ 2285123 h 6858000"/>
              <a:gd name="connsiteX821" fmla="*/ 664830 w 4439277"/>
              <a:gd name="connsiteY821" fmla="*/ 2282639 h 6858000"/>
              <a:gd name="connsiteX822" fmla="*/ 669793 w 4439277"/>
              <a:gd name="connsiteY822" fmla="*/ 2290088 h 6858000"/>
              <a:gd name="connsiteX823" fmla="*/ 684676 w 4439277"/>
              <a:gd name="connsiteY823" fmla="*/ 2329801 h 6858000"/>
              <a:gd name="connsiteX824" fmla="*/ 697082 w 4439277"/>
              <a:gd name="connsiteY824" fmla="*/ 2339731 h 6858000"/>
              <a:gd name="connsiteX825" fmla="*/ 719407 w 4439277"/>
              <a:gd name="connsiteY825" fmla="*/ 2349658 h 6858000"/>
              <a:gd name="connsiteX826" fmla="*/ 726847 w 4439277"/>
              <a:gd name="connsiteY826" fmla="*/ 2349658 h 6858000"/>
              <a:gd name="connsiteX827" fmla="*/ 721886 w 4439277"/>
              <a:gd name="connsiteY827" fmla="*/ 2374480 h 6858000"/>
              <a:gd name="connsiteX828" fmla="*/ 729331 w 4439277"/>
              <a:gd name="connsiteY828" fmla="*/ 2386890 h 6858000"/>
              <a:gd name="connsiteX829" fmla="*/ 736771 w 4439277"/>
              <a:gd name="connsiteY829" fmla="*/ 2384409 h 6858000"/>
              <a:gd name="connsiteX830" fmla="*/ 739239 w 4439277"/>
              <a:gd name="connsiteY830" fmla="*/ 2390826 h 6858000"/>
              <a:gd name="connsiteX831" fmla="*/ 734292 w 4439277"/>
              <a:gd name="connsiteY831" fmla="*/ 2389370 h 6858000"/>
              <a:gd name="connsiteX832" fmla="*/ 741421 w 4439277"/>
              <a:gd name="connsiteY832" fmla="*/ 2396503 h 6858000"/>
              <a:gd name="connsiteX833" fmla="*/ 749177 w 4439277"/>
              <a:gd name="connsiteY833" fmla="*/ 2416674 h 6858000"/>
              <a:gd name="connsiteX834" fmla="*/ 756617 w 4439277"/>
              <a:gd name="connsiteY834" fmla="*/ 2415433 h 6858000"/>
              <a:gd name="connsiteX835" fmla="*/ 756617 w 4439277"/>
              <a:gd name="connsiteY835" fmla="*/ 2416674 h 6858000"/>
              <a:gd name="connsiteX836" fmla="*/ 757056 w 4439277"/>
              <a:gd name="connsiteY836" fmla="*/ 2415360 h 6858000"/>
              <a:gd name="connsiteX837" fmla="*/ 764061 w 4439277"/>
              <a:gd name="connsiteY837" fmla="*/ 2414191 h 6858000"/>
              <a:gd name="connsiteX838" fmla="*/ 781424 w 4439277"/>
              <a:gd name="connsiteY838" fmla="*/ 2419155 h 6858000"/>
              <a:gd name="connsiteX839" fmla="*/ 788868 w 4439277"/>
              <a:gd name="connsiteY839" fmla="*/ 2429084 h 6858000"/>
              <a:gd name="connsiteX840" fmla="*/ 791348 w 4439277"/>
              <a:gd name="connsiteY840" fmla="*/ 2443977 h 6858000"/>
              <a:gd name="connsiteX841" fmla="*/ 798788 w 4439277"/>
              <a:gd name="connsiteY841" fmla="*/ 2456388 h 6858000"/>
              <a:gd name="connsiteX842" fmla="*/ 806232 w 4439277"/>
              <a:gd name="connsiteY842" fmla="*/ 2473762 h 6858000"/>
              <a:gd name="connsiteX843" fmla="*/ 818634 w 4439277"/>
              <a:gd name="connsiteY843" fmla="*/ 2496103 h 6858000"/>
              <a:gd name="connsiteX844" fmla="*/ 826078 w 4439277"/>
              <a:gd name="connsiteY844" fmla="*/ 2498583 h 6858000"/>
              <a:gd name="connsiteX845" fmla="*/ 818634 w 4439277"/>
              <a:gd name="connsiteY845" fmla="*/ 2481211 h 6858000"/>
              <a:gd name="connsiteX846" fmla="*/ 826078 w 4439277"/>
              <a:gd name="connsiteY846" fmla="*/ 2473762 h 6858000"/>
              <a:gd name="connsiteX847" fmla="*/ 816155 w 4439277"/>
              <a:gd name="connsiteY847" fmla="*/ 2456388 h 6858000"/>
              <a:gd name="connsiteX848" fmla="*/ 798788 w 4439277"/>
              <a:gd name="connsiteY848" fmla="*/ 2419155 h 6858000"/>
              <a:gd name="connsiteX849" fmla="*/ 778945 w 4439277"/>
              <a:gd name="connsiteY849" fmla="*/ 2399298 h 6858000"/>
              <a:gd name="connsiteX850" fmla="*/ 773984 w 4439277"/>
              <a:gd name="connsiteY850" fmla="*/ 2404266 h 6858000"/>
              <a:gd name="connsiteX851" fmla="*/ 764061 w 4439277"/>
              <a:gd name="connsiteY851" fmla="*/ 2406746 h 6858000"/>
              <a:gd name="connsiteX852" fmla="*/ 761578 w 4439277"/>
              <a:gd name="connsiteY852" fmla="*/ 2399298 h 6858000"/>
              <a:gd name="connsiteX853" fmla="*/ 744215 w 4439277"/>
              <a:gd name="connsiteY853" fmla="*/ 2384409 h 6858000"/>
              <a:gd name="connsiteX854" fmla="*/ 731810 w 4439277"/>
              <a:gd name="connsiteY854" fmla="*/ 2369516 h 6858000"/>
              <a:gd name="connsiteX855" fmla="*/ 739253 w 4439277"/>
              <a:gd name="connsiteY855" fmla="*/ 2352139 h 6858000"/>
              <a:gd name="connsiteX856" fmla="*/ 766539 w 4439277"/>
              <a:gd name="connsiteY856" fmla="*/ 2369516 h 6858000"/>
              <a:gd name="connsiteX857" fmla="*/ 746693 w 4439277"/>
              <a:gd name="connsiteY857" fmla="*/ 2339731 h 6858000"/>
              <a:gd name="connsiteX858" fmla="*/ 719407 w 4439277"/>
              <a:gd name="connsiteY858" fmla="*/ 2307461 h 6858000"/>
              <a:gd name="connsiteX859" fmla="*/ 704522 w 4439277"/>
              <a:gd name="connsiteY859" fmla="*/ 2304981 h 6858000"/>
              <a:gd name="connsiteX860" fmla="*/ 726847 w 4439277"/>
              <a:gd name="connsiteY860" fmla="*/ 2287604 h 6858000"/>
              <a:gd name="connsiteX861" fmla="*/ 739253 w 4439277"/>
              <a:gd name="connsiteY861" fmla="*/ 2304981 h 6858000"/>
              <a:gd name="connsiteX862" fmla="*/ 744215 w 4439277"/>
              <a:gd name="connsiteY862" fmla="*/ 2302497 h 6858000"/>
              <a:gd name="connsiteX863" fmla="*/ 731810 w 4439277"/>
              <a:gd name="connsiteY863" fmla="*/ 2262786 h 6858000"/>
              <a:gd name="connsiteX864" fmla="*/ 729331 w 4439277"/>
              <a:gd name="connsiteY864" fmla="*/ 2262786 h 6858000"/>
              <a:gd name="connsiteX865" fmla="*/ 724368 w 4439277"/>
              <a:gd name="connsiteY865" fmla="*/ 2275195 h 6858000"/>
              <a:gd name="connsiteX866" fmla="*/ 716925 w 4439277"/>
              <a:gd name="connsiteY866" fmla="*/ 2245410 h 6858000"/>
              <a:gd name="connsiteX867" fmla="*/ 734292 w 4439277"/>
              <a:gd name="connsiteY867" fmla="*/ 2237965 h 6858000"/>
              <a:gd name="connsiteX868" fmla="*/ 739253 w 4439277"/>
              <a:gd name="connsiteY868" fmla="*/ 2242929 h 6858000"/>
              <a:gd name="connsiteX869" fmla="*/ 724368 w 4439277"/>
              <a:gd name="connsiteY869" fmla="*/ 2250374 h 6858000"/>
              <a:gd name="connsiteX870" fmla="*/ 731810 w 4439277"/>
              <a:gd name="connsiteY870" fmla="*/ 2255337 h 6858000"/>
              <a:gd name="connsiteX871" fmla="*/ 744215 w 4439277"/>
              <a:gd name="connsiteY871" fmla="*/ 2262786 h 6858000"/>
              <a:gd name="connsiteX872" fmla="*/ 754138 w 4439277"/>
              <a:gd name="connsiteY872" fmla="*/ 2282639 h 6858000"/>
              <a:gd name="connsiteX873" fmla="*/ 754138 w 4439277"/>
              <a:gd name="connsiteY873" fmla="*/ 2285123 h 6858000"/>
              <a:gd name="connsiteX874" fmla="*/ 756617 w 4439277"/>
              <a:gd name="connsiteY874" fmla="*/ 2297536 h 6858000"/>
              <a:gd name="connsiteX875" fmla="*/ 776463 w 4439277"/>
              <a:gd name="connsiteY875" fmla="*/ 2329801 h 6858000"/>
              <a:gd name="connsiteX876" fmla="*/ 764061 w 4439277"/>
              <a:gd name="connsiteY876" fmla="*/ 2337246 h 6858000"/>
              <a:gd name="connsiteX877" fmla="*/ 781424 w 4439277"/>
              <a:gd name="connsiteY877" fmla="*/ 2344694 h 6858000"/>
              <a:gd name="connsiteX878" fmla="*/ 786386 w 4439277"/>
              <a:gd name="connsiteY878" fmla="*/ 2364548 h 6858000"/>
              <a:gd name="connsiteX879" fmla="*/ 776463 w 4439277"/>
              <a:gd name="connsiteY879" fmla="*/ 2362068 h 6858000"/>
              <a:gd name="connsiteX880" fmla="*/ 776463 w 4439277"/>
              <a:gd name="connsiteY880" fmla="*/ 2367033 h 6858000"/>
              <a:gd name="connsiteX881" fmla="*/ 798788 w 4439277"/>
              <a:gd name="connsiteY881" fmla="*/ 2391853 h 6858000"/>
              <a:gd name="connsiteX882" fmla="*/ 808714 w 4439277"/>
              <a:gd name="connsiteY882" fmla="*/ 2399298 h 6858000"/>
              <a:gd name="connsiteX883" fmla="*/ 808714 w 4439277"/>
              <a:gd name="connsiteY883" fmla="*/ 2391853 h 6858000"/>
              <a:gd name="connsiteX884" fmla="*/ 786386 w 4439277"/>
              <a:gd name="connsiteY884" fmla="*/ 2339731 h 6858000"/>
              <a:gd name="connsiteX885" fmla="*/ 783907 w 4439277"/>
              <a:gd name="connsiteY885" fmla="*/ 2327319 h 6858000"/>
              <a:gd name="connsiteX886" fmla="*/ 769022 w 4439277"/>
              <a:gd name="connsiteY886" fmla="*/ 2287604 h 6858000"/>
              <a:gd name="connsiteX887" fmla="*/ 766539 w 4439277"/>
              <a:gd name="connsiteY887" fmla="*/ 2280160 h 6858000"/>
              <a:gd name="connsiteX888" fmla="*/ 776463 w 4439277"/>
              <a:gd name="connsiteY888" fmla="*/ 2272713 h 6858000"/>
              <a:gd name="connsiteX889" fmla="*/ 776463 w 4439277"/>
              <a:gd name="connsiteY889" fmla="*/ 2292571 h 6858000"/>
              <a:gd name="connsiteX890" fmla="*/ 801270 w 4439277"/>
              <a:gd name="connsiteY890" fmla="*/ 2309945 h 6858000"/>
              <a:gd name="connsiteX891" fmla="*/ 828558 w 4439277"/>
              <a:gd name="connsiteY891" fmla="*/ 2322357 h 6858000"/>
              <a:gd name="connsiteX892" fmla="*/ 831039 w 4439277"/>
              <a:gd name="connsiteY892" fmla="*/ 2331049 h 6858000"/>
              <a:gd name="connsiteX893" fmla="*/ 831039 w 4439277"/>
              <a:gd name="connsiteY893" fmla="*/ 2349658 h 6858000"/>
              <a:gd name="connsiteX894" fmla="*/ 821116 w 4439277"/>
              <a:gd name="connsiteY894" fmla="*/ 2359588 h 6858000"/>
              <a:gd name="connsiteX895" fmla="*/ 828558 w 4439277"/>
              <a:gd name="connsiteY895" fmla="*/ 2376960 h 6858000"/>
              <a:gd name="connsiteX896" fmla="*/ 831039 w 4439277"/>
              <a:gd name="connsiteY896" fmla="*/ 2376960 h 6858000"/>
              <a:gd name="connsiteX897" fmla="*/ 839423 w 4439277"/>
              <a:gd name="connsiteY897" fmla="*/ 2347605 h 6858000"/>
              <a:gd name="connsiteX898" fmla="*/ 840962 w 4439277"/>
              <a:gd name="connsiteY898" fmla="*/ 2349658 h 6858000"/>
              <a:gd name="connsiteX899" fmla="*/ 850885 w 4439277"/>
              <a:gd name="connsiteY899" fmla="*/ 2339731 h 6858000"/>
              <a:gd name="connsiteX900" fmla="*/ 848404 w 4439277"/>
              <a:gd name="connsiteY900" fmla="*/ 2334766 h 6858000"/>
              <a:gd name="connsiteX901" fmla="*/ 853365 w 4439277"/>
              <a:gd name="connsiteY901" fmla="*/ 2337246 h 6858000"/>
              <a:gd name="connsiteX902" fmla="*/ 860808 w 4439277"/>
              <a:gd name="connsiteY902" fmla="*/ 2332282 h 6858000"/>
              <a:gd name="connsiteX903" fmla="*/ 652429 w 4439277"/>
              <a:gd name="connsiteY903" fmla="*/ 1845791 h 6858000"/>
              <a:gd name="connsiteX904" fmla="*/ 689639 w 4439277"/>
              <a:gd name="connsiteY904" fmla="*/ 1758919 h 6858000"/>
              <a:gd name="connsiteX905" fmla="*/ 689639 w 4439277"/>
              <a:gd name="connsiteY905" fmla="*/ 1756438 h 6858000"/>
              <a:gd name="connsiteX906" fmla="*/ 692118 w 4439277"/>
              <a:gd name="connsiteY906" fmla="*/ 1756438 h 6858000"/>
              <a:gd name="connsiteX907" fmla="*/ 699561 w 4439277"/>
              <a:gd name="connsiteY907" fmla="*/ 1753953 h 6858000"/>
              <a:gd name="connsiteX908" fmla="*/ 694600 w 4439277"/>
              <a:gd name="connsiteY908" fmla="*/ 1746509 h 6858000"/>
              <a:gd name="connsiteX909" fmla="*/ 692118 w 4439277"/>
              <a:gd name="connsiteY909" fmla="*/ 1741545 h 6858000"/>
              <a:gd name="connsiteX910" fmla="*/ 689639 w 4439277"/>
              <a:gd name="connsiteY910" fmla="*/ 1736581 h 6858000"/>
              <a:gd name="connsiteX911" fmla="*/ 687156 w 4439277"/>
              <a:gd name="connsiteY911" fmla="*/ 1746509 h 6858000"/>
              <a:gd name="connsiteX912" fmla="*/ 679715 w 4439277"/>
              <a:gd name="connsiteY912" fmla="*/ 1719205 h 6858000"/>
              <a:gd name="connsiteX913" fmla="*/ 677233 w 4439277"/>
              <a:gd name="connsiteY913" fmla="*/ 1711759 h 6858000"/>
              <a:gd name="connsiteX914" fmla="*/ 669793 w 4439277"/>
              <a:gd name="connsiteY914" fmla="*/ 1699346 h 6858000"/>
              <a:gd name="connsiteX915" fmla="*/ 692118 w 4439277"/>
              <a:gd name="connsiteY915" fmla="*/ 1716724 h 6858000"/>
              <a:gd name="connsiteX916" fmla="*/ 694600 w 4439277"/>
              <a:gd name="connsiteY916" fmla="*/ 1706795 h 6858000"/>
              <a:gd name="connsiteX917" fmla="*/ 706999 w 4439277"/>
              <a:gd name="connsiteY917" fmla="*/ 1704314 h 6858000"/>
              <a:gd name="connsiteX918" fmla="*/ 703591 w 4439277"/>
              <a:gd name="connsiteY918" fmla="*/ 1707416 h 6858000"/>
              <a:gd name="connsiteX919" fmla="*/ 709485 w 4439277"/>
              <a:gd name="connsiteY919" fmla="*/ 1714243 h 6858000"/>
              <a:gd name="connsiteX920" fmla="*/ 709485 w 4439277"/>
              <a:gd name="connsiteY920" fmla="*/ 1711759 h 6858000"/>
              <a:gd name="connsiteX921" fmla="*/ 707003 w 4439277"/>
              <a:gd name="connsiteY921" fmla="*/ 1704313 h 6858000"/>
              <a:gd name="connsiteX922" fmla="*/ 709072 w 4439277"/>
              <a:gd name="connsiteY922" fmla="*/ 1703900 h 6858000"/>
              <a:gd name="connsiteX923" fmla="*/ 709485 w 4439277"/>
              <a:gd name="connsiteY923" fmla="*/ 1704312 h 6858000"/>
              <a:gd name="connsiteX924" fmla="*/ 710103 w 4439277"/>
              <a:gd name="connsiteY924" fmla="*/ 1703693 h 6858000"/>
              <a:gd name="connsiteX925" fmla="*/ 719407 w 4439277"/>
              <a:gd name="connsiteY925" fmla="*/ 1701831 h 6858000"/>
              <a:gd name="connsiteX926" fmla="*/ 699561 w 4439277"/>
              <a:gd name="connsiteY926" fmla="*/ 1674525 h 6858000"/>
              <a:gd name="connsiteX927" fmla="*/ 697082 w 4439277"/>
              <a:gd name="connsiteY927" fmla="*/ 1672045 h 6858000"/>
              <a:gd name="connsiteX928" fmla="*/ 672275 w 4439277"/>
              <a:gd name="connsiteY928" fmla="*/ 1642260 h 6858000"/>
              <a:gd name="connsiteX929" fmla="*/ 667314 w 4439277"/>
              <a:gd name="connsiteY929" fmla="*/ 1639779 h 6858000"/>
              <a:gd name="connsiteX930" fmla="*/ 669793 w 4439277"/>
              <a:gd name="connsiteY930" fmla="*/ 1637295 h 6858000"/>
              <a:gd name="connsiteX931" fmla="*/ 659869 w 4439277"/>
              <a:gd name="connsiteY931" fmla="*/ 1629850 h 6858000"/>
              <a:gd name="connsiteX932" fmla="*/ 647468 w 4439277"/>
              <a:gd name="connsiteY932" fmla="*/ 1617438 h 6858000"/>
              <a:gd name="connsiteX933" fmla="*/ 640023 w 4439277"/>
              <a:gd name="connsiteY933" fmla="*/ 1612474 h 6858000"/>
              <a:gd name="connsiteX934" fmla="*/ 637544 w 4439277"/>
              <a:gd name="connsiteY934" fmla="*/ 1617438 h 6858000"/>
              <a:gd name="connsiteX935" fmla="*/ 654908 w 4439277"/>
              <a:gd name="connsiteY935" fmla="*/ 1647224 h 6858000"/>
              <a:gd name="connsiteX936" fmla="*/ 667314 w 4439277"/>
              <a:gd name="connsiteY936" fmla="*/ 1659636 h 6858000"/>
              <a:gd name="connsiteX937" fmla="*/ 672275 w 4439277"/>
              <a:gd name="connsiteY937" fmla="*/ 1654672 h 6858000"/>
              <a:gd name="connsiteX938" fmla="*/ 689639 w 4439277"/>
              <a:gd name="connsiteY938" fmla="*/ 1672045 h 6858000"/>
              <a:gd name="connsiteX939" fmla="*/ 699561 w 4439277"/>
              <a:gd name="connsiteY939" fmla="*/ 1689421 h 6858000"/>
              <a:gd name="connsiteX940" fmla="*/ 697082 w 4439277"/>
              <a:gd name="connsiteY940" fmla="*/ 1691902 h 6858000"/>
              <a:gd name="connsiteX941" fmla="*/ 679715 w 4439277"/>
              <a:gd name="connsiteY941" fmla="*/ 1669561 h 6858000"/>
              <a:gd name="connsiteX942" fmla="*/ 669793 w 4439277"/>
              <a:gd name="connsiteY942" fmla="*/ 1691902 h 6858000"/>
              <a:gd name="connsiteX943" fmla="*/ 662351 w 4439277"/>
              <a:gd name="connsiteY943" fmla="*/ 1677010 h 6858000"/>
              <a:gd name="connsiteX944" fmla="*/ 659869 w 4439277"/>
              <a:gd name="connsiteY944" fmla="*/ 1672045 h 6858000"/>
              <a:gd name="connsiteX945" fmla="*/ 642505 w 4439277"/>
              <a:gd name="connsiteY945" fmla="*/ 1667081 h 6858000"/>
              <a:gd name="connsiteX946" fmla="*/ 620177 w 4439277"/>
              <a:gd name="connsiteY946" fmla="*/ 1634815 h 6858000"/>
              <a:gd name="connsiteX947" fmla="*/ 605293 w 4439277"/>
              <a:gd name="connsiteY947" fmla="*/ 1605029 h 6858000"/>
              <a:gd name="connsiteX948" fmla="*/ 587930 w 4439277"/>
              <a:gd name="connsiteY948" fmla="*/ 1587653 h 6858000"/>
              <a:gd name="connsiteX949" fmla="*/ 568084 w 4439277"/>
              <a:gd name="connsiteY949" fmla="*/ 1567798 h 6858000"/>
              <a:gd name="connsiteX950" fmla="*/ 555681 w 4439277"/>
              <a:gd name="connsiteY950" fmla="*/ 1547941 h 6858000"/>
              <a:gd name="connsiteX951" fmla="*/ 558160 w 4439277"/>
              <a:gd name="connsiteY951" fmla="*/ 1545458 h 6858000"/>
              <a:gd name="connsiteX952" fmla="*/ 575524 w 4439277"/>
              <a:gd name="connsiteY952" fmla="*/ 1550422 h 6858000"/>
              <a:gd name="connsiteX953" fmla="*/ 555681 w 4439277"/>
              <a:gd name="connsiteY953" fmla="*/ 1525601 h 6858000"/>
              <a:gd name="connsiteX954" fmla="*/ 528392 w 4439277"/>
              <a:gd name="connsiteY954" fmla="*/ 1510708 h 6858000"/>
              <a:gd name="connsiteX955" fmla="*/ 535835 w 4439277"/>
              <a:gd name="connsiteY955" fmla="*/ 1480923 h 6858000"/>
              <a:gd name="connsiteX956" fmla="*/ 525913 w 4439277"/>
              <a:gd name="connsiteY956" fmla="*/ 1466032 h 6858000"/>
              <a:gd name="connsiteX957" fmla="*/ 545759 w 4439277"/>
              <a:gd name="connsiteY957" fmla="*/ 1448656 h 6858000"/>
              <a:gd name="connsiteX958" fmla="*/ 523430 w 4439277"/>
              <a:gd name="connsiteY958" fmla="*/ 1433763 h 6858000"/>
              <a:gd name="connsiteX959" fmla="*/ 515989 w 4439277"/>
              <a:gd name="connsiteY959" fmla="*/ 1436248 h 6858000"/>
              <a:gd name="connsiteX960" fmla="*/ 515989 w 4439277"/>
              <a:gd name="connsiteY960" fmla="*/ 1433763 h 6858000"/>
              <a:gd name="connsiteX961" fmla="*/ 473818 w 4439277"/>
              <a:gd name="connsiteY961" fmla="*/ 1374192 h 6858000"/>
              <a:gd name="connsiteX962" fmla="*/ 471336 w 4439277"/>
              <a:gd name="connsiteY962" fmla="*/ 1371711 h 6858000"/>
              <a:gd name="connsiteX963" fmla="*/ 458933 w 4439277"/>
              <a:gd name="connsiteY963" fmla="*/ 1359300 h 6858000"/>
              <a:gd name="connsiteX964" fmla="*/ 463892 w 4439277"/>
              <a:gd name="connsiteY964" fmla="*/ 1334478 h 6858000"/>
              <a:gd name="connsiteX965" fmla="*/ 446529 w 4439277"/>
              <a:gd name="connsiteY965" fmla="*/ 1336963 h 6858000"/>
              <a:gd name="connsiteX966" fmla="*/ 419241 w 4439277"/>
              <a:gd name="connsiteY966" fmla="*/ 1294768 h 6858000"/>
              <a:gd name="connsiteX967" fmla="*/ 421721 w 4439277"/>
              <a:gd name="connsiteY967" fmla="*/ 1292283 h 6858000"/>
              <a:gd name="connsiteX968" fmla="*/ 434126 w 4439277"/>
              <a:gd name="connsiteY968" fmla="*/ 1302212 h 6858000"/>
              <a:gd name="connsiteX969" fmla="*/ 436605 w 4439277"/>
              <a:gd name="connsiteY969" fmla="*/ 1299732 h 6858000"/>
              <a:gd name="connsiteX970" fmla="*/ 414280 w 4439277"/>
              <a:gd name="connsiteY970" fmla="*/ 1262498 h 6858000"/>
              <a:gd name="connsiteX971" fmla="*/ 406836 w 4439277"/>
              <a:gd name="connsiteY971" fmla="*/ 1264982 h 6858000"/>
              <a:gd name="connsiteX972" fmla="*/ 404358 w 4439277"/>
              <a:gd name="connsiteY972" fmla="*/ 1262498 h 6858000"/>
              <a:gd name="connsiteX973" fmla="*/ 414280 w 4439277"/>
              <a:gd name="connsiteY973" fmla="*/ 1257534 h 6858000"/>
              <a:gd name="connsiteX974" fmla="*/ 394434 w 4439277"/>
              <a:gd name="connsiteY974" fmla="*/ 1237680 h 6858000"/>
              <a:gd name="connsiteX975" fmla="*/ 391952 w 4439277"/>
              <a:gd name="connsiteY975" fmla="*/ 1232712 h 6858000"/>
              <a:gd name="connsiteX976" fmla="*/ 384511 w 4439277"/>
              <a:gd name="connsiteY976" fmla="*/ 1210375 h 6858000"/>
              <a:gd name="connsiteX977" fmla="*/ 369627 w 4439277"/>
              <a:gd name="connsiteY977" fmla="*/ 1193002 h 6858000"/>
              <a:gd name="connsiteX978" fmla="*/ 352261 w 4439277"/>
              <a:gd name="connsiteY978" fmla="*/ 1165697 h 6858000"/>
              <a:gd name="connsiteX979" fmla="*/ 364665 w 4439277"/>
              <a:gd name="connsiteY979" fmla="*/ 1175626 h 6858000"/>
              <a:gd name="connsiteX980" fmla="*/ 362183 w 4439277"/>
              <a:gd name="connsiteY980" fmla="*/ 1158252 h 6858000"/>
              <a:gd name="connsiteX981" fmla="*/ 372107 w 4439277"/>
              <a:gd name="connsiteY981" fmla="*/ 1155769 h 6858000"/>
              <a:gd name="connsiteX982" fmla="*/ 357222 w 4439277"/>
              <a:gd name="connsiteY982" fmla="*/ 1125983 h 6858000"/>
              <a:gd name="connsiteX983" fmla="*/ 364665 w 4439277"/>
              <a:gd name="connsiteY983" fmla="*/ 1121019 h 6858000"/>
              <a:gd name="connsiteX984" fmla="*/ 362183 w 4439277"/>
              <a:gd name="connsiteY984" fmla="*/ 1118538 h 6858000"/>
              <a:gd name="connsiteX985" fmla="*/ 339858 w 4439277"/>
              <a:gd name="connsiteY985" fmla="*/ 1088752 h 6858000"/>
              <a:gd name="connsiteX986" fmla="*/ 322494 w 4439277"/>
              <a:gd name="connsiteY986" fmla="*/ 1054002 h 6858000"/>
              <a:gd name="connsiteX987" fmla="*/ 310089 w 4439277"/>
              <a:gd name="connsiteY987" fmla="*/ 1054002 h 6858000"/>
              <a:gd name="connsiteX988" fmla="*/ 300166 w 4439277"/>
              <a:gd name="connsiteY988" fmla="*/ 1051522 h 6858000"/>
              <a:gd name="connsiteX989" fmla="*/ 290244 w 4439277"/>
              <a:gd name="connsiteY989" fmla="*/ 1039110 h 6858000"/>
              <a:gd name="connsiteX990" fmla="*/ 267918 w 4439277"/>
              <a:gd name="connsiteY990" fmla="*/ 986986 h 6858000"/>
              <a:gd name="connsiteX991" fmla="*/ 277841 w 4439277"/>
              <a:gd name="connsiteY991" fmla="*/ 1004360 h 6858000"/>
              <a:gd name="connsiteX992" fmla="*/ 292725 w 4439277"/>
              <a:gd name="connsiteY992" fmla="*/ 1014288 h 6858000"/>
              <a:gd name="connsiteX993" fmla="*/ 296441 w 4439277"/>
              <a:gd name="connsiteY993" fmla="*/ 1019865 h 6858000"/>
              <a:gd name="connsiteX994" fmla="*/ 300166 w 4439277"/>
              <a:gd name="connsiteY994" fmla="*/ 1029181 h 6858000"/>
              <a:gd name="connsiteX995" fmla="*/ 301656 w 4439277"/>
              <a:gd name="connsiteY995" fmla="*/ 1027692 h 6858000"/>
              <a:gd name="connsiteX996" fmla="*/ 302648 w 4439277"/>
              <a:gd name="connsiteY996" fmla="*/ 1029181 h 6858000"/>
              <a:gd name="connsiteX997" fmla="*/ 302033 w 4439277"/>
              <a:gd name="connsiteY997" fmla="*/ 1027315 h 6858000"/>
              <a:gd name="connsiteX998" fmla="*/ 302648 w 4439277"/>
              <a:gd name="connsiteY998" fmla="*/ 1026700 h 6858000"/>
              <a:gd name="connsiteX999" fmla="*/ 301189 w 4439277"/>
              <a:gd name="connsiteY999" fmla="*/ 1024754 h 6858000"/>
              <a:gd name="connsiteX1000" fmla="*/ 293345 w 4439277"/>
              <a:gd name="connsiteY1000" fmla="*/ 1000947 h 6858000"/>
              <a:gd name="connsiteX1001" fmla="*/ 280320 w 4439277"/>
              <a:gd name="connsiteY1001" fmla="*/ 974574 h 6858000"/>
              <a:gd name="connsiteX1002" fmla="*/ 253034 w 4439277"/>
              <a:gd name="connsiteY1002" fmla="*/ 917487 h 6858000"/>
              <a:gd name="connsiteX1003" fmla="*/ 233188 w 4439277"/>
              <a:gd name="connsiteY1003" fmla="*/ 860399 h 6858000"/>
              <a:gd name="connsiteX1004" fmla="*/ 253034 w 4439277"/>
              <a:gd name="connsiteY1004" fmla="*/ 895149 h 6858000"/>
              <a:gd name="connsiteX1005" fmla="*/ 282802 w 4439277"/>
              <a:gd name="connsiteY1005" fmla="*/ 932379 h 6858000"/>
              <a:gd name="connsiteX1006" fmla="*/ 257995 w 4439277"/>
              <a:gd name="connsiteY1006" fmla="*/ 880256 h 6858000"/>
              <a:gd name="connsiteX1007" fmla="*/ 265435 w 4439277"/>
              <a:gd name="connsiteY1007" fmla="*/ 875292 h 6858000"/>
              <a:gd name="connsiteX1008" fmla="*/ 260474 w 4439277"/>
              <a:gd name="connsiteY1008" fmla="*/ 855435 h 6858000"/>
              <a:gd name="connsiteX1009" fmla="*/ 270398 w 4439277"/>
              <a:gd name="connsiteY1009" fmla="*/ 852955 h 6858000"/>
              <a:gd name="connsiteX1010" fmla="*/ 253034 w 4439277"/>
              <a:gd name="connsiteY1010" fmla="*/ 798348 h 6858000"/>
              <a:gd name="connsiteX1011" fmla="*/ 275359 w 4439277"/>
              <a:gd name="connsiteY1011" fmla="*/ 825649 h 6858000"/>
              <a:gd name="connsiteX1012" fmla="*/ 292725 w 4439277"/>
              <a:gd name="connsiteY1012" fmla="*/ 790899 h 6858000"/>
              <a:gd name="connsiteX1013" fmla="*/ 297687 w 4439277"/>
              <a:gd name="connsiteY1013" fmla="*/ 808275 h 6858000"/>
              <a:gd name="connsiteX1014" fmla="*/ 302648 w 4439277"/>
              <a:gd name="connsiteY1014" fmla="*/ 778491 h 6858000"/>
              <a:gd name="connsiteX1015" fmla="*/ 282802 w 4439277"/>
              <a:gd name="connsiteY1015" fmla="*/ 751185 h 6858000"/>
              <a:gd name="connsiteX1016" fmla="*/ 312571 w 4439277"/>
              <a:gd name="connsiteY1016" fmla="*/ 768561 h 6858000"/>
              <a:gd name="connsiteX1017" fmla="*/ 297687 w 4439277"/>
              <a:gd name="connsiteY1017" fmla="*/ 746224 h 6858000"/>
              <a:gd name="connsiteX1018" fmla="*/ 315051 w 4439277"/>
              <a:gd name="connsiteY1018" fmla="*/ 761114 h 6858000"/>
              <a:gd name="connsiteX1019" fmla="*/ 320012 w 4439277"/>
              <a:gd name="connsiteY1019" fmla="*/ 746224 h 6858000"/>
              <a:gd name="connsiteX1020" fmla="*/ 344819 w 4439277"/>
              <a:gd name="connsiteY1020" fmla="*/ 771046 h 6858000"/>
              <a:gd name="connsiteX1021" fmla="*/ 349161 w 4439277"/>
              <a:gd name="connsiteY1021" fmla="*/ 762976 h 6858000"/>
              <a:gd name="connsiteX1022" fmla="*/ 355552 w 4439277"/>
              <a:gd name="connsiteY1022" fmla="*/ 759533 h 6858000"/>
              <a:gd name="connsiteX1023" fmla="*/ 377068 w 4439277"/>
              <a:gd name="connsiteY1023" fmla="*/ 783454 h 6858000"/>
              <a:gd name="connsiteX1024" fmla="*/ 379550 w 4439277"/>
              <a:gd name="connsiteY1024" fmla="*/ 783454 h 6858000"/>
              <a:gd name="connsiteX1025" fmla="*/ 377068 w 4439277"/>
              <a:gd name="connsiteY1025" fmla="*/ 768561 h 6858000"/>
              <a:gd name="connsiteX1026" fmla="*/ 386990 w 4439277"/>
              <a:gd name="connsiteY1026" fmla="*/ 761114 h 6858000"/>
              <a:gd name="connsiteX1027" fmla="*/ 364665 w 4439277"/>
              <a:gd name="connsiteY1027" fmla="*/ 748704 h 6858000"/>
              <a:gd name="connsiteX1028" fmla="*/ 372107 w 4439277"/>
              <a:gd name="connsiteY1028" fmla="*/ 761114 h 6858000"/>
              <a:gd name="connsiteX1029" fmla="*/ 369627 w 4439277"/>
              <a:gd name="connsiteY1029" fmla="*/ 763597 h 6858000"/>
              <a:gd name="connsiteX1030" fmla="*/ 357222 w 4439277"/>
              <a:gd name="connsiteY1030" fmla="*/ 756150 h 6858000"/>
              <a:gd name="connsiteX1031" fmla="*/ 355981 w 4439277"/>
              <a:gd name="connsiteY1031" fmla="*/ 757393 h 6858000"/>
              <a:gd name="connsiteX1032" fmla="*/ 332417 w 4439277"/>
              <a:gd name="connsiteY1032" fmla="*/ 733813 h 6858000"/>
              <a:gd name="connsiteX1033" fmla="*/ 349781 w 4439277"/>
              <a:gd name="connsiteY1033" fmla="*/ 728847 h 6858000"/>
              <a:gd name="connsiteX1034" fmla="*/ 364665 w 4439277"/>
              <a:gd name="connsiteY1034" fmla="*/ 738776 h 6858000"/>
              <a:gd name="connsiteX1035" fmla="*/ 362183 w 4439277"/>
              <a:gd name="connsiteY1035" fmla="*/ 713956 h 6858000"/>
              <a:gd name="connsiteX1036" fmla="*/ 374588 w 4439277"/>
              <a:gd name="connsiteY1036" fmla="*/ 716439 h 6858000"/>
              <a:gd name="connsiteX1037" fmla="*/ 377068 w 4439277"/>
              <a:gd name="connsiteY1037" fmla="*/ 706510 h 6858000"/>
              <a:gd name="connsiteX1038" fmla="*/ 404358 w 4439277"/>
              <a:gd name="connsiteY1038" fmla="*/ 728847 h 6858000"/>
              <a:gd name="connsiteX1039" fmla="*/ 411075 w 4439277"/>
              <a:gd name="connsiteY1039" fmla="*/ 729520 h 6858000"/>
              <a:gd name="connsiteX1040" fmla="*/ 411798 w 4439277"/>
              <a:gd name="connsiteY1040" fmla="*/ 731328 h 6858000"/>
              <a:gd name="connsiteX1041" fmla="*/ 414692 w 4439277"/>
              <a:gd name="connsiteY1041" fmla="*/ 729882 h 6858000"/>
              <a:gd name="connsiteX1042" fmla="*/ 429165 w 4439277"/>
              <a:gd name="connsiteY1042" fmla="*/ 731328 h 6858000"/>
              <a:gd name="connsiteX1043" fmla="*/ 401875 w 4439277"/>
              <a:gd name="connsiteY1043" fmla="*/ 694099 h 6858000"/>
              <a:gd name="connsiteX1044" fmla="*/ 377068 w 4439277"/>
              <a:gd name="connsiteY1044" fmla="*/ 656868 h 6858000"/>
              <a:gd name="connsiteX1045" fmla="*/ 374588 w 4439277"/>
              <a:gd name="connsiteY1045" fmla="*/ 646939 h 6858000"/>
              <a:gd name="connsiteX1046" fmla="*/ 384511 w 4439277"/>
              <a:gd name="connsiteY1046" fmla="*/ 659351 h 6858000"/>
              <a:gd name="connsiteX1047" fmla="*/ 389473 w 4439277"/>
              <a:gd name="connsiteY1047" fmla="*/ 656868 h 6858000"/>
              <a:gd name="connsiteX1048" fmla="*/ 379550 w 4439277"/>
              <a:gd name="connsiteY1048" fmla="*/ 637011 h 6858000"/>
              <a:gd name="connsiteX1049" fmla="*/ 426682 w 4439277"/>
              <a:gd name="connsiteY1049" fmla="*/ 691618 h 6858000"/>
              <a:gd name="connsiteX1050" fmla="*/ 456451 w 4439277"/>
              <a:gd name="connsiteY1050" fmla="*/ 699062 h 6858000"/>
              <a:gd name="connsiteX1051" fmla="*/ 473818 w 4439277"/>
              <a:gd name="connsiteY1051" fmla="*/ 689133 h 6858000"/>
              <a:gd name="connsiteX1052" fmla="*/ 486221 w 4439277"/>
              <a:gd name="connsiteY1052" fmla="*/ 676725 h 6858000"/>
              <a:gd name="connsiteX1053" fmla="*/ 478777 w 4439277"/>
              <a:gd name="connsiteY1053" fmla="*/ 634530 h 6858000"/>
              <a:gd name="connsiteX1054" fmla="*/ 491182 w 4439277"/>
              <a:gd name="connsiteY1054" fmla="*/ 644455 h 6858000"/>
              <a:gd name="connsiteX1055" fmla="*/ 458933 w 4439277"/>
              <a:gd name="connsiteY1055" fmla="*/ 584887 h 6858000"/>
              <a:gd name="connsiteX1056" fmla="*/ 481258 w 4439277"/>
              <a:gd name="connsiteY1056" fmla="*/ 609709 h 6858000"/>
              <a:gd name="connsiteX1057" fmla="*/ 508546 w 4439277"/>
              <a:gd name="connsiteY1057" fmla="*/ 637011 h 6858000"/>
              <a:gd name="connsiteX1058" fmla="*/ 491182 w 4439277"/>
              <a:gd name="connsiteY1058" fmla="*/ 602261 h 6858000"/>
              <a:gd name="connsiteX1059" fmla="*/ 473818 w 4439277"/>
              <a:gd name="connsiteY1059" fmla="*/ 569995 h 6858000"/>
              <a:gd name="connsiteX1060" fmla="*/ 525913 w 4439277"/>
              <a:gd name="connsiteY1060" fmla="*/ 617154 h 6858000"/>
              <a:gd name="connsiteX1061" fmla="*/ 545759 w 4439277"/>
              <a:gd name="connsiteY1061" fmla="*/ 614670 h 6858000"/>
              <a:gd name="connsiteX1062" fmla="*/ 540796 w 4439277"/>
              <a:gd name="connsiteY1062" fmla="*/ 602261 h 6858000"/>
              <a:gd name="connsiteX1063" fmla="*/ 558160 w 4439277"/>
              <a:gd name="connsiteY1063" fmla="*/ 604744 h 6858000"/>
              <a:gd name="connsiteX1064" fmla="*/ 528392 w 4439277"/>
              <a:gd name="connsiteY1064" fmla="*/ 560066 h 6858000"/>
              <a:gd name="connsiteX1065" fmla="*/ 530874 w 4439277"/>
              <a:gd name="connsiteY1065" fmla="*/ 557583 h 6858000"/>
              <a:gd name="connsiteX1066" fmla="*/ 553199 w 4439277"/>
              <a:gd name="connsiteY1066" fmla="*/ 574959 h 6858000"/>
              <a:gd name="connsiteX1067" fmla="*/ 553199 w 4439277"/>
              <a:gd name="connsiteY1067" fmla="*/ 560066 h 6858000"/>
              <a:gd name="connsiteX1068" fmla="*/ 585451 w 4439277"/>
              <a:gd name="connsiteY1068" fmla="*/ 592333 h 6858000"/>
              <a:gd name="connsiteX1069" fmla="*/ 585451 w 4439277"/>
              <a:gd name="connsiteY1069" fmla="*/ 574959 h 6858000"/>
              <a:gd name="connsiteX1070" fmla="*/ 597852 w 4439277"/>
              <a:gd name="connsiteY1070" fmla="*/ 582404 h 6858000"/>
              <a:gd name="connsiteX1071" fmla="*/ 617698 w 4439277"/>
              <a:gd name="connsiteY1071" fmla="*/ 557583 h 6858000"/>
              <a:gd name="connsiteX1072" fmla="*/ 627622 w 4439277"/>
              <a:gd name="connsiteY1072" fmla="*/ 569995 h 6858000"/>
              <a:gd name="connsiteX1073" fmla="*/ 630101 w 4439277"/>
              <a:gd name="connsiteY1073" fmla="*/ 567511 h 6858000"/>
              <a:gd name="connsiteX1074" fmla="*/ 620177 w 4439277"/>
              <a:gd name="connsiteY1074" fmla="*/ 550138 h 6858000"/>
              <a:gd name="connsiteX1075" fmla="*/ 622659 w 4439277"/>
              <a:gd name="connsiteY1075" fmla="*/ 547657 h 6858000"/>
              <a:gd name="connsiteX1076" fmla="*/ 635936 w 4439277"/>
              <a:gd name="connsiteY1076" fmla="*/ 562984 h 6858000"/>
              <a:gd name="connsiteX1077" fmla="*/ 635062 w 4439277"/>
              <a:gd name="connsiteY1077" fmla="*/ 562547 h 6858000"/>
              <a:gd name="connsiteX1078" fmla="*/ 638775 w 4439277"/>
              <a:gd name="connsiteY1078" fmla="*/ 566263 h 6858000"/>
              <a:gd name="connsiteX1079" fmla="*/ 654908 w 4439277"/>
              <a:gd name="connsiteY1079" fmla="*/ 584887 h 6858000"/>
              <a:gd name="connsiteX1080" fmla="*/ 647468 w 4439277"/>
              <a:gd name="connsiteY1080" fmla="*/ 594816 h 6858000"/>
              <a:gd name="connsiteX1081" fmla="*/ 667314 w 4439277"/>
              <a:gd name="connsiteY1081" fmla="*/ 597297 h 6858000"/>
              <a:gd name="connsiteX1082" fmla="*/ 702040 w 4439277"/>
              <a:gd name="connsiteY1082" fmla="*/ 607225 h 6858000"/>
              <a:gd name="connsiteX1083" fmla="*/ 716925 w 4439277"/>
              <a:gd name="connsiteY1083" fmla="*/ 582404 h 6858000"/>
              <a:gd name="connsiteX1084" fmla="*/ 749177 w 4439277"/>
              <a:gd name="connsiteY1084" fmla="*/ 609709 h 6858000"/>
              <a:gd name="connsiteX1085" fmla="*/ 751656 w 4439277"/>
              <a:gd name="connsiteY1085" fmla="*/ 609709 h 6858000"/>
              <a:gd name="connsiteX1086" fmla="*/ 749177 w 4439277"/>
              <a:gd name="connsiteY1086" fmla="*/ 597297 h 6858000"/>
              <a:gd name="connsiteX1087" fmla="*/ 709485 w 4439277"/>
              <a:gd name="connsiteY1087" fmla="*/ 540209 h 6858000"/>
              <a:gd name="connsiteX1088" fmla="*/ 704522 w 4439277"/>
              <a:gd name="connsiteY1088" fmla="*/ 527796 h 6858000"/>
              <a:gd name="connsiteX1089" fmla="*/ 702040 w 4439277"/>
              <a:gd name="connsiteY1089" fmla="*/ 520352 h 6858000"/>
              <a:gd name="connsiteX1090" fmla="*/ 679715 w 4439277"/>
              <a:gd name="connsiteY1090" fmla="*/ 478155 h 6858000"/>
              <a:gd name="connsiteX1091" fmla="*/ 1031978 w 4439277"/>
              <a:gd name="connsiteY1091" fmla="*/ 726364 h 6858000"/>
              <a:gd name="connsiteX1092" fmla="*/ 1022052 w 4439277"/>
              <a:gd name="connsiteY1092" fmla="*/ 694099 h 6858000"/>
              <a:gd name="connsiteX1093" fmla="*/ 1017093 w 4439277"/>
              <a:gd name="connsiteY1093" fmla="*/ 681689 h 6858000"/>
              <a:gd name="connsiteX1094" fmla="*/ 1012132 w 4439277"/>
              <a:gd name="connsiteY1094" fmla="*/ 659351 h 6858000"/>
              <a:gd name="connsiteX1095" fmla="*/ 999727 w 4439277"/>
              <a:gd name="connsiteY1095" fmla="*/ 639491 h 6858000"/>
              <a:gd name="connsiteX1096" fmla="*/ 979881 w 4439277"/>
              <a:gd name="connsiteY1096" fmla="*/ 624601 h 6858000"/>
              <a:gd name="connsiteX1097" fmla="*/ 969958 w 4439277"/>
              <a:gd name="connsiteY1097" fmla="*/ 617154 h 6858000"/>
              <a:gd name="connsiteX1098" fmla="*/ 955074 w 4439277"/>
              <a:gd name="connsiteY1098" fmla="*/ 592333 h 6858000"/>
              <a:gd name="connsiteX1099" fmla="*/ 964996 w 4439277"/>
              <a:gd name="connsiteY1099" fmla="*/ 584887 h 6858000"/>
              <a:gd name="connsiteX1100" fmla="*/ 940189 w 4439277"/>
              <a:gd name="connsiteY1100" fmla="*/ 565030 h 6858000"/>
              <a:gd name="connsiteX1101" fmla="*/ 930269 w 4439277"/>
              <a:gd name="connsiteY1101" fmla="*/ 547657 h 6858000"/>
              <a:gd name="connsiteX1102" fmla="*/ 917864 w 4439277"/>
              <a:gd name="connsiteY1102" fmla="*/ 520352 h 6858000"/>
              <a:gd name="connsiteX1103" fmla="*/ 917864 w 4439277"/>
              <a:gd name="connsiteY1103" fmla="*/ 493050 h 6858000"/>
              <a:gd name="connsiteX1104" fmla="*/ 907941 w 4439277"/>
              <a:gd name="connsiteY1104" fmla="*/ 500495 h 6858000"/>
              <a:gd name="connsiteX1105" fmla="*/ 873211 w 4439277"/>
              <a:gd name="connsiteY1105" fmla="*/ 435962 h 6858000"/>
              <a:gd name="connsiteX1106" fmla="*/ 883133 w 4439277"/>
              <a:gd name="connsiteY1106" fmla="*/ 445888 h 6858000"/>
              <a:gd name="connsiteX1107" fmla="*/ 863287 w 4439277"/>
              <a:gd name="connsiteY1107" fmla="*/ 406178 h 6858000"/>
              <a:gd name="connsiteX1108" fmla="*/ 860808 w 4439277"/>
              <a:gd name="connsiteY1108" fmla="*/ 403693 h 6858000"/>
              <a:gd name="connsiteX1109" fmla="*/ 843441 w 4439277"/>
              <a:gd name="connsiteY1109" fmla="*/ 378872 h 6858000"/>
              <a:gd name="connsiteX1110" fmla="*/ 831039 w 4439277"/>
              <a:gd name="connsiteY1110" fmla="*/ 356534 h 6858000"/>
              <a:gd name="connsiteX1111" fmla="*/ 840962 w 4439277"/>
              <a:gd name="connsiteY1111" fmla="*/ 354051 h 6858000"/>
              <a:gd name="connsiteX1112" fmla="*/ 823595 w 4439277"/>
              <a:gd name="connsiteY1112" fmla="*/ 334194 h 6858000"/>
              <a:gd name="connsiteX1113" fmla="*/ 811194 w 4439277"/>
              <a:gd name="connsiteY1113" fmla="*/ 309372 h 6858000"/>
              <a:gd name="connsiteX1114" fmla="*/ 826078 w 4439277"/>
              <a:gd name="connsiteY1114" fmla="*/ 321784 h 6858000"/>
              <a:gd name="connsiteX1115" fmla="*/ 808714 w 4439277"/>
              <a:gd name="connsiteY1115" fmla="*/ 267177 h 6858000"/>
              <a:gd name="connsiteX1116" fmla="*/ 821116 w 4439277"/>
              <a:gd name="connsiteY1116" fmla="*/ 282070 h 6858000"/>
              <a:gd name="connsiteX1117" fmla="*/ 823595 w 4439277"/>
              <a:gd name="connsiteY1117" fmla="*/ 277106 h 6858000"/>
              <a:gd name="connsiteX1118" fmla="*/ 796309 w 4439277"/>
              <a:gd name="connsiteY1118" fmla="*/ 220019 h 6858000"/>
              <a:gd name="connsiteX1119" fmla="*/ 761578 w 4439277"/>
              <a:gd name="connsiteY1119" fmla="*/ 145554 h 6858000"/>
              <a:gd name="connsiteX1120" fmla="*/ 761578 w 4439277"/>
              <a:gd name="connsiteY1120" fmla="*/ 143071 h 6858000"/>
              <a:gd name="connsiteX1121" fmla="*/ 791348 w 4439277"/>
              <a:gd name="connsiteY1121" fmla="*/ 190234 h 6858000"/>
              <a:gd name="connsiteX1122" fmla="*/ 796309 w 4439277"/>
              <a:gd name="connsiteY1122" fmla="*/ 172857 h 6858000"/>
              <a:gd name="connsiteX1123" fmla="*/ 776463 w 4439277"/>
              <a:gd name="connsiteY1123" fmla="*/ 123217 h 6858000"/>
              <a:gd name="connsiteX1124" fmla="*/ 773984 w 4439277"/>
              <a:gd name="connsiteY1124" fmla="*/ 108325 h 6858000"/>
              <a:gd name="connsiteX1125" fmla="*/ 803753 w 4439277"/>
              <a:gd name="connsiteY1125" fmla="*/ 143071 h 6858000"/>
              <a:gd name="connsiteX1126" fmla="*/ 808714 w 4439277"/>
              <a:gd name="connsiteY1126" fmla="*/ 150520 h 6858000"/>
              <a:gd name="connsiteX1127" fmla="*/ 811194 w 4439277"/>
              <a:gd name="connsiteY1127" fmla="*/ 148039 h 6858000"/>
              <a:gd name="connsiteX1128" fmla="*/ 781424 w 4439277"/>
              <a:gd name="connsiteY1128" fmla="*/ 83503 h 6858000"/>
              <a:gd name="connsiteX1129" fmla="*/ 793830 w 4439277"/>
              <a:gd name="connsiteY1129" fmla="*/ 61162 h 6858000"/>
              <a:gd name="connsiteX1130" fmla="*/ 786386 w 4439277"/>
              <a:gd name="connsiteY1130" fmla="*/ 66126 h 6858000"/>
              <a:gd name="connsiteX1131" fmla="*/ 776463 w 4439277"/>
              <a:gd name="connsiteY1131" fmla="*/ 71094 h 6858000"/>
              <a:gd name="connsiteX1132" fmla="*/ 769022 w 4439277"/>
              <a:gd name="connsiteY1132" fmla="*/ 61162 h 6858000"/>
              <a:gd name="connsiteX1133" fmla="*/ 761578 w 4439277"/>
              <a:gd name="connsiteY1133" fmla="*/ 33861 h 6858000"/>
              <a:gd name="connsiteX1134" fmla="*/ 749177 w 4439277"/>
              <a:gd name="connsiteY1134" fmla="*/ 65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</a:cxnLst>
            <a:rect l="l" t="t" r="r" b="b"/>
            <a:pathLst>
              <a:path w="4439277" h="6858000">
                <a:moveTo>
                  <a:pt x="3056238" y="6708222"/>
                </a:moveTo>
                <a:cubicBezTo>
                  <a:pt x="3061200" y="6715666"/>
                  <a:pt x="3066161" y="6720634"/>
                  <a:pt x="3073602" y="6728079"/>
                </a:cubicBezTo>
                <a:cubicBezTo>
                  <a:pt x="3068641" y="6725594"/>
                  <a:pt x="3066161" y="6720634"/>
                  <a:pt x="3063678" y="6715666"/>
                </a:cubicBezTo>
                <a:cubicBezTo>
                  <a:pt x="3063678" y="6715666"/>
                  <a:pt x="3066161" y="6715666"/>
                  <a:pt x="3066161" y="6715666"/>
                </a:cubicBezTo>
                <a:cubicBezTo>
                  <a:pt x="3061200" y="6713186"/>
                  <a:pt x="3058717" y="6710705"/>
                  <a:pt x="3056238" y="6708222"/>
                </a:cubicBezTo>
                <a:close/>
                <a:moveTo>
                  <a:pt x="1103918" y="5727794"/>
                </a:moveTo>
                <a:cubicBezTo>
                  <a:pt x="1103918" y="5730274"/>
                  <a:pt x="1103918" y="5732758"/>
                  <a:pt x="1103918" y="5735238"/>
                </a:cubicBezTo>
                <a:cubicBezTo>
                  <a:pt x="1106396" y="5735238"/>
                  <a:pt x="1108879" y="5735238"/>
                  <a:pt x="1108879" y="5735238"/>
                </a:cubicBezTo>
                <a:cubicBezTo>
                  <a:pt x="1108879" y="5735238"/>
                  <a:pt x="1108879" y="5732758"/>
                  <a:pt x="1108879" y="5730274"/>
                </a:cubicBezTo>
                <a:cubicBezTo>
                  <a:pt x="1106396" y="5730274"/>
                  <a:pt x="1106396" y="5727794"/>
                  <a:pt x="1103918" y="5727794"/>
                </a:cubicBezTo>
                <a:close/>
                <a:moveTo>
                  <a:pt x="1123764" y="5588795"/>
                </a:moveTo>
                <a:cubicBezTo>
                  <a:pt x="1123764" y="5591278"/>
                  <a:pt x="1123764" y="5591278"/>
                  <a:pt x="1123764" y="5591278"/>
                </a:cubicBezTo>
                <a:cubicBezTo>
                  <a:pt x="1123764" y="5591278"/>
                  <a:pt x="1126244" y="5591278"/>
                  <a:pt x="1126244" y="5591278"/>
                </a:cubicBezTo>
                <a:cubicBezTo>
                  <a:pt x="1123764" y="5591278"/>
                  <a:pt x="1123764" y="5588795"/>
                  <a:pt x="1123764" y="5588795"/>
                </a:cubicBezTo>
                <a:close/>
                <a:moveTo>
                  <a:pt x="1002208" y="5541636"/>
                </a:moveTo>
                <a:cubicBezTo>
                  <a:pt x="1002208" y="5544119"/>
                  <a:pt x="1002208" y="5546600"/>
                  <a:pt x="1004687" y="5546600"/>
                </a:cubicBezTo>
                <a:cubicBezTo>
                  <a:pt x="1004687" y="5546600"/>
                  <a:pt x="1007171" y="5544119"/>
                  <a:pt x="1007171" y="5544119"/>
                </a:cubicBezTo>
                <a:cubicBezTo>
                  <a:pt x="1007171" y="5541636"/>
                  <a:pt x="1004687" y="5541636"/>
                  <a:pt x="1002208" y="5541636"/>
                </a:cubicBezTo>
                <a:close/>
                <a:moveTo>
                  <a:pt x="838480" y="5380299"/>
                </a:moveTo>
                <a:cubicBezTo>
                  <a:pt x="838480" y="5400156"/>
                  <a:pt x="838480" y="5400156"/>
                  <a:pt x="858325" y="5437389"/>
                </a:cubicBezTo>
                <a:cubicBezTo>
                  <a:pt x="858325" y="5415048"/>
                  <a:pt x="853364" y="5397675"/>
                  <a:pt x="838480" y="5380299"/>
                </a:cubicBezTo>
                <a:close/>
                <a:moveTo>
                  <a:pt x="756617" y="5040252"/>
                </a:moveTo>
                <a:cubicBezTo>
                  <a:pt x="749176" y="5040252"/>
                  <a:pt x="744215" y="5040252"/>
                  <a:pt x="744215" y="5050180"/>
                </a:cubicBezTo>
                <a:cubicBezTo>
                  <a:pt x="749176" y="5060109"/>
                  <a:pt x="754137" y="5070037"/>
                  <a:pt x="764061" y="5087410"/>
                </a:cubicBezTo>
                <a:cubicBezTo>
                  <a:pt x="761578" y="5067556"/>
                  <a:pt x="759098" y="5055145"/>
                  <a:pt x="756617" y="5040252"/>
                </a:cubicBezTo>
                <a:close/>
                <a:moveTo>
                  <a:pt x="771501" y="4973236"/>
                </a:moveTo>
                <a:cubicBezTo>
                  <a:pt x="771501" y="4975715"/>
                  <a:pt x="769022" y="4975715"/>
                  <a:pt x="769022" y="4975715"/>
                </a:cubicBezTo>
                <a:cubicBezTo>
                  <a:pt x="771501" y="4980681"/>
                  <a:pt x="771501" y="4985647"/>
                  <a:pt x="773983" y="4990612"/>
                </a:cubicBezTo>
                <a:cubicBezTo>
                  <a:pt x="776462" y="4988128"/>
                  <a:pt x="776462" y="4983164"/>
                  <a:pt x="776462" y="4980681"/>
                </a:cubicBezTo>
                <a:cubicBezTo>
                  <a:pt x="776462" y="4980681"/>
                  <a:pt x="776462" y="4978200"/>
                  <a:pt x="776462" y="4978200"/>
                </a:cubicBezTo>
                <a:cubicBezTo>
                  <a:pt x="776462" y="4975715"/>
                  <a:pt x="773983" y="4973236"/>
                  <a:pt x="771501" y="4973236"/>
                </a:cubicBezTo>
                <a:close/>
                <a:moveTo>
                  <a:pt x="721886" y="4955862"/>
                </a:moveTo>
                <a:cubicBezTo>
                  <a:pt x="726847" y="4985647"/>
                  <a:pt x="726847" y="4985647"/>
                  <a:pt x="734291" y="4995574"/>
                </a:cubicBezTo>
                <a:cubicBezTo>
                  <a:pt x="731809" y="4965790"/>
                  <a:pt x="731809" y="4965790"/>
                  <a:pt x="721886" y="4955862"/>
                </a:cubicBezTo>
                <a:close/>
                <a:moveTo>
                  <a:pt x="689638" y="4801970"/>
                </a:moveTo>
                <a:cubicBezTo>
                  <a:pt x="689638" y="4806934"/>
                  <a:pt x="687155" y="4811898"/>
                  <a:pt x="689638" y="4814382"/>
                </a:cubicBezTo>
                <a:cubicBezTo>
                  <a:pt x="692118" y="4816863"/>
                  <a:pt x="697081" y="4816863"/>
                  <a:pt x="702040" y="4816863"/>
                </a:cubicBezTo>
                <a:cubicBezTo>
                  <a:pt x="702040" y="4811898"/>
                  <a:pt x="702040" y="4806934"/>
                  <a:pt x="699561" y="4804453"/>
                </a:cubicBezTo>
                <a:cubicBezTo>
                  <a:pt x="697081" y="4801970"/>
                  <a:pt x="692118" y="4801970"/>
                  <a:pt x="689638" y="4801970"/>
                </a:cubicBezTo>
                <a:close/>
                <a:moveTo>
                  <a:pt x="697081" y="4764739"/>
                </a:moveTo>
                <a:cubicBezTo>
                  <a:pt x="697081" y="4764739"/>
                  <a:pt x="692118" y="4767224"/>
                  <a:pt x="692118" y="4767224"/>
                </a:cubicBezTo>
                <a:cubicBezTo>
                  <a:pt x="692118" y="4769703"/>
                  <a:pt x="694599" y="4772184"/>
                  <a:pt x="694599" y="4772184"/>
                </a:cubicBezTo>
                <a:cubicBezTo>
                  <a:pt x="694599" y="4774668"/>
                  <a:pt x="697081" y="4772184"/>
                  <a:pt x="702040" y="4772184"/>
                </a:cubicBezTo>
                <a:cubicBezTo>
                  <a:pt x="699561" y="4769703"/>
                  <a:pt x="699561" y="4767224"/>
                  <a:pt x="697081" y="4764739"/>
                </a:cubicBezTo>
                <a:close/>
                <a:moveTo>
                  <a:pt x="1046859" y="4667937"/>
                </a:moveTo>
                <a:cubicBezTo>
                  <a:pt x="1054303" y="4705168"/>
                  <a:pt x="1054303" y="4705168"/>
                  <a:pt x="1071667" y="4720061"/>
                </a:cubicBezTo>
                <a:cubicBezTo>
                  <a:pt x="1064226" y="4702685"/>
                  <a:pt x="1056785" y="4687794"/>
                  <a:pt x="1046859" y="4667937"/>
                </a:cubicBezTo>
                <a:close/>
                <a:moveTo>
                  <a:pt x="850885" y="4658009"/>
                </a:moveTo>
                <a:cubicBezTo>
                  <a:pt x="853364" y="4662973"/>
                  <a:pt x="855846" y="4665454"/>
                  <a:pt x="858325" y="4670418"/>
                </a:cubicBezTo>
                <a:cubicBezTo>
                  <a:pt x="860807" y="4675383"/>
                  <a:pt x="865770" y="4677867"/>
                  <a:pt x="870731" y="4680347"/>
                </a:cubicBezTo>
                <a:cubicBezTo>
                  <a:pt x="873210" y="4680347"/>
                  <a:pt x="873210" y="4677867"/>
                  <a:pt x="875692" y="4677867"/>
                </a:cubicBezTo>
                <a:cubicBezTo>
                  <a:pt x="873210" y="4677867"/>
                  <a:pt x="873210" y="4675383"/>
                  <a:pt x="870731" y="4675383"/>
                </a:cubicBezTo>
                <a:cubicBezTo>
                  <a:pt x="868249" y="4675383"/>
                  <a:pt x="868249" y="4672903"/>
                  <a:pt x="868249" y="4672903"/>
                </a:cubicBezTo>
                <a:cubicBezTo>
                  <a:pt x="865770" y="4662973"/>
                  <a:pt x="858325" y="4658009"/>
                  <a:pt x="850885" y="4658009"/>
                </a:cubicBezTo>
                <a:close/>
                <a:moveTo>
                  <a:pt x="878171" y="4645597"/>
                </a:moveTo>
                <a:cubicBezTo>
                  <a:pt x="878171" y="4655526"/>
                  <a:pt x="878171" y="4665454"/>
                  <a:pt x="880653" y="4672903"/>
                </a:cubicBezTo>
                <a:cubicBezTo>
                  <a:pt x="883133" y="4670418"/>
                  <a:pt x="885616" y="4670418"/>
                  <a:pt x="888095" y="4667937"/>
                </a:cubicBezTo>
                <a:cubicBezTo>
                  <a:pt x="885616" y="4660490"/>
                  <a:pt x="885616" y="4653046"/>
                  <a:pt x="883133" y="4645597"/>
                </a:cubicBezTo>
                <a:cubicBezTo>
                  <a:pt x="883133" y="4645597"/>
                  <a:pt x="883133" y="4645597"/>
                  <a:pt x="878171" y="4645597"/>
                </a:cubicBezTo>
                <a:close/>
                <a:moveTo>
                  <a:pt x="999726" y="4583545"/>
                </a:moveTo>
                <a:cubicBezTo>
                  <a:pt x="999726" y="4586026"/>
                  <a:pt x="997247" y="4586026"/>
                  <a:pt x="997247" y="4586026"/>
                </a:cubicBezTo>
                <a:cubicBezTo>
                  <a:pt x="1004687" y="4598438"/>
                  <a:pt x="1012132" y="4610847"/>
                  <a:pt x="1019572" y="4623259"/>
                </a:cubicBezTo>
                <a:cubicBezTo>
                  <a:pt x="1022051" y="4623259"/>
                  <a:pt x="1024533" y="4620776"/>
                  <a:pt x="1024533" y="4620776"/>
                </a:cubicBezTo>
                <a:cubicBezTo>
                  <a:pt x="1017093" y="4608366"/>
                  <a:pt x="1007171" y="4595958"/>
                  <a:pt x="999726" y="4583545"/>
                </a:cubicBezTo>
                <a:close/>
                <a:moveTo>
                  <a:pt x="773983" y="4536387"/>
                </a:moveTo>
                <a:lnTo>
                  <a:pt x="779347" y="4537130"/>
                </a:lnTo>
                <a:lnTo>
                  <a:pt x="781424" y="4541351"/>
                </a:lnTo>
                <a:lnTo>
                  <a:pt x="777975" y="4541978"/>
                </a:lnTo>
                <a:close/>
                <a:moveTo>
                  <a:pt x="960034" y="4526458"/>
                </a:moveTo>
                <a:cubicBezTo>
                  <a:pt x="960034" y="4528938"/>
                  <a:pt x="962516" y="4531423"/>
                  <a:pt x="962516" y="4533903"/>
                </a:cubicBezTo>
                <a:lnTo>
                  <a:pt x="962516" y="4531423"/>
                </a:lnTo>
                <a:cubicBezTo>
                  <a:pt x="967479" y="4538867"/>
                  <a:pt x="972440" y="4546315"/>
                  <a:pt x="979880" y="4551280"/>
                </a:cubicBezTo>
                <a:cubicBezTo>
                  <a:pt x="982362" y="4546315"/>
                  <a:pt x="984841" y="4541351"/>
                  <a:pt x="984841" y="4538867"/>
                </a:cubicBezTo>
                <a:cubicBezTo>
                  <a:pt x="979880" y="4536387"/>
                  <a:pt x="974919" y="4533903"/>
                  <a:pt x="969958" y="4533903"/>
                </a:cubicBezTo>
                <a:cubicBezTo>
                  <a:pt x="967479" y="4531423"/>
                  <a:pt x="964996" y="4531423"/>
                  <a:pt x="962516" y="4528938"/>
                </a:cubicBezTo>
                <a:cubicBezTo>
                  <a:pt x="962516" y="4528938"/>
                  <a:pt x="962516" y="4526458"/>
                  <a:pt x="960034" y="4526458"/>
                </a:cubicBezTo>
                <a:close/>
                <a:moveTo>
                  <a:pt x="969958" y="4516530"/>
                </a:moveTo>
                <a:cubicBezTo>
                  <a:pt x="969958" y="4516530"/>
                  <a:pt x="969958" y="4519013"/>
                  <a:pt x="969958" y="4519013"/>
                </a:cubicBezTo>
                <a:cubicBezTo>
                  <a:pt x="969958" y="4519013"/>
                  <a:pt x="972440" y="4521494"/>
                  <a:pt x="972440" y="4521494"/>
                </a:cubicBezTo>
                <a:cubicBezTo>
                  <a:pt x="972440" y="4519013"/>
                  <a:pt x="972440" y="4519013"/>
                  <a:pt x="969958" y="4516530"/>
                </a:cubicBezTo>
                <a:close/>
                <a:moveTo>
                  <a:pt x="905462" y="4494192"/>
                </a:moveTo>
                <a:cubicBezTo>
                  <a:pt x="907941" y="4499153"/>
                  <a:pt x="907941" y="4501637"/>
                  <a:pt x="907941" y="4506601"/>
                </a:cubicBezTo>
                <a:cubicBezTo>
                  <a:pt x="907941" y="4511566"/>
                  <a:pt x="912902" y="4514049"/>
                  <a:pt x="915384" y="4516530"/>
                </a:cubicBezTo>
                <a:cubicBezTo>
                  <a:pt x="910420" y="4516530"/>
                  <a:pt x="905462" y="4519013"/>
                  <a:pt x="898017" y="4521494"/>
                </a:cubicBezTo>
                <a:cubicBezTo>
                  <a:pt x="898017" y="4533903"/>
                  <a:pt x="900499" y="4543831"/>
                  <a:pt x="907941" y="4556244"/>
                </a:cubicBezTo>
                <a:cubicBezTo>
                  <a:pt x="910420" y="4551280"/>
                  <a:pt x="910420" y="4548795"/>
                  <a:pt x="912902" y="4546315"/>
                </a:cubicBezTo>
                <a:cubicBezTo>
                  <a:pt x="912902" y="4548795"/>
                  <a:pt x="915384" y="4548795"/>
                  <a:pt x="915384" y="4548795"/>
                </a:cubicBezTo>
                <a:cubicBezTo>
                  <a:pt x="932748" y="4593475"/>
                  <a:pt x="952594" y="4638152"/>
                  <a:pt x="969958" y="4682830"/>
                </a:cubicBezTo>
                <a:cubicBezTo>
                  <a:pt x="969958" y="4685311"/>
                  <a:pt x="972440" y="4685311"/>
                  <a:pt x="972440" y="4687794"/>
                </a:cubicBezTo>
                <a:cubicBezTo>
                  <a:pt x="977401" y="4687794"/>
                  <a:pt x="982362" y="4692760"/>
                  <a:pt x="987325" y="4695240"/>
                </a:cubicBezTo>
                <a:cubicBezTo>
                  <a:pt x="994765" y="4700204"/>
                  <a:pt x="1004687" y="4705168"/>
                  <a:pt x="1012132" y="4705168"/>
                </a:cubicBezTo>
                <a:cubicBezTo>
                  <a:pt x="1009650" y="4700204"/>
                  <a:pt x="1007171" y="4695240"/>
                  <a:pt x="1004687" y="4690275"/>
                </a:cubicBezTo>
                <a:cubicBezTo>
                  <a:pt x="1002208" y="4687794"/>
                  <a:pt x="999726" y="4682830"/>
                  <a:pt x="997247" y="4677867"/>
                </a:cubicBezTo>
                <a:cubicBezTo>
                  <a:pt x="997247" y="4675383"/>
                  <a:pt x="994765" y="4675383"/>
                  <a:pt x="994765" y="4672903"/>
                </a:cubicBezTo>
                <a:cubicBezTo>
                  <a:pt x="992286" y="4667937"/>
                  <a:pt x="989804" y="4662973"/>
                  <a:pt x="987325" y="4658009"/>
                </a:cubicBezTo>
                <a:cubicBezTo>
                  <a:pt x="987325" y="4655526"/>
                  <a:pt x="984841" y="4655526"/>
                  <a:pt x="984841" y="4653046"/>
                </a:cubicBezTo>
                <a:cubicBezTo>
                  <a:pt x="982362" y="4648080"/>
                  <a:pt x="979880" y="4643116"/>
                  <a:pt x="977401" y="4638152"/>
                </a:cubicBezTo>
                <a:cubicBezTo>
                  <a:pt x="950112" y="4603402"/>
                  <a:pt x="942670" y="4561208"/>
                  <a:pt x="922824" y="4523974"/>
                </a:cubicBezTo>
                <a:cubicBezTo>
                  <a:pt x="920345" y="4521494"/>
                  <a:pt x="920345" y="4519013"/>
                  <a:pt x="917863" y="4516530"/>
                </a:cubicBezTo>
                <a:cubicBezTo>
                  <a:pt x="912902" y="4509081"/>
                  <a:pt x="910420" y="4501637"/>
                  <a:pt x="905462" y="4494192"/>
                </a:cubicBezTo>
                <a:close/>
                <a:moveTo>
                  <a:pt x="885616" y="4481780"/>
                </a:moveTo>
                <a:cubicBezTo>
                  <a:pt x="880653" y="4483022"/>
                  <a:pt x="878173" y="4483643"/>
                  <a:pt x="878793" y="4485814"/>
                </a:cubicBezTo>
                <a:cubicBezTo>
                  <a:pt x="879413" y="4487986"/>
                  <a:pt x="883135" y="4491709"/>
                  <a:pt x="890577" y="4499153"/>
                </a:cubicBezTo>
                <a:cubicBezTo>
                  <a:pt x="888095" y="4491709"/>
                  <a:pt x="885616" y="4486744"/>
                  <a:pt x="885616" y="4481780"/>
                </a:cubicBezTo>
                <a:close/>
                <a:moveTo>
                  <a:pt x="1074149" y="4461923"/>
                </a:moveTo>
                <a:cubicBezTo>
                  <a:pt x="1074149" y="4464406"/>
                  <a:pt x="1071667" y="4466887"/>
                  <a:pt x="1071667" y="4469371"/>
                </a:cubicBezTo>
                <a:cubicBezTo>
                  <a:pt x="1074149" y="4471852"/>
                  <a:pt x="1076628" y="4476816"/>
                  <a:pt x="1079110" y="4479296"/>
                </a:cubicBezTo>
                <a:cubicBezTo>
                  <a:pt x="1079110" y="4479296"/>
                  <a:pt x="1081589" y="4479296"/>
                  <a:pt x="1081589" y="4479296"/>
                </a:cubicBezTo>
                <a:cubicBezTo>
                  <a:pt x="1079110" y="4474332"/>
                  <a:pt x="1076628" y="4466887"/>
                  <a:pt x="1074149" y="4461923"/>
                </a:cubicBezTo>
                <a:close/>
                <a:moveTo>
                  <a:pt x="1061743" y="4432138"/>
                </a:moveTo>
                <a:cubicBezTo>
                  <a:pt x="1059264" y="4444549"/>
                  <a:pt x="1064226" y="4449510"/>
                  <a:pt x="1071667" y="4456959"/>
                </a:cubicBezTo>
                <a:cubicBezTo>
                  <a:pt x="1071667" y="4456959"/>
                  <a:pt x="1071667" y="4456959"/>
                  <a:pt x="1071667" y="4454478"/>
                </a:cubicBezTo>
                <a:cubicBezTo>
                  <a:pt x="1076628" y="4449510"/>
                  <a:pt x="1079110" y="4454478"/>
                  <a:pt x="1081589" y="4456959"/>
                </a:cubicBezTo>
                <a:cubicBezTo>
                  <a:pt x="1081589" y="4456959"/>
                  <a:pt x="1084072" y="4459442"/>
                  <a:pt x="1084072" y="4459442"/>
                </a:cubicBezTo>
                <a:cubicBezTo>
                  <a:pt x="1079110" y="4449510"/>
                  <a:pt x="1074149" y="4439585"/>
                  <a:pt x="1061743" y="4432138"/>
                </a:cubicBezTo>
                <a:close/>
                <a:moveTo>
                  <a:pt x="885616" y="4330371"/>
                </a:moveTo>
                <a:cubicBezTo>
                  <a:pt x="890577" y="4342783"/>
                  <a:pt x="893056" y="4355193"/>
                  <a:pt x="895538" y="4367601"/>
                </a:cubicBezTo>
                <a:cubicBezTo>
                  <a:pt x="895538" y="4370086"/>
                  <a:pt x="900499" y="4372569"/>
                  <a:pt x="907941" y="4372569"/>
                </a:cubicBezTo>
                <a:cubicBezTo>
                  <a:pt x="902978" y="4362637"/>
                  <a:pt x="900499" y="4350229"/>
                  <a:pt x="895538" y="4340300"/>
                </a:cubicBezTo>
                <a:cubicBezTo>
                  <a:pt x="893056" y="4335336"/>
                  <a:pt x="888095" y="4332855"/>
                  <a:pt x="885616" y="4330371"/>
                </a:cubicBezTo>
                <a:close/>
                <a:moveTo>
                  <a:pt x="783907" y="4317962"/>
                </a:moveTo>
                <a:cubicBezTo>
                  <a:pt x="781424" y="4327891"/>
                  <a:pt x="786386" y="4335336"/>
                  <a:pt x="791347" y="4345264"/>
                </a:cubicBezTo>
                <a:cubicBezTo>
                  <a:pt x="791347" y="4345264"/>
                  <a:pt x="791347" y="4342783"/>
                  <a:pt x="791347" y="4342783"/>
                </a:cubicBezTo>
                <a:cubicBezTo>
                  <a:pt x="791347" y="4337817"/>
                  <a:pt x="791347" y="4330371"/>
                  <a:pt x="788868" y="4325407"/>
                </a:cubicBezTo>
                <a:cubicBezTo>
                  <a:pt x="786386" y="4322926"/>
                  <a:pt x="786386" y="4320443"/>
                  <a:pt x="783907" y="4317962"/>
                </a:cubicBezTo>
                <a:close/>
                <a:moveTo>
                  <a:pt x="1017093" y="4315479"/>
                </a:moveTo>
                <a:cubicBezTo>
                  <a:pt x="1017093" y="4315479"/>
                  <a:pt x="1017093" y="4317962"/>
                  <a:pt x="1017093" y="4317962"/>
                </a:cubicBezTo>
                <a:cubicBezTo>
                  <a:pt x="1022051" y="4322926"/>
                  <a:pt x="1024533" y="4327891"/>
                  <a:pt x="1029496" y="4332855"/>
                </a:cubicBezTo>
                <a:cubicBezTo>
                  <a:pt x="1029496" y="4330371"/>
                  <a:pt x="1027016" y="4325407"/>
                  <a:pt x="1027016" y="4320443"/>
                </a:cubicBezTo>
                <a:cubicBezTo>
                  <a:pt x="1027016" y="4317962"/>
                  <a:pt x="1024533" y="4317962"/>
                  <a:pt x="1017093" y="4315479"/>
                </a:cubicBezTo>
                <a:close/>
                <a:moveTo>
                  <a:pt x="796309" y="4205956"/>
                </a:moveTo>
                <a:cubicBezTo>
                  <a:pt x="794449" y="4205646"/>
                  <a:pt x="792588" y="4206266"/>
                  <a:pt x="791347" y="4208748"/>
                </a:cubicBezTo>
                <a:cubicBezTo>
                  <a:pt x="796308" y="4211232"/>
                  <a:pt x="798788" y="4208748"/>
                  <a:pt x="801270" y="4208748"/>
                </a:cubicBezTo>
                <a:cubicBezTo>
                  <a:pt x="800029" y="4207508"/>
                  <a:pt x="798169" y="4206267"/>
                  <a:pt x="796309" y="4205956"/>
                </a:cubicBezTo>
                <a:close/>
                <a:moveTo>
                  <a:pt x="905462" y="4149177"/>
                </a:moveTo>
                <a:cubicBezTo>
                  <a:pt x="907941" y="4149177"/>
                  <a:pt x="907941" y="4149177"/>
                  <a:pt x="910420" y="4149177"/>
                </a:cubicBezTo>
                <a:lnTo>
                  <a:pt x="907902" y="4150438"/>
                </a:lnTo>
                <a:lnTo>
                  <a:pt x="905462" y="4149840"/>
                </a:lnTo>
                <a:close/>
                <a:moveTo>
                  <a:pt x="719407" y="3960538"/>
                </a:moveTo>
                <a:cubicBezTo>
                  <a:pt x="721886" y="3963022"/>
                  <a:pt x="721886" y="3963022"/>
                  <a:pt x="721886" y="3963022"/>
                </a:cubicBezTo>
                <a:cubicBezTo>
                  <a:pt x="721886" y="3963022"/>
                  <a:pt x="724368" y="3963022"/>
                  <a:pt x="724368" y="3963022"/>
                </a:cubicBezTo>
                <a:cubicBezTo>
                  <a:pt x="724368" y="3963022"/>
                  <a:pt x="724368" y="3960538"/>
                  <a:pt x="724368" y="3960538"/>
                </a:cubicBezTo>
                <a:cubicBezTo>
                  <a:pt x="721886" y="3960538"/>
                  <a:pt x="721886" y="3960538"/>
                  <a:pt x="719407" y="3960538"/>
                </a:cubicBezTo>
                <a:close/>
                <a:moveTo>
                  <a:pt x="578006" y="3230802"/>
                </a:moveTo>
                <a:cubicBezTo>
                  <a:pt x="578006" y="3233285"/>
                  <a:pt x="575524" y="3233285"/>
                  <a:pt x="575524" y="3233285"/>
                </a:cubicBezTo>
                <a:cubicBezTo>
                  <a:pt x="575524" y="3235766"/>
                  <a:pt x="575524" y="3238249"/>
                  <a:pt x="578006" y="3238249"/>
                </a:cubicBezTo>
                <a:cubicBezTo>
                  <a:pt x="580485" y="3238249"/>
                  <a:pt x="582967" y="3238249"/>
                  <a:pt x="582967" y="3243214"/>
                </a:cubicBezTo>
                <a:cubicBezTo>
                  <a:pt x="580485" y="3250659"/>
                  <a:pt x="585450" y="3253142"/>
                  <a:pt x="587929" y="3258106"/>
                </a:cubicBezTo>
                <a:cubicBezTo>
                  <a:pt x="590409" y="3260587"/>
                  <a:pt x="595370" y="3260587"/>
                  <a:pt x="595370" y="3255623"/>
                </a:cubicBezTo>
                <a:cubicBezTo>
                  <a:pt x="597852" y="3255623"/>
                  <a:pt x="597852" y="3253142"/>
                  <a:pt x="597852" y="3250659"/>
                </a:cubicBezTo>
                <a:cubicBezTo>
                  <a:pt x="595370" y="3248178"/>
                  <a:pt x="595370" y="3245695"/>
                  <a:pt x="592891" y="3243214"/>
                </a:cubicBezTo>
                <a:cubicBezTo>
                  <a:pt x="590409" y="3240734"/>
                  <a:pt x="587929" y="3235766"/>
                  <a:pt x="585450" y="3233285"/>
                </a:cubicBezTo>
                <a:cubicBezTo>
                  <a:pt x="585450" y="3233285"/>
                  <a:pt x="582967" y="3230802"/>
                  <a:pt x="582967" y="3230802"/>
                </a:cubicBezTo>
                <a:cubicBezTo>
                  <a:pt x="580485" y="3228321"/>
                  <a:pt x="580485" y="3228321"/>
                  <a:pt x="578006" y="3230802"/>
                </a:cubicBezTo>
                <a:close/>
                <a:moveTo>
                  <a:pt x="756617" y="2409229"/>
                </a:moveTo>
                <a:cubicBezTo>
                  <a:pt x="756617" y="2409229"/>
                  <a:pt x="759099" y="2409229"/>
                  <a:pt x="759099" y="2409229"/>
                </a:cubicBezTo>
                <a:lnTo>
                  <a:pt x="757056" y="2415360"/>
                </a:lnTo>
                <a:lnTo>
                  <a:pt x="756617" y="2415433"/>
                </a:lnTo>
                <a:close/>
                <a:moveTo>
                  <a:pt x="622659" y="2396817"/>
                </a:moveTo>
                <a:cubicBezTo>
                  <a:pt x="622659" y="2396817"/>
                  <a:pt x="622659" y="2399298"/>
                  <a:pt x="625139" y="2399298"/>
                </a:cubicBezTo>
                <a:cubicBezTo>
                  <a:pt x="627622" y="2401783"/>
                  <a:pt x="627622" y="2404266"/>
                  <a:pt x="630101" y="2406746"/>
                </a:cubicBezTo>
                <a:cubicBezTo>
                  <a:pt x="627622" y="2406746"/>
                  <a:pt x="625139" y="2404266"/>
                  <a:pt x="625139" y="2404266"/>
                </a:cubicBezTo>
                <a:cubicBezTo>
                  <a:pt x="622659" y="2401783"/>
                  <a:pt x="622659" y="2399298"/>
                  <a:pt x="622659" y="2396817"/>
                </a:cubicBezTo>
                <a:close/>
                <a:moveTo>
                  <a:pt x="739239" y="2390826"/>
                </a:moveTo>
                <a:lnTo>
                  <a:pt x="744834" y="2392475"/>
                </a:lnTo>
                <a:cubicBezTo>
                  <a:pt x="746074" y="2393716"/>
                  <a:pt x="745454" y="2395576"/>
                  <a:pt x="744215" y="2399298"/>
                </a:cubicBezTo>
                <a:lnTo>
                  <a:pt x="741421" y="2396503"/>
                </a:lnTo>
                <a:close/>
                <a:moveTo>
                  <a:pt x="773984" y="2349658"/>
                </a:moveTo>
                <a:cubicBezTo>
                  <a:pt x="773984" y="2349658"/>
                  <a:pt x="771502" y="2352139"/>
                  <a:pt x="771502" y="2352139"/>
                </a:cubicBezTo>
                <a:cubicBezTo>
                  <a:pt x="771502" y="2354623"/>
                  <a:pt x="773984" y="2357103"/>
                  <a:pt x="773984" y="2357103"/>
                </a:cubicBezTo>
                <a:cubicBezTo>
                  <a:pt x="776463" y="2357103"/>
                  <a:pt x="776463" y="2354623"/>
                  <a:pt x="778945" y="2354623"/>
                </a:cubicBezTo>
                <a:cubicBezTo>
                  <a:pt x="778945" y="2354623"/>
                  <a:pt x="776463" y="2352139"/>
                  <a:pt x="773984" y="2349658"/>
                </a:cubicBezTo>
                <a:close/>
                <a:moveTo>
                  <a:pt x="816155" y="2329801"/>
                </a:moveTo>
                <a:cubicBezTo>
                  <a:pt x="813673" y="2332282"/>
                  <a:pt x="811194" y="2334766"/>
                  <a:pt x="811194" y="2337246"/>
                </a:cubicBezTo>
                <a:cubicBezTo>
                  <a:pt x="811194" y="2337246"/>
                  <a:pt x="816155" y="2339731"/>
                  <a:pt x="816155" y="2337246"/>
                </a:cubicBezTo>
                <a:cubicBezTo>
                  <a:pt x="818634" y="2337246"/>
                  <a:pt x="821116" y="2334766"/>
                  <a:pt x="823595" y="2332282"/>
                </a:cubicBezTo>
                <a:cubicBezTo>
                  <a:pt x="821116" y="2332282"/>
                  <a:pt x="818634" y="2329801"/>
                  <a:pt x="816155" y="2329801"/>
                </a:cubicBezTo>
                <a:close/>
                <a:moveTo>
                  <a:pt x="831039" y="2327319"/>
                </a:moveTo>
                <a:cubicBezTo>
                  <a:pt x="836001" y="2332282"/>
                  <a:pt x="838480" y="2337246"/>
                  <a:pt x="840962" y="2342212"/>
                </a:cubicBezTo>
                <a:lnTo>
                  <a:pt x="839423" y="2347605"/>
                </a:lnTo>
                <a:lnTo>
                  <a:pt x="833519" y="2339731"/>
                </a:lnTo>
                <a:lnTo>
                  <a:pt x="831039" y="2331049"/>
                </a:lnTo>
                <a:close/>
                <a:moveTo>
                  <a:pt x="707002" y="2327319"/>
                </a:moveTo>
                <a:cubicBezTo>
                  <a:pt x="709485" y="2329801"/>
                  <a:pt x="709485" y="2334766"/>
                  <a:pt x="711964" y="2337246"/>
                </a:cubicBezTo>
                <a:cubicBezTo>
                  <a:pt x="711964" y="2337246"/>
                  <a:pt x="709485" y="2337246"/>
                  <a:pt x="709485" y="2339731"/>
                </a:cubicBezTo>
                <a:cubicBezTo>
                  <a:pt x="704522" y="2337246"/>
                  <a:pt x="702040" y="2332282"/>
                  <a:pt x="702040" y="2329801"/>
                </a:cubicBezTo>
                <a:cubicBezTo>
                  <a:pt x="704522" y="2329801"/>
                  <a:pt x="704522" y="2329801"/>
                  <a:pt x="707002" y="2327319"/>
                </a:cubicBezTo>
                <a:close/>
                <a:moveTo>
                  <a:pt x="697082" y="2317389"/>
                </a:moveTo>
                <a:cubicBezTo>
                  <a:pt x="699561" y="2319874"/>
                  <a:pt x="702040" y="2319874"/>
                  <a:pt x="702040" y="2322357"/>
                </a:cubicBezTo>
                <a:cubicBezTo>
                  <a:pt x="702040" y="2322357"/>
                  <a:pt x="699561" y="2324838"/>
                  <a:pt x="699561" y="2324838"/>
                </a:cubicBezTo>
                <a:cubicBezTo>
                  <a:pt x="697082" y="2322357"/>
                  <a:pt x="697082" y="2319874"/>
                  <a:pt x="694600" y="2319874"/>
                </a:cubicBezTo>
                <a:cubicBezTo>
                  <a:pt x="694600" y="2319874"/>
                  <a:pt x="697082" y="2317389"/>
                  <a:pt x="697082" y="2317389"/>
                </a:cubicBezTo>
                <a:close/>
                <a:moveTo>
                  <a:pt x="813673" y="2300016"/>
                </a:moveTo>
                <a:cubicBezTo>
                  <a:pt x="816155" y="2300016"/>
                  <a:pt x="818634" y="2300016"/>
                  <a:pt x="818634" y="2300016"/>
                </a:cubicBezTo>
                <a:cubicBezTo>
                  <a:pt x="821116" y="2302497"/>
                  <a:pt x="821116" y="2304981"/>
                  <a:pt x="823595" y="2307461"/>
                </a:cubicBezTo>
                <a:cubicBezTo>
                  <a:pt x="823595" y="2307461"/>
                  <a:pt x="821116" y="2307461"/>
                  <a:pt x="821116" y="2307461"/>
                </a:cubicBezTo>
                <a:cubicBezTo>
                  <a:pt x="818634" y="2307461"/>
                  <a:pt x="816155" y="2304981"/>
                  <a:pt x="813673" y="2300016"/>
                </a:cubicBezTo>
                <a:close/>
                <a:moveTo>
                  <a:pt x="719407" y="1704312"/>
                </a:moveTo>
                <a:cubicBezTo>
                  <a:pt x="721886" y="1709275"/>
                  <a:pt x="724368" y="1716724"/>
                  <a:pt x="726847" y="1721688"/>
                </a:cubicBezTo>
                <a:cubicBezTo>
                  <a:pt x="729331" y="1724169"/>
                  <a:pt x="729331" y="1726652"/>
                  <a:pt x="731810" y="1729132"/>
                </a:cubicBezTo>
                <a:cubicBezTo>
                  <a:pt x="734292" y="1729132"/>
                  <a:pt x="734292" y="1729132"/>
                  <a:pt x="736771" y="1729132"/>
                </a:cubicBezTo>
                <a:cubicBezTo>
                  <a:pt x="736771" y="1726652"/>
                  <a:pt x="734292" y="1724169"/>
                  <a:pt x="734292" y="1721688"/>
                </a:cubicBezTo>
                <a:cubicBezTo>
                  <a:pt x="731810" y="1714243"/>
                  <a:pt x="731810" y="1706795"/>
                  <a:pt x="719407" y="1704312"/>
                </a:cubicBezTo>
                <a:close/>
                <a:moveTo>
                  <a:pt x="707002" y="1704312"/>
                </a:moveTo>
                <a:lnTo>
                  <a:pt x="707003" y="1704313"/>
                </a:lnTo>
                <a:lnTo>
                  <a:pt x="706999" y="1704314"/>
                </a:lnTo>
                <a:close/>
                <a:moveTo>
                  <a:pt x="707002" y="1701831"/>
                </a:moveTo>
                <a:cubicBezTo>
                  <a:pt x="709485" y="1704312"/>
                  <a:pt x="709485" y="1704312"/>
                  <a:pt x="711964" y="1701831"/>
                </a:cubicBezTo>
                <a:lnTo>
                  <a:pt x="710103" y="1703693"/>
                </a:lnTo>
                <a:lnTo>
                  <a:pt x="709072" y="1703900"/>
                </a:lnTo>
                <a:close/>
                <a:moveTo>
                  <a:pt x="664830" y="1595101"/>
                </a:moveTo>
                <a:cubicBezTo>
                  <a:pt x="664830" y="1597581"/>
                  <a:pt x="667314" y="1600065"/>
                  <a:pt x="667314" y="1605029"/>
                </a:cubicBezTo>
                <a:cubicBezTo>
                  <a:pt x="667314" y="1602548"/>
                  <a:pt x="669793" y="1602548"/>
                  <a:pt x="669793" y="1602548"/>
                </a:cubicBezTo>
                <a:cubicBezTo>
                  <a:pt x="669793" y="1600065"/>
                  <a:pt x="667314" y="1597581"/>
                  <a:pt x="664830" y="1595101"/>
                </a:cubicBezTo>
                <a:close/>
                <a:moveTo>
                  <a:pt x="627622" y="1575243"/>
                </a:moveTo>
                <a:cubicBezTo>
                  <a:pt x="632583" y="1582689"/>
                  <a:pt x="635062" y="1587653"/>
                  <a:pt x="637544" y="1592617"/>
                </a:cubicBezTo>
                <a:cubicBezTo>
                  <a:pt x="637544" y="1592617"/>
                  <a:pt x="640023" y="1590136"/>
                  <a:pt x="640023" y="1590136"/>
                </a:cubicBezTo>
                <a:cubicBezTo>
                  <a:pt x="637544" y="1585172"/>
                  <a:pt x="640023" y="1577727"/>
                  <a:pt x="627622" y="1575243"/>
                </a:cubicBezTo>
                <a:close/>
                <a:moveTo>
                  <a:pt x="677233" y="1572763"/>
                </a:moveTo>
                <a:cubicBezTo>
                  <a:pt x="674754" y="1580208"/>
                  <a:pt x="677233" y="1582689"/>
                  <a:pt x="687156" y="1587653"/>
                </a:cubicBezTo>
                <a:cubicBezTo>
                  <a:pt x="684676" y="1580208"/>
                  <a:pt x="682197" y="1575243"/>
                  <a:pt x="677233" y="1572763"/>
                </a:cubicBezTo>
                <a:close/>
                <a:moveTo>
                  <a:pt x="607776" y="1562832"/>
                </a:moveTo>
                <a:cubicBezTo>
                  <a:pt x="607776" y="1562832"/>
                  <a:pt x="607776" y="1565315"/>
                  <a:pt x="605293" y="1565315"/>
                </a:cubicBezTo>
                <a:cubicBezTo>
                  <a:pt x="607776" y="1570279"/>
                  <a:pt x="610255" y="1572763"/>
                  <a:pt x="612737" y="1575243"/>
                </a:cubicBezTo>
                <a:cubicBezTo>
                  <a:pt x="617698" y="1567798"/>
                  <a:pt x="612737" y="1565315"/>
                  <a:pt x="607776" y="1562832"/>
                </a:cubicBezTo>
                <a:close/>
                <a:moveTo>
                  <a:pt x="627622" y="1555386"/>
                </a:moveTo>
                <a:cubicBezTo>
                  <a:pt x="627622" y="1557867"/>
                  <a:pt x="630101" y="1562832"/>
                  <a:pt x="630101" y="1565315"/>
                </a:cubicBezTo>
                <a:cubicBezTo>
                  <a:pt x="630101" y="1565315"/>
                  <a:pt x="632583" y="1565315"/>
                  <a:pt x="632583" y="1565315"/>
                </a:cubicBezTo>
                <a:cubicBezTo>
                  <a:pt x="630101" y="1562832"/>
                  <a:pt x="630101" y="1557867"/>
                  <a:pt x="630101" y="1555386"/>
                </a:cubicBezTo>
                <a:cubicBezTo>
                  <a:pt x="627622" y="1555386"/>
                  <a:pt x="627622" y="1555386"/>
                  <a:pt x="627622" y="1555386"/>
                </a:cubicBezTo>
                <a:close/>
                <a:moveTo>
                  <a:pt x="729331" y="1545458"/>
                </a:moveTo>
                <a:cubicBezTo>
                  <a:pt x="726847" y="1547941"/>
                  <a:pt x="724368" y="1550422"/>
                  <a:pt x="721886" y="1552906"/>
                </a:cubicBezTo>
                <a:cubicBezTo>
                  <a:pt x="724368" y="1557867"/>
                  <a:pt x="724368" y="1560351"/>
                  <a:pt x="726847" y="1562832"/>
                </a:cubicBezTo>
                <a:cubicBezTo>
                  <a:pt x="731810" y="1570279"/>
                  <a:pt x="734292" y="1580208"/>
                  <a:pt x="739253" y="1587653"/>
                </a:cubicBezTo>
                <a:cubicBezTo>
                  <a:pt x="739253" y="1577727"/>
                  <a:pt x="739253" y="1567798"/>
                  <a:pt x="736771" y="1557867"/>
                </a:cubicBezTo>
                <a:cubicBezTo>
                  <a:pt x="734292" y="1555386"/>
                  <a:pt x="734292" y="1550422"/>
                  <a:pt x="731810" y="1547941"/>
                </a:cubicBezTo>
                <a:cubicBezTo>
                  <a:pt x="731810" y="1545458"/>
                  <a:pt x="729331" y="1545458"/>
                  <a:pt x="729331" y="1545458"/>
                </a:cubicBezTo>
                <a:close/>
                <a:moveTo>
                  <a:pt x="707002" y="1525601"/>
                </a:moveTo>
                <a:cubicBezTo>
                  <a:pt x="707002" y="1528084"/>
                  <a:pt x="707002" y="1528084"/>
                  <a:pt x="711964" y="1530565"/>
                </a:cubicBezTo>
                <a:cubicBezTo>
                  <a:pt x="711964" y="1530565"/>
                  <a:pt x="714446" y="1533046"/>
                  <a:pt x="714446" y="1533046"/>
                </a:cubicBezTo>
                <a:cubicBezTo>
                  <a:pt x="716925" y="1525601"/>
                  <a:pt x="704522" y="1528084"/>
                  <a:pt x="707002" y="1525601"/>
                </a:cubicBezTo>
                <a:close/>
                <a:moveTo>
                  <a:pt x="640023" y="1493334"/>
                </a:moveTo>
                <a:cubicBezTo>
                  <a:pt x="637544" y="1495815"/>
                  <a:pt x="637544" y="1495815"/>
                  <a:pt x="635062" y="1495815"/>
                </a:cubicBezTo>
                <a:cubicBezTo>
                  <a:pt x="635062" y="1498299"/>
                  <a:pt x="635062" y="1500780"/>
                  <a:pt x="635062" y="1503263"/>
                </a:cubicBezTo>
                <a:cubicBezTo>
                  <a:pt x="635062" y="1505744"/>
                  <a:pt x="640023" y="1508227"/>
                  <a:pt x="640023" y="1510708"/>
                </a:cubicBezTo>
                <a:cubicBezTo>
                  <a:pt x="637544" y="1528084"/>
                  <a:pt x="649947" y="1535529"/>
                  <a:pt x="657390" y="1547941"/>
                </a:cubicBezTo>
                <a:cubicBezTo>
                  <a:pt x="659869" y="1552906"/>
                  <a:pt x="664830" y="1555386"/>
                  <a:pt x="672275" y="1560351"/>
                </a:cubicBezTo>
                <a:cubicBezTo>
                  <a:pt x="674754" y="1557867"/>
                  <a:pt x="677233" y="1557867"/>
                  <a:pt x="679715" y="1555386"/>
                </a:cubicBezTo>
                <a:cubicBezTo>
                  <a:pt x="677233" y="1550422"/>
                  <a:pt x="674754" y="1542977"/>
                  <a:pt x="674754" y="1538013"/>
                </a:cubicBezTo>
                <a:cubicBezTo>
                  <a:pt x="674754" y="1538013"/>
                  <a:pt x="674754" y="1535529"/>
                  <a:pt x="674754" y="1535529"/>
                </a:cubicBezTo>
                <a:cubicBezTo>
                  <a:pt x="677233" y="1535529"/>
                  <a:pt x="677233" y="1535529"/>
                  <a:pt x="677233" y="1535529"/>
                </a:cubicBezTo>
                <a:cubicBezTo>
                  <a:pt x="677233" y="1533046"/>
                  <a:pt x="677233" y="1533046"/>
                  <a:pt x="679715" y="1530565"/>
                </a:cubicBezTo>
                <a:cubicBezTo>
                  <a:pt x="677233" y="1530565"/>
                  <a:pt x="674754" y="1530565"/>
                  <a:pt x="674754" y="1530565"/>
                </a:cubicBezTo>
                <a:cubicBezTo>
                  <a:pt x="667314" y="1530565"/>
                  <a:pt x="664830" y="1528084"/>
                  <a:pt x="662351" y="1523120"/>
                </a:cubicBezTo>
                <a:cubicBezTo>
                  <a:pt x="654908" y="1513191"/>
                  <a:pt x="647468" y="1503263"/>
                  <a:pt x="640023" y="1493334"/>
                </a:cubicBezTo>
                <a:close/>
                <a:moveTo>
                  <a:pt x="667314" y="1483406"/>
                </a:moveTo>
                <a:cubicBezTo>
                  <a:pt x="672275" y="1495815"/>
                  <a:pt x="677233" y="1503263"/>
                  <a:pt x="682197" y="1513191"/>
                </a:cubicBezTo>
                <a:cubicBezTo>
                  <a:pt x="687156" y="1513191"/>
                  <a:pt x="689639" y="1513191"/>
                  <a:pt x="694600" y="1513191"/>
                </a:cubicBezTo>
                <a:cubicBezTo>
                  <a:pt x="694600" y="1513191"/>
                  <a:pt x="694600" y="1510708"/>
                  <a:pt x="694600" y="1510708"/>
                </a:cubicBezTo>
                <a:cubicBezTo>
                  <a:pt x="694600" y="1510708"/>
                  <a:pt x="697082" y="1513191"/>
                  <a:pt x="697082" y="1513191"/>
                </a:cubicBezTo>
                <a:cubicBezTo>
                  <a:pt x="699561" y="1513191"/>
                  <a:pt x="699561" y="1513191"/>
                  <a:pt x="702040" y="1513191"/>
                </a:cubicBezTo>
                <a:cubicBezTo>
                  <a:pt x="704522" y="1510708"/>
                  <a:pt x="704522" y="1510708"/>
                  <a:pt x="704522" y="1508227"/>
                </a:cubicBezTo>
                <a:cubicBezTo>
                  <a:pt x="689639" y="1505744"/>
                  <a:pt x="689639" y="1480923"/>
                  <a:pt x="667314" y="1483406"/>
                </a:cubicBezTo>
                <a:close/>
                <a:moveTo>
                  <a:pt x="558160" y="1456101"/>
                </a:moveTo>
                <a:cubicBezTo>
                  <a:pt x="558160" y="1463549"/>
                  <a:pt x="555681" y="1468513"/>
                  <a:pt x="568084" y="1468513"/>
                </a:cubicBezTo>
                <a:cubicBezTo>
                  <a:pt x="563121" y="1463549"/>
                  <a:pt x="560642" y="1461069"/>
                  <a:pt x="558160" y="1456101"/>
                </a:cubicBezTo>
                <a:close/>
                <a:moveTo>
                  <a:pt x="647468" y="1438728"/>
                </a:moveTo>
                <a:cubicBezTo>
                  <a:pt x="649947" y="1441212"/>
                  <a:pt x="654908" y="1446173"/>
                  <a:pt x="657390" y="1451137"/>
                </a:cubicBezTo>
                <a:cubicBezTo>
                  <a:pt x="659869" y="1441212"/>
                  <a:pt x="659869" y="1441212"/>
                  <a:pt x="647468" y="1438728"/>
                </a:cubicBezTo>
                <a:close/>
                <a:moveTo>
                  <a:pt x="592891" y="1431282"/>
                </a:moveTo>
                <a:cubicBezTo>
                  <a:pt x="590409" y="1431282"/>
                  <a:pt x="590409" y="1433763"/>
                  <a:pt x="587930" y="1433763"/>
                </a:cubicBezTo>
                <a:cubicBezTo>
                  <a:pt x="587930" y="1436248"/>
                  <a:pt x="587930" y="1438728"/>
                  <a:pt x="590409" y="1441212"/>
                </a:cubicBezTo>
                <a:cubicBezTo>
                  <a:pt x="600331" y="1453620"/>
                  <a:pt x="610255" y="1468513"/>
                  <a:pt x="620177" y="1480923"/>
                </a:cubicBezTo>
                <a:cubicBezTo>
                  <a:pt x="620177" y="1480923"/>
                  <a:pt x="620177" y="1480923"/>
                  <a:pt x="622659" y="1480923"/>
                </a:cubicBezTo>
                <a:cubicBezTo>
                  <a:pt x="622659" y="1480923"/>
                  <a:pt x="627622" y="1480923"/>
                  <a:pt x="635062" y="1483406"/>
                </a:cubicBezTo>
                <a:cubicBezTo>
                  <a:pt x="630101" y="1475958"/>
                  <a:pt x="625139" y="1470994"/>
                  <a:pt x="620177" y="1463549"/>
                </a:cubicBezTo>
                <a:cubicBezTo>
                  <a:pt x="620177" y="1466032"/>
                  <a:pt x="622659" y="1466032"/>
                  <a:pt x="622659" y="1468513"/>
                </a:cubicBezTo>
                <a:cubicBezTo>
                  <a:pt x="620177" y="1470994"/>
                  <a:pt x="620177" y="1470994"/>
                  <a:pt x="617698" y="1470994"/>
                </a:cubicBezTo>
                <a:cubicBezTo>
                  <a:pt x="610255" y="1466032"/>
                  <a:pt x="610255" y="1461069"/>
                  <a:pt x="610255" y="1453620"/>
                </a:cubicBezTo>
                <a:cubicBezTo>
                  <a:pt x="605293" y="1446173"/>
                  <a:pt x="597852" y="1438728"/>
                  <a:pt x="592891" y="1431282"/>
                </a:cubicBezTo>
                <a:close/>
                <a:moveTo>
                  <a:pt x="635062" y="1416391"/>
                </a:moveTo>
                <a:cubicBezTo>
                  <a:pt x="635062" y="1428799"/>
                  <a:pt x="644984" y="1433763"/>
                  <a:pt x="649947" y="1438728"/>
                </a:cubicBezTo>
                <a:cubicBezTo>
                  <a:pt x="649947" y="1436248"/>
                  <a:pt x="652429" y="1433763"/>
                  <a:pt x="652429" y="1428799"/>
                </a:cubicBezTo>
                <a:cubicBezTo>
                  <a:pt x="647468" y="1423835"/>
                  <a:pt x="642505" y="1421352"/>
                  <a:pt x="635062" y="1416391"/>
                </a:cubicBezTo>
                <a:close/>
                <a:moveTo>
                  <a:pt x="607776" y="1413906"/>
                </a:moveTo>
                <a:cubicBezTo>
                  <a:pt x="604054" y="1418870"/>
                  <a:pt x="602193" y="1421353"/>
                  <a:pt x="601572" y="1422905"/>
                </a:cubicBezTo>
                <a:cubicBezTo>
                  <a:pt x="600952" y="1424456"/>
                  <a:pt x="601573" y="1425077"/>
                  <a:pt x="602813" y="1426318"/>
                </a:cubicBezTo>
                <a:cubicBezTo>
                  <a:pt x="610255" y="1436248"/>
                  <a:pt x="617698" y="1443692"/>
                  <a:pt x="625139" y="1453620"/>
                </a:cubicBezTo>
                <a:cubicBezTo>
                  <a:pt x="635062" y="1466032"/>
                  <a:pt x="647468" y="1475958"/>
                  <a:pt x="647468" y="1495815"/>
                </a:cubicBezTo>
                <a:cubicBezTo>
                  <a:pt x="647468" y="1498299"/>
                  <a:pt x="649947" y="1500780"/>
                  <a:pt x="652429" y="1500780"/>
                </a:cubicBezTo>
                <a:cubicBezTo>
                  <a:pt x="654908" y="1500780"/>
                  <a:pt x="657390" y="1498299"/>
                  <a:pt x="657390" y="1495815"/>
                </a:cubicBezTo>
                <a:cubicBezTo>
                  <a:pt x="657390" y="1490855"/>
                  <a:pt x="657390" y="1485887"/>
                  <a:pt x="654908" y="1483406"/>
                </a:cubicBezTo>
                <a:cubicBezTo>
                  <a:pt x="644984" y="1468513"/>
                  <a:pt x="635062" y="1456101"/>
                  <a:pt x="627622" y="1441212"/>
                </a:cubicBezTo>
                <a:cubicBezTo>
                  <a:pt x="620177" y="1431282"/>
                  <a:pt x="615216" y="1423835"/>
                  <a:pt x="607776" y="1413906"/>
                </a:cubicBezTo>
                <a:close/>
                <a:moveTo>
                  <a:pt x="530874" y="1394049"/>
                </a:moveTo>
                <a:cubicBezTo>
                  <a:pt x="524671" y="1397773"/>
                  <a:pt x="521570" y="1399635"/>
                  <a:pt x="521570" y="1401807"/>
                </a:cubicBezTo>
                <a:cubicBezTo>
                  <a:pt x="521570" y="1403979"/>
                  <a:pt x="524671" y="1406461"/>
                  <a:pt x="530874" y="1411425"/>
                </a:cubicBezTo>
                <a:cubicBezTo>
                  <a:pt x="530874" y="1406461"/>
                  <a:pt x="530874" y="1401497"/>
                  <a:pt x="530874" y="1394049"/>
                </a:cubicBezTo>
                <a:close/>
                <a:moveTo>
                  <a:pt x="488700" y="1349374"/>
                </a:moveTo>
                <a:cubicBezTo>
                  <a:pt x="491182" y="1351854"/>
                  <a:pt x="491182" y="1354339"/>
                  <a:pt x="491182" y="1354339"/>
                </a:cubicBezTo>
                <a:cubicBezTo>
                  <a:pt x="493661" y="1356820"/>
                  <a:pt x="496143" y="1354339"/>
                  <a:pt x="498623" y="1356820"/>
                </a:cubicBezTo>
                <a:cubicBezTo>
                  <a:pt x="496143" y="1351854"/>
                  <a:pt x="496143" y="1349374"/>
                  <a:pt x="493661" y="1349374"/>
                </a:cubicBezTo>
                <a:cubicBezTo>
                  <a:pt x="493661" y="1346890"/>
                  <a:pt x="491182" y="1349374"/>
                  <a:pt x="488700" y="1349374"/>
                </a:cubicBezTo>
                <a:close/>
                <a:moveTo>
                  <a:pt x="533353" y="1334478"/>
                </a:moveTo>
                <a:cubicBezTo>
                  <a:pt x="530874" y="1344407"/>
                  <a:pt x="538314" y="1351854"/>
                  <a:pt x="543276" y="1359300"/>
                </a:cubicBezTo>
                <a:cubicBezTo>
                  <a:pt x="543276" y="1359300"/>
                  <a:pt x="545759" y="1356820"/>
                  <a:pt x="545759" y="1356820"/>
                </a:cubicBezTo>
                <a:cubicBezTo>
                  <a:pt x="540796" y="1349374"/>
                  <a:pt x="535835" y="1341926"/>
                  <a:pt x="533353" y="1334478"/>
                </a:cubicBezTo>
                <a:close/>
                <a:moveTo>
                  <a:pt x="481258" y="1331997"/>
                </a:moveTo>
                <a:cubicBezTo>
                  <a:pt x="481258" y="1331997"/>
                  <a:pt x="478777" y="1334478"/>
                  <a:pt x="478777" y="1334478"/>
                </a:cubicBezTo>
                <a:cubicBezTo>
                  <a:pt x="478777" y="1334478"/>
                  <a:pt x="481258" y="1336963"/>
                  <a:pt x="486221" y="1336963"/>
                </a:cubicBezTo>
                <a:cubicBezTo>
                  <a:pt x="483738" y="1334478"/>
                  <a:pt x="481258" y="1331997"/>
                  <a:pt x="481258" y="1331997"/>
                </a:cubicBezTo>
                <a:close/>
                <a:moveTo>
                  <a:pt x="524982" y="1318968"/>
                </a:moveTo>
                <a:cubicBezTo>
                  <a:pt x="523431" y="1318967"/>
                  <a:pt x="522190" y="1319587"/>
                  <a:pt x="520950" y="1322069"/>
                </a:cubicBezTo>
                <a:cubicBezTo>
                  <a:pt x="520950" y="1324553"/>
                  <a:pt x="520950" y="1327033"/>
                  <a:pt x="520950" y="1329517"/>
                </a:cubicBezTo>
                <a:cubicBezTo>
                  <a:pt x="523430" y="1329517"/>
                  <a:pt x="525913" y="1329517"/>
                  <a:pt x="528392" y="1329517"/>
                </a:cubicBezTo>
                <a:cubicBezTo>
                  <a:pt x="530874" y="1327033"/>
                  <a:pt x="530874" y="1324553"/>
                  <a:pt x="530874" y="1319589"/>
                </a:cubicBezTo>
                <a:cubicBezTo>
                  <a:pt x="528393" y="1319589"/>
                  <a:pt x="526532" y="1318968"/>
                  <a:pt x="524982" y="1318968"/>
                </a:cubicBezTo>
                <a:close/>
                <a:moveTo>
                  <a:pt x="449011" y="1269946"/>
                </a:moveTo>
                <a:cubicBezTo>
                  <a:pt x="453970" y="1299732"/>
                  <a:pt x="461413" y="1307176"/>
                  <a:pt x="473818" y="1307176"/>
                </a:cubicBezTo>
                <a:cubicBezTo>
                  <a:pt x="466375" y="1294768"/>
                  <a:pt x="456451" y="1282355"/>
                  <a:pt x="449011" y="1269946"/>
                </a:cubicBezTo>
                <a:close/>
                <a:moveTo>
                  <a:pt x="401875" y="1200447"/>
                </a:moveTo>
                <a:cubicBezTo>
                  <a:pt x="406836" y="1217823"/>
                  <a:pt x="414280" y="1230232"/>
                  <a:pt x="419241" y="1245125"/>
                </a:cubicBezTo>
                <a:cubicBezTo>
                  <a:pt x="424204" y="1250089"/>
                  <a:pt x="429165" y="1257534"/>
                  <a:pt x="436605" y="1264982"/>
                </a:cubicBezTo>
                <a:cubicBezTo>
                  <a:pt x="439085" y="1260018"/>
                  <a:pt x="439085" y="1257534"/>
                  <a:pt x="439085" y="1257534"/>
                </a:cubicBezTo>
                <a:cubicBezTo>
                  <a:pt x="431644" y="1242644"/>
                  <a:pt x="424204" y="1227748"/>
                  <a:pt x="416760" y="1215340"/>
                </a:cubicBezTo>
                <a:cubicBezTo>
                  <a:pt x="414280" y="1210375"/>
                  <a:pt x="409319" y="1205411"/>
                  <a:pt x="401875" y="1200447"/>
                </a:cubicBezTo>
                <a:close/>
                <a:moveTo>
                  <a:pt x="384511" y="1158252"/>
                </a:moveTo>
                <a:cubicBezTo>
                  <a:pt x="384511" y="1173141"/>
                  <a:pt x="391952" y="1180590"/>
                  <a:pt x="401875" y="1190518"/>
                </a:cubicBezTo>
                <a:cubicBezTo>
                  <a:pt x="401875" y="1190518"/>
                  <a:pt x="404358" y="1188037"/>
                  <a:pt x="404358" y="1188037"/>
                </a:cubicBezTo>
                <a:cubicBezTo>
                  <a:pt x="396914" y="1178109"/>
                  <a:pt x="389473" y="1168180"/>
                  <a:pt x="384511" y="1158252"/>
                </a:cubicBezTo>
                <a:close/>
                <a:moveTo>
                  <a:pt x="362183" y="1071379"/>
                </a:moveTo>
                <a:cubicBezTo>
                  <a:pt x="362183" y="1071379"/>
                  <a:pt x="362183" y="1076343"/>
                  <a:pt x="362183" y="1076343"/>
                </a:cubicBezTo>
                <a:cubicBezTo>
                  <a:pt x="362183" y="1078824"/>
                  <a:pt x="364665" y="1078824"/>
                  <a:pt x="367144" y="1078824"/>
                </a:cubicBezTo>
                <a:cubicBezTo>
                  <a:pt x="369627" y="1076343"/>
                  <a:pt x="369627" y="1073860"/>
                  <a:pt x="369627" y="1071379"/>
                </a:cubicBezTo>
                <a:cubicBezTo>
                  <a:pt x="367144" y="1071379"/>
                  <a:pt x="364665" y="1071379"/>
                  <a:pt x="362183" y="1071379"/>
                </a:cubicBezTo>
                <a:close/>
                <a:moveTo>
                  <a:pt x="295205" y="1016772"/>
                </a:moveTo>
                <a:lnTo>
                  <a:pt x="301189" y="1024754"/>
                </a:lnTo>
                <a:lnTo>
                  <a:pt x="302033" y="1027315"/>
                </a:lnTo>
                <a:lnTo>
                  <a:pt x="301656" y="1027692"/>
                </a:lnTo>
                <a:lnTo>
                  <a:pt x="296441" y="1019865"/>
                </a:lnTo>
                <a:close/>
                <a:moveTo>
                  <a:pt x="344819" y="1011808"/>
                </a:moveTo>
                <a:cubicBezTo>
                  <a:pt x="349781" y="1021736"/>
                  <a:pt x="352261" y="1026700"/>
                  <a:pt x="357222" y="1036629"/>
                </a:cubicBezTo>
                <a:cubicBezTo>
                  <a:pt x="362183" y="1021736"/>
                  <a:pt x="362183" y="1021736"/>
                  <a:pt x="344819" y="1011808"/>
                </a:cubicBezTo>
                <a:close/>
                <a:moveTo>
                  <a:pt x="327452" y="991951"/>
                </a:moveTo>
                <a:cubicBezTo>
                  <a:pt x="326213" y="999397"/>
                  <a:pt x="325594" y="1003120"/>
                  <a:pt x="326524" y="1004982"/>
                </a:cubicBezTo>
                <a:cubicBezTo>
                  <a:pt x="327454" y="1006843"/>
                  <a:pt x="329935" y="1006843"/>
                  <a:pt x="334897" y="1006843"/>
                </a:cubicBezTo>
                <a:cubicBezTo>
                  <a:pt x="332417" y="1001879"/>
                  <a:pt x="329935" y="999396"/>
                  <a:pt x="327452" y="991951"/>
                </a:cubicBezTo>
                <a:close/>
                <a:moveTo>
                  <a:pt x="312571" y="974574"/>
                </a:moveTo>
                <a:cubicBezTo>
                  <a:pt x="315051" y="979539"/>
                  <a:pt x="317532" y="986986"/>
                  <a:pt x="320012" y="991951"/>
                </a:cubicBezTo>
                <a:cubicBezTo>
                  <a:pt x="324973" y="982022"/>
                  <a:pt x="327452" y="974574"/>
                  <a:pt x="312571" y="974574"/>
                </a:cubicBezTo>
                <a:close/>
                <a:moveTo>
                  <a:pt x="292725" y="825649"/>
                </a:moveTo>
                <a:cubicBezTo>
                  <a:pt x="292725" y="833098"/>
                  <a:pt x="297687" y="835578"/>
                  <a:pt x="305127" y="835578"/>
                </a:cubicBezTo>
                <a:cubicBezTo>
                  <a:pt x="302648" y="825649"/>
                  <a:pt x="302648" y="825649"/>
                  <a:pt x="292725" y="825649"/>
                </a:cubicBezTo>
                <a:close/>
                <a:moveTo>
                  <a:pt x="324973" y="805792"/>
                </a:moveTo>
                <a:cubicBezTo>
                  <a:pt x="324973" y="818205"/>
                  <a:pt x="332417" y="823168"/>
                  <a:pt x="342337" y="828132"/>
                </a:cubicBezTo>
                <a:cubicBezTo>
                  <a:pt x="339858" y="808275"/>
                  <a:pt x="339858" y="808275"/>
                  <a:pt x="324973" y="805792"/>
                </a:cubicBezTo>
                <a:close/>
                <a:moveTo>
                  <a:pt x="355981" y="757393"/>
                </a:moveTo>
                <a:lnTo>
                  <a:pt x="357222" y="758634"/>
                </a:lnTo>
                <a:lnTo>
                  <a:pt x="355552" y="759533"/>
                </a:lnTo>
                <a:lnTo>
                  <a:pt x="354742" y="758634"/>
                </a:lnTo>
                <a:close/>
                <a:moveTo>
                  <a:pt x="419241" y="733813"/>
                </a:moveTo>
                <a:cubicBezTo>
                  <a:pt x="416760" y="733813"/>
                  <a:pt x="414280" y="736296"/>
                  <a:pt x="411798" y="738776"/>
                </a:cubicBezTo>
                <a:cubicBezTo>
                  <a:pt x="414280" y="738776"/>
                  <a:pt x="414280" y="741260"/>
                  <a:pt x="414280" y="741260"/>
                </a:cubicBezTo>
                <a:cubicBezTo>
                  <a:pt x="416760" y="738776"/>
                  <a:pt x="419241" y="738776"/>
                  <a:pt x="421721" y="736296"/>
                </a:cubicBezTo>
                <a:cubicBezTo>
                  <a:pt x="421721" y="736296"/>
                  <a:pt x="421721" y="736296"/>
                  <a:pt x="419241" y="733813"/>
                </a:cubicBezTo>
                <a:close/>
                <a:moveTo>
                  <a:pt x="389473" y="721401"/>
                </a:moveTo>
                <a:cubicBezTo>
                  <a:pt x="386993" y="721401"/>
                  <a:pt x="384512" y="723883"/>
                  <a:pt x="379550" y="728847"/>
                </a:cubicBezTo>
                <a:cubicBezTo>
                  <a:pt x="386990" y="728847"/>
                  <a:pt x="391952" y="728847"/>
                  <a:pt x="399395" y="728847"/>
                </a:cubicBezTo>
                <a:cubicBezTo>
                  <a:pt x="394434" y="723883"/>
                  <a:pt x="391954" y="721401"/>
                  <a:pt x="389473" y="721401"/>
                </a:cubicBezTo>
                <a:close/>
                <a:moveTo>
                  <a:pt x="406836" y="718919"/>
                </a:moveTo>
                <a:cubicBezTo>
                  <a:pt x="406836" y="718919"/>
                  <a:pt x="409319" y="718919"/>
                  <a:pt x="409319" y="718919"/>
                </a:cubicBezTo>
                <a:cubicBezTo>
                  <a:pt x="411798" y="718919"/>
                  <a:pt x="414280" y="723883"/>
                  <a:pt x="416760" y="728847"/>
                </a:cubicBezTo>
                <a:lnTo>
                  <a:pt x="414692" y="729882"/>
                </a:lnTo>
                <a:lnTo>
                  <a:pt x="411075" y="729520"/>
                </a:lnTo>
                <a:close/>
                <a:moveTo>
                  <a:pt x="977401" y="582404"/>
                </a:moveTo>
                <a:cubicBezTo>
                  <a:pt x="979881" y="584887"/>
                  <a:pt x="979881" y="587368"/>
                  <a:pt x="982363" y="587368"/>
                </a:cubicBezTo>
                <a:cubicBezTo>
                  <a:pt x="984842" y="587368"/>
                  <a:pt x="984842" y="587368"/>
                  <a:pt x="984842" y="587368"/>
                </a:cubicBezTo>
                <a:cubicBezTo>
                  <a:pt x="982363" y="584887"/>
                  <a:pt x="979881" y="584887"/>
                  <a:pt x="977401" y="582404"/>
                </a:cubicBezTo>
                <a:close/>
                <a:moveTo>
                  <a:pt x="994146" y="564409"/>
                </a:moveTo>
                <a:cubicBezTo>
                  <a:pt x="991666" y="564409"/>
                  <a:pt x="988564" y="566271"/>
                  <a:pt x="984842" y="569995"/>
                </a:cubicBezTo>
                <a:cubicBezTo>
                  <a:pt x="989804" y="574959"/>
                  <a:pt x="992286" y="579923"/>
                  <a:pt x="997247" y="584887"/>
                </a:cubicBezTo>
                <a:cubicBezTo>
                  <a:pt x="999727" y="587368"/>
                  <a:pt x="1002209" y="589852"/>
                  <a:pt x="1002209" y="592333"/>
                </a:cubicBezTo>
                <a:cubicBezTo>
                  <a:pt x="1002209" y="602261"/>
                  <a:pt x="1004688" y="607225"/>
                  <a:pt x="1009650" y="612190"/>
                </a:cubicBezTo>
                <a:cubicBezTo>
                  <a:pt x="1024534" y="629566"/>
                  <a:pt x="1036937" y="649419"/>
                  <a:pt x="1051821" y="669276"/>
                </a:cubicBezTo>
                <a:cubicBezTo>
                  <a:pt x="1054303" y="674242"/>
                  <a:pt x="1059264" y="676725"/>
                  <a:pt x="1061744" y="679205"/>
                </a:cubicBezTo>
                <a:cubicBezTo>
                  <a:pt x="1061744" y="669276"/>
                  <a:pt x="1056785" y="664312"/>
                  <a:pt x="1051821" y="656868"/>
                </a:cubicBezTo>
                <a:cubicBezTo>
                  <a:pt x="1054303" y="654387"/>
                  <a:pt x="1056785" y="654387"/>
                  <a:pt x="1059264" y="651904"/>
                </a:cubicBezTo>
                <a:cubicBezTo>
                  <a:pt x="1056785" y="646939"/>
                  <a:pt x="1054303" y="639491"/>
                  <a:pt x="1046859" y="641975"/>
                </a:cubicBezTo>
                <a:cubicBezTo>
                  <a:pt x="1044380" y="644455"/>
                  <a:pt x="1039418" y="641975"/>
                  <a:pt x="1039418" y="639491"/>
                </a:cubicBezTo>
                <a:cubicBezTo>
                  <a:pt x="1031978" y="627082"/>
                  <a:pt x="1024534" y="614670"/>
                  <a:pt x="1017093" y="602261"/>
                </a:cubicBezTo>
                <a:cubicBezTo>
                  <a:pt x="1012132" y="589852"/>
                  <a:pt x="1007171" y="579923"/>
                  <a:pt x="999727" y="569995"/>
                </a:cubicBezTo>
                <a:cubicBezTo>
                  <a:pt x="998487" y="566271"/>
                  <a:pt x="996627" y="564409"/>
                  <a:pt x="994146" y="564409"/>
                </a:cubicBezTo>
                <a:close/>
                <a:moveTo>
                  <a:pt x="635936" y="562984"/>
                </a:moveTo>
                <a:lnTo>
                  <a:pt x="644984" y="567511"/>
                </a:lnTo>
                <a:cubicBezTo>
                  <a:pt x="644984" y="567511"/>
                  <a:pt x="642505" y="569995"/>
                  <a:pt x="642505" y="569995"/>
                </a:cubicBezTo>
                <a:lnTo>
                  <a:pt x="638775" y="566263"/>
                </a:lnTo>
                <a:close/>
                <a:moveTo>
                  <a:pt x="1267645" y="465745"/>
                </a:moveTo>
                <a:cubicBezTo>
                  <a:pt x="1267645" y="468229"/>
                  <a:pt x="1265165" y="468229"/>
                  <a:pt x="1265165" y="468229"/>
                </a:cubicBezTo>
                <a:cubicBezTo>
                  <a:pt x="1267645" y="470710"/>
                  <a:pt x="1270124" y="473193"/>
                  <a:pt x="1270124" y="475674"/>
                </a:cubicBezTo>
                <a:cubicBezTo>
                  <a:pt x="1270124" y="473193"/>
                  <a:pt x="1272606" y="473193"/>
                  <a:pt x="1272606" y="473193"/>
                </a:cubicBezTo>
                <a:cubicBezTo>
                  <a:pt x="1270124" y="470710"/>
                  <a:pt x="1270124" y="468229"/>
                  <a:pt x="1267645" y="465745"/>
                </a:cubicBezTo>
                <a:close/>
                <a:moveTo>
                  <a:pt x="803753" y="135627"/>
                </a:moveTo>
                <a:cubicBezTo>
                  <a:pt x="806232" y="138110"/>
                  <a:pt x="806232" y="140590"/>
                  <a:pt x="808714" y="143071"/>
                </a:cubicBezTo>
                <a:cubicBezTo>
                  <a:pt x="808714" y="143071"/>
                  <a:pt x="808714" y="143071"/>
                  <a:pt x="806232" y="145554"/>
                </a:cubicBezTo>
                <a:cubicBezTo>
                  <a:pt x="806232" y="143071"/>
                  <a:pt x="803753" y="140590"/>
                  <a:pt x="801270" y="138110"/>
                </a:cubicBezTo>
                <a:cubicBezTo>
                  <a:pt x="801270" y="138110"/>
                  <a:pt x="803753" y="135627"/>
                  <a:pt x="803753" y="135627"/>
                </a:cubicBezTo>
                <a:close/>
                <a:moveTo>
                  <a:pt x="1126244" y="73575"/>
                </a:moveTo>
                <a:cubicBezTo>
                  <a:pt x="1128726" y="85983"/>
                  <a:pt x="1133684" y="95912"/>
                  <a:pt x="1146090" y="95912"/>
                </a:cubicBezTo>
                <a:cubicBezTo>
                  <a:pt x="1146090" y="95912"/>
                  <a:pt x="1148568" y="93432"/>
                  <a:pt x="1148568" y="93432"/>
                </a:cubicBezTo>
                <a:cubicBezTo>
                  <a:pt x="1143611" y="90949"/>
                  <a:pt x="1138648" y="85983"/>
                  <a:pt x="1133684" y="83503"/>
                </a:cubicBezTo>
                <a:cubicBezTo>
                  <a:pt x="1131205" y="83503"/>
                  <a:pt x="1128726" y="78539"/>
                  <a:pt x="1126244" y="73575"/>
                </a:cubicBezTo>
                <a:close/>
                <a:moveTo>
                  <a:pt x="1096474" y="43789"/>
                </a:moveTo>
                <a:cubicBezTo>
                  <a:pt x="1096474" y="53718"/>
                  <a:pt x="1101436" y="63646"/>
                  <a:pt x="1111359" y="66126"/>
                </a:cubicBezTo>
                <a:cubicBezTo>
                  <a:pt x="1113841" y="63646"/>
                  <a:pt x="1116320" y="61162"/>
                  <a:pt x="1118802" y="58682"/>
                </a:cubicBezTo>
                <a:cubicBezTo>
                  <a:pt x="1113841" y="51237"/>
                  <a:pt x="1106397" y="46273"/>
                  <a:pt x="1096474" y="43789"/>
                </a:cubicBezTo>
                <a:close/>
                <a:moveTo>
                  <a:pt x="979881" y="36341"/>
                </a:moveTo>
                <a:cubicBezTo>
                  <a:pt x="979881" y="36341"/>
                  <a:pt x="977401" y="38825"/>
                  <a:pt x="977401" y="38825"/>
                </a:cubicBezTo>
                <a:cubicBezTo>
                  <a:pt x="979881" y="41308"/>
                  <a:pt x="979881" y="41308"/>
                  <a:pt x="982363" y="43789"/>
                </a:cubicBezTo>
                <a:cubicBezTo>
                  <a:pt x="982363" y="41308"/>
                  <a:pt x="984842" y="38825"/>
                  <a:pt x="982363" y="38825"/>
                </a:cubicBezTo>
                <a:cubicBezTo>
                  <a:pt x="982363" y="38825"/>
                  <a:pt x="982363" y="36341"/>
                  <a:pt x="979881" y="36341"/>
                </a:cubicBezTo>
                <a:close/>
                <a:moveTo>
                  <a:pt x="746555" y="0"/>
                </a:moveTo>
                <a:lnTo>
                  <a:pt x="772748" y="0"/>
                </a:lnTo>
                <a:lnTo>
                  <a:pt x="776463" y="4075"/>
                </a:lnTo>
                <a:lnTo>
                  <a:pt x="776463" y="0"/>
                </a:lnTo>
                <a:lnTo>
                  <a:pt x="823595" y="0"/>
                </a:lnTo>
                <a:lnTo>
                  <a:pt x="823595" y="11523"/>
                </a:lnTo>
                <a:cubicBezTo>
                  <a:pt x="828558" y="11523"/>
                  <a:pt x="833519" y="9040"/>
                  <a:pt x="840962" y="6559"/>
                </a:cubicBezTo>
                <a:lnTo>
                  <a:pt x="834441" y="0"/>
                </a:lnTo>
                <a:lnTo>
                  <a:pt x="863520" y="0"/>
                </a:lnTo>
                <a:lnTo>
                  <a:pt x="870731" y="6559"/>
                </a:lnTo>
                <a:cubicBezTo>
                  <a:pt x="875693" y="9040"/>
                  <a:pt x="880654" y="16487"/>
                  <a:pt x="883133" y="21451"/>
                </a:cubicBezTo>
                <a:cubicBezTo>
                  <a:pt x="895538" y="38825"/>
                  <a:pt x="910421" y="51237"/>
                  <a:pt x="932748" y="61162"/>
                </a:cubicBezTo>
                <a:cubicBezTo>
                  <a:pt x="927787" y="53718"/>
                  <a:pt x="922825" y="46273"/>
                  <a:pt x="920346" y="38825"/>
                </a:cubicBezTo>
                <a:cubicBezTo>
                  <a:pt x="917864" y="28897"/>
                  <a:pt x="915384" y="21451"/>
                  <a:pt x="900500" y="21451"/>
                </a:cubicBezTo>
                <a:cubicBezTo>
                  <a:pt x="902979" y="18968"/>
                  <a:pt x="902979" y="18968"/>
                  <a:pt x="902979" y="16487"/>
                </a:cubicBezTo>
                <a:cubicBezTo>
                  <a:pt x="900500" y="16487"/>
                  <a:pt x="898018" y="18968"/>
                  <a:pt x="895538" y="18968"/>
                </a:cubicBezTo>
                <a:cubicBezTo>
                  <a:pt x="888095" y="14004"/>
                  <a:pt x="883133" y="11523"/>
                  <a:pt x="878172" y="6559"/>
                </a:cubicBezTo>
                <a:lnTo>
                  <a:pt x="873257" y="0"/>
                </a:lnTo>
                <a:lnTo>
                  <a:pt x="4439277" y="0"/>
                </a:lnTo>
                <a:lnTo>
                  <a:pt x="4439277" y="6858000"/>
                </a:lnTo>
                <a:lnTo>
                  <a:pt x="2265896" y="6858000"/>
                </a:lnTo>
                <a:lnTo>
                  <a:pt x="2264891" y="6857146"/>
                </a:lnTo>
                <a:lnTo>
                  <a:pt x="2265463" y="6858000"/>
                </a:lnTo>
                <a:lnTo>
                  <a:pt x="1639834" y="6858000"/>
                </a:lnTo>
                <a:lnTo>
                  <a:pt x="1629827" y="6839772"/>
                </a:lnTo>
                <a:cubicBezTo>
                  <a:pt x="1629827" y="6837289"/>
                  <a:pt x="1624869" y="6832328"/>
                  <a:pt x="1622385" y="6829845"/>
                </a:cubicBezTo>
                <a:cubicBezTo>
                  <a:pt x="1600060" y="6802543"/>
                  <a:pt x="1552925" y="6785165"/>
                  <a:pt x="1533079" y="6755380"/>
                </a:cubicBezTo>
                <a:cubicBezTo>
                  <a:pt x="1515715" y="6728079"/>
                  <a:pt x="1488429" y="6705741"/>
                  <a:pt x="1476023" y="6673472"/>
                </a:cubicBezTo>
                <a:cubicBezTo>
                  <a:pt x="1471062" y="6663543"/>
                  <a:pt x="1461139" y="6656098"/>
                  <a:pt x="1453698" y="6648651"/>
                </a:cubicBezTo>
                <a:cubicBezTo>
                  <a:pt x="1443776" y="6638722"/>
                  <a:pt x="1433852" y="6628794"/>
                  <a:pt x="1428891" y="6613901"/>
                </a:cubicBezTo>
                <a:cubicBezTo>
                  <a:pt x="1418968" y="6584118"/>
                  <a:pt x="1401601" y="6559297"/>
                  <a:pt x="1384238" y="6531992"/>
                </a:cubicBezTo>
                <a:cubicBezTo>
                  <a:pt x="1371835" y="6509654"/>
                  <a:pt x="1356951" y="6487316"/>
                  <a:pt x="1342066" y="6464976"/>
                </a:cubicBezTo>
                <a:cubicBezTo>
                  <a:pt x="1324699" y="6435190"/>
                  <a:pt x="1275085" y="6390512"/>
                  <a:pt x="1257721" y="6360730"/>
                </a:cubicBezTo>
                <a:cubicBezTo>
                  <a:pt x="1237875" y="6328460"/>
                  <a:pt x="1220511" y="6296194"/>
                  <a:pt x="1200665" y="6263928"/>
                </a:cubicBezTo>
                <a:cubicBezTo>
                  <a:pt x="1195704" y="6253996"/>
                  <a:pt x="1190742" y="6244067"/>
                  <a:pt x="1183298" y="6234142"/>
                </a:cubicBezTo>
                <a:cubicBezTo>
                  <a:pt x="1151051" y="6189464"/>
                  <a:pt x="1123764" y="6139822"/>
                  <a:pt x="1096474" y="6090179"/>
                </a:cubicBezTo>
                <a:cubicBezTo>
                  <a:pt x="1091513" y="6082734"/>
                  <a:pt x="1089034" y="6072805"/>
                  <a:pt x="1081589" y="6067841"/>
                </a:cubicBezTo>
                <a:cubicBezTo>
                  <a:pt x="1064226" y="6050465"/>
                  <a:pt x="1054303" y="6030608"/>
                  <a:pt x="1046859" y="6008270"/>
                </a:cubicBezTo>
                <a:cubicBezTo>
                  <a:pt x="1039418" y="5988413"/>
                  <a:pt x="1027016" y="5968556"/>
                  <a:pt x="1017093" y="5951182"/>
                </a:cubicBezTo>
                <a:cubicBezTo>
                  <a:pt x="964996" y="5861826"/>
                  <a:pt x="977401" y="5774952"/>
                  <a:pt x="930269" y="5683116"/>
                </a:cubicBezTo>
                <a:cubicBezTo>
                  <a:pt x="915384" y="5653329"/>
                  <a:pt x="905462" y="5623545"/>
                  <a:pt x="890577" y="5593758"/>
                </a:cubicBezTo>
                <a:cubicBezTo>
                  <a:pt x="875692" y="5563974"/>
                  <a:pt x="858325" y="5534187"/>
                  <a:pt x="843441" y="5501922"/>
                </a:cubicBezTo>
                <a:cubicBezTo>
                  <a:pt x="823595" y="5462210"/>
                  <a:pt x="808714" y="5420013"/>
                  <a:pt x="801270" y="5375334"/>
                </a:cubicBezTo>
                <a:cubicBezTo>
                  <a:pt x="801270" y="5370370"/>
                  <a:pt x="801270" y="5365406"/>
                  <a:pt x="798788" y="5362925"/>
                </a:cubicBezTo>
                <a:cubicBezTo>
                  <a:pt x="786386" y="5348032"/>
                  <a:pt x="781424" y="5328175"/>
                  <a:pt x="771501" y="5313282"/>
                </a:cubicBezTo>
                <a:cubicBezTo>
                  <a:pt x="754137" y="5285980"/>
                  <a:pt x="741732" y="5256196"/>
                  <a:pt x="734291" y="5226409"/>
                </a:cubicBezTo>
                <a:cubicBezTo>
                  <a:pt x="734291" y="5218962"/>
                  <a:pt x="731809" y="5211516"/>
                  <a:pt x="729330" y="5204069"/>
                </a:cubicBezTo>
                <a:cubicBezTo>
                  <a:pt x="721886" y="5179251"/>
                  <a:pt x="716925" y="5151945"/>
                  <a:pt x="702040" y="5129608"/>
                </a:cubicBezTo>
                <a:cubicBezTo>
                  <a:pt x="699561" y="5124644"/>
                  <a:pt x="697081" y="5122160"/>
                  <a:pt x="697081" y="5117196"/>
                </a:cubicBezTo>
                <a:cubicBezTo>
                  <a:pt x="689638" y="5082446"/>
                  <a:pt x="682197" y="5050180"/>
                  <a:pt x="674754" y="5015431"/>
                </a:cubicBezTo>
                <a:cubicBezTo>
                  <a:pt x="667313" y="4980681"/>
                  <a:pt x="659869" y="4948414"/>
                  <a:pt x="652428" y="4916148"/>
                </a:cubicBezTo>
                <a:cubicBezTo>
                  <a:pt x="647467" y="4898772"/>
                  <a:pt x="644984" y="4883879"/>
                  <a:pt x="642505" y="4868986"/>
                </a:cubicBezTo>
                <a:cubicBezTo>
                  <a:pt x="642505" y="4861541"/>
                  <a:pt x="640023" y="4854096"/>
                  <a:pt x="637544" y="4846648"/>
                </a:cubicBezTo>
                <a:cubicBezTo>
                  <a:pt x="625138" y="4819346"/>
                  <a:pt x="625138" y="4789560"/>
                  <a:pt x="635062" y="4759775"/>
                </a:cubicBezTo>
                <a:cubicBezTo>
                  <a:pt x="640023" y="4749846"/>
                  <a:pt x="635062" y="4742401"/>
                  <a:pt x="630101" y="4734954"/>
                </a:cubicBezTo>
                <a:cubicBezTo>
                  <a:pt x="632582" y="4725025"/>
                  <a:pt x="637544" y="4715097"/>
                  <a:pt x="642505" y="4702685"/>
                </a:cubicBezTo>
                <a:cubicBezTo>
                  <a:pt x="644984" y="4702685"/>
                  <a:pt x="644984" y="4702685"/>
                  <a:pt x="644984" y="4702685"/>
                </a:cubicBezTo>
                <a:cubicBezTo>
                  <a:pt x="630101" y="4675383"/>
                  <a:pt x="615216" y="4648080"/>
                  <a:pt x="602813" y="4620776"/>
                </a:cubicBezTo>
                <a:cubicBezTo>
                  <a:pt x="580485" y="4571137"/>
                  <a:pt x="558160" y="4521493"/>
                  <a:pt x="535835" y="4471851"/>
                </a:cubicBezTo>
                <a:cubicBezTo>
                  <a:pt x="530873" y="4461922"/>
                  <a:pt x="528392" y="4451994"/>
                  <a:pt x="525912" y="4442065"/>
                </a:cubicBezTo>
                <a:cubicBezTo>
                  <a:pt x="523429" y="4437101"/>
                  <a:pt x="525912" y="4429657"/>
                  <a:pt x="533353" y="4429657"/>
                </a:cubicBezTo>
                <a:cubicBezTo>
                  <a:pt x="540796" y="4447029"/>
                  <a:pt x="550717" y="4466886"/>
                  <a:pt x="560642" y="4484263"/>
                </a:cubicBezTo>
                <a:cubicBezTo>
                  <a:pt x="570565" y="4501637"/>
                  <a:pt x="580485" y="4521494"/>
                  <a:pt x="590409" y="4538867"/>
                </a:cubicBezTo>
                <a:cubicBezTo>
                  <a:pt x="600331" y="4556244"/>
                  <a:pt x="610255" y="4576101"/>
                  <a:pt x="620177" y="4593475"/>
                </a:cubicBezTo>
                <a:cubicBezTo>
                  <a:pt x="625138" y="4586026"/>
                  <a:pt x="622659" y="4578581"/>
                  <a:pt x="620177" y="4573617"/>
                </a:cubicBezTo>
                <a:cubicBezTo>
                  <a:pt x="605292" y="4546315"/>
                  <a:pt x="592891" y="4519013"/>
                  <a:pt x="578006" y="4491709"/>
                </a:cubicBezTo>
                <a:cubicBezTo>
                  <a:pt x="555681" y="4447029"/>
                  <a:pt x="538314" y="4399871"/>
                  <a:pt x="528392" y="4352712"/>
                </a:cubicBezTo>
                <a:cubicBezTo>
                  <a:pt x="525912" y="4345263"/>
                  <a:pt x="523429" y="4337816"/>
                  <a:pt x="525912" y="4332855"/>
                </a:cubicBezTo>
                <a:cubicBezTo>
                  <a:pt x="528392" y="4327891"/>
                  <a:pt x="530873" y="4320443"/>
                  <a:pt x="535835" y="4315479"/>
                </a:cubicBezTo>
                <a:cubicBezTo>
                  <a:pt x="540796" y="4310513"/>
                  <a:pt x="543275" y="4300586"/>
                  <a:pt x="553199" y="4300586"/>
                </a:cubicBezTo>
                <a:cubicBezTo>
                  <a:pt x="560642" y="4300586"/>
                  <a:pt x="565600" y="4303069"/>
                  <a:pt x="573045" y="4303069"/>
                </a:cubicBezTo>
                <a:cubicBezTo>
                  <a:pt x="568083" y="4290657"/>
                  <a:pt x="555681" y="4280729"/>
                  <a:pt x="555681" y="4260871"/>
                </a:cubicBezTo>
                <a:cubicBezTo>
                  <a:pt x="587929" y="4300586"/>
                  <a:pt x="605292" y="4340300"/>
                  <a:pt x="632582" y="4377533"/>
                </a:cubicBezTo>
                <a:cubicBezTo>
                  <a:pt x="637544" y="4372569"/>
                  <a:pt x="642505" y="4367601"/>
                  <a:pt x="647467" y="4362637"/>
                </a:cubicBezTo>
                <a:cubicBezTo>
                  <a:pt x="649946" y="4360157"/>
                  <a:pt x="649946" y="4357676"/>
                  <a:pt x="649946" y="4355193"/>
                </a:cubicBezTo>
                <a:cubicBezTo>
                  <a:pt x="649946" y="4347748"/>
                  <a:pt x="647467" y="4337817"/>
                  <a:pt x="644984" y="4330371"/>
                </a:cubicBezTo>
                <a:cubicBezTo>
                  <a:pt x="632582" y="4288177"/>
                  <a:pt x="620177" y="4248462"/>
                  <a:pt x="610255" y="4206268"/>
                </a:cubicBezTo>
                <a:cubicBezTo>
                  <a:pt x="605292" y="4191375"/>
                  <a:pt x="605292" y="4173999"/>
                  <a:pt x="602813" y="4156625"/>
                </a:cubicBezTo>
                <a:cubicBezTo>
                  <a:pt x="602813" y="4151661"/>
                  <a:pt x="605292" y="4146696"/>
                  <a:pt x="610255" y="4136768"/>
                </a:cubicBezTo>
                <a:cubicBezTo>
                  <a:pt x="615216" y="4146696"/>
                  <a:pt x="617698" y="4154145"/>
                  <a:pt x="620177" y="4159109"/>
                </a:cubicBezTo>
                <a:cubicBezTo>
                  <a:pt x="637544" y="4226122"/>
                  <a:pt x="657389" y="4295624"/>
                  <a:pt x="674754" y="4365121"/>
                </a:cubicBezTo>
                <a:cubicBezTo>
                  <a:pt x="674754" y="4365121"/>
                  <a:pt x="677233" y="4367601"/>
                  <a:pt x="677233" y="4367601"/>
                </a:cubicBezTo>
                <a:cubicBezTo>
                  <a:pt x="677233" y="4365121"/>
                  <a:pt x="677233" y="4362637"/>
                  <a:pt x="684676" y="4362637"/>
                </a:cubicBezTo>
                <a:cubicBezTo>
                  <a:pt x="689638" y="4377533"/>
                  <a:pt x="692118" y="4389943"/>
                  <a:pt x="697081" y="4404835"/>
                </a:cubicBezTo>
                <a:cubicBezTo>
                  <a:pt x="697081" y="4399871"/>
                  <a:pt x="699561" y="4397388"/>
                  <a:pt x="702040" y="4392422"/>
                </a:cubicBezTo>
                <a:cubicBezTo>
                  <a:pt x="714445" y="4427172"/>
                  <a:pt x="731809" y="4456959"/>
                  <a:pt x="736771" y="4491709"/>
                </a:cubicBezTo>
                <a:cubicBezTo>
                  <a:pt x="719407" y="4476816"/>
                  <a:pt x="711964" y="4454478"/>
                  <a:pt x="704522" y="4434621"/>
                </a:cubicBezTo>
                <a:cubicBezTo>
                  <a:pt x="707001" y="4437102"/>
                  <a:pt x="707001" y="4442066"/>
                  <a:pt x="709484" y="4447029"/>
                </a:cubicBezTo>
                <a:cubicBezTo>
                  <a:pt x="714445" y="4466887"/>
                  <a:pt x="721886" y="4484263"/>
                  <a:pt x="731809" y="4501637"/>
                </a:cubicBezTo>
                <a:cubicBezTo>
                  <a:pt x="739252" y="4516530"/>
                  <a:pt x="749176" y="4531423"/>
                  <a:pt x="754137" y="4546315"/>
                </a:cubicBezTo>
                <a:lnTo>
                  <a:pt x="777975" y="4541978"/>
                </a:lnTo>
                <a:lnTo>
                  <a:pt x="786386" y="4553760"/>
                </a:lnTo>
                <a:cubicBezTo>
                  <a:pt x="793829" y="4563688"/>
                  <a:pt x="803753" y="4576101"/>
                  <a:pt x="808714" y="4588509"/>
                </a:cubicBezTo>
                <a:cubicBezTo>
                  <a:pt x="818634" y="4610847"/>
                  <a:pt x="831039" y="4630708"/>
                  <a:pt x="840961" y="4648080"/>
                </a:cubicBezTo>
                <a:cubicBezTo>
                  <a:pt x="843441" y="4645597"/>
                  <a:pt x="848403" y="4643116"/>
                  <a:pt x="853364" y="4643116"/>
                </a:cubicBezTo>
                <a:cubicBezTo>
                  <a:pt x="838480" y="4610847"/>
                  <a:pt x="823595" y="4581065"/>
                  <a:pt x="811193" y="4548795"/>
                </a:cubicBezTo>
                <a:cubicBezTo>
                  <a:pt x="811193" y="4546315"/>
                  <a:pt x="808714" y="4546315"/>
                  <a:pt x="808714" y="4543831"/>
                </a:cubicBezTo>
                <a:cubicBezTo>
                  <a:pt x="803750" y="4541349"/>
                  <a:pt x="799408" y="4540108"/>
                  <a:pt x="794138" y="4539178"/>
                </a:cubicBezTo>
                <a:lnTo>
                  <a:pt x="779347" y="4537130"/>
                </a:lnTo>
                <a:lnTo>
                  <a:pt x="751345" y="4480229"/>
                </a:lnTo>
                <a:cubicBezTo>
                  <a:pt x="742973" y="4459441"/>
                  <a:pt x="735530" y="4438343"/>
                  <a:pt x="726847" y="4417245"/>
                </a:cubicBezTo>
                <a:cubicBezTo>
                  <a:pt x="724368" y="4412281"/>
                  <a:pt x="724368" y="4404835"/>
                  <a:pt x="719407" y="4399871"/>
                </a:cubicBezTo>
                <a:cubicBezTo>
                  <a:pt x="704522" y="4377533"/>
                  <a:pt x="697081" y="4355193"/>
                  <a:pt x="692118" y="4330371"/>
                </a:cubicBezTo>
                <a:cubicBezTo>
                  <a:pt x="687155" y="4308034"/>
                  <a:pt x="682197" y="4283212"/>
                  <a:pt x="674754" y="4258391"/>
                </a:cubicBezTo>
                <a:cubicBezTo>
                  <a:pt x="669792" y="4241017"/>
                  <a:pt x="664830" y="4223641"/>
                  <a:pt x="659869" y="4208748"/>
                </a:cubicBezTo>
                <a:cubicBezTo>
                  <a:pt x="654908" y="4191375"/>
                  <a:pt x="649946" y="4173999"/>
                  <a:pt x="649946" y="4156625"/>
                </a:cubicBezTo>
                <a:cubicBezTo>
                  <a:pt x="657389" y="4151661"/>
                  <a:pt x="662351" y="4151661"/>
                  <a:pt x="664830" y="4156625"/>
                </a:cubicBezTo>
                <a:cubicBezTo>
                  <a:pt x="667313" y="4149177"/>
                  <a:pt x="669792" y="4144213"/>
                  <a:pt x="669792" y="4136768"/>
                </a:cubicBezTo>
                <a:cubicBezTo>
                  <a:pt x="669792" y="4129322"/>
                  <a:pt x="664830" y="4119395"/>
                  <a:pt x="662351" y="4109467"/>
                </a:cubicBezTo>
                <a:cubicBezTo>
                  <a:pt x="664830" y="4104501"/>
                  <a:pt x="667313" y="4097054"/>
                  <a:pt x="672274" y="4087125"/>
                </a:cubicBezTo>
                <a:cubicBezTo>
                  <a:pt x="679715" y="4092089"/>
                  <a:pt x="682197" y="4094574"/>
                  <a:pt x="684676" y="4099537"/>
                </a:cubicBezTo>
                <a:cubicBezTo>
                  <a:pt x="704522" y="4141732"/>
                  <a:pt x="721886" y="4183931"/>
                  <a:pt x="741732" y="4226122"/>
                </a:cubicBezTo>
                <a:cubicBezTo>
                  <a:pt x="746693" y="4236053"/>
                  <a:pt x="756617" y="4245983"/>
                  <a:pt x="761578" y="4258391"/>
                </a:cubicBezTo>
                <a:cubicBezTo>
                  <a:pt x="764061" y="4260872"/>
                  <a:pt x="764061" y="4265840"/>
                  <a:pt x="766539" y="4268320"/>
                </a:cubicBezTo>
                <a:cubicBezTo>
                  <a:pt x="769022" y="4260872"/>
                  <a:pt x="769022" y="4255908"/>
                  <a:pt x="766539" y="4248462"/>
                </a:cubicBezTo>
                <a:cubicBezTo>
                  <a:pt x="764061" y="4243498"/>
                  <a:pt x="764061" y="4238534"/>
                  <a:pt x="764061" y="4233570"/>
                </a:cubicBezTo>
                <a:cubicBezTo>
                  <a:pt x="764061" y="4221160"/>
                  <a:pt x="771501" y="4216196"/>
                  <a:pt x="783907" y="4221160"/>
                </a:cubicBezTo>
                <a:cubicBezTo>
                  <a:pt x="786386" y="4223641"/>
                  <a:pt x="788868" y="4226122"/>
                  <a:pt x="791347" y="4228605"/>
                </a:cubicBezTo>
                <a:cubicBezTo>
                  <a:pt x="791347" y="4228605"/>
                  <a:pt x="793829" y="4228605"/>
                  <a:pt x="796308" y="4228605"/>
                </a:cubicBezTo>
                <a:cubicBezTo>
                  <a:pt x="793829" y="4226122"/>
                  <a:pt x="793829" y="4221160"/>
                  <a:pt x="791347" y="4218677"/>
                </a:cubicBezTo>
                <a:cubicBezTo>
                  <a:pt x="788868" y="4218677"/>
                  <a:pt x="783907" y="4216196"/>
                  <a:pt x="781424" y="4213713"/>
                </a:cubicBezTo>
                <a:cubicBezTo>
                  <a:pt x="776462" y="4211232"/>
                  <a:pt x="773983" y="4201303"/>
                  <a:pt x="778944" y="4198820"/>
                </a:cubicBezTo>
                <a:cubicBezTo>
                  <a:pt x="778944" y="4193856"/>
                  <a:pt x="776462" y="4191375"/>
                  <a:pt x="776462" y="4186410"/>
                </a:cubicBezTo>
                <a:cubicBezTo>
                  <a:pt x="773983" y="4176482"/>
                  <a:pt x="771501" y="4164070"/>
                  <a:pt x="766539" y="4154145"/>
                </a:cubicBezTo>
                <a:cubicBezTo>
                  <a:pt x="749176" y="4114428"/>
                  <a:pt x="731809" y="4074717"/>
                  <a:pt x="719407" y="4035003"/>
                </a:cubicBezTo>
                <a:cubicBezTo>
                  <a:pt x="716925" y="4027554"/>
                  <a:pt x="711964" y="4020109"/>
                  <a:pt x="707001" y="4012665"/>
                </a:cubicBezTo>
                <a:cubicBezTo>
                  <a:pt x="694599" y="3995288"/>
                  <a:pt x="682197" y="3977915"/>
                  <a:pt x="672274" y="3960538"/>
                </a:cubicBezTo>
                <a:cubicBezTo>
                  <a:pt x="667313" y="3955574"/>
                  <a:pt x="667313" y="3945645"/>
                  <a:pt x="667313" y="3938201"/>
                </a:cubicBezTo>
                <a:cubicBezTo>
                  <a:pt x="667313" y="3935720"/>
                  <a:pt x="669792" y="3933237"/>
                  <a:pt x="672274" y="3933237"/>
                </a:cubicBezTo>
                <a:cubicBezTo>
                  <a:pt x="674754" y="3933237"/>
                  <a:pt x="677233" y="3933237"/>
                  <a:pt x="679715" y="3935720"/>
                </a:cubicBezTo>
                <a:cubicBezTo>
                  <a:pt x="687155" y="3943165"/>
                  <a:pt x="684676" y="3958058"/>
                  <a:pt x="699561" y="3958058"/>
                </a:cubicBezTo>
                <a:cubicBezTo>
                  <a:pt x="709484" y="3953094"/>
                  <a:pt x="707001" y="3945645"/>
                  <a:pt x="704522" y="3940681"/>
                </a:cubicBezTo>
                <a:cubicBezTo>
                  <a:pt x="694599" y="3910899"/>
                  <a:pt x="687155" y="3878630"/>
                  <a:pt x="684676" y="3846364"/>
                </a:cubicBezTo>
                <a:cubicBezTo>
                  <a:pt x="694599" y="3876149"/>
                  <a:pt x="704522" y="3903451"/>
                  <a:pt x="714445" y="3933237"/>
                </a:cubicBezTo>
                <a:cubicBezTo>
                  <a:pt x="719407" y="3945645"/>
                  <a:pt x="721886" y="3960538"/>
                  <a:pt x="729330" y="3970466"/>
                </a:cubicBezTo>
                <a:cubicBezTo>
                  <a:pt x="736771" y="3982879"/>
                  <a:pt x="744215" y="3995288"/>
                  <a:pt x="746693" y="4010180"/>
                </a:cubicBezTo>
                <a:cubicBezTo>
                  <a:pt x="749176" y="4020109"/>
                  <a:pt x="756617" y="4025073"/>
                  <a:pt x="764061" y="4037483"/>
                </a:cubicBezTo>
                <a:cubicBezTo>
                  <a:pt x="766539" y="4030039"/>
                  <a:pt x="766539" y="4025073"/>
                  <a:pt x="766539" y="4022593"/>
                </a:cubicBezTo>
                <a:cubicBezTo>
                  <a:pt x="766539" y="4002733"/>
                  <a:pt x="749176" y="3982879"/>
                  <a:pt x="764061" y="3960538"/>
                </a:cubicBezTo>
                <a:cubicBezTo>
                  <a:pt x="759098" y="3943165"/>
                  <a:pt x="751655" y="3925788"/>
                  <a:pt x="746693" y="3908415"/>
                </a:cubicBezTo>
                <a:cubicBezTo>
                  <a:pt x="731809" y="3858773"/>
                  <a:pt x="716925" y="3811614"/>
                  <a:pt x="702040" y="3761971"/>
                </a:cubicBezTo>
                <a:cubicBezTo>
                  <a:pt x="699561" y="3752043"/>
                  <a:pt x="699561" y="3742114"/>
                  <a:pt x="697081" y="3729705"/>
                </a:cubicBezTo>
                <a:cubicBezTo>
                  <a:pt x="699561" y="3732186"/>
                  <a:pt x="704522" y="3732186"/>
                  <a:pt x="704522" y="3734669"/>
                </a:cubicBezTo>
                <a:cubicBezTo>
                  <a:pt x="721886" y="3766936"/>
                  <a:pt x="744215" y="3794240"/>
                  <a:pt x="756617" y="3826506"/>
                </a:cubicBezTo>
                <a:cubicBezTo>
                  <a:pt x="764061" y="3848843"/>
                  <a:pt x="773983" y="3871185"/>
                  <a:pt x="781424" y="3893523"/>
                </a:cubicBezTo>
                <a:cubicBezTo>
                  <a:pt x="798788" y="3948129"/>
                  <a:pt x="821115" y="4000252"/>
                  <a:pt x="833518" y="4054860"/>
                </a:cubicBezTo>
                <a:cubicBezTo>
                  <a:pt x="843441" y="4094574"/>
                  <a:pt x="865770" y="4131803"/>
                  <a:pt x="878171" y="4169034"/>
                </a:cubicBezTo>
                <a:cubicBezTo>
                  <a:pt x="880653" y="4166553"/>
                  <a:pt x="885616" y="4166553"/>
                  <a:pt x="888095" y="4166553"/>
                </a:cubicBezTo>
                <a:lnTo>
                  <a:pt x="888095" y="4151661"/>
                </a:lnTo>
                <a:cubicBezTo>
                  <a:pt x="888095" y="4154145"/>
                  <a:pt x="888095" y="4159109"/>
                  <a:pt x="893056" y="4161589"/>
                </a:cubicBezTo>
                <a:cubicBezTo>
                  <a:pt x="895538" y="4161589"/>
                  <a:pt x="895538" y="4159109"/>
                  <a:pt x="898017" y="4159109"/>
                </a:cubicBezTo>
                <a:cubicBezTo>
                  <a:pt x="895538" y="4156625"/>
                  <a:pt x="895538" y="4151661"/>
                  <a:pt x="895538" y="4149177"/>
                </a:cubicBezTo>
                <a:cubicBezTo>
                  <a:pt x="893056" y="4149177"/>
                  <a:pt x="890577" y="4149177"/>
                  <a:pt x="888095" y="4151661"/>
                </a:cubicBezTo>
                <a:lnTo>
                  <a:pt x="888095" y="4144213"/>
                </a:lnTo>
                <a:cubicBezTo>
                  <a:pt x="888095" y="4141732"/>
                  <a:pt x="888095" y="4141732"/>
                  <a:pt x="890577" y="4139249"/>
                </a:cubicBezTo>
                <a:cubicBezTo>
                  <a:pt x="893057" y="4142972"/>
                  <a:pt x="895538" y="4146075"/>
                  <a:pt x="898948" y="4148248"/>
                </a:cubicBezTo>
                <a:lnTo>
                  <a:pt x="905462" y="4149840"/>
                </a:lnTo>
                <a:lnTo>
                  <a:pt x="905462" y="4151661"/>
                </a:lnTo>
                <a:lnTo>
                  <a:pt x="907902" y="4150438"/>
                </a:lnTo>
                <a:lnTo>
                  <a:pt x="912902" y="4151661"/>
                </a:lnTo>
                <a:cubicBezTo>
                  <a:pt x="910420" y="4156625"/>
                  <a:pt x="907941" y="4164070"/>
                  <a:pt x="902978" y="4171518"/>
                </a:cubicBezTo>
                <a:cubicBezTo>
                  <a:pt x="902978" y="4173999"/>
                  <a:pt x="905462" y="4176482"/>
                  <a:pt x="905462" y="4178963"/>
                </a:cubicBezTo>
                <a:cubicBezTo>
                  <a:pt x="910420" y="4181446"/>
                  <a:pt x="915384" y="4181446"/>
                  <a:pt x="920345" y="4183931"/>
                </a:cubicBezTo>
                <a:cubicBezTo>
                  <a:pt x="920345" y="4193856"/>
                  <a:pt x="920345" y="4201303"/>
                  <a:pt x="927787" y="4206268"/>
                </a:cubicBezTo>
                <a:cubicBezTo>
                  <a:pt x="932748" y="4208748"/>
                  <a:pt x="932748" y="4213713"/>
                  <a:pt x="930269" y="4216196"/>
                </a:cubicBezTo>
                <a:cubicBezTo>
                  <a:pt x="922824" y="4216196"/>
                  <a:pt x="912902" y="4213713"/>
                  <a:pt x="902978" y="4213713"/>
                </a:cubicBezTo>
                <a:cubicBezTo>
                  <a:pt x="907941" y="4228605"/>
                  <a:pt x="912902" y="4241017"/>
                  <a:pt x="925304" y="4248462"/>
                </a:cubicBezTo>
                <a:cubicBezTo>
                  <a:pt x="922824" y="4243498"/>
                  <a:pt x="917863" y="4236053"/>
                  <a:pt x="915384" y="4231089"/>
                </a:cubicBezTo>
                <a:cubicBezTo>
                  <a:pt x="930269" y="4233570"/>
                  <a:pt x="937709" y="4238534"/>
                  <a:pt x="935227" y="4255908"/>
                </a:cubicBezTo>
                <a:cubicBezTo>
                  <a:pt x="947633" y="4263355"/>
                  <a:pt x="960034" y="4275765"/>
                  <a:pt x="972440" y="4288177"/>
                </a:cubicBezTo>
                <a:cubicBezTo>
                  <a:pt x="964996" y="4265840"/>
                  <a:pt x="957555" y="4243498"/>
                  <a:pt x="950112" y="4221160"/>
                </a:cubicBezTo>
                <a:cubicBezTo>
                  <a:pt x="952594" y="4223641"/>
                  <a:pt x="957555" y="4226122"/>
                  <a:pt x="960034" y="4231089"/>
                </a:cubicBezTo>
                <a:cubicBezTo>
                  <a:pt x="969958" y="4250943"/>
                  <a:pt x="977401" y="4273284"/>
                  <a:pt x="987325" y="4295624"/>
                </a:cubicBezTo>
                <a:cubicBezTo>
                  <a:pt x="992286" y="4303069"/>
                  <a:pt x="994765" y="4310514"/>
                  <a:pt x="999726" y="4320443"/>
                </a:cubicBezTo>
                <a:cubicBezTo>
                  <a:pt x="1004687" y="4317962"/>
                  <a:pt x="1007171" y="4312998"/>
                  <a:pt x="1012132" y="4310514"/>
                </a:cubicBezTo>
                <a:cubicBezTo>
                  <a:pt x="1009650" y="4305550"/>
                  <a:pt x="1009650" y="4298105"/>
                  <a:pt x="1007171" y="4293141"/>
                </a:cubicBezTo>
                <a:cubicBezTo>
                  <a:pt x="1004687" y="4290657"/>
                  <a:pt x="1002208" y="4285693"/>
                  <a:pt x="999726" y="4283212"/>
                </a:cubicBezTo>
                <a:cubicBezTo>
                  <a:pt x="987325" y="4268320"/>
                  <a:pt x="987325" y="4248462"/>
                  <a:pt x="989804" y="4231089"/>
                </a:cubicBezTo>
                <a:cubicBezTo>
                  <a:pt x="962516" y="4121875"/>
                  <a:pt x="940188" y="4010180"/>
                  <a:pt x="902978" y="3903451"/>
                </a:cubicBezTo>
                <a:cubicBezTo>
                  <a:pt x="900499" y="3898487"/>
                  <a:pt x="900499" y="3891039"/>
                  <a:pt x="900499" y="3883594"/>
                </a:cubicBezTo>
                <a:cubicBezTo>
                  <a:pt x="900499" y="3881113"/>
                  <a:pt x="898017" y="3881113"/>
                  <a:pt x="898017" y="3881113"/>
                </a:cubicBezTo>
                <a:cubicBezTo>
                  <a:pt x="895538" y="3878630"/>
                  <a:pt x="893056" y="3876149"/>
                  <a:pt x="893056" y="3873666"/>
                </a:cubicBezTo>
                <a:cubicBezTo>
                  <a:pt x="893056" y="3861256"/>
                  <a:pt x="885616" y="3853809"/>
                  <a:pt x="880653" y="3843880"/>
                </a:cubicBezTo>
                <a:cubicBezTo>
                  <a:pt x="880653" y="3843880"/>
                  <a:pt x="878171" y="3841399"/>
                  <a:pt x="875692" y="3841399"/>
                </a:cubicBezTo>
                <a:cubicBezTo>
                  <a:pt x="870731" y="3838916"/>
                  <a:pt x="870731" y="3836435"/>
                  <a:pt x="870731" y="3831471"/>
                </a:cubicBezTo>
                <a:cubicBezTo>
                  <a:pt x="870731" y="3826506"/>
                  <a:pt x="870731" y="3824025"/>
                  <a:pt x="865770" y="3821542"/>
                </a:cubicBezTo>
                <a:cubicBezTo>
                  <a:pt x="863287" y="3821542"/>
                  <a:pt x="860807" y="3819059"/>
                  <a:pt x="858325" y="3816578"/>
                </a:cubicBezTo>
                <a:cubicBezTo>
                  <a:pt x="853364" y="3809131"/>
                  <a:pt x="848403" y="3801685"/>
                  <a:pt x="843441" y="3794240"/>
                </a:cubicBezTo>
                <a:cubicBezTo>
                  <a:pt x="838480" y="3789276"/>
                  <a:pt x="838480" y="3784308"/>
                  <a:pt x="838480" y="3779345"/>
                </a:cubicBezTo>
                <a:cubicBezTo>
                  <a:pt x="838480" y="3774383"/>
                  <a:pt x="836000" y="3771900"/>
                  <a:pt x="836000" y="3766936"/>
                </a:cubicBezTo>
                <a:cubicBezTo>
                  <a:pt x="836000" y="3761971"/>
                  <a:pt x="831039" y="3759490"/>
                  <a:pt x="826078" y="3757007"/>
                </a:cubicBezTo>
                <a:cubicBezTo>
                  <a:pt x="826078" y="3754524"/>
                  <a:pt x="823595" y="3754524"/>
                  <a:pt x="821115" y="3754524"/>
                </a:cubicBezTo>
                <a:cubicBezTo>
                  <a:pt x="816154" y="3752043"/>
                  <a:pt x="813672" y="3749562"/>
                  <a:pt x="813672" y="3744598"/>
                </a:cubicBezTo>
                <a:cubicBezTo>
                  <a:pt x="813672" y="3742114"/>
                  <a:pt x="813672" y="3737150"/>
                  <a:pt x="808714" y="3734669"/>
                </a:cubicBezTo>
                <a:cubicBezTo>
                  <a:pt x="803753" y="3732186"/>
                  <a:pt x="798788" y="3729705"/>
                  <a:pt x="796308" y="3724741"/>
                </a:cubicBezTo>
                <a:cubicBezTo>
                  <a:pt x="781424" y="3697436"/>
                  <a:pt x="764061" y="3670134"/>
                  <a:pt x="746693" y="3642829"/>
                </a:cubicBezTo>
                <a:cubicBezTo>
                  <a:pt x="744215" y="3637867"/>
                  <a:pt x="741732" y="3632903"/>
                  <a:pt x="744215" y="3625455"/>
                </a:cubicBezTo>
                <a:cubicBezTo>
                  <a:pt x="746693" y="3620491"/>
                  <a:pt x="744215" y="3615527"/>
                  <a:pt x="741732" y="3610563"/>
                </a:cubicBezTo>
                <a:cubicBezTo>
                  <a:pt x="736771" y="3600638"/>
                  <a:pt x="729330" y="3590706"/>
                  <a:pt x="724368" y="3580777"/>
                </a:cubicBezTo>
                <a:cubicBezTo>
                  <a:pt x="721886" y="3575816"/>
                  <a:pt x="721886" y="3573333"/>
                  <a:pt x="721886" y="3568369"/>
                </a:cubicBezTo>
                <a:cubicBezTo>
                  <a:pt x="719407" y="3558440"/>
                  <a:pt x="714445" y="3548511"/>
                  <a:pt x="704522" y="3543546"/>
                </a:cubicBezTo>
                <a:cubicBezTo>
                  <a:pt x="704522" y="3541066"/>
                  <a:pt x="702040" y="3541066"/>
                  <a:pt x="702040" y="3538582"/>
                </a:cubicBezTo>
                <a:cubicBezTo>
                  <a:pt x="702040" y="3533618"/>
                  <a:pt x="702040" y="3531135"/>
                  <a:pt x="699561" y="3528655"/>
                </a:cubicBezTo>
                <a:cubicBezTo>
                  <a:pt x="687155" y="3508798"/>
                  <a:pt x="674754" y="3488943"/>
                  <a:pt x="662351" y="3469083"/>
                </a:cubicBezTo>
                <a:cubicBezTo>
                  <a:pt x="649946" y="3451710"/>
                  <a:pt x="640023" y="3434336"/>
                  <a:pt x="630101" y="3416960"/>
                </a:cubicBezTo>
                <a:cubicBezTo>
                  <a:pt x="627621" y="3411996"/>
                  <a:pt x="627621" y="3409515"/>
                  <a:pt x="627621" y="3407032"/>
                </a:cubicBezTo>
                <a:cubicBezTo>
                  <a:pt x="627621" y="3404551"/>
                  <a:pt x="627621" y="3402067"/>
                  <a:pt x="625138" y="3402067"/>
                </a:cubicBezTo>
                <a:cubicBezTo>
                  <a:pt x="620177" y="3402067"/>
                  <a:pt x="617698" y="3399586"/>
                  <a:pt x="617698" y="3397103"/>
                </a:cubicBezTo>
                <a:cubicBezTo>
                  <a:pt x="617698" y="3389658"/>
                  <a:pt x="615216" y="3384694"/>
                  <a:pt x="610255" y="3377245"/>
                </a:cubicBezTo>
                <a:cubicBezTo>
                  <a:pt x="602813" y="3367318"/>
                  <a:pt x="595370" y="3354908"/>
                  <a:pt x="587929" y="3342496"/>
                </a:cubicBezTo>
                <a:cubicBezTo>
                  <a:pt x="582967" y="3337532"/>
                  <a:pt x="582967" y="3332567"/>
                  <a:pt x="582967" y="3327606"/>
                </a:cubicBezTo>
                <a:cubicBezTo>
                  <a:pt x="582967" y="3322642"/>
                  <a:pt x="580485" y="3317677"/>
                  <a:pt x="575524" y="3315194"/>
                </a:cubicBezTo>
                <a:cubicBezTo>
                  <a:pt x="570565" y="3312711"/>
                  <a:pt x="565600" y="3305266"/>
                  <a:pt x="565600" y="3297820"/>
                </a:cubicBezTo>
                <a:cubicBezTo>
                  <a:pt x="565600" y="3292856"/>
                  <a:pt x="563121" y="3287892"/>
                  <a:pt x="558160" y="3285409"/>
                </a:cubicBezTo>
                <a:cubicBezTo>
                  <a:pt x="553199" y="3282924"/>
                  <a:pt x="548238" y="3277963"/>
                  <a:pt x="545758" y="3272999"/>
                </a:cubicBezTo>
                <a:cubicBezTo>
                  <a:pt x="543275" y="3268035"/>
                  <a:pt x="538314" y="3265552"/>
                  <a:pt x="535835" y="3260587"/>
                </a:cubicBezTo>
                <a:cubicBezTo>
                  <a:pt x="525912" y="3250659"/>
                  <a:pt x="525912" y="3238249"/>
                  <a:pt x="530873" y="3225838"/>
                </a:cubicBezTo>
                <a:cubicBezTo>
                  <a:pt x="530873" y="3225838"/>
                  <a:pt x="533353" y="3223357"/>
                  <a:pt x="535835" y="3223357"/>
                </a:cubicBezTo>
                <a:cubicBezTo>
                  <a:pt x="535835" y="3223357"/>
                  <a:pt x="540796" y="3223357"/>
                  <a:pt x="540796" y="3225838"/>
                </a:cubicBezTo>
                <a:cubicBezTo>
                  <a:pt x="543275" y="3228321"/>
                  <a:pt x="543275" y="3230802"/>
                  <a:pt x="545758" y="3233285"/>
                </a:cubicBezTo>
                <a:cubicBezTo>
                  <a:pt x="550717" y="3240734"/>
                  <a:pt x="555681" y="3248178"/>
                  <a:pt x="560642" y="3255623"/>
                </a:cubicBezTo>
                <a:cubicBezTo>
                  <a:pt x="560642" y="3258106"/>
                  <a:pt x="563121" y="3258106"/>
                  <a:pt x="563121" y="3258106"/>
                </a:cubicBezTo>
                <a:cubicBezTo>
                  <a:pt x="563121" y="3255623"/>
                  <a:pt x="565600" y="3255623"/>
                  <a:pt x="565600" y="3253142"/>
                </a:cubicBezTo>
                <a:cubicBezTo>
                  <a:pt x="568083" y="3248178"/>
                  <a:pt x="568083" y="3245695"/>
                  <a:pt x="565600" y="3240734"/>
                </a:cubicBezTo>
                <a:cubicBezTo>
                  <a:pt x="560642" y="3230802"/>
                  <a:pt x="553199" y="3220873"/>
                  <a:pt x="548238" y="3210948"/>
                </a:cubicBezTo>
                <a:cubicBezTo>
                  <a:pt x="545758" y="3205984"/>
                  <a:pt x="545758" y="3203500"/>
                  <a:pt x="545758" y="3201016"/>
                </a:cubicBezTo>
                <a:cubicBezTo>
                  <a:pt x="545758" y="3193571"/>
                  <a:pt x="540796" y="3188607"/>
                  <a:pt x="535835" y="3186126"/>
                </a:cubicBezTo>
                <a:cubicBezTo>
                  <a:pt x="533353" y="3186126"/>
                  <a:pt x="530873" y="3183643"/>
                  <a:pt x="528392" y="3181162"/>
                </a:cubicBezTo>
                <a:cubicBezTo>
                  <a:pt x="528392" y="3176197"/>
                  <a:pt x="525912" y="3173714"/>
                  <a:pt x="525912" y="3171231"/>
                </a:cubicBezTo>
                <a:cubicBezTo>
                  <a:pt x="528392" y="3158821"/>
                  <a:pt x="530873" y="3146413"/>
                  <a:pt x="533353" y="3134000"/>
                </a:cubicBezTo>
                <a:cubicBezTo>
                  <a:pt x="535835" y="3129039"/>
                  <a:pt x="533353" y="3126556"/>
                  <a:pt x="528392" y="3124071"/>
                </a:cubicBezTo>
                <a:cubicBezTo>
                  <a:pt x="525912" y="3121591"/>
                  <a:pt x="523429" y="3121591"/>
                  <a:pt x="523429" y="3119107"/>
                </a:cubicBezTo>
                <a:cubicBezTo>
                  <a:pt x="523429" y="3114143"/>
                  <a:pt x="523429" y="3111662"/>
                  <a:pt x="520950" y="3106698"/>
                </a:cubicBezTo>
                <a:cubicBezTo>
                  <a:pt x="515989" y="3099254"/>
                  <a:pt x="513507" y="3091805"/>
                  <a:pt x="508546" y="3084357"/>
                </a:cubicBezTo>
                <a:cubicBezTo>
                  <a:pt x="506066" y="3076912"/>
                  <a:pt x="498622" y="3071948"/>
                  <a:pt x="501104" y="3062019"/>
                </a:cubicBezTo>
                <a:cubicBezTo>
                  <a:pt x="501104" y="3062019"/>
                  <a:pt x="501104" y="3059536"/>
                  <a:pt x="501104" y="3059536"/>
                </a:cubicBezTo>
                <a:cubicBezTo>
                  <a:pt x="496143" y="3052091"/>
                  <a:pt x="493661" y="3042162"/>
                  <a:pt x="483737" y="3037198"/>
                </a:cubicBezTo>
                <a:cubicBezTo>
                  <a:pt x="481258" y="3037198"/>
                  <a:pt x="481258" y="3034718"/>
                  <a:pt x="481258" y="3032234"/>
                </a:cubicBezTo>
                <a:cubicBezTo>
                  <a:pt x="481258" y="3027270"/>
                  <a:pt x="481258" y="3024790"/>
                  <a:pt x="478776" y="3022305"/>
                </a:cubicBezTo>
                <a:cubicBezTo>
                  <a:pt x="473818" y="3012377"/>
                  <a:pt x="466375" y="3002448"/>
                  <a:pt x="461412" y="2992523"/>
                </a:cubicBezTo>
                <a:cubicBezTo>
                  <a:pt x="458933" y="2990040"/>
                  <a:pt x="456451" y="2987559"/>
                  <a:pt x="456451" y="2985075"/>
                </a:cubicBezTo>
                <a:cubicBezTo>
                  <a:pt x="458933" y="2972663"/>
                  <a:pt x="449010" y="2962738"/>
                  <a:pt x="444049" y="2952809"/>
                </a:cubicBezTo>
                <a:cubicBezTo>
                  <a:pt x="441566" y="2947842"/>
                  <a:pt x="441566" y="2945362"/>
                  <a:pt x="441566" y="2942881"/>
                </a:cubicBezTo>
                <a:cubicBezTo>
                  <a:pt x="439084" y="2932952"/>
                  <a:pt x="434126" y="2923024"/>
                  <a:pt x="424203" y="2918059"/>
                </a:cubicBezTo>
                <a:cubicBezTo>
                  <a:pt x="419241" y="2915576"/>
                  <a:pt x="416759" y="2910612"/>
                  <a:pt x="416759" y="2905650"/>
                </a:cubicBezTo>
                <a:cubicBezTo>
                  <a:pt x="416759" y="2903167"/>
                  <a:pt x="416759" y="2900682"/>
                  <a:pt x="414280" y="2900682"/>
                </a:cubicBezTo>
                <a:cubicBezTo>
                  <a:pt x="406835" y="2898202"/>
                  <a:pt x="404357" y="2890754"/>
                  <a:pt x="401874" y="2883310"/>
                </a:cubicBezTo>
                <a:cubicBezTo>
                  <a:pt x="401874" y="2870898"/>
                  <a:pt x="394434" y="2863453"/>
                  <a:pt x="389473" y="2853524"/>
                </a:cubicBezTo>
                <a:cubicBezTo>
                  <a:pt x="389473" y="2851043"/>
                  <a:pt x="386990" y="2848560"/>
                  <a:pt x="386990" y="2846079"/>
                </a:cubicBezTo>
                <a:cubicBezTo>
                  <a:pt x="389473" y="2838631"/>
                  <a:pt x="384510" y="2833667"/>
                  <a:pt x="382028" y="2828703"/>
                </a:cubicBezTo>
                <a:cubicBezTo>
                  <a:pt x="369627" y="2806365"/>
                  <a:pt x="354742" y="2784025"/>
                  <a:pt x="342337" y="2761687"/>
                </a:cubicBezTo>
                <a:cubicBezTo>
                  <a:pt x="339857" y="2756722"/>
                  <a:pt x="337378" y="2751758"/>
                  <a:pt x="337378" y="2744313"/>
                </a:cubicBezTo>
                <a:cubicBezTo>
                  <a:pt x="339857" y="2739349"/>
                  <a:pt x="337378" y="2736865"/>
                  <a:pt x="334896" y="2734384"/>
                </a:cubicBezTo>
                <a:cubicBezTo>
                  <a:pt x="324972" y="2719492"/>
                  <a:pt x="317532" y="2702115"/>
                  <a:pt x="307610" y="2687223"/>
                </a:cubicBezTo>
                <a:cubicBezTo>
                  <a:pt x="307610" y="2684742"/>
                  <a:pt x="305127" y="2682258"/>
                  <a:pt x="305127" y="2679777"/>
                </a:cubicBezTo>
                <a:cubicBezTo>
                  <a:pt x="307610" y="2674813"/>
                  <a:pt x="305127" y="2672330"/>
                  <a:pt x="300165" y="2669849"/>
                </a:cubicBezTo>
                <a:cubicBezTo>
                  <a:pt x="297686" y="2669849"/>
                  <a:pt x="295204" y="2667365"/>
                  <a:pt x="295204" y="2664885"/>
                </a:cubicBezTo>
                <a:cubicBezTo>
                  <a:pt x="295204" y="2657440"/>
                  <a:pt x="292725" y="2652475"/>
                  <a:pt x="287764" y="2645028"/>
                </a:cubicBezTo>
                <a:cubicBezTo>
                  <a:pt x="280319" y="2630135"/>
                  <a:pt x="272879" y="2617722"/>
                  <a:pt x="265435" y="2605314"/>
                </a:cubicBezTo>
                <a:cubicBezTo>
                  <a:pt x="262955" y="2600349"/>
                  <a:pt x="262955" y="2597868"/>
                  <a:pt x="262955" y="2595385"/>
                </a:cubicBezTo>
                <a:cubicBezTo>
                  <a:pt x="265435" y="2585457"/>
                  <a:pt x="265435" y="2578011"/>
                  <a:pt x="260474" y="2570564"/>
                </a:cubicBezTo>
                <a:cubicBezTo>
                  <a:pt x="260474" y="2565600"/>
                  <a:pt x="257994" y="2558154"/>
                  <a:pt x="255512" y="2553190"/>
                </a:cubicBezTo>
                <a:cubicBezTo>
                  <a:pt x="250550" y="2545745"/>
                  <a:pt x="245589" y="2535814"/>
                  <a:pt x="240628" y="2528369"/>
                </a:cubicBezTo>
                <a:cubicBezTo>
                  <a:pt x="238149" y="2525886"/>
                  <a:pt x="238149" y="2520925"/>
                  <a:pt x="238149" y="2518440"/>
                </a:cubicBezTo>
                <a:cubicBezTo>
                  <a:pt x="238149" y="2513476"/>
                  <a:pt x="238149" y="2510996"/>
                  <a:pt x="235667" y="2508512"/>
                </a:cubicBezTo>
                <a:cubicBezTo>
                  <a:pt x="233188" y="2501064"/>
                  <a:pt x="230706" y="2496103"/>
                  <a:pt x="225747" y="2488655"/>
                </a:cubicBezTo>
                <a:cubicBezTo>
                  <a:pt x="223264" y="2483691"/>
                  <a:pt x="220785" y="2478726"/>
                  <a:pt x="220785" y="2473762"/>
                </a:cubicBezTo>
                <a:cubicBezTo>
                  <a:pt x="220785" y="2473762"/>
                  <a:pt x="218303" y="2471281"/>
                  <a:pt x="218303" y="2468798"/>
                </a:cubicBezTo>
                <a:cubicBezTo>
                  <a:pt x="213342" y="2461354"/>
                  <a:pt x="208381" y="2456388"/>
                  <a:pt x="205901" y="2448941"/>
                </a:cubicBezTo>
                <a:cubicBezTo>
                  <a:pt x="203418" y="2448941"/>
                  <a:pt x="203418" y="2446461"/>
                  <a:pt x="203418" y="2443977"/>
                </a:cubicBezTo>
                <a:cubicBezTo>
                  <a:pt x="203418" y="2439012"/>
                  <a:pt x="200939" y="2434051"/>
                  <a:pt x="198457" y="2429084"/>
                </a:cubicBezTo>
                <a:cubicBezTo>
                  <a:pt x="193496" y="2419155"/>
                  <a:pt x="186055" y="2409229"/>
                  <a:pt x="181093" y="2399298"/>
                </a:cubicBezTo>
                <a:cubicBezTo>
                  <a:pt x="181093" y="2386890"/>
                  <a:pt x="173650" y="2379444"/>
                  <a:pt x="168689" y="2369516"/>
                </a:cubicBezTo>
                <a:cubicBezTo>
                  <a:pt x="163726" y="2362068"/>
                  <a:pt x="158765" y="2357103"/>
                  <a:pt x="156286" y="2349658"/>
                </a:cubicBezTo>
                <a:cubicBezTo>
                  <a:pt x="153804" y="2349658"/>
                  <a:pt x="153804" y="2347175"/>
                  <a:pt x="153804" y="2344694"/>
                </a:cubicBezTo>
                <a:cubicBezTo>
                  <a:pt x="153804" y="2339731"/>
                  <a:pt x="153804" y="2337246"/>
                  <a:pt x="151325" y="2332282"/>
                </a:cubicBezTo>
                <a:cubicBezTo>
                  <a:pt x="146363" y="2327319"/>
                  <a:pt x="143880" y="2319874"/>
                  <a:pt x="141401" y="2314908"/>
                </a:cubicBezTo>
                <a:cubicBezTo>
                  <a:pt x="138919" y="2309945"/>
                  <a:pt x="138919" y="2307461"/>
                  <a:pt x="138919" y="2302497"/>
                </a:cubicBezTo>
                <a:cubicBezTo>
                  <a:pt x="141401" y="2297536"/>
                  <a:pt x="141401" y="2290088"/>
                  <a:pt x="136440" y="2285123"/>
                </a:cubicBezTo>
                <a:cubicBezTo>
                  <a:pt x="133958" y="2280160"/>
                  <a:pt x="128996" y="2272713"/>
                  <a:pt x="128996" y="2262786"/>
                </a:cubicBezTo>
                <a:cubicBezTo>
                  <a:pt x="128996" y="2262786"/>
                  <a:pt x="126516" y="2260303"/>
                  <a:pt x="126516" y="2257822"/>
                </a:cubicBezTo>
                <a:cubicBezTo>
                  <a:pt x="121555" y="2247893"/>
                  <a:pt x="114115" y="2240445"/>
                  <a:pt x="114115" y="2228036"/>
                </a:cubicBezTo>
                <a:cubicBezTo>
                  <a:pt x="111633" y="2223072"/>
                  <a:pt x="109150" y="2218108"/>
                  <a:pt x="106670" y="2213143"/>
                </a:cubicBezTo>
                <a:cubicBezTo>
                  <a:pt x="99230" y="2200731"/>
                  <a:pt x="99230" y="2188322"/>
                  <a:pt x="99230" y="2175909"/>
                </a:cubicBezTo>
                <a:cubicBezTo>
                  <a:pt x="99230" y="2173429"/>
                  <a:pt x="99230" y="2170946"/>
                  <a:pt x="99230" y="2168465"/>
                </a:cubicBezTo>
                <a:cubicBezTo>
                  <a:pt x="99230" y="2163501"/>
                  <a:pt x="96748" y="2158536"/>
                  <a:pt x="91787" y="2156056"/>
                </a:cubicBezTo>
                <a:cubicBezTo>
                  <a:pt x="86824" y="2153572"/>
                  <a:pt x="81863" y="2148607"/>
                  <a:pt x="79384" y="2143644"/>
                </a:cubicBezTo>
                <a:cubicBezTo>
                  <a:pt x="66978" y="2123787"/>
                  <a:pt x="54577" y="2103930"/>
                  <a:pt x="42171" y="2084073"/>
                </a:cubicBezTo>
                <a:cubicBezTo>
                  <a:pt x="39692" y="2079108"/>
                  <a:pt x="39692" y="2076627"/>
                  <a:pt x="39692" y="2071663"/>
                </a:cubicBezTo>
                <a:cubicBezTo>
                  <a:pt x="39692" y="2071663"/>
                  <a:pt x="39692" y="2069182"/>
                  <a:pt x="39692" y="2069182"/>
                </a:cubicBezTo>
                <a:cubicBezTo>
                  <a:pt x="34731" y="2064216"/>
                  <a:pt x="32249" y="2056770"/>
                  <a:pt x="29770" y="2051806"/>
                </a:cubicBezTo>
                <a:cubicBezTo>
                  <a:pt x="27287" y="2046842"/>
                  <a:pt x="27287" y="2039398"/>
                  <a:pt x="24807" y="2034430"/>
                </a:cubicBezTo>
                <a:cubicBezTo>
                  <a:pt x="24807" y="2034430"/>
                  <a:pt x="22325" y="2031949"/>
                  <a:pt x="22325" y="2031949"/>
                </a:cubicBezTo>
                <a:cubicBezTo>
                  <a:pt x="19846" y="2026985"/>
                  <a:pt x="17364" y="2022021"/>
                  <a:pt x="17364" y="2017056"/>
                </a:cubicBezTo>
                <a:cubicBezTo>
                  <a:pt x="17364" y="2012092"/>
                  <a:pt x="17364" y="2004645"/>
                  <a:pt x="14885" y="1999684"/>
                </a:cubicBezTo>
                <a:cubicBezTo>
                  <a:pt x="12403" y="1994718"/>
                  <a:pt x="9924" y="1989754"/>
                  <a:pt x="9924" y="1984790"/>
                </a:cubicBezTo>
                <a:cubicBezTo>
                  <a:pt x="12403" y="1979827"/>
                  <a:pt x="9924" y="1974861"/>
                  <a:pt x="9924" y="1969897"/>
                </a:cubicBezTo>
                <a:cubicBezTo>
                  <a:pt x="9924" y="1964933"/>
                  <a:pt x="4961" y="1959969"/>
                  <a:pt x="4961" y="1952521"/>
                </a:cubicBezTo>
                <a:cubicBezTo>
                  <a:pt x="4961" y="1945076"/>
                  <a:pt x="2482" y="1940112"/>
                  <a:pt x="2482" y="1932667"/>
                </a:cubicBezTo>
                <a:cubicBezTo>
                  <a:pt x="2482" y="1927703"/>
                  <a:pt x="0" y="1920255"/>
                  <a:pt x="0" y="1915290"/>
                </a:cubicBezTo>
                <a:cubicBezTo>
                  <a:pt x="0" y="1912810"/>
                  <a:pt x="2482" y="1907846"/>
                  <a:pt x="4961" y="1907846"/>
                </a:cubicBezTo>
                <a:cubicBezTo>
                  <a:pt x="7441" y="1907846"/>
                  <a:pt x="7441" y="1910326"/>
                  <a:pt x="9924" y="1910326"/>
                </a:cubicBezTo>
                <a:cubicBezTo>
                  <a:pt x="12403" y="1910326"/>
                  <a:pt x="12403" y="1912810"/>
                  <a:pt x="12403" y="1912810"/>
                </a:cubicBezTo>
                <a:cubicBezTo>
                  <a:pt x="14885" y="1920255"/>
                  <a:pt x="22325" y="1920255"/>
                  <a:pt x="27287" y="1920255"/>
                </a:cubicBezTo>
                <a:cubicBezTo>
                  <a:pt x="34731" y="1920255"/>
                  <a:pt x="37210" y="1920255"/>
                  <a:pt x="42171" y="1927703"/>
                </a:cubicBezTo>
                <a:cubicBezTo>
                  <a:pt x="49616" y="1937632"/>
                  <a:pt x="57056" y="1950040"/>
                  <a:pt x="64500" y="1962453"/>
                </a:cubicBezTo>
                <a:cubicBezTo>
                  <a:pt x="74423" y="1974861"/>
                  <a:pt x="81863" y="1989754"/>
                  <a:pt x="91787" y="2002164"/>
                </a:cubicBezTo>
                <a:cubicBezTo>
                  <a:pt x="94266" y="2004645"/>
                  <a:pt x="96748" y="2007128"/>
                  <a:pt x="101709" y="2007128"/>
                </a:cubicBezTo>
                <a:cubicBezTo>
                  <a:pt x="106670" y="2009611"/>
                  <a:pt x="109150" y="2007128"/>
                  <a:pt x="111633" y="2002164"/>
                </a:cubicBezTo>
                <a:cubicBezTo>
                  <a:pt x="111633" y="1999684"/>
                  <a:pt x="111633" y="1999684"/>
                  <a:pt x="114115" y="1997199"/>
                </a:cubicBezTo>
                <a:cubicBezTo>
                  <a:pt x="114115" y="1994718"/>
                  <a:pt x="116594" y="1994718"/>
                  <a:pt x="119073" y="1994718"/>
                </a:cubicBezTo>
                <a:cubicBezTo>
                  <a:pt x="119073" y="1994718"/>
                  <a:pt x="121555" y="1997199"/>
                  <a:pt x="121555" y="1997199"/>
                </a:cubicBezTo>
                <a:cubicBezTo>
                  <a:pt x="121555" y="2002164"/>
                  <a:pt x="121555" y="2004645"/>
                  <a:pt x="124034" y="2009611"/>
                </a:cubicBezTo>
                <a:cubicBezTo>
                  <a:pt x="126516" y="2017056"/>
                  <a:pt x="128996" y="2022021"/>
                  <a:pt x="133958" y="2029466"/>
                </a:cubicBezTo>
                <a:cubicBezTo>
                  <a:pt x="136440" y="2034430"/>
                  <a:pt x="133958" y="2039398"/>
                  <a:pt x="136440" y="2041878"/>
                </a:cubicBezTo>
                <a:cubicBezTo>
                  <a:pt x="138919" y="2044361"/>
                  <a:pt x="141401" y="2044361"/>
                  <a:pt x="143880" y="2046842"/>
                </a:cubicBezTo>
                <a:cubicBezTo>
                  <a:pt x="148841" y="2049325"/>
                  <a:pt x="151325" y="2054287"/>
                  <a:pt x="153804" y="2059251"/>
                </a:cubicBezTo>
                <a:cubicBezTo>
                  <a:pt x="156286" y="2064216"/>
                  <a:pt x="158765" y="2066699"/>
                  <a:pt x="161247" y="2066699"/>
                </a:cubicBezTo>
                <a:cubicBezTo>
                  <a:pt x="166209" y="2066699"/>
                  <a:pt x="168689" y="2069182"/>
                  <a:pt x="171171" y="2074148"/>
                </a:cubicBezTo>
                <a:cubicBezTo>
                  <a:pt x="173650" y="2081592"/>
                  <a:pt x="178611" y="2086556"/>
                  <a:pt x="181093" y="2091520"/>
                </a:cubicBezTo>
                <a:cubicBezTo>
                  <a:pt x="186055" y="2096484"/>
                  <a:pt x="191016" y="2096484"/>
                  <a:pt x="198457" y="2096484"/>
                </a:cubicBezTo>
                <a:cubicBezTo>
                  <a:pt x="200939" y="2096484"/>
                  <a:pt x="203418" y="2091520"/>
                  <a:pt x="203418" y="2089037"/>
                </a:cubicBezTo>
                <a:cubicBezTo>
                  <a:pt x="205901" y="2089037"/>
                  <a:pt x="205901" y="2086556"/>
                  <a:pt x="205901" y="2086556"/>
                </a:cubicBezTo>
                <a:cubicBezTo>
                  <a:pt x="208381" y="2086556"/>
                  <a:pt x="210862" y="2086556"/>
                  <a:pt x="210862" y="2089037"/>
                </a:cubicBezTo>
                <a:cubicBezTo>
                  <a:pt x="213342" y="2089037"/>
                  <a:pt x="213342" y="2091520"/>
                  <a:pt x="213342" y="2094001"/>
                </a:cubicBezTo>
                <a:cubicBezTo>
                  <a:pt x="213342" y="2096484"/>
                  <a:pt x="213342" y="2098965"/>
                  <a:pt x="215821" y="2098965"/>
                </a:cubicBezTo>
                <a:cubicBezTo>
                  <a:pt x="220785" y="2098965"/>
                  <a:pt x="223264" y="2101449"/>
                  <a:pt x="225747" y="2106413"/>
                </a:cubicBezTo>
                <a:cubicBezTo>
                  <a:pt x="228226" y="2113857"/>
                  <a:pt x="233188" y="2121306"/>
                  <a:pt x="238149" y="2128751"/>
                </a:cubicBezTo>
                <a:cubicBezTo>
                  <a:pt x="240628" y="2133714"/>
                  <a:pt x="245589" y="2138679"/>
                  <a:pt x="250550" y="2141159"/>
                </a:cubicBezTo>
                <a:cubicBezTo>
                  <a:pt x="255513" y="2143644"/>
                  <a:pt x="255513" y="2146124"/>
                  <a:pt x="257995" y="2151091"/>
                </a:cubicBezTo>
                <a:cubicBezTo>
                  <a:pt x="255513" y="2158536"/>
                  <a:pt x="260474" y="2165982"/>
                  <a:pt x="265435" y="2173429"/>
                </a:cubicBezTo>
                <a:cubicBezTo>
                  <a:pt x="270398" y="2178394"/>
                  <a:pt x="272879" y="2185841"/>
                  <a:pt x="275359" y="2190802"/>
                </a:cubicBezTo>
                <a:cubicBezTo>
                  <a:pt x="280320" y="2200731"/>
                  <a:pt x="287764" y="2205695"/>
                  <a:pt x="297687" y="2208178"/>
                </a:cubicBezTo>
                <a:cubicBezTo>
                  <a:pt x="302648" y="2208178"/>
                  <a:pt x="302648" y="2210662"/>
                  <a:pt x="305127" y="2213143"/>
                </a:cubicBezTo>
                <a:cubicBezTo>
                  <a:pt x="312571" y="2223072"/>
                  <a:pt x="317532" y="2233000"/>
                  <a:pt x="324973" y="2242929"/>
                </a:cubicBezTo>
                <a:cubicBezTo>
                  <a:pt x="324973" y="2245410"/>
                  <a:pt x="329935" y="2245410"/>
                  <a:pt x="332417" y="2245410"/>
                </a:cubicBezTo>
                <a:cubicBezTo>
                  <a:pt x="332417" y="2245410"/>
                  <a:pt x="337378" y="2245410"/>
                  <a:pt x="337378" y="2245410"/>
                </a:cubicBezTo>
                <a:cubicBezTo>
                  <a:pt x="342337" y="2250374"/>
                  <a:pt x="347302" y="2255337"/>
                  <a:pt x="354742" y="2260303"/>
                </a:cubicBezTo>
                <a:cubicBezTo>
                  <a:pt x="357222" y="2262786"/>
                  <a:pt x="359704" y="2265267"/>
                  <a:pt x="362183" y="2270230"/>
                </a:cubicBezTo>
                <a:cubicBezTo>
                  <a:pt x="364665" y="2272713"/>
                  <a:pt x="367144" y="2275195"/>
                  <a:pt x="369627" y="2275195"/>
                </a:cubicBezTo>
                <a:cubicBezTo>
                  <a:pt x="379550" y="2275195"/>
                  <a:pt x="391952" y="2272713"/>
                  <a:pt x="399395" y="2270230"/>
                </a:cubicBezTo>
                <a:cubicBezTo>
                  <a:pt x="404358" y="2267750"/>
                  <a:pt x="409319" y="2262786"/>
                  <a:pt x="414280" y="2260303"/>
                </a:cubicBezTo>
                <a:cubicBezTo>
                  <a:pt x="414280" y="2260303"/>
                  <a:pt x="419241" y="2260303"/>
                  <a:pt x="419241" y="2260303"/>
                </a:cubicBezTo>
                <a:cubicBezTo>
                  <a:pt x="426682" y="2270230"/>
                  <a:pt x="434126" y="2280160"/>
                  <a:pt x="439085" y="2292571"/>
                </a:cubicBezTo>
                <a:cubicBezTo>
                  <a:pt x="439085" y="2295052"/>
                  <a:pt x="439085" y="2297536"/>
                  <a:pt x="439085" y="2300016"/>
                </a:cubicBezTo>
                <a:cubicBezTo>
                  <a:pt x="439085" y="2302497"/>
                  <a:pt x="441567" y="2304981"/>
                  <a:pt x="449011" y="2304981"/>
                </a:cubicBezTo>
                <a:cubicBezTo>
                  <a:pt x="449011" y="2307461"/>
                  <a:pt x="451490" y="2304981"/>
                  <a:pt x="451490" y="2302497"/>
                </a:cubicBezTo>
                <a:cubicBezTo>
                  <a:pt x="451490" y="2302497"/>
                  <a:pt x="451490" y="2300016"/>
                  <a:pt x="451490" y="2300016"/>
                </a:cubicBezTo>
                <a:cubicBezTo>
                  <a:pt x="456451" y="2300016"/>
                  <a:pt x="461413" y="2300016"/>
                  <a:pt x="463892" y="2302497"/>
                </a:cubicBezTo>
                <a:cubicBezTo>
                  <a:pt x="466375" y="2302497"/>
                  <a:pt x="466375" y="2307461"/>
                  <a:pt x="466375" y="2309945"/>
                </a:cubicBezTo>
                <a:cubicBezTo>
                  <a:pt x="466375" y="2312425"/>
                  <a:pt x="466375" y="2314908"/>
                  <a:pt x="468853" y="2314908"/>
                </a:cubicBezTo>
                <a:cubicBezTo>
                  <a:pt x="471336" y="2314908"/>
                  <a:pt x="473818" y="2317389"/>
                  <a:pt x="476297" y="2319874"/>
                </a:cubicBezTo>
                <a:cubicBezTo>
                  <a:pt x="481258" y="2322357"/>
                  <a:pt x="483738" y="2327319"/>
                  <a:pt x="486221" y="2332282"/>
                </a:cubicBezTo>
                <a:cubicBezTo>
                  <a:pt x="488700" y="2337246"/>
                  <a:pt x="491182" y="2339731"/>
                  <a:pt x="496143" y="2339731"/>
                </a:cubicBezTo>
                <a:cubicBezTo>
                  <a:pt x="503584" y="2339731"/>
                  <a:pt x="508546" y="2342212"/>
                  <a:pt x="511028" y="2349658"/>
                </a:cubicBezTo>
                <a:cubicBezTo>
                  <a:pt x="515989" y="2357103"/>
                  <a:pt x="520950" y="2364548"/>
                  <a:pt x="528392" y="2367033"/>
                </a:cubicBezTo>
                <a:cubicBezTo>
                  <a:pt x="530874" y="2369516"/>
                  <a:pt x="533353" y="2374480"/>
                  <a:pt x="535835" y="2376960"/>
                </a:cubicBezTo>
                <a:cubicBezTo>
                  <a:pt x="540796" y="2379444"/>
                  <a:pt x="543276" y="2384409"/>
                  <a:pt x="545759" y="2389370"/>
                </a:cubicBezTo>
                <a:cubicBezTo>
                  <a:pt x="548238" y="2394334"/>
                  <a:pt x="555681" y="2394334"/>
                  <a:pt x="558160" y="2399298"/>
                </a:cubicBezTo>
                <a:cubicBezTo>
                  <a:pt x="560642" y="2401783"/>
                  <a:pt x="563121" y="2401783"/>
                  <a:pt x="563121" y="2396817"/>
                </a:cubicBezTo>
                <a:cubicBezTo>
                  <a:pt x="563121" y="2391853"/>
                  <a:pt x="563121" y="2389370"/>
                  <a:pt x="558160" y="2386890"/>
                </a:cubicBezTo>
                <a:cubicBezTo>
                  <a:pt x="555681" y="2384409"/>
                  <a:pt x="553199" y="2384409"/>
                  <a:pt x="553199" y="2381926"/>
                </a:cubicBezTo>
                <a:cubicBezTo>
                  <a:pt x="550717" y="2379444"/>
                  <a:pt x="553199" y="2374480"/>
                  <a:pt x="555681" y="2374480"/>
                </a:cubicBezTo>
                <a:cubicBezTo>
                  <a:pt x="560642" y="2374480"/>
                  <a:pt x="563121" y="2374480"/>
                  <a:pt x="565601" y="2374480"/>
                </a:cubicBezTo>
                <a:cubicBezTo>
                  <a:pt x="568084" y="2374480"/>
                  <a:pt x="568084" y="2374480"/>
                  <a:pt x="570566" y="2376960"/>
                </a:cubicBezTo>
                <a:cubicBezTo>
                  <a:pt x="578006" y="2381926"/>
                  <a:pt x="585451" y="2386890"/>
                  <a:pt x="592891" y="2391853"/>
                </a:cubicBezTo>
                <a:cubicBezTo>
                  <a:pt x="600331" y="2399298"/>
                  <a:pt x="605293" y="2409229"/>
                  <a:pt x="610255" y="2419155"/>
                </a:cubicBezTo>
                <a:cubicBezTo>
                  <a:pt x="610255" y="2419155"/>
                  <a:pt x="610255" y="2419155"/>
                  <a:pt x="610255" y="2416674"/>
                </a:cubicBezTo>
                <a:cubicBezTo>
                  <a:pt x="610255" y="2411711"/>
                  <a:pt x="610255" y="2406746"/>
                  <a:pt x="607776" y="2401783"/>
                </a:cubicBezTo>
                <a:cubicBezTo>
                  <a:pt x="602813" y="2384409"/>
                  <a:pt x="597852" y="2367033"/>
                  <a:pt x="590409" y="2349658"/>
                </a:cubicBezTo>
                <a:cubicBezTo>
                  <a:pt x="592891" y="2349658"/>
                  <a:pt x="595370" y="2349658"/>
                  <a:pt x="597852" y="2349658"/>
                </a:cubicBezTo>
                <a:cubicBezTo>
                  <a:pt x="602813" y="2359588"/>
                  <a:pt x="610255" y="2367033"/>
                  <a:pt x="607776" y="2379444"/>
                </a:cubicBezTo>
                <a:cubicBezTo>
                  <a:pt x="605293" y="2381926"/>
                  <a:pt x="607776" y="2386890"/>
                  <a:pt x="610255" y="2389370"/>
                </a:cubicBezTo>
                <a:cubicBezTo>
                  <a:pt x="612737" y="2396817"/>
                  <a:pt x="617698" y="2399298"/>
                  <a:pt x="615216" y="2406746"/>
                </a:cubicBezTo>
                <a:cubicBezTo>
                  <a:pt x="612737" y="2409229"/>
                  <a:pt x="615216" y="2411711"/>
                  <a:pt x="617698" y="2414191"/>
                </a:cubicBezTo>
                <a:cubicBezTo>
                  <a:pt x="622659" y="2424120"/>
                  <a:pt x="630101" y="2434051"/>
                  <a:pt x="632583" y="2446461"/>
                </a:cubicBezTo>
                <a:cubicBezTo>
                  <a:pt x="632583" y="2446461"/>
                  <a:pt x="632583" y="2448941"/>
                  <a:pt x="632583" y="2448941"/>
                </a:cubicBezTo>
                <a:cubicBezTo>
                  <a:pt x="635062" y="2451424"/>
                  <a:pt x="637544" y="2451424"/>
                  <a:pt x="640023" y="2453905"/>
                </a:cubicBezTo>
                <a:cubicBezTo>
                  <a:pt x="642505" y="2456388"/>
                  <a:pt x="642505" y="2458869"/>
                  <a:pt x="644984" y="2461354"/>
                </a:cubicBezTo>
                <a:cubicBezTo>
                  <a:pt x="644984" y="2461354"/>
                  <a:pt x="647468" y="2461354"/>
                  <a:pt x="647468" y="2461354"/>
                </a:cubicBezTo>
                <a:cubicBezTo>
                  <a:pt x="649947" y="2458869"/>
                  <a:pt x="649947" y="2456388"/>
                  <a:pt x="652429" y="2453905"/>
                </a:cubicBezTo>
                <a:cubicBezTo>
                  <a:pt x="657390" y="2456388"/>
                  <a:pt x="659869" y="2461354"/>
                  <a:pt x="662351" y="2466318"/>
                </a:cubicBezTo>
                <a:cubicBezTo>
                  <a:pt x="654908" y="2441496"/>
                  <a:pt x="640023" y="2381926"/>
                  <a:pt x="644984" y="2384409"/>
                </a:cubicBezTo>
                <a:cubicBezTo>
                  <a:pt x="652429" y="2386890"/>
                  <a:pt x="654908" y="2394334"/>
                  <a:pt x="659869" y="2396817"/>
                </a:cubicBezTo>
                <a:cubicBezTo>
                  <a:pt x="657390" y="2391853"/>
                  <a:pt x="654908" y="2384409"/>
                  <a:pt x="652429" y="2379444"/>
                </a:cubicBezTo>
                <a:cubicBezTo>
                  <a:pt x="642505" y="2349658"/>
                  <a:pt x="632583" y="2322357"/>
                  <a:pt x="625139" y="2292571"/>
                </a:cubicBezTo>
                <a:cubicBezTo>
                  <a:pt x="630101" y="2295052"/>
                  <a:pt x="632583" y="2297536"/>
                  <a:pt x="635062" y="2300016"/>
                </a:cubicBezTo>
                <a:cubicBezTo>
                  <a:pt x="635062" y="2297536"/>
                  <a:pt x="637544" y="2295052"/>
                  <a:pt x="640023" y="2290088"/>
                </a:cubicBezTo>
                <a:cubicBezTo>
                  <a:pt x="644984" y="2304981"/>
                  <a:pt x="649947" y="2317389"/>
                  <a:pt x="654908" y="2332282"/>
                </a:cubicBezTo>
                <a:cubicBezTo>
                  <a:pt x="654908" y="2334766"/>
                  <a:pt x="654908" y="2334766"/>
                  <a:pt x="654908" y="2337246"/>
                </a:cubicBezTo>
                <a:cubicBezTo>
                  <a:pt x="654908" y="2347175"/>
                  <a:pt x="654908" y="2357103"/>
                  <a:pt x="664830" y="2362068"/>
                </a:cubicBezTo>
                <a:cubicBezTo>
                  <a:pt x="669793" y="2364548"/>
                  <a:pt x="674754" y="2369516"/>
                  <a:pt x="672275" y="2376960"/>
                </a:cubicBezTo>
                <a:cubicBezTo>
                  <a:pt x="669793" y="2374480"/>
                  <a:pt x="667314" y="2374480"/>
                  <a:pt x="662351" y="2369516"/>
                </a:cubicBezTo>
                <a:cubicBezTo>
                  <a:pt x="667314" y="2381926"/>
                  <a:pt x="667314" y="2389370"/>
                  <a:pt x="677233" y="2396817"/>
                </a:cubicBezTo>
                <a:cubicBezTo>
                  <a:pt x="682197" y="2399298"/>
                  <a:pt x="684676" y="2406746"/>
                  <a:pt x="687156" y="2411711"/>
                </a:cubicBezTo>
                <a:cubicBezTo>
                  <a:pt x="689639" y="2411711"/>
                  <a:pt x="689639" y="2414191"/>
                  <a:pt x="692118" y="2416674"/>
                </a:cubicBezTo>
                <a:cubicBezTo>
                  <a:pt x="692118" y="2419155"/>
                  <a:pt x="694600" y="2419155"/>
                  <a:pt x="694600" y="2419155"/>
                </a:cubicBezTo>
                <a:cubicBezTo>
                  <a:pt x="697082" y="2419155"/>
                  <a:pt x="699561" y="2419155"/>
                  <a:pt x="702040" y="2416674"/>
                </a:cubicBezTo>
                <a:cubicBezTo>
                  <a:pt x="697082" y="2401783"/>
                  <a:pt x="689639" y="2386890"/>
                  <a:pt x="684676" y="2374480"/>
                </a:cubicBezTo>
                <a:cubicBezTo>
                  <a:pt x="677233" y="2359588"/>
                  <a:pt x="672275" y="2344694"/>
                  <a:pt x="667314" y="2329801"/>
                </a:cubicBezTo>
                <a:cubicBezTo>
                  <a:pt x="662351" y="2314908"/>
                  <a:pt x="659869" y="2300016"/>
                  <a:pt x="654908" y="2285123"/>
                </a:cubicBezTo>
                <a:cubicBezTo>
                  <a:pt x="657390" y="2285123"/>
                  <a:pt x="659869" y="2285123"/>
                  <a:pt x="664830" y="2282639"/>
                </a:cubicBezTo>
                <a:cubicBezTo>
                  <a:pt x="667314" y="2285123"/>
                  <a:pt x="669793" y="2287604"/>
                  <a:pt x="669793" y="2290088"/>
                </a:cubicBezTo>
                <a:cubicBezTo>
                  <a:pt x="674754" y="2302497"/>
                  <a:pt x="679715" y="2317389"/>
                  <a:pt x="684676" y="2329801"/>
                </a:cubicBezTo>
                <a:cubicBezTo>
                  <a:pt x="687156" y="2334766"/>
                  <a:pt x="689639" y="2337246"/>
                  <a:pt x="697082" y="2339731"/>
                </a:cubicBezTo>
                <a:cubicBezTo>
                  <a:pt x="707002" y="2339731"/>
                  <a:pt x="709485" y="2347175"/>
                  <a:pt x="719407" y="2349658"/>
                </a:cubicBezTo>
                <a:cubicBezTo>
                  <a:pt x="721886" y="2349658"/>
                  <a:pt x="724368" y="2349658"/>
                  <a:pt x="726847" y="2349658"/>
                </a:cubicBezTo>
                <a:cubicBezTo>
                  <a:pt x="719407" y="2357103"/>
                  <a:pt x="736771" y="2367033"/>
                  <a:pt x="721886" y="2374480"/>
                </a:cubicBezTo>
                <a:cubicBezTo>
                  <a:pt x="724368" y="2379444"/>
                  <a:pt x="726847" y="2381926"/>
                  <a:pt x="729331" y="2386890"/>
                </a:cubicBezTo>
                <a:cubicBezTo>
                  <a:pt x="729331" y="2386890"/>
                  <a:pt x="731810" y="2386890"/>
                  <a:pt x="736771" y="2384409"/>
                </a:cubicBezTo>
                <a:lnTo>
                  <a:pt x="739239" y="2390826"/>
                </a:lnTo>
                <a:lnTo>
                  <a:pt x="734292" y="2389370"/>
                </a:lnTo>
                <a:lnTo>
                  <a:pt x="741421" y="2396503"/>
                </a:lnTo>
                <a:lnTo>
                  <a:pt x="749177" y="2416674"/>
                </a:lnTo>
                <a:lnTo>
                  <a:pt x="756617" y="2415433"/>
                </a:lnTo>
                <a:lnTo>
                  <a:pt x="756617" y="2416674"/>
                </a:lnTo>
                <a:lnTo>
                  <a:pt x="757056" y="2415360"/>
                </a:lnTo>
                <a:lnTo>
                  <a:pt x="764061" y="2414191"/>
                </a:lnTo>
                <a:cubicBezTo>
                  <a:pt x="771502" y="2414191"/>
                  <a:pt x="776463" y="2416674"/>
                  <a:pt x="781424" y="2419155"/>
                </a:cubicBezTo>
                <a:cubicBezTo>
                  <a:pt x="786386" y="2421639"/>
                  <a:pt x="788868" y="2424120"/>
                  <a:pt x="788868" y="2429084"/>
                </a:cubicBezTo>
                <a:cubicBezTo>
                  <a:pt x="788868" y="2434051"/>
                  <a:pt x="788868" y="2439012"/>
                  <a:pt x="791348" y="2443977"/>
                </a:cubicBezTo>
                <a:cubicBezTo>
                  <a:pt x="793830" y="2448941"/>
                  <a:pt x="793830" y="2453905"/>
                  <a:pt x="798788" y="2456388"/>
                </a:cubicBezTo>
                <a:cubicBezTo>
                  <a:pt x="808714" y="2458869"/>
                  <a:pt x="806232" y="2466318"/>
                  <a:pt x="806232" y="2473762"/>
                </a:cubicBezTo>
                <a:cubicBezTo>
                  <a:pt x="806232" y="2483691"/>
                  <a:pt x="811194" y="2491139"/>
                  <a:pt x="818634" y="2496103"/>
                </a:cubicBezTo>
                <a:cubicBezTo>
                  <a:pt x="818634" y="2498583"/>
                  <a:pt x="821116" y="2498583"/>
                  <a:pt x="826078" y="2498583"/>
                </a:cubicBezTo>
                <a:cubicBezTo>
                  <a:pt x="823595" y="2491139"/>
                  <a:pt x="821116" y="2486174"/>
                  <a:pt x="818634" y="2481211"/>
                </a:cubicBezTo>
                <a:cubicBezTo>
                  <a:pt x="821116" y="2478726"/>
                  <a:pt x="831039" y="2478726"/>
                  <a:pt x="826078" y="2473762"/>
                </a:cubicBezTo>
                <a:cubicBezTo>
                  <a:pt x="818634" y="2468798"/>
                  <a:pt x="818634" y="2461354"/>
                  <a:pt x="816155" y="2456388"/>
                </a:cubicBezTo>
                <a:cubicBezTo>
                  <a:pt x="811194" y="2443977"/>
                  <a:pt x="806232" y="2431568"/>
                  <a:pt x="798788" y="2419155"/>
                </a:cubicBezTo>
                <a:cubicBezTo>
                  <a:pt x="793830" y="2411711"/>
                  <a:pt x="788868" y="2404266"/>
                  <a:pt x="778945" y="2399298"/>
                </a:cubicBezTo>
                <a:cubicBezTo>
                  <a:pt x="776463" y="2401783"/>
                  <a:pt x="776463" y="2404266"/>
                  <a:pt x="773984" y="2404266"/>
                </a:cubicBezTo>
                <a:cubicBezTo>
                  <a:pt x="771502" y="2406746"/>
                  <a:pt x="766539" y="2406746"/>
                  <a:pt x="764061" y="2406746"/>
                </a:cubicBezTo>
                <a:cubicBezTo>
                  <a:pt x="764061" y="2406746"/>
                  <a:pt x="761578" y="2401783"/>
                  <a:pt x="761578" y="2399298"/>
                </a:cubicBezTo>
                <a:cubicBezTo>
                  <a:pt x="761578" y="2386890"/>
                  <a:pt x="759099" y="2384409"/>
                  <a:pt x="744215" y="2384409"/>
                </a:cubicBezTo>
                <a:cubicBezTo>
                  <a:pt x="739253" y="2379444"/>
                  <a:pt x="736771" y="2374480"/>
                  <a:pt x="731810" y="2369516"/>
                </a:cubicBezTo>
                <a:cubicBezTo>
                  <a:pt x="734292" y="2362068"/>
                  <a:pt x="736771" y="2357103"/>
                  <a:pt x="739253" y="2352139"/>
                </a:cubicBezTo>
                <a:cubicBezTo>
                  <a:pt x="754138" y="2349658"/>
                  <a:pt x="749177" y="2369516"/>
                  <a:pt x="766539" y="2369516"/>
                </a:cubicBezTo>
                <a:cubicBezTo>
                  <a:pt x="759099" y="2359588"/>
                  <a:pt x="754138" y="2349658"/>
                  <a:pt x="746693" y="2339731"/>
                </a:cubicBezTo>
                <a:cubicBezTo>
                  <a:pt x="729331" y="2332282"/>
                  <a:pt x="716925" y="2319874"/>
                  <a:pt x="719407" y="2307461"/>
                </a:cubicBezTo>
                <a:cubicBezTo>
                  <a:pt x="709485" y="2307461"/>
                  <a:pt x="709485" y="2307461"/>
                  <a:pt x="704522" y="2304981"/>
                </a:cubicBezTo>
                <a:cubicBezTo>
                  <a:pt x="711964" y="2300016"/>
                  <a:pt x="716925" y="2295052"/>
                  <a:pt x="726847" y="2287604"/>
                </a:cubicBezTo>
                <a:cubicBezTo>
                  <a:pt x="731810" y="2292571"/>
                  <a:pt x="734292" y="2300016"/>
                  <a:pt x="739253" y="2304981"/>
                </a:cubicBezTo>
                <a:cubicBezTo>
                  <a:pt x="741732" y="2302497"/>
                  <a:pt x="741732" y="2302497"/>
                  <a:pt x="744215" y="2302497"/>
                </a:cubicBezTo>
                <a:cubicBezTo>
                  <a:pt x="746693" y="2287604"/>
                  <a:pt x="741732" y="2275195"/>
                  <a:pt x="731810" y="2262786"/>
                </a:cubicBezTo>
                <a:cubicBezTo>
                  <a:pt x="731810" y="2262786"/>
                  <a:pt x="731810" y="2262786"/>
                  <a:pt x="729331" y="2262786"/>
                </a:cubicBezTo>
                <a:cubicBezTo>
                  <a:pt x="726847" y="2265267"/>
                  <a:pt x="726847" y="2270230"/>
                  <a:pt x="724368" y="2275195"/>
                </a:cubicBezTo>
                <a:cubicBezTo>
                  <a:pt x="716925" y="2270230"/>
                  <a:pt x="716925" y="2270230"/>
                  <a:pt x="716925" y="2245410"/>
                </a:cubicBezTo>
                <a:cubicBezTo>
                  <a:pt x="721886" y="2242929"/>
                  <a:pt x="729331" y="2240445"/>
                  <a:pt x="734292" y="2237965"/>
                </a:cubicBezTo>
                <a:cubicBezTo>
                  <a:pt x="736771" y="2237965"/>
                  <a:pt x="736771" y="2240445"/>
                  <a:pt x="739253" y="2242929"/>
                </a:cubicBezTo>
                <a:cubicBezTo>
                  <a:pt x="734292" y="2245410"/>
                  <a:pt x="729331" y="2247893"/>
                  <a:pt x="724368" y="2250374"/>
                </a:cubicBezTo>
                <a:cubicBezTo>
                  <a:pt x="726847" y="2252854"/>
                  <a:pt x="731810" y="2255337"/>
                  <a:pt x="731810" y="2255337"/>
                </a:cubicBezTo>
                <a:cubicBezTo>
                  <a:pt x="741732" y="2250374"/>
                  <a:pt x="741732" y="2257822"/>
                  <a:pt x="744215" y="2262786"/>
                </a:cubicBezTo>
                <a:cubicBezTo>
                  <a:pt x="746693" y="2267750"/>
                  <a:pt x="744215" y="2277675"/>
                  <a:pt x="754138" y="2282639"/>
                </a:cubicBezTo>
                <a:cubicBezTo>
                  <a:pt x="754138" y="2282639"/>
                  <a:pt x="754138" y="2285123"/>
                  <a:pt x="754138" y="2285123"/>
                </a:cubicBezTo>
                <a:cubicBezTo>
                  <a:pt x="749177" y="2290088"/>
                  <a:pt x="754138" y="2295052"/>
                  <a:pt x="756617" y="2297536"/>
                </a:cubicBezTo>
                <a:cubicBezTo>
                  <a:pt x="764061" y="2307461"/>
                  <a:pt x="769022" y="2319874"/>
                  <a:pt x="776463" y="2329801"/>
                </a:cubicBezTo>
                <a:cubicBezTo>
                  <a:pt x="771502" y="2332282"/>
                  <a:pt x="766539" y="2334766"/>
                  <a:pt x="764061" y="2337246"/>
                </a:cubicBezTo>
                <a:cubicBezTo>
                  <a:pt x="766539" y="2344694"/>
                  <a:pt x="776463" y="2342212"/>
                  <a:pt x="781424" y="2344694"/>
                </a:cubicBezTo>
                <a:cubicBezTo>
                  <a:pt x="783907" y="2349658"/>
                  <a:pt x="783907" y="2357103"/>
                  <a:pt x="786386" y="2364548"/>
                </a:cubicBezTo>
                <a:cubicBezTo>
                  <a:pt x="781424" y="2364548"/>
                  <a:pt x="781424" y="2364548"/>
                  <a:pt x="776463" y="2362068"/>
                </a:cubicBezTo>
                <a:cubicBezTo>
                  <a:pt x="776463" y="2364548"/>
                  <a:pt x="776463" y="2367033"/>
                  <a:pt x="776463" y="2367033"/>
                </a:cubicBezTo>
                <a:cubicBezTo>
                  <a:pt x="791348" y="2369516"/>
                  <a:pt x="788868" y="2384409"/>
                  <a:pt x="798788" y="2391853"/>
                </a:cubicBezTo>
                <a:cubicBezTo>
                  <a:pt x="801270" y="2394334"/>
                  <a:pt x="803753" y="2396817"/>
                  <a:pt x="808714" y="2399298"/>
                </a:cubicBezTo>
                <a:cubicBezTo>
                  <a:pt x="808714" y="2396817"/>
                  <a:pt x="808714" y="2394334"/>
                  <a:pt x="808714" y="2391853"/>
                </a:cubicBezTo>
                <a:cubicBezTo>
                  <a:pt x="801270" y="2374480"/>
                  <a:pt x="793830" y="2357103"/>
                  <a:pt x="786386" y="2339731"/>
                </a:cubicBezTo>
                <a:cubicBezTo>
                  <a:pt x="783907" y="2334766"/>
                  <a:pt x="783907" y="2332282"/>
                  <a:pt x="783907" y="2327319"/>
                </a:cubicBezTo>
                <a:cubicBezTo>
                  <a:pt x="778945" y="2314908"/>
                  <a:pt x="773984" y="2300016"/>
                  <a:pt x="769022" y="2287604"/>
                </a:cubicBezTo>
                <a:cubicBezTo>
                  <a:pt x="766539" y="2285123"/>
                  <a:pt x="766539" y="2282639"/>
                  <a:pt x="766539" y="2280160"/>
                </a:cubicBezTo>
                <a:cubicBezTo>
                  <a:pt x="771502" y="2277675"/>
                  <a:pt x="773984" y="2275195"/>
                  <a:pt x="776463" y="2272713"/>
                </a:cubicBezTo>
                <a:cubicBezTo>
                  <a:pt x="783907" y="2272713"/>
                  <a:pt x="783907" y="2280160"/>
                  <a:pt x="776463" y="2292571"/>
                </a:cubicBezTo>
                <a:cubicBezTo>
                  <a:pt x="791348" y="2292571"/>
                  <a:pt x="801270" y="2295052"/>
                  <a:pt x="801270" y="2309945"/>
                </a:cubicBezTo>
                <a:cubicBezTo>
                  <a:pt x="816155" y="2307461"/>
                  <a:pt x="823595" y="2312425"/>
                  <a:pt x="828558" y="2322357"/>
                </a:cubicBezTo>
                <a:lnTo>
                  <a:pt x="831039" y="2331049"/>
                </a:lnTo>
                <a:lnTo>
                  <a:pt x="831039" y="2349658"/>
                </a:lnTo>
                <a:cubicBezTo>
                  <a:pt x="818634" y="2352139"/>
                  <a:pt x="818634" y="2352139"/>
                  <a:pt x="821116" y="2359588"/>
                </a:cubicBezTo>
                <a:cubicBezTo>
                  <a:pt x="823595" y="2364548"/>
                  <a:pt x="826078" y="2371996"/>
                  <a:pt x="828558" y="2376960"/>
                </a:cubicBezTo>
                <a:cubicBezTo>
                  <a:pt x="828558" y="2376960"/>
                  <a:pt x="831039" y="2376960"/>
                  <a:pt x="831039" y="2376960"/>
                </a:cubicBezTo>
                <a:lnTo>
                  <a:pt x="839423" y="2347605"/>
                </a:lnTo>
                <a:lnTo>
                  <a:pt x="840962" y="2349658"/>
                </a:lnTo>
                <a:cubicBezTo>
                  <a:pt x="843441" y="2344694"/>
                  <a:pt x="845924" y="2342212"/>
                  <a:pt x="850885" y="2339731"/>
                </a:cubicBezTo>
                <a:cubicBezTo>
                  <a:pt x="848404" y="2337246"/>
                  <a:pt x="848404" y="2337246"/>
                  <a:pt x="848404" y="2334766"/>
                </a:cubicBezTo>
                <a:cubicBezTo>
                  <a:pt x="850885" y="2334766"/>
                  <a:pt x="853365" y="2337246"/>
                  <a:pt x="853365" y="2337246"/>
                </a:cubicBezTo>
                <a:cubicBezTo>
                  <a:pt x="855847" y="2334766"/>
                  <a:pt x="858326" y="2334766"/>
                  <a:pt x="860808" y="2332282"/>
                </a:cubicBezTo>
                <a:cubicBezTo>
                  <a:pt x="776463" y="2178394"/>
                  <a:pt x="707002" y="2014575"/>
                  <a:pt x="652429" y="1845791"/>
                </a:cubicBezTo>
                <a:cubicBezTo>
                  <a:pt x="642505" y="1808561"/>
                  <a:pt x="659869" y="1776295"/>
                  <a:pt x="689639" y="1758919"/>
                </a:cubicBezTo>
                <a:cubicBezTo>
                  <a:pt x="689639" y="1758919"/>
                  <a:pt x="689639" y="1756438"/>
                  <a:pt x="689639" y="1756438"/>
                </a:cubicBezTo>
                <a:cubicBezTo>
                  <a:pt x="689639" y="1756438"/>
                  <a:pt x="692118" y="1756438"/>
                  <a:pt x="692118" y="1756438"/>
                </a:cubicBezTo>
                <a:cubicBezTo>
                  <a:pt x="694600" y="1756438"/>
                  <a:pt x="697082" y="1753953"/>
                  <a:pt x="699561" y="1753953"/>
                </a:cubicBezTo>
                <a:cubicBezTo>
                  <a:pt x="697082" y="1751473"/>
                  <a:pt x="697082" y="1748990"/>
                  <a:pt x="694600" y="1746509"/>
                </a:cubicBezTo>
                <a:cubicBezTo>
                  <a:pt x="692118" y="1744026"/>
                  <a:pt x="692118" y="1744026"/>
                  <a:pt x="692118" y="1741545"/>
                </a:cubicBezTo>
                <a:cubicBezTo>
                  <a:pt x="692118" y="1741545"/>
                  <a:pt x="689639" y="1739062"/>
                  <a:pt x="689639" y="1736581"/>
                </a:cubicBezTo>
                <a:cubicBezTo>
                  <a:pt x="687156" y="1741545"/>
                  <a:pt x="687156" y="1744026"/>
                  <a:pt x="687156" y="1746509"/>
                </a:cubicBezTo>
                <a:cubicBezTo>
                  <a:pt x="679715" y="1739062"/>
                  <a:pt x="674754" y="1729132"/>
                  <a:pt x="679715" y="1719205"/>
                </a:cubicBezTo>
                <a:cubicBezTo>
                  <a:pt x="679715" y="1716724"/>
                  <a:pt x="677233" y="1714243"/>
                  <a:pt x="677233" y="1711759"/>
                </a:cubicBezTo>
                <a:cubicBezTo>
                  <a:pt x="674754" y="1706795"/>
                  <a:pt x="672275" y="1704312"/>
                  <a:pt x="669793" y="1699346"/>
                </a:cubicBezTo>
                <a:cubicBezTo>
                  <a:pt x="684676" y="1701831"/>
                  <a:pt x="687156" y="1709275"/>
                  <a:pt x="692118" y="1716724"/>
                </a:cubicBezTo>
                <a:cubicBezTo>
                  <a:pt x="692118" y="1714243"/>
                  <a:pt x="694600" y="1709275"/>
                  <a:pt x="694600" y="1706795"/>
                </a:cubicBezTo>
                <a:lnTo>
                  <a:pt x="706999" y="1704314"/>
                </a:lnTo>
                <a:lnTo>
                  <a:pt x="703591" y="1707416"/>
                </a:lnTo>
                <a:cubicBezTo>
                  <a:pt x="703901" y="1708657"/>
                  <a:pt x="705762" y="1710519"/>
                  <a:pt x="709485" y="1714243"/>
                </a:cubicBezTo>
                <a:cubicBezTo>
                  <a:pt x="709485" y="1711759"/>
                  <a:pt x="709485" y="1711759"/>
                  <a:pt x="709485" y="1711759"/>
                </a:cubicBezTo>
                <a:lnTo>
                  <a:pt x="707003" y="1704313"/>
                </a:lnTo>
                <a:lnTo>
                  <a:pt x="709072" y="1703900"/>
                </a:lnTo>
                <a:lnTo>
                  <a:pt x="709485" y="1704312"/>
                </a:lnTo>
                <a:lnTo>
                  <a:pt x="710103" y="1703693"/>
                </a:lnTo>
                <a:lnTo>
                  <a:pt x="719407" y="1701831"/>
                </a:lnTo>
                <a:cubicBezTo>
                  <a:pt x="711964" y="1691902"/>
                  <a:pt x="704522" y="1684457"/>
                  <a:pt x="699561" y="1674525"/>
                </a:cubicBezTo>
                <a:cubicBezTo>
                  <a:pt x="699561" y="1674525"/>
                  <a:pt x="697082" y="1672045"/>
                  <a:pt x="697082" y="1672045"/>
                </a:cubicBezTo>
                <a:cubicBezTo>
                  <a:pt x="689639" y="1662117"/>
                  <a:pt x="679715" y="1652188"/>
                  <a:pt x="672275" y="1642260"/>
                </a:cubicBezTo>
                <a:cubicBezTo>
                  <a:pt x="672275" y="1642260"/>
                  <a:pt x="669793" y="1639779"/>
                  <a:pt x="667314" y="1639779"/>
                </a:cubicBezTo>
                <a:cubicBezTo>
                  <a:pt x="669793" y="1639779"/>
                  <a:pt x="669793" y="1637295"/>
                  <a:pt x="669793" y="1637295"/>
                </a:cubicBezTo>
                <a:cubicBezTo>
                  <a:pt x="667314" y="1632331"/>
                  <a:pt x="667314" y="1629850"/>
                  <a:pt x="659869" y="1629850"/>
                </a:cubicBezTo>
                <a:cubicBezTo>
                  <a:pt x="657390" y="1629850"/>
                  <a:pt x="652429" y="1622403"/>
                  <a:pt x="647468" y="1617438"/>
                </a:cubicBezTo>
                <a:cubicBezTo>
                  <a:pt x="644984" y="1614958"/>
                  <a:pt x="642505" y="1614958"/>
                  <a:pt x="640023" y="1612474"/>
                </a:cubicBezTo>
                <a:cubicBezTo>
                  <a:pt x="640023" y="1612474"/>
                  <a:pt x="637544" y="1614958"/>
                  <a:pt x="637544" y="1617438"/>
                </a:cubicBezTo>
                <a:cubicBezTo>
                  <a:pt x="642505" y="1627367"/>
                  <a:pt x="647468" y="1637295"/>
                  <a:pt x="654908" y="1647224"/>
                </a:cubicBezTo>
                <a:cubicBezTo>
                  <a:pt x="659869" y="1649707"/>
                  <a:pt x="662351" y="1654672"/>
                  <a:pt x="667314" y="1659636"/>
                </a:cubicBezTo>
                <a:cubicBezTo>
                  <a:pt x="667314" y="1659636"/>
                  <a:pt x="669793" y="1657153"/>
                  <a:pt x="672275" y="1654672"/>
                </a:cubicBezTo>
                <a:cubicBezTo>
                  <a:pt x="679715" y="1657153"/>
                  <a:pt x="689639" y="1662117"/>
                  <a:pt x="689639" y="1672045"/>
                </a:cubicBezTo>
                <a:cubicBezTo>
                  <a:pt x="689639" y="1679493"/>
                  <a:pt x="694600" y="1684457"/>
                  <a:pt x="699561" y="1689421"/>
                </a:cubicBezTo>
                <a:cubicBezTo>
                  <a:pt x="699561" y="1691902"/>
                  <a:pt x="697082" y="1691902"/>
                  <a:pt x="697082" y="1691902"/>
                </a:cubicBezTo>
                <a:cubicBezTo>
                  <a:pt x="692118" y="1684457"/>
                  <a:pt x="687156" y="1677010"/>
                  <a:pt x="679715" y="1669561"/>
                </a:cubicBezTo>
                <a:cubicBezTo>
                  <a:pt x="677233" y="1677010"/>
                  <a:pt x="674754" y="1681974"/>
                  <a:pt x="669793" y="1691902"/>
                </a:cubicBezTo>
                <a:cubicBezTo>
                  <a:pt x="667314" y="1686938"/>
                  <a:pt x="664830" y="1681974"/>
                  <a:pt x="662351" y="1677010"/>
                </a:cubicBezTo>
                <a:cubicBezTo>
                  <a:pt x="662351" y="1674525"/>
                  <a:pt x="659869" y="1674525"/>
                  <a:pt x="659869" y="1672045"/>
                </a:cubicBezTo>
                <a:cubicBezTo>
                  <a:pt x="654908" y="1659636"/>
                  <a:pt x="654908" y="1657153"/>
                  <a:pt x="642505" y="1667081"/>
                </a:cubicBezTo>
                <a:cubicBezTo>
                  <a:pt x="635062" y="1657153"/>
                  <a:pt x="627622" y="1647224"/>
                  <a:pt x="620177" y="1634815"/>
                </a:cubicBezTo>
                <a:cubicBezTo>
                  <a:pt x="615216" y="1624886"/>
                  <a:pt x="600331" y="1619922"/>
                  <a:pt x="605293" y="1605029"/>
                </a:cubicBezTo>
                <a:cubicBezTo>
                  <a:pt x="600331" y="1600065"/>
                  <a:pt x="592891" y="1592617"/>
                  <a:pt x="587930" y="1587653"/>
                </a:cubicBezTo>
                <a:cubicBezTo>
                  <a:pt x="582967" y="1580208"/>
                  <a:pt x="575524" y="1575243"/>
                  <a:pt x="568084" y="1567798"/>
                </a:cubicBezTo>
                <a:cubicBezTo>
                  <a:pt x="563121" y="1560351"/>
                  <a:pt x="560642" y="1555386"/>
                  <a:pt x="555681" y="1547941"/>
                </a:cubicBezTo>
                <a:cubicBezTo>
                  <a:pt x="555681" y="1547941"/>
                  <a:pt x="558160" y="1545458"/>
                  <a:pt x="558160" y="1545458"/>
                </a:cubicBezTo>
                <a:cubicBezTo>
                  <a:pt x="563121" y="1547941"/>
                  <a:pt x="570566" y="1547941"/>
                  <a:pt x="575524" y="1550422"/>
                </a:cubicBezTo>
                <a:cubicBezTo>
                  <a:pt x="568084" y="1540494"/>
                  <a:pt x="565601" y="1530565"/>
                  <a:pt x="555681" y="1525601"/>
                </a:cubicBezTo>
                <a:cubicBezTo>
                  <a:pt x="545759" y="1523120"/>
                  <a:pt x="538314" y="1515672"/>
                  <a:pt x="528392" y="1510708"/>
                </a:cubicBezTo>
                <a:cubicBezTo>
                  <a:pt x="545759" y="1500780"/>
                  <a:pt x="548238" y="1495815"/>
                  <a:pt x="535835" y="1480923"/>
                </a:cubicBezTo>
                <a:cubicBezTo>
                  <a:pt x="533353" y="1475958"/>
                  <a:pt x="528392" y="1470994"/>
                  <a:pt x="525913" y="1466032"/>
                </a:cubicBezTo>
                <a:cubicBezTo>
                  <a:pt x="533353" y="1458585"/>
                  <a:pt x="538314" y="1453620"/>
                  <a:pt x="545759" y="1448656"/>
                </a:cubicBezTo>
                <a:cubicBezTo>
                  <a:pt x="538314" y="1443692"/>
                  <a:pt x="530874" y="1438728"/>
                  <a:pt x="523430" y="1433763"/>
                </a:cubicBezTo>
                <a:cubicBezTo>
                  <a:pt x="520950" y="1433763"/>
                  <a:pt x="518468" y="1433763"/>
                  <a:pt x="515989" y="1436248"/>
                </a:cubicBezTo>
                <a:cubicBezTo>
                  <a:pt x="515989" y="1436248"/>
                  <a:pt x="515989" y="1433763"/>
                  <a:pt x="515989" y="1433763"/>
                </a:cubicBezTo>
                <a:cubicBezTo>
                  <a:pt x="501104" y="1413906"/>
                  <a:pt x="488700" y="1394049"/>
                  <a:pt x="473818" y="1374192"/>
                </a:cubicBezTo>
                <a:cubicBezTo>
                  <a:pt x="473818" y="1374192"/>
                  <a:pt x="471336" y="1371711"/>
                  <a:pt x="471336" y="1371711"/>
                </a:cubicBezTo>
                <a:cubicBezTo>
                  <a:pt x="466375" y="1366747"/>
                  <a:pt x="458933" y="1364264"/>
                  <a:pt x="458933" y="1359300"/>
                </a:cubicBezTo>
                <a:cubicBezTo>
                  <a:pt x="458933" y="1351854"/>
                  <a:pt x="461413" y="1341926"/>
                  <a:pt x="463892" y="1334478"/>
                </a:cubicBezTo>
                <a:cubicBezTo>
                  <a:pt x="458933" y="1334478"/>
                  <a:pt x="453970" y="1336963"/>
                  <a:pt x="446529" y="1336963"/>
                </a:cubicBezTo>
                <a:cubicBezTo>
                  <a:pt x="436605" y="1324553"/>
                  <a:pt x="429165" y="1309657"/>
                  <a:pt x="419241" y="1294768"/>
                </a:cubicBezTo>
                <a:cubicBezTo>
                  <a:pt x="419241" y="1292283"/>
                  <a:pt x="421721" y="1292283"/>
                  <a:pt x="421721" y="1292283"/>
                </a:cubicBezTo>
                <a:cubicBezTo>
                  <a:pt x="426682" y="1294768"/>
                  <a:pt x="429165" y="1299732"/>
                  <a:pt x="434126" y="1302212"/>
                </a:cubicBezTo>
                <a:cubicBezTo>
                  <a:pt x="434126" y="1299732"/>
                  <a:pt x="436605" y="1299732"/>
                  <a:pt x="436605" y="1299732"/>
                </a:cubicBezTo>
                <a:cubicBezTo>
                  <a:pt x="429165" y="1287319"/>
                  <a:pt x="421721" y="1274911"/>
                  <a:pt x="414280" y="1262498"/>
                </a:cubicBezTo>
                <a:cubicBezTo>
                  <a:pt x="414280" y="1262498"/>
                  <a:pt x="409319" y="1264982"/>
                  <a:pt x="406836" y="1264982"/>
                </a:cubicBezTo>
                <a:cubicBezTo>
                  <a:pt x="404358" y="1264982"/>
                  <a:pt x="404358" y="1262498"/>
                  <a:pt x="404358" y="1262498"/>
                </a:cubicBezTo>
                <a:cubicBezTo>
                  <a:pt x="406836" y="1262498"/>
                  <a:pt x="411798" y="1260018"/>
                  <a:pt x="414280" y="1257534"/>
                </a:cubicBezTo>
                <a:cubicBezTo>
                  <a:pt x="406836" y="1252569"/>
                  <a:pt x="404358" y="1240161"/>
                  <a:pt x="394434" y="1237680"/>
                </a:cubicBezTo>
                <a:cubicBezTo>
                  <a:pt x="394434" y="1237680"/>
                  <a:pt x="391952" y="1232712"/>
                  <a:pt x="391952" y="1232712"/>
                </a:cubicBezTo>
                <a:cubicBezTo>
                  <a:pt x="394434" y="1222784"/>
                  <a:pt x="389473" y="1217823"/>
                  <a:pt x="384511" y="1210375"/>
                </a:cubicBezTo>
                <a:cubicBezTo>
                  <a:pt x="382029" y="1202927"/>
                  <a:pt x="379550" y="1197963"/>
                  <a:pt x="369627" y="1193002"/>
                </a:cubicBezTo>
                <a:cubicBezTo>
                  <a:pt x="359704" y="1188037"/>
                  <a:pt x="354742" y="1175626"/>
                  <a:pt x="352261" y="1165697"/>
                </a:cubicBezTo>
                <a:cubicBezTo>
                  <a:pt x="357222" y="1168180"/>
                  <a:pt x="359704" y="1170660"/>
                  <a:pt x="364665" y="1175626"/>
                </a:cubicBezTo>
                <a:cubicBezTo>
                  <a:pt x="364665" y="1170660"/>
                  <a:pt x="362183" y="1163216"/>
                  <a:pt x="362183" y="1158252"/>
                </a:cubicBezTo>
                <a:cubicBezTo>
                  <a:pt x="367144" y="1158252"/>
                  <a:pt x="369627" y="1155769"/>
                  <a:pt x="372107" y="1155769"/>
                </a:cubicBezTo>
                <a:cubicBezTo>
                  <a:pt x="367144" y="1145840"/>
                  <a:pt x="362183" y="1135912"/>
                  <a:pt x="357222" y="1125983"/>
                </a:cubicBezTo>
                <a:cubicBezTo>
                  <a:pt x="359704" y="1123502"/>
                  <a:pt x="362183" y="1123502"/>
                  <a:pt x="364665" y="1121019"/>
                </a:cubicBezTo>
                <a:cubicBezTo>
                  <a:pt x="362183" y="1121019"/>
                  <a:pt x="362183" y="1118538"/>
                  <a:pt x="362183" y="1118538"/>
                </a:cubicBezTo>
                <a:cubicBezTo>
                  <a:pt x="344819" y="1116053"/>
                  <a:pt x="344819" y="1098681"/>
                  <a:pt x="339858" y="1088752"/>
                </a:cubicBezTo>
                <a:cubicBezTo>
                  <a:pt x="334897" y="1076343"/>
                  <a:pt x="329935" y="1063931"/>
                  <a:pt x="322494" y="1054002"/>
                </a:cubicBezTo>
                <a:cubicBezTo>
                  <a:pt x="317532" y="1049038"/>
                  <a:pt x="315051" y="1049038"/>
                  <a:pt x="310089" y="1054002"/>
                </a:cubicBezTo>
                <a:cubicBezTo>
                  <a:pt x="307610" y="1056486"/>
                  <a:pt x="302648" y="1058967"/>
                  <a:pt x="300166" y="1051522"/>
                </a:cubicBezTo>
                <a:cubicBezTo>
                  <a:pt x="300166" y="1046557"/>
                  <a:pt x="292725" y="1044074"/>
                  <a:pt x="290244" y="1039110"/>
                </a:cubicBezTo>
                <a:cubicBezTo>
                  <a:pt x="280320" y="1021736"/>
                  <a:pt x="272879" y="1004360"/>
                  <a:pt x="267918" y="986986"/>
                </a:cubicBezTo>
                <a:cubicBezTo>
                  <a:pt x="270398" y="994434"/>
                  <a:pt x="275359" y="999396"/>
                  <a:pt x="277841" y="1004360"/>
                </a:cubicBezTo>
                <a:cubicBezTo>
                  <a:pt x="280320" y="1011808"/>
                  <a:pt x="290244" y="1006843"/>
                  <a:pt x="292725" y="1014288"/>
                </a:cubicBezTo>
                <a:lnTo>
                  <a:pt x="296441" y="1019865"/>
                </a:lnTo>
                <a:lnTo>
                  <a:pt x="300166" y="1029181"/>
                </a:lnTo>
                <a:lnTo>
                  <a:pt x="301656" y="1027692"/>
                </a:lnTo>
                <a:lnTo>
                  <a:pt x="302648" y="1029181"/>
                </a:lnTo>
                <a:lnTo>
                  <a:pt x="302033" y="1027315"/>
                </a:lnTo>
                <a:lnTo>
                  <a:pt x="302648" y="1026700"/>
                </a:lnTo>
                <a:lnTo>
                  <a:pt x="301189" y="1024754"/>
                </a:lnTo>
                <a:lnTo>
                  <a:pt x="293345" y="1000947"/>
                </a:lnTo>
                <a:cubicBezTo>
                  <a:pt x="289003" y="991950"/>
                  <a:pt x="284042" y="983263"/>
                  <a:pt x="280320" y="974574"/>
                </a:cubicBezTo>
                <a:cubicBezTo>
                  <a:pt x="270398" y="954720"/>
                  <a:pt x="257995" y="937344"/>
                  <a:pt x="253034" y="917487"/>
                </a:cubicBezTo>
                <a:cubicBezTo>
                  <a:pt x="248072" y="897630"/>
                  <a:pt x="230706" y="882740"/>
                  <a:pt x="233188" y="860399"/>
                </a:cubicBezTo>
                <a:cubicBezTo>
                  <a:pt x="240628" y="872808"/>
                  <a:pt x="248072" y="885220"/>
                  <a:pt x="253034" y="895149"/>
                </a:cubicBezTo>
                <a:cubicBezTo>
                  <a:pt x="260474" y="907562"/>
                  <a:pt x="267918" y="922451"/>
                  <a:pt x="282802" y="932379"/>
                </a:cubicBezTo>
                <a:cubicBezTo>
                  <a:pt x="275359" y="915006"/>
                  <a:pt x="265435" y="897630"/>
                  <a:pt x="257995" y="880256"/>
                </a:cubicBezTo>
                <a:cubicBezTo>
                  <a:pt x="260474" y="877776"/>
                  <a:pt x="262956" y="877776"/>
                  <a:pt x="265435" y="875292"/>
                </a:cubicBezTo>
                <a:cubicBezTo>
                  <a:pt x="265435" y="870327"/>
                  <a:pt x="262956" y="862880"/>
                  <a:pt x="260474" y="855435"/>
                </a:cubicBezTo>
                <a:cubicBezTo>
                  <a:pt x="262956" y="855435"/>
                  <a:pt x="267918" y="852955"/>
                  <a:pt x="270398" y="852955"/>
                </a:cubicBezTo>
                <a:cubicBezTo>
                  <a:pt x="267918" y="833098"/>
                  <a:pt x="262956" y="815721"/>
                  <a:pt x="253034" y="798348"/>
                </a:cubicBezTo>
                <a:cubicBezTo>
                  <a:pt x="267918" y="800828"/>
                  <a:pt x="267918" y="813241"/>
                  <a:pt x="275359" y="825649"/>
                </a:cubicBezTo>
                <a:cubicBezTo>
                  <a:pt x="282802" y="813241"/>
                  <a:pt x="287764" y="803311"/>
                  <a:pt x="292725" y="790899"/>
                </a:cubicBezTo>
                <a:cubicBezTo>
                  <a:pt x="300166" y="793384"/>
                  <a:pt x="290244" y="805792"/>
                  <a:pt x="297687" y="808275"/>
                </a:cubicBezTo>
                <a:cubicBezTo>
                  <a:pt x="310089" y="798348"/>
                  <a:pt x="310089" y="790899"/>
                  <a:pt x="302648" y="778491"/>
                </a:cubicBezTo>
                <a:cubicBezTo>
                  <a:pt x="295205" y="771046"/>
                  <a:pt x="290244" y="761114"/>
                  <a:pt x="282802" y="751185"/>
                </a:cubicBezTo>
                <a:cubicBezTo>
                  <a:pt x="300166" y="748704"/>
                  <a:pt x="300166" y="766081"/>
                  <a:pt x="312571" y="768561"/>
                </a:cubicBezTo>
                <a:cubicBezTo>
                  <a:pt x="307610" y="761114"/>
                  <a:pt x="302648" y="756150"/>
                  <a:pt x="297687" y="746224"/>
                </a:cubicBezTo>
                <a:cubicBezTo>
                  <a:pt x="305127" y="753670"/>
                  <a:pt x="310089" y="756150"/>
                  <a:pt x="315051" y="761114"/>
                </a:cubicBezTo>
                <a:cubicBezTo>
                  <a:pt x="317532" y="756150"/>
                  <a:pt x="317532" y="751185"/>
                  <a:pt x="320012" y="746224"/>
                </a:cubicBezTo>
                <a:cubicBezTo>
                  <a:pt x="334897" y="748704"/>
                  <a:pt x="324973" y="776007"/>
                  <a:pt x="344819" y="771046"/>
                </a:cubicBezTo>
                <a:cubicBezTo>
                  <a:pt x="342338" y="763597"/>
                  <a:pt x="345440" y="762976"/>
                  <a:pt x="349161" y="762976"/>
                </a:cubicBezTo>
                <a:lnTo>
                  <a:pt x="355552" y="759533"/>
                </a:lnTo>
                <a:lnTo>
                  <a:pt x="377068" y="783454"/>
                </a:lnTo>
                <a:cubicBezTo>
                  <a:pt x="377068" y="783454"/>
                  <a:pt x="379550" y="783454"/>
                  <a:pt x="379550" y="783454"/>
                </a:cubicBezTo>
                <a:cubicBezTo>
                  <a:pt x="379550" y="778491"/>
                  <a:pt x="379550" y="773527"/>
                  <a:pt x="377068" y="768561"/>
                </a:cubicBezTo>
                <a:cubicBezTo>
                  <a:pt x="382029" y="766081"/>
                  <a:pt x="384511" y="763597"/>
                  <a:pt x="386990" y="761114"/>
                </a:cubicBezTo>
                <a:cubicBezTo>
                  <a:pt x="379550" y="756150"/>
                  <a:pt x="372107" y="753670"/>
                  <a:pt x="364665" y="748704"/>
                </a:cubicBezTo>
                <a:cubicBezTo>
                  <a:pt x="367144" y="751185"/>
                  <a:pt x="369627" y="756150"/>
                  <a:pt x="372107" y="761114"/>
                </a:cubicBezTo>
                <a:cubicBezTo>
                  <a:pt x="372107" y="761114"/>
                  <a:pt x="369627" y="763597"/>
                  <a:pt x="369627" y="763597"/>
                </a:cubicBezTo>
                <a:cubicBezTo>
                  <a:pt x="364665" y="761114"/>
                  <a:pt x="362183" y="758634"/>
                  <a:pt x="357222" y="756150"/>
                </a:cubicBezTo>
                <a:lnTo>
                  <a:pt x="355981" y="757393"/>
                </a:lnTo>
                <a:lnTo>
                  <a:pt x="332417" y="733813"/>
                </a:lnTo>
                <a:cubicBezTo>
                  <a:pt x="337378" y="723883"/>
                  <a:pt x="344819" y="731328"/>
                  <a:pt x="349781" y="728847"/>
                </a:cubicBezTo>
                <a:cubicBezTo>
                  <a:pt x="359704" y="726364"/>
                  <a:pt x="354742" y="741260"/>
                  <a:pt x="364665" y="738776"/>
                </a:cubicBezTo>
                <a:cubicBezTo>
                  <a:pt x="374588" y="728847"/>
                  <a:pt x="359704" y="723883"/>
                  <a:pt x="362183" y="713956"/>
                </a:cubicBezTo>
                <a:cubicBezTo>
                  <a:pt x="367144" y="713956"/>
                  <a:pt x="369627" y="713956"/>
                  <a:pt x="374588" y="716439"/>
                </a:cubicBezTo>
                <a:cubicBezTo>
                  <a:pt x="377068" y="713956"/>
                  <a:pt x="377068" y="708990"/>
                  <a:pt x="377068" y="706510"/>
                </a:cubicBezTo>
                <a:cubicBezTo>
                  <a:pt x="386990" y="713956"/>
                  <a:pt x="396914" y="723883"/>
                  <a:pt x="404358" y="728847"/>
                </a:cubicBezTo>
                <a:lnTo>
                  <a:pt x="411075" y="729520"/>
                </a:lnTo>
                <a:lnTo>
                  <a:pt x="411798" y="731328"/>
                </a:lnTo>
                <a:lnTo>
                  <a:pt x="414692" y="729882"/>
                </a:lnTo>
                <a:lnTo>
                  <a:pt x="429165" y="731328"/>
                </a:lnTo>
                <a:cubicBezTo>
                  <a:pt x="419241" y="718919"/>
                  <a:pt x="409319" y="706510"/>
                  <a:pt x="401875" y="694099"/>
                </a:cubicBezTo>
                <a:cubicBezTo>
                  <a:pt x="394434" y="681689"/>
                  <a:pt x="384511" y="669276"/>
                  <a:pt x="377068" y="656868"/>
                </a:cubicBezTo>
                <a:cubicBezTo>
                  <a:pt x="374588" y="654387"/>
                  <a:pt x="374588" y="649419"/>
                  <a:pt x="374588" y="646939"/>
                </a:cubicBezTo>
                <a:cubicBezTo>
                  <a:pt x="377068" y="651904"/>
                  <a:pt x="382029" y="654387"/>
                  <a:pt x="384511" y="659351"/>
                </a:cubicBezTo>
                <a:cubicBezTo>
                  <a:pt x="386990" y="659351"/>
                  <a:pt x="386990" y="656868"/>
                  <a:pt x="389473" y="656868"/>
                </a:cubicBezTo>
                <a:cubicBezTo>
                  <a:pt x="386990" y="649419"/>
                  <a:pt x="382029" y="644455"/>
                  <a:pt x="379550" y="637011"/>
                </a:cubicBezTo>
                <a:cubicBezTo>
                  <a:pt x="401875" y="651904"/>
                  <a:pt x="411798" y="676725"/>
                  <a:pt x="426682" y="691618"/>
                </a:cubicBezTo>
                <a:cubicBezTo>
                  <a:pt x="436605" y="694099"/>
                  <a:pt x="446529" y="696582"/>
                  <a:pt x="456451" y="699062"/>
                </a:cubicBezTo>
                <a:cubicBezTo>
                  <a:pt x="461413" y="694099"/>
                  <a:pt x="468853" y="691618"/>
                  <a:pt x="473818" y="689133"/>
                </a:cubicBezTo>
                <a:cubicBezTo>
                  <a:pt x="481258" y="686653"/>
                  <a:pt x="473818" y="671761"/>
                  <a:pt x="486221" y="676725"/>
                </a:cubicBezTo>
                <a:cubicBezTo>
                  <a:pt x="493661" y="661832"/>
                  <a:pt x="481258" y="649419"/>
                  <a:pt x="478777" y="634530"/>
                </a:cubicBezTo>
                <a:cubicBezTo>
                  <a:pt x="483738" y="639491"/>
                  <a:pt x="486221" y="641975"/>
                  <a:pt x="491182" y="644455"/>
                </a:cubicBezTo>
                <a:cubicBezTo>
                  <a:pt x="483738" y="624601"/>
                  <a:pt x="466375" y="609709"/>
                  <a:pt x="458933" y="584887"/>
                </a:cubicBezTo>
                <a:cubicBezTo>
                  <a:pt x="473818" y="587368"/>
                  <a:pt x="473818" y="602261"/>
                  <a:pt x="481258" y="609709"/>
                </a:cubicBezTo>
                <a:cubicBezTo>
                  <a:pt x="488700" y="619634"/>
                  <a:pt x="498623" y="627082"/>
                  <a:pt x="508546" y="637011"/>
                </a:cubicBezTo>
                <a:cubicBezTo>
                  <a:pt x="508546" y="617154"/>
                  <a:pt x="498623" y="612190"/>
                  <a:pt x="491182" y="602261"/>
                </a:cubicBezTo>
                <a:cubicBezTo>
                  <a:pt x="486221" y="592333"/>
                  <a:pt x="481258" y="582404"/>
                  <a:pt x="473818" y="569995"/>
                </a:cubicBezTo>
                <a:cubicBezTo>
                  <a:pt x="498623" y="579923"/>
                  <a:pt x="511028" y="599780"/>
                  <a:pt x="525913" y="617154"/>
                </a:cubicBezTo>
                <a:cubicBezTo>
                  <a:pt x="533353" y="617154"/>
                  <a:pt x="538314" y="614670"/>
                  <a:pt x="545759" y="614670"/>
                </a:cubicBezTo>
                <a:cubicBezTo>
                  <a:pt x="545759" y="612190"/>
                  <a:pt x="543276" y="607225"/>
                  <a:pt x="540796" y="602261"/>
                </a:cubicBezTo>
                <a:cubicBezTo>
                  <a:pt x="545759" y="602261"/>
                  <a:pt x="550717" y="604744"/>
                  <a:pt x="558160" y="604744"/>
                </a:cubicBezTo>
                <a:cubicBezTo>
                  <a:pt x="548238" y="587368"/>
                  <a:pt x="538314" y="574959"/>
                  <a:pt x="528392" y="560066"/>
                </a:cubicBezTo>
                <a:cubicBezTo>
                  <a:pt x="528392" y="557583"/>
                  <a:pt x="530874" y="557583"/>
                  <a:pt x="530874" y="557583"/>
                </a:cubicBezTo>
                <a:cubicBezTo>
                  <a:pt x="538314" y="562547"/>
                  <a:pt x="543276" y="567511"/>
                  <a:pt x="553199" y="574959"/>
                </a:cubicBezTo>
                <a:cubicBezTo>
                  <a:pt x="553199" y="569995"/>
                  <a:pt x="553199" y="567511"/>
                  <a:pt x="553199" y="560066"/>
                </a:cubicBezTo>
                <a:cubicBezTo>
                  <a:pt x="563121" y="569995"/>
                  <a:pt x="573045" y="579923"/>
                  <a:pt x="585451" y="592333"/>
                </a:cubicBezTo>
                <a:cubicBezTo>
                  <a:pt x="585451" y="584887"/>
                  <a:pt x="585451" y="579923"/>
                  <a:pt x="585451" y="574959"/>
                </a:cubicBezTo>
                <a:cubicBezTo>
                  <a:pt x="590409" y="577440"/>
                  <a:pt x="592891" y="579923"/>
                  <a:pt x="597852" y="582404"/>
                </a:cubicBezTo>
                <a:cubicBezTo>
                  <a:pt x="595370" y="567511"/>
                  <a:pt x="615216" y="572476"/>
                  <a:pt x="617698" y="557583"/>
                </a:cubicBezTo>
                <a:cubicBezTo>
                  <a:pt x="620177" y="562547"/>
                  <a:pt x="625139" y="567511"/>
                  <a:pt x="627622" y="569995"/>
                </a:cubicBezTo>
                <a:cubicBezTo>
                  <a:pt x="630101" y="567511"/>
                  <a:pt x="630101" y="567511"/>
                  <a:pt x="630101" y="567511"/>
                </a:cubicBezTo>
                <a:cubicBezTo>
                  <a:pt x="625139" y="562547"/>
                  <a:pt x="622659" y="555102"/>
                  <a:pt x="620177" y="550138"/>
                </a:cubicBezTo>
                <a:cubicBezTo>
                  <a:pt x="620177" y="550138"/>
                  <a:pt x="622659" y="547657"/>
                  <a:pt x="622659" y="547657"/>
                </a:cubicBezTo>
                <a:lnTo>
                  <a:pt x="635936" y="562984"/>
                </a:lnTo>
                <a:lnTo>
                  <a:pt x="635062" y="562547"/>
                </a:lnTo>
                <a:lnTo>
                  <a:pt x="638775" y="566263"/>
                </a:lnTo>
                <a:lnTo>
                  <a:pt x="654908" y="584887"/>
                </a:lnTo>
                <a:cubicBezTo>
                  <a:pt x="652429" y="587368"/>
                  <a:pt x="649947" y="592333"/>
                  <a:pt x="647468" y="594816"/>
                </a:cubicBezTo>
                <a:cubicBezTo>
                  <a:pt x="654908" y="607225"/>
                  <a:pt x="659869" y="594816"/>
                  <a:pt x="667314" y="597297"/>
                </a:cubicBezTo>
                <a:cubicBezTo>
                  <a:pt x="674754" y="612190"/>
                  <a:pt x="687156" y="607225"/>
                  <a:pt x="702040" y="607225"/>
                </a:cubicBezTo>
                <a:cubicBezTo>
                  <a:pt x="707002" y="599780"/>
                  <a:pt x="711964" y="592333"/>
                  <a:pt x="716925" y="582404"/>
                </a:cubicBezTo>
                <a:cubicBezTo>
                  <a:pt x="729331" y="592333"/>
                  <a:pt x="739253" y="602261"/>
                  <a:pt x="749177" y="609709"/>
                </a:cubicBezTo>
                <a:cubicBezTo>
                  <a:pt x="749177" y="609709"/>
                  <a:pt x="751656" y="609709"/>
                  <a:pt x="751656" y="609709"/>
                </a:cubicBezTo>
                <a:cubicBezTo>
                  <a:pt x="751656" y="604744"/>
                  <a:pt x="751656" y="599780"/>
                  <a:pt x="749177" y="597297"/>
                </a:cubicBezTo>
                <a:cubicBezTo>
                  <a:pt x="736771" y="577440"/>
                  <a:pt x="721886" y="560066"/>
                  <a:pt x="709485" y="540209"/>
                </a:cubicBezTo>
                <a:cubicBezTo>
                  <a:pt x="707002" y="535245"/>
                  <a:pt x="704522" y="532762"/>
                  <a:pt x="704522" y="527796"/>
                </a:cubicBezTo>
                <a:cubicBezTo>
                  <a:pt x="702040" y="525316"/>
                  <a:pt x="704522" y="520352"/>
                  <a:pt x="702040" y="520352"/>
                </a:cubicBezTo>
                <a:cubicBezTo>
                  <a:pt x="687156" y="510424"/>
                  <a:pt x="687156" y="493050"/>
                  <a:pt x="679715" y="478155"/>
                </a:cubicBezTo>
                <a:cubicBezTo>
                  <a:pt x="667314" y="448372"/>
                  <a:pt x="1049342" y="751185"/>
                  <a:pt x="1031978" y="726364"/>
                </a:cubicBezTo>
                <a:cubicBezTo>
                  <a:pt x="1027017" y="718919"/>
                  <a:pt x="1017093" y="708990"/>
                  <a:pt x="1022052" y="694099"/>
                </a:cubicBezTo>
                <a:cubicBezTo>
                  <a:pt x="1022052" y="691618"/>
                  <a:pt x="1019573" y="684169"/>
                  <a:pt x="1017093" y="681689"/>
                </a:cubicBezTo>
                <a:cubicBezTo>
                  <a:pt x="1007171" y="674242"/>
                  <a:pt x="1009650" y="666796"/>
                  <a:pt x="1012132" y="659351"/>
                </a:cubicBezTo>
                <a:cubicBezTo>
                  <a:pt x="1007171" y="651904"/>
                  <a:pt x="1002209" y="646939"/>
                  <a:pt x="999727" y="639491"/>
                </a:cubicBezTo>
                <a:cubicBezTo>
                  <a:pt x="994765" y="632047"/>
                  <a:pt x="994765" y="622118"/>
                  <a:pt x="979881" y="624601"/>
                </a:cubicBezTo>
                <a:cubicBezTo>
                  <a:pt x="977401" y="624601"/>
                  <a:pt x="972440" y="619634"/>
                  <a:pt x="969958" y="617154"/>
                </a:cubicBezTo>
                <a:cubicBezTo>
                  <a:pt x="964996" y="609709"/>
                  <a:pt x="960035" y="599780"/>
                  <a:pt x="955074" y="592333"/>
                </a:cubicBezTo>
                <a:cubicBezTo>
                  <a:pt x="960035" y="589852"/>
                  <a:pt x="962517" y="587368"/>
                  <a:pt x="964996" y="584887"/>
                </a:cubicBezTo>
                <a:cubicBezTo>
                  <a:pt x="955074" y="579923"/>
                  <a:pt x="952594" y="567511"/>
                  <a:pt x="940189" y="565030"/>
                </a:cubicBezTo>
                <a:cubicBezTo>
                  <a:pt x="935228" y="565030"/>
                  <a:pt x="927787" y="552619"/>
                  <a:pt x="930269" y="547657"/>
                </a:cubicBezTo>
                <a:cubicBezTo>
                  <a:pt x="935228" y="532762"/>
                  <a:pt x="927787" y="525316"/>
                  <a:pt x="917864" y="520352"/>
                </a:cubicBezTo>
                <a:cubicBezTo>
                  <a:pt x="917864" y="510424"/>
                  <a:pt x="917864" y="502976"/>
                  <a:pt x="917864" y="493050"/>
                </a:cubicBezTo>
                <a:cubicBezTo>
                  <a:pt x="912902" y="495531"/>
                  <a:pt x="910421" y="498014"/>
                  <a:pt x="907941" y="500495"/>
                </a:cubicBezTo>
                <a:cubicBezTo>
                  <a:pt x="898018" y="478155"/>
                  <a:pt x="885616" y="458300"/>
                  <a:pt x="873211" y="435962"/>
                </a:cubicBezTo>
                <a:cubicBezTo>
                  <a:pt x="875693" y="438443"/>
                  <a:pt x="878172" y="440924"/>
                  <a:pt x="883133" y="445888"/>
                </a:cubicBezTo>
                <a:cubicBezTo>
                  <a:pt x="878172" y="430995"/>
                  <a:pt x="878172" y="416103"/>
                  <a:pt x="863287" y="406178"/>
                </a:cubicBezTo>
                <a:cubicBezTo>
                  <a:pt x="863287" y="406178"/>
                  <a:pt x="860808" y="403693"/>
                  <a:pt x="860808" y="403693"/>
                </a:cubicBezTo>
                <a:cubicBezTo>
                  <a:pt x="863287" y="388800"/>
                  <a:pt x="850885" y="386321"/>
                  <a:pt x="843441" y="378872"/>
                </a:cubicBezTo>
                <a:cubicBezTo>
                  <a:pt x="836001" y="373908"/>
                  <a:pt x="831039" y="366460"/>
                  <a:pt x="831039" y="356534"/>
                </a:cubicBezTo>
                <a:cubicBezTo>
                  <a:pt x="836001" y="356534"/>
                  <a:pt x="838480" y="354051"/>
                  <a:pt x="840962" y="354051"/>
                </a:cubicBezTo>
                <a:cubicBezTo>
                  <a:pt x="838480" y="344122"/>
                  <a:pt x="833519" y="339158"/>
                  <a:pt x="823595" y="334194"/>
                </a:cubicBezTo>
                <a:cubicBezTo>
                  <a:pt x="816155" y="331713"/>
                  <a:pt x="811194" y="321784"/>
                  <a:pt x="811194" y="309372"/>
                </a:cubicBezTo>
                <a:cubicBezTo>
                  <a:pt x="816155" y="311856"/>
                  <a:pt x="818634" y="314337"/>
                  <a:pt x="826078" y="321784"/>
                </a:cubicBezTo>
                <a:cubicBezTo>
                  <a:pt x="821116" y="301927"/>
                  <a:pt x="816155" y="287034"/>
                  <a:pt x="808714" y="267177"/>
                </a:cubicBezTo>
                <a:cubicBezTo>
                  <a:pt x="813673" y="274626"/>
                  <a:pt x="818634" y="277106"/>
                  <a:pt x="821116" y="282070"/>
                </a:cubicBezTo>
                <a:cubicBezTo>
                  <a:pt x="823595" y="279587"/>
                  <a:pt x="823595" y="277106"/>
                  <a:pt x="823595" y="277106"/>
                </a:cubicBezTo>
                <a:cubicBezTo>
                  <a:pt x="813673" y="259733"/>
                  <a:pt x="806232" y="239876"/>
                  <a:pt x="796309" y="220019"/>
                </a:cubicBezTo>
                <a:cubicBezTo>
                  <a:pt x="783907" y="195198"/>
                  <a:pt x="773984" y="170377"/>
                  <a:pt x="761578" y="145554"/>
                </a:cubicBezTo>
                <a:cubicBezTo>
                  <a:pt x="759099" y="145554"/>
                  <a:pt x="761578" y="143071"/>
                  <a:pt x="761578" y="143071"/>
                </a:cubicBezTo>
                <a:cubicBezTo>
                  <a:pt x="771502" y="157967"/>
                  <a:pt x="781424" y="175341"/>
                  <a:pt x="791348" y="190234"/>
                </a:cubicBezTo>
                <a:cubicBezTo>
                  <a:pt x="796309" y="185268"/>
                  <a:pt x="798788" y="180304"/>
                  <a:pt x="796309" y="172857"/>
                </a:cubicBezTo>
                <a:cubicBezTo>
                  <a:pt x="788868" y="155484"/>
                  <a:pt x="783907" y="140590"/>
                  <a:pt x="776463" y="123217"/>
                </a:cubicBezTo>
                <a:cubicBezTo>
                  <a:pt x="773984" y="118253"/>
                  <a:pt x="773984" y="113289"/>
                  <a:pt x="773984" y="108325"/>
                </a:cubicBezTo>
                <a:cubicBezTo>
                  <a:pt x="791348" y="113289"/>
                  <a:pt x="796309" y="130663"/>
                  <a:pt x="803753" y="143071"/>
                </a:cubicBezTo>
                <a:cubicBezTo>
                  <a:pt x="806232" y="145554"/>
                  <a:pt x="806232" y="148039"/>
                  <a:pt x="808714" y="150520"/>
                </a:cubicBezTo>
                <a:cubicBezTo>
                  <a:pt x="808714" y="148039"/>
                  <a:pt x="811194" y="148039"/>
                  <a:pt x="811194" y="148039"/>
                </a:cubicBezTo>
                <a:cubicBezTo>
                  <a:pt x="801270" y="125697"/>
                  <a:pt x="791348" y="105840"/>
                  <a:pt x="781424" y="83503"/>
                </a:cubicBezTo>
                <a:cubicBezTo>
                  <a:pt x="786386" y="78539"/>
                  <a:pt x="796309" y="73575"/>
                  <a:pt x="793830" y="61162"/>
                </a:cubicBezTo>
                <a:cubicBezTo>
                  <a:pt x="788868" y="63646"/>
                  <a:pt x="788868" y="66126"/>
                  <a:pt x="786386" y="66126"/>
                </a:cubicBezTo>
                <a:cubicBezTo>
                  <a:pt x="783907" y="68611"/>
                  <a:pt x="778945" y="71094"/>
                  <a:pt x="776463" y="71094"/>
                </a:cubicBezTo>
                <a:cubicBezTo>
                  <a:pt x="771502" y="68611"/>
                  <a:pt x="769022" y="63646"/>
                  <a:pt x="769022" y="61162"/>
                </a:cubicBezTo>
                <a:cubicBezTo>
                  <a:pt x="771502" y="48754"/>
                  <a:pt x="764061" y="43789"/>
                  <a:pt x="761578" y="33861"/>
                </a:cubicBezTo>
                <a:cubicBezTo>
                  <a:pt x="759099" y="23932"/>
                  <a:pt x="754138" y="16487"/>
                  <a:pt x="749177" y="655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700000" anchor="t" anchorCtr="1">
            <a:noAutofit/>
          </a:bodyPr>
          <a:lstStyle>
            <a:lvl1pPr marL="0" indent="0">
              <a:buNone/>
              <a:defRPr sz="11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A1E885E5-1804-A9BA-8CA3-6A02ABC855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6718771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7D8390-70EF-B818-B273-B73ED3192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400"/>
            <a:ext cx="6718771" cy="66308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2DC3CC6-199B-A866-49E2-3AB14B7002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6718771" cy="426891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A68FFAD-E38D-C826-43B6-AFD17DFA8E5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A8D9AA7-2620-E9DF-0278-49BE08C82F8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16C1C53-3099-A182-6FF3-61E594BF5AC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4809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   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375A58-7299-A52F-5F67-29BBBDD1E2B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70331" y="736600"/>
            <a:ext cx="4021668" cy="6121401"/>
          </a:xfrm>
          <a:custGeom>
            <a:avLst/>
            <a:gdLst>
              <a:gd name="connsiteX0" fmla="*/ 3194650 w 4021668"/>
              <a:gd name="connsiteY0" fmla="*/ 5991044 h 6121401"/>
              <a:gd name="connsiteX1" fmla="*/ 3186437 w 4021668"/>
              <a:gd name="connsiteY1" fmla="*/ 5996920 h 6121401"/>
              <a:gd name="connsiteX2" fmla="*/ 3188492 w 4021668"/>
              <a:gd name="connsiteY2" fmla="*/ 5996920 h 6121401"/>
              <a:gd name="connsiteX3" fmla="*/ 3180280 w 4021668"/>
              <a:gd name="connsiteY3" fmla="*/ 6006718 h 6121401"/>
              <a:gd name="connsiteX4" fmla="*/ 3194650 w 4021668"/>
              <a:gd name="connsiteY4" fmla="*/ 5991044 h 6121401"/>
              <a:gd name="connsiteX5" fmla="*/ 835767 w 4021668"/>
              <a:gd name="connsiteY5" fmla="*/ 4974251 h 6121401"/>
              <a:gd name="connsiteX6" fmla="*/ 829607 w 4021668"/>
              <a:gd name="connsiteY6" fmla="*/ 4980130 h 6121401"/>
              <a:gd name="connsiteX7" fmla="*/ 835767 w 4021668"/>
              <a:gd name="connsiteY7" fmla="*/ 4986006 h 6121401"/>
              <a:gd name="connsiteX8" fmla="*/ 843978 w 4021668"/>
              <a:gd name="connsiteY8" fmla="*/ 4986006 h 6121401"/>
              <a:gd name="connsiteX9" fmla="*/ 835767 w 4021668"/>
              <a:gd name="connsiteY9" fmla="*/ 4974251 h 6121401"/>
              <a:gd name="connsiteX10" fmla="*/ 572983 w 4021668"/>
              <a:gd name="connsiteY10" fmla="*/ 4964457 h 6121401"/>
              <a:gd name="connsiteX11" fmla="*/ 566826 w 4021668"/>
              <a:gd name="connsiteY11" fmla="*/ 4968376 h 6121401"/>
              <a:gd name="connsiteX12" fmla="*/ 564771 w 4021668"/>
              <a:gd name="connsiteY12" fmla="*/ 4972290 h 6121401"/>
              <a:gd name="connsiteX13" fmla="*/ 575037 w 4021668"/>
              <a:gd name="connsiteY13" fmla="*/ 4964457 h 6121401"/>
              <a:gd name="connsiteX14" fmla="*/ 572983 w 4021668"/>
              <a:gd name="connsiteY14" fmla="*/ 4964457 h 6121401"/>
              <a:gd name="connsiteX15" fmla="*/ 926099 w 4021668"/>
              <a:gd name="connsiteY15" fmla="*/ 4915477 h 6121401"/>
              <a:gd name="connsiteX16" fmla="*/ 917885 w 4021668"/>
              <a:gd name="connsiteY16" fmla="*/ 4925274 h 6121401"/>
              <a:gd name="connsiteX17" fmla="*/ 921991 w 4021668"/>
              <a:gd name="connsiteY17" fmla="*/ 4923313 h 6121401"/>
              <a:gd name="connsiteX18" fmla="*/ 926099 w 4021668"/>
              <a:gd name="connsiteY18" fmla="*/ 4915477 h 6121401"/>
              <a:gd name="connsiteX19" fmla="*/ 323601 w 4021668"/>
              <a:gd name="connsiteY19" fmla="*/ 4728094 h 6121401"/>
              <a:gd name="connsiteX20" fmla="*/ 323289 w 4021668"/>
              <a:gd name="connsiteY20" fmla="*/ 4730829 h 6121401"/>
              <a:gd name="connsiteX21" fmla="*/ 314308 w 4021668"/>
              <a:gd name="connsiteY21" fmla="*/ 4739154 h 6121401"/>
              <a:gd name="connsiteX22" fmla="*/ 315168 w 4021668"/>
              <a:gd name="connsiteY22" fmla="*/ 4734130 h 6121401"/>
              <a:gd name="connsiteX23" fmla="*/ 944575 w 4021668"/>
              <a:gd name="connsiteY23" fmla="*/ 4713686 h 6121401"/>
              <a:gd name="connsiteX24" fmla="*/ 942521 w 4021668"/>
              <a:gd name="connsiteY24" fmla="*/ 4717605 h 6121401"/>
              <a:gd name="connsiteX25" fmla="*/ 946627 w 4021668"/>
              <a:gd name="connsiteY25" fmla="*/ 4717605 h 6121401"/>
              <a:gd name="connsiteX26" fmla="*/ 946627 w 4021668"/>
              <a:gd name="connsiteY26" fmla="*/ 4715644 h 6121401"/>
              <a:gd name="connsiteX27" fmla="*/ 944575 w 4021668"/>
              <a:gd name="connsiteY27" fmla="*/ 4713686 h 6121401"/>
              <a:gd name="connsiteX28" fmla="*/ 971264 w 4021668"/>
              <a:gd name="connsiteY28" fmla="*/ 4696055 h 6121401"/>
              <a:gd name="connsiteX29" fmla="*/ 963051 w 4021668"/>
              <a:gd name="connsiteY29" fmla="*/ 4698013 h 6121401"/>
              <a:gd name="connsiteX30" fmla="*/ 963051 w 4021668"/>
              <a:gd name="connsiteY30" fmla="*/ 4705850 h 6121401"/>
              <a:gd name="connsiteX31" fmla="*/ 967157 w 4021668"/>
              <a:gd name="connsiteY31" fmla="*/ 4701932 h 6121401"/>
              <a:gd name="connsiteX32" fmla="*/ 971264 w 4021668"/>
              <a:gd name="connsiteY32" fmla="*/ 4696055 h 6121401"/>
              <a:gd name="connsiteX33" fmla="*/ 1000005 w 4021668"/>
              <a:gd name="connsiteY33" fmla="*/ 4692135 h 6121401"/>
              <a:gd name="connsiteX34" fmla="*/ 987687 w 4021668"/>
              <a:gd name="connsiteY34" fmla="*/ 4699974 h 6121401"/>
              <a:gd name="connsiteX35" fmla="*/ 977424 w 4021668"/>
              <a:gd name="connsiteY35" fmla="*/ 4701932 h 6121401"/>
              <a:gd name="connsiteX36" fmla="*/ 979474 w 4021668"/>
              <a:gd name="connsiteY36" fmla="*/ 4703892 h 6121401"/>
              <a:gd name="connsiteX37" fmla="*/ 971264 w 4021668"/>
              <a:gd name="connsiteY37" fmla="*/ 4707808 h 6121401"/>
              <a:gd name="connsiteX38" fmla="*/ 967157 w 4021668"/>
              <a:gd name="connsiteY38" fmla="*/ 4711726 h 6121401"/>
              <a:gd name="connsiteX39" fmla="*/ 952788 w 4021668"/>
              <a:gd name="connsiteY39" fmla="*/ 4721523 h 6121401"/>
              <a:gd name="connsiteX40" fmla="*/ 946627 w 4021668"/>
              <a:gd name="connsiteY40" fmla="*/ 4735236 h 6121401"/>
              <a:gd name="connsiteX41" fmla="*/ 936363 w 4021668"/>
              <a:gd name="connsiteY41" fmla="*/ 4750910 h 6121401"/>
              <a:gd name="connsiteX42" fmla="*/ 936363 w 4021668"/>
              <a:gd name="connsiteY42" fmla="*/ 4752870 h 6121401"/>
              <a:gd name="connsiteX43" fmla="*/ 940469 w 4021668"/>
              <a:gd name="connsiteY43" fmla="*/ 4752870 h 6121401"/>
              <a:gd name="connsiteX44" fmla="*/ 946627 w 4021668"/>
              <a:gd name="connsiteY44" fmla="*/ 4758746 h 6121401"/>
              <a:gd name="connsiteX45" fmla="*/ 1000005 w 4021668"/>
              <a:gd name="connsiteY45" fmla="*/ 4692135 h 6121401"/>
              <a:gd name="connsiteX46" fmla="*/ 919939 w 4021668"/>
              <a:gd name="connsiteY46" fmla="*/ 4692135 h 6121401"/>
              <a:gd name="connsiteX47" fmla="*/ 915833 w 4021668"/>
              <a:gd name="connsiteY47" fmla="*/ 4696055 h 6121401"/>
              <a:gd name="connsiteX48" fmla="*/ 921991 w 4021668"/>
              <a:gd name="connsiteY48" fmla="*/ 4692135 h 6121401"/>
              <a:gd name="connsiteX49" fmla="*/ 919939 w 4021668"/>
              <a:gd name="connsiteY49" fmla="*/ 4692135 h 6121401"/>
              <a:gd name="connsiteX50" fmla="*/ 334839 w 4021668"/>
              <a:gd name="connsiteY50" fmla="*/ 4680382 h 6121401"/>
              <a:gd name="connsiteX51" fmla="*/ 326627 w 4021668"/>
              <a:gd name="connsiteY51" fmla="*/ 4692135 h 6121401"/>
              <a:gd name="connsiteX52" fmla="*/ 328678 w 4021668"/>
              <a:gd name="connsiteY52" fmla="*/ 4694095 h 6121401"/>
              <a:gd name="connsiteX53" fmla="*/ 336891 w 4021668"/>
              <a:gd name="connsiteY53" fmla="*/ 4682340 h 6121401"/>
              <a:gd name="connsiteX54" fmla="*/ 334839 w 4021668"/>
              <a:gd name="connsiteY54" fmla="*/ 4680382 h 6121401"/>
              <a:gd name="connsiteX55" fmla="*/ 646891 w 4021668"/>
              <a:gd name="connsiteY55" fmla="*/ 4674503 h 6121401"/>
              <a:gd name="connsiteX56" fmla="*/ 630467 w 4021668"/>
              <a:gd name="connsiteY56" fmla="*/ 4698013 h 6121401"/>
              <a:gd name="connsiteX57" fmla="*/ 642785 w 4021668"/>
              <a:gd name="connsiteY57" fmla="*/ 4694095 h 6121401"/>
              <a:gd name="connsiteX58" fmla="*/ 648688 w 4021668"/>
              <a:gd name="connsiteY58" fmla="*/ 4685768 h 6121401"/>
              <a:gd name="connsiteX59" fmla="*/ 646891 w 4021668"/>
              <a:gd name="connsiteY59" fmla="*/ 4674503 h 6121401"/>
              <a:gd name="connsiteX60" fmla="*/ 665367 w 4021668"/>
              <a:gd name="connsiteY60" fmla="*/ 4652954 h 6121401"/>
              <a:gd name="connsiteX61" fmla="*/ 661261 w 4021668"/>
              <a:gd name="connsiteY61" fmla="*/ 4656872 h 6121401"/>
              <a:gd name="connsiteX62" fmla="*/ 657155 w 4021668"/>
              <a:gd name="connsiteY62" fmla="*/ 4662748 h 6121401"/>
              <a:gd name="connsiteX63" fmla="*/ 659210 w 4021668"/>
              <a:gd name="connsiteY63" fmla="*/ 4664708 h 6121401"/>
              <a:gd name="connsiteX64" fmla="*/ 665367 w 4021668"/>
              <a:gd name="connsiteY64" fmla="*/ 4652954 h 6121401"/>
              <a:gd name="connsiteX65" fmla="*/ 161722 w 4021668"/>
              <a:gd name="connsiteY65" fmla="*/ 4634690 h 6121401"/>
              <a:gd name="connsiteX66" fmla="*/ 162386 w 4021668"/>
              <a:gd name="connsiteY66" fmla="*/ 4635323 h 6121401"/>
              <a:gd name="connsiteX67" fmla="*/ 158279 w 4021668"/>
              <a:gd name="connsiteY67" fmla="*/ 4641198 h 6121401"/>
              <a:gd name="connsiteX68" fmla="*/ 157750 w 4021668"/>
              <a:gd name="connsiteY68" fmla="*/ 4640692 h 6121401"/>
              <a:gd name="connsiteX69" fmla="*/ 1078020 w 4021668"/>
              <a:gd name="connsiteY69" fmla="*/ 4625525 h 6121401"/>
              <a:gd name="connsiteX70" fmla="*/ 1073914 w 4021668"/>
              <a:gd name="connsiteY70" fmla="*/ 4633362 h 6121401"/>
              <a:gd name="connsiteX71" fmla="*/ 1079047 w 4021668"/>
              <a:gd name="connsiteY71" fmla="*/ 4630914 h 6121401"/>
              <a:gd name="connsiteX72" fmla="*/ 1078020 w 4021668"/>
              <a:gd name="connsiteY72" fmla="*/ 4625525 h 6121401"/>
              <a:gd name="connsiteX73" fmla="*/ 1059541 w 4021668"/>
              <a:gd name="connsiteY73" fmla="*/ 4602015 h 6121401"/>
              <a:gd name="connsiteX74" fmla="*/ 1041065 w 4021668"/>
              <a:gd name="connsiteY74" fmla="*/ 4617688 h 6121401"/>
              <a:gd name="connsiteX75" fmla="*/ 1059541 w 4021668"/>
              <a:gd name="connsiteY75" fmla="*/ 4602015 h 6121401"/>
              <a:gd name="connsiteX76" fmla="*/ 698215 w 4021668"/>
              <a:gd name="connsiteY76" fmla="*/ 4590261 h 6121401"/>
              <a:gd name="connsiteX77" fmla="*/ 685898 w 4021668"/>
              <a:gd name="connsiteY77" fmla="*/ 4602015 h 6121401"/>
              <a:gd name="connsiteX78" fmla="*/ 646891 w 4021668"/>
              <a:gd name="connsiteY78" fmla="*/ 4652954 h 6121401"/>
              <a:gd name="connsiteX79" fmla="*/ 634574 w 4021668"/>
              <a:gd name="connsiteY79" fmla="*/ 4666666 h 6121401"/>
              <a:gd name="connsiteX80" fmla="*/ 632522 w 4021668"/>
              <a:gd name="connsiteY80" fmla="*/ 4670585 h 6121401"/>
              <a:gd name="connsiteX81" fmla="*/ 609938 w 4021668"/>
              <a:gd name="connsiteY81" fmla="*/ 4705850 h 6121401"/>
              <a:gd name="connsiteX82" fmla="*/ 601725 w 4021668"/>
              <a:gd name="connsiteY82" fmla="*/ 4725441 h 6121401"/>
              <a:gd name="connsiteX83" fmla="*/ 650998 w 4021668"/>
              <a:gd name="connsiteY83" fmla="*/ 4660791 h 6121401"/>
              <a:gd name="connsiteX84" fmla="*/ 665367 w 4021668"/>
              <a:gd name="connsiteY84" fmla="*/ 4641198 h 6121401"/>
              <a:gd name="connsiteX85" fmla="*/ 677686 w 4021668"/>
              <a:gd name="connsiteY85" fmla="*/ 4635323 h 6121401"/>
              <a:gd name="connsiteX86" fmla="*/ 679739 w 4021668"/>
              <a:gd name="connsiteY86" fmla="*/ 4631404 h 6121401"/>
              <a:gd name="connsiteX87" fmla="*/ 685898 w 4021668"/>
              <a:gd name="connsiteY87" fmla="*/ 4619646 h 6121401"/>
              <a:gd name="connsiteX88" fmla="*/ 685898 w 4021668"/>
              <a:gd name="connsiteY88" fmla="*/ 4621607 h 6121401"/>
              <a:gd name="connsiteX89" fmla="*/ 698215 w 4021668"/>
              <a:gd name="connsiteY89" fmla="*/ 4594179 h 6121401"/>
              <a:gd name="connsiteX90" fmla="*/ 698215 w 4021668"/>
              <a:gd name="connsiteY90" fmla="*/ 4590261 h 6121401"/>
              <a:gd name="connsiteX91" fmla="*/ 1114972 w 4021668"/>
              <a:gd name="connsiteY91" fmla="*/ 4572629 h 6121401"/>
              <a:gd name="connsiteX92" fmla="*/ 1110869 w 4021668"/>
              <a:gd name="connsiteY92" fmla="*/ 4578506 h 6121401"/>
              <a:gd name="connsiteX93" fmla="*/ 1104707 w 4021668"/>
              <a:gd name="connsiteY93" fmla="*/ 4588303 h 6121401"/>
              <a:gd name="connsiteX94" fmla="*/ 1114972 w 4021668"/>
              <a:gd name="connsiteY94" fmla="*/ 4572629 h 6121401"/>
              <a:gd name="connsiteX95" fmla="*/ 726958 w 4021668"/>
              <a:gd name="connsiteY95" fmla="*/ 4527570 h 6121401"/>
              <a:gd name="connsiteX96" fmla="*/ 714639 w 4021668"/>
              <a:gd name="connsiteY96" fmla="*/ 4539322 h 6121401"/>
              <a:gd name="connsiteX97" fmla="*/ 718746 w 4021668"/>
              <a:gd name="connsiteY97" fmla="*/ 4541283 h 6121401"/>
              <a:gd name="connsiteX98" fmla="*/ 722852 w 4021668"/>
              <a:gd name="connsiteY98" fmla="*/ 4537364 h 6121401"/>
              <a:gd name="connsiteX99" fmla="*/ 724906 w 4021668"/>
              <a:gd name="connsiteY99" fmla="*/ 4535404 h 6121401"/>
              <a:gd name="connsiteX100" fmla="*/ 726958 w 4021668"/>
              <a:gd name="connsiteY100" fmla="*/ 4527570 h 6121401"/>
              <a:gd name="connsiteX101" fmla="*/ 700270 w 4021668"/>
              <a:gd name="connsiteY101" fmla="*/ 4415899 h 6121401"/>
              <a:gd name="connsiteX102" fmla="*/ 708480 w 4021668"/>
              <a:gd name="connsiteY102" fmla="*/ 4417857 h 6121401"/>
              <a:gd name="connsiteX103" fmla="*/ 708480 w 4021668"/>
              <a:gd name="connsiteY103" fmla="*/ 4415899 h 6121401"/>
              <a:gd name="connsiteX104" fmla="*/ 700270 w 4021668"/>
              <a:gd name="connsiteY104" fmla="*/ 4415899 h 6121401"/>
              <a:gd name="connsiteX105" fmla="*/ 546295 w 4021668"/>
              <a:gd name="connsiteY105" fmla="*/ 4376715 h 6121401"/>
              <a:gd name="connsiteX106" fmla="*/ 542189 w 4021668"/>
              <a:gd name="connsiteY106" fmla="*/ 4382591 h 6121401"/>
              <a:gd name="connsiteX107" fmla="*/ 544241 w 4021668"/>
              <a:gd name="connsiteY107" fmla="*/ 4384552 h 6121401"/>
              <a:gd name="connsiteX108" fmla="*/ 548347 w 4021668"/>
              <a:gd name="connsiteY108" fmla="*/ 4378673 h 6121401"/>
              <a:gd name="connsiteX109" fmla="*/ 546295 w 4021668"/>
              <a:gd name="connsiteY109" fmla="*/ 4376715 h 6121401"/>
              <a:gd name="connsiteX110" fmla="*/ 317525 w 4021668"/>
              <a:gd name="connsiteY110" fmla="*/ 4291923 h 6121401"/>
              <a:gd name="connsiteX111" fmla="*/ 311667 w 4021668"/>
              <a:gd name="connsiteY111" fmla="*/ 4301241 h 6121401"/>
              <a:gd name="connsiteX112" fmla="*/ 310202 w 4021668"/>
              <a:gd name="connsiteY112" fmla="*/ 4300309 h 6121401"/>
              <a:gd name="connsiteX113" fmla="*/ 319331 w 4021668"/>
              <a:gd name="connsiteY113" fmla="*/ 4289855 h 6121401"/>
              <a:gd name="connsiteX114" fmla="*/ 317525 w 4021668"/>
              <a:gd name="connsiteY114" fmla="*/ 4291923 h 6121401"/>
              <a:gd name="connsiteX115" fmla="*/ 318411 w 4021668"/>
              <a:gd name="connsiteY115" fmla="*/ 4290512 h 6121401"/>
              <a:gd name="connsiteX116" fmla="*/ 308148 w 4021668"/>
              <a:gd name="connsiteY116" fmla="*/ 4284635 h 6121401"/>
              <a:gd name="connsiteX117" fmla="*/ 310202 w 4021668"/>
              <a:gd name="connsiteY117" fmla="*/ 4284635 h 6121401"/>
              <a:gd name="connsiteX118" fmla="*/ 304043 w 4021668"/>
              <a:gd name="connsiteY118" fmla="*/ 4288554 h 6121401"/>
              <a:gd name="connsiteX119" fmla="*/ 308148 w 4021668"/>
              <a:gd name="connsiteY119" fmla="*/ 4284635 h 6121401"/>
              <a:gd name="connsiteX120" fmla="*/ 361717 w 4021668"/>
              <a:gd name="connsiteY120" fmla="*/ 4226997 h 6121401"/>
              <a:gd name="connsiteX121" fmla="*/ 361526 w 4021668"/>
              <a:gd name="connsiteY121" fmla="*/ 4229780 h 6121401"/>
              <a:gd name="connsiteX122" fmla="*/ 357420 w 4021668"/>
              <a:gd name="connsiteY122" fmla="*/ 4239576 h 6121401"/>
              <a:gd name="connsiteX123" fmla="*/ 351517 w 4021668"/>
              <a:gd name="connsiteY123" fmla="*/ 4248391 h 6121401"/>
              <a:gd name="connsiteX124" fmla="*/ 352008 w 4021668"/>
              <a:gd name="connsiteY124" fmla="*/ 4250797 h 6121401"/>
              <a:gd name="connsiteX125" fmla="*/ 336891 w 4021668"/>
              <a:gd name="connsiteY125" fmla="*/ 4274839 h 6121401"/>
              <a:gd name="connsiteX126" fmla="*/ 332178 w 4021668"/>
              <a:gd name="connsiteY126" fmla="*/ 4283190 h 6121401"/>
              <a:gd name="connsiteX127" fmla="*/ 326627 w 4021668"/>
              <a:gd name="connsiteY127" fmla="*/ 4284635 h 6121401"/>
              <a:gd name="connsiteX128" fmla="*/ 319331 w 4021668"/>
              <a:gd name="connsiteY128" fmla="*/ 4289855 h 6121401"/>
              <a:gd name="connsiteX129" fmla="*/ 320466 w 4021668"/>
              <a:gd name="connsiteY129" fmla="*/ 4288554 h 6121401"/>
              <a:gd name="connsiteX130" fmla="*/ 324573 w 4021668"/>
              <a:gd name="connsiteY130" fmla="*/ 4282675 h 6121401"/>
              <a:gd name="connsiteX131" fmla="*/ 330732 w 4021668"/>
              <a:gd name="connsiteY131" fmla="*/ 4267002 h 6121401"/>
              <a:gd name="connsiteX132" fmla="*/ 1168350 w 4021668"/>
              <a:gd name="connsiteY132" fmla="*/ 4174925 h 6121401"/>
              <a:gd name="connsiteX133" fmla="*/ 1166298 w 4021668"/>
              <a:gd name="connsiteY133" fmla="*/ 4176883 h 6121401"/>
              <a:gd name="connsiteX134" fmla="*/ 1168350 w 4021668"/>
              <a:gd name="connsiteY134" fmla="*/ 4178842 h 6121401"/>
              <a:gd name="connsiteX135" fmla="*/ 1168350 w 4021668"/>
              <a:gd name="connsiteY135" fmla="*/ 4174925 h 6121401"/>
              <a:gd name="connsiteX136" fmla="*/ 1178617 w 4021668"/>
              <a:gd name="connsiteY136" fmla="*/ 4149455 h 6121401"/>
              <a:gd name="connsiteX137" fmla="*/ 1172457 w 4021668"/>
              <a:gd name="connsiteY137" fmla="*/ 4153373 h 6121401"/>
              <a:gd name="connsiteX138" fmla="*/ 1178617 w 4021668"/>
              <a:gd name="connsiteY138" fmla="*/ 4151415 h 6121401"/>
              <a:gd name="connsiteX139" fmla="*/ 1178617 w 4021668"/>
              <a:gd name="connsiteY139" fmla="*/ 4149455 h 6121401"/>
              <a:gd name="connsiteX140" fmla="*/ 314308 w 4021668"/>
              <a:gd name="connsiteY140" fmla="*/ 3951583 h 6121401"/>
              <a:gd name="connsiteX141" fmla="*/ 308148 w 4021668"/>
              <a:gd name="connsiteY141" fmla="*/ 3957458 h 6121401"/>
              <a:gd name="connsiteX142" fmla="*/ 316359 w 4021668"/>
              <a:gd name="connsiteY142" fmla="*/ 3953540 h 6121401"/>
              <a:gd name="connsiteX143" fmla="*/ 314308 w 4021668"/>
              <a:gd name="connsiteY143" fmla="*/ 3951583 h 6121401"/>
              <a:gd name="connsiteX144" fmla="*/ 125434 w 4021668"/>
              <a:gd name="connsiteY144" fmla="*/ 3826196 h 6121401"/>
              <a:gd name="connsiteX145" fmla="*/ 121328 w 4021668"/>
              <a:gd name="connsiteY145" fmla="*/ 3835993 h 6121401"/>
              <a:gd name="connsiteX146" fmla="*/ 129539 w 4021668"/>
              <a:gd name="connsiteY146" fmla="*/ 3828157 h 6121401"/>
              <a:gd name="connsiteX147" fmla="*/ 125434 w 4021668"/>
              <a:gd name="connsiteY147" fmla="*/ 3826196 h 6121401"/>
              <a:gd name="connsiteX148" fmla="*/ 105673 w 4021668"/>
              <a:gd name="connsiteY148" fmla="*/ 3824728 h 6121401"/>
              <a:gd name="connsiteX149" fmla="*/ 96691 w 4021668"/>
              <a:gd name="connsiteY149" fmla="*/ 3826196 h 6121401"/>
              <a:gd name="connsiteX150" fmla="*/ 113113 w 4021668"/>
              <a:gd name="connsiteY150" fmla="*/ 3826196 h 6121401"/>
              <a:gd name="connsiteX151" fmla="*/ 105673 w 4021668"/>
              <a:gd name="connsiteY151" fmla="*/ 3824728 h 6121401"/>
              <a:gd name="connsiteX152" fmla="*/ 127485 w 4021668"/>
              <a:gd name="connsiteY152" fmla="*/ 3814442 h 6121401"/>
              <a:gd name="connsiteX153" fmla="*/ 125434 w 4021668"/>
              <a:gd name="connsiteY153" fmla="*/ 3816402 h 6121401"/>
              <a:gd name="connsiteX154" fmla="*/ 131591 w 4021668"/>
              <a:gd name="connsiteY154" fmla="*/ 3820320 h 6121401"/>
              <a:gd name="connsiteX155" fmla="*/ 133642 w 4021668"/>
              <a:gd name="connsiteY155" fmla="*/ 3818360 h 6121401"/>
              <a:gd name="connsiteX156" fmla="*/ 127485 w 4021668"/>
              <a:gd name="connsiteY156" fmla="*/ 3814442 h 6121401"/>
              <a:gd name="connsiteX157" fmla="*/ 100797 w 4021668"/>
              <a:gd name="connsiteY157" fmla="*/ 3779179 h 6121401"/>
              <a:gd name="connsiteX158" fmla="*/ 80267 w 4021668"/>
              <a:gd name="connsiteY158" fmla="*/ 3798771 h 6121401"/>
              <a:gd name="connsiteX159" fmla="*/ 82319 w 4021668"/>
              <a:gd name="connsiteY159" fmla="*/ 3800729 h 6121401"/>
              <a:gd name="connsiteX160" fmla="*/ 92585 w 4021668"/>
              <a:gd name="connsiteY160" fmla="*/ 3794850 h 6121401"/>
              <a:gd name="connsiteX161" fmla="*/ 94637 w 4021668"/>
              <a:gd name="connsiteY161" fmla="*/ 3796811 h 6121401"/>
              <a:gd name="connsiteX162" fmla="*/ 88479 w 4021668"/>
              <a:gd name="connsiteY162" fmla="*/ 3806605 h 6121401"/>
              <a:gd name="connsiteX163" fmla="*/ 106955 w 4021668"/>
              <a:gd name="connsiteY163" fmla="*/ 3798771 h 6121401"/>
              <a:gd name="connsiteX164" fmla="*/ 98743 w 4021668"/>
              <a:gd name="connsiteY164" fmla="*/ 3790931 h 6121401"/>
              <a:gd name="connsiteX165" fmla="*/ 102849 w 4021668"/>
              <a:gd name="connsiteY165" fmla="*/ 3779179 h 6121401"/>
              <a:gd name="connsiteX166" fmla="*/ 100797 w 4021668"/>
              <a:gd name="connsiteY166" fmla="*/ 3779179 h 6121401"/>
              <a:gd name="connsiteX167" fmla="*/ 67948 w 4021668"/>
              <a:gd name="connsiteY167" fmla="*/ 3745872 h 6121401"/>
              <a:gd name="connsiteX168" fmla="*/ 53580 w 4021668"/>
              <a:gd name="connsiteY168" fmla="*/ 3763505 h 6121401"/>
              <a:gd name="connsiteX169" fmla="*/ 67948 w 4021668"/>
              <a:gd name="connsiteY169" fmla="*/ 3745872 h 6121401"/>
              <a:gd name="connsiteX170" fmla="*/ 37156 w 4021668"/>
              <a:gd name="connsiteY170" fmla="*/ 3739995 h 6121401"/>
              <a:gd name="connsiteX171" fmla="*/ 26889 w 4021668"/>
              <a:gd name="connsiteY171" fmla="*/ 3747830 h 6121401"/>
              <a:gd name="connsiteX172" fmla="*/ 37156 w 4021668"/>
              <a:gd name="connsiteY172" fmla="*/ 3739995 h 6121401"/>
              <a:gd name="connsiteX173" fmla="*/ 53012 w 4021668"/>
              <a:gd name="connsiteY173" fmla="*/ 3623258 h 6121401"/>
              <a:gd name="connsiteX174" fmla="*/ 54137 w 4021668"/>
              <a:gd name="connsiteY174" fmla="*/ 3626838 h 6121401"/>
              <a:gd name="connsiteX175" fmla="*/ 53454 w 4021668"/>
              <a:gd name="connsiteY175" fmla="*/ 3628813 h 6121401"/>
              <a:gd name="connsiteX176" fmla="*/ 45365 w 4021668"/>
              <a:gd name="connsiteY176" fmla="*/ 3632243 h 6121401"/>
              <a:gd name="connsiteX177" fmla="*/ 46266 w 4021668"/>
              <a:gd name="connsiteY177" fmla="*/ 3630236 h 6121401"/>
              <a:gd name="connsiteX178" fmla="*/ 49471 w 4021668"/>
              <a:gd name="connsiteY178" fmla="*/ 3628324 h 6121401"/>
              <a:gd name="connsiteX179" fmla="*/ 61789 w 4021668"/>
              <a:gd name="connsiteY179" fmla="*/ 3604815 h 6121401"/>
              <a:gd name="connsiteX180" fmla="*/ 55632 w 4021668"/>
              <a:gd name="connsiteY180" fmla="*/ 3616570 h 6121401"/>
              <a:gd name="connsiteX181" fmla="*/ 61789 w 4021668"/>
              <a:gd name="connsiteY181" fmla="*/ 3604815 h 6121401"/>
              <a:gd name="connsiteX182" fmla="*/ 33049 w 4021668"/>
              <a:gd name="connsiteY182" fmla="*/ 3589141 h 6121401"/>
              <a:gd name="connsiteX183" fmla="*/ 35100 w 4021668"/>
              <a:gd name="connsiteY183" fmla="*/ 3591099 h 6121401"/>
              <a:gd name="connsiteX184" fmla="*/ 28943 w 4021668"/>
              <a:gd name="connsiteY184" fmla="*/ 3598938 h 6121401"/>
              <a:gd name="connsiteX185" fmla="*/ 33049 w 4021668"/>
              <a:gd name="connsiteY185" fmla="*/ 3589141 h 6121401"/>
              <a:gd name="connsiteX186" fmla="*/ 82319 w 4021668"/>
              <a:gd name="connsiteY186" fmla="*/ 3581305 h 6121401"/>
              <a:gd name="connsiteX187" fmla="*/ 82319 w 4021668"/>
              <a:gd name="connsiteY187" fmla="*/ 3581306 h 6121401"/>
              <a:gd name="connsiteX188" fmla="*/ 79079 w 4021668"/>
              <a:gd name="connsiteY188" fmla="*/ 3587488 h 6121401"/>
              <a:gd name="connsiteX189" fmla="*/ 90531 w 4021668"/>
              <a:gd name="connsiteY189" fmla="*/ 3549958 h 6121401"/>
              <a:gd name="connsiteX190" fmla="*/ 92585 w 4021668"/>
              <a:gd name="connsiteY190" fmla="*/ 3555837 h 6121401"/>
              <a:gd name="connsiteX191" fmla="*/ 86424 w 4021668"/>
              <a:gd name="connsiteY191" fmla="*/ 3555837 h 6121401"/>
              <a:gd name="connsiteX192" fmla="*/ 86424 w 4021668"/>
              <a:gd name="connsiteY192" fmla="*/ 3551918 h 6121401"/>
              <a:gd name="connsiteX193" fmla="*/ 90531 w 4021668"/>
              <a:gd name="connsiteY193" fmla="*/ 3549958 h 6121401"/>
              <a:gd name="connsiteX194" fmla="*/ 119273 w 4021668"/>
              <a:gd name="connsiteY194" fmla="*/ 3459838 h 6121401"/>
              <a:gd name="connsiteX195" fmla="*/ 121328 w 4021668"/>
              <a:gd name="connsiteY195" fmla="*/ 3461796 h 6121401"/>
              <a:gd name="connsiteX196" fmla="*/ 104904 w 4021668"/>
              <a:gd name="connsiteY196" fmla="*/ 3487267 h 6121401"/>
              <a:gd name="connsiteX197" fmla="*/ 119273 w 4021668"/>
              <a:gd name="connsiteY197" fmla="*/ 3459838 h 6121401"/>
              <a:gd name="connsiteX198" fmla="*/ 150070 w 4021668"/>
              <a:gd name="connsiteY198" fmla="*/ 3403025 h 6121401"/>
              <a:gd name="connsiteX199" fmla="*/ 152121 w 4021668"/>
              <a:gd name="connsiteY199" fmla="*/ 3408900 h 6121401"/>
              <a:gd name="connsiteX200" fmla="*/ 133642 w 4021668"/>
              <a:gd name="connsiteY200" fmla="*/ 3442205 h 6121401"/>
              <a:gd name="connsiteX201" fmla="*/ 121328 w 4021668"/>
              <a:gd name="connsiteY201" fmla="*/ 3455920 h 6121401"/>
              <a:gd name="connsiteX202" fmla="*/ 135696 w 4021668"/>
              <a:gd name="connsiteY202" fmla="*/ 3420656 h 6121401"/>
              <a:gd name="connsiteX203" fmla="*/ 150070 w 4021668"/>
              <a:gd name="connsiteY203" fmla="*/ 3403025 h 6121401"/>
              <a:gd name="connsiteX204" fmla="*/ 180863 w 4021668"/>
              <a:gd name="connsiteY204" fmla="*/ 3369718 h 6121401"/>
              <a:gd name="connsiteX205" fmla="*/ 158279 w 4021668"/>
              <a:gd name="connsiteY205" fmla="*/ 3399104 h 6121401"/>
              <a:gd name="connsiteX206" fmla="*/ 180863 w 4021668"/>
              <a:gd name="connsiteY206" fmla="*/ 3369718 h 6121401"/>
              <a:gd name="connsiteX207" fmla="*/ 223976 w 4021668"/>
              <a:gd name="connsiteY207" fmla="*/ 3352087 h 6121401"/>
              <a:gd name="connsiteX208" fmla="*/ 219870 w 4021668"/>
              <a:gd name="connsiteY208" fmla="*/ 3354045 h 6121401"/>
              <a:gd name="connsiteX209" fmla="*/ 219870 w 4021668"/>
              <a:gd name="connsiteY209" fmla="*/ 3359922 h 6121401"/>
              <a:gd name="connsiteX210" fmla="*/ 226027 w 4021668"/>
              <a:gd name="connsiteY210" fmla="*/ 3359922 h 6121401"/>
              <a:gd name="connsiteX211" fmla="*/ 223976 w 4021668"/>
              <a:gd name="connsiteY211" fmla="*/ 3352087 h 6121401"/>
              <a:gd name="connsiteX212" fmla="*/ 187021 w 4021668"/>
              <a:gd name="connsiteY212" fmla="*/ 3344249 h 6121401"/>
              <a:gd name="connsiteX213" fmla="*/ 189076 w 4021668"/>
              <a:gd name="connsiteY213" fmla="*/ 3346207 h 6121401"/>
              <a:gd name="connsiteX214" fmla="*/ 184970 w 4021668"/>
              <a:gd name="connsiteY214" fmla="*/ 3352087 h 6121401"/>
              <a:gd name="connsiteX215" fmla="*/ 182915 w 4021668"/>
              <a:gd name="connsiteY215" fmla="*/ 3350126 h 6121401"/>
              <a:gd name="connsiteX216" fmla="*/ 187021 w 4021668"/>
              <a:gd name="connsiteY216" fmla="*/ 3344249 h 6121401"/>
              <a:gd name="connsiteX217" fmla="*/ 236295 w 4021668"/>
              <a:gd name="connsiteY217" fmla="*/ 3330535 h 6121401"/>
              <a:gd name="connsiteX218" fmla="*/ 228081 w 4021668"/>
              <a:gd name="connsiteY218" fmla="*/ 3350126 h 6121401"/>
              <a:gd name="connsiteX219" fmla="*/ 238347 w 4021668"/>
              <a:gd name="connsiteY219" fmla="*/ 3332495 h 6121401"/>
              <a:gd name="connsiteX220" fmla="*/ 236295 w 4021668"/>
              <a:gd name="connsiteY220" fmla="*/ 3330535 h 6121401"/>
              <a:gd name="connsiteX221" fmla="*/ 201394 w 4021668"/>
              <a:gd name="connsiteY221" fmla="*/ 3330535 h 6121401"/>
              <a:gd name="connsiteX222" fmla="*/ 197287 w 4021668"/>
              <a:gd name="connsiteY222" fmla="*/ 3336413 h 6121401"/>
              <a:gd name="connsiteX223" fmla="*/ 193182 w 4021668"/>
              <a:gd name="connsiteY223" fmla="*/ 3336413 h 6121401"/>
              <a:gd name="connsiteX224" fmla="*/ 195233 w 4021668"/>
              <a:gd name="connsiteY224" fmla="*/ 3332495 h 6121401"/>
              <a:gd name="connsiteX225" fmla="*/ 201394 w 4021668"/>
              <a:gd name="connsiteY225" fmla="*/ 3330535 h 6121401"/>
              <a:gd name="connsiteX226" fmla="*/ 228081 w 4021668"/>
              <a:gd name="connsiteY226" fmla="*/ 3287432 h 6121401"/>
              <a:gd name="connsiteX227" fmla="*/ 228081 w 4021668"/>
              <a:gd name="connsiteY227" fmla="*/ 3301148 h 6121401"/>
              <a:gd name="connsiteX228" fmla="*/ 228081 w 4021668"/>
              <a:gd name="connsiteY228" fmla="*/ 3287432 h 6121401"/>
              <a:gd name="connsiteX229" fmla="*/ 326627 w 4021668"/>
              <a:gd name="connsiteY229" fmla="*/ 3265883 h 6121401"/>
              <a:gd name="connsiteX230" fmla="*/ 314308 w 4021668"/>
              <a:gd name="connsiteY230" fmla="*/ 3281557 h 6121401"/>
              <a:gd name="connsiteX231" fmla="*/ 330732 w 4021668"/>
              <a:gd name="connsiteY231" fmla="*/ 3273720 h 6121401"/>
              <a:gd name="connsiteX232" fmla="*/ 326627 w 4021668"/>
              <a:gd name="connsiteY232" fmla="*/ 3265883 h 6121401"/>
              <a:gd name="connsiteX233" fmla="*/ 332784 w 4021668"/>
              <a:gd name="connsiteY233" fmla="*/ 3256089 h 6121401"/>
              <a:gd name="connsiteX234" fmla="*/ 324573 w 4021668"/>
              <a:gd name="connsiteY234" fmla="*/ 3265883 h 6121401"/>
              <a:gd name="connsiteX235" fmla="*/ 333298 w 4021668"/>
              <a:gd name="connsiteY235" fmla="*/ 3264659 h 6121401"/>
              <a:gd name="connsiteX236" fmla="*/ 332784 w 4021668"/>
              <a:gd name="connsiteY236" fmla="*/ 3256089 h 6121401"/>
              <a:gd name="connsiteX237" fmla="*/ 253856 w 4021668"/>
              <a:gd name="connsiteY237" fmla="*/ 3244537 h 6121401"/>
              <a:gd name="connsiteX238" fmla="*/ 255789 w 4021668"/>
              <a:gd name="connsiteY238" fmla="*/ 3246056 h 6121401"/>
              <a:gd name="connsiteX239" fmla="*/ 250663 w 4021668"/>
              <a:gd name="connsiteY239" fmla="*/ 3252170 h 6121401"/>
              <a:gd name="connsiteX240" fmla="*/ 250920 w 4021668"/>
              <a:gd name="connsiteY240" fmla="*/ 3245803 h 6121401"/>
              <a:gd name="connsiteX241" fmla="*/ 310202 w 4021668"/>
              <a:gd name="connsiteY241" fmla="*/ 3230620 h 6121401"/>
              <a:gd name="connsiteX242" fmla="*/ 299935 w 4021668"/>
              <a:gd name="connsiteY242" fmla="*/ 3232579 h 6121401"/>
              <a:gd name="connsiteX243" fmla="*/ 275299 w 4021668"/>
              <a:gd name="connsiteY243" fmla="*/ 3263925 h 6121401"/>
              <a:gd name="connsiteX244" fmla="*/ 273248 w 4021668"/>
              <a:gd name="connsiteY244" fmla="*/ 3269801 h 6121401"/>
              <a:gd name="connsiteX245" fmla="*/ 277353 w 4021668"/>
              <a:gd name="connsiteY245" fmla="*/ 3271762 h 6121401"/>
              <a:gd name="connsiteX246" fmla="*/ 310202 w 4021668"/>
              <a:gd name="connsiteY246" fmla="*/ 3230620 h 6121401"/>
              <a:gd name="connsiteX247" fmla="*/ 326627 w 4021668"/>
              <a:gd name="connsiteY247" fmla="*/ 3216905 h 6121401"/>
              <a:gd name="connsiteX248" fmla="*/ 322519 w 4021668"/>
              <a:gd name="connsiteY248" fmla="*/ 3220823 h 6121401"/>
              <a:gd name="connsiteX249" fmla="*/ 304043 w 4021668"/>
              <a:gd name="connsiteY249" fmla="*/ 3254131 h 6121401"/>
              <a:gd name="connsiteX250" fmla="*/ 285567 w 4021668"/>
              <a:gd name="connsiteY250" fmla="*/ 3275680 h 6121401"/>
              <a:gd name="connsiteX251" fmla="*/ 289672 w 4021668"/>
              <a:gd name="connsiteY251" fmla="*/ 3285475 h 6121401"/>
              <a:gd name="connsiteX252" fmla="*/ 306097 w 4021668"/>
              <a:gd name="connsiteY252" fmla="*/ 3263925 h 6121401"/>
              <a:gd name="connsiteX253" fmla="*/ 328678 w 4021668"/>
              <a:gd name="connsiteY253" fmla="*/ 3230620 h 6121401"/>
              <a:gd name="connsiteX254" fmla="*/ 330732 w 4021668"/>
              <a:gd name="connsiteY254" fmla="*/ 3220823 h 6121401"/>
              <a:gd name="connsiteX255" fmla="*/ 326627 w 4021668"/>
              <a:gd name="connsiteY255" fmla="*/ 3216905 h 6121401"/>
              <a:gd name="connsiteX256" fmla="*/ 353315 w 4021668"/>
              <a:gd name="connsiteY256" fmla="*/ 3207111 h 6121401"/>
              <a:gd name="connsiteX257" fmla="*/ 340996 w 4021668"/>
              <a:gd name="connsiteY257" fmla="*/ 3230620 h 6121401"/>
              <a:gd name="connsiteX258" fmla="*/ 369739 w 4021668"/>
              <a:gd name="connsiteY258" fmla="*/ 3212987 h 6121401"/>
              <a:gd name="connsiteX259" fmla="*/ 367683 w 4021668"/>
              <a:gd name="connsiteY259" fmla="*/ 3209069 h 6121401"/>
              <a:gd name="connsiteX260" fmla="*/ 353315 w 4021668"/>
              <a:gd name="connsiteY260" fmla="*/ 3207111 h 6121401"/>
              <a:gd name="connsiteX261" fmla="*/ 373845 w 4021668"/>
              <a:gd name="connsiteY261" fmla="*/ 3193395 h 6121401"/>
              <a:gd name="connsiteX262" fmla="*/ 369739 w 4021668"/>
              <a:gd name="connsiteY262" fmla="*/ 3199272 h 6121401"/>
              <a:gd name="connsiteX263" fmla="*/ 371791 w 4021668"/>
              <a:gd name="connsiteY263" fmla="*/ 3201232 h 6121401"/>
              <a:gd name="connsiteX264" fmla="*/ 380002 w 4021668"/>
              <a:gd name="connsiteY264" fmla="*/ 3197314 h 6121401"/>
              <a:gd name="connsiteX265" fmla="*/ 373845 w 4021668"/>
              <a:gd name="connsiteY265" fmla="*/ 3193395 h 6121401"/>
              <a:gd name="connsiteX266" fmla="*/ 338942 w 4021668"/>
              <a:gd name="connsiteY266" fmla="*/ 3175764 h 6121401"/>
              <a:gd name="connsiteX267" fmla="*/ 332784 w 4021668"/>
              <a:gd name="connsiteY267" fmla="*/ 3179682 h 6121401"/>
              <a:gd name="connsiteX268" fmla="*/ 318411 w 4021668"/>
              <a:gd name="connsiteY268" fmla="*/ 3209069 h 6121401"/>
              <a:gd name="connsiteX269" fmla="*/ 314308 w 4021668"/>
              <a:gd name="connsiteY269" fmla="*/ 3214947 h 6121401"/>
              <a:gd name="connsiteX270" fmla="*/ 314308 w 4021668"/>
              <a:gd name="connsiteY270" fmla="*/ 3220823 h 6121401"/>
              <a:gd name="connsiteX271" fmla="*/ 318411 w 4021668"/>
              <a:gd name="connsiteY271" fmla="*/ 3222781 h 6121401"/>
              <a:gd name="connsiteX272" fmla="*/ 336891 w 4021668"/>
              <a:gd name="connsiteY272" fmla="*/ 3199272 h 6121401"/>
              <a:gd name="connsiteX273" fmla="*/ 347153 w 4021668"/>
              <a:gd name="connsiteY273" fmla="*/ 3193395 h 6121401"/>
              <a:gd name="connsiteX274" fmla="*/ 357420 w 4021668"/>
              <a:gd name="connsiteY274" fmla="*/ 3187519 h 6121401"/>
              <a:gd name="connsiteX275" fmla="*/ 353315 w 4021668"/>
              <a:gd name="connsiteY275" fmla="*/ 3185559 h 6121401"/>
              <a:gd name="connsiteX276" fmla="*/ 347153 w 4021668"/>
              <a:gd name="connsiteY276" fmla="*/ 3187519 h 6121401"/>
              <a:gd name="connsiteX277" fmla="*/ 349207 w 4021668"/>
              <a:gd name="connsiteY277" fmla="*/ 3183601 h 6121401"/>
              <a:gd name="connsiteX278" fmla="*/ 340996 w 4021668"/>
              <a:gd name="connsiteY278" fmla="*/ 3177721 h 6121401"/>
              <a:gd name="connsiteX279" fmla="*/ 338942 w 4021668"/>
              <a:gd name="connsiteY279" fmla="*/ 3175764 h 6121401"/>
              <a:gd name="connsiteX280" fmla="*/ 308148 w 4021668"/>
              <a:gd name="connsiteY280" fmla="*/ 3171845 h 6121401"/>
              <a:gd name="connsiteX281" fmla="*/ 308148 w 4021668"/>
              <a:gd name="connsiteY281" fmla="*/ 3175764 h 6121401"/>
              <a:gd name="connsiteX282" fmla="*/ 310202 w 4021668"/>
              <a:gd name="connsiteY282" fmla="*/ 3175764 h 6121401"/>
              <a:gd name="connsiteX283" fmla="*/ 310202 w 4021668"/>
              <a:gd name="connsiteY283" fmla="*/ 3171845 h 6121401"/>
              <a:gd name="connsiteX284" fmla="*/ 308148 w 4021668"/>
              <a:gd name="connsiteY284" fmla="*/ 3171845 h 6121401"/>
              <a:gd name="connsiteX285" fmla="*/ 423117 w 4021668"/>
              <a:gd name="connsiteY285" fmla="*/ 3089561 h 6121401"/>
              <a:gd name="connsiteX286" fmla="*/ 421063 w 4021668"/>
              <a:gd name="connsiteY286" fmla="*/ 3095440 h 6121401"/>
              <a:gd name="connsiteX287" fmla="*/ 423117 w 4021668"/>
              <a:gd name="connsiteY287" fmla="*/ 3095440 h 6121401"/>
              <a:gd name="connsiteX288" fmla="*/ 425169 w 4021668"/>
              <a:gd name="connsiteY288" fmla="*/ 3089561 h 6121401"/>
              <a:gd name="connsiteX289" fmla="*/ 423117 w 4021668"/>
              <a:gd name="connsiteY289" fmla="*/ 3089561 h 6121401"/>
              <a:gd name="connsiteX290" fmla="*/ 453911 w 4021668"/>
              <a:gd name="connsiteY290" fmla="*/ 3087603 h 6121401"/>
              <a:gd name="connsiteX291" fmla="*/ 451856 w 4021668"/>
              <a:gd name="connsiteY291" fmla="*/ 3091521 h 6121401"/>
              <a:gd name="connsiteX292" fmla="*/ 455962 w 4021668"/>
              <a:gd name="connsiteY292" fmla="*/ 3091521 h 6121401"/>
              <a:gd name="connsiteX293" fmla="*/ 453911 w 4021668"/>
              <a:gd name="connsiteY293" fmla="*/ 3087603 h 6121401"/>
              <a:gd name="connsiteX294" fmla="*/ 299935 w 4021668"/>
              <a:gd name="connsiteY294" fmla="*/ 3044501 h 6121401"/>
              <a:gd name="connsiteX295" fmla="*/ 303005 w 4021668"/>
              <a:gd name="connsiteY295" fmla="*/ 3047430 h 6121401"/>
              <a:gd name="connsiteX296" fmla="*/ 301991 w 4021668"/>
              <a:gd name="connsiteY296" fmla="*/ 3048420 h 6121401"/>
              <a:gd name="connsiteX297" fmla="*/ 300963 w 4021668"/>
              <a:gd name="connsiteY297" fmla="*/ 3048420 h 6121401"/>
              <a:gd name="connsiteX298" fmla="*/ 287618 w 4021668"/>
              <a:gd name="connsiteY298" fmla="*/ 3034707 h 6121401"/>
              <a:gd name="connsiteX299" fmla="*/ 295182 w 4021668"/>
              <a:gd name="connsiteY299" fmla="*/ 3039038 h 6121401"/>
              <a:gd name="connsiteX300" fmla="*/ 292751 w 4021668"/>
              <a:gd name="connsiteY300" fmla="*/ 3040583 h 6121401"/>
              <a:gd name="connsiteX301" fmla="*/ 288645 w 4021668"/>
              <a:gd name="connsiteY301" fmla="*/ 3040583 h 6121401"/>
              <a:gd name="connsiteX302" fmla="*/ 287618 w 4021668"/>
              <a:gd name="connsiteY302" fmla="*/ 3038625 h 6121401"/>
              <a:gd name="connsiteX303" fmla="*/ 286387 w 4021668"/>
              <a:gd name="connsiteY303" fmla="*/ 3040583 h 6121401"/>
              <a:gd name="connsiteX304" fmla="*/ 285567 w 4021668"/>
              <a:gd name="connsiteY304" fmla="*/ 3040583 h 6121401"/>
              <a:gd name="connsiteX305" fmla="*/ 287618 w 4021668"/>
              <a:gd name="connsiteY305" fmla="*/ 3034707 h 6121401"/>
              <a:gd name="connsiteX306" fmla="*/ 474225 w 4021668"/>
              <a:gd name="connsiteY306" fmla="*/ 2997996 h 6121401"/>
              <a:gd name="connsiteX307" fmla="*/ 470335 w 4021668"/>
              <a:gd name="connsiteY307" fmla="*/ 3007278 h 6121401"/>
              <a:gd name="connsiteX308" fmla="*/ 468283 w 4021668"/>
              <a:gd name="connsiteY308" fmla="*/ 3009236 h 6121401"/>
              <a:gd name="connsiteX309" fmla="*/ 460069 w 4021668"/>
              <a:gd name="connsiteY309" fmla="*/ 3013154 h 6121401"/>
              <a:gd name="connsiteX310" fmla="*/ 462123 w 4021668"/>
              <a:gd name="connsiteY310" fmla="*/ 3011196 h 6121401"/>
              <a:gd name="connsiteX311" fmla="*/ 476489 w 4021668"/>
              <a:gd name="connsiteY311" fmla="*/ 2995526 h 6121401"/>
              <a:gd name="connsiteX312" fmla="*/ 474225 w 4021668"/>
              <a:gd name="connsiteY312" fmla="*/ 2997996 h 6121401"/>
              <a:gd name="connsiteX313" fmla="*/ 474441 w 4021668"/>
              <a:gd name="connsiteY313" fmla="*/ 2997481 h 6121401"/>
              <a:gd name="connsiteX314" fmla="*/ 476492 w 4021668"/>
              <a:gd name="connsiteY314" fmla="*/ 2995523 h 6121401"/>
              <a:gd name="connsiteX315" fmla="*/ 476494 w 4021668"/>
              <a:gd name="connsiteY315" fmla="*/ 2995523 h 6121401"/>
              <a:gd name="connsiteX316" fmla="*/ 476489 w 4021668"/>
              <a:gd name="connsiteY316" fmla="*/ 2995526 h 6121401"/>
              <a:gd name="connsiteX317" fmla="*/ 499077 w 4021668"/>
              <a:gd name="connsiteY317" fmla="*/ 2928912 h 6121401"/>
              <a:gd name="connsiteX318" fmla="*/ 494971 w 4021668"/>
              <a:gd name="connsiteY318" fmla="*/ 2930872 h 6121401"/>
              <a:gd name="connsiteX319" fmla="*/ 492917 w 4021668"/>
              <a:gd name="connsiteY319" fmla="*/ 2932831 h 6121401"/>
              <a:gd name="connsiteX320" fmla="*/ 494971 w 4021668"/>
              <a:gd name="connsiteY320" fmla="*/ 2934789 h 6121401"/>
              <a:gd name="connsiteX321" fmla="*/ 499077 w 4021668"/>
              <a:gd name="connsiteY321" fmla="*/ 2928912 h 6121401"/>
              <a:gd name="connsiteX322" fmla="*/ 472387 w 4021668"/>
              <a:gd name="connsiteY322" fmla="*/ 2923036 h 6121401"/>
              <a:gd name="connsiteX323" fmla="*/ 470335 w 4021668"/>
              <a:gd name="connsiteY323" fmla="*/ 2926954 h 6121401"/>
              <a:gd name="connsiteX324" fmla="*/ 472387 w 4021668"/>
              <a:gd name="connsiteY324" fmla="*/ 2924994 h 6121401"/>
              <a:gd name="connsiteX325" fmla="*/ 472387 w 4021668"/>
              <a:gd name="connsiteY325" fmla="*/ 2923036 h 6121401"/>
              <a:gd name="connsiteX326" fmla="*/ 480599 w 4021668"/>
              <a:gd name="connsiteY326" fmla="*/ 2825077 h 6121401"/>
              <a:gd name="connsiteX327" fmla="*/ 472387 w 4021668"/>
              <a:gd name="connsiteY327" fmla="*/ 2842712 h 6121401"/>
              <a:gd name="connsiteX328" fmla="*/ 476492 w 4021668"/>
              <a:gd name="connsiteY328" fmla="*/ 2840750 h 6121401"/>
              <a:gd name="connsiteX329" fmla="*/ 474441 w 4021668"/>
              <a:gd name="connsiteY329" fmla="*/ 2846626 h 6121401"/>
              <a:gd name="connsiteX330" fmla="*/ 478546 w 4021668"/>
              <a:gd name="connsiteY330" fmla="*/ 2850546 h 6121401"/>
              <a:gd name="connsiteX331" fmla="*/ 482653 w 4021668"/>
              <a:gd name="connsiteY331" fmla="*/ 2850546 h 6121401"/>
              <a:gd name="connsiteX332" fmla="*/ 486759 w 4021668"/>
              <a:gd name="connsiteY332" fmla="*/ 2840750 h 6121401"/>
              <a:gd name="connsiteX333" fmla="*/ 488811 w 4021668"/>
              <a:gd name="connsiteY333" fmla="*/ 2836832 h 6121401"/>
              <a:gd name="connsiteX334" fmla="*/ 480599 w 4021668"/>
              <a:gd name="connsiteY334" fmla="*/ 2825077 h 6121401"/>
              <a:gd name="connsiteX335" fmla="*/ 219870 w 4021668"/>
              <a:gd name="connsiteY335" fmla="*/ 2813321 h 6121401"/>
              <a:gd name="connsiteX336" fmla="*/ 205497 w 4021668"/>
              <a:gd name="connsiteY336" fmla="*/ 2819201 h 6121401"/>
              <a:gd name="connsiteX337" fmla="*/ 219870 w 4021668"/>
              <a:gd name="connsiteY337" fmla="*/ 2813321 h 6121401"/>
              <a:gd name="connsiteX338" fmla="*/ 106955 w 4021668"/>
              <a:gd name="connsiteY338" fmla="*/ 2758466 h 6121401"/>
              <a:gd name="connsiteX339" fmla="*/ 92585 w 4021668"/>
              <a:gd name="connsiteY339" fmla="*/ 2764344 h 6121401"/>
              <a:gd name="connsiteX340" fmla="*/ 106955 w 4021668"/>
              <a:gd name="connsiteY340" fmla="*/ 2758466 h 6121401"/>
              <a:gd name="connsiteX341" fmla="*/ 369739 w 4021668"/>
              <a:gd name="connsiteY341" fmla="*/ 2742795 h 6121401"/>
              <a:gd name="connsiteX342" fmla="*/ 355369 w 4021668"/>
              <a:gd name="connsiteY342" fmla="*/ 2744753 h 6121401"/>
              <a:gd name="connsiteX343" fmla="*/ 328678 w 4021668"/>
              <a:gd name="connsiteY343" fmla="*/ 2762384 h 6121401"/>
              <a:gd name="connsiteX344" fmla="*/ 322519 w 4021668"/>
              <a:gd name="connsiteY344" fmla="*/ 2770224 h 6121401"/>
              <a:gd name="connsiteX345" fmla="*/ 326627 w 4021668"/>
              <a:gd name="connsiteY345" fmla="*/ 2764344 h 6121401"/>
              <a:gd name="connsiteX346" fmla="*/ 314308 w 4021668"/>
              <a:gd name="connsiteY346" fmla="*/ 2774141 h 6121401"/>
              <a:gd name="connsiteX347" fmla="*/ 314308 w 4021668"/>
              <a:gd name="connsiteY347" fmla="*/ 2778058 h 6121401"/>
              <a:gd name="connsiteX348" fmla="*/ 326627 w 4021668"/>
              <a:gd name="connsiteY348" fmla="*/ 2776099 h 6121401"/>
              <a:gd name="connsiteX349" fmla="*/ 347153 w 4021668"/>
              <a:gd name="connsiteY349" fmla="*/ 2768264 h 6121401"/>
              <a:gd name="connsiteX350" fmla="*/ 351260 w 4021668"/>
              <a:gd name="connsiteY350" fmla="*/ 2768264 h 6121401"/>
              <a:gd name="connsiteX351" fmla="*/ 371791 w 4021668"/>
              <a:gd name="connsiteY351" fmla="*/ 2752590 h 6121401"/>
              <a:gd name="connsiteX352" fmla="*/ 369739 w 4021668"/>
              <a:gd name="connsiteY352" fmla="*/ 2742795 h 6121401"/>
              <a:gd name="connsiteX353" fmla="*/ 86424 w 4021668"/>
              <a:gd name="connsiteY353" fmla="*/ 2717325 h 6121401"/>
              <a:gd name="connsiteX354" fmla="*/ 84373 w 4021668"/>
              <a:gd name="connsiteY354" fmla="*/ 2723204 h 6121401"/>
              <a:gd name="connsiteX355" fmla="*/ 72056 w 4021668"/>
              <a:gd name="connsiteY355" fmla="*/ 2729080 h 6121401"/>
              <a:gd name="connsiteX356" fmla="*/ 86424 w 4021668"/>
              <a:gd name="connsiteY356" fmla="*/ 2717325 h 6121401"/>
              <a:gd name="connsiteX357" fmla="*/ 256823 w 4021668"/>
              <a:gd name="connsiteY357" fmla="*/ 2684020 h 6121401"/>
              <a:gd name="connsiteX358" fmla="*/ 242454 w 4021668"/>
              <a:gd name="connsiteY358" fmla="*/ 2689897 h 6121401"/>
              <a:gd name="connsiteX359" fmla="*/ 201394 w 4021668"/>
              <a:gd name="connsiteY359" fmla="*/ 2719285 h 6121401"/>
              <a:gd name="connsiteX360" fmla="*/ 201394 w 4021668"/>
              <a:gd name="connsiteY360" fmla="*/ 2723204 h 6121401"/>
              <a:gd name="connsiteX361" fmla="*/ 213712 w 4021668"/>
              <a:gd name="connsiteY361" fmla="*/ 2721243 h 6121401"/>
              <a:gd name="connsiteX362" fmla="*/ 221924 w 4021668"/>
              <a:gd name="connsiteY362" fmla="*/ 2717325 h 6121401"/>
              <a:gd name="connsiteX363" fmla="*/ 219870 w 4021668"/>
              <a:gd name="connsiteY363" fmla="*/ 2715367 h 6121401"/>
              <a:gd name="connsiteX364" fmla="*/ 230133 w 4021668"/>
              <a:gd name="connsiteY364" fmla="*/ 2707530 h 6121401"/>
              <a:gd name="connsiteX365" fmla="*/ 232187 w 4021668"/>
              <a:gd name="connsiteY365" fmla="*/ 2709488 h 6121401"/>
              <a:gd name="connsiteX366" fmla="*/ 226027 w 4021668"/>
              <a:gd name="connsiteY366" fmla="*/ 2713406 h 6121401"/>
              <a:gd name="connsiteX367" fmla="*/ 234242 w 4021668"/>
              <a:gd name="connsiteY367" fmla="*/ 2711448 h 6121401"/>
              <a:gd name="connsiteX368" fmla="*/ 258876 w 4021668"/>
              <a:gd name="connsiteY368" fmla="*/ 2693814 h 6121401"/>
              <a:gd name="connsiteX369" fmla="*/ 256823 w 4021668"/>
              <a:gd name="connsiteY369" fmla="*/ 2684020 h 6121401"/>
              <a:gd name="connsiteX370" fmla="*/ 291724 w 4021668"/>
              <a:gd name="connsiteY370" fmla="*/ 2658552 h 6121401"/>
              <a:gd name="connsiteX371" fmla="*/ 287618 w 4021668"/>
              <a:gd name="connsiteY371" fmla="*/ 2660510 h 6121401"/>
              <a:gd name="connsiteX372" fmla="*/ 287618 w 4021668"/>
              <a:gd name="connsiteY372" fmla="*/ 2662470 h 6121401"/>
              <a:gd name="connsiteX373" fmla="*/ 291724 w 4021668"/>
              <a:gd name="connsiteY373" fmla="*/ 2658552 h 6121401"/>
              <a:gd name="connsiteX374" fmla="*/ 191128 w 4021668"/>
              <a:gd name="connsiteY374" fmla="*/ 2648755 h 6121401"/>
              <a:gd name="connsiteX375" fmla="*/ 191128 w 4021668"/>
              <a:gd name="connsiteY375" fmla="*/ 2652673 h 6121401"/>
              <a:gd name="connsiteX376" fmla="*/ 187021 w 4021668"/>
              <a:gd name="connsiteY376" fmla="*/ 2652673 h 6121401"/>
              <a:gd name="connsiteX377" fmla="*/ 191128 w 4021668"/>
              <a:gd name="connsiteY377" fmla="*/ 2648755 h 6121401"/>
              <a:gd name="connsiteX378" fmla="*/ 277353 w 4021668"/>
              <a:gd name="connsiteY378" fmla="*/ 2646797 h 6121401"/>
              <a:gd name="connsiteX379" fmla="*/ 262984 w 4021668"/>
              <a:gd name="connsiteY379" fmla="*/ 2660510 h 6121401"/>
              <a:gd name="connsiteX380" fmla="*/ 277353 w 4021668"/>
              <a:gd name="connsiteY380" fmla="*/ 2646797 h 6121401"/>
              <a:gd name="connsiteX381" fmla="*/ 168204 w 4021668"/>
              <a:gd name="connsiteY381" fmla="*/ 2646797 h 6121401"/>
              <a:gd name="connsiteX382" fmla="*/ 168278 w 4021668"/>
              <a:gd name="connsiteY382" fmla="*/ 2647228 h 6121401"/>
              <a:gd name="connsiteX383" fmla="*/ 164182 w 4021668"/>
              <a:gd name="connsiteY383" fmla="*/ 2651449 h 6121401"/>
              <a:gd name="connsiteX384" fmla="*/ 156228 w 4021668"/>
              <a:gd name="connsiteY384" fmla="*/ 2656592 h 6121401"/>
              <a:gd name="connsiteX385" fmla="*/ 306097 w 4021668"/>
              <a:gd name="connsiteY385" fmla="*/ 2542963 h 6121401"/>
              <a:gd name="connsiteX386" fmla="*/ 287618 w 4021668"/>
              <a:gd name="connsiteY386" fmla="*/ 2562551 h 6121401"/>
              <a:gd name="connsiteX387" fmla="*/ 283512 w 4021668"/>
              <a:gd name="connsiteY387" fmla="*/ 2566472 h 6121401"/>
              <a:gd name="connsiteX388" fmla="*/ 269142 w 4021668"/>
              <a:gd name="connsiteY388" fmla="*/ 2578228 h 6121401"/>
              <a:gd name="connsiteX389" fmla="*/ 301991 w 4021668"/>
              <a:gd name="connsiteY389" fmla="*/ 2556675 h 6121401"/>
              <a:gd name="connsiteX390" fmla="*/ 306097 w 4021668"/>
              <a:gd name="connsiteY390" fmla="*/ 2542963 h 6121401"/>
              <a:gd name="connsiteX391" fmla="*/ 334839 w 4021668"/>
              <a:gd name="connsiteY391" fmla="*/ 2527290 h 6121401"/>
              <a:gd name="connsiteX392" fmla="*/ 328678 w 4021668"/>
              <a:gd name="connsiteY392" fmla="*/ 2531207 h 6121401"/>
              <a:gd name="connsiteX393" fmla="*/ 336891 w 4021668"/>
              <a:gd name="connsiteY393" fmla="*/ 2529250 h 6121401"/>
              <a:gd name="connsiteX394" fmla="*/ 334839 w 4021668"/>
              <a:gd name="connsiteY394" fmla="*/ 2527290 h 6121401"/>
              <a:gd name="connsiteX395" fmla="*/ 410796 w 4021668"/>
              <a:gd name="connsiteY395" fmla="*/ 2254969 h 6121401"/>
              <a:gd name="connsiteX396" fmla="*/ 365632 w 4021668"/>
              <a:gd name="connsiteY396" fmla="*/ 2335294 h 6121401"/>
              <a:gd name="connsiteX397" fmla="*/ 410796 w 4021668"/>
              <a:gd name="connsiteY397" fmla="*/ 2254969 h 6121401"/>
              <a:gd name="connsiteX398" fmla="*/ 1285371 w 4021668"/>
              <a:gd name="connsiteY398" fmla="*/ 1202913 h 6121401"/>
              <a:gd name="connsiteX399" fmla="*/ 1281264 w 4021668"/>
              <a:gd name="connsiteY399" fmla="*/ 1214667 h 6121401"/>
              <a:gd name="connsiteX400" fmla="*/ 1283319 w 4021668"/>
              <a:gd name="connsiteY400" fmla="*/ 1214667 h 6121401"/>
              <a:gd name="connsiteX401" fmla="*/ 1285371 w 4021668"/>
              <a:gd name="connsiteY401" fmla="*/ 1222504 h 6121401"/>
              <a:gd name="connsiteX402" fmla="*/ 1287423 w 4021668"/>
              <a:gd name="connsiteY402" fmla="*/ 1208788 h 6121401"/>
              <a:gd name="connsiteX403" fmla="*/ 1285371 w 4021668"/>
              <a:gd name="connsiteY403" fmla="*/ 1202913 h 6121401"/>
              <a:gd name="connsiteX404" fmla="*/ 1314113 w 4021668"/>
              <a:gd name="connsiteY404" fmla="*/ 1179403 h 6121401"/>
              <a:gd name="connsiteX405" fmla="*/ 1312059 w 4021668"/>
              <a:gd name="connsiteY405" fmla="*/ 1181361 h 6121401"/>
              <a:gd name="connsiteX406" fmla="*/ 1312059 w 4021668"/>
              <a:gd name="connsiteY406" fmla="*/ 1185279 h 6121401"/>
              <a:gd name="connsiteX407" fmla="*/ 1303848 w 4021668"/>
              <a:gd name="connsiteY407" fmla="*/ 1193118 h 6121401"/>
              <a:gd name="connsiteX408" fmla="*/ 1297689 w 4021668"/>
              <a:gd name="connsiteY408" fmla="*/ 1202913 h 6121401"/>
              <a:gd name="connsiteX409" fmla="*/ 1310007 w 4021668"/>
              <a:gd name="connsiteY409" fmla="*/ 1202913 h 6121401"/>
              <a:gd name="connsiteX410" fmla="*/ 1312059 w 4021668"/>
              <a:gd name="connsiteY410" fmla="*/ 1200952 h 6121401"/>
              <a:gd name="connsiteX411" fmla="*/ 1320271 w 4021668"/>
              <a:gd name="connsiteY411" fmla="*/ 1183321 h 6121401"/>
              <a:gd name="connsiteX412" fmla="*/ 1320271 w 4021668"/>
              <a:gd name="connsiteY412" fmla="*/ 1179403 h 6121401"/>
              <a:gd name="connsiteX413" fmla="*/ 1316167 w 4021668"/>
              <a:gd name="connsiteY413" fmla="*/ 1187239 h 6121401"/>
              <a:gd name="connsiteX414" fmla="*/ 1314113 w 4021668"/>
              <a:gd name="connsiteY414" fmla="*/ 1179403 h 6121401"/>
              <a:gd name="connsiteX415" fmla="*/ 1548154 w 4021668"/>
              <a:gd name="connsiteY415" fmla="*/ 922755 h 6121401"/>
              <a:gd name="connsiteX416" fmla="*/ 1546100 w 4021668"/>
              <a:gd name="connsiteY416" fmla="*/ 930594 h 6121401"/>
              <a:gd name="connsiteX417" fmla="*/ 1546100 w 4021668"/>
              <a:gd name="connsiteY417" fmla="*/ 930592 h 6121401"/>
              <a:gd name="connsiteX418" fmla="*/ 1548154 w 4021668"/>
              <a:gd name="connsiteY418" fmla="*/ 922755 h 6121401"/>
              <a:gd name="connsiteX419" fmla="*/ 1525570 w 4021668"/>
              <a:gd name="connsiteY419" fmla="*/ 916877 h 6121401"/>
              <a:gd name="connsiteX420" fmla="*/ 1523519 w 4021668"/>
              <a:gd name="connsiteY420" fmla="*/ 924713 h 6121401"/>
              <a:gd name="connsiteX421" fmla="*/ 1521464 w 4021668"/>
              <a:gd name="connsiteY421" fmla="*/ 926674 h 6121401"/>
              <a:gd name="connsiteX422" fmla="*/ 1529676 w 4021668"/>
              <a:gd name="connsiteY422" fmla="*/ 920795 h 6121401"/>
              <a:gd name="connsiteX423" fmla="*/ 1525570 w 4021668"/>
              <a:gd name="connsiteY423" fmla="*/ 916877 h 6121401"/>
              <a:gd name="connsiteX424" fmla="*/ 1517357 w 4021668"/>
              <a:gd name="connsiteY424" fmla="*/ 912961 h 6121401"/>
              <a:gd name="connsiteX425" fmla="*/ 1515306 w 4021668"/>
              <a:gd name="connsiteY425" fmla="*/ 920795 h 6121401"/>
              <a:gd name="connsiteX426" fmla="*/ 1515306 w 4021668"/>
              <a:gd name="connsiteY426" fmla="*/ 928634 h 6121401"/>
              <a:gd name="connsiteX427" fmla="*/ 1521464 w 4021668"/>
              <a:gd name="connsiteY427" fmla="*/ 914919 h 6121401"/>
              <a:gd name="connsiteX428" fmla="*/ 1517357 w 4021668"/>
              <a:gd name="connsiteY428" fmla="*/ 912961 h 6121401"/>
              <a:gd name="connsiteX429" fmla="*/ 1408551 w 4021668"/>
              <a:gd name="connsiteY429" fmla="*/ 893370 h 6121401"/>
              <a:gd name="connsiteX430" fmla="*/ 1410604 w 4021668"/>
              <a:gd name="connsiteY430" fmla="*/ 893370 h 6121401"/>
              <a:gd name="connsiteX431" fmla="*/ 1408551 w 4021668"/>
              <a:gd name="connsiteY431" fmla="*/ 903164 h 6121401"/>
              <a:gd name="connsiteX432" fmla="*/ 1402391 w 4021668"/>
              <a:gd name="connsiteY432" fmla="*/ 903164 h 6121401"/>
              <a:gd name="connsiteX433" fmla="*/ 1408551 w 4021668"/>
              <a:gd name="connsiteY433" fmla="*/ 893370 h 6121401"/>
              <a:gd name="connsiteX434" fmla="*/ 1394180 w 4021668"/>
              <a:gd name="connsiteY434" fmla="*/ 877696 h 6121401"/>
              <a:gd name="connsiteX435" fmla="*/ 1385967 w 4021668"/>
              <a:gd name="connsiteY435" fmla="*/ 907082 h 6121401"/>
              <a:gd name="connsiteX436" fmla="*/ 1375704 w 4021668"/>
              <a:gd name="connsiteY436" fmla="*/ 961939 h 6121401"/>
              <a:gd name="connsiteX437" fmla="*/ 1371598 w 4021668"/>
              <a:gd name="connsiteY437" fmla="*/ 981530 h 6121401"/>
              <a:gd name="connsiteX438" fmla="*/ 1367491 w 4021668"/>
              <a:gd name="connsiteY438" fmla="*/ 989368 h 6121401"/>
              <a:gd name="connsiteX439" fmla="*/ 1351067 w 4021668"/>
              <a:gd name="connsiteY439" fmla="*/ 1014835 h 6121401"/>
              <a:gd name="connsiteX440" fmla="*/ 1349013 w 4021668"/>
              <a:gd name="connsiteY440" fmla="*/ 1016796 h 6121401"/>
              <a:gd name="connsiteX441" fmla="*/ 1342855 w 4021668"/>
              <a:gd name="connsiteY441" fmla="*/ 1012877 h 6121401"/>
              <a:gd name="connsiteX442" fmla="*/ 1338749 w 4021668"/>
              <a:gd name="connsiteY442" fmla="*/ 1018753 h 6121401"/>
              <a:gd name="connsiteX443" fmla="*/ 1336695 w 4021668"/>
              <a:gd name="connsiteY443" fmla="*/ 1032466 h 6121401"/>
              <a:gd name="connsiteX444" fmla="*/ 1336695 w 4021668"/>
              <a:gd name="connsiteY444" fmla="*/ 1038346 h 6121401"/>
              <a:gd name="connsiteX445" fmla="*/ 1342855 w 4021668"/>
              <a:gd name="connsiteY445" fmla="*/ 1036385 h 6121401"/>
              <a:gd name="connsiteX446" fmla="*/ 1340800 w 4021668"/>
              <a:gd name="connsiteY446" fmla="*/ 1052058 h 6121401"/>
              <a:gd name="connsiteX447" fmla="*/ 1320271 w 4021668"/>
              <a:gd name="connsiteY447" fmla="*/ 1112790 h 6121401"/>
              <a:gd name="connsiteX448" fmla="*/ 1320271 w 4021668"/>
              <a:gd name="connsiteY448" fmla="*/ 1114751 h 6121401"/>
              <a:gd name="connsiteX449" fmla="*/ 1316167 w 4021668"/>
              <a:gd name="connsiteY449" fmla="*/ 1136301 h 6121401"/>
              <a:gd name="connsiteX450" fmla="*/ 1307953 w 4021668"/>
              <a:gd name="connsiteY450" fmla="*/ 1179403 h 6121401"/>
              <a:gd name="connsiteX451" fmla="*/ 1316167 w 4021668"/>
              <a:gd name="connsiteY451" fmla="*/ 1155893 h 6121401"/>
              <a:gd name="connsiteX452" fmla="*/ 1318219 w 4021668"/>
              <a:gd name="connsiteY452" fmla="*/ 1155893 h 6121401"/>
              <a:gd name="connsiteX453" fmla="*/ 1318219 w 4021668"/>
              <a:gd name="connsiteY453" fmla="*/ 1167647 h 6121401"/>
              <a:gd name="connsiteX454" fmla="*/ 1320271 w 4021668"/>
              <a:gd name="connsiteY454" fmla="*/ 1167647 h 6121401"/>
              <a:gd name="connsiteX455" fmla="*/ 1324376 w 4021668"/>
              <a:gd name="connsiteY455" fmla="*/ 1165689 h 6121401"/>
              <a:gd name="connsiteX456" fmla="*/ 1326431 w 4021668"/>
              <a:gd name="connsiteY456" fmla="*/ 1165689 h 6121401"/>
              <a:gd name="connsiteX457" fmla="*/ 1332589 w 4021668"/>
              <a:gd name="connsiteY457" fmla="*/ 1138261 h 6121401"/>
              <a:gd name="connsiteX458" fmla="*/ 1346961 w 4021668"/>
              <a:gd name="connsiteY458" fmla="*/ 1069692 h 6121401"/>
              <a:gd name="connsiteX459" fmla="*/ 1353119 w 4021668"/>
              <a:gd name="connsiteY459" fmla="*/ 1034427 h 6121401"/>
              <a:gd name="connsiteX460" fmla="*/ 1361331 w 4021668"/>
              <a:gd name="connsiteY460" fmla="*/ 1001122 h 6121401"/>
              <a:gd name="connsiteX461" fmla="*/ 1365437 w 4021668"/>
              <a:gd name="connsiteY461" fmla="*/ 993286 h 6121401"/>
              <a:gd name="connsiteX462" fmla="*/ 1367491 w 4021668"/>
              <a:gd name="connsiteY462" fmla="*/ 1001122 h 6121401"/>
              <a:gd name="connsiteX463" fmla="*/ 1361331 w 4021668"/>
              <a:gd name="connsiteY463" fmla="*/ 1030508 h 6121401"/>
              <a:gd name="connsiteX464" fmla="*/ 1342855 w 4021668"/>
              <a:gd name="connsiteY464" fmla="*/ 1118669 h 6121401"/>
              <a:gd name="connsiteX465" fmla="*/ 1342855 w 4021668"/>
              <a:gd name="connsiteY465" fmla="*/ 1124548 h 6121401"/>
              <a:gd name="connsiteX466" fmla="*/ 1351067 w 4021668"/>
              <a:gd name="connsiteY466" fmla="*/ 1104957 h 6121401"/>
              <a:gd name="connsiteX467" fmla="*/ 1355173 w 4021668"/>
              <a:gd name="connsiteY467" fmla="*/ 1085365 h 6121401"/>
              <a:gd name="connsiteX468" fmla="*/ 1359279 w 4021668"/>
              <a:gd name="connsiteY468" fmla="*/ 1065774 h 6121401"/>
              <a:gd name="connsiteX469" fmla="*/ 1363386 w 4021668"/>
              <a:gd name="connsiteY469" fmla="*/ 1044221 h 6121401"/>
              <a:gd name="connsiteX470" fmla="*/ 1367491 w 4021668"/>
              <a:gd name="connsiteY470" fmla="*/ 1024630 h 6121401"/>
              <a:gd name="connsiteX471" fmla="*/ 1371598 w 4021668"/>
              <a:gd name="connsiteY471" fmla="*/ 1005038 h 6121401"/>
              <a:gd name="connsiteX472" fmla="*/ 1377755 w 4021668"/>
              <a:gd name="connsiteY472" fmla="*/ 1006999 h 6121401"/>
              <a:gd name="connsiteX473" fmla="*/ 1385967 w 4021668"/>
              <a:gd name="connsiteY473" fmla="*/ 963897 h 6121401"/>
              <a:gd name="connsiteX474" fmla="*/ 1383915 w 4021668"/>
              <a:gd name="connsiteY474" fmla="*/ 963897 h 6121401"/>
              <a:gd name="connsiteX475" fmla="*/ 1381861 w 4021668"/>
              <a:gd name="connsiteY475" fmla="*/ 967815 h 6121401"/>
              <a:gd name="connsiteX476" fmla="*/ 1379809 w 4021668"/>
              <a:gd name="connsiteY476" fmla="*/ 963897 h 6121401"/>
              <a:gd name="connsiteX477" fmla="*/ 1390074 w 4021668"/>
              <a:gd name="connsiteY477" fmla="*/ 909043 h 6121401"/>
              <a:gd name="connsiteX478" fmla="*/ 1394180 w 4021668"/>
              <a:gd name="connsiteY478" fmla="*/ 879654 h 6121401"/>
              <a:gd name="connsiteX479" fmla="*/ 1394180 w 4021668"/>
              <a:gd name="connsiteY479" fmla="*/ 877696 h 6121401"/>
              <a:gd name="connsiteX480" fmla="*/ 1461928 w 4021668"/>
              <a:gd name="connsiteY480" fmla="*/ 860062 h 6121401"/>
              <a:gd name="connsiteX481" fmla="*/ 1463981 w 4021668"/>
              <a:gd name="connsiteY481" fmla="*/ 865941 h 6121401"/>
              <a:gd name="connsiteX482" fmla="*/ 1476299 w 4021668"/>
              <a:gd name="connsiteY482" fmla="*/ 865941 h 6121401"/>
              <a:gd name="connsiteX483" fmla="*/ 1461928 w 4021668"/>
              <a:gd name="connsiteY483" fmla="*/ 860062 h 6121401"/>
              <a:gd name="connsiteX484" fmla="*/ 1517357 w 4021668"/>
              <a:gd name="connsiteY484" fmla="*/ 852226 h 6121401"/>
              <a:gd name="connsiteX485" fmla="*/ 1515306 w 4021668"/>
              <a:gd name="connsiteY485" fmla="*/ 862023 h 6121401"/>
              <a:gd name="connsiteX486" fmla="*/ 1521464 w 4021668"/>
              <a:gd name="connsiteY486" fmla="*/ 854186 h 6121401"/>
              <a:gd name="connsiteX487" fmla="*/ 1521464 w 4021668"/>
              <a:gd name="connsiteY487" fmla="*/ 852226 h 6121401"/>
              <a:gd name="connsiteX488" fmla="*/ 1517357 w 4021668"/>
              <a:gd name="connsiteY488" fmla="*/ 852226 h 6121401"/>
              <a:gd name="connsiteX489" fmla="*/ 1412656 w 4021668"/>
              <a:gd name="connsiteY489" fmla="*/ 836553 h 6121401"/>
              <a:gd name="connsiteX490" fmla="*/ 1404443 w 4021668"/>
              <a:gd name="connsiteY490" fmla="*/ 856144 h 6121401"/>
              <a:gd name="connsiteX491" fmla="*/ 1402391 w 4021668"/>
              <a:gd name="connsiteY491" fmla="*/ 865941 h 6121401"/>
              <a:gd name="connsiteX492" fmla="*/ 1402391 w 4021668"/>
              <a:gd name="connsiteY492" fmla="*/ 873778 h 6121401"/>
              <a:gd name="connsiteX493" fmla="*/ 1410604 w 4021668"/>
              <a:gd name="connsiteY493" fmla="*/ 846350 h 6121401"/>
              <a:gd name="connsiteX494" fmla="*/ 1412656 w 4021668"/>
              <a:gd name="connsiteY494" fmla="*/ 836553 h 6121401"/>
              <a:gd name="connsiteX495" fmla="*/ 1615902 w 4021668"/>
              <a:gd name="connsiteY495" fmla="*/ 824800 h 6121401"/>
              <a:gd name="connsiteX496" fmla="*/ 1613849 w 4021668"/>
              <a:gd name="connsiteY496" fmla="*/ 832634 h 6121401"/>
              <a:gd name="connsiteX497" fmla="*/ 1613849 w 4021668"/>
              <a:gd name="connsiteY497" fmla="*/ 834594 h 6121401"/>
              <a:gd name="connsiteX498" fmla="*/ 1615902 w 4021668"/>
              <a:gd name="connsiteY498" fmla="*/ 824800 h 6121401"/>
              <a:gd name="connsiteX499" fmla="*/ 1537887 w 4021668"/>
              <a:gd name="connsiteY499" fmla="*/ 824800 h 6121401"/>
              <a:gd name="connsiteX500" fmla="*/ 1527624 w 4021668"/>
              <a:gd name="connsiteY500" fmla="*/ 852226 h 6121401"/>
              <a:gd name="connsiteX501" fmla="*/ 1527624 w 4021668"/>
              <a:gd name="connsiteY501" fmla="*/ 854186 h 6121401"/>
              <a:gd name="connsiteX502" fmla="*/ 1533782 w 4021668"/>
              <a:gd name="connsiteY502" fmla="*/ 856144 h 6121401"/>
              <a:gd name="connsiteX503" fmla="*/ 1537887 w 4021668"/>
              <a:gd name="connsiteY503" fmla="*/ 842431 h 6121401"/>
              <a:gd name="connsiteX504" fmla="*/ 1537887 w 4021668"/>
              <a:gd name="connsiteY504" fmla="*/ 824800 h 6121401"/>
              <a:gd name="connsiteX505" fmla="*/ 1349013 w 4021668"/>
              <a:gd name="connsiteY505" fmla="*/ 805208 h 6121401"/>
              <a:gd name="connsiteX506" fmla="*/ 1353705 w 4021668"/>
              <a:gd name="connsiteY506" fmla="*/ 807445 h 6121401"/>
              <a:gd name="connsiteX507" fmla="*/ 1353119 w 4021668"/>
              <a:gd name="connsiteY507" fmla="*/ 809124 h 6121401"/>
              <a:gd name="connsiteX508" fmla="*/ 1352094 w 4021668"/>
              <a:gd name="connsiteY508" fmla="*/ 811084 h 6121401"/>
              <a:gd name="connsiteX509" fmla="*/ 1351067 w 4021668"/>
              <a:gd name="connsiteY509" fmla="*/ 811084 h 6121401"/>
              <a:gd name="connsiteX510" fmla="*/ 1349013 w 4021668"/>
              <a:gd name="connsiteY510" fmla="*/ 805208 h 6121401"/>
              <a:gd name="connsiteX511" fmla="*/ 1492723 w 4021668"/>
              <a:gd name="connsiteY511" fmla="*/ 797372 h 6121401"/>
              <a:gd name="connsiteX512" fmla="*/ 1486563 w 4021668"/>
              <a:gd name="connsiteY512" fmla="*/ 811084 h 6121401"/>
              <a:gd name="connsiteX513" fmla="*/ 1488618 w 4021668"/>
              <a:gd name="connsiteY513" fmla="*/ 813045 h 6121401"/>
              <a:gd name="connsiteX514" fmla="*/ 1494775 w 4021668"/>
              <a:gd name="connsiteY514" fmla="*/ 801290 h 6121401"/>
              <a:gd name="connsiteX515" fmla="*/ 1492723 w 4021668"/>
              <a:gd name="connsiteY515" fmla="*/ 797372 h 6121401"/>
              <a:gd name="connsiteX516" fmla="*/ 1357225 w 4021668"/>
              <a:gd name="connsiteY516" fmla="*/ 777780 h 6121401"/>
              <a:gd name="connsiteX517" fmla="*/ 1355173 w 4021668"/>
              <a:gd name="connsiteY517" fmla="*/ 783656 h 6121401"/>
              <a:gd name="connsiteX518" fmla="*/ 1357225 w 4021668"/>
              <a:gd name="connsiteY518" fmla="*/ 779737 h 6121401"/>
              <a:gd name="connsiteX519" fmla="*/ 1357225 w 4021668"/>
              <a:gd name="connsiteY519" fmla="*/ 777780 h 6121401"/>
              <a:gd name="connsiteX520" fmla="*/ 1648750 w 4021668"/>
              <a:gd name="connsiteY520" fmla="*/ 771902 h 6121401"/>
              <a:gd name="connsiteX521" fmla="*/ 1644645 w 4021668"/>
              <a:gd name="connsiteY521" fmla="*/ 777780 h 6121401"/>
              <a:gd name="connsiteX522" fmla="*/ 1644645 w 4021668"/>
              <a:gd name="connsiteY522" fmla="*/ 783656 h 6121401"/>
              <a:gd name="connsiteX523" fmla="*/ 1648750 w 4021668"/>
              <a:gd name="connsiteY523" fmla="*/ 771902 h 6121401"/>
              <a:gd name="connsiteX524" fmla="*/ 1424973 w 4021668"/>
              <a:gd name="connsiteY524" fmla="*/ 767983 h 6121401"/>
              <a:gd name="connsiteX525" fmla="*/ 1420867 w 4021668"/>
              <a:gd name="connsiteY525" fmla="*/ 777780 h 6121401"/>
              <a:gd name="connsiteX526" fmla="*/ 1416761 w 4021668"/>
              <a:gd name="connsiteY526" fmla="*/ 791493 h 6121401"/>
              <a:gd name="connsiteX527" fmla="*/ 1416761 w 4021668"/>
              <a:gd name="connsiteY527" fmla="*/ 795411 h 6121401"/>
              <a:gd name="connsiteX528" fmla="*/ 1410604 w 4021668"/>
              <a:gd name="connsiteY528" fmla="*/ 826758 h 6121401"/>
              <a:gd name="connsiteX529" fmla="*/ 1414709 w 4021668"/>
              <a:gd name="connsiteY529" fmla="*/ 826758 h 6121401"/>
              <a:gd name="connsiteX530" fmla="*/ 1418815 w 4021668"/>
              <a:gd name="connsiteY530" fmla="*/ 811084 h 6121401"/>
              <a:gd name="connsiteX531" fmla="*/ 1424973 w 4021668"/>
              <a:gd name="connsiteY531" fmla="*/ 785616 h 6121401"/>
              <a:gd name="connsiteX532" fmla="*/ 1424973 w 4021668"/>
              <a:gd name="connsiteY532" fmla="*/ 767983 h 6121401"/>
              <a:gd name="connsiteX533" fmla="*/ 1496828 w 4021668"/>
              <a:gd name="connsiteY533" fmla="*/ 758188 h 6121401"/>
              <a:gd name="connsiteX534" fmla="*/ 1492723 w 4021668"/>
              <a:gd name="connsiteY534" fmla="*/ 777780 h 6121401"/>
              <a:gd name="connsiteX535" fmla="*/ 1496828 w 4021668"/>
              <a:gd name="connsiteY535" fmla="*/ 775822 h 6121401"/>
              <a:gd name="connsiteX536" fmla="*/ 1502988 w 4021668"/>
              <a:gd name="connsiteY536" fmla="*/ 773862 h 6121401"/>
              <a:gd name="connsiteX537" fmla="*/ 1502988 w 4021668"/>
              <a:gd name="connsiteY537" fmla="*/ 769943 h 6121401"/>
              <a:gd name="connsiteX538" fmla="*/ 1500936 w 4021668"/>
              <a:gd name="connsiteY538" fmla="*/ 758188 h 6121401"/>
              <a:gd name="connsiteX539" fmla="*/ 1496828 w 4021668"/>
              <a:gd name="connsiteY539" fmla="*/ 758188 h 6121401"/>
              <a:gd name="connsiteX540" fmla="*/ 1381861 w 4021668"/>
              <a:gd name="connsiteY540" fmla="*/ 742515 h 6121401"/>
              <a:gd name="connsiteX541" fmla="*/ 1375704 w 4021668"/>
              <a:gd name="connsiteY541" fmla="*/ 756231 h 6121401"/>
              <a:gd name="connsiteX542" fmla="*/ 1381861 w 4021668"/>
              <a:gd name="connsiteY542" fmla="*/ 742515 h 6121401"/>
              <a:gd name="connsiteX543" fmla="*/ 1492723 w 4021668"/>
              <a:gd name="connsiteY543" fmla="*/ 726842 h 6121401"/>
              <a:gd name="connsiteX544" fmla="*/ 1488618 w 4021668"/>
              <a:gd name="connsiteY544" fmla="*/ 728802 h 6121401"/>
              <a:gd name="connsiteX545" fmla="*/ 1488618 w 4021668"/>
              <a:gd name="connsiteY545" fmla="*/ 742515 h 6121401"/>
              <a:gd name="connsiteX546" fmla="*/ 1490670 w 4021668"/>
              <a:gd name="connsiteY546" fmla="*/ 742515 h 6121401"/>
              <a:gd name="connsiteX547" fmla="*/ 1492723 w 4021668"/>
              <a:gd name="connsiteY547" fmla="*/ 726842 h 6121401"/>
              <a:gd name="connsiteX548" fmla="*/ 1507094 w 4021668"/>
              <a:gd name="connsiteY548" fmla="*/ 720964 h 6121401"/>
              <a:gd name="connsiteX549" fmla="*/ 1502988 w 4021668"/>
              <a:gd name="connsiteY549" fmla="*/ 732721 h 6121401"/>
              <a:gd name="connsiteX550" fmla="*/ 1502988 w 4021668"/>
              <a:gd name="connsiteY550" fmla="*/ 738597 h 6121401"/>
              <a:gd name="connsiteX551" fmla="*/ 1507094 w 4021668"/>
              <a:gd name="connsiteY551" fmla="*/ 720964 h 6121401"/>
              <a:gd name="connsiteX552" fmla="*/ 1388022 w 4021668"/>
              <a:gd name="connsiteY552" fmla="*/ 703332 h 6121401"/>
              <a:gd name="connsiteX553" fmla="*/ 1381861 w 4021668"/>
              <a:gd name="connsiteY553" fmla="*/ 722924 h 6121401"/>
              <a:gd name="connsiteX554" fmla="*/ 1385967 w 4021668"/>
              <a:gd name="connsiteY554" fmla="*/ 720964 h 6121401"/>
              <a:gd name="connsiteX555" fmla="*/ 1388022 w 4021668"/>
              <a:gd name="connsiteY555" fmla="*/ 720964 h 6121401"/>
              <a:gd name="connsiteX556" fmla="*/ 1392125 w 4021668"/>
              <a:gd name="connsiteY556" fmla="*/ 709211 h 6121401"/>
              <a:gd name="connsiteX557" fmla="*/ 1392125 w 4021668"/>
              <a:gd name="connsiteY557" fmla="*/ 707251 h 6121401"/>
              <a:gd name="connsiteX558" fmla="*/ 1390074 w 4021668"/>
              <a:gd name="connsiteY558" fmla="*/ 705293 h 6121401"/>
              <a:gd name="connsiteX559" fmla="*/ 1390074 w 4021668"/>
              <a:gd name="connsiteY559" fmla="*/ 703332 h 6121401"/>
              <a:gd name="connsiteX560" fmla="*/ 1388022 w 4021668"/>
              <a:gd name="connsiteY560" fmla="*/ 703332 h 6121401"/>
              <a:gd name="connsiteX561" fmla="*/ 1568684 w 4021668"/>
              <a:gd name="connsiteY561" fmla="*/ 681782 h 6121401"/>
              <a:gd name="connsiteX562" fmla="*/ 1568228 w 4021668"/>
              <a:gd name="connsiteY562" fmla="*/ 684176 h 6121401"/>
              <a:gd name="connsiteX563" fmla="*/ 1564579 w 4021668"/>
              <a:gd name="connsiteY563" fmla="*/ 687659 h 6121401"/>
              <a:gd name="connsiteX564" fmla="*/ 1562523 w 4021668"/>
              <a:gd name="connsiteY564" fmla="*/ 709211 h 6121401"/>
              <a:gd name="connsiteX565" fmla="*/ 1562523 w 4021668"/>
              <a:gd name="connsiteY565" fmla="*/ 711168 h 6121401"/>
              <a:gd name="connsiteX566" fmla="*/ 1562523 w 4021668"/>
              <a:gd name="connsiteY566" fmla="*/ 713128 h 6121401"/>
              <a:gd name="connsiteX567" fmla="*/ 1560472 w 4021668"/>
              <a:gd name="connsiteY567" fmla="*/ 724882 h 6121401"/>
              <a:gd name="connsiteX568" fmla="*/ 1568228 w 4021668"/>
              <a:gd name="connsiteY568" fmla="*/ 684176 h 6121401"/>
              <a:gd name="connsiteX569" fmla="*/ 1568684 w 4021668"/>
              <a:gd name="connsiteY569" fmla="*/ 683740 h 6121401"/>
              <a:gd name="connsiteX570" fmla="*/ 1568684 w 4021668"/>
              <a:gd name="connsiteY570" fmla="*/ 681782 h 6121401"/>
              <a:gd name="connsiteX571" fmla="*/ 1548154 w 4021668"/>
              <a:gd name="connsiteY571" fmla="*/ 677864 h 6121401"/>
              <a:gd name="connsiteX572" fmla="*/ 1546100 w 4021668"/>
              <a:gd name="connsiteY572" fmla="*/ 685701 h 6121401"/>
              <a:gd name="connsiteX573" fmla="*/ 1546100 w 4021668"/>
              <a:gd name="connsiteY573" fmla="*/ 691577 h 6121401"/>
              <a:gd name="connsiteX574" fmla="*/ 1546100 w 4021668"/>
              <a:gd name="connsiteY574" fmla="*/ 693537 h 6121401"/>
              <a:gd name="connsiteX575" fmla="*/ 1546100 w 4021668"/>
              <a:gd name="connsiteY575" fmla="*/ 717047 h 6121401"/>
              <a:gd name="connsiteX576" fmla="*/ 1552260 w 4021668"/>
              <a:gd name="connsiteY576" fmla="*/ 701374 h 6121401"/>
              <a:gd name="connsiteX577" fmla="*/ 1550205 w 4021668"/>
              <a:gd name="connsiteY577" fmla="*/ 681782 h 6121401"/>
              <a:gd name="connsiteX578" fmla="*/ 1548154 w 4021668"/>
              <a:gd name="connsiteY578" fmla="*/ 677864 h 6121401"/>
              <a:gd name="connsiteX579" fmla="*/ 1396233 w 4021668"/>
              <a:gd name="connsiteY579" fmla="*/ 666108 h 6121401"/>
              <a:gd name="connsiteX580" fmla="*/ 1392125 w 4021668"/>
              <a:gd name="connsiteY580" fmla="*/ 683740 h 6121401"/>
              <a:gd name="connsiteX581" fmla="*/ 1396233 w 4021668"/>
              <a:gd name="connsiteY581" fmla="*/ 666108 h 6121401"/>
              <a:gd name="connsiteX582" fmla="*/ 2461732 w 4021668"/>
              <a:gd name="connsiteY582" fmla="*/ 664150 h 6121401"/>
              <a:gd name="connsiteX583" fmla="*/ 2457626 w 4021668"/>
              <a:gd name="connsiteY583" fmla="*/ 687659 h 6121401"/>
              <a:gd name="connsiteX584" fmla="*/ 2459680 w 4021668"/>
              <a:gd name="connsiteY584" fmla="*/ 687659 h 6121401"/>
              <a:gd name="connsiteX585" fmla="*/ 2463787 w 4021668"/>
              <a:gd name="connsiteY585" fmla="*/ 681782 h 6121401"/>
              <a:gd name="connsiteX586" fmla="*/ 2461732 w 4021668"/>
              <a:gd name="connsiteY586" fmla="*/ 664150 h 6121401"/>
              <a:gd name="connsiteX587" fmla="*/ 1474247 w 4021668"/>
              <a:gd name="connsiteY587" fmla="*/ 664150 h 6121401"/>
              <a:gd name="connsiteX588" fmla="*/ 1472194 w 4021668"/>
              <a:gd name="connsiteY588" fmla="*/ 666108 h 6121401"/>
              <a:gd name="connsiteX589" fmla="*/ 1472194 w 4021668"/>
              <a:gd name="connsiteY589" fmla="*/ 668069 h 6121401"/>
              <a:gd name="connsiteX590" fmla="*/ 1474247 w 4021668"/>
              <a:gd name="connsiteY590" fmla="*/ 664150 h 6121401"/>
              <a:gd name="connsiteX591" fmla="*/ 1535835 w 4021668"/>
              <a:gd name="connsiteY591" fmla="*/ 656313 h 6121401"/>
              <a:gd name="connsiteX592" fmla="*/ 1533782 w 4021668"/>
              <a:gd name="connsiteY592" fmla="*/ 660231 h 6121401"/>
              <a:gd name="connsiteX593" fmla="*/ 1533782 w 4021668"/>
              <a:gd name="connsiteY593" fmla="*/ 666108 h 6121401"/>
              <a:gd name="connsiteX594" fmla="*/ 1535835 w 4021668"/>
              <a:gd name="connsiteY594" fmla="*/ 656313 h 6121401"/>
              <a:gd name="connsiteX595" fmla="*/ 1554311 w 4021668"/>
              <a:gd name="connsiteY595" fmla="*/ 652393 h 6121401"/>
              <a:gd name="connsiteX596" fmla="*/ 1552260 w 4021668"/>
              <a:gd name="connsiteY596" fmla="*/ 666108 h 6121401"/>
              <a:gd name="connsiteX597" fmla="*/ 1556366 w 4021668"/>
              <a:gd name="connsiteY597" fmla="*/ 670027 h 6121401"/>
              <a:gd name="connsiteX598" fmla="*/ 1558418 w 4021668"/>
              <a:gd name="connsiteY598" fmla="*/ 658273 h 6121401"/>
              <a:gd name="connsiteX599" fmla="*/ 1554311 w 4021668"/>
              <a:gd name="connsiteY599" fmla="*/ 652393 h 6121401"/>
              <a:gd name="connsiteX600" fmla="*/ 1695968 w 4021668"/>
              <a:gd name="connsiteY600" fmla="*/ 640641 h 6121401"/>
              <a:gd name="connsiteX601" fmla="*/ 1693917 w 4021668"/>
              <a:gd name="connsiteY601" fmla="*/ 650435 h 6121401"/>
              <a:gd name="connsiteX602" fmla="*/ 1693917 w 4021668"/>
              <a:gd name="connsiteY602" fmla="*/ 652393 h 6121401"/>
              <a:gd name="connsiteX603" fmla="*/ 1693917 w 4021668"/>
              <a:gd name="connsiteY603" fmla="*/ 656313 h 6121401"/>
              <a:gd name="connsiteX604" fmla="*/ 1695968 w 4021668"/>
              <a:gd name="connsiteY604" fmla="*/ 640641 h 6121401"/>
              <a:gd name="connsiteX605" fmla="*/ 2471998 w 4021668"/>
              <a:gd name="connsiteY605" fmla="*/ 634762 h 6121401"/>
              <a:gd name="connsiteX606" fmla="*/ 2461732 w 4021668"/>
              <a:gd name="connsiteY606" fmla="*/ 648477 h 6121401"/>
              <a:gd name="connsiteX607" fmla="*/ 2463787 w 4021668"/>
              <a:gd name="connsiteY607" fmla="*/ 648477 h 6121401"/>
              <a:gd name="connsiteX608" fmla="*/ 2471998 w 4021668"/>
              <a:gd name="connsiteY608" fmla="*/ 634762 h 6121401"/>
              <a:gd name="connsiteX609" fmla="*/ 1704181 w 4021668"/>
              <a:gd name="connsiteY609" fmla="*/ 630844 h 6121401"/>
              <a:gd name="connsiteX610" fmla="*/ 1695968 w 4021668"/>
              <a:gd name="connsiteY610" fmla="*/ 636720 h 6121401"/>
              <a:gd name="connsiteX611" fmla="*/ 1700075 w 4021668"/>
              <a:gd name="connsiteY611" fmla="*/ 642599 h 6121401"/>
              <a:gd name="connsiteX612" fmla="*/ 1704181 w 4021668"/>
              <a:gd name="connsiteY612" fmla="*/ 630844 h 6121401"/>
              <a:gd name="connsiteX613" fmla="*/ 1509146 w 4021668"/>
              <a:gd name="connsiteY613" fmla="*/ 628886 h 6121401"/>
              <a:gd name="connsiteX614" fmla="*/ 1507094 w 4021668"/>
              <a:gd name="connsiteY614" fmla="*/ 630844 h 6121401"/>
              <a:gd name="connsiteX615" fmla="*/ 1509146 w 4021668"/>
              <a:gd name="connsiteY615" fmla="*/ 632802 h 6121401"/>
              <a:gd name="connsiteX616" fmla="*/ 1509146 w 4021668"/>
              <a:gd name="connsiteY616" fmla="*/ 628886 h 6121401"/>
              <a:gd name="connsiteX617" fmla="*/ 1636433 w 4021668"/>
              <a:gd name="connsiteY617" fmla="*/ 626926 h 6121401"/>
              <a:gd name="connsiteX618" fmla="*/ 1638484 w 4021668"/>
              <a:gd name="connsiteY618" fmla="*/ 626926 h 6121401"/>
              <a:gd name="connsiteX619" fmla="*/ 1638484 w 4021668"/>
              <a:gd name="connsiteY619" fmla="*/ 628886 h 6121401"/>
              <a:gd name="connsiteX620" fmla="*/ 1636433 w 4021668"/>
              <a:gd name="connsiteY620" fmla="*/ 626926 h 6121401"/>
              <a:gd name="connsiteX621" fmla="*/ 1622059 w 4021668"/>
              <a:gd name="connsiteY621" fmla="*/ 605377 h 6121401"/>
              <a:gd name="connsiteX622" fmla="*/ 1622059 w 4021668"/>
              <a:gd name="connsiteY622" fmla="*/ 609295 h 6121401"/>
              <a:gd name="connsiteX623" fmla="*/ 1624114 w 4021668"/>
              <a:gd name="connsiteY623" fmla="*/ 607335 h 6121401"/>
              <a:gd name="connsiteX624" fmla="*/ 1622059 w 4021668"/>
              <a:gd name="connsiteY624" fmla="*/ 605377 h 6121401"/>
              <a:gd name="connsiteX625" fmla="*/ 1427027 w 4021668"/>
              <a:gd name="connsiteY625" fmla="*/ 601457 h 6121401"/>
              <a:gd name="connsiteX626" fmla="*/ 1416761 w 4021668"/>
              <a:gd name="connsiteY626" fmla="*/ 636720 h 6121401"/>
              <a:gd name="connsiteX627" fmla="*/ 1420867 w 4021668"/>
              <a:gd name="connsiteY627" fmla="*/ 630844 h 6121401"/>
              <a:gd name="connsiteX628" fmla="*/ 1422921 w 4021668"/>
              <a:gd name="connsiteY628" fmla="*/ 623008 h 6121401"/>
              <a:gd name="connsiteX629" fmla="*/ 1427027 w 4021668"/>
              <a:gd name="connsiteY629" fmla="*/ 601457 h 6121401"/>
              <a:gd name="connsiteX630" fmla="*/ 1745241 w 4021668"/>
              <a:gd name="connsiteY630" fmla="*/ 597539 h 6121401"/>
              <a:gd name="connsiteX631" fmla="*/ 1747293 w 4021668"/>
              <a:gd name="connsiteY631" fmla="*/ 607335 h 6121401"/>
              <a:gd name="connsiteX632" fmla="*/ 1745241 w 4021668"/>
              <a:gd name="connsiteY632" fmla="*/ 615170 h 6121401"/>
              <a:gd name="connsiteX633" fmla="*/ 1749347 w 4021668"/>
              <a:gd name="connsiteY633" fmla="*/ 597539 h 6121401"/>
              <a:gd name="connsiteX634" fmla="*/ 1745241 w 4021668"/>
              <a:gd name="connsiteY634" fmla="*/ 597539 h 6121401"/>
              <a:gd name="connsiteX635" fmla="*/ 1634378 w 4021668"/>
              <a:gd name="connsiteY635" fmla="*/ 589704 h 6121401"/>
              <a:gd name="connsiteX636" fmla="*/ 1632327 w 4021668"/>
              <a:gd name="connsiteY636" fmla="*/ 613210 h 6121401"/>
              <a:gd name="connsiteX637" fmla="*/ 1630271 w 4021668"/>
              <a:gd name="connsiteY637" fmla="*/ 619088 h 6121401"/>
              <a:gd name="connsiteX638" fmla="*/ 1626166 w 4021668"/>
              <a:gd name="connsiteY638" fmla="*/ 619088 h 6121401"/>
              <a:gd name="connsiteX639" fmla="*/ 1624114 w 4021668"/>
              <a:gd name="connsiteY639" fmla="*/ 632802 h 6121401"/>
              <a:gd name="connsiteX640" fmla="*/ 1613849 w 4021668"/>
              <a:gd name="connsiteY640" fmla="*/ 656313 h 6121401"/>
              <a:gd name="connsiteX641" fmla="*/ 1611796 w 4021668"/>
              <a:gd name="connsiteY641" fmla="*/ 673946 h 6121401"/>
              <a:gd name="connsiteX642" fmla="*/ 1607691 w 4021668"/>
              <a:gd name="connsiteY642" fmla="*/ 695495 h 6121401"/>
              <a:gd name="connsiteX643" fmla="*/ 1605635 w 4021668"/>
              <a:gd name="connsiteY643" fmla="*/ 699413 h 6121401"/>
              <a:gd name="connsiteX644" fmla="*/ 1599478 w 4021668"/>
              <a:gd name="connsiteY644" fmla="*/ 724882 h 6121401"/>
              <a:gd name="connsiteX645" fmla="*/ 1599478 w 4021668"/>
              <a:gd name="connsiteY645" fmla="*/ 740555 h 6121401"/>
              <a:gd name="connsiteX646" fmla="*/ 1597424 w 4021668"/>
              <a:gd name="connsiteY646" fmla="*/ 742515 h 6121401"/>
              <a:gd name="connsiteX647" fmla="*/ 1595373 w 4021668"/>
              <a:gd name="connsiteY647" fmla="*/ 742515 h 6121401"/>
              <a:gd name="connsiteX648" fmla="*/ 1583054 w 4021668"/>
              <a:gd name="connsiteY648" fmla="*/ 791493 h 6121401"/>
              <a:gd name="connsiteX649" fmla="*/ 1581002 w 4021668"/>
              <a:gd name="connsiteY649" fmla="*/ 797372 h 6121401"/>
              <a:gd name="connsiteX650" fmla="*/ 1581002 w 4021668"/>
              <a:gd name="connsiteY650" fmla="*/ 801290 h 6121401"/>
              <a:gd name="connsiteX651" fmla="*/ 1574842 w 4021668"/>
              <a:gd name="connsiteY651" fmla="*/ 828715 h 6121401"/>
              <a:gd name="connsiteX652" fmla="*/ 1574842 w 4021668"/>
              <a:gd name="connsiteY652" fmla="*/ 850268 h 6121401"/>
              <a:gd name="connsiteX653" fmla="*/ 1574842 w 4021668"/>
              <a:gd name="connsiteY653" fmla="*/ 856144 h 6121401"/>
              <a:gd name="connsiteX654" fmla="*/ 1564579 w 4021668"/>
              <a:gd name="connsiteY654" fmla="*/ 887491 h 6121401"/>
              <a:gd name="connsiteX655" fmla="*/ 1560472 w 4021668"/>
              <a:gd name="connsiteY655" fmla="*/ 877696 h 6121401"/>
              <a:gd name="connsiteX656" fmla="*/ 1554311 w 4021668"/>
              <a:gd name="connsiteY656" fmla="*/ 903164 h 6121401"/>
              <a:gd name="connsiteX657" fmla="*/ 1553967 w 4021668"/>
              <a:gd name="connsiteY657" fmla="*/ 907849 h 6121401"/>
              <a:gd name="connsiteX658" fmla="*/ 1541995 w 4021668"/>
              <a:gd name="connsiteY658" fmla="*/ 934510 h 6121401"/>
              <a:gd name="connsiteX659" fmla="*/ 1539719 w 4021668"/>
              <a:gd name="connsiteY659" fmla="*/ 946989 h 6121401"/>
              <a:gd name="connsiteX660" fmla="*/ 1535835 w 4021668"/>
              <a:gd name="connsiteY660" fmla="*/ 948223 h 6121401"/>
              <a:gd name="connsiteX661" fmla="*/ 1535835 w 4021668"/>
              <a:gd name="connsiteY661" fmla="*/ 934510 h 6121401"/>
              <a:gd name="connsiteX662" fmla="*/ 1533782 w 4021668"/>
              <a:gd name="connsiteY662" fmla="*/ 934510 h 6121401"/>
              <a:gd name="connsiteX663" fmla="*/ 1533782 w 4021668"/>
              <a:gd name="connsiteY663" fmla="*/ 948223 h 6121401"/>
              <a:gd name="connsiteX664" fmla="*/ 1529676 w 4021668"/>
              <a:gd name="connsiteY664" fmla="*/ 963897 h 6121401"/>
              <a:gd name="connsiteX665" fmla="*/ 1536081 w 4021668"/>
              <a:gd name="connsiteY665" fmla="*/ 966953 h 6121401"/>
              <a:gd name="connsiteX666" fmla="*/ 1533782 w 4021668"/>
              <a:gd name="connsiteY666" fmla="*/ 979570 h 6121401"/>
              <a:gd name="connsiteX667" fmla="*/ 1533012 w 4021668"/>
              <a:gd name="connsiteY667" fmla="*/ 984468 h 6121401"/>
              <a:gd name="connsiteX668" fmla="*/ 1535928 w 4021668"/>
              <a:gd name="connsiteY668" fmla="*/ 986529 h 6121401"/>
              <a:gd name="connsiteX669" fmla="*/ 1535835 w 4021668"/>
              <a:gd name="connsiteY669" fmla="*/ 987407 h 6121401"/>
              <a:gd name="connsiteX670" fmla="*/ 1537887 w 4021668"/>
              <a:gd name="connsiteY670" fmla="*/ 989368 h 6121401"/>
              <a:gd name="connsiteX671" fmla="*/ 1539943 w 4021668"/>
              <a:gd name="connsiteY671" fmla="*/ 989368 h 6121401"/>
              <a:gd name="connsiteX672" fmla="*/ 1535928 w 4021668"/>
              <a:gd name="connsiteY672" fmla="*/ 986529 h 6121401"/>
              <a:gd name="connsiteX673" fmla="*/ 1537887 w 4021668"/>
              <a:gd name="connsiteY673" fmla="*/ 967815 h 6121401"/>
              <a:gd name="connsiteX674" fmla="*/ 1536081 w 4021668"/>
              <a:gd name="connsiteY674" fmla="*/ 966953 h 6121401"/>
              <a:gd name="connsiteX675" fmla="*/ 1539719 w 4021668"/>
              <a:gd name="connsiteY675" fmla="*/ 946989 h 6121401"/>
              <a:gd name="connsiteX676" fmla="*/ 1541995 w 4021668"/>
              <a:gd name="connsiteY676" fmla="*/ 946266 h 6121401"/>
              <a:gd name="connsiteX677" fmla="*/ 1546100 w 4021668"/>
              <a:gd name="connsiteY677" fmla="*/ 930594 h 6121401"/>
              <a:gd name="connsiteX678" fmla="*/ 1546100 w 4021668"/>
              <a:gd name="connsiteY678" fmla="*/ 932552 h 6121401"/>
              <a:gd name="connsiteX679" fmla="*/ 1553285 w 4021668"/>
              <a:gd name="connsiteY679" fmla="*/ 917123 h 6121401"/>
              <a:gd name="connsiteX680" fmla="*/ 1553967 w 4021668"/>
              <a:gd name="connsiteY680" fmla="*/ 907849 h 6121401"/>
              <a:gd name="connsiteX681" fmla="*/ 1554311 w 4021668"/>
              <a:gd name="connsiteY681" fmla="*/ 907082 h 6121401"/>
              <a:gd name="connsiteX682" fmla="*/ 1556366 w 4021668"/>
              <a:gd name="connsiteY682" fmla="*/ 922755 h 6121401"/>
              <a:gd name="connsiteX683" fmla="*/ 1556366 w 4021668"/>
              <a:gd name="connsiteY683" fmla="*/ 958021 h 6121401"/>
              <a:gd name="connsiteX684" fmla="*/ 1564579 w 4021668"/>
              <a:gd name="connsiteY684" fmla="*/ 930592 h 6121401"/>
              <a:gd name="connsiteX685" fmla="*/ 1574842 w 4021668"/>
              <a:gd name="connsiteY685" fmla="*/ 901205 h 6121401"/>
              <a:gd name="connsiteX686" fmla="*/ 1576897 w 4021668"/>
              <a:gd name="connsiteY686" fmla="*/ 899245 h 6121401"/>
              <a:gd name="connsiteX687" fmla="*/ 1578948 w 4021668"/>
              <a:gd name="connsiteY687" fmla="*/ 909043 h 6121401"/>
              <a:gd name="connsiteX688" fmla="*/ 1587159 w 4021668"/>
              <a:gd name="connsiteY688" fmla="*/ 899245 h 6121401"/>
              <a:gd name="connsiteX689" fmla="*/ 1591267 w 4021668"/>
              <a:gd name="connsiteY689" fmla="*/ 907082 h 6121401"/>
              <a:gd name="connsiteX690" fmla="*/ 1593320 w 4021668"/>
              <a:gd name="connsiteY690" fmla="*/ 899245 h 6121401"/>
              <a:gd name="connsiteX691" fmla="*/ 1599478 w 4021668"/>
              <a:gd name="connsiteY691" fmla="*/ 873778 h 6121401"/>
              <a:gd name="connsiteX692" fmla="*/ 1599478 w 4021668"/>
              <a:gd name="connsiteY692" fmla="*/ 869859 h 6121401"/>
              <a:gd name="connsiteX693" fmla="*/ 1613849 w 4021668"/>
              <a:gd name="connsiteY693" fmla="*/ 816963 h 6121401"/>
              <a:gd name="connsiteX694" fmla="*/ 1624114 w 4021668"/>
              <a:gd name="connsiteY694" fmla="*/ 797372 h 6121401"/>
              <a:gd name="connsiteX695" fmla="*/ 1632327 w 4021668"/>
              <a:gd name="connsiteY695" fmla="*/ 769943 h 6121401"/>
              <a:gd name="connsiteX696" fmla="*/ 1638484 w 4021668"/>
              <a:gd name="connsiteY696" fmla="*/ 738597 h 6121401"/>
              <a:gd name="connsiteX697" fmla="*/ 1638484 w 4021668"/>
              <a:gd name="connsiteY697" fmla="*/ 736638 h 6121401"/>
              <a:gd name="connsiteX698" fmla="*/ 1634378 w 4021668"/>
              <a:gd name="connsiteY698" fmla="*/ 738597 h 6121401"/>
              <a:gd name="connsiteX699" fmla="*/ 1624114 w 4021668"/>
              <a:gd name="connsiteY699" fmla="*/ 734678 h 6121401"/>
              <a:gd name="connsiteX700" fmla="*/ 1626166 w 4021668"/>
              <a:gd name="connsiteY700" fmla="*/ 724882 h 6121401"/>
              <a:gd name="connsiteX701" fmla="*/ 1640539 w 4021668"/>
              <a:gd name="connsiteY701" fmla="*/ 666108 h 6121401"/>
              <a:gd name="connsiteX702" fmla="*/ 1642590 w 4021668"/>
              <a:gd name="connsiteY702" fmla="*/ 652393 h 6121401"/>
              <a:gd name="connsiteX703" fmla="*/ 1638484 w 4021668"/>
              <a:gd name="connsiteY703" fmla="*/ 654355 h 6121401"/>
              <a:gd name="connsiteX704" fmla="*/ 1626166 w 4021668"/>
              <a:gd name="connsiteY704" fmla="*/ 664150 h 6121401"/>
              <a:gd name="connsiteX705" fmla="*/ 1624114 w 4021668"/>
              <a:gd name="connsiteY705" fmla="*/ 675904 h 6121401"/>
              <a:gd name="connsiteX706" fmla="*/ 1622059 w 4021668"/>
              <a:gd name="connsiteY706" fmla="*/ 685701 h 6121401"/>
              <a:gd name="connsiteX707" fmla="*/ 1620008 w 4021668"/>
              <a:gd name="connsiteY707" fmla="*/ 683740 h 6121401"/>
              <a:gd name="connsiteX708" fmla="*/ 1624114 w 4021668"/>
              <a:gd name="connsiteY708" fmla="*/ 636720 h 6121401"/>
              <a:gd name="connsiteX709" fmla="*/ 1628220 w 4021668"/>
              <a:gd name="connsiteY709" fmla="*/ 632802 h 6121401"/>
              <a:gd name="connsiteX710" fmla="*/ 1632327 w 4021668"/>
              <a:gd name="connsiteY710" fmla="*/ 652393 h 6121401"/>
              <a:gd name="connsiteX711" fmla="*/ 1642590 w 4021668"/>
              <a:gd name="connsiteY711" fmla="*/ 642599 h 6121401"/>
              <a:gd name="connsiteX712" fmla="*/ 1640539 w 4021668"/>
              <a:gd name="connsiteY712" fmla="*/ 634762 h 6121401"/>
              <a:gd name="connsiteX713" fmla="*/ 1640539 w 4021668"/>
              <a:gd name="connsiteY713" fmla="*/ 599497 h 6121401"/>
              <a:gd name="connsiteX714" fmla="*/ 1642590 w 4021668"/>
              <a:gd name="connsiteY714" fmla="*/ 591660 h 6121401"/>
              <a:gd name="connsiteX715" fmla="*/ 1634378 w 4021668"/>
              <a:gd name="connsiteY715" fmla="*/ 589704 h 6121401"/>
              <a:gd name="connsiteX716" fmla="*/ 1478352 w 4021668"/>
              <a:gd name="connsiteY716" fmla="*/ 583824 h 6121401"/>
              <a:gd name="connsiteX717" fmla="*/ 1478352 w 4021668"/>
              <a:gd name="connsiteY717" fmla="*/ 589704 h 6121401"/>
              <a:gd name="connsiteX718" fmla="*/ 1480406 w 4021668"/>
              <a:gd name="connsiteY718" fmla="*/ 587743 h 6121401"/>
              <a:gd name="connsiteX719" fmla="*/ 1480406 w 4021668"/>
              <a:gd name="connsiteY719" fmla="*/ 583824 h 6121401"/>
              <a:gd name="connsiteX720" fmla="*/ 1478352 w 4021668"/>
              <a:gd name="connsiteY720" fmla="*/ 583824 h 6121401"/>
              <a:gd name="connsiteX721" fmla="*/ 2476104 w 4021668"/>
              <a:gd name="connsiteY721" fmla="*/ 579908 h 6121401"/>
              <a:gd name="connsiteX722" fmla="*/ 2469943 w 4021668"/>
              <a:gd name="connsiteY722" fmla="*/ 581866 h 6121401"/>
              <a:gd name="connsiteX723" fmla="*/ 2469943 w 4021668"/>
              <a:gd name="connsiteY723" fmla="*/ 591660 h 6121401"/>
              <a:gd name="connsiteX724" fmla="*/ 2476104 w 4021668"/>
              <a:gd name="connsiteY724" fmla="*/ 579908 h 6121401"/>
              <a:gd name="connsiteX725" fmla="*/ 1763716 w 4021668"/>
              <a:gd name="connsiteY725" fmla="*/ 579908 h 6121401"/>
              <a:gd name="connsiteX726" fmla="*/ 1755506 w 4021668"/>
              <a:gd name="connsiteY726" fmla="*/ 611253 h 6121401"/>
              <a:gd name="connsiteX727" fmla="*/ 1751398 w 4021668"/>
              <a:gd name="connsiteY727" fmla="*/ 615170 h 6121401"/>
              <a:gd name="connsiteX728" fmla="*/ 1751398 w 4021668"/>
              <a:gd name="connsiteY728" fmla="*/ 617130 h 6121401"/>
              <a:gd name="connsiteX729" fmla="*/ 1749347 w 4021668"/>
              <a:gd name="connsiteY729" fmla="*/ 644559 h 6121401"/>
              <a:gd name="connsiteX730" fmla="*/ 1749347 w 4021668"/>
              <a:gd name="connsiteY730" fmla="*/ 658273 h 6121401"/>
              <a:gd name="connsiteX731" fmla="*/ 1757559 w 4021668"/>
              <a:gd name="connsiteY731" fmla="*/ 632802 h 6121401"/>
              <a:gd name="connsiteX732" fmla="*/ 1761665 w 4021668"/>
              <a:gd name="connsiteY732" fmla="*/ 615170 h 6121401"/>
              <a:gd name="connsiteX733" fmla="*/ 1767823 w 4021668"/>
              <a:gd name="connsiteY733" fmla="*/ 593621 h 6121401"/>
              <a:gd name="connsiteX734" fmla="*/ 1767823 w 4021668"/>
              <a:gd name="connsiteY734" fmla="*/ 583824 h 6121401"/>
              <a:gd name="connsiteX735" fmla="*/ 1765771 w 4021668"/>
              <a:gd name="connsiteY735" fmla="*/ 579908 h 6121401"/>
              <a:gd name="connsiteX736" fmla="*/ 1763716 w 4021668"/>
              <a:gd name="connsiteY736" fmla="*/ 579908 h 6121401"/>
              <a:gd name="connsiteX737" fmla="*/ 1533782 w 4021668"/>
              <a:gd name="connsiteY737" fmla="*/ 575987 h 6121401"/>
              <a:gd name="connsiteX738" fmla="*/ 1531729 w 4021668"/>
              <a:gd name="connsiteY738" fmla="*/ 583824 h 6121401"/>
              <a:gd name="connsiteX739" fmla="*/ 1531729 w 4021668"/>
              <a:gd name="connsiteY739" fmla="*/ 621049 h 6121401"/>
              <a:gd name="connsiteX740" fmla="*/ 1533782 w 4021668"/>
              <a:gd name="connsiteY740" fmla="*/ 607335 h 6121401"/>
              <a:gd name="connsiteX741" fmla="*/ 1535835 w 4021668"/>
              <a:gd name="connsiteY741" fmla="*/ 577948 h 6121401"/>
              <a:gd name="connsiteX742" fmla="*/ 1533782 w 4021668"/>
              <a:gd name="connsiteY742" fmla="*/ 575987 h 6121401"/>
              <a:gd name="connsiteX743" fmla="*/ 1396233 w 4021668"/>
              <a:gd name="connsiteY743" fmla="*/ 574030 h 6121401"/>
              <a:gd name="connsiteX744" fmla="*/ 1398285 w 4021668"/>
              <a:gd name="connsiteY744" fmla="*/ 574030 h 6121401"/>
              <a:gd name="connsiteX745" fmla="*/ 1398285 w 4021668"/>
              <a:gd name="connsiteY745" fmla="*/ 577948 h 6121401"/>
              <a:gd name="connsiteX746" fmla="*/ 1396233 w 4021668"/>
              <a:gd name="connsiteY746" fmla="*/ 577948 h 6121401"/>
              <a:gd name="connsiteX747" fmla="*/ 1396233 w 4021668"/>
              <a:gd name="connsiteY747" fmla="*/ 574030 h 6121401"/>
              <a:gd name="connsiteX748" fmla="*/ 1659015 w 4021668"/>
              <a:gd name="connsiteY748" fmla="*/ 570110 h 6121401"/>
              <a:gd name="connsiteX749" fmla="*/ 1652857 w 4021668"/>
              <a:gd name="connsiteY749" fmla="*/ 577948 h 6121401"/>
              <a:gd name="connsiteX750" fmla="*/ 1650802 w 4021668"/>
              <a:gd name="connsiteY750" fmla="*/ 579908 h 6121401"/>
              <a:gd name="connsiteX751" fmla="*/ 1650802 w 4021668"/>
              <a:gd name="connsiteY751" fmla="*/ 585784 h 6121401"/>
              <a:gd name="connsiteX752" fmla="*/ 1644645 w 4021668"/>
              <a:gd name="connsiteY752" fmla="*/ 591660 h 6121401"/>
              <a:gd name="connsiteX753" fmla="*/ 1646696 w 4021668"/>
              <a:gd name="connsiteY753" fmla="*/ 599497 h 6121401"/>
              <a:gd name="connsiteX754" fmla="*/ 1648750 w 4021668"/>
              <a:gd name="connsiteY754" fmla="*/ 607335 h 6121401"/>
              <a:gd name="connsiteX755" fmla="*/ 1646696 w 4021668"/>
              <a:gd name="connsiteY755" fmla="*/ 611253 h 6121401"/>
              <a:gd name="connsiteX756" fmla="*/ 1646696 w 4021668"/>
              <a:gd name="connsiteY756" fmla="*/ 613210 h 6121401"/>
              <a:gd name="connsiteX757" fmla="*/ 1648750 w 4021668"/>
              <a:gd name="connsiteY757" fmla="*/ 613210 h 6121401"/>
              <a:gd name="connsiteX758" fmla="*/ 1648750 w 4021668"/>
              <a:gd name="connsiteY758" fmla="*/ 607335 h 6121401"/>
              <a:gd name="connsiteX759" fmla="*/ 1654909 w 4021668"/>
              <a:gd name="connsiteY759" fmla="*/ 587743 h 6121401"/>
              <a:gd name="connsiteX760" fmla="*/ 1659015 w 4021668"/>
              <a:gd name="connsiteY760" fmla="*/ 570110 h 6121401"/>
              <a:gd name="connsiteX761" fmla="*/ 1640539 w 4021668"/>
              <a:gd name="connsiteY761" fmla="*/ 556399 h 6121401"/>
              <a:gd name="connsiteX762" fmla="*/ 1642590 w 4021668"/>
              <a:gd name="connsiteY762" fmla="*/ 560317 h 6121401"/>
              <a:gd name="connsiteX763" fmla="*/ 1644645 w 4021668"/>
              <a:gd name="connsiteY763" fmla="*/ 558357 h 6121401"/>
              <a:gd name="connsiteX764" fmla="*/ 1642590 w 4021668"/>
              <a:gd name="connsiteY764" fmla="*/ 556399 h 6121401"/>
              <a:gd name="connsiteX765" fmla="*/ 1640539 w 4021668"/>
              <a:gd name="connsiteY765" fmla="*/ 556399 h 6121401"/>
              <a:gd name="connsiteX766" fmla="*/ 1632327 w 4021668"/>
              <a:gd name="connsiteY766" fmla="*/ 556399 h 6121401"/>
              <a:gd name="connsiteX767" fmla="*/ 1628220 w 4021668"/>
              <a:gd name="connsiteY767" fmla="*/ 575987 h 6121401"/>
              <a:gd name="connsiteX768" fmla="*/ 1628220 w 4021668"/>
              <a:gd name="connsiteY768" fmla="*/ 589704 h 6121401"/>
              <a:gd name="connsiteX769" fmla="*/ 1633351 w 4021668"/>
              <a:gd name="connsiteY769" fmla="*/ 572314 h 6121401"/>
              <a:gd name="connsiteX770" fmla="*/ 1632327 w 4021668"/>
              <a:gd name="connsiteY770" fmla="*/ 556399 h 6121401"/>
              <a:gd name="connsiteX771" fmla="*/ 1537887 w 4021668"/>
              <a:gd name="connsiteY771" fmla="*/ 554438 h 6121401"/>
              <a:gd name="connsiteX772" fmla="*/ 1535835 w 4021668"/>
              <a:gd name="connsiteY772" fmla="*/ 556399 h 6121401"/>
              <a:gd name="connsiteX773" fmla="*/ 1535835 w 4021668"/>
              <a:gd name="connsiteY773" fmla="*/ 558357 h 6121401"/>
              <a:gd name="connsiteX774" fmla="*/ 1537887 w 4021668"/>
              <a:gd name="connsiteY774" fmla="*/ 558357 h 6121401"/>
              <a:gd name="connsiteX775" fmla="*/ 1537887 w 4021668"/>
              <a:gd name="connsiteY775" fmla="*/ 554438 h 6121401"/>
              <a:gd name="connsiteX776" fmla="*/ 1560377 w 4021668"/>
              <a:gd name="connsiteY776" fmla="*/ 554210 h 6121401"/>
              <a:gd name="connsiteX777" fmla="*/ 1562523 w 4021668"/>
              <a:gd name="connsiteY777" fmla="*/ 554438 h 6121401"/>
              <a:gd name="connsiteX778" fmla="*/ 1562758 w 4021668"/>
              <a:gd name="connsiteY778" fmla="*/ 557566 h 6121401"/>
              <a:gd name="connsiteX779" fmla="*/ 1560472 w 4021668"/>
              <a:gd name="connsiteY779" fmla="*/ 556399 h 6121401"/>
              <a:gd name="connsiteX780" fmla="*/ 1560472 w 4021668"/>
              <a:gd name="connsiteY780" fmla="*/ 554438 h 6121401"/>
              <a:gd name="connsiteX781" fmla="*/ 1691863 w 4021668"/>
              <a:gd name="connsiteY781" fmla="*/ 546601 h 6121401"/>
              <a:gd name="connsiteX782" fmla="*/ 1673387 w 4021668"/>
              <a:gd name="connsiteY782" fmla="*/ 581866 h 6121401"/>
              <a:gd name="connsiteX783" fmla="*/ 1665174 w 4021668"/>
              <a:gd name="connsiteY783" fmla="*/ 628886 h 6121401"/>
              <a:gd name="connsiteX784" fmla="*/ 1656963 w 4021668"/>
              <a:gd name="connsiteY784" fmla="*/ 683740 h 6121401"/>
              <a:gd name="connsiteX785" fmla="*/ 1656963 w 4021668"/>
              <a:gd name="connsiteY785" fmla="*/ 689619 h 6121401"/>
              <a:gd name="connsiteX786" fmla="*/ 1648750 w 4021668"/>
              <a:gd name="connsiteY786" fmla="*/ 707251 h 6121401"/>
              <a:gd name="connsiteX787" fmla="*/ 1648750 w 4021668"/>
              <a:gd name="connsiteY787" fmla="*/ 711168 h 6121401"/>
              <a:gd name="connsiteX788" fmla="*/ 1644645 w 4021668"/>
              <a:gd name="connsiteY788" fmla="*/ 764064 h 6121401"/>
              <a:gd name="connsiteX789" fmla="*/ 1652857 w 4021668"/>
              <a:gd name="connsiteY789" fmla="*/ 756231 h 6121401"/>
              <a:gd name="connsiteX790" fmla="*/ 1654909 w 4021668"/>
              <a:gd name="connsiteY790" fmla="*/ 744473 h 6121401"/>
              <a:gd name="connsiteX791" fmla="*/ 1659015 w 4021668"/>
              <a:gd name="connsiteY791" fmla="*/ 746433 h 6121401"/>
              <a:gd name="connsiteX792" fmla="*/ 1663121 w 4021668"/>
              <a:gd name="connsiteY792" fmla="*/ 734678 h 6121401"/>
              <a:gd name="connsiteX793" fmla="*/ 1661069 w 4021668"/>
              <a:gd name="connsiteY793" fmla="*/ 720964 h 6121401"/>
              <a:gd name="connsiteX794" fmla="*/ 1665174 w 4021668"/>
              <a:gd name="connsiteY794" fmla="*/ 720964 h 6121401"/>
              <a:gd name="connsiteX795" fmla="*/ 1663121 w 4021668"/>
              <a:gd name="connsiteY795" fmla="*/ 709211 h 6121401"/>
              <a:gd name="connsiteX796" fmla="*/ 1663121 w 4021668"/>
              <a:gd name="connsiteY796" fmla="*/ 697455 h 6121401"/>
              <a:gd name="connsiteX797" fmla="*/ 1665174 w 4021668"/>
              <a:gd name="connsiteY797" fmla="*/ 675904 h 6121401"/>
              <a:gd name="connsiteX798" fmla="*/ 1667226 w 4021668"/>
              <a:gd name="connsiteY798" fmla="*/ 673946 h 6121401"/>
              <a:gd name="connsiteX799" fmla="*/ 1677491 w 4021668"/>
              <a:gd name="connsiteY799" fmla="*/ 628886 h 6121401"/>
              <a:gd name="connsiteX800" fmla="*/ 1689807 w 4021668"/>
              <a:gd name="connsiteY800" fmla="*/ 554438 h 6121401"/>
              <a:gd name="connsiteX801" fmla="*/ 1691863 w 4021668"/>
              <a:gd name="connsiteY801" fmla="*/ 546601 h 6121401"/>
              <a:gd name="connsiteX802" fmla="*/ 1585105 w 4021668"/>
              <a:gd name="connsiteY802" fmla="*/ 542682 h 6121401"/>
              <a:gd name="connsiteX803" fmla="*/ 1583054 w 4021668"/>
              <a:gd name="connsiteY803" fmla="*/ 546601 h 6121401"/>
              <a:gd name="connsiteX804" fmla="*/ 1585105 w 4021668"/>
              <a:gd name="connsiteY804" fmla="*/ 546601 h 6121401"/>
              <a:gd name="connsiteX805" fmla="*/ 1585105 w 4021668"/>
              <a:gd name="connsiteY805" fmla="*/ 544640 h 6121401"/>
              <a:gd name="connsiteX806" fmla="*/ 1585105 w 4021668"/>
              <a:gd name="connsiteY806" fmla="*/ 542682 h 6121401"/>
              <a:gd name="connsiteX807" fmla="*/ 1847889 w 4021668"/>
              <a:gd name="connsiteY807" fmla="*/ 534846 h 6121401"/>
              <a:gd name="connsiteX808" fmla="*/ 1843783 w 4021668"/>
              <a:gd name="connsiteY808" fmla="*/ 536806 h 6121401"/>
              <a:gd name="connsiteX809" fmla="*/ 1843783 w 4021668"/>
              <a:gd name="connsiteY809" fmla="*/ 538765 h 6121401"/>
              <a:gd name="connsiteX810" fmla="*/ 1847889 w 4021668"/>
              <a:gd name="connsiteY810" fmla="*/ 538765 h 6121401"/>
              <a:gd name="connsiteX811" fmla="*/ 1847889 w 4021668"/>
              <a:gd name="connsiteY811" fmla="*/ 534846 h 6121401"/>
              <a:gd name="connsiteX812" fmla="*/ 1519411 w 4021668"/>
              <a:gd name="connsiteY812" fmla="*/ 530928 h 6121401"/>
              <a:gd name="connsiteX813" fmla="*/ 1519411 w 4021668"/>
              <a:gd name="connsiteY813" fmla="*/ 548559 h 6121401"/>
              <a:gd name="connsiteX814" fmla="*/ 1519411 w 4021668"/>
              <a:gd name="connsiteY814" fmla="*/ 550519 h 6121401"/>
              <a:gd name="connsiteX815" fmla="*/ 1519411 w 4021668"/>
              <a:gd name="connsiteY815" fmla="*/ 554438 h 6121401"/>
              <a:gd name="connsiteX816" fmla="*/ 1517357 w 4021668"/>
              <a:gd name="connsiteY816" fmla="*/ 560317 h 6121401"/>
              <a:gd name="connsiteX817" fmla="*/ 1513251 w 4021668"/>
              <a:gd name="connsiteY817" fmla="*/ 564233 h 6121401"/>
              <a:gd name="connsiteX818" fmla="*/ 1513251 w 4021668"/>
              <a:gd name="connsiteY818" fmla="*/ 560317 h 6121401"/>
              <a:gd name="connsiteX819" fmla="*/ 1509146 w 4021668"/>
              <a:gd name="connsiteY819" fmla="*/ 566193 h 6121401"/>
              <a:gd name="connsiteX820" fmla="*/ 1502988 w 4021668"/>
              <a:gd name="connsiteY820" fmla="*/ 605377 h 6121401"/>
              <a:gd name="connsiteX821" fmla="*/ 1505039 w 4021668"/>
              <a:gd name="connsiteY821" fmla="*/ 568150 h 6121401"/>
              <a:gd name="connsiteX822" fmla="*/ 1502988 w 4021668"/>
              <a:gd name="connsiteY822" fmla="*/ 568150 h 6121401"/>
              <a:gd name="connsiteX823" fmla="*/ 1498882 w 4021668"/>
              <a:gd name="connsiteY823" fmla="*/ 613210 h 6121401"/>
              <a:gd name="connsiteX824" fmla="*/ 1494775 w 4021668"/>
              <a:gd name="connsiteY824" fmla="*/ 634762 h 6121401"/>
              <a:gd name="connsiteX825" fmla="*/ 1486563 w 4021668"/>
              <a:gd name="connsiteY825" fmla="*/ 681782 h 6121401"/>
              <a:gd name="connsiteX826" fmla="*/ 1484512 w 4021668"/>
              <a:gd name="connsiteY826" fmla="*/ 683740 h 6121401"/>
              <a:gd name="connsiteX827" fmla="*/ 1468087 w 4021668"/>
              <a:gd name="connsiteY827" fmla="*/ 689619 h 6121401"/>
              <a:gd name="connsiteX828" fmla="*/ 1461928 w 4021668"/>
              <a:gd name="connsiteY828" fmla="*/ 734678 h 6121401"/>
              <a:gd name="connsiteX829" fmla="*/ 1461928 w 4021668"/>
              <a:gd name="connsiteY829" fmla="*/ 746433 h 6121401"/>
              <a:gd name="connsiteX830" fmla="*/ 1455771 w 4021668"/>
              <a:gd name="connsiteY830" fmla="*/ 773862 h 6121401"/>
              <a:gd name="connsiteX831" fmla="*/ 1455771 w 4021668"/>
              <a:gd name="connsiteY831" fmla="*/ 795411 h 6121401"/>
              <a:gd name="connsiteX832" fmla="*/ 1455771 w 4021668"/>
              <a:gd name="connsiteY832" fmla="*/ 801290 h 6121401"/>
              <a:gd name="connsiteX833" fmla="*/ 1451663 w 4021668"/>
              <a:gd name="connsiteY833" fmla="*/ 816963 h 6121401"/>
              <a:gd name="connsiteX834" fmla="*/ 1461928 w 4021668"/>
              <a:gd name="connsiteY834" fmla="*/ 803248 h 6121401"/>
              <a:gd name="connsiteX835" fmla="*/ 1461928 w 4021668"/>
              <a:gd name="connsiteY835" fmla="*/ 815003 h 6121401"/>
              <a:gd name="connsiteX836" fmla="*/ 1461928 w 4021668"/>
              <a:gd name="connsiteY836" fmla="*/ 820882 h 6121401"/>
              <a:gd name="connsiteX837" fmla="*/ 1449609 w 4021668"/>
              <a:gd name="connsiteY837" fmla="*/ 846350 h 6121401"/>
              <a:gd name="connsiteX838" fmla="*/ 1447968 w 4021668"/>
              <a:gd name="connsiteY838" fmla="*/ 847915 h 6121401"/>
              <a:gd name="connsiteX839" fmla="*/ 1447557 w 4021668"/>
              <a:gd name="connsiteY839" fmla="*/ 846350 h 6121401"/>
              <a:gd name="connsiteX840" fmla="*/ 1445287 w 4021668"/>
              <a:gd name="connsiteY840" fmla="*/ 849237 h 6121401"/>
              <a:gd name="connsiteX841" fmla="*/ 1443452 w 4021668"/>
              <a:gd name="connsiteY841" fmla="*/ 840473 h 6121401"/>
              <a:gd name="connsiteX842" fmla="*/ 1445503 w 4021668"/>
              <a:gd name="connsiteY842" fmla="*/ 830676 h 6121401"/>
              <a:gd name="connsiteX843" fmla="*/ 1441397 w 4021668"/>
              <a:gd name="connsiteY843" fmla="*/ 807166 h 6121401"/>
              <a:gd name="connsiteX844" fmla="*/ 1445503 w 4021668"/>
              <a:gd name="connsiteY844" fmla="*/ 767983 h 6121401"/>
              <a:gd name="connsiteX845" fmla="*/ 1437291 w 4021668"/>
              <a:gd name="connsiteY845" fmla="*/ 797372 h 6121401"/>
              <a:gd name="connsiteX846" fmla="*/ 1431134 w 4021668"/>
              <a:gd name="connsiteY846" fmla="*/ 818921 h 6121401"/>
              <a:gd name="connsiteX847" fmla="*/ 1429080 w 4021668"/>
              <a:gd name="connsiteY847" fmla="*/ 826758 h 6121401"/>
              <a:gd name="connsiteX848" fmla="*/ 1424973 w 4021668"/>
              <a:gd name="connsiteY848" fmla="*/ 842431 h 6121401"/>
              <a:gd name="connsiteX849" fmla="*/ 1414709 w 4021668"/>
              <a:gd name="connsiteY849" fmla="*/ 854186 h 6121401"/>
              <a:gd name="connsiteX850" fmla="*/ 1408551 w 4021668"/>
              <a:gd name="connsiteY850" fmla="*/ 867899 h 6121401"/>
              <a:gd name="connsiteX851" fmla="*/ 1402391 w 4021668"/>
              <a:gd name="connsiteY851" fmla="*/ 903164 h 6121401"/>
              <a:gd name="connsiteX852" fmla="*/ 1400337 w 4021668"/>
              <a:gd name="connsiteY852" fmla="*/ 909043 h 6121401"/>
              <a:gd name="connsiteX853" fmla="*/ 1398285 w 4021668"/>
              <a:gd name="connsiteY853" fmla="*/ 914919 h 6121401"/>
              <a:gd name="connsiteX854" fmla="*/ 1398285 w 4021668"/>
              <a:gd name="connsiteY854" fmla="*/ 916877 h 6121401"/>
              <a:gd name="connsiteX855" fmla="*/ 1392125 w 4021668"/>
              <a:gd name="connsiteY855" fmla="*/ 959979 h 6121401"/>
              <a:gd name="connsiteX856" fmla="*/ 1379809 w 4021668"/>
              <a:gd name="connsiteY856" fmla="*/ 1034427 h 6121401"/>
              <a:gd name="connsiteX857" fmla="*/ 1381861 w 4021668"/>
              <a:gd name="connsiteY857" fmla="*/ 1036385 h 6121401"/>
              <a:gd name="connsiteX858" fmla="*/ 1383915 w 4021668"/>
              <a:gd name="connsiteY858" fmla="*/ 1030508 h 6121401"/>
              <a:gd name="connsiteX859" fmla="*/ 1390074 w 4021668"/>
              <a:gd name="connsiteY859" fmla="*/ 1008957 h 6121401"/>
              <a:gd name="connsiteX860" fmla="*/ 1406497 w 4021668"/>
              <a:gd name="connsiteY860" fmla="*/ 958021 h 6121401"/>
              <a:gd name="connsiteX861" fmla="*/ 1404443 w 4021668"/>
              <a:gd name="connsiteY861" fmla="*/ 959979 h 6121401"/>
              <a:gd name="connsiteX862" fmla="*/ 1402391 w 4021668"/>
              <a:gd name="connsiteY862" fmla="*/ 958021 h 6121401"/>
              <a:gd name="connsiteX863" fmla="*/ 1404443 w 4021668"/>
              <a:gd name="connsiteY863" fmla="*/ 952144 h 6121401"/>
              <a:gd name="connsiteX864" fmla="*/ 1408551 w 4021668"/>
              <a:gd name="connsiteY864" fmla="*/ 954102 h 6121401"/>
              <a:gd name="connsiteX865" fmla="*/ 1418815 w 4021668"/>
              <a:gd name="connsiteY865" fmla="*/ 920795 h 6121401"/>
              <a:gd name="connsiteX866" fmla="*/ 1429080 w 4021668"/>
              <a:gd name="connsiteY866" fmla="*/ 901205 h 6121401"/>
              <a:gd name="connsiteX867" fmla="*/ 1433185 w 4021668"/>
              <a:gd name="connsiteY867" fmla="*/ 875735 h 6121401"/>
              <a:gd name="connsiteX868" fmla="*/ 1441397 w 4021668"/>
              <a:gd name="connsiteY868" fmla="*/ 856144 h 6121401"/>
              <a:gd name="connsiteX869" fmla="*/ 1441397 w 4021668"/>
              <a:gd name="connsiteY869" fmla="*/ 854186 h 6121401"/>
              <a:gd name="connsiteX870" fmla="*/ 1445287 w 4021668"/>
              <a:gd name="connsiteY870" fmla="*/ 849237 h 6121401"/>
              <a:gd name="connsiteX871" fmla="*/ 1445503 w 4021668"/>
              <a:gd name="connsiteY871" fmla="*/ 850268 h 6121401"/>
              <a:gd name="connsiteX872" fmla="*/ 1447968 w 4021668"/>
              <a:gd name="connsiteY872" fmla="*/ 847915 h 6121401"/>
              <a:gd name="connsiteX873" fmla="*/ 1449609 w 4021668"/>
              <a:gd name="connsiteY873" fmla="*/ 854186 h 6121401"/>
              <a:gd name="connsiteX874" fmla="*/ 1449609 w 4021668"/>
              <a:gd name="connsiteY874" fmla="*/ 856144 h 6121401"/>
              <a:gd name="connsiteX875" fmla="*/ 1449609 w 4021668"/>
              <a:gd name="connsiteY875" fmla="*/ 863983 h 6121401"/>
              <a:gd name="connsiteX876" fmla="*/ 1449609 w 4021668"/>
              <a:gd name="connsiteY876" fmla="*/ 869859 h 6121401"/>
              <a:gd name="connsiteX877" fmla="*/ 1461928 w 4021668"/>
              <a:gd name="connsiteY877" fmla="*/ 834594 h 6121401"/>
              <a:gd name="connsiteX878" fmla="*/ 1474247 w 4021668"/>
              <a:gd name="connsiteY878" fmla="*/ 832634 h 6121401"/>
              <a:gd name="connsiteX879" fmla="*/ 1474247 w 4021668"/>
              <a:gd name="connsiteY879" fmla="*/ 824800 h 6121401"/>
              <a:gd name="connsiteX880" fmla="*/ 1480406 w 4021668"/>
              <a:gd name="connsiteY880" fmla="*/ 793453 h 6121401"/>
              <a:gd name="connsiteX881" fmla="*/ 1486563 w 4021668"/>
              <a:gd name="connsiteY881" fmla="*/ 769943 h 6121401"/>
              <a:gd name="connsiteX882" fmla="*/ 1478352 w 4021668"/>
              <a:gd name="connsiteY882" fmla="*/ 771902 h 6121401"/>
              <a:gd name="connsiteX883" fmla="*/ 1474247 w 4021668"/>
              <a:gd name="connsiteY883" fmla="*/ 783656 h 6121401"/>
              <a:gd name="connsiteX884" fmla="*/ 1468087 w 4021668"/>
              <a:gd name="connsiteY884" fmla="*/ 797372 h 6121401"/>
              <a:gd name="connsiteX885" fmla="*/ 1463981 w 4021668"/>
              <a:gd name="connsiteY885" fmla="*/ 791493 h 6121401"/>
              <a:gd name="connsiteX886" fmla="*/ 1466033 w 4021668"/>
              <a:gd name="connsiteY886" fmla="*/ 769943 h 6121401"/>
              <a:gd name="connsiteX887" fmla="*/ 1470139 w 4021668"/>
              <a:gd name="connsiteY887" fmla="*/ 756231 h 6121401"/>
              <a:gd name="connsiteX888" fmla="*/ 1468087 w 4021668"/>
              <a:gd name="connsiteY888" fmla="*/ 754271 h 6121401"/>
              <a:gd name="connsiteX889" fmla="*/ 1470139 w 4021668"/>
              <a:gd name="connsiteY889" fmla="*/ 752312 h 6121401"/>
              <a:gd name="connsiteX890" fmla="*/ 1476299 w 4021668"/>
              <a:gd name="connsiteY890" fmla="*/ 724882 h 6121401"/>
              <a:gd name="connsiteX891" fmla="*/ 1482457 w 4021668"/>
              <a:gd name="connsiteY891" fmla="*/ 703332 h 6121401"/>
              <a:gd name="connsiteX892" fmla="*/ 1490670 w 4021668"/>
              <a:gd name="connsiteY892" fmla="*/ 679822 h 6121401"/>
              <a:gd name="connsiteX893" fmla="*/ 1496828 w 4021668"/>
              <a:gd name="connsiteY893" fmla="*/ 654355 h 6121401"/>
              <a:gd name="connsiteX894" fmla="*/ 1502988 w 4021668"/>
              <a:gd name="connsiteY894" fmla="*/ 628886 h 6121401"/>
              <a:gd name="connsiteX895" fmla="*/ 1509146 w 4021668"/>
              <a:gd name="connsiteY895" fmla="*/ 609295 h 6121401"/>
              <a:gd name="connsiteX896" fmla="*/ 1511200 w 4021668"/>
              <a:gd name="connsiteY896" fmla="*/ 577948 h 6121401"/>
              <a:gd name="connsiteX897" fmla="*/ 1515306 w 4021668"/>
              <a:gd name="connsiteY897" fmla="*/ 574030 h 6121401"/>
              <a:gd name="connsiteX898" fmla="*/ 1519411 w 4021668"/>
              <a:gd name="connsiteY898" fmla="*/ 593621 h 6121401"/>
              <a:gd name="connsiteX899" fmla="*/ 1523519 w 4021668"/>
              <a:gd name="connsiteY899" fmla="*/ 577948 h 6121401"/>
              <a:gd name="connsiteX900" fmla="*/ 1523519 w 4021668"/>
              <a:gd name="connsiteY900" fmla="*/ 568150 h 6121401"/>
              <a:gd name="connsiteX901" fmla="*/ 1523519 w 4021668"/>
              <a:gd name="connsiteY901" fmla="*/ 548559 h 6121401"/>
              <a:gd name="connsiteX902" fmla="*/ 1523519 w 4021668"/>
              <a:gd name="connsiteY902" fmla="*/ 532888 h 6121401"/>
              <a:gd name="connsiteX903" fmla="*/ 1519411 w 4021668"/>
              <a:gd name="connsiteY903" fmla="*/ 530928 h 6121401"/>
              <a:gd name="connsiteX904" fmla="*/ 3872137 w 4021668"/>
              <a:gd name="connsiteY904" fmla="*/ 525049 h 6121401"/>
              <a:gd name="connsiteX905" fmla="*/ 3872137 w 4021668"/>
              <a:gd name="connsiteY905" fmla="*/ 527009 h 6121401"/>
              <a:gd name="connsiteX906" fmla="*/ 3874188 w 4021668"/>
              <a:gd name="connsiteY906" fmla="*/ 525049 h 6121401"/>
              <a:gd name="connsiteX907" fmla="*/ 3872137 w 4021668"/>
              <a:gd name="connsiteY907" fmla="*/ 525049 h 6121401"/>
              <a:gd name="connsiteX908" fmla="*/ 1468087 w 4021668"/>
              <a:gd name="connsiteY908" fmla="*/ 519172 h 6121401"/>
              <a:gd name="connsiteX909" fmla="*/ 1463981 w 4021668"/>
              <a:gd name="connsiteY909" fmla="*/ 546601 h 6121401"/>
              <a:gd name="connsiteX910" fmla="*/ 1457822 w 4021668"/>
              <a:gd name="connsiteY910" fmla="*/ 574030 h 6121401"/>
              <a:gd name="connsiteX911" fmla="*/ 1445503 w 4021668"/>
              <a:gd name="connsiteY911" fmla="*/ 613210 h 6121401"/>
              <a:gd name="connsiteX912" fmla="*/ 1431134 w 4021668"/>
              <a:gd name="connsiteY912" fmla="*/ 660231 h 6121401"/>
              <a:gd name="connsiteX913" fmla="*/ 1427027 w 4021668"/>
              <a:gd name="connsiteY913" fmla="*/ 679822 h 6121401"/>
              <a:gd name="connsiteX914" fmla="*/ 1435240 w 4021668"/>
              <a:gd name="connsiteY914" fmla="*/ 658273 h 6121401"/>
              <a:gd name="connsiteX915" fmla="*/ 1445503 w 4021668"/>
              <a:gd name="connsiteY915" fmla="*/ 621049 h 6121401"/>
              <a:gd name="connsiteX916" fmla="*/ 1453716 w 4021668"/>
              <a:gd name="connsiteY916" fmla="*/ 617130 h 6121401"/>
              <a:gd name="connsiteX917" fmla="*/ 1445503 w 4021668"/>
              <a:gd name="connsiteY917" fmla="*/ 650435 h 6121401"/>
              <a:gd name="connsiteX918" fmla="*/ 1449609 w 4021668"/>
              <a:gd name="connsiteY918" fmla="*/ 648477 h 6121401"/>
              <a:gd name="connsiteX919" fmla="*/ 1453716 w 4021668"/>
              <a:gd name="connsiteY919" fmla="*/ 619088 h 6121401"/>
              <a:gd name="connsiteX920" fmla="*/ 1455771 w 4021668"/>
              <a:gd name="connsiteY920" fmla="*/ 607335 h 6121401"/>
              <a:gd name="connsiteX921" fmla="*/ 1461928 w 4021668"/>
              <a:gd name="connsiteY921" fmla="*/ 593621 h 6121401"/>
              <a:gd name="connsiteX922" fmla="*/ 1461928 w 4021668"/>
              <a:gd name="connsiteY922" fmla="*/ 575987 h 6121401"/>
              <a:gd name="connsiteX923" fmla="*/ 1463981 w 4021668"/>
              <a:gd name="connsiteY923" fmla="*/ 562275 h 6121401"/>
              <a:gd name="connsiteX924" fmla="*/ 1461928 w 4021668"/>
              <a:gd name="connsiteY924" fmla="*/ 564233 h 6121401"/>
              <a:gd name="connsiteX925" fmla="*/ 1466033 w 4021668"/>
              <a:gd name="connsiteY925" fmla="*/ 540726 h 6121401"/>
              <a:gd name="connsiteX926" fmla="*/ 1468087 w 4021668"/>
              <a:gd name="connsiteY926" fmla="*/ 519172 h 6121401"/>
              <a:gd name="connsiteX927" fmla="*/ 1644645 w 4021668"/>
              <a:gd name="connsiteY927" fmla="*/ 513297 h 6121401"/>
              <a:gd name="connsiteX928" fmla="*/ 1642590 w 4021668"/>
              <a:gd name="connsiteY928" fmla="*/ 521133 h 6121401"/>
              <a:gd name="connsiteX929" fmla="*/ 1645157 w 4021668"/>
              <a:gd name="connsiteY929" fmla="*/ 517949 h 6121401"/>
              <a:gd name="connsiteX930" fmla="*/ 1644645 w 4021668"/>
              <a:gd name="connsiteY930" fmla="*/ 513297 h 6121401"/>
              <a:gd name="connsiteX931" fmla="*/ 1422921 w 4021668"/>
              <a:gd name="connsiteY931" fmla="*/ 507418 h 6121401"/>
              <a:gd name="connsiteX932" fmla="*/ 1427027 w 4021668"/>
              <a:gd name="connsiteY932" fmla="*/ 513297 h 6121401"/>
              <a:gd name="connsiteX933" fmla="*/ 1427027 w 4021668"/>
              <a:gd name="connsiteY933" fmla="*/ 515255 h 6121401"/>
              <a:gd name="connsiteX934" fmla="*/ 1424973 w 4021668"/>
              <a:gd name="connsiteY934" fmla="*/ 517215 h 6121401"/>
              <a:gd name="connsiteX935" fmla="*/ 1420867 w 4021668"/>
              <a:gd name="connsiteY935" fmla="*/ 521133 h 6121401"/>
              <a:gd name="connsiteX936" fmla="*/ 1422921 w 4021668"/>
              <a:gd name="connsiteY936" fmla="*/ 507418 h 6121401"/>
              <a:gd name="connsiteX937" fmla="*/ 1443452 w 4021668"/>
              <a:gd name="connsiteY937" fmla="*/ 499581 h 6121401"/>
              <a:gd name="connsiteX938" fmla="*/ 1439346 w 4021668"/>
              <a:gd name="connsiteY938" fmla="*/ 517215 h 6121401"/>
              <a:gd name="connsiteX939" fmla="*/ 1439346 w 4021668"/>
              <a:gd name="connsiteY939" fmla="*/ 542682 h 6121401"/>
              <a:gd name="connsiteX940" fmla="*/ 1445503 w 4021668"/>
              <a:gd name="connsiteY940" fmla="*/ 525049 h 6121401"/>
              <a:gd name="connsiteX941" fmla="*/ 1451406 w 4021668"/>
              <a:gd name="connsiteY941" fmla="*/ 513785 h 6121401"/>
              <a:gd name="connsiteX942" fmla="*/ 1449609 w 4021668"/>
              <a:gd name="connsiteY942" fmla="*/ 499581 h 6121401"/>
              <a:gd name="connsiteX943" fmla="*/ 1443452 w 4021668"/>
              <a:gd name="connsiteY943" fmla="*/ 499581 h 6121401"/>
              <a:gd name="connsiteX944" fmla="*/ 1677491 w 4021668"/>
              <a:gd name="connsiteY944" fmla="*/ 497623 h 6121401"/>
              <a:gd name="connsiteX945" fmla="*/ 1675439 w 4021668"/>
              <a:gd name="connsiteY945" fmla="*/ 499581 h 6121401"/>
              <a:gd name="connsiteX946" fmla="*/ 1677491 w 4021668"/>
              <a:gd name="connsiteY946" fmla="*/ 501541 h 6121401"/>
              <a:gd name="connsiteX947" fmla="*/ 1677491 w 4021668"/>
              <a:gd name="connsiteY947" fmla="*/ 499581 h 6121401"/>
              <a:gd name="connsiteX948" fmla="*/ 1677491 w 4021668"/>
              <a:gd name="connsiteY948" fmla="*/ 497623 h 6121401"/>
              <a:gd name="connsiteX949" fmla="*/ 1517357 w 4021668"/>
              <a:gd name="connsiteY949" fmla="*/ 495662 h 6121401"/>
              <a:gd name="connsiteX950" fmla="*/ 1515306 w 4021668"/>
              <a:gd name="connsiteY950" fmla="*/ 532888 h 6121401"/>
              <a:gd name="connsiteX951" fmla="*/ 1520181 w 4021668"/>
              <a:gd name="connsiteY951" fmla="*/ 513542 h 6121401"/>
              <a:gd name="connsiteX952" fmla="*/ 1517357 w 4021668"/>
              <a:gd name="connsiteY952" fmla="*/ 495662 h 6121401"/>
              <a:gd name="connsiteX953" fmla="*/ 1654909 w 4021668"/>
              <a:gd name="connsiteY953" fmla="*/ 493706 h 6121401"/>
              <a:gd name="connsiteX954" fmla="*/ 1652857 w 4021668"/>
              <a:gd name="connsiteY954" fmla="*/ 558357 h 6121401"/>
              <a:gd name="connsiteX955" fmla="*/ 1659015 w 4021668"/>
              <a:gd name="connsiteY955" fmla="*/ 562275 h 6121401"/>
              <a:gd name="connsiteX956" fmla="*/ 1661069 w 4021668"/>
              <a:gd name="connsiteY956" fmla="*/ 532888 h 6121401"/>
              <a:gd name="connsiteX957" fmla="*/ 1659015 w 4021668"/>
              <a:gd name="connsiteY957" fmla="*/ 515255 h 6121401"/>
              <a:gd name="connsiteX958" fmla="*/ 1654909 w 4021668"/>
              <a:gd name="connsiteY958" fmla="*/ 493706 h 6121401"/>
              <a:gd name="connsiteX959" fmla="*/ 1507094 w 4021668"/>
              <a:gd name="connsiteY959" fmla="*/ 489787 h 6121401"/>
              <a:gd name="connsiteX960" fmla="*/ 1498882 w 4021668"/>
              <a:gd name="connsiteY960" fmla="*/ 509379 h 6121401"/>
              <a:gd name="connsiteX961" fmla="*/ 1498882 w 4021668"/>
              <a:gd name="connsiteY961" fmla="*/ 521133 h 6121401"/>
              <a:gd name="connsiteX962" fmla="*/ 1498882 w 4021668"/>
              <a:gd name="connsiteY962" fmla="*/ 542682 h 6121401"/>
              <a:gd name="connsiteX963" fmla="*/ 1498882 w 4021668"/>
              <a:gd name="connsiteY963" fmla="*/ 550519 h 6121401"/>
              <a:gd name="connsiteX964" fmla="*/ 1498882 w 4021668"/>
              <a:gd name="connsiteY964" fmla="*/ 552479 h 6121401"/>
              <a:gd name="connsiteX965" fmla="*/ 1498882 w 4021668"/>
              <a:gd name="connsiteY965" fmla="*/ 564233 h 6121401"/>
              <a:gd name="connsiteX966" fmla="*/ 1502988 w 4021668"/>
              <a:gd name="connsiteY966" fmla="*/ 560317 h 6121401"/>
              <a:gd name="connsiteX967" fmla="*/ 1505039 w 4021668"/>
              <a:gd name="connsiteY967" fmla="*/ 554438 h 6121401"/>
              <a:gd name="connsiteX968" fmla="*/ 1505039 w 4021668"/>
              <a:gd name="connsiteY968" fmla="*/ 560317 h 6121401"/>
              <a:gd name="connsiteX969" fmla="*/ 1513251 w 4021668"/>
              <a:gd name="connsiteY969" fmla="*/ 552479 h 6121401"/>
              <a:gd name="connsiteX970" fmla="*/ 1505039 w 4021668"/>
              <a:gd name="connsiteY970" fmla="*/ 507418 h 6121401"/>
              <a:gd name="connsiteX971" fmla="*/ 1505039 w 4021668"/>
              <a:gd name="connsiteY971" fmla="*/ 505460 h 6121401"/>
              <a:gd name="connsiteX972" fmla="*/ 1507094 w 4021668"/>
              <a:gd name="connsiteY972" fmla="*/ 489787 h 6121401"/>
              <a:gd name="connsiteX973" fmla="*/ 2474050 w 4021668"/>
              <a:gd name="connsiteY973" fmla="*/ 487827 h 6121401"/>
              <a:gd name="connsiteX974" fmla="*/ 2471998 w 4021668"/>
              <a:gd name="connsiteY974" fmla="*/ 491748 h 6121401"/>
              <a:gd name="connsiteX975" fmla="*/ 2471998 w 4021668"/>
              <a:gd name="connsiteY975" fmla="*/ 495662 h 6121401"/>
              <a:gd name="connsiteX976" fmla="*/ 2478157 w 4021668"/>
              <a:gd name="connsiteY976" fmla="*/ 493215 h 6121401"/>
              <a:gd name="connsiteX977" fmla="*/ 2478156 w 4021668"/>
              <a:gd name="connsiteY977" fmla="*/ 487827 h 6121401"/>
              <a:gd name="connsiteX978" fmla="*/ 2474050 w 4021668"/>
              <a:gd name="connsiteY978" fmla="*/ 487827 h 6121401"/>
              <a:gd name="connsiteX979" fmla="*/ 3874188 w 4021668"/>
              <a:gd name="connsiteY979" fmla="*/ 476071 h 6121401"/>
              <a:gd name="connsiteX980" fmla="*/ 3863924 w 4021668"/>
              <a:gd name="connsiteY980" fmla="*/ 497623 h 6121401"/>
              <a:gd name="connsiteX981" fmla="*/ 3868030 w 4021668"/>
              <a:gd name="connsiteY981" fmla="*/ 497623 h 6121401"/>
              <a:gd name="connsiteX982" fmla="*/ 3874188 w 4021668"/>
              <a:gd name="connsiteY982" fmla="*/ 476071 h 6121401"/>
              <a:gd name="connsiteX983" fmla="*/ 1737030 w 4021668"/>
              <a:gd name="connsiteY983" fmla="*/ 464316 h 6121401"/>
              <a:gd name="connsiteX984" fmla="*/ 1734975 w 4021668"/>
              <a:gd name="connsiteY984" fmla="*/ 468237 h 6121401"/>
              <a:gd name="connsiteX985" fmla="*/ 1726763 w 4021668"/>
              <a:gd name="connsiteY985" fmla="*/ 491748 h 6121401"/>
              <a:gd name="connsiteX986" fmla="*/ 1726763 w 4021668"/>
              <a:gd name="connsiteY986" fmla="*/ 493706 h 6121401"/>
              <a:gd name="connsiteX987" fmla="*/ 1722657 w 4021668"/>
              <a:gd name="connsiteY987" fmla="*/ 538765 h 6121401"/>
              <a:gd name="connsiteX988" fmla="*/ 1722657 w 4021668"/>
              <a:gd name="connsiteY988" fmla="*/ 540726 h 6121401"/>
              <a:gd name="connsiteX989" fmla="*/ 1718551 w 4021668"/>
              <a:gd name="connsiteY989" fmla="*/ 603416 h 6121401"/>
              <a:gd name="connsiteX990" fmla="*/ 1712393 w 4021668"/>
              <a:gd name="connsiteY990" fmla="*/ 626926 h 6121401"/>
              <a:gd name="connsiteX991" fmla="*/ 1708287 w 4021668"/>
              <a:gd name="connsiteY991" fmla="*/ 671986 h 6121401"/>
              <a:gd name="connsiteX992" fmla="*/ 1716499 w 4021668"/>
              <a:gd name="connsiteY992" fmla="*/ 656313 h 6121401"/>
              <a:gd name="connsiteX993" fmla="*/ 1728817 w 4021668"/>
              <a:gd name="connsiteY993" fmla="*/ 577948 h 6121401"/>
              <a:gd name="connsiteX994" fmla="*/ 1730869 w 4021668"/>
              <a:gd name="connsiteY994" fmla="*/ 566193 h 6121401"/>
              <a:gd name="connsiteX995" fmla="*/ 1741135 w 4021668"/>
              <a:gd name="connsiteY995" fmla="*/ 507418 h 6121401"/>
              <a:gd name="connsiteX996" fmla="*/ 1737030 w 4021668"/>
              <a:gd name="connsiteY996" fmla="*/ 464316 h 6121401"/>
              <a:gd name="connsiteX997" fmla="*/ 3812598 w 4021668"/>
              <a:gd name="connsiteY997" fmla="*/ 462358 h 6121401"/>
              <a:gd name="connsiteX998" fmla="*/ 3814652 w 4021668"/>
              <a:gd name="connsiteY998" fmla="*/ 466277 h 6121401"/>
              <a:gd name="connsiteX999" fmla="*/ 3816704 w 4021668"/>
              <a:gd name="connsiteY999" fmla="*/ 464316 h 6121401"/>
              <a:gd name="connsiteX1000" fmla="*/ 3812598 w 4021668"/>
              <a:gd name="connsiteY1000" fmla="*/ 462358 h 6121401"/>
              <a:gd name="connsiteX1001" fmla="*/ 2418619 w 4021668"/>
              <a:gd name="connsiteY1001" fmla="*/ 462358 h 6121401"/>
              <a:gd name="connsiteX1002" fmla="*/ 2416569 w 4021668"/>
              <a:gd name="connsiteY1002" fmla="*/ 468237 h 6121401"/>
              <a:gd name="connsiteX1003" fmla="*/ 2418619 w 4021668"/>
              <a:gd name="connsiteY1003" fmla="*/ 479989 h 6121401"/>
              <a:gd name="connsiteX1004" fmla="*/ 2420674 w 4021668"/>
              <a:gd name="connsiteY1004" fmla="*/ 481950 h 6121401"/>
              <a:gd name="connsiteX1005" fmla="*/ 2418619 w 4021668"/>
              <a:gd name="connsiteY1005" fmla="*/ 462358 h 6121401"/>
              <a:gd name="connsiteX1006" fmla="*/ 1648750 w 4021668"/>
              <a:gd name="connsiteY1006" fmla="*/ 450603 h 6121401"/>
              <a:gd name="connsiteX1007" fmla="*/ 1646696 w 4021668"/>
              <a:gd name="connsiteY1007" fmla="*/ 452563 h 6121401"/>
              <a:gd name="connsiteX1008" fmla="*/ 1640539 w 4021668"/>
              <a:gd name="connsiteY1008" fmla="*/ 468237 h 6121401"/>
              <a:gd name="connsiteX1009" fmla="*/ 1638484 w 4021668"/>
              <a:gd name="connsiteY1009" fmla="*/ 472156 h 6121401"/>
              <a:gd name="connsiteX1010" fmla="*/ 1638484 w 4021668"/>
              <a:gd name="connsiteY1010" fmla="*/ 476071 h 6121401"/>
              <a:gd name="connsiteX1011" fmla="*/ 1636433 w 4021668"/>
              <a:gd name="connsiteY1011" fmla="*/ 478031 h 6121401"/>
              <a:gd name="connsiteX1012" fmla="*/ 1634378 w 4021668"/>
              <a:gd name="connsiteY1012" fmla="*/ 511336 h 6121401"/>
              <a:gd name="connsiteX1013" fmla="*/ 1640539 w 4021668"/>
              <a:gd name="connsiteY1013" fmla="*/ 505460 h 6121401"/>
              <a:gd name="connsiteX1014" fmla="*/ 1644645 w 4021668"/>
              <a:gd name="connsiteY1014" fmla="*/ 495662 h 6121401"/>
              <a:gd name="connsiteX1015" fmla="*/ 1650802 w 4021668"/>
              <a:gd name="connsiteY1015" fmla="*/ 466277 h 6121401"/>
              <a:gd name="connsiteX1016" fmla="*/ 1648750 w 4021668"/>
              <a:gd name="connsiteY1016" fmla="*/ 450603 h 6121401"/>
              <a:gd name="connsiteX1017" fmla="*/ 1570736 w 4021668"/>
              <a:gd name="connsiteY1017" fmla="*/ 440809 h 6121401"/>
              <a:gd name="connsiteX1018" fmla="*/ 1564579 w 4021668"/>
              <a:gd name="connsiteY1018" fmla="*/ 450603 h 6121401"/>
              <a:gd name="connsiteX1019" fmla="*/ 1562523 w 4021668"/>
              <a:gd name="connsiteY1019" fmla="*/ 499581 h 6121401"/>
              <a:gd name="connsiteX1020" fmla="*/ 1566630 w 4021668"/>
              <a:gd name="connsiteY1020" fmla="*/ 493706 h 6121401"/>
              <a:gd name="connsiteX1021" fmla="*/ 1556366 w 4021668"/>
              <a:gd name="connsiteY1021" fmla="*/ 544640 h 6121401"/>
              <a:gd name="connsiteX1022" fmla="*/ 1560377 w 4021668"/>
              <a:gd name="connsiteY1022" fmla="*/ 554210 h 6121401"/>
              <a:gd name="connsiteX1023" fmla="*/ 1557906 w 4021668"/>
              <a:gd name="connsiteY1023" fmla="*/ 553949 h 6121401"/>
              <a:gd name="connsiteX1024" fmla="*/ 1556366 w 4021668"/>
              <a:gd name="connsiteY1024" fmla="*/ 556399 h 6121401"/>
              <a:gd name="connsiteX1025" fmla="*/ 1552260 w 4021668"/>
              <a:gd name="connsiteY1025" fmla="*/ 574030 h 6121401"/>
              <a:gd name="connsiteX1026" fmla="*/ 1552260 w 4021668"/>
              <a:gd name="connsiteY1026" fmla="*/ 599497 h 6121401"/>
              <a:gd name="connsiteX1027" fmla="*/ 1558418 w 4021668"/>
              <a:gd name="connsiteY1027" fmla="*/ 581866 h 6121401"/>
              <a:gd name="connsiteX1028" fmla="*/ 1563550 w 4021668"/>
              <a:gd name="connsiteY1028" fmla="*/ 568150 h 6121401"/>
              <a:gd name="connsiteX1029" fmla="*/ 1562758 w 4021668"/>
              <a:gd name="connsiteY1029" fmla="*/ 557566 h 6121401"/>
              <a:gd name="connsiteX1030" fmla="*/ 1567656 w 4021668"/>
              <a:gd name="connsiteY1030" fmla="*/ 560070 h 6121401"/>
              <a:gd name="connsiteX1031" fmla="*/ 1568684 w 4021668"/>
              <a:gd name="connsiteY1031" fmla="*/ 568150 h 6121401"/>
              <a:gd name="connsiteX1032" fmla="*/ 1562523 w 4021668"/>
              <a:gd name="connsiteY1032" fmla="*/ 613210 h 6121401"/>
              <a:gd name="connsiteX1033" fmla="*/ 1558418 w 4021668"/>
              <a:gd name="connsiteY1033" fmla="*/ 626926 h 6121401"/>
              <a:gd name="connsiteX1034" fmla="*/ 1558418 w 4021668"/>
              <a:gd name="connsiteY1034" fmla="*/ 634762 h 6121401"/>
              <a:gd name="connsiteX1035" fmla="*/ 1562523 w 4021668"/>
              <a:gd name="connsiteY1035" fmla="*/ 640641 h 6121401"/>
              <a:gd name="connsiteX1036" fmla="*/ 1570736 w 4021668"/>
              <a:gd name="connsiteY1036" fmla="*/ 623008 h 6121401"/>
              <a:gd name="connsiteX1037" fmla="*/ 1572791 w 4021668"/>
              <a:gd name="connsiteY1037" fmla="*/ 621049 h 6121401"/>
              <a:gd name="connsiteX1038" fmla="*/ 1572791 w 4021668"/>
              <a:gd name="connsiteY1038" fmla="*/ 574030 h 6121401"/>
              <a:gd name="connsiteX1039" fmla="*/ 1572791 w 4021668"/>
              <a:gd name="connsiteY1039" fmla="*/ 566193 h 6121401"/>
              <a:gd name="connsiteX1040" fmla="*/ 1583054 w 4021668"/>
              <a:gd name="connsiteY1040" fmla="*/ 544640 h 6121401"/>
              <a:gd name="connsiteX1041" fmla="*/ 1576897 w 4021668"/>
              <a:gd name="connsiteY1041" fmla="*/ 523091 h 6121401"/>
              <a:gd name="connsiteX1042" fmla="*/ 1581002 w 4021668"/>
              <a:gd name="connsiteY1042" fmla="*/ 519172 h 6121401"/>
              <a:gd name="connsiteX1043" fmla="*/ 1585105 w 4021668"/>
              <a:gd name="connsiteY1043" fmla="*/ 511336 h 6121401"/>
              <a:gd name="connsiteX1044" fmla="*/ 1587159 w 4021668"/>
              <a:gd name="connsiteY1044" fmla="*/ 499581 h 6121401"/>
              <a:gd name="connsiteX1045" fmla="*/ 1587159 w 4021668"/>
              <a:gd name="connsiteY1045" fmla="*/ 497623 h 6121401"/>
              <a:gd name="connsiteX1046" fmla="*/ 1587159 w 4021668"/>
              <a:gd name="connsiteY1046" fmla="*/ 485868 h 6121401"/>
              <a:gd name="connsiteX1047" fmla="*/ 1583054 w 4021668"/>
              <a:gd name="connsiteY1047" fmla="*/ 483908 h 6121401"/>
              <a:gd name="connsiteX1048" fmla="*/ 1578948 w 4021668"/>
              <a:gd name="connsiteY1048" fmla="*/ 476071 h 6121401"/>
              <a:gd name="connsiteX1049" fmla="*/ 1581002 w 4021668"/>
              <a:gd name="connsiteY1049" fmla="*/ 470195 h 6121401"/>
              <a:gd name="connsiteX1050" fmla="*/ 1570736 w 4021668"/>
              <a:gd name="connsiteY1050" fmla="*/ 476071 h 6121401"/>
              <a:gd name="connsiteX1051" fmla="*/ 1570736 w 4021668"/>
              <a:gd name="connsiteY1051" fmla="*/ 440809 h 6121401"/>
              <a:gd name="connsiteX1052" fmla="*/ 3880349 w 4021668"/>
              <a:gd name="connsiteY1052" fmla="*/ 431011 h 6121401"/>
              <a:gd name="connsiteX1053" fmla="*/ 3874188 w 4021668"/>
              <a:gd name="connsiteY1053" fmla="*/ 444728 h 6121401"/>
              <a:gd name="connsiteX1054" fmla="*/ 3855712 w 4021668"/>
              <a:gd name="connsiteY1054" fmla="*/ 456480 h 6121401"/>
              <a:gd name="connsiteX1055" fmla="*/ 3849552 w 4021668"/>
              <a:gd name="connsiteY1055" fmla="*/ 450603 h 6121401"/>
              <a:gd name="connsiteX1056" fmla="*/ 3837234 w 4021668"/>
              <a:gd name="connsiteY1056" fmla="*/ 464316 h 6121401"/>
              <a:gd name="connsiteX1057" fmla="*/ 3829022 w 4021668"/>
              <a:gd name="connsiteY1057" fmla="*/ 472156 h 6121401"/>
              <a:gd name="connsiteX1058" fmla="*/ 3835183 w 4021668"/>
              <a:gd name="connsiteY1058" fmla="*/ 474113 h 6121401"/>
              <a:gd name="connsiteX1059" fmla="*/ 3847500 w 4021668"/>
              <a:gd name="connsiteY1059" fmla="*/ 472156 h 6121401"/>
              <a:gd name="connsiteX1060" fmla="*/ 3841341 w 4021668"/>
              <a:gd name="connsiteY1060" fmla="*/ 478031 h 6121401"/>
              <a:gd name="connsiteX1061" fmla="*/ 3851606 w 4021668"/>
              <a:gd name="connsiteY1061" fmla="*/ 485868 h 6121401"/>
              <a:gd name="connsiteX1062" fmla="*/ 3876242 w 4021668"/>
              <a:gd name="connsiteY1062" fmla="*/ 458440 h 6121401"/>
              <a:gd name="connsiteX1063" fmla="*/ 3876242 w 4021668"/>
              <a:gd name="connsiteY1063" fmla="*/ 474113 h 6121401"/>
              <a:gd name="connsiteX1064" fmla="*/ 3888561 w 4021668"/>
              <a:gd name="connsiteY1064" fmla="*/ 462358 h 6121401"/>
              <a:gd name="connsiteX1065" fmla="*/ 3894718 w 4021668"/>
              <a:gd name="connsiteY1065" fmla="*/ 470195 h 6121401"/>
              <a:gd name="connsiteX1066" fmla="*/ 3904983 w 4021668"/>
              <a:gd name="connsiteY1066" fmla="*/ 466277 h 6121401"/>
              <a:gd name="connsiteX1067" fmla="*/ 3896770 w 4021668"/>
              <a:gd name="connsiteY1067" fmla="*/ 472156 h 6121401"/>
              <a:gd name="connsiteX1068" fmla="*/ 3898824 w 4021668"/>
              <a:gd name="connsiteY1068" fmla="*/ 481950 h 6121401"/>
              <a:gd name="connsiteX1069" fmla="*/ 3892667 w 4021668"/>
              <a:gd name="connsiteY1069" fmla="*/ 485868 h 6121401"/>
              <a:gd name="connsiteX1070" fmla="*/ 3894718 w 4021668"/>
              <a:gd name="connsiteY1070" fmla="*/ 491748 h 6121401"/>
              <a:gd name="connsiteX1071" fmla="*/ 3888561 w 4021668"/>
              <a:gd name="connsiteY1071" fmla="*/ 493706 h 6121401"/>
              <a:gd name="connsiteX1072" fmla="*/ 3894718 w 4021668"/>
              <a:gd name="connsiteY1072" fmla="*/ 495662 h 6121401"/>
              <a:gd name="connsiteX1073" fmla="*/ 3902932 w 4021668"/>
              <a:gd name="connsiteY1073" fmla="*/ 491748 h 6121401"/>
              <a:gd name="connsiteX1074" fmla="*/ 3921406 w 4021668"/>
              <a:gd name="connsiteY1074" fmla="*/ 460398 h 6121401"/>
              <a:gd name="connsiteX1075" fmla="*/ 3911143 w 4021668"/>
              <a:gd name="connsiteY1075" fmla="*/ 460398 h 6121401"/>
              <a:gd name="connsiteX1076" fmla="*/ 3902932 w 4021668"/>
              <a:gd name="connsiteY1076" fmla="*/ 458440 h 6121401"/>
              <a:gd name="connsiteX1077" fmla="*/ 3896770 w 4021668"/>
              <a:gd name="connsiteY1077" fmla="*/ 450603 h 6121401"/>
              <a:gd name="connsiteX1078" fmla="*/ 3878295 w 4021668"/>
              <a:gd name="connsiteY1078" fmla="*/ 454522 h 6121401"/>
              <a:gd name="connsiteX1079" fmla="*/ 3880349 w 4021668"/>
              <a:gd name="connsiteY1079" fmla="*/ 431011 h 6121401"/>
              <a:gd name="connsiteX1080" fmla="*/ 1529676 w 4021668"/>
              <a:gd name="connsiteY1080" fmla="*/ 427093 h 6121401"/>
              <a:gd name="connsiteX1081" fmla="*/ 1521464 w 4021668"/>
              <a:gd name="connsiteY1081" fmla="*/ 458440 h 6121401"/>
              <a:gd name="connsiteX1082" fmla="*/ 1533782 w 4021668"/>
              <a:gd name="connsiteY1082" fmla="*/ 446685 h 6121401"/>
              <a:gd name="connsiteX1083" fmla="*/ 1531729 w 4021668"/>
              <a:gd name="connsiteY1083" fmla="*/ 436889 h 6121401"/>
              <a:gd name="connsiteX1084" fmla="*/ 1529676 w 4021668"/>
              <a:gd name="connsiteY1084" fmla="*/ 427093 h 6121401"/>
              <a:gd name="connsiteX1085" fmla="*/ 1663121 w 4021668"/>
              <a:gd name="connsiteY1085" fmla="*/ 423176 h 6121401"/>
              <a:gd name="connsiteX1086" fmla="*/ 1656963 w 4021668"/>
              <a:gd name="connsiteY1086" fmla="*/ 434930 h 6121401"/>
              <a:gd name="connsiteX1087" fmla="*/ 1656963 w 4021668"/>
              <a:gd name="connsiteY1087" fmla="*/ 436889 h 6121401"/>
              <a:gd name="connsiteX1088" fmla="*/ 1659015 w 4021668"/>
              <a:gd name="connsiteY1088" fmla="*/ 442767 h 6121401"/>
              <a:gd name="connsiteX1089" fmla="*/ 1663121 w 4021668"/>
              <a:gd name="connsiteY1089" fmla="*/ 434930 h 6121401"/>
              <a:gd name="connsiteX1090" fmla="*/ 1663121 w 4021668"/>
              <a:gd name="connsiteY1090" fmla="*/ 423176 h 6121401"/>
              <a:gd name="connsiteX1091" fmla="*/ 3831076 w 4021668"/>
              <a:gd name="connsiteY1091" fmla="*/ 409462 h 6121401"/>
              <a:gd name="connsiteX1092" fmla="*/ 3822865 w 4021668"/>
              <a:gd name="connsiteY1092" fmla="*/ 413380 h 6121401"/>
              <a:gd name="connsiteX1093" fmla="*/ 3812598 w 4021668"/>
              <a:gd name="connsiteY1093" fmla="*/ 415338 h 6121401"/>
              <a:gd name="connsiteX1094" fmla="*/ 3810547 w 4021668"/>
              <a:gd name="connsiteY1094" fmla="*/ 423176 h 6121401"/>
              <a:gd name="connsiteX1095" fmla="*/ 3816704 w 4021668"/>
              <a:gd name="connsiteY1095" fmla="*/ 427093 h 6121401"/>
              <a:gd name="connsiteX1096" fmla="*/ 3800282 w 4021668"/>
              <a:gd name="connsiteY1096" fmla="*/ 444728 h 6121401"/>
              <a:gd name="connsiteX1097" fmla="*/ 3802333 w 4021668"/>
              <a:gd name="connsiteY1097" fmla="*/ 448646 h 6121401"/>
              <a:gd name="connsiteX1098" fmla="*/ 3804385 w 4021668"/>
              <a:gd name="connsiteY1098" fmla="*/ 446685 h 6121401"/>
              <a:gd name="connsiteX1099" fmla="*/ 3818758 w 4021668"/>
              <a:gd name="connsiteY1099" fmla="*/ 427093 h 6121401"/>
              <a:gd name="connsiteX1100" fmla="*/ 3826970 w 4021668"/>
              <a:gd name="connsiteY1100" fmla="*/ 415338 h 6121401"/>
              <a:gd name="connsiteX1101" fmla="*/ 3829022 w 4021668"/>
              <a:gd name="connsiteY1101" fmla="*/ 417299 h 6121401"/>
              <a:gd name="connsiteX1102" fmla="*/ 3831076 w 4021668"/>
              <a:gd name="connsiteY1102" fmla="*/ 409462 h 6121401"/>
              <a:gd name="connsiteX1103" fmla="*/ 1498882 w 4021668"/>
              <a:gd name="connsiteY1103" fmla="*/ 407502 h 6121401"/>
              <a:gd name="connsiteX1104" fmla="*/ 1496828 w 4021668"/>
              <a:gd name="connsiteY1104" fmla="*/ 419257 h 6121401"/>
              <a:gd name="connsiteX1105" fmla="*/ 1496828 w 4021668"/>
              <a:gd name="connsiteY1105" fmla="*/ 409462 h 6121401"/>
              <a:gd name="connsiteX1106" fmla="*/ 1498882 w 4021668"/>
              <a:gd name="connsiteY1106" fmla="*/ 407502 h 6121401"/>
              <a:gd name="connsiteX1107" fmla="*/ 1886895 w 4021668"/>
              <a:gd name="connsiteY1107" fmla="*/ 405544 h 6121401"/>
              <a:gd name="connsiteX1108" fmla="*/ 1886895 w 4021668"/>
              <a:gd name="connsiteY1108" fmla="*/ 421217 h 6121401"/>
              <a:gd name="connsiteX1109" fmla="*/ 1886895 w 4021668"/>
              <a:gd name="connsiteY1109" fmla="*/ 417299 h 6121401"/>
              <a:gd name="connsiteX1110" fmla="*/ 1886895 w 4021668"/>
              <a:gd name="connsiteY1110" fmla="*/ 415338 h 6121401"/>
              <a:gd name="connsiteX1111" fmla="*/ 1886895 w 4021668"/>
              <a:gd name="connsiteY1111" fmla="*/ 405544 h 6121401"/>
              <a:gd name="connsiteX1112" fmla="*/ 1589215 w 4021668"/>
              <a:gd name="connsiteY1112" fmla="*/ 405544 h 6121401"/>
              <a:gd name="connsiteX1113" fmla="*/ 1581002 w 4021668"/>
              <a:gd name="connsiteY1113" fmla="*/ 419257 h 6121401"/>
              <a:gd name="connsiteX1114" fmla="*/ 1589215 w 4021668"/>
              <a:gd name="connsiteY1114" fmla="*/ 446685 h 6121401"/>
              <a:gd name="connsiteX1115" fmla="*/ 1583054 w 4021668"/>
              <a:gd name="connsiteY1115" fmla="*/ 466277 h 6121401"/>
              <a:gd name="connsiteX1116" fmla="*/ 1587159 w 4021668"/>
              <a:gd name="connsiteY1116" fmla="*/ 472156 h 6121401"/>
              <a:gd name="connsiteX1117" fmla="*/ 1597424 w 4021668"/>
              <a:gd name="connsiteY1117" fmla="*/ 458440 h 6121401"/>
              <a:gd name="connsiteX1118" fmla="*/ 1599478 w 4021668"/>
              <a:gd name="connsiteY1118" fmla="*/ 444728 h 6121401"/>
              <a:gd name="connsiteX1119" fmla="*/ 1597424 w 4021668"/>
              <a:gd name="connsiteY1119" fmla="*/ 429053 h 6121401"/>
              <a:gd name="connsiteX1120" fmla="*/ 1595373 w 4021668"/>
              <a:gd name="connsiteY1120" fmla="*/ 431011 h 6121401"/>
              <a:gd name="connsiteX1121" fmla="*/ 1595373 w 4021668"/>
              <a:gd name="connsiteY1121" fmla="*/ 423176 h 6121401"/>
              <a:gd name="connsiteX1122" fmla="*/ 1593320 w 4021668"/>
              <a:gd name="connsiteY1122" fmla="*/ 417299 h 6121401"/>
              <a:gd name="connsiteX1123" fmla="*/ 1589215 w 4021668"/>
              <a:gd name="connsiteY1123" fmla="*/ 405544 h 6121401"/>
              <a:gd name="connsiteX1124" fmla="*/ 1513251 w 4021668"/>
              <a:gd name="connsiteY1124" fmla="*/ 401626 h 6121401"/>
              <a:gd name="connsiteX1125" fmla="*/ 1500936 w 4021668"/>
              <a:gd name="connsiteY1125" fmla="*/ 464316 h 6121401"/>
              <a:gd name="connsiteX1126" fmla="*/ 1505039 w 4021668"/>
              <a:gd name="connsiteY1126" fmla="*/ 460398 h 6121401"/>
              <a:gd name="connsiteX1127" fmla="*/ 1505039 w 4021668"/>
              <a:gd name="connsiteY1127" fmla="*/ 456480 h 6121401"/>
              <a:gd name="connsiteX1128" fmla="*/ 1507094 w 4021668"/>
              <a:gd name="connsiteY1128" fmla="*/ 440809 h 6121401"/>
              <a:gd name="connsiteX1129" fmla="*/ 1507094 w 4021668"/>
              <a:gd name="connsiteY1129" fmla="*/ 442767 h 6121401"/>
              <a:gd name="connsiteX1130" fmla="*/ 1513251 w 4021668"/>
              <a:gd name="connsiteY1130" fmla="*/ 415338 h 6121401"/>
              <a:gd name="connsiteX1131" fmla="*/ 1513251 w 4021668"/>
              <a:gd name="connsiteY1131" fmla="*/ 401626 h 6121401"/>
              <a:gd name="connsiteX1132" fmla="*/ 3792838 w 4021668"/>
              <a:gd name="connsiteY1132" fmla="*/ 401379 h 6121401"/>
              <a:gd name="connsiteX1133" fmla="*/ 3802333 w 4021668"/>
              <a:gd name="connsiteY1133" fmla="*/ 403585 h 6121401"/>
              <a:gd name="connsiteX1134" fmla="*/ 3797654 w 4021668"/>
              <a:gd name="connsiteY1134" fmla="*/ 416985 h 6121401"/>
              <a:gd name="connsiteX1135" fmla="*/ 3786345 w 4021668"/>
              <a:gd name="connsiteY1135" fmla="*/ 415635 h 6121401"/>
              <a:gd name="connsiteX1136" fmla="*/ 3787964 w 4021668"/>
              <a:gd name="connsiteY1136" fmla="*/ 409462 h 6121401"/>
              <a:gd name="connsiteX1137" fmla="*/ 3792838 w 4021668"/>
              <a:gd name="connsiteY1137" fmla="*/ 401379 h 6121401"/>
              <a:gd name="connsiteX1138" fmla="*/ 3853658 w 4021668"/>
              <a:gd name="connsiteY1138" fmla="*/ 395747 h 6121401"/>
              <a:gd name="connsiteX1139" fmla="*/ 3851606 w 4021668"/>
              <a:gd name="connsiteY1139" fmla="*/ 401626 h 6121401"/>
              <a:gd name="connsiteX1140" fmla="*/ 3853658 w 4021668"/>
              <a:gd name="connsiteY1140" fmla="*/ 401626 h 6121401"/>
              <a:gd name="connsiteX1141" fmla="*/ 3853658 w 4021668"/>
              <a:gd name="connsiteY1141" fmla="*/ 395747 h 6121401"/>
              <a:gd name="connsiteX1142" fmla="*/ 3821744 w 4021668"/>
              <a:gd name="connsiteY1142" fmla="*/ 384175 h 6121401"/>
              <a:gd name="connsiteX1143" fmla="*/ 3820813 w 4021668"/>
              <a:gd name="connsiteY1143" fmla="*/ 385952 h 6121401"/>
              <a:gd name="connsiteX1144" fmla="*/ 3818758 w 4021668"/>
              <a:gd name="connsiteY1144" fmla="*/ 385952 h 6121401"/>
              <a:gd name="connsiteX1145" fmla="*/ 3812598 w 4021668"/>
              <a:gd name="connsiteY1145" fmla="*/ 391829 h 6121401"/>
              <a:gd name="connsiteX1146" fmla="*/ 3818075 w 4021668"/>
              <a:gd name="connsiteY1146" fmla="*/ 394441 h 6121401"/>
              <a:gd name="connsiteX1147" fmla="*/ 3816704 w 4021668"/>
              <a:gd name="connsiteY1147" fmla="*/ 395747 h 6121401"/>
              <a:gd name="connsiteX1148" fmla="*/ 3802333 w 4021668"/>
              <a:gd name="connsiteY1148" fmla="*/ 403585 h 6121401"/>
              <a:gd name="connsiteX1149" fmla="*/ 3813369 w 4021668"/>
              <a:gd name="connsiteY1149" fmla="*/ 388891 h 6121401"/>
              <a:gd name="connsiteX1150" fmla="*/ 3826970 w 4021668"/>
              <a:gd name="connsiteY1150" fmla="*/ 374198 h 6121401"/>
              <a:gd name="connsiteX1151" fmla="*/ 3829022 w 4021668"/>
              <a:gd name="connsiteY1151" fmla="*/ 374198 h 6121401"/>
              <a:gd name="connsiteX1152" fmla="*/ 3829022 w 4021668"/>
              <a:gd name="connsiteY1152" fmla="*/ 380075 h 6121401"/>
              <a:gd name="connsiteX1153" fmla="*/ 3821744 w 4021668"/>
              <a:gd name="connsiteY1153" fmla="*/ 384175 h 6121401"/>
              <a:gd name="connsiteX1154" fmla="*/ 3933830 w 4021668"/>
              <a:gd name="connsiteY1154" fmla="*/ 363223 h 6121401"/>
              <a:gd name="connsiteX1155" fmla="*/ 3931159 w 4021668"/>
              <a:gd name="connsiteY1155" fmla="*/ 366360 h 6121401"/>
              <a:gd name="connsiteX1156" fmla="*/ 3921406 w 4021668"/>
              <a:gd name="connsiteY1156" fmla="*/ 374198 h 6121401"/>
              <a:gd name="connsiteX1157" fmla="*/ 3923461 w 4021668"/>
              <a:gd name="connsiteY1157" fmla="*/ 380075 h 6121401"/>
              <a:gd name="connsiteX1158" fmla="*/ 3907689 w 4021668"/>
              <a:gd name="connsiteY1158" fmla="*/ 387020 h 6121401"/>
              <a:gd name="connsiteX1159" fmla="*/ 3909089 w 4021668"/>
              <a:gd name="connsiteY1159" fmla="*/ 385952 h 6121401"/>
              <a:gd name="connsiteX1160" fmla="*/ 3907037 w 4021668"/>
              <a:gd name="connsiteY1160" fmla="*/ 383994 h 6121401"/>
              <a:gd name="connsiteX1161" fmla="*/ 3904983 w 4021668"/>
              <a:gd name="connsiteY1161" fmla="*/ 383994 h 6121401"/>
              <a:gd name="connsiteX1162" fmla="*/ 3898824 w 4021668"/>
              <a:gd name="connsiteY1162" fmla="*/ 385952 h 6121401"/>
              <a:gd name="connsiteX1163" fmla="*/ 3917300 w 4021668"/>
              <a:gd name="connsiteY1163" fmla="*/ 368318 h 6121401"/>
              <a:gd name="connsiteX1164" fmla="*/ 3769485 w 4021668"/>
              <a:gd name="connsiteY1164" fmla="*/ 362442 h 6121401"/>
              <a:gd name="connsiteX1165" fmla="*/ 3771541 w 4021668"/>
              <a:gd name="connsiteY1165" fmla="*/ 364402 h 6121401"/>
              <a:gd name="connsiteX1166" fmla="*/ 3767434 w 4021668"/>
              <a:gd name="connsiteY1166" fmla="*/ 370279 h 6121401"/>
              <a:gd name="connsiteX1167" fmla="*/ 3765380 w 4021668"/>
              <a:gd name="connsiteY1167" fmla="*/ 368318 h 6121401"/>
              <a:gd name="connsiteX1168" fmla="*/ 3769485 w 4021668"/>
              <a:gd name="connsiteY1168" fmla="*/ 362442 h 6121401"/>
              <a:gd name="connsiteX1169" fmla="*/ 2605443 w 4021668"/>
              <a:gd name="connsiteY1169" fmla="*/ 362442 h 6121401"/>
              <a:gd name="connsiteX1170" fmla="*/ 2605443 w 4021668"/>
              <a:gd name="connsiteY1170" fmla="*/ 366360 h 6121401"/>
              <a:gd name="connsiteX1171" fmla="*/ 2601337 w 4021668"/>
              <a:gd name="connsiteY1171" fmla="*/ 366360 h 6121401"/>
              <a:gd name="connsiteX1172" fmla="*/ 2605443 w 4021668"/>
              <a:gd name="connsiteY1172" fmla="*/ 362442 h 6121401"/>
              <a:gd name="connsiteX1173" fmla="*/ 1541995 w 4021668"/>
              <a:gd name="connsiteY1173" fmla="*/ 356566 h 6121401"/>
              <a:gd name="connsiteX1174" fmla="*/ 1539943 w 4021668"/>
              <a:gd name="connsiteY1174" fmla="*/ 366360 h 6121401"/>
              <a:gd name="connsiteX1175" fmla="*/ 1541995 w 4021668"/>
              <a:gd name="connsiteY1175" fmla="*/ 368318 h 6121401"/>
              <a:gd name="connsiteX1176" fmla="*/ 1541995 w 4021668"/>
              <a:gd name="connsiteY1176" fmla="*/ 356566 h 6121401"/>
              <a:gd name="connsiteX1177" fmla="*/ 2215376 w 4021668"/>
              <a:gd name="connsiteY1177" fmla="*/ 327178 h 6121401"/>
              <a:gd name="connsiteX1178" fmla="*/ 2215376 w 4021668"/>
              <a:gd name="connsiteY1178" fmla="*/ 336974 h 6121401"/>
              <a:gd name="connsiteX1179" fmla="*/ 2219481 w 4021668"/>
              <a:gd name="connsiteY1179" fmla="*/ 329138 h 6121401"/>
              <a:gd name="connsiteX1180" fmla="*/ 2215376 w 4021668"/>
              <a:gd name="connsiteY1180" fmla="*/ 327178 h 6121401"/>
              <a:gd name="connsiteX1181" fmla="*/ 1537887 w 4021668"/>
              <a:gd name="connsiteY1181" fmla="*/ 327178 h 6121401"/>
              <a:gd name="connsiteX1182" fmla="*/ 1539943 w 4021668"/>
              <a:gd name="connsiteY1182" fmla="*/ 327178 h 6121401"/>
              <a:gd name="connsiteX1183" fmla="*/ 1539943 w 4021668"/>
              <a:gd name="connsiteY1183" fmla="*/ 331095 h 6121401"/>
              <a:gd name="connsiteX1184" fmla="*/ 1537887 w 4021668"/>
              <a:gd name="connsiteY1184" fmla="*/ 327178 h 6121401"/>
              <a:gd name="connsiteX1185" fmla="*/ 3904983 w 4021668"/>
              <a:gd name="connsiteY1185" fmla="*/ 313464 h 6121401"/>
              <a:gd name="connsiteX1186" fmla="*/ 3907037 w 4021668"/>
              <a:gd name="connsiteY1186" fmla="*/ 315424 h 6121401"/>
              <a:gd name="connsiteX1187" fmla="*/ 3900879 w 4021668"/>
              <a:gd name="connsiteY1187" fmla="*/ 323260 h 6121401"/>
              <a:gd name="connsiteX1188" fmla="*/ 3896770 w 4021668"/>
              <a:gd name="connsiteY1188" fmla="*/ 321301 h 6121401"/>
              <a:gd name="connsiteX1189" fmla="*/ 3904983 w 4021668"/>
              <a:gd name="connsiteY1189" fmla="*/ 313464 h 6121401"/>
              <a:gd name="connsiteX1190" fmla="*/ 1443452 w 4021668"/>
              <a:gd name="connsiteY1190" fmla="*/ 305628 h 6121401"/>
              <a:gd name="connsiteX1191" fmla="*/ 1445503 w 4021668"/>
              <a:gd name="connsiteY1191" fmla="*/ 309546 h 6121401"/>
              <a:gd name="connsiteX1192" fmla="*/ 1443452 w 4021668"/>
              <a:gd name="connsiteY1192" fmla="*/ 311504 h 6121401"/>
              <a:gd name="connsiteX1193" fmla="*/ 1441397 w 4021668"/>
              <a:gd name="connsiteY1193" fmla="*/ 307586 h 6121401"/>
              <a:gd name="connsiteX1194" fmla="*/ 1443452 w 4021668"/>
              <a:gd name="connsiteY1194" fmla="*/ 305628 h 6121401"/>
              <a:gd name="connsiteX1195" fmla="*/ 3939885 w 4021668"/>
              <a:gd name="connsiteY1195" fmla="*/ 299749 h 6121401"/>
              <a:gd name="connsiteX1196" fmla="*/ 3937575 w 4021668"/>
              <a:gd name="connsiteY1196" fmla="*/ 310525 h 6121401"/>
              <a:gd name="connsiteX1197" fmla="*/ 3932996 w 4021668"/>
              <a:gd name="connsiteY1197" fmla="*/ 312767 h 6121401"/>
              <a:gd name="connsiteX1198" fmla="*/ 3927567 w 4021668"/>
              <a:gd name="connsiteY1198" fmla="*/ 307586 h 6121401"/>
              <a:gd name="connsiteX1199" fmla="*/ 3928050 w 4021668"/>
              <a:gd name="connsiteY1199" fmla="*/ 306202 h 6121401"/>
              <a:gd name="connsiteX1200" fmla="*/ 3927567 w 4021668"/>
              <a:gd name="connsiteY1200" fmla="*/ 289955 h 6121401"/>
              <a:gd name="connsiteX1201" fmla="*/ 3933724 w 4021668"/>
              <a:gd name="connsiteY1201" fmla="*/ 289955 h 6121401"/>
              <a:gd name="connsiteX1202" fmla="*/ 3928050 w 4021668"/>
              <a:gd name="connsiteY1202" fmla="*/ 306202 h 6121401"/>
              <a:gd name="connsiteX1203" fmla="*/ 3925513 w 4021668"/>
              <a:gd name="connsiteY1203" fmla="*/ 307586 h 6121401"/>
              <a:gd name="connsiteX1204" fmla="*/ 3927567 w 4021668"/>
              <a:gd name="connsiteY1204" fmla="*/ 315424 h 6121401"/>
              <a:gd name="connsiteX1205" fmla="*/ 3932996 w 4021668"/>
              <a:gd name="connsiteY1205" fmla="*/ 312767 h 6121401"/>
              <a:gd name="connsiteX1206" fmla="*/ 3933983 w 4021668"/>
              <a:gd name="connsiteY1206" fmla="*/ 313708 h 6121401"/>
              <a:gd name="connsiteX1207" fmla="*/ 3941936 w 4021668"/>
              <a:gd name="connsiteY1207" fmla="*/ 315424 h 6121401"/>
              <a:gd name="connsiteX1208" fmla="*/ 3950149 w 4021668"/>
              <a:gd name="connsiteY1208" fmla="*/ 305628 h 6121401"/>
              <a:gd name="connsiteX1209" fmla="*/ 3980945 w 4021668"/>
              <a:gd name="connsiteY1209" fmla="*/ 299749 h 6121401"/>
              <a:gd name="connsiteX1210" fmla="*/ 3982996 w 4021668"/>
              <a:gd name="connsiteY1210" fmla="*/ 305628 h 6121401"/>
              <a:gd name="connsiteX1211" fmla="*/ 3991209 w 4021668"/>
              <a:gd name="connsiteY1211" fmla="*/ 298444 h 6121401"/>
              <a:gd name="connsiteX1212" fmla="*/ 3991209 w 4021668"/>
              <a:gd name="connsiteY1212" fmla="*/ 303667 h 6121401"/>
              <a:gd name="connsiteX1213" fmla="*/ 4003527 w 4021668"/>
              <a:gd name="connsiteY1213" fmla="*/ 307586 h 6121401"/>
              <a:gd name="connsiteX1214" fmla="*/ 3987103 w 4021668"/>
              <a:gd name="connsiteY1214" fmla="*/ 317382 h 6121401"/>
              <a:gd name="connsiteX1215" fmla="*/ 3946043 w 4021668"/>
              <a:gd name="connsiteY1215" fmla="*/ 348727 h 6121401"/>
              <a:gd name="connsiteX1216" fmla="*/ 3946043 w 4021668"/>
              <a:gd name="connsiteY1216" fmla="*/ 350687 h 6121401"/>
              <a:gd name="connsiteX1217" fmla="*/ 3933981 w 4021668"/>
              <a:gd name="connsiteY1217" fmla="*/ 363176 h 6121401"/>
              <a:gd name="connsiteX1218" fmla="*/ 3933830 w 4021668"/>
              <a:gd name="connsiteY1218" fmla="*/ 363223 h 6121401"/>
              <a:gd name="connsiteX1219" fmla="*/ 3937831 w 4021668"/>
              <a:gd name="connsiteY1219" fmla="*/ 358524 h 6121401"/>
              <a:gd name="connsiteX1220" fmla="*/ 3935779 w 4021668"/>
              <a:gd name="connsiteY1220" fmla="*/ 336974 h 6121401"/>
              <a:gd name="connsiteX1221" fmla="*/ 3931673 w 4021668"/>
              <a:gd name="connsiteY1221" fmla="*/ 336974 h 6121401"/>
              <a:gd name="connsiteX1222" fmla="*/ 3927567 w 4021668"/>
              <a:gd name="connsiteY1222" fmla="*/ 340893 h 6121401"/>
              <a:gd name="connsiteX1223" fmla="*/ 3896770 w 4021668"/>
              <a:gd name="connsiteY1223" fmla="*/ 342851 h 6121401"/>
              <a:gd name="connsiteX1224" fmla="*/ 3904983 w 4021668"/>
              <a:gd name="connsiteY1224" fmla="*/ 327178 h 6121401"/>
              <a:gd name="connsiteX1225" fmla="*/ 3909089 w 4021668"/>
              <a:gd name="connsiteY1225" fmla="*/ 321301 h 6121401"/>
              <a:gd name="connsiteX1226" fmla="*/ 3927567 w 4021668"/>
              <a:gd name="connsiteY1226" fmla="*/ 289955 h 6121401"/>
              <a:gd name="connsiteX1227" fmla="*/ 1673387 w 4021668"/>
              <a:gd name="connsiteY1227" fmla="*/ 284075 h 6121401"/>
              <a:gd name="connsiteX1228" fmla="*/ 1671333 w 4021668"/>
              <a:gd name="connsiteY1228" fmla="*/ 289955 h 6121401"/>
              <a:gd name="connsiteX1229" fmla="*/ 1673387 w 4021668"/>
              <a:gd name="connsiteY1229" fmla="*/ 289955 h 6121401"/>
              <a:gd name="connsiteX1230" fmla="*/ 1673387 w 4021668"/>
              <a:gd name="connsiteY1230" fmla="*/ 284075 h 6121401"/>
              <a:gd name="connsiteX1231" fmla="*/ 1447557 w 4021668"/>
              <a:gd name="connsiteY1231" fmla="*/ 284075 h 6121401"/>
              <a:gd name="connsiteX1232" fmla="*/ 1445503 w 4021668"/>
              <a:gd name="connsiteY1232" fmla="*/ 291915 h 6121401"/>
              <a:gd name="connsiteX1233" fmla="*/ 1441397 w 4021668"/>
              <a:gd name="connsiteY1233" fmla="*/ 289955 h 6121401"/>
              <a:gd name="connsiteX1234" fmla="*/ 1441397 w 4021668"/>
              <a:gd name="connsiteY1234" fmla="*/ 287994 h 6121401"/>
              <a:gd name="connsiteX1235" fmla="*/ 1447557 w 4021668"/>
              <a:gd name="connsiteY1235" fmla="*/ 284075 h 6121401"/>
              <a:gd name="connsiteX1236" fmla="*/ 4005581 w 4021668"/>
              <a:gd name="connsiteY1236" fmla="*/ 276242 h 6121401"/>
              <a:gd name="connsiteX1237" fmla="*/ 4021513 w 4021668"/>
              <a:gd name="connsiteY1237" fmla="*/ 276242 h 6121401"/>
              <a:gd name="connsiteX1238" fmla="*/ 4013976 w 4021668"/>
              <a:gd name="connsiteY1238" fmla="*/ 289473 h 6121401"/>
              <a:gd name="connsiteX1239" fmla="*/ 4011739 w 4021668"/>
              <a:gd name="connsiteY1239" fmla="*/ 291915 h 6121401"/>
              <a:gd name="connsiteX1240" fmla="*/ 4007633 w 4021668"/>
              <a:gd name="connsiteY1240" fmla="*/ 291915 h 6121401"/>
              <a:gd name="connsiteX1241" fmla="*/ 4011739 w 4021668"/>
              <a:gd name="connsiteY1241" fmla="*/ 284075 h 6121401"/>
              <a:gd name="connsiteX1242" fmla="*/ 4007633 w 4021668"/>
              <a:gd name="connsiteY1242" fmla="*/ 284075 h 6121401"/>
              <a:gd name="connsiteX1243" fmla="*/ 3991209 w 4021668"/>
              <a:gd name="connsiteY1243" fmla="*/ 298444 h 6121401"/>
              <a:gd name="connsiteX1244" fmla="*/ 3991209 w 4021668"/>
              <a:gd name="connsiteY1244" fmla="*/ 286035 h 6121401"/>
              <a:gd name="connsiteX1245" fmla="*/ 3992251 w 4021668"/>
              <a:gd name="connsiteY1245" fmla="*/ 285128 h 6121401"/>
              <a:gd name="connsiteX1246" fmla="*/ 3993263 w 4021668"/>
              <a:gd name="connsiteY1246" fmla="*/ 289955 h 6121401"/>
              <a:gd name="connsiteX1247" fmla="*/ 4005581 w 4021668"/>
              <a:gd name="connsiteY1247" fmla="*/ 276242 h 6121401"/>
              <a:gd name="connsiteX1248" fmla="*/ 4021668 w 4021668"/>
              <a:gd name="connsiteY1248" fmla="*/ 275970 h 6121401"/>
              <a:gd name="connsiteX1249" fmla="*/ 4021668 w 4021668"/>
              <a:gd name="connsiteY1249" fmla="*/ 276242 h 6121401"/>
              <a:gd name="connsiteX1250" fmla="*/ 4021513 w 4021668"/>
              <a:gd name="connsiteY1250" fmla="*/ 276242 h 6121401"/>
              <a:gd name="connsiteX1251" fmla="*/ 2268754 w 4021668"/>
              <a:gd name="connsiteY1251" fmla="*/ 266444 h 6121401"/>
              <a:gd name="connsiteX1252" fmla="*/ 2256436 w 4021668"/>
              <a:gd name="connsiteY1252" fmla="*/ 284075 h 6121401"/>
              <a:gd name="connsiteX1253" fmla="*/ 2268754 w 4021668"/>
              <a:gd name="connsiteY1253" fmla="*/ 266444 h 6121401"/>
              <a:gd name="connsiteX1254" fmla="*/ 4008562 w 4021668"/>
              <a:gd name="connsiteY1254" fmla="*/ 255451 h 6121401"/>
              <a:gd name="connsiteX1255" fmla="*/ 4011739 w 4021668"/>
              <a:gd name="connsiteY1255" fmla="*/ 262526 h 6121401"/>
              <a:gd name="connsiteX1256" fmla="*/ 4003014 w 4021668"/>
              <a:gd name="connsiteY1256" fmla="*/ 275750 h 6121401"/>
              <a:gd name="connsiteX1257" fmla="*/ 3992251 w 4021668"/>
              <a:gd name="connsiteY1257" fmla="*/ 285128 h 6121401"/>
              <a:gd name="connsiteX1258" fmla="*/ 3991209 w 4021668"/>
              <a:gd name="connsiteY1258" fmla="*/ 280158 h 6121401"/>
              <a:gd name="connsiteX1259" fmla="*/ 4007633 w 4021668"/>
              <a:gd name="connsiteY1259" fmla="*/ 256651 h 6121401"/>
              <a:gd name="connsiteX1260" fmla="*/ 4021668 w 4021668"/>
              <a:gd name="connsiteY1260" fmla="*/ 238987 h 6121401"/>
              <a:gd name="connsiteX1261" fmla="*/ 4021668 w 4021668"/>
              <a:gd name="connsiteY1261" fmla="*/ 241140 h 6121401"/>
              <a:gd name="connsiteX1262" fmla="*/ 4019952 w 4021668"/>
              <a:gd name="connsiteY1262" fmla="*/ 240977 h 6121401"/>
              <a:gd name="connsiteX1263" fmla="*/ 4021668 w 4021668"/>
              <a:gd name="connsiteY1263" fmla="*/ 222064 h 6121401"/>
              <a:gd name="connsiteX1264" fmla="*/ 4021668 w 4021668"/>
              <a:gd name="connsiteY1264" fmla="*/ 238529 h 6121401"/>
              <a:gd name="connsiteX1265" fmla="*/ 4008562 w 4021668"/>
              <a:gd name="connsiteY1265" fmla="*/ 255451 h 6121401"/>
              <a:gd name="connsiteX1266" fmla="*/ 4005581 w 4021668"/>
              <a:gd name="connsiteY1266" fmla="*/ 248813 h 6121401"/>
              <a:gd name="connsiteX1267" fmla="*/ 4013791 w 4021668"/>
              <a:gd name="connsiteY1267" fmla="*/ 238037 h 6121401"/>
              <a:gd name="connsiteX1268" fmla="*/ 2274911 w 4021668"/>
              <a:gd name="connsiteY1268" fmla="*/ 217466 h 6121401"/>
              <a:gd name="connsiteX1269" fmla="*/ 2272857 w 4021668"/>
              <a:gd name="connsiteY1269" fmla="*/ 223343 h 6121401"/>
              <a:gd name="connsiteX1270" fmla="*/ 2272857 w 4021668"/>
              <a:gd name="connsiteY1270" fmla="*/ 280158 h 6121401"/>
              <a:gd name="connsiteX1271" fmla="*/ 2270805 w 4021668"/>
              <a:gd name="connsiteY1271" fmla="*/ 289955 h 6121401"/>
              <a:gd name="connsiteX1272" fmla="*/ 2270805 w 4021668"/>
              <a:gd name="connsiteY1272" fmla="*/ 303667 h 6121401"/>
              <a:gd name="connsiteX1273" fmla="*/ 2272857 w 4021668"/>
              <a:gd name="connsiteY1273" fmla="*/ 297791 h 6121401"/>
              <a:gd name="connsiteX1274" fmla="*/ 2270805 w 4021668"/>
              <a:gd name="connsiteY1274" fmla="*/ 305628 h 6121401"/>
              <a:gd name="connsiteX1275" fmla="*/ 2274911 w 4021668"/>
              <a:gd name="connsiteY1275" fmla="*/ 305628 h 6121401"/>
              <a:gd name="connsiteX1276" fmla="*/ 2276963 w 4021668"/>
              <a:gd name="connsiteY1276" fmla="*/ 284075 h 6121401"/>
              <a:gd name="connsiteX1277" fmla="*/ 2281072 w 4021668"/>
              <a:gd name="connsiteY1277" fmla="*/ 268404 h 6121401"/>
              <a:gd name="connsiteX1278" fmla="*/ 2281072 w 4021668"/>
              <a:gd name="connsiteY1278" fmla="*/ 256651 h 6121401"/>
              <a:gd name="connsiteX1279" fmla="*/ 2279017 w 4021668"/>
              <a:gd name="connsiteY1279" fmla="*/ 233140 h 6121401"/>
              <a:gd name="connsiteX1280" fmla="*/ 2274911 w 4021668"/>
              <a:gd name="connsiteY1280" fmla="*/ 217466 h 6121401"/>
              <a:gd name="connsiteX1281" fmla="*/ 2252326 w 4021668"/>
              <a:gd name="connsiteY1281" fmla="*/ 217466 h 6121401"/>
              <a:gd name="connsiteX1282" fmla="*/ 2252326 w 4021668"/>
              <a:gd name="connsiteY1282" fmla="*/ 223343 h 6121401"/>
              <a:gd name="connsiteX1283" fmla="*/ 2256436 w 4021668"/>
              <a:gd name="connsiteY1283" fmla="*/ 223343 h 6121401"/>
              <a:gd name="connsiteX1284" fmla="*/ 2256436 w 4021668"/>
              <a:gd name="connsiteY1284" fmla="*/ 217466 h 6121401"/>
              <a:gd name="connsiteX1285" fmla="*/ 2252326 w 4021668"/>
              <a:gd name="connsiteY1285" fmla="*/ 217466 h 6121401"/>
              <a:gd name="connsiteX1286" fmla="*/ 2223587 w 4021668"/>
              <a:gd name="connsiteY1286" fmla="*/ 213548 h 6121401"/>
              <a:gd name="connsiteX1287" fmla="*/ 2219481 w 4021668"/>
              <a:gd name="connsiteY1287" fmla="*/ 217466 h 6121401"/>
              <a:gd name="connsiteX1288" fmla="*/ 2221533 w 4021668"/>
              <a:gd name="connsiteY1288" fmla="*/ 219424 h 6121401"/>
              <a:gd name="connsiteX1289" fmla="*/ 2225639 w 4021668"/>
              <a:gd name="connsiteY1289" fmla="*/ 215506 h 6121401"/>
              <a:gd name="connsiteX1290" fmla="*/ 2223587 w 4021668"/>
              <a:gd name="connsiteY1290" fmla="*/ 213548 h 6121401"/>
              <a:gd name="connsiteX1291" fmla="*/ 2289281 w 4021668"/>
              <a:gd name="connsiteY1291" fmla="*/ 199833 h 6121401"/>
              <a:gd name="connsiteX1292" fmla="*/ 2289281 w 4021668"/>
              <a:gd name="connsiteY1292" fmla="*/ 205712 h 6121401"/>
              <a:gd name="connsiteX1293" fmla="*/ 2289281 w 4021668"/>
              <a:gd name="connsiteY1293" fmla="*/ 233140 h 6121401"/>
              <a:gd name="connsiteX1294" fmla="*/ 2289281 w 4021668"/>
              <a:gd name="connsiteY1294" fmla="*/ 235097 h 6121401"/>
              <a:gd name="connsiteX1295" fmla="*/ 2287230 w 4021668"/>
              <a:gd name="connsiteY1295" fmla="*/ 270362 h 6121401"/>
              <a:gd name="connsiteX1296" fmla="*/ 2289281 w 4021668"/>
              <a:gd name="connsiteY1296" fmla="*/ 280158 h 6121401"/>
              <a:gd name="connsiteX1297" fmla="*/ 2293387 w 4021668"/>
              <a:gd name="connsiteY1297" fmla="*/ 278200 h 6121401"/>
              <a:gd name="connsiteX1298" fmla="*/ 2293387 w 4021668"/>
              <a:gd name="connsiteY1298" fmla="*/ 260566 h 6121401"/>
              <a:gd name="connsiteX1299" fmla="*/ 2289281 w 4021668"/>
              <a:gd name="connsiteY1299" fmla="*/ 199833 h 6121401"/>
              <a:gd name="connsiteX1300" fmla="*/ 2264644 w 4021668"/>
              <a:gd name="connsiteY1300" fmla="*/ 197875 h 6121401"/>
              <a:gd name="connsiteX1301" fmla="*/ 2258487 w 4021668"/>
              <a:gd name="connsiteY1301" fmla="*/ 201793 h 6121401"/>
              <a:gd name="connsiteX1302" fmla="*/ 2258487 w 4021668"/>
              <a:gd name="connsiteY1302" fmla="*/ 215506 h 6121401"/>
              <a:gd name="connsiteX1303" fmla="*/ 2262593 w 4021668"/>
              <a:gd name="connsiteY1303" fmla="*/ 215506 h 6121401"/>
              <a:gd name="connsiteX1304" fmla="*/ 2268754 w 4021668"/>
              <a:gd name="connsiteY1304" fmla="*/ 201793 h 6121401"/>
              <a:gd name="connsiteX1305" fmla="*/ 2264644 w 4021668"/>
              <a:gd name="connsiteY1305" fmla="*/ 197875 h 6121401"/>
              <a:gd name="connsiteX1306" fmla="*/ 2361137 w 4021668"/>
              <a:gd name="connsiteY1306" fmla="*/ 182202 h 6121401"/>
              <a:gd name="connsiteX1307" fmla="*/ 2365242 w 4021668"/>
              <a:gd name="connsiteY1307" fmla="*/ 182202 h 6121401"/>
              <a:gd name="connsiteX1308" fmla="*/ 2365242 w 4021668"/>
              <a:gd name="connsiteY1308" fmla="*/ 184162 h 6121401"/>
              <a:gd name="connsiteX1309" fmla="*/ 2361137 w 4021668"/>
              <a:gd name="connsiteY1309" fmla="*/ 182202 h 6121401"/>
              <a:gd name="connsiteX1310" fmla="*/ 2198950 w 4021668"/>
              <a:gd name="connsiteY1310" fmla="*/ 129306 h 6121401"/>
              <a:gd name="connsiteX1311" fmla="*/ 2194845 w 4021668"/>
              <a:gd name="connsiteY1311" fmla="*/ 139100 h 6121401"/>
              <a:gd name="connsiteX1312" fmla="*/ 2199977 w 4021668"/>
              <a:gd name="connsiteY1312" fmla="*/ 134203 h 6121401"/>
              <a:gd name="connsiteX1313" fmla="*/ 2198950 w 4021668"/>
              <a:gd name="connsiteY1313" fmla="*/ 129306 h 6121401"/>
              <a:gd name="connsiteX1314" fmla="*/ 2272857 w 4021668"/>
              <a:gd name="connsiteY1314" fmla="*/ 127345 h 6121401"/>
              <a:gd name="connsiteX1315" fmla="*/ 2254382 w 4021668"/>
              <a:gd name="connsiteY1315" fmla="*/ 148897 h 6121401"/>
              <a:gd name="connsiteX1316" fmla="*/ 2252326 w 4021668"/>
              <a:gd name="connsiteY1316" fmla="*/ 170446 h 6121401"/>
              <a:gd name="connsiteX1317" fmla="*/ 2260541 w 4021668"/>
              <a:gd name="connsiteY1317" fmla="*/ 168488 h 6121401"/>
              <a:gd name="connsiteX1318" fmla="*/ 2260541 w 4021668"/>
              <a:gd name="connsiteY1318" fmla="*/ 164571 h 6121401"/>
              <a:gd name="connsiteX1319" fmla="*/ 2268754 w 4021668"/>
              <a:gd name="connsiteY1319" fmla="*/ 144979 h 6121401"/>
              <a:gd name="connsiteX1320" fmla="*/ 2272857 w 4021668"/>
              <a:gd name="connsiteY1320" fmla="*/ 148897 h 6121401"/>
              <a:gd name="connsiteX1321" fmla="*/ 2272857 w 4021668"/>
              <a:gd name="connsiteY1321" fmla="*/ 127345 h 6121401"/>
              <a:gd name="connsiteX1322" fmla="*/ 2256436 w 4021668"/>
              <a:gd name="connsiteY1322" fmla="*/ 125387 h 6121401"/>
              <a:gd name="connsiteX1323" fmla="*/ 2252326 w 4021668"/>
              <a:gd name="connsiteY1323" fmla="*/ 133224 h 6121401"/>
              <a:gd name="connsiteX1324" fmla="*/ 2256436 w 4021668"/>
              <a:gd name="connsiteY1324" fmla="*/ 133224 h 6121401"/>
              <a:gd name="connsiteX1325" fmla="*/ 2256436 w 4021668"/>
              <a:gd name="connsiteY1325" fmla="*/ 125387 h 6121401"/>
              <a:gd name="connsiteX1326" fmla="*/ 2274911 w 4021668"/>
              <a:gd name="connsiteY1326" fmla="*/ 113633 h 6121401"/>
              <a:gd name="connsiteX1327" fmla="*/ 2274380 w 4021668"/>
              <a:gd name="connsiteY1327" fmla="*/ 116672 h 6121401"/>
              <a:gd name="connsiteX1328" fmla="*/ 2270051 w 4021668"/>
              <a:gd name="connsiteY1328" fmla="*/ 118273 h 6121401"/>
              <a:gd name="connsiteX1329" fmla="*/ 2213321 w 4021668"/>
              <a:gd name="connsiteY1329" fmla="*/ 103835 h 6121401"/>
              <a:gd name="connsiteX1330" fmla="*/ 2207163 w 4021668"/>
              <a:gd name="connsiteY1330" fmla="*/ 105796 h 6121401"/>
              <a:gd name="connsiteX1331" fmla="*/ 2211269 w 4021668"/>
              <a:gd name="connsiteY1331" fmla="*/ 107754 h 6121401"/>
              <a:gd name="connsiteX1332" fmla="*/ 2215376 w 4021668"/>
              <a:gd name="connsiteY1332" fmla="*/ 105796 h 6121401"/>
              <a:gd name="connsiteX1333" fmla="*/ 2213321 w 4021668"/>
              <a:gd name="connsiteY1333" fmla="*/ 103835 h 6121401"/>
              <a:gd name="connsiteX1334" fmla="*/ 2217427 w 4021668"/>
              <a:gd name="connsiteY1334" fmla="*/ 90123 h 6121401"/>
              <a:gd name="connsiteX1335" fmla="*/ 2217427 w 4021668"/>
              <a:gd name="connsiteY1335" fmla="*/ 97959 h 6121401"/>
              <a:gd name="connsiteX1336" fmla="*/ 2219481 w 4021668"/>
              <a:gd name="connsiteY1336" fmla="*/ 97959 h 6121401"/>
              <a:gd name="connsiteX1337" fmla="*/ 2221533 w 4021668"/>
              <a:gd name="connsiteY1337" fmla="*/ 90123 h 6121401"/>
              <a:gd name="connsiteX1338" fmla="*/ 2217427 w 4021668"/>
              <a:gd name="connsiteY1338" fmla="*/ 90123 h 6121401"/>
              <a:gd name="connsiteX1339" fmla="*/ 2198950 w 4021668"/>
              <a:gd name="connsiteY1339" fmla="*/ 82286 h 6121401"/>
              <a:gd name="connsiteX1340" fmla="*/ 2192791 w 4021668"/>
              <a:gd name="connsiteY1340" fmla="*/ 96001 h 6121401"/>
              <a:gd name="connsiteX1341" fmla="*/ 2192791 w 4021668"/>
              <a:gd name="connsiteY1341" fmla="*/ 111672 h 6121401"/>
              <a:gd name="connsiteX1342" fmla="*/ 2194845 w 4021668"/>
              <a:gd name="connsiteY1342" fmla="*/ 125387 h 6121401"/>
              <a:gd name="connsiteX1343" fmla="*/ 2200747 w 4021668"/>
              <a:gd name="connsiteY1343" fmla="*/ 101632 h 6121401"/>
              <a:gd name="connsiteX1344" fmla="*/ 2198950 w 4021668"/>
              <a:gd name="connsiteY1344" fmla="*/ 82286 h 6121401"/>
              <a:gd name="connsiteX1345" fmla="*/ 2170209 w 4021668"/>
              <a:gd name="connsiteY1345" fmla="*/ 76409 h 6121401"/>
              <a:gd name="connsiteX1346" fmla="*/ 2172261 w 4021668"/>
              <a:gd name="connsiteY1346" fmla="*/ 76409 h 6121401"/>
              <a:gd name="connsiteX1347" fmla="*/ 2170209 w 4021668"/>
              <a:gd name="connsiteY1347" fmla="*/ 80328 h 6121401"/>
              <a:gd name="connsiteX1348" fmla="*/ 2164051 w 4021668"/>
              <a:gd name="connsiteY1348" fmla="*/ 78367 h 6121401"/>
              <a:gd name="connsiteX1349" fmla="*/ 2170209 w 4021668"/>
              <a:gd name="connsiteY1349" fmla="*/ 76409 h 6121401"/>
              <a:gd name="connsiteX1350" fmla="*/ 2328289 w 4021668"/>
              <a:gd name="connsiteY1350" fmla="*/ 0 h 6121401"/>
              <a:gd name="connsiteX1351" fmla="*/ 2332396 w 4021668"/>
              <a:gd name="connsiteY1351" fmla="*/ 25471 h 6121401"/>
              <a:gd name="connsiteX1352" fmla="*/ 2338553 w 4021668"/>
              <a:gd name="connsiteY1352" fmla="*/ 146937 h 6121401"/>
              <a:gd name="connsiteX1353" fmla="*/ 2338553 w 4021668"/>
              <a:gd name="connsiteY1353" fmla="*/ 190038 h 6121401"/>
              <a:gd name="connsiteX1354" fmla="*/ 2352926 w 4021668"/>
              <a:gd name="connsiteY1354" fmla="*/ 237057 h 6121401"/>
              <a:gd name="connsiteX1355" fmla="*/ 2359083 w 4021668"/>
              <a:gd name="connsiteY1355" fmla="*/ 248813 h 6121401"/>
              <a:gd name="connsiteX1356" fmla="*/ 2365242 w 4021668"/>
              <a:gd name="connsiteY1356" fmla="*/ 225304 h 6121401"/>
              <a:gd name="connsiteX1357" fmla="*/ 2367295 w 4021668"/>
              <a:gd name="connsiteY1357" fmla="*/ 191996 h 6121401"/>
              <a:gd name="connsiteX1358" fmla="*/ 2369347 w 4021668"/>
              <a:gd name="connsiteY1358" fmla="*/ 160653 h 6121401"/>
              <a:gd name="connsiteX1359" fmla="*/ 2367295 w 4021668"/>
              <a:gd name="connsiteY1359" fmla="*/ 88163 h 6121401"/>
              <a:gd name="connsiteX1360" fmla="*/ 2377559 w 4021668"/>
              <a:gd name="connsiteY1360" fmla="*/ 162611 h 6121401"/>
              <a:gd name="connsiteX1361" fmla="*/ 2385772 w 4021668"/>
              <a:gd name="connsiteY1361" fmla="*/ 174365 h 6121401"/>
              <a:gd name="connsiteX1362" fmla="*/ 2396038 w 4021668"/>
              <a:gd name="connsiteY1362" fmla="*/ 152813 h 6121401"/>
              <a:gd name="connsiteX1363" fmla="*/ 2402196 w 4021668"/>
              <a:gd name="connsiteY1363" fmla="*/ 148897 h 6121401"/>
              <a:gd name="connsiteX1364" fmla="*/ 2408356 w 4021668"/>
              <a:gd name="connsiteY1364" fmla="*/ 150855 h 6121401"/>
              <a:gd name="connsiteX1365" fmla="*/ 2412461 w 4021668"/>
              <a:gd name="connsiteY1365" fmla="*/ 168488 h 6121401"/>
              <a:gd name="connsiteX1366" fmla="*/ 2400144 w 4021668"/>
              <a:gd name="connsiteY1366" fmla="*/ 215506 h 6121401"/>
              <a:gd name="connsiteX1367" fmla="*/ 2396038 w 4021668"/>
              <a:gd name="connsiteY1367" fmla="*/ 237057 h 6121401"/>
              <a:gd name="connsiteX1368" fmla="*/ 2391932 w 4021668"/>
              <a:gd name="connsiteY1368" fmla="*/ 338933 h 6121401"/>
              <a:gd name="connsiteX1369" fmla="*/ 2393983 w 4021668"/>
              <a:gd name="connsiteY1369" fmla="*/ 366360 h 6121401"/>
              <a:gd name="connsiteX1370" fmla="*/ 2393983 w 4021668"/>
              <a:gd name="connsiteY1370" fmla="*/ 370279 h 6121401"/>
              <a:gd name="connsiteX1371" fmla="*/ 2396038 w 4021668"/>
              <a:gd name="connsiteY1371" fmla="*/ 370279 h 6121401"/>
              <a:gd name="connsiteX1372" fmla="*/ 2393983 w 4021668"/>
              <a:gd name="connsiteY1372" fmla="*/ 378115 h 6121401"/>
              <a:gd name="connsiteX1373" fmla="*/ 2391932 w 4021668"/>
              <a:gd name="connsiteY1373" fmla="*/ 378115 h 6121401"/>
              <a:gd name="connsiteX1374" fmla="*/ 2391932 w 4021668"/>
              <a:gd name="connsiteY1374" fmla="*/ 389871 h 6121401"/>
              <a:gd name="connsiteX1375" fmla="*/ 2385772 w 4021668"/>
              <a:gd name="connsiteY1375" fmla="*/ 395747 h 6121401"/>
              <a:gd name="connsiteX1376" fmla="*/ 2385772 w 4021668"/>
              <a:gd name="connsiteY1376" fmla="*/ 405544 h 6121401"/>
              <a:gd name="connsiteX1377" fmla="*/ 2389878 w 4021668"/>
              <a:gd name="connsiteY1377" fmla="*/ 403585 h 6121401"/>
              <a:gd name="connsiteX1378" fmla="*/ 2393983 w 4021668"/>
              <a:gd name="connsiteY1378" fmla="*/ 395747 h 6121401"/>
              <a:gd name="connsiteX1379" fmla="*/ 2412461 w 4021668"/>
              <a:gd name="connsiteY1379" fmla="*/ 399664 h 6121401"/>
              <a:gd name="connsiteX1380" fmla="*/ 2414514 w 4021668"/>
              <a:gd name="connsiteY1380" fmla="*/ 403585 h 6121401"/>
              <a:gd name="connsiteX1381" fmla="*/ 2418619 w 4021668"/>
              <a:gd name="connsiteY1381" fmla="*/ 399664 h 6121401"/>
              <a:gd name="connsiteX1382" fmla="*/ 2416569 w 4021668"/>
              <a:gd name="connsiteY1382" fmla="*/ 413380 h 6121401"/>
              <a:gd name="connsiteX1383" fmla="*/ 2420674 w 4021668"/>
              <a:gd name="connsiteY1383" fmla="*/ 425136 h 6121401"/>
              <a:gd name="connsiteX1384" fmla="*/ 2420674 w 4021668"/>
              <a:gd name="connsiteY1384" fmla="*/ 415338 h 6121401"/>
              <a:gd name="connsiteX1385" fmla="*/ 2426832 w 4021668"/>
              <a:gd name="connsiteY1385" fmla="*/ 385952 h 6121401"/>
              <a:gd name="connsiteX1386" fmla="*/ 2435045 w 4021668"/>
              <a:gd name="connsiteY1386" fmla="*/ 276242 h 6121401"/>
              <a:gd name="connsiteX1387" fmla="*/ 2441204 w 4021668"/>
              <a:gd name="connsiteY1387" fmla="*/ 264484 h 6121401"/>
              <a:gd name="connsiteX1388" fmla="*/ 2455573 w 4021668"/>
              <a:gd name="connsiteY1388" fmla="*/ 278200 h 6121401"/>
              <a:gd name="connsiteX1389" fmla="*/ 2457626 w 4021668"/>
              <a:gd name="connsiteY1389" fmla="*/ 301709 h 6121401"/>
              <a:gd name="connsiteX1390" fmla="*/ 2467892 w 4021668"/>
              <a:gd name="connsiteY1390" fmla="*/ 315424 h 6121401"/>
              <a:gd name="connsiteX1391" fmla="*/ 2469943 w 4021668"/>
              <a:gd name="connsiteY1391" fmla="*/ 311504 h 6121401"/>
              <a:gd name="connsiteX1392" fmla="*/ 2474050 w 4021668"/>
              <a:gd name="connsiteY1392" fmla="*/ 295833 h 6121401"/>
              <a:gd name="connsiteX1393" fmla="*/ 2478156 w 4021668"/>
              <a:gd name="connsiteY1393" fmla="*/ 303667 h 6121401"/>
              <a:gd name="connsiteX1394" fmla="*/ 2478156 w 4021668"/>
              <a:gd name="connsiteY1394" fmla="*/ 309546 h 6121401"/>
              <a:gd name="connsiteX1395" fmla="*/ 2480209 w 4021668"/>
              <a:gd name="connsiteY1395" fmla="*/ 311504 h 6121401"/>
              <a:gd name="connsiteX1396" fmla="*/ 2478156 w 4021668"/>
              <a:gd name="connsiteY1396" fmla="*/ 311504 h 6121401"/>
              <a:gd name="connsiteX1397" fmla="*/ 2484317 w 4021668"/>
              <a:gd name="connsiteY1397" fmla="*/ 350687 h 6121401"/>
              <a:gd name="connsiteX1398" fmla="*/ 2486368 w 4021668"/>
              <a:gd name="connsiteY1398" fmla="*/ 389871 h 6121401"/>
              <a:gd name="connsiteX1399" fmla="*/ 2490474 w 4021668"/>
              <a:gd name="connsiteY1399" fmla="*/ 421217 h 6121401"/>
              <a:gd name="connsiteX1400" fmla="*/ 2500740 w 4021668"/>
              <a:gd name="connsiteY1400" fmla="*/ 415338 h 6121401"/>
              <a:gd name="connsiteX1401" fmla="*/ 2492528 w 4021668"/>
              <a:gd name="connsiteY1401" fmla="*/ 434930 h 6121401"/>
              <a:gd name="connsiteX1402" fmla="*/ 2490474 w 4021668"/>
              <a:gd name="connsiteY1402" fmla="*/ 431011 h 6121401"/>
              <a:gd name="connsiteX1403" fmla="*/ 2492528 w 4021668"/>
              <a:gd name="connsiteY1403" fmla="*/ 446685 h 6121401"/>
              <a:gd name="connsiteX1404" fmla="*/ 2494580 w 4021668"/>
              <a:gd name="connsiteY1404" fmla="*/ 446685 h 6121401"/>
              <a:gd name="connsiteX1405" fmla="*/ 2496635 w 4021668"/>
              <a:gd name="connsiteY1405" fmla="*/ 448646 h 6121401"/>
              <a:gd name="connsiteX1406" fmla="*/ 2494580 w 4021668"/>
              <a:gd name="connsiteY1406" fmla="*/ 448646 h 6121401"/>
              <a:gd name="connsiteX1407" fmla="*/ 2496635 w 4021668"/>
              <a:gd name="connsiteY1407" fmla="*/ 479989 h 6121401"/>
              <a:gd name="connsiteX1408" fmla="*/ 2496635 w 4021668"/>
              <a:gd name="connsiteY1408" fmla="*/ 485868 h 6121401"/>
              <a:gd name="connsiteX1409" fmla="*/ 2494580 w 4021668"/>
              <a:gd name="connsiteY1409" fmla="*/ 497623 h 6121401"/>
              <a:gd name="connsiteX1410" fmla="*/ 2496635 w 4021668"/>
              <a:gd name="connsiteY1410" fmla="*/ 501541 h 6121401"/>
              <a:gd name="connsiteX1411" fmla="*/ 2500740 w 4021668"/>
              <a:gd name="connsiteY1411" fmla="*/ 501541 h 6121401"/>
              <a:gd name="connsiteX1412" fmla="*/ 2496635 w 4021668"/>
              <a:gd name="connsiteY1412" fmla="*/ 519172 h 6121401"/>
              <a:gd name="connsiteX1413" fmla="*/ 2492528 w 4021668"/>
              <a:gd name="connsiteY1413" fmla="*/ 525049 h 6121401"/>
              <a:gd name="connsiteX1414" fmla="*/ 2488423 w 4021668"/>
              <a:gd name="connsiteY1414" fmla="*/ 552479 h 6121401"/>
              <a:gd name="connsiteX1415" fmla="*/ 2488423 w 4021668"/>
              <a:gd name="connsiteY1415" fmla="*/ 575987 h 6121401"/>
              <a:gd name="connsiteX1416" fmla="*/ 2502793 w 4021668"/>
              <a:gd name="connsiteY1416" fmla="*/ 574030 h 6121401"/>
              <a:gd name="connsiteX1417" fmla="*/ 2502793 w 4021668"/>
              <a:gd name="connsiteY1417" fmla="*/ 570110 h 6121401"/>
              <a:gd name="connsiteX1418" fmla="*/ 2498686 w 4021668"/>
              <a:gd name="connsiteY1418" fmla="*/ 570110 h 6121401"/>
              <a:gd name="connsiteX1419" fmla="*/ 2502793 w 4021668"/>
              <a:gd name="connsiteY1419" fmla="*/ 560317 h 6121401"/>
              <a:gd name="connsiteX1420" fmla="*/ 2504847 w 4021668"/>
              <a:gd name="connsiteY1420" fmla="*/ 497623 h 6121401"/>
              <a:gd name="connsiteX1421" fmla="*/ 2513059 w 4021668"/>
              <a:gd name="connsiteY1421" fmla="*/ 505460 h 6121401"/>
              <a:gd name="connsiteX1422" fmla="*/ 2511004 w 4021668"/>
              <a:gd name="connsiteY1422" fmla="*/ 472156 h 6121401"/>
              <a:gd name="connsiteX1423" fmla="*/ 2517165 w 4021668"/>
              <a:gd name="connsiteY1423" fmla="*/ 474113 h 6121401"/>
              <a:gd name="connsiteX1424" fmla="*/ 2517165 w 4021668"/>
              <a:gd name="connsiteY1424" fmla="*/ 470195 h 6121401"/>
              <a:gd name="connsiteX1425" fmla="*/ 2500740 w 4021668"/>
              <a:gd name="connsiteY1425" fmla="*/ 301709 h 6121401"/>
              <a:gd name="connsiteX1426" fmla="*/ 2500740 w 4021668"/>
              <a:gd name="connsiteY1426" fmla="*/ 282117 h 6121401"/>
              <a:gd name="connsiteX1427" fmla="*/ 2508952 w 4021668"/>
              <a:gd name="connsiteY1427" fmla="*/ 291915 h 6121401"/>
              <a:gd name="connsiteX1428" fmla="*/ 2513059 w 4021668"/>
              <a:gd name="connsiteY1428" fmla="*/ 284075 h 6121401"/>
              <a:gd name="connsiteX1429" fmla="*/ 2513059 w 4021668"/>
              <a:gd name="connsiteY1429" fmla="*/ 299749 h 6121401"/>
              <a:gd name="connsiteX1430" fmla="*/ 2519216 w 4021668"/>
              <a:gd name="connsiteY1430" fmla="*/ 327178 h 6121401"/>
              <a:gd name="connsiteX1431" fmla="*/ 2529482 w 4021668"/>
              <a:gd name="connsiteY1431" fmla="*/ 325220 h 6121401"/>
              <a:gd name="connsiteX1432" fmla="*/ 2521270 w 4021668"/>
              <a:gd name="connsiteY1432" fmla="*/ 333055 h 6121401"/>
              <a:gd name="connsiteX1433" fmla="*/ 2529482 w 4021668"/>
              <a:gd name="connsiteY1433" fmla="*/ 434930 h 6121401"/>
              <a:gd name="connsiteX1434" fmla="*/ 2531534 w 4021668"/>
              <a:gd name="connsiteY1434" fmla="*/ 454522 h 6121401"/>
              <a:gd name="connsiteX1435" fmla="*/ 2535641 w 4021668"/>
              <a:gd name="connsiteY1435" fmla="*/ 458440 h 6121401"/>
              <a:gd name="connsiteX1436" fmla="*/ 2552065 w 4021668"/>
              <a:gd name="connsiteY1436" fmla="*/ 466277 h 6121401"/>
              <a:gd name="connsiteX1437" fmla="*/ 2578752 w 4021668"/>
              <a:gd name="connsiteY1437" fmla="*/ 360484 h 6121401"/>
              <a:gd name="connsiteX1438" fmla="*/ 2578752 w 4021668"/>
              <a:gd name="connsiteY1438" fmla="*/ 389871 h 6121401"/>
              <a:gd name="connsiteX1439" fmla="*/ 2582859 w 4021668"/>
              <a:gd name="connsiteY1439" fmla="*/ 387911 h 6121401"/>
              <a:gd name="connsiteX1440" fmla="*/ 2582859 w 4021668"/>
              <a:gd name="connsiteY1440" fmla="*/ 395747 h 6121401"/>
              <a:gd name="connsiteX1441" fmla="*/ 2595176 w 4021668"/>
              <a:gd name="connsiteY1441" fmla="*/ 389871 h 6121401"/>
              <a:gd name="connsiteX1442" fmla="*/ 2603389 w 4021668"/>
              <a:gd name="connsiteY1442" fmla="*/ 389871 h 6121401"/>
              <a:gd name="connsiteX1443" fmla="*/ 2611600 w 4021668"/>
              <a:gd name="connsiteY1443" fmla="*/ 374198 h 6121401"/>
              <a:gd name="connsiteX1444" fmla="*/ 2609548 w 4021668"/>
              <a:gd name="connsiteY1444" fmla="*/ 393789 h 6121401"/>
              <a:gd name="connsiteX1445" fmla="*/ 2613655 w 4021668"/>
              <a:gd name="connsiteY1445" fmla="*/ 397707 h 6121401"/>
              <a:gd name="connsiteX1446" fmla="*/ 2617761 w 4021668"/>
              <a:gd name="connsiteY1446" fmla="*/ 401626 h 6121401"/>
              <a:gd name="connsiteX1447" fmla="*/ 2621867 w 4021668"/>
              <a:gd name="connsiteY1447" fmla="*/ 354606 h 6121401"/>
              <a:gd name="connsiteX1448" fmla="*/ 2628024 w 4021668"/>
              <a:gd name="connsiteY1448" fmla="*/ 313464 h 6121401"/>
              <a:gd name="connsiteX1449" fmla="*/ 2636237 w 4021668"/>
              <a:gd name="connsiteY1449" fmla="*/ 313464 h 6121401"/>
              <a:gd name="connsiteX1450" fmla="*/ 2636237 w 4021668"/>
              <a:gd name="connsiteY1450" fmla="*/ 342851 h 6121401"/>
              <a:gd name="connsiteX1451" fmla="*/ 2644449 w 4021668"/>
              <a:gd name="connsiteY1451" fmla="*/ 338933 h 6121401"/>
              <a:gd name="connsiteX1452" fmla="*/ 2650609 w 4021668"/>
              <a:gd name="connsiteY1452" fmla="*/ 344811 h 6121401"/>
              <a:gd name="connsiteX1453" fmla="*/ 2654713 w 4021668"/>
              <a:gd name="connsiteY1453" fmla="*/ 335013 h 6121401"/>
              <a:gd name="connsiteX1454" fmla="*/ 2654713 w 4021668"/>
              <a:gd name="connsiteY1454" fmla="*/ 350687 h 6121401"/>
              <a:gd name="connsiteX1455" fmla="*/ 2634185 w 4021668"/>
              <a:gd name="connsiteY1455" fmla="*/ 362442 h 6121401"/>
              <a:gd name="connsiteX1456" fmla="*/ 2638290 w 4021668"/>
              <a:gd name="connsiteY1456" fmla="*/ 389871 h 6121401"/>
              <a:gd name="connsiteX1457" fmla="*/ 2640343 w 4021668"/>
              <a:gd name="connsiteY1457" fmla="*/ 391829 h 6121401"/>
              <a:gd name="connsiteX1458" fmla="*/ 2646504 w 4021668"/>
              <a:gd name="connsiteY1458" fmla="*/ 385952 h 6121401"/>
              <a:gd name="connsiteX1459" fmla="*/ 2640343 w 4021668"/>
              <a:gd name="connsiteY1459" fmla="*/ 399664 h 6121401"/>
              <a:gd name="connsiteX1460" fmla="*/ 2628024 w 4021668"/>
              <a:gd name="connsiteY1460" fmla="*/ 421217 h 6121401"/>
              <a:gd name="connsiteX1461" fmla="*/ 2628024 w 4021668"/>
              <a:gd name="connsiteY1461" fmla="*/ 425136 h 6121401"/>
              <a:gd name="connsiteX1462" fmla="*/ 2628024 w 4021668"/>
              <a:gd name="connsiteY1462" fmla="*/ 431011 h 6121401"/>
              <a:gd name="connsiteX1463" fmla="*/ 2632131 w 4021668"/>
              <a:gd name="connsiteY1463" fmla="*/ 472156 h 6121401"/>
              <a:gd name="connsiteX1464" fmla="*/ 2634185 w 4021668"/>
              <a:gd name="connsiteY1464" fmla="*/ 464316 h 6121401"/>
              <a:gd name="connsiteX1465" fmla="*/ 2638290 w 4021668"/>
              <a:gd name="connsiteY1465" fmla="*/ 523091 h 6121401"/>
              <a:gd name="connsiteX1466" fmla="*/ 2642395 w 4021668"/>
              <a:gd name="connsiteY1466" fmla="*/ 519172 h 6121401"/>
              <a:gd name="connsiteX1467" fmla="*/ 2644449 w 4021668"/>
              <a:gd name="connsiteY1467" fmla="*/ 507418 h 6121401"/>
              <a:gd name="connsiteX1468" fmla="*/ 2646504 w 4021668"/>
              <a:gd name="connsiteY1468" fmla="*/ 487827 h 6121401"/>
              <a:gd name="connsiteX1469" fmla="*/ 2648554 w 4021668"/>
              <a:gd name="connsiteY1469" fmla="*/ 487827 h 6121401"/>
              <a:gd name="connsiteX1470" fmla="*/ 2648554 w 4021668"/>
              <a:gd name="connsiteY1470" fmla="*/ 485868 h 6121401"/>
              <a:gd name="connsiteX1471" fmla="*/ 2652661 w 4021668"/>
              <a:gd name="connsiteY1471" fmla="*/ 476071 h 6121401"/>
              <a:gd name="connsiteX1472" fmla="*/ 2656766 w 4021668"/>
              <a:gd name="connsiteY1472" fmla="*/ 468237 h 6121401"/>
              <a:gd name="connsiteX1473" fmla="*/ 2660873 w 4021668"/>
              <a:gd name="connsiteY1473" fmla="*/ 456480 h 6121401"/>
              <a:gd name="connsiteX1474" fmla="*/ 2662925 w 4021668"/>
              <a:gd name="connsiteY1474" fmla="*/ 464316 h 6121401"/>
              <a:gd name="connsiteX1475" fmla="*/ 2652661 w 4021668"/>
              <a:gd name="connsiteY1475" fmla="*/ 485868 h 6121401"/>
              <a:gd name="connsiteX1476" fmla="*/ 2656766 w 4021668"/>
              <a:gd name="connsiteY1476" fmla="*/ 489787 h 6121401"/>
              <a:gd name="connsiteX1477" fmla="*/ 2658819 w 4021668"/>
              <a:gd name="connsiteY1477" fmla="*/ 487827 h 6121401"/>
              <a:gd name="connsiteX1478" fmla="*/ 2664979 w 4021668"/>
              <a:gd name="connsiteY1478" fmla="*/ 479989 h 6121401"/>
              <a:gd name="connsiteX1479" fmla="*/ 2677298 w 4021668"/>
              <a:gd name="connsiteY1479" fmla="*/ 466277 h 6121401"/>
              <a:gd name="connsiteX1480" fmla="*/ 2679348 w 4021668"/>
              <a:gd name="connsiteY1480" fmla="*/ 456480 h 6121401"/>
              <a:gd name="connsiteX1481" fmla="*/ 2693722 w 4021668"/>
              <a:gd name="connsiteY1481" fmla="*/ 450603 h 6121401"/>
              <a:gd name="connsiteX1482" fmla="*/ 2681403 w 4021668"/>
              <a:gd name="connsiteY1482" fmla="*/ 468237 h 6121401"/>
              <a:gd name="connsiteX1483" fmla="*/ 2685509 w 4021668"/>
              <a:gd name="connsiteY1483" fmla="*/ 472156 h 6121401"/>
              <a:gd name="connsiteX1484" fmla="*/ 2747096 w 4021668"/>
              <a:gd name="connsiteY1484" fmla="*/ 405544 h 6121401"/>
              <a:gd name="connsiteX1485" fmla="*/ 2794318 w 4021668"/>
              <a:gd name="connsiteY1485" fmla="*/ 354606 h 6121401"/>
              <a:gd name="connsiteX1486" fmla="*/ 2901072 w 4021668"/>
              <a:gd name="connsiteY1486" fmla="*/ 203753 h 6121401"/>
              <a:gd name="connsiteX1487" fmla="*/ 2905178 w 4021668"/>
              <a:gd name="connsiteY1487" fmla="*/ 197875 h 6121401"/>
              <a:gd name="connsiteX1488" fmla="*/ 2964715 w 4021668"/>
              <a:gd name="connsiteY1488" fmla="*/ 131264 h 6121401"/>
              <a:gd name="connsiteX1489" fmla="*/ 3020147 w 4021668"/>
              <a:gd name="connsiteY1489" fmla="*/ 88163 h 6121401"/>
              <a:gd name="connsiteX1490" fmla="*/ 3055047 w 4021668"/>
              <a:gd name="connsiteY1490" fmla="*/ 64652 h 6121401"/>
              <a:gd name="connsiteX1491" fmla="*/ 3061204 w 4021668"/>
              <a:gd name="connsiteY1491" fmla="*/ 62694 h 6121401"/>
              <a:gd name="connsiteX1492" fmla="*/ 3081735 w 4021668"/>
              <a:gd name="connsiteY1492" fmla="*/ 52899 h 6121401"/>
              <a:gd name="connsiteX1493" fmla="*/ 3126902 w 4021668"/>
              <a:gd name="connsiteY1493" fmla="*/ 35265 h 6121401"/>
              <a:gd name="connsiteX1494" fmla="*/ 3200809 w 4021668"/>
              <a:gd name="connsiteY1494" fmla="*/ 43103 h 6121401"/>
              <a:gd name="connsiteX1495" fmla="*/ 3206967 w 4021668"/>
              <a:gd name="connsiteY1495" fmla="*/ 43103 h 6121401"/>
              <a:gd name="connsiteX1496" fmla="*/ 3229548 w 4021668"/>
              <a:gd name="connsiteY1496" fmla="*/ 43103 h 6121401"/>
              <a:gd name="connsiteX1497" fmla="*/ 3254185 w 4021668"/>
              <a:gd name="connsiteY1497" fmla="*/ 50938 h 6121401"/>
              <a:gd name="connsiteX1498" fmla="*/ 3276770 w 4021668"/>
              <a:gd name="connsiteY1498" fmla="*/ 64652 h 6121401"/>
              <a:gd name="connsiteX1499" fmla="*/ 3293194 w 4021668"/>
              <a:gd name="connsiteY1499" fmla="*/ 76409 h 6121401"/>
              <a:gd name="connsiteX1500" fmla="*/ 3334252 w 4021668"/>
              <a:gd name="connsiteY1500" fmla="*/ 101877 h 6121401"/>
              <a:gd name="connsiteX1501" fmla="*/ 3356837 w 4021668"/>
              <a:gd name="connsiteY1501" fmla="*/ 115589 h 6121401"/>
              <a:gd name="connsiteX1502" fmla="*/ 3389683 w 4021668"/>
              <a:gd name="connsiteY1502" fmla="*/ 143018 h 6121401"/>
              <a:gd name="connsiteX1503" fmla="*/ 3393790 w 4021668"/>
              <a:gd name="connsiteY1503" fmla="*/ 146937 h 6121401"/>
              <a:gd name="connsiteX1504" fmla="*/ 3414318 w 4021668"/>
              <a:gd name="connsiteY1504" fmla="*/ 162611 h 6121401"/>
              <a:gd name="connsiteX1505" fmla="*/ 3443061 w 4021668"/>
              <a:gd name="connsiteY1505" fmla="*/ 199833 h 6121401"/>
              <a:gd name="connsiteX1506" fmla="*/ 3451272 w 4021668"/>
              <a:gd name="connsiteY1506" fmla="*/ 209631 h 6121401"/>
              <a:gd name="connsiteX1507" fmla="*/ 3463591 w 4021668"/>
              <a:gd name="connsiteY1507" fmla="*/ 235097 h 6121401"/>
              <a:gd name="connsiteX1508" fmla="*/ 3471802 w 4021668"/>
              <a:gd name="connsiteY1508" fmla="*/ 264484 h 6121401"/>
              <a:gd name="connsiteX1509" fmla="*/ 3480015 w 4021668"/>
              <a:gd name="connsiteY1509" fmla="*/ 289955 h 6121401"/>
              <a:gd name="connsiteX1510" fmla="*/ 3480015 w 4021668"/>
              <a:gd name="connsiteY1510" fmla="*/ 327178 h 6121401"/>
              <a:gd name="connsiteX1511" fmla="*/ 3469750 w 4021668"/>
              <a:gd name="connsiteY1511" fmla="*/ 368318 h 6121401"/>
              <a:gd name="connsiteX1512" fmla="*/ 3406108 w 4021668"/>
              <a:gd name="connsiteY1512" fmla="*/ 503500 h 6121401"/>
              <a:gd name="connsiteX1513" fmla="*/ 3387630 w 4021668"/>
              <a:gd name="connsiteY1513" fmla="*/ 546601 h 6121401"/>
              <a:gd name="connsiteX1514" fmla="*/ 3381473 w 4021668"/>
              <a:gd name="connsiteY1514" fmla="*/ 562275 h 6121401"/>
              <a:gd name="connsiteX1515" fmla="*/ 3395843 w 4021668"/>
              <a:gd name="connsiteY1515" fmla="*/ 560317 h 6121401"/>
              <a:gd name="connsiteX1516" fmla="*/ 3420478 w 4021668"/>
              <a:gd name="connsiteY1516" fmla="*/ 552479 h 6121401"/>
              <a:gd name="connsiteX1517" fmla="*/ 3502599 w 4021668"/>
              <a:gd name="connsiteY1517" fmla="*/ 519172 h 6121401"/>
              <a:gd name="connsiteX1518" fmla="*/ 3506705 w 4021668"/>
              <a:gd name="connsiteY1518" fmla="*/ 513297 h 6121401"/>
              <a:gd name="connsiteX1519" fmla="*/ 3514915 w 4021668"/>
              <a:gd name="connsiteY1519" fmla="*/ 503500 h 6121401"/>
              <a:gd name="connsiteX1520" fmla="*/ 3533393 w 4021668"/>
              <a:gd name="connsiteY1520" fmla="*/ 489787 h 6121401"/>
              <a:gd name="connsiteX1521" fmla="*/ 3527233 w 4021668"/>
              <a:gd name="connsiteY1521" fmla="*/ 507418 h 6121401"/>
              <a:gd name="connsiteX1522" fmla="*/ 3531339 w 4021668"/>
              <a:gd name="connsiteY1522" fmla="*/ 505460 h 6121401"/>
              <a:gd name="connsiteX1523" fmla="*/ 3574453 w 4021668"/>
              <a:gd name="connsiteY1523" fmla="*/ 487827 h 6121401"/>
              <a:gd name="connsiteX1524" fmla="*/ 3586772 w 4021668"/>
              <a:gd name="connsiteY1524" fmla="*/ 460398 h 6121401"/>
              <a:gd name="connsiteX1525" fmla="*/ 3588823 w 4021668"/>
              <a:gd name="connsiteY1525" fmla="*/ 466277 h 6121401"/>
              <a:gd name="connsiteX1526" fmla="*/ 3584717 w 4021668"/>
              <a:gd name="connsiteY1526" fmla="*/ 483908 h 6121401"/>
              <a:gd name="connsiteX1527" fmla="*/ 3638095 w 4021668"/>
              <a:gd name="connsiteY1527" fmla="*/ 460398 h 6121401"/>
              <a:gd name="connsiteX1528" fmla="*/ 3681208 w 4021668"/>
              <a:gd name="connsiteY1528" fmla="*/ 444728 h 6121401"/>
              <a:gd name="connsiteX1529" fmla="*/ 3738692 w 4021668"/>
              <a:gd name="connsiteY1529" fmla="*/ 425136 h 6121401"/>
              <a:gd name="connsiteX1530" fmla="*/ 3744850 w 4021668"/>
              <a:gd name="connsiteY1530" fmla="*/ 417299 h 6121401"/>
              <a:gd name="connsiteX1531" fmla="*/ 3753061 w 4021668"/>
              <a:gd name="connsiteY1531" fmla="*/ 397707 h 6121401"/>
              <a:gd name="connsiteX1532" fmla="*/ 3738692 w 4021668"/>
              <a:gd name="connsiteY1532" fmla="*/ 401626 h 6121401"/>
              <a:gd name="connsiteX1533" fmla="*/ 3757168 w 4021668"/>
              <a:gd name="connsiteY1533" fmla="*/ 382033 h 6121401"/>
              <a:gd name="connsiteX1534" fmla="*/ 3759222 w 4021668"/>
              <a:gd name="connsiteY1534" fmla="*/ 389871 h 6121401"/>
              <a:gd name="connsiteX1535" fmla="*/ 3777698 w 4021668"/>
              <a:gd name="connsiteY1535" fmla="*/ 376155 h 6121401"/>
              <a:gd name="connsiteX1536" fmla="*/ 3771541 w 4021668"/>
              <a:gd name="connsiteY1536" fmla="*/ 364402 h 6121401"/>
              <a:gd name="connsiteX1537" fmla="*/ 3765380 w 4021668"/>
              <a:gd name="connsiteY1537" fmla="*/ 356566 h 6121401"/>
              <a:gd name="connsiteX1538" fmla="*/ 3777698 w 4021668"/>
              <a:gd name="connsiteY1538" fmla="*/ 342851 h 6121401"/>
              <a:gd name="connsiteX1539" fmla="*/ 3787964 w 4021668"/>
              <a:gd name="connsiteY1539" fmla="*/ 346769 h 6121401"/>
              <a:gd name="connsiteX1540" fmla="*/ 3790017 w 4021668"/>
              <a:gd name="connsiteY1540" fmla="*/ 364402 h 6121401"/>
              <a:gd name="connsiteX1541" fmla="*/ 3798228 w 4021668"/>
              <a:gd name="connsiteY1541" fmla="*/ 358524 h 6121401"/>
              <a:gd name="connsiteX1542" fmla="*/ 3785910 w 4021668"/>
              <a:gd name="connsiteY1542" fmla="*/ 374198 h 6121401"/>
              <a:gd name="connsiteX1543" fmla="*/ 3781803 w 4021668"/>
              <a:gd name="connsiteY1543" fmla="*/ 376155 h 6121401"/>
              <a:gd name="connsiteX1544" fmla="*/ 3779752 w 4021668"/>
              <a:gd name="connsiteY1544" fmla="*/ 380075 h 6121401"/>
              <a:gd name="connsiteX1545" fmla="*/ 3769485 w 4021668"/>
              <a:gd name="connsiteY1545" fmla="*/ 399664 h 6121401"/>
              <a:gd name="connsiteX1546" fmla="*/ 3781803 w 4021668"/>
              <a:gd name="connsiteY1546" fmla="*/ 393789 h 6121401"/>
              <a:gd name="connsiteX1547" fmla="*/ 3781803 w 4021668"/>
              <a:gd name="connsiteY1547" fmla="*/ 401626 h 6121401"/>
              <a:gd name="connsiteX1548" fmla="*/ 3771541 w 4021668"/>
              <a:gd name="connsiteY1548" fmla="*/ 415338 h 6121401"/>
              <a:gd name="connsiteX1549" fmla="*/ 3783858 w 4021668"/>
              <a:gd name="connsiteY1549" fmla="*/ 415338 h 6121401"/>
              <a:gd name="connsiteX1550" fmla="*/ 3786345 w 4021668"/>
              <a:gd name="connsiteY1550" fmla="*/ 415635 h 6121401"/>
              <a:gd name="connsiteX1551" fmla="*/ 3785910 w 4021668"/>
              <a:gd name="connsiteY1551" fmla="*/ 417299 h 6121401"/>
              <a:gd name="connsiteX1552" fmla="*/ 3794122 w 4021668"/>
              <a:gd name="connsiteY1552" fmla="*/ 427093 h 6121401"/>
              <a:gd name="connsiteX1553" fmla="*/ 3797654 w 4021668"/>
              <a:gd name="connsiteY1553" fmla="*/ 416985 h 6121401"/>
              <a:gd name="connsiteX1554" fmla="*/ 3800282 w 4021668"/>
              <a:gd name="connsiteY1554" fmla="*/ 417299 h 6121401"/>
              <a:gd name="connsiteX1555" fmla="*/ 3820813 w 4021668"/>
              <a:gd name="connsiteY1555" fmla="*/ 399664 h 6121401"/>
              <a:gd name="connsiteX1556" fmla="*/ 3820813 w 4021668"/>
              <a:gd name="connsiteY1556" fmla="*/ 395747 h 6121401"/>
              <a:gd name="connsiteX1557" fmla="*/ 3818075 w 4021668"/>
              <a:gd name="connsiteY1557" fmla="*/ 394441 h 6121401"/>
              <a:gd name="connsiteX1558" fmla="*/ 3818758 w 4021668"/>
              <a:gd name="connsiteY1558" fmla="*/ 393789 h 6121401"/>
              <a:gd name="connsiteX1559" fmla="*/ 3820813 w 4021668"/>
              <a:gd name="connsiteY1559" fmla="*/ 389871 h 6121401"/>
              <a:gd name="connsiteX1560" fmla="*/ 3829022 w 4021668"/>
              <a:gd name="connsiteY1560" fmla="*/ 380075 h 6121401"/>
              <a:gd name="connsiteX1561" fmla="*/ 3829022 w 4021668"/>
              <a:gd name="connsiteY1561" fmla="*/ 383994 h 6121401"/>
              <a:gd name="connsiteX1562" fmla="*/ 3833128 w 4021668"/>
              <a:gd name="connsiteY1562" fmla="*/ 382033 h 6121401"/>
              <a:gd name="connsiteX1563" fmla="*/ 3835183 w 4021668"/>
              <a:gd name="connsiteY1563" fmla="*/ 382033 h 6121401"/>
              <a:gd name="connsiteX1564" fmla="*/ 3835183 w 4021668"/>
              <a:gd name="connsiteY1564" fmla="*/ 383994 h 6121401"/>
              <a:gd name="connsiteX1565" fmla="*/ 3861870 w 4021668"/>
              <a:gd name="connsiteY1565" fmla="*/ 383994 h 6121401"/>
              <a:gd name="connsiteX1566" fmla="*/ 3863924 w 4021668"/>
              <a:gd name="connsiteY1566" fmla="*/ 382033 h 6121401"/>
              <a:gd name="connsiteX1567" fmla="*/ 3868030 w 4021668"/>
              <a:gd name="connsiteY1567" fmla="*/ 380075 h 6121401"/>
              <a:gd name="connsiteX1568" fmla="*/ 3872137 w 4021668"/>
              <a:gd name="connsiteY1568" fmla="*/ 383994 h 6121401"/>
              <a:gd name="connsiteX1569" fmla="*/ 3876242 w 4021668"/>
              <a:gd name="connsiteY1569" fmla="*/ 387911 h 6121401"/>
              <a:gd name="connsiteX1570" fmla="*/ 3882400 w 4021668"/>
              <a:gd name="connsiteY1570" fmla="*/ 383994 h 6121401"/>
              <a:gd name="connsiteX1571" fmla="*/ 3896770 w 4021668"/>
              <a:gd name="connsiteY1571" fmla="*/ 391829 h 6121401"/>
              <a:gd name="connsiteX1572" fmla="*/ 3907689 w 4021668"/>
              <a:gd name="connsiteY1572" fmla="*/ 387020 h 6121401"/>
              <a:gd name="connsiteX1573" fmla="*/ 3898824 w 4021668"/>
              <a:gd name="connsiteY1573" fmla="*/ 393789 h 6121401"/>
              <a:gd name="connsiteX1574" fmla="*/ 3900879 w 4021668"/>
              <a:gd name="connsiteY1574" fmla="*/ 397707 h 6121401"/>
              <a:gd name="connsiteX1575" fmla="*/ 3892667 w 4021668"/>
              <a:gd name="connsiteY1575" fmla="*/ 407502 h 6121401"/>
              <a:gd name="connsiteX1576" fmla="*/ 3890613 w 4021668"/>
              <a:gd name="connsiteY1576" fmla="*/ 399664 h 6121401"/>
              <a:gd name="connsiteX1577" fmla="*/ 3886507 w 4021668"/>
              <a:gd name="connsiteY1577" fmla="*/ 403585 h 6121401"/>
              <a:gd name="connsiteX1578" fmla="*/ 3890613 w 4021668"/>
              <a:gd name="connsiteY1578" fmla="*/ 417299 h 6121401"/>
              <a:gd name="connsiteX1579" fmla="*/ 3884452 w 4021668"/>
              <a:gd name="connsiteY1579" fmla="*/ 423176 h 6121401"/>
              <a:gd name="connsiteX1580" fmla="*/ 3886507 w 4021668"/>
              <a:gd name="connsiteY1580" fmla="*/ 425136 h 6121401"/>
              <a:gd name="connsiteX1581" fmla="*/ 3923461 w 4021668"/>
              <a:gd name="connsiteY1581" fmla="*/ 444728 h 6121401"/>
              <a:gd name="connsiteX1582" fmla="*/ 3931673 w 4021668"/>
              <a:gd name="connsiteY1582" fmla="*/ 431011 h 6121401"/>
              <a:gd name="connsiteX1583" fmla="*/ 3929619 w 4021668"/>
              <a:gd name="connsiteY1583" fmla="*/ 431011 h 6121401"/>
              <a:gd name="connsiteX1584" fmla="*/ 3913197 w 4021668"/>
              <a:gd name="connsiteY1584" fmla="*/ 429053 h 6121401"/>
              <a:gd name="connsiteX1585" fmla="*/ 3919354 w 4021668"/>
              <a:gd name="connsiteY1585" fmla="*/ 423176 h 6121401"/>
              <a:gd name="connsiteX1586" fmla="*/ 3921406 w 4021668"/>
              <a:gd name="connsiteY1586" fmla="*/ 403585 h 6121401"/>
              <a:gd name="connsiteX1587" fmla="*/ 3925513 w 4021668"/>
              <a:gd name="connsiteY1587" fmla="*/ 417299 h 6121401"/>
              <a:gd name="connsiteX1588" fmla="*/ 3929619 w 4021668"/>
              <a:gd name="connsiteY1588" fmla="*/ 413380 h 6121401"/>
              <a:gd name="connsiteX1589" fmla="*/ 3937831 w 4021668"/>
              <a:gd name="connsiteY1589" fmla="*/ 409462 h 6121401"/>
              <a:gd name="connsiteX1590" fmla="*/ 3946043 w 4021668"/>
              <a:gd name="connsiteY1590" fmla="*/ 407502 h 6121401"/>
              <a:gd name="connsiteX1591" fmla="*/ 3948097 w 4021668"/>
              <a:gd name="connsiteY1591" fmla="*/ 405544 h 6121401"/>
              <a:gd name="connsiteX1592" fmla="*/ 3948097 w 4021668"/>
              <a:gd name="connsiteY1592" fmla="*/ 397707 h 6121401"/>
              <a:gd name="connsiteX1593" fmla="*/ 3950149 w 4021668"/>
              <a:gd name="connsiteY1593" fmla="*/ 387911 h 6121401"/>
              <a:gd name="connsiteX1594" fmla="*/ 3974785 w 4021668"/>
              <a:gd name="connsiteY1594" fmla="*/ 352648 h 6121401"/>
              <a:gd name="connsiteX1595" fmla="*/ 3989157 w 4021668"/>
              <a:gd name="connsiteY1595" fmla="*/ 333055 h 6121401"/>
              <a:gd name="connsiteX1596" fmla="*/ 4013976 w 4021668"/>
              <a:gd name="connsiteY1596" fmla="*/ 289473 h 6121401"/>
              <a:gd name="connsiteX1597" fmla="*/ 4021668 w 4021668"/>
              <a:gd name="connsiteY1597" fmla="*/ 281084 h 6121401"/>
              <a:gd name="connsiteX1598" fmla="*/ 4021668 w 4021668"/>
              <a:gd name="connsiteY1598" fmla="*/ 6121401 h 6121401"/>
              <a:gd name="connsiteX1599" fmla="*/ 3840553 w 4021668"/>
              <a:gd name="connsiteY1599" fmla="*/ 6121401 h 6121401"/>
              <a:gd name="connsiteX1600" fmla="*/ 3849552 w 4021668"/>
              <a:gd name="connsiteY1600" fmla="*/ 6108591 h 6121401"/>
              <a:gd name="connsiteX1601" fmla="*/ 3833742 w 4021668"/>
              <a:gd name="connsiteY1601" fmla="*/ 6121401 h 6121401"/>
              <a:gd name="connsiteX1602" fmla="*/ 837771 w 4021668"/>
              <a:gd name="connsiteY1602" fmla="*/ 6121401 h 6121401"/>
              <a:gd name="connsiteX1603" fmla="*/ 836793 w 4021668"/>
              <a:gd name="connsiteY1603" fmla="*/ 6118878 h 6121401"/>
              <a:gd name="connsiteX1604" fmla="*/ 825501 w 4021668"/>
              <a:gd name="connsiteY1604" fmla="*/ 6108591 h 6121401"/>
              <a:gd name="connsiteX1605" fmla="*/ 813185 w 4021668"/>
              <a:gd name="connsiteY1605" fmla="*/ 6094878 h 6121401"/>
              <a:gd name="connsiteX1606" fmla="*/ 798812 w 4021668"/>
              <a:gd name="connsiteY1606" fmla="*/ 6079205 h 6121401"/>
              <a:gd name="connsiteX1607" fmla="*/ 794706 w 4021668"/>
              <a:gd name="connsiteY1607" fmla="*/ 6055696 h 6121401"/>
              <a:gd name="connsiteX1608" fmla="*/ 798812 w 4021668"/>
              <a:gd name="connsiteY1608" fmla="*/ 6034146 h 6121401"/>
              <a:gd name="connsiteX1609" fmla="*/ 804971 w 4021668"/>
              <a:gd name="connsiteY1609" fmla="*/ 6010636 h 6121401"/>
              <a:gd name="connsiteX1610" fmla="*/ 809079 w 4021668"/>
              <a:gd name="connsiteY1610" fmla="*/ 5987126 h 6121401"/>
              <a:gd name="connsiteX1611" fmla="*/ 819343 w 4021668"/>
              <a:gd name="connsiteY1611" fmla="*/ 5963616 h 6121401"/>
              <a:gd name="connsiteX1612" fmla="*/ 843978 w 4021668"/>
              <a:gd name="connsiteY1612" fmla="*/ 5918556 h 6121401"/>
              <a:gd name="connsiteX1613" fmla="*/ 870666 w 4021668"/>
              <a:gd name="connsiteY1613" fmla="*/ 5881333 h 6121401"/>
              <a:gd name="connsiteX1614" fmla="*/ 850137 w 4021668"/>
              <a:gd name="connsiteY1614" fmla="*/ 5840190 h 6121401"/>
              <a:gd name="connsiteX1615" fmla="*/ 882985 w 4021668"/>
              <a:gd name="connsiteY1615" fmla="*/ 5779456 h 6121401"/>
              <a:gd name="connsiteX1616" fmla="*/ 882985 w 4021668"/>
              <a:gd name="connsiteY1616" fmla="*/ 5769662 h 6121401"/>
              <a:gd name="connsiteX1617" fmla="*/ 889145 w 4021668"/>
              <a:gd name="connsiteY1617" fmla="*/ 5761825 h 6121401"/>
              <a:gd name="connsiteX1618" fmla="*/ 897357 w 4021668"/>
              <a:gd name="connsiteY1618" fmla="*/ 5748110 h 6121401"/>
              <a:gd name="connsiteX1619" fmla="*/ 899409 w 4021668"/>
              <a:gd name="connsiteY1619" fmla="*/ 5738316 h 6121401"/>
              <a:gd name="connsiteX1620" fmla="*/ 938415 w 4021668"/>
              <a:gd name="connsiteY1620" fmla="*/ 5663867 h 6121401"/>
              <a:gd name="connsiteX1621" fmla="*/ 944575 w 4021668"/>
              <a:gd name="connsiteY1621" fmla="*/ 5656031 h 6121401"/>
              <a:gd name="connsiteX1622" fmla="*/ 967157 w 4021668"/>
              <a:gd name="connsiteY1622" fmla="*/ 5624684 h 6121401"/>
              <a:gd name="connsiteX1623" fmla="*/ 973317 w 4021668"/>
              <a:gd name="connsiteY1623" fmla="*/ 5610972 h 6121401"/>
              <a:gd name="connsiteX1624" fmla="*/ 989741 w 4021668"/>
              <a:gd name="connsiteY1624" fmla="*/ 5581585 h 6121401"/>
              <a:gd name="connsiteX1625" fmla="*/ 1004111 w 4021668"/>
              <a:gd name="connsiteY1625" fmla="*/ 5569829 h 6121401"/>
              <a:gd name="connsiteX1626" fmla="*/ 1006165 w 4021668"/>
              <a:gd name="connsiteY1626" fmla="*/ 5556115 h 6121401"/>
              <a:gd name="connsiteX1627" fmla="*/ 1016429 w 4021668"/>
              <a:gd name="connsiteY1627" fmla="*/ 5538483 h 6121401"/>
              <a:gd name="connsiteX1628" fmla="*/ 1010269 w 4021668"/>
              <a:gd name="connsiteY1628" fmla="*/ 5530647 h 6121401"/>
              <a:gd name="connsiteX1629" fmla="*/ 1002060 w 4021668"/>
              <a:gd name="connsiteY1629" fmla="*/ 5520851 h 6121401"/>
              <a:gd name="connsiteX1630" fmla="*/ 1000005 w 4021668"/>
              <a:gd name="connsiteY1630" fmla="*/ 5507137 h 6121401"/>
              <a:gd name="connsiteX1631" fmla="*/ 1002060 w 4021668"/>
              <a:gd name="connsiteY1631" fmla="*/ 5495382 h 6121401"/>
              <a:gd name="connsiteX1632" fmla="*/ 1006165 w 4021668"/>
              <a:gd name="connsiteY1632" fmla="*/ 5481669 h 6121401"/>
              <a:gd name="connsiteX1633" fmla="*/ 1008217 w 4021668"/>
              <a:gd name="connsiteY1633" fmla="*/ 5467953 h 6121401"/>
              <a:gd name="connsiteX1634" fmla="*/ 1014378 w 4021668"/>
              <a:gd name="connsiteY1634" fmla="*/ 5454240 h 6121401"/>
              <a:gd name="connsiteX1635" fmla="*/ 1026693 w 4021668"/>
              <a:gd name="connsiteY1635" fmla="*/ 5432691 h 6121401"/>
              <a:gd name="connsiteX1636" fmla="*/ 1018483 w 4021668"/>
              <a:gd name="connsiteY1636" fmla="*/ 5420936 h 6121401"/>
              <a:gd name="connsiteX1637" fmla="*/ 1002060 w 4021668"/>
              <a:gd name="connsiteY1637" fmla="*/ 5405262 h 6121401"/>
              <a:gd name="connsiteX1638" fmla="*/ 944575 w 4021668"/>
              <a:gd name="connsiteY1638" fmla="*/ 5442486 h 6121401"/>
              <a:gd name="connsiteX1639" fmla="*/ 932257 w 4021668"/>
              <a:gd name="connsiteY1639" fmla="*/ 5424854 h 6121401"/>
              <a:gd name="connsiteX1640" fmla="*/ 924045 w 4021668"/>
              <a:gd name="connsiteY1640" fmla="*/ 5418976 h 6121401"/>
              <a:gd name="connsiteX1641" fmla="*/ 909675 w 4021668"/>
              <a:gd name="connsiteY1641" fmla="*/ 5403302 h 6121401"/>
              <a:gd name="connsiteX1642" fmla="*/ 905569 w 4021668"/>
              <a:gd name="connsiteY1642" fmla="*/ 5387629 h 6121401"/>
              <a:gd name="connsiteX1643" fmla="*/ 905569 w 4021668"/>
              <a:gd name="connsiteY1643" fmla="*/ 5377834 h 6121401"/>
              <a:gd name="connsiteX1644" fmla="*/ 901463 w 4021668"/>
              <a:gd name="connsiteY1644" fmla="*/ 5366079 h 6121401"/>
              <a:gd name="connsiteX1645" fmla="*/ 891197 w 4021668"/>
              <a:gd name="connsiteY1645" fmla="*/ 5352363 h 6121401"/>
              <a:gd name="connsiteX1646" fmla="*/ 891197 w 4021668"/>
              <a:gd name="connsiteY1646" fmla="*/ 5346488 h 6121401"/>
              <a:gd name="connsiteX1647" fmla="*/ 893250 w 4021668"/>
              <a:gd name="connsiteY1647" fmla="*/ 5340612 h 6121401"/>
              <a:gd name="connsiteX1648" fmla="*/ 891197 w 4021668"/>
              <a:gd name="connsiteY1648" fmla="*/ 5330814 h 6121401"/>
              <a:gd name="connsiteX1649" fmla="*/ 889145 w 4021668"/>
              <a:gd name="connsiteY1649" fmla="*/ 5319059 h 6121401"/>
              <a:gd name="connsiteX1650" fmla="*/ 891197 w 4021668"/>
              <a:gd name="connsiteY1650" fmla="*/ 5313183 h 6121401"/>
              <a:gd name="connsiteX1651" fmla="*/ 878879 w 4021668"/>
              <a:gd name="connsiteY1651" fmla="*/ 5283794 h 6121401"/>
              <a:gd name="connsiteX1652" fmla="*/ 876827 w 4021668"/>
              <a:gd name="connsiteY1652" fmla="*/ 5264203 h 6121401"/>
              <a:gd name="connsiteX1653" fmla="*/ 876827 w 4021668"/>
              <a:gd name="connsiteY1653" fmla="*/ 5246572 h 6121401"/>
              <a:gd name="connsiteX1654" fmla="*/ 866561 w 4021668"/>
              <a:gd name="connsiteY1654" fmla="*/ 5236776 h 6121401"/>
              <a:gd name="connsiteX1655" fmla="*/ 852191 w 4021668"/>
              <a:gd name="connsiteY1655" fmla="*/ 5230899 h 6121401"/>
              <a:gd name="connsiteX1656" fmla="*/ 841924 w 4021668"/>
              <a:gd name="connsiteY1656" fmla="*/ 5232858 h 6121401"/>
              <a:gd name="connsiteX1657" fmla="*/ 829607 w 4021668"/>
              <a:gd name="connsiteY1657" fmla="*/ 5234816 h 6121401"/>
              <a:gd name="connsiteX1658" fmla="*/ 819343 w 4021668"/>
              <a:gd name="connsiteY1658" fmla="*/ 5228941 h 6121401"/>
              <a:gd name="connsiteX1659" fmla="*/ 813185 w 4021668"/>
              <a:gd name="connsiteY1659" fmla="*/ 5221103 h 6121401"/>
              <a:gd name="connsiteX1660" fmla="*/ 821394 w 4021668"/>
              <a:gd name="connsiteY1660" fmla="*/ 5199552 h 6121401"/>
              <a:gd name="connsiteX1661" fmla="*/ 829607 w 4021668"/>
              <a:gd name="connsiteY1661" fmla="*/ 5193676 h 6121401"/>
              <a:gd name="connsiteX1662" fmla="*/ 852191 w 4021668"/>
              <a:gd name="connsiteY1662" fmla="*/ 5170165 h 6121401"/>
              <a:gd name="connsiteX1663" fmla="*/ 858351 w 4021668"/>
              <a:gd name="connsiteY1663" fmla="*/ 5170165 h 6121401"/>
              <a:gd name="connsiteX1664" fmla="*/ 864509 w 4021668"/>
              <a:gd name="connsiteY1664" fmla="*/ 5174084 h 6121401"/>
              <a:gd name="connsiteX1665" fmla="*/ 876827 w 4021668"/>
              <a:gd name="connsiteY1665" fmla="*/ 5166247 h 6121401"/>
              <a:gd name="connsiteX1666" fmla="*/ 882985 w 4021668"/>
              <a:gd name="connsiteY1666" fmla="*/ 5156452 h 6121401"/>
              <a:gd name="connsiteX1667" fmla="*/ 885039 w 4021668"/>
              <a:gd name="connsiteY1667" fmla="*/ 5154492 h 6121401"/>
              <a:gd name="connsiteX1668" fmla="*/ 907621 w 4021668"/>
              <a:gd name="connsiteY1668" fmla="*/ 5117269 h 6121401"/>
              <a:gd name="connsiteX1669" fmla="*/ 907621 w 4021668"/>
              <a:gd name="connsiteY1669" fmla="*/ 5111391 h 6121401"/>
              <a:gd name="connsiteX1670" fmla="*/ 905569 w 4021668"/>
              <a:gd name="connsiteY1670" fmla="*/ 5103554 h 6121401"/>
              <a:gd name="connsiteX1671" fmla="*/ 891197 w 4021668"/>
              <a:gd name="connsiteY1671" fmla="*/ 5083962 h 6121401"/>
              <a:gd name="connsiteX1672" fmla="*/ 887091 w 4021668"/>
              <a:gd name="connsiteY1672" fmla="*/ 5078086 h 6121401"/>
              <a:gd name="connsiteX1673" fmla="*/ 878879 w 4021668"/>
              <a:gd name="connsiteY1673" fmla="*/ 5058495 h 6121401"/>
              <a:gd name="connsiteX1674" fmla="*/ 870666 w 4021668"/>
              <a:gd name="connsiteY1674" fmla="*/ 5042821 h 6121401"/>
              <a:gd name="connsiteX1675" fmla="*/ 854243 w 4021668"/>
              <a:gd name="connsiteY1675" fmla="*/ 5042821 h 6121401"/>
              <a:gd name="connsiteX1676" fmla="*/ 856297 w 4021668"/>
              <a:gd name="connsiteY1676" fmla="*/ 5019310 h 6121401"/>
              <a:gd name="connsiteX1677" fmla="*/ 837821 w 4021668"/>
              <a:gd name="connsiteY1677" fmla="*/ 5015393 h 6121401"/>
              <a:gd name="connsiteX1678" fmla="*/ 823448 w 4021668"/>
              <a:gd name="connsiteY1678" fmla="*/ 5001679 h 6121401"/>
              <a:gd name="connsiteX1679" fmla="*/ 821394 w 4021668"/>
              <a:gd name="connsiteY1679" fmla="*/ 4993844 h 6121401"/>
              <a:gd name="connsiteX1680" fmla="*/ 807025 w 4021668"/>
              <a:gd name="connsiteY1680" fmla="*/ 4980130 h 6121401"/>
              <a:gd name="connsiteX1681" fmla="*/ 800865 w 4021668"/>
              <a:gd name="connsiteY1681" fmla="*/ 4974251 h 6121401"/>
              <a:gd name="connsiteX1682" fmla="*/ 796761 w 4021668"/>
              <a:gd name="connsiteY1682" fmla="*/ 4960539 h 6121401"/>
              <a:gd name="connsiteX1683" fmla="*/ 765965 w 4021668"/>
              <a:gd name="connsiteY1683" fmla="*/ 5017354 h 6121401"/>
              <a:gd name="connsiteX1684" fmla="*/ 753646 w 4021668"/>
              <a:gd name="connsiteY1684" fmla="*/ 4999719 h 6121401"/>
              <a:gd name="connsiteX1685" fmla="*/ 753646 w 4021668"/>
              <a:gd name="connsiteY1685" fmla="*/ 4991884 h 6121401"/>
              <a:gd name="connsiteX1686" fmla="*/ 741329 w 4021668"/>
              <a:gd name="connsiteY1686" fmla="*/ 4993844 h 6121401"/>
              <a:gd name="connsiteX1687" fmla="*/ 737221 w 4021668"/>
              <a:gd name="connsiteY1687" fmla="*/ 4991884 h 6121401"/>
              <a:gd name="connsiteX1688" fmla="*/ 747489 w 4021668"/>
              <a:gd name="connsiteY1688" fmla="*/ 4984049 h 6121401"/>
              <a:gd name="connsiteX1689" fmla="*/ 747489 w 4021668"/>
              <a:gd name="connsiteY1689" fmla="*/ 4982088 h 6121401"/>
              <a:gd name="connsiteX1690" fmla="*/ 712585 w 4021668"/>
              <a:gd name="connsiteY1690" fmla="*/ 4986006 h 6121401"/>
              <a:gd name="connsiteX1691" fmla="*/ 716695 w 4021668"/>
              <a:gd name="connsiteY1691" fmla="*/ 4976210 h 6121401"/>
              <a:gd name="connsiteX1692" fmla="*/ 714639 w 4021668"/>
              <a:gd name="connsiteY1692" fmla="*/ 4968376 h 6121401"/>
              <a:gd name="connsiteX1693" fmla="*/ 710533 w 4021668"/>
              <a:gd name="connsiteY1693" fmla="*/ 4972290 h 6121401"/>
              <a:gd name="connsiteX1694" fmla="*/ 710533 w 4021668"/>
              <a:gd name="connsiteY1694" fmla="*/ 4978170 h 6121401"/>
              <a:gd name="connsiteX1695" fmla="*/ 698215 w 4021668"/>
              <a:gd name="connsiteY1695" fmla="*/ 4974251 h 6121401"/>
              <a:gd name="connsiteX1696" fmla="*/ 685898 w 4021668"/>
              <a:gd name="connsiteY1696" fmla="*/ 4987967 h 6121401"/>
              <a:gd name="connsiteX1697" fmla="*/ 687952 w 4021668"/>
              <a:gd name="connsiteY1697" fmla="*/ 4993844 h 6121401"/>
              <a:gd name="connsiteX1698" fmla="*/ 702323 w 4021668"/>
              <a:gd name="connsiteY1698" fmla="*/ 4986006 h 6121401"/>
              <a:gd name="connsiteX1699" fmla="*/ 700270 w 4021668"/>
              <a:gd name="connsiteY1699" fmla="*/ 5001679 h 6121401"/>
              <a:gd name="connsiteX1700" fmla="*/ 706428 w 4021668"/>
              <a:gd name="connsiteY1700" fmla="*/ 5007558 h 6121401"/>
              <a:gd name="connsiteX1701" fmla="*/ 700270 w 4021668"/>
              <a:gd name="connsiteY1701" fmla="*/ 5011475 h 6121401"/>
              <a:gd name="connsiteX1702" fmla="*/ 683847 w 4021668"/>
              <a:gd name="connsiteY1702" fmla="*/ 5013435 h 6121401"/>
              <a:gd name="connsiteX1703" fmla="*/ 675634 w 4021668"/>
              <a:gd name="connsiteY1703" fmla="*/ 5007558 h 6121401"/>
              <a:gd name="connsiteX1704" fmla="*/ 661261 w 4021668"/>
              <a:gd name="connsiteY1704" fmla="*/ 5023229 h 6121401"/>
              <a:gd name="connsiteX1705" fmla="*/ 655104 w 4021668"/>
              <a:gd name="connsiteY1705" fmla="*/ 5031066 h 6121401"/>
              <a:gd name="connsiteX1706" fmla="*/ 638679 w 4021668"/>
              <a:gd name="connsiteY1706" fmla="*/ 5050657 h 6121401"/>
              <a:gd name="connsiteX1707" fmla="*/ 626362 w 4021668"/>
              <a:gd name="connsiteY1707" fmla="*/ 5068291 h 6121401"/>
              <a:gd name="connsiteX1708" fmla="*/ 626362 w 4021668"/>
              <a:gd name="connsiteY1708" fmla="*/ 5058495 h 6121401"/>
              <a:gd name="connsiteX1709" fmla="*/ 644837 w 4021668"/>
              <a:gd name="connsiteY1709" fmla="*/ 5033026 h 6121401"/>
              <a:gd name="connsiteX1710" fmla="*/ 659210 w 4021668"/>
              <a:gd name="connsiteY1710" fmla="*/ 5015393 h 6121401"/>
              <a:gd name="connsiteX1711" fmla="*/ 669473 w 4021668"/>
              <a:gd name="connsiteY1711" fmla="*/ 5005598 h 6121401"/>
              <a:gd name="connsiteX1712" fmla="*/ 661261 w 4021668"/>
              <a:gd name="connsiteY1712" fmla="*/ 5005598 h 6121401"/>
              <a:gd name="connsiteX1713" fmla="*/ 661261 w 4021668"/>
              <a:gd name="connsiteY1713" fmla="*/ 5001679 h 6121401"/>
              <a:gd name="connsiteX1714" fmla="*/ 640732 w 4021668"/>
              <a:gd name="connsiteY1714" fmla="*/ 5023229 h 6121401"/>
              <a:gd name="connsiteX1715" fmla="*/ 657155 w 4021668"/>
              <a:gd name="connsiteY1715" fmla="*/ 4999719 h 6121401"/>
              <a:gd name="connsiteX1716" fmla="*/ 663315 w 4021668"/>
              <a:gd name="connsiteY1716" fmla="*/ 4991884 h 6121401"/>
              <a:gd name="connsiteX1717" fmla="*/ 661261 w 4021668"/>
              <a:gd name="connsiteY1717" fmla="*/ 4986006 h 6121401"/>
              <a:gd name="connsiteX1718" fmla="*/ 632522 w 4021668"/>
              <a:gd name="connsiteY1718" fmla="*/ 5017354 h 6121401"/>
              <a:gd name="connsiteX1719" fmla="*/ 632522 w 4021668"/>
              <a:gd name="connsiteY1719" fmla="*/ 5007558 h 6121401"/>
              <a:gd name="connsiteX1720" fmla="*/ 611991 w 4021668"/>
              <a:gd name="connsiteY1720" fmla="*/ 5040861 h 6121401"/>
              <a:gd name="connsiteX1721" fmla="*/ 591462 w 4021668"/>
              <a:gd name="connsiteY1721" fmla="*/ 5052618 h 6121401"/>
              <a:gd name="connsiteX1722" fmla="*/ 581195 w 4021668"/>
              <a:gd name="connsiteY1722" fmla="*/ 5062413 h 6121401"/>
              <a:gd name="connsiteX1723" fmla="*/ 583250 w 4021668"/>
              <a:gd name="connsiteY1723" fmla="*/ 5036945 h 6121401"/>
              <a:gd name="connsiteX1724" fmla="*/ 566826 w 4021668"/>
              <a:gd name="connsiteY1724" fmla="*/ 5054576 h 6121401"/>
              <a:gd name="connsiteX1725" fmla="*/ 552453 w 4021668"/>
              <a:gd name="connsiteY1725" fmla="*/ 5068291 h 6121401"/>
              <a:gd name="connsiteX1726" fmla="*/ 560667 w 4021668"/>
              <a:gd name="connsiteY1726" fmla="*/ 5046739 h 6121401"/>
              <a:gd name="connsiteX1727" fmla="*/ 570931 w 4021668"/>
              <a:gd name="connsiteY1727" fmla="*/ 5025190 h 6121401"/>
              <a:gd name="connsiteX1728" fmla="*/ 575037 w 4021668"/>
              <a:gd name="connsiteY1728" fmla="*/ 5017354 h 6121401"/>
              <a:gd name="connsiteX1729" fmla="*/ 581195 w 4021668"/>
              <a:gd name="connsiteY1729" fmla="*/ 4995801 h 6121401"/>
              <a:gd name="connsiteX1730" fmla="*/ 566826 w 4021668"/>
              <a:gd name="connsiteY1730" fmla="*/ 5021271 h 6121401"/>
              <a:gd name="connsiteX1731" fmla="*/ 562719 w 4021668"/>
              <a:gd name="connsiteY1731" fmla="*/ 5023229 h 6121401"/>
              <a:gd name="connsiteX1732" fmla="*/ 560667 w 4021668"/>
              <a:gd name="connsiteY1732" fmla="*/ 5023229 h 6121401"/>
              <a:gd name="connsiteX1733" fmla="*/ 550401 w 4021668"/>
              <a:gd name="connsiteY1733" fmla="*/ 4982088 h 6121401"/>
              <a:gd name="connsiteX1734" fmla="*/ 552453 w 4021668"/>
              <a:gd name="connsiteY1734" fmla="*/ 4966415 h 6121401"/>
              <a:gd name="connsiteX1735" fmla="*/ 572983 w 4021668"/>
              <a:gd name="connsiteY1735" fmla="*/ 4911559 h 6121401"/>
              <a:gd name="connsiteX1736" fmla="*/ 575037 w 4021668"/>
              <a:gd name="connsiteY1736" fmla="*/ 4903721 h 6121401"/>
              <a:gd name="connsiteX1737" fmla="*/ 591462 w 4021668"/>
              <a:gd name="connsiteY1737" fmla="*/ 4868459 h 6121401"/>
              <a:gd name="connsiteX1738" fmla="*/ 605832 w 4021668"/>
              <a:gd name="connsiteY1738" fmla="*/ 4837112 h 6121401"/>
              <a:gd name="connsiteX1739" fmla="*/ 609938 w 4021668"/>
              <a:gd name="connsiteY1739" fmla="*/ 4829277 h 6121401"/>
              <a:gd name="connsiteX1740" fmla="*/ 624309 w 4021668"/>
              <a:gd name="connsiteY1740" fmla="*/ 4795969 h 6121401"/>
              <a:gd name="connsiteX1741" fmla="*/ 626362 w 4021668"/>
              <a:gd name="connsiteY1741" fmla="*/ 4788134 h 6121401"/>
              <a:gd name="connsiteX1742" fmla="*/ 614043 w 4021668"/>
              <a:gd name="connsiteY1742" fmla="*/ 4794011 h 6121401"/>
              <a:gd name="connsiteX1743" fmla="*/ 620201 w 4021668"/>
              <a:gd name="connsiteY1743" fmla="*/ 4782256 h 6121401"/>
              <a:gd name="connsiteX1744" fmla="*/ 648947 w 4021668"/>
              <a:gd name="connsiteY1744" fmla="*/ 4746991 h 6121401"/>
              <a:gd name="connsiteX1745" fmla="*/ 650998 w 4021668"/>
              <a:gd name="connsiteY1745" fmla="*/ 4745033 h 6121401"/>
              <a:gd name="connsiteX1746" fmla="*/ 655104 w 4021668"/>
              <a:gd name="connsiteY1746" fmla="*/ 4739154 h 6121401"/>
              <a:gd name="connsiteX1747" fmla="*/ 661261 w 4021668"/>
              <a:gd name="connsiteY1747" fmla="*/ 4729360 h 6121401"/>
              <a:gd name="connsiteX1748" fmla="*/ 669473 w 4021668"/>
              <a:gd name="connsiteY1748" fmla="*/ 4709769 h 6121401"/>
              <a:gd name="connsiteX1749" fmla="*/ 650998 w 4021668"/>
              <a:gd name="connsiteY1749" fmla="*/ 4731318 h 6121401"/>
              <a:gd name="connsiteX1750" fmla="*/ 646891 w 4021668"/>
              <a:gd name="connsiteY1750" fmla="*/ 4735236 h 6121401"/>
              <a:gd name="connsiteX1751" fmla="*/ 624309 w 4021668"/>
              <a:gd name="connsiteY1751" fmla="*/ 4764625 h 6121401"/>
              <a:gd name="connsiteX1752" fmla="*/ 607886 w 4021668"/>
              <a:gd name="connsiteY1752" fmla="*/ 4760706 h 6121401"/>
              <a:gd name="connsiteX1753" fmla="*/ 620201 w 4021668"/>
              <a:gd name="connsiteY1753" fmla="*/ 4770501 h 6121401"/>
              <a:gd name="connsiteX1754" fmla="*/ 587356 w 4021668"/>
              <a:gd name="connsiteY1754" fmla="*/ 4809684 h 6121401"/>
              <a:gd name="connsiteX1755" fmla="*/ 587356 w 4021668"/>
              <a:gd name="connsiteY1755" fmla="*/ 4788134 h 6121401"/>
              <a:gd name="connsiteX1756" fmla="*/ 603781 w 4021668"/>
              <a:gd name="connsiteY1756" fmla="*/ 4778338 h 6121401"/>
              <a:gd name="connsiteX1757" fmla="*/ 589407 w 4021668"/>
              <a:gd name="connsiteY1757" fmla="*/ 4778338 h 6121401"/>
              <a:gd name="connsiteX1758" fmla="*/ 616095 w 4021668"/>
              <a:gd name="connsiteY1758" fmla="*/ 4743075 h 6121401"/>
              <a:gd name="connsiteX1759" fmla="*/ 605832 w 4021668"/>
              <a:gd name="connsiteY1759" fmla="*/ 4746991 h 6121401"/>
              <a:gd name="connsiteX1760" fmla="*/ 562719 w 4021668"/>
              <a:gd name="connsiteY1760" fmla="*/ 4799888 h 6121401"/>
              <a:gd name="connsiteX1761" fmla="*/ 542189 w 4021668"/>
              <a:gd name="connsiteY1761" fmla="*/ 4809684 h 6121401"/>
              <a:gd name="connsiteX1762" fmla="*/ 589407 w 4021668"/>
              <a:gd name="connsiteY1762" fmla="*/ 4743075 h 6121401"/>
              <a:gd name="connsiteX1763" fmla="*/ 587356 w 4021668"/>
              <a:gd name="connsiteY1763" fmla="*/ 4741114 h 6121401"/>
              <a:gd name="connsiteX1764" fmla="*/ 538083 w 4021668"/>
              <a:gd name="connsiteY1764" fmla="*/ 4803805 h 6121401"/>
              <a:gd name="connsiteX1765" fmla="*/ 544241 w 4021668"/>
              <a:gd name="connsiteY1765" fmla="*/ 4784216 h 6121401"/>
              <a:gd name="connsiteX1766" fmla="*/ 527817 w 4021668"/>
              <a:gd name="connsiteY1766" fmla="*/ 4801848 h 6121401"/>
              <a:gd name="connsiteX1767" fmla="*/ 521659 w 4021668"/>
              <a:gd name="connsiteY1767" fmla="*/ 4809684 h 6121401"/>
              <a:gd name="connsiteX1768" fmla="*/ 513447 w 4021668"/>
              <a:gd name="connsiteY1768" fmla="*/ 4827315 h 6121401"/>
              <a:gd name="connsiteX1769" fmla="*/ 507289 w 4021668"/>
              <a:gd name="connsiteY1769" fmla="*/ 4835152 h 6121401"/>
              <a:gd name="connsiteX1770" fmla="*/ 499077 w 4021668"/>
              <a:gd name="connsiteY1770" fmla="*/ 4868459 h 6121401"/>
              <a:gd name="connsiteX1771" fmla="*/ 490865 w 4021668"/>
              <a:gd name="connsiteY1771" fmla="*/ 4890008 h 6121401"/>
              <a:gd name="connsiteX1772" fmla="*/ 472387 w 4021668"/>
              <a:gd name="connsiteY1772" fmla="*/ 4942906 h 6121401"/>
              <a:gd name="connsiteX1773" fmla="*/ 458016 w 4021668"/>
              <a:gd name="connsiteY1773" fmla="*/ 4968376 h 6121401"/>
              <a:gd name="connsiteX1774" fmla="*/ 470335 w 4021668"/>
              <a:gd name="connsiteY1774" fmla="*/ 4921355 h 6121401"/>
              <a:gd name="connsiteX1775" fmla="*/ 476492 w 4021668"/>
              <a:gd name="connsiteY1775" fmla="*/ 4901763 h 6121401"/>
              <a:gd name="connsiteX1776" fmla="*/ 488811 w 4021668"/>
              <a:gd name="connsiteY1776" fmla="*/ 4854743 h 6121401"/>
              <a:gd name="connsiteX1777" fmla="*/ 499077 w 4021668"/>
              <a:gd name="connsiteY1777" fmla="*/ 4825358 h 6121401"/>
              <a:gd name="connsiteX1778" fmla="*/ 480599 w 4021668"/>
              <a:gd name="connsiteY1778" fmla="*/ 4839070 h 6121401"/>
              <a:gd name="connsiteX1779" fmla="*/ 468283 w 4021668"/>
              <a:gd name="connsiteY1779" fmla="*/ 4844950 h 6121401"/>
              <a:gd name="connsiteX1780" fmla="*/ 497022 w 4021668"/>
              <a:gd name="connsiteY1780" fmla="*/ 4805765 h 6121401"/>
              <a:gd name="connsiteX1781" fmla="*/ 494971 w 4021668"/>
              <a:gd name="connsiteY1781" fmla="*/ 4801848 h 6121401"/>
              <a:gd name="connsiteX1782" fmla="*/ 474441 w 4021668"/>
              <a:gd name="connsiteY1782" fmla="*/ 4811645 h 6121401"/>
              <a:gd name="connsiteX1783" fmla="*/ 474441 w 4021668"/>
              <a:gd name="connsiteY1783" fmla="*/ 4823397 h 6121401"/>
              <a:gd name="connsiteX1784" fmla="*/ 466229 w 4021668"/>
              <a:gd name="connsiteY1784" fmla="*/ 4835152 h 6121401"/>
              <a:gd name="connsiteX1785" fmla="*/ 466229 w 4021668"/>
              <a:gd name="connsiteY1785" fmla="*/ 4837112 h 6121401"/>
              <a:gd name="connsiteX1786" fmla="*/ 464175 w 4021668"/>
              <a:gd name="connsiteY1786" fmla="*/ 4837112 h 6121401"/>
              <a:gd name="connsiteX1787" fmla="*/ 455962 w 4021668"/>
              <a:gd name="connsiteY1787" fmla="*/ 4850826 h 6121401"/>
              <a:gd name="connsiteX1788" fmla="*/ 451856 w 4021668"/>
              <a:gd name="connsiteY1788" fmla="*/ 4837112 h 6121401"/>
              <a:gd name="connsiteX1789" fmla="*/ 447754 w 4021668"/>
              <a:gd name="connsiteY1789" fmla="*/ 4833194 h 6121401"/>
              <a:gd name="connsiteX1790" fmla="*/ 453911 w 4021668"/>
              <a:gd name="connsiteY1790" fmla="*/ 4827315 h 6121401"/>
              <a:gd name="connsiteX1791" fmla="*/ 460069 w 4021668"/>
              <a:gd name="connsiteY1791" fmla="*/ 4809684 h 6121401"/>
              <a:gd name="connsiteX1792" fmla="*/ 449805 w 4021668"/>
              <a:gd name="connsiteY1792" fmla="*/ 4819479 h 6121401"/>
              <a:gd name="connsiteX1793" fmla="*/ 447754 w 4021668"/>
              <a:gd name="connsiteY1793" fmla="*/ 4825358 h 6121401"/>
              <a:gd name="connsiteX1794" fmla="*/ 427223 w 4021668"/>
              <a:gd name="connsiteY1794" fmla="*/ 4846908 h 6121401"/>
              <a:gd name="connsiteX1795" fmla="*/ 419011 w 4021668"/>
              <a:gd name="connsiteY1795" fmla="*/ 4841030 h 6121401"/>
              <a:gd name="connsiteX1796" fmla="*/ 421063 w 4021668"/>
              <a:gd name="connsiteY1796" fmla="*/ 4835152 h 6121401"/>
              <a:gd name="connsiteX1797" fmla="*/ 433380 w 4021668"/>
              <a:gd name="connsiteY1797" fmla="*/ 4831236 h 6121401"/>
              <a:gd name="connsiteX1798" fmla="*/ 458016 w 4021668"/>
              <a:gd name="connsiteY1798" fmla="*/ 4799888 h 6121401"/>
              <a:gd name="connsiteX1799" fmla="*/ 464175 w 4021668"/>
              <a:gd name="connsiteY1799" fmla="*/ 4792052 h 6121401"/>
              <a:gd name="connsiteX1800" fmla="*/ 476492 w 4021668"/>
              <a:gd name="connsiteY1800" fmla="*/ 4752870 h 6121401"/>
              <a:gd name="connsiteX1801" fmla="*/ 458016 w 4021668"/>
              <a:gd name="connsiteY1801" fmla="*/ 4772461 h 6121401"/>
              <a:gd name="connsiteX1802" fmla="*/ 445699 w 4021668"/>
              <a:gd name="connsiteY1802" fmla="*/ 4792052 h 6121401"/>
              <a:gd name="connsiteX1803" fmla="*/ 427223 w 4021668"/>
              <a:gd name="connsiteY1803" fmla="*/ 4803805 h 6121401"/>
              <a:gd name="connsiteX1804" fmla="*/ 423117 w 4021668"/>
              <a:gd name="connsiteY1804" fmla="*/ 4805765 h 6121401"/>
              <a:gd name="connsiteX1805" fmla="*/ 410796 w 4021668"/>
              <a:gd name="connsiteY1805" fmla="*/ 4817521 h 6121401"/>
              <a:gd name="connsiteX1806" fmla="*/ 410796 w 4021668"/>
              <a:gd name="connsiteY1806" fmla="*/ 4813603 h 6121401"/>
              <a:gd name="connsiteX1807" fmla="*/ 421063 w 4021668"/>
              <a:gd name="connsiteY1807" fmla="*/ 4776378 h 6121401"/>
              <a:gd name="connsiteX1808" fmla="*/ 427223 w 4021668"/>
              <a:gd name="connsiteY1808" fmla="*/ 4760706 h 6121401"/>
              <a:gd name="connsiteX1809" fmla="*/ 445699 w 4021668"/>
              <a:gd name="connsiteY1809" fmla="*/ 4731318 h 6121401"/>
              <a:gd name="connsiteX1810" fmla="*/ 449805 w 4021668"/>
              <a:gd name="connsiteY1810" fmla="*/ 4721523 h 6121401"/>
              <a:gd name="connsiteX1811" fmla="*/ 458016 w 4021668"/>
              <a:gd name="connsiteY1811" fmla="*/ 4709769 h 6121401"/>
              <a:gd name="connsiteX1812" fmla="*/ 447754 w 4021668"/>
              <a:gd name="connsiteY1812" fmla="*/ 4707808 h 6121401"/>
              <a:gd name="connsiteX1813" fmla="*/ 462123 w 4021668"/>
              <a:gd name="connsiteY1813" fmla="*/ 4699974 h 6121401"/>
              <a:gd name="connsiteX1814" fmla="*/ 453911 w 4021668"/>
              <a:gd name="connsiteY1814" fmla="*/ 4690176 h 6121401"/>
              <a:gd name="connsiteX1815" fmla="*/ 431326 w 4021668"/>
              <a:gd name="connsiteY1815" fmla="*/ 4721523 h 6121401"/>
              <a:gd name="connsiteX1816" fmla="*/ 425169 w 4021668"/>
              <a:gd name="connsiteY1816" fmla="*/ 4715644 h 6121401"/>
              <a:gd name="connsiteX1817" fmla="*/ 412850 w 4021668"/>
              <a:gd name="connsiteY1817" fmla="*/ 4733279 h 6121401"/>
              <a:gd name="connsiteX1818" fmla="*/ 404639 w 4021668"/>
              <a:gd name="connsiteY1818" fmla="*/ 4745033 h 6121401"/>
              <a:gd name="connsiteX1819" fmla="*/ 377950 w 4021668"/>
              <a:gd name="connsiteY1819" fmla="*/ 4758746 h 6121401"/>
              <a:gd name="connsiteX1820" fmla="*/ 375896 w 4021668"/>
              <a:gd name="connsiteY1820" fmla="*/ 4772461 h 6121401"/>
              <a:gd name="connsiteX1821" fmla="*/ 353315 w 4021668"/>
              <a:gd name="connsiteY1821" fmla="*/ 4788134 h 6121401"/>
              <a:gd name="connsiteX1822" fmla="*/ 343048 w 4021668"/>
              <a:gd name="connsiteY1822" fmla="*/ 4794011 h 6121401"/>
              <a:gd name="connsiteX1823" fmla="*/ 345102 w 4021668"/>
              <a:gd name="connsiteY1823" fmla="*/ 4801848 h 6121401"/>
              <a:gd name="connsiteX1824" fmla="*/ 330732 w 4021668"/>
              <a:gd name="connsiteY1824" fmla="*/ 4821439 h 6121401"/>
              <a:gd name="connsiteX1825" fmla="*/ 326627 w 4021668"/>
              <a:gd name="connsiteY1825" fmla="*/ 4827315 h 6121401"/>
              <a:gd name="connsiteX1826" fmla="*/ 301991 w 4021668"/>
              <a:gd name="connsiteY1826" fmla="*/ 4858662 h 6121401"/>
              <a:gd name="connsiteX1827" fmla="*/ 295829 w 4021668"/>
              <a:gd name="connsiteY1827" fmla="*/ 4864539 h 6121401"/>
              <a:gd name="connsiteX1828" fmla="*/ 293778 w 4021668"/>
              <a:gd name="connsiteY1828" fmla="*/ 4860623 h 6121401"/>
              <a:gd name="connsiteX1829" fmla="*/ 328678 w 4021668"/>
              <a:gd name="connsiteY1829" fmla="*/ 4801848 h 6121401"/>
              <a:gd name="connsiteX1830" fmla="*/ 316359 w 4021668"/>
              <a:gd name="connsiteY1830" fmla="*/ 4815561 h 6121401"/>
              <a:gd name="connsiteX1831" fmla="*/ 304043 w 4021668"/>
              <a:gd name="connsiteY1831" fmla="*/ 4829277 h 6121401"/>
              <a:gd name="connsiteX1832" fmla="*/ 301991 w 4021668"/>
              <a:gd name="connsiteY1832" fmla="*/ 4829277 h 6121401"/>
              <a:gd name="connsiteX1833" fmla="*/ 322519 w 4021668"/>
              <a:gd name="connsiteY1833" fmla="*/ 4797930 h 6121401"/>
              <a:gd name="connsiteX1834" fmla="*/ 297881 w 4021668"/>
              <a:gd name="connsiteY1834" fmla="*/ 4825358 h 6121401"/>
              <a:gd name="connsiteX1835" fmla="*/ 275299 w 4021668"/>
              <a:gd name="connsiteY1835" fmla="*/ 4854743 h 6121401"/>
              <a:gd name="connsiteX1836" fmla="*/ 273248 w 4021668"/>
              <a:gd name="connsiteY1836" fmla="*/ 4852786 h 6121401"/>
              <a:gd name="connsiteX1837" fmla="*/ 297881 w 4021668"/>
              <a:gd name="connsiteY1837" fmla="*/ 4805765 h 6121401"/>
              <a:gd name="connsiteX1838" fmla="*/ 281459 w 4021668"/>
              <a:gd name="connsiteY1838" fmla="*/ 4811645 h 6121401"/>
              <a:gd name="connsiteX1839" fmla="*/ 285567 w 4021668"/>
              <a:gd name="connsiteY1839" fmla="*/ 4794011 h 6121401"/>
              <a:gd name="connsiteX1840" fmla="*/ 301991 w 4021668"/>
              <a:gd name="connsiteY1840" fmla="*/ 4788134 h 6121401"/>
              <a:gd name="connsiteX1841" fmla="*/ 310202 w 4021668"/>
              <a:gd name="connsiteY1841" fmla="*/ 4754828 h 6121401"/>
              <a:gd name="connsiteX1842" fmla="*/ 314308 w 4021668"/>
              <a:gd name="connsiteY1842" fmla="*/ 4748952 h 6121401"/>
              <a:gd name="connsiteX1843" fmla="*/ 326627 w 4021668"/>
              <a:gd name="connsiteY1843" fmla="*/ 4729360 h 6121401"/>
              <a:gd name="connsiteX1844" fmla="*/ 324573 w 4021668"/>
              <a:gd name="connsiteY1844" fmla="*/ 4727400 h 6121401"/>
              <a:gd name="connsiteX1845" fmla="*/ 323601 w 4021668"/>
              <a:gd name="connsiteY1845" fmla="*/ 4728094 h 6121401"/>
              <a:gd name="connsiteX1846" fmla="*/ 324573 w 4021668"/>
              <a:gd name="connsiteY1846" fmla="*/ 4719565 h 6121401"/>
              <a:gd name="connsiteX1847" fmla="*/ 316361 w 4021668"/>
              <a:gd name="connsiteY1847" fmla="*/ 4727155 h 6121401"/>
              <a:gd name="connsiteX1848" fmla="*/ 315168 w 4021668"/>
              <a:gd name="connsiteY1848" fmla="*/ 4734130 h 6121401"/>
              <a:gd name="connsiteX1849" fmla="*/ 308148 w 4021668"/>
              <a:gd name="connsiteY1849" fmla="*/ 4739154 h 6121401"/>
              <a:gd name="connsiteX1850" fmla="*/ 297881 w 4021668"/>
              <a:gd name="connsiteY1850" fmla="*/ 4758746 h 6121401"/>
              <a:gd name="connsiteX1851" fmla="*/ 291724 w 4021668"/>
              <a:gd name="connsiteY1851" fmla="*/ 4766583 h 6121401"/>
              <a:gd name="connsiteX1852" fmla="*/ 269142 w 4021668"/>
              <a:gd name="connsiteY1852" fmla="*/ 4786174 h 6121401"/>
              <a:gd name="connsiteX1853" fmla="*/ 256823 w 4021668"/>
              <a:gd name="connsiteY1853" fmla="*/ 4792052 h 6121401"/>
              <a:gd name="connsiteX1854" fmla="*/ 265036 w 4021668"/>
              <a:gd name="connsiteY1854" fmla="*/ 4797930 h 6121401"/>
              <a:gd name="connsiteX1855" fmla="*/ 250663 w 4021668"/>
              <a:gd name="connsiteY1855" fmla="*/ 4811645 h 6121401"/>
              <a:gd name="connsiteX1856" fmla="*/ 228081 w 4021668"/>
              <a:gd name="connsiteY1856" fmla="*/ 4829277 h 6121401"/>
              <a:gd name="connsiteX1857" fmla="*/ 217819 w 4021668"/>
              <a:gd name="connsiteY1857" fmla="*/ 4846908 h 6121401"/>
              <a:gd name="connsiteX1858" fmla="*/ 213712 w 4021668"/>
              <a:gd name="connsiteY1858" fmla="*/ 4852786 h 6121401"/>
              <a:gd name="connsiteX1859" fmla="*/ 230133 w 4021668"/>
              <a:gd name="connsiteY1859" fmla="*/ 4813603 h 6121401"/>
              <a:gd name="connsiteX1860" fmla="*/ 219870 w 4021668"/>
              <a:gd name="connsiteY1860" fmla="*/ 4811645 h 6121401"/>
              <a:gd name="connsiteX1861" fmla="*/ 217819 w 4021668"/>
              <a:gd name="connsiteY1861" fmla="*/ 4801848 h 6121401"/>
              <a:gd name="connsiteX1862" fmla="*/ 223976 w 4021668"/>
              <a:gd name="connsiteY1862" fmla="*/ 4809684 h 6121401"/>
              <a:gd name="connsiteX1863" fmla="*/ 250663 w 4021668"/>
              <a:gd name="connsiteY1863" fmla="*/ 4778338 h 6121401"/>
              <a:gd name="connsiteX1864" fmla="*/ 254771 w 4021668"/>
              <a:gd name="connsiteY1864" fmla="*/ 4760706 h 6121401"/>
              <a:gd name="connsiteX1865" fmla="*/ 271194 w 4021668"/>
              <a:gd name="connsiteY1865" fmla="*/ 4746991 h 6121401"/>
              <a:gd name="connsiteX1866" fmla="*/ 281459 w 4021668"/>
              <a:gd name="connsiteY1866" fmla="*/ 4729360 h 6121401"/>
              <a:gd name="connsiteX1867" fmla="*/ 240400 w 4021668"/>
              <a:gd name="connsiteY1867" fmla="*/ 4760706 h 6121401"/>
              <a:gd name="connsiteX1868" fmla="*/ 230133 w 4021668"/>
              <a:gd name="connsiteY1868" fmla="*/ 4772461 h 6121401"/>
              <a:gd name="connsiteX1869" fmla="*/ 207552 w 4021668"/>
              <a:gd name="connsiteY1869" fmla="*/ 4792052 h 6121401"/>
              <a:gd name="connsiteX1870" fmla="*/ 199339 w 4021668"/>
              <a:gd name="connsiteY1870" fmla="*/ 4797930 h 6121401"/>
              <a:gd name="connsiteX1871" fmla="*/ 205497 w 4021668"/>
              <a:gd name="connsiteY1871" fmla="*/ 4772461 h 6121401"/>
              <a:gd name="connsiteX1872" fmla="*/ 191128 w 4021668"/>
              <a:gd name="connsiteY1872" fmla="*/ 4768543 h 6121401"/>
              <a:gd name="connsiteX1873" fmla="*/ 191128 w 4021668"/>
              <a:gd name="connsiteY1873" fmla="*/ 4778338 h 6121401"/>
              <a:gd name="connsiteX1874" fmla="*/ 178809 w 4021668"/>
              <a:gd name="connsiteY1874" fmla="*/ 4784216 h 6121401"/>
              <a:gd name="connsiteX1875" fmla="*/ 164440 w 4021668"/>
              <a:gd name="connsiteY1875" fmla="*/ 4799888 h 6121401"/>
              <a:gd name="connsiteX1876" fmla="*/ 174704 w 4021668"/>
              <a:gd name="connsiteY1876" fmla="*/ 4813603 h 6121401"/>
              <a:gd name="connsiteX1877" fmla="*/ 154172 w 4021668"/>
              <a:gd name="connsiteY1877" fmla="*/ 4829277 h 6121401"/>
              <a:gd name="connsiteX1878" fmla="*/ 145964 w 4021668"/>
              <a:gd name="connsiteY1878" fmla="*/ 4819479 h 6121401"/>
              <a:gd name="connsiteX1879" fmla="*/ 143910 w 4021668"/>
              <a:gd name="connsiteY1879" fmla="*/ 4809684 h 6121401"/>
              <a:gd name="connsiteX1880" fmla="*/ 154172 w 4021668"/>
              <a:gd name="connsiteY1880" fmla="*/ 4784216 h 6121401"/>
              <a:gd name="connsiteX1881" fmla="*/ 154172 w 4021668"/>
              <a:gd name="connsiteY1881" fmla="*/ 4774419 h 6121401"/>
              <a:gd name="connsiteX1882" fmla="*/ 133642 w 4021668"/>
              <a:gd name="connsiteY1882" fmla="*/ 4803805 h 6121401"/>
              <a:gd name="connsiteX1883" fmla="*/ 129539 w 4021668"/>
              <a:gd name="connsiteY1883" fmla="*/ 4811645 h 6121401"/>
              <a:gd name="connsiteX1884" fmla="*/ 109009 w 4021668"/>
              <a:gd name="connsiteY1884" fmla="*/ 4850826 h 6121401"/>
              <a:gd name="connsiteX1885" fmla="*/ 109009 w 4021668"/>
              <a:gd name="connsiteY1885" fmla="*/ 4862581 h 6121401"/>
              <a:gd name="connsiteX1886" fmla="*/ 106955 w 4021668"/>
              <a:gd name="connsiteY1886" fmla="*/ 4864539 h 6121401"/>
              <a:gd name="connsiteX1887" fmla="*/ 94637 w 4021668"/>
              <a:gd name="connsiteY1887" fmla="*/ 4862581 h 6121401"/>
              <a:gd name="connsiteX1888" fmla="*/ 133642 w 4021668"/>
              <a:gd name="connsiteY1888" fmla="*/ 4786174 h 6121401"/>
              <a:gd name="connsiteX1889" fmla="*/ 123380 w 4021668"/>
              <a:gd name="connsiteY1889" fmla="*/ 4792052 h 6121401"/>
              <a:gd name="connsiteX1890" fmla="*/ 131591 w 4021668"/>
              <a:gd name="connsiteY1890" fmla="*/ 4772461 h 6121401"/>
              <a:gd name="connsiteX1891" fmla="*/ 141856 w 4021668"/>
              <a:gd name="connsiteY1891" fmla="*/ 4750910 h 6121401"/>
              <a:gd name="connsiteX1892" fmla="*/ 148015 w 4021668"/>
              <a:gd name="connsiteY1892" fmla="*/ 4729360 h 6121401"/>
              <a:gd name="connsiteX1893" fmla="*/ 154172 w 4021668"/>
              <a:gd name="connsiteY1893" fmla="*/ 4721523 h 6121401"/>
              <a:gd name="connsiteX1894" fmla="*/ 162386 w 4021668"/>
              <a:gd name="connsiteY1894" fmla="*/ 4725441 h 6121401"/>
              <a:gd name="connsiteX1895" fmla="*/ 168545 w 4021668"/>
              <a:gd name="connsiteY1895" fmla="*/ 4729360 h 6121401"/>
              <a:gd name="connsiteX1896" fmla="*/ 158279 w 4021668"/>
              <a:gd name="connsiteY1896" fmla="*/ 4711726 h 6121401"/>
              <a:gd name="connsiteX1897" fmla="*/ 182915 w 4021668"/>
              <a:gd name="connsiteY1897" fmla="*/ 4660791 h 6121401"/>
              <a:gd name="connsiteX1898" fmla="*/ 180863 w 4021668"/>
              <a:gd name="connsiteY1898" fmla="*/ 4658831 h 6121401"/>
              <a:gd name="connsiteX1899" fmla="*/ 176757 w 4021668"/>
              <a:gd name="connsiteY1899" fmla="*/ 4664708 h 6121401"/>
              <a:gd name="connsiteX1900" fmla="*/ 152121 w 4021668"/>
              <a:gd name="connsiteY1900" fmla="*/ 4692135 h 6121401"/>
              <a:gd name="connsiteX1901" fmla="*/ 154172 w 4021668"/>
              <a:gd name="connsiteY1901" fmla="*/ 4680382 h 6121401"/>
              <a:gd name="connsiteX1902" fmla="*/ 170600 w 4021668"/>
              <a:gd name="connsiteY1902" fmla="*/ 4641198 h 6121401"/>
              <a:gd name="connsiteX1903" fmla="*/ 166491 w 4021668"/>
              <a:gd name="connsiteY1903" fmla="*/ 4627484 h 6121401"/>
              <a:gd name="connsiteX1904" fmla="*/ 161722 w 4021668"/>
              <a:gd name="connsiteY1904" fmla="*/ 4634690 h 6121401"/>
              <a:gd name="connsiteX1905" fmla="*/ 160333 w 4021668"/>
              <a:gd name="connsiteY1905" fmla="*/ 4633362 h 6121401"/>
              <a:gd name="connsiteX1906" fmla="*/ 156228 w 4021668"/>
              <a:gd name="connsiteY1906" fmla="*/ 4639238 h 6121401"/>
              <a:gd name="connsiteX1907" fmla="*/ 157750 w 4021668"/>
              <a:gd name="connsiteY1907" fmla="*/ 4640692 h 6121401"/>
              <a:gd name="connsiteX1908" fmla="*/ 141856 w 4021668"/>
              <a:gd name="connsiteY1908" fmla="*/ 4664708 h 6121401"/>
              <a:gd name="connsiteX1909" fmla="*/ 141856 w 4021668"/>
              <a:gd name="connsiteY1909" fmla="*/ 4662748 h 6121401"/>
              <a:gd name="connsiteX1910" fmla="*/ 170600 w 4021668"/>
              <a:gd name="connsiteY1910" fmla="*/ 4603973 h 6121401"/>
              <a:gd name="connsiteX1911" fmla="*/ 193182 w 4021668"/>
              <a:gd name="connsiteY1911" fmla="*/ 4558914 h 6121401"/>
              <a:gd name="connsiteX1912" fmla="*/ 191128 w 4021668"/>
              <a:gd name="connsiteY1912" fmla="*/ 4554995 h 6121401"/>
              <a:gd name="connsiteX1913" fmla="*/ 180863 w 4021668"/>
              <a:gd name="connsiteY1913" fmla="*/ 4564793 h 6121401"/>
              <a:gd name="connsiteX1914" fmla="*/ 195233 w 4021668"/>
              <a:gd name="connsiteY1914" fmla="*/ 4521690 h 6121401"/>
              <a:gd name="connsiteX1915" fmla="*/ 182915 w 4021668"/>
              <a:gd name="connsiteY1915" fmla="*/ 4531486 h 6121401"/>
              <a:gd name="connsiteX1916" fmla="*/ 193182 w 4021668"/>
              <a:gd name="connsiteY1916" fmla="*/ 4511894 h 6121401"/>
              <a:gd name="connsiteX1917" fmla="*/ 207552 w 4021668"/>
              <a:gd name="connsiteY1917" fmla="*/ 4496224 h 6121401"/>
              <a:gd name="connsiteX1918" fmla="*/ 199339 w 4021668"/>
              <a:gd name="connsiteY1918" fmla="*/ 4494263 h 6121401"/>
              <a:gd name="connsiteX1919" fmla="*/ 209606 w 4021668"/>
              <a:gd name="connsiteY1919" fmla="*/ 4476631 h 6121401"/>
              <a:gd name="connsiteX1920" fmla="*/ 223976 w 4021668"/>
              <a:gd name="connsiteY1920" fmla="*/ 4457039 h 6121401"/>
              <a:gd name="connsiteX1921" fmla="*/ 226027 w 4021668"/>
              <a:gd name="connsiteY1921" fmla="*/ 4455079 h 6121401"/>
              <a:gd name="connsiteX1922" fmla="*/ 242454 w 4021668"/>
              <a:gd name="connsiteY1922" fmla="*/ 4423732 h 6121401"/>
              <a:gd name="connsiteX1923" fmla="*/ 234242 w 4021668"/>
              <a:gd name="connsiteY1923" fmla="*/ 4431569 h 6121401"/>
              <a:gd name="connsiteX1924" fmla="*/ 265036 w 4021668"/>
              <a:gd name="connsiteY1924" fmla="*/ 4380633 h 6121401"/>
              <a:gd name="connsiteX1925" fmla="*/ 273248 w 4021668"/>
              <a:gd name="connsiteY1925" fmla="*/ 4386510 h 6121401"/>
              <a:gd name="connsiteX1926" fmla="*/ 275299 w 4021668"/>
              <a:gd name="connsiteY1926" fmla="*/ 4364960 h 6121401"/>
              <a:gd name="connsiteX1927" fmla="*/ 285567 w 4021668"/>
              <a:gd name="connsiteY1927" fmla="*/ 4343409 h 6121401"/>
              <a:gd name="connsiteX1928" fmla="*/ 293778 w 4021668"/>
              <a:gd name="connsiteY1928" fmla="*/ 4329696 h 6121401"/>
              <a:gd name="connsiteX1929" fmla="*/ 314308 w 4021668"/>
              <a:gd name="connsiteY1929" fmla="*/ 4315980 h 6121401"/>
              <a:gd name="connsiteX1930" fmla="*/ 306097 w 4021668"/>
              <a:gd name="connsiteY1930" fmla="*/ 4310104 h 6121401"/>
              <a:gd name="connsiteX1931" fmla="*/ 311667 w 4021668"/>
              <a:gd name="connsiteY1931" fmla="*/ 4301241 h 6121401"/>
              <a:gd name="connsiteX1932" fmla="*/ 317129 w 4021668"/>
              <a:gd name="connsiteY1932" fmla="*/ 4304716 h 6121401"/>
              <a:gd name="connsiteX1933" fmla="*/ 322519 w 4021668"/>
              <a:gd name="connsiteY1933" fmla="*/ 4300309 h 6121401"/>
              <a:gd name="connsiteX1934" fmla="*/ 332178 w 4021668"/>
              <a:gd name="connsiteY1934" fmla="*/ 4283190 h 6121401"/>
              <a:gd name="connsiteX1935" fmla="*/ 337916 w 4021668"/>
              <a:gd name="connsiteY1935" fmla="*/ 4281696 h 6121401"/>
              <a:gd name="connsiteX1936" fmla="*/ 343048 w 4021668"/>
              <a:gd name="connsiteY1936" fmla="*/ 4272881 h 6121401"/>
              <a:gd name="connsiteX1937" fmla="*/ 353315 w 4021668"/>
              <a:gd name="connsiteY1937" fmla="*/ 4257208 h 6121401"/>
              <a:gd name="connsiteX1938" fmla="*/ 352008 w 4021668"/>
              <a:gd name="connsiteY1938" fmla="*/ 4250797 h 6121401"/>
              <a:gd name="connsiteX1939" fmla="*/ 355369 w 4021668"/>
              <a:gd name="connsiteY1939" fmla="*/ 4245453 h 6121401"/>
              <a:gd name="connsiteX1940" fmla="*/ 361526 w 4021668"/>
              <a:gd name="connsiteY1940" fmla="*/ 4243494 h 6121401"/>
              <a:gd name="connsiteX1941" fmla="*/ 371791 w 4021668"/>
              <a:gd name="connsiteY1941" fmla="*/ 4235658 h 6121401"/>
              <a:gd name="connsiteX1942" fmla="*/ 365632 w 4021668"/>
              <a:gd name="connsiteY1942" fmla="*/ 4231738 h 6121401"/>
              <a:gd name="connsiteX1943" fmla="*/ 373845 w 4021668"/>
              <a:gd name="connsiteY1943" fmla="*/ 4216066 h 6121401"/>
              <a:gd name="connsiteX1944" fmla="*/ 371791 w 4021668"/>
              <a:gd name="connsiteY1944" fmla="*/ 4214106 h 6121401"/>
              <a:gd name="connsiteX1945" fmla="*/ 365632 w 4021668"/>
              <a:gd name="connsiteY1945" fmla="*/ 4221942 h 6121401"/>
              <a:gd name="connsiteX1946" fmla="*/ 361717 w 4021668"/>
              <a:gd name="connsiteY1946" fmla="*/ 4226997 h 6121401"/>
              <a:gd name="connsiteX1947" fmla="*/ 362553 w 4021668"/>
              <a:gd name="connsiteY1947" fmla="*/ 4214841 h 6121401"/>
              <a:gd name="connsiteX1948" fmla="*/ 369739 w 4021668"/>
              <a:gd name="connsiteY1948" fmla="*/ 4204311 h 6121401"/>
              <a:gd name="connsiteX1949" fmla="*/ 365632 w 4021668"/>
              <a:gd name="connsiteY1949" fmla="*/ 4053457 h 6121401"/>
              <a:gd name="connsiteX1950" fmla="*/ 384108 w 4021668"/>
              <a:gd name="connsiteY1950" fmla="*/ 4020153 h 6121401"/>
              <a:gd name="connsiteX1951" fmla="*/ 386163 w 4021668"/>
              <a:gd name="connsiteY1951" fmla="*/ 4014274 h 6121401"/>
              <a:gd name="connsiteX1952" fmla="*/ 390267 w 4021668"/>
              <a:gd name="connsiteY1952" fmla="*/ 4004479 h 6121401"/>
              <a:gd name="connsiteX1953" fmla="*/ 423117 w 4021668"/>
              <a:gd name="connsiteY1953" fmla="*/ 3959419 h 6121401"/>
              <a:gd name="connsiteX1954" fmla="*/ 425169 w 4021668"/>
              <a:gd name="connsiteY1954" fmla="*/ 3949623 h 6121401"/>
              <a:gd name="connsiteX1955" fmla="*/ 423117 w 4021668"/>
              <a:gd name="connsiteY1955" fmla="*/ 3949623 h 6121401"/>
              <a:gd name="connsiteX1956" fmla="*/ 396426 w 4021668"/>
              <a:gd name="connsiteY1956" fmla="*/ 3969214 h 6121401"/>
              <a:gd name="connsiteX1957" fmla="*/ 384108 w 4021668"/>
              <a:gd name="connsiteY1957" fmla="*/ 3949623 h 6121401"/>
              <a:gd name="connsiteX1958" fmla="*/ 355369 w 4021668"/>
              <a:gd name="connsiteY1958" fmla="*/ 3957458 h 6121401"/>
              <a:gd name="connsiteX1959" fmla="*/ 338942 w 4021668"/>
              <a:gd name="connsiteY1959" fmla="*/ 3959419 h 6121401"/>
              <a:gd name="connsiteX1960" fmla="*/ 345102 w 4021668"/>
              <a:gd name="connsiteY1960" fmla="*/ 3967254 h 6121401"/>
              <a:gd name="connsiteX1961" fmla="*/ 318411 w 4021668"/>
              <a:gd name="connsiteY1961" fmla="*/ 3996643 h 6121401"/>
              <a:gd name="connsiteX1962" fmla="*/ 316359 w 4021668"/>
              <a:gd name="connsiteY1962" fmla="*/ 3994682 h 6121401"/>
              <a:gd name="connsiteX1963" fmla="*/ 324573 w 4021668"/>
              <a:gd name="connsiteY1963" fmla="*/ 3980969 h 6121401"/>
              <a:gd name="connsiteX1964" fmla="*/ 322519 w 4021668"/>
              <a:gd name="connsiteY1964" fmla="*/ 3979010 h 6121401"/>
              <a:gd name="connsiteX1965" fmla="*/ 314308 w 4021668"/>
              <a:gd name="connsiteY1965" fmla="*/ 3988806 h 6121401"/>
              <a:gd name="connsiteX1966" fmla="*/ 297881 w 4021668"/>
              <a:gd name="connsiteY1966" fmla="*/ 3969214 h 6121401"/>
              <a:gd name="connsiteX1967" fmla="*/ 287618 w 4021668"/>
              <a:gd name="connsiteY1967" fmla="*/ 3975093 h 6121401"/>
              <a:gd name="connsiteX1968" fmla="*/ 287618 w 4021668"/>
              <a:gd name="connsiteY1968" fmla="*/ 3961377 h 6121401"/>
              <a:gd name="connsiteX1969" fmla="*/ 258876 w 4021668"/>
              <a:gd name="connsiteY1969" fmla="*/ 3986845 h 6121401"/>
              <a:gd name="connsiteX1970" fmla="*/ 258876 w 4021668"/>
              <a:gd name="connsiteY1970" fmla="*/ 3975093 h 6121401"/>
              <a:gd name="connsiteX1971" fmla="*/ 240400 w 4021668"/>
              <a:gd name="connsiteY1971" fmla="*/ 3988806 h 6121401"/>
              <a:gd name="connsiteX1972" fmla="*/ 238347 w 4021668"/>
              <a:gd name="connsiteY1972" fmla="*/ 3986845 h 6121401"/>
              <a:gd name="connsiteX1973" fmla="*/ 262984 w 4021668"/>
              <a:gd name="connsiteY1973" fmla="*/ 3953540 h 6121401"/>
              <a:gd name="connsiteX1974" fmla="*/ 248611 w 4021668"/>
              <a:gd name="connsiteY1974" fmla="*/ 3955500 h 6121401"/>
              <a:gd name="connsiteX1975" fmla="*/ 252718 w 4021668"/>
              <a:gd name="connsiteY1975" fmla="*/ 3945705 h 6121401"/>
              <a:gd name="connsiteX1976" fmla="*/ 236295 w 4021668"/>
              <a:gd name="connsiteY1976" fmla="*/ 3943744 h 6121401"/>
              <a:gd name="connsiteX1977" fmla="*/ 193182 w 4021668"/>
              <a:gd name="connsiteY1977" fmla="*/ 3980969 h 6121401"/>
              <a:gd name="connsiteX1978" fmla="*/ 209606 w 4021668"/>
              <a:gd name="connsiteY1978" fmla="*/ 3955500 h 6121401"/>
              <a:gd name="connsiteX1979" fmla="*/ 223976 w 4021668"/>
              <a:gd name="connsiteY1979" fmla="*/ 3928073 h 6121401"/>
              <a:gd name="connsiteX1980" fmla="*/ 201394 w 4021668"/>
              <a:gd name="connsiteY1980" fmla="*/ 3949623 h 6121401"/>
              <a:gd name="connsiteX1981" fmla="*/ 182915 w 4021668"/>
              <a:gd name="connsiteY1981" fmla="*/ 3969214 h 6121401"/>
              <a:gd name="connsiteX1982" fmla="*/ 209606 w 4021668"/>
              <a:gd name="connsiteY1982" fmla="*/ 3922194 h 6121401"/>
              <a:gd name="connsiteX1983" fmla="*/ 199339 w 4021668"/>
              <a:gd name="connsiteY1983" fmla="*/ 3930031 h 6121401"/>
              <a:gd name="connsiteX1984" fmla="*/ 205497 w 4021668"/>
              <a:gd name="connsiteY1984" fmla="*/ 3896727 h 6121401"/>
              <a:gd name="connsiteX1985" fmla="*/ 195233 w 4021668"/>
              <a:gd name="connsiteY1985" fmla="*/ 3886931 h 6121401"/>
              <a:gd name="connsiteX1986" fmla="*/ 180863 w 4021668"/>
              <a:gd name="connsiteY1986" fmla="*/ 3879092 h 6121401"/>
              <a:gd name="connsiteX1987" fmla="*/ 156228 w 4021668"/>
              <a:gd name="connsiteY1987" fmla="*/ 3884971 h 6121401"/>
              <a:gd name="connsiteX1988" fmla="*/ 117221 w 4021668"/>
              <a:gd name="connsiteY1988" fmla="*/ 3928073 h 6121401"/>
              <a:gd name="connsiteX1989" fmla="*/ 125434 w 4021668"/>
              <a:gd name="connsiteY1989" fmla="*/ 3912399 h 6121401"/>
              <a:gd name="connsiteX1990" fmla="*/ 123380 w 4021668"/>
              <a:gd name="connsiteY1990" fmla="*/ 3910441 h 6121401"/>
              <a:gd name="connsiteX1991" fmla="*/ 115167 w 4021668"/>
              <a:gd name="connsiteY1991" fmla="*/ 3920236 h 6121401"/>
              <a:gd name="connsiteX1992" fmla="*/ 117221 w 4021668"/>
              <a:gd name="connsiteY1992" fmla="*/ 3912399 h 6121401"/>
              <a:gd name="connsiteX1993" fmla="*/ 137749 w 4021668"/>
              <a:gd name="connsiteY1993" fmla="*/ 3884971 h 6121401"/>
              <a:gd name="connsiteX1994" fmla="*/ 160333 w 4021668"/>
              <a:gd name="connsiteY1994" fmla="*/ 3855582 h 6121401"/>
              <a:gd name="connsiteX1995" fmla="*/ 139804 w 4021668"/>
              <a:gd name="connsiteY1995" fmla="*/ 3857542 h 6121401"/>
              <a:gd name="connsiteX1996" fmla="*/ 117221 w 4021668"/>
              <a:gd name="connsiteY1996" fmla="*/ 3875174 h 6121401"/>
              <a:gd name="connsiteX1997" fmla="*/ 115167 w 4021668"/>
              <a:gd name="connsiteY1997" fmla="*/ 3867340 h 6121401"/>
              <a:gd name="connsiteX1998" fmla="*/ 104904 w 4021668"/>
              <a:gd name="connsiteY1998" fmla="*/ 3869298 h 6121401"/>
              <a:gd name="connsiteX1999" fmla="*/ 106955 w 4021668"/>
              <a:gd name="connsiteY1999" fmla="*/ 3849707 h 6121401"/>
              <a:gd name="connsiteX2000" fmla="*/ 94637 w 4021668"/>
              <a:gd name="connsiteY2000" fmla="*/ 3857542 h 6121401"/>
              <a:gd name="connsiteX2001" fmla="*/ 80267 w 4021668"/>
              <a:gd name="connsiteY2001" fmla="*/ 3853625 h 6121401"/>
              <a:gd name="connsiteX2002" fmla="*/ 100797 w 4021668"/>
              <a:gd name="connsiteY2002" fmla="*/ 3834033 h 6121401"/>
              <a:gd name="connsiteX2003" fmla="*/ 90531 w 4021668"/>
              <a:gd name="connsiteY2003" fmla="*/ 3824238 h 6121401"/>
              <a:gd name="connsiteX2004" fmla="*/ 70001 w 4021668"/>
              <a:gd name="connsiteY2004" fmla="*/ 3843830 h 6121401"/>
              <a:gd name="connsiteX2005" fmla="*/ 65894 w 4021668"/>
              <a:gd name="connsiteY2005" fmla="*/ 3832076 h 6121401"/>
              <a:gd name="connsiteX2006" fmla="*/ 51525 w 4021668"/>
              <a:gd name="connsiteY2006" fmla="*/ 3841869 h 6121401"/>
              <a:gd name="connsiteX2007" fmla="*/ 63843 w 4021668"/>
              <a:gd name="connsiteY2007" fmla="*/ 3824238 h 6121401"/>
              <a:gd name="connsiteX2008" fmla="*/ 39207 w 4021668"/>
              <a:gd name="connsiteY2008" fmla="*/ 3837951 h 6121401"/>
              <a:gd name="connsiteX2009" fmla="*/ 55632 w 4021668"/>
              <a:gd name="connsiteY2009" fmla="*/ 3816402 h 6121401"/>
              <a:gd name="connsiteX2010" fmla="*/ 53580 w 4021668"/>
              <a:gd name="connsiteY2010" fmla="*/ 3792891 h 6121401"/>
              <a:gd name="connsiteX2011" fmla="*/ 49471 w 4021668"/>
              <a:gd name="connsiteY2011" fmla="*/ 3806605 h 6121401"/>
              <a:gd name="connsiteX2012" fmla="*/ 35100 w 4021668"/>
              <a:gd name="connsiteY2012" fmla="*/ 3779179 h 6121401"/>
              <a:gd name="connsiteX2013" fmla="*/ 16624 w 4021668"/>
              <a:gd name="connsiteY2013" fmla="*/ 3800729 h 6121401"/>
              <a:gd name="connsiteX2014" fmla="*/ 30995 w 4021668"/>
              <a:gd name="connsiteY2014" fmla="*/ 3757627 h 6121401"/>
              <a:gd name="connsiteX2015" fmla="*/ 22783 w 4021668"/>
              <a:gd name="connsiteY2015" fmla="*/ 3755669 h 6121401"/>
              <a:gd name="connsiteX2016" fmla="*/ 26889 w 4021668"/>
              <a:gd name="connsiteY2016" fmla="*/ 3739995 h 6121401"/>
              <a:gd name="connsiteX2017" fmla="*/ 20729 w 4021668"/>
              <a:gd name="connsiteY2017" fmla="*/ 3736078 h 6121401"/>
              <a:gd name="connsiteX2018" fmla="*/ 41259 w 4021668"/>
              <a:gd name="connsiteY2018" fmla="*/ 3694935 h 6121401"/>
              <a:gd name="connsiteX2019" fmla="*/ 16624 w 4021668"/>
              <a:gd name="connsiteY2019" fmla="*/ 3724322 h 6121401"/>
              <a:gd name="connsiteX2020" fmla="*/ 200 w 4021668"/>
              <a:gd name="connsiteY2020" fmla="*/ 3749791 h 6121401"/>
              <a:gd name="connsiteX2021" fmla="*/ 16624 w 4021668"/>
              <a:gd name="connsiteY2021" fmla="*/ 3704731 h 6121401"/>
              <a:gd name="connsiteX2022" fmla="*/ 39207 w 4021668"/>
              <a:gd name="connsiteY2022" fmla="*/ 3659669 h 6121401"/>
              <a:gd name="connsiteX2023" fmla="*/ 49984 w 4021668"/>
              <a:gd name="connsiteY2023" fmla="*/ 3638854 h 6121401"/>
              <a:gd name="connsiteX2024" fmla="*/ 53454 w 4021668"/>
              <a:gd name="connsiteY2024" fmla="*/ 3628813 h 6121401"/>
              <a:gd name="connsiteX2025" fmla="*/ 54605 w 4021668"/>
              <a:gd name="connsiteY2025" fmla="*/ 3628324 h 6121401"/>
              <a:gd name="connsiteX2026" fmla="*/ 54137 w 4021668"/>
              <a:gd name="connsiteY2026" fmla="*/ 3626838 h 6121401"/>
              <a:gd name="connsiteX2027" fmla="*/ 57685 w 4021668"/>
              <a:gd name="connsiteY2027" fmla="*/ 3616570 h 6121401"/>
              <a:gd name="connsiteX2028" fmla="*/ 53012 w 4021668"/>
              <a:gd name="connsiteY2028" fmla="*/ 3623258 h 6121401"/>
              <a:gd name="connsiteX2029" fmla="*/ 51525 w 4021668"/>
              <a:gd name="connsiteY2029" fmla="*/ 3618527 h 6121401"/>
              <a:gd name="connsiteX2030" fmla="*/ 46266 w 4021668"/>
              <a:gd name="connsiteY2030" fmla="*/ 3630236 h 6121401"/>
              <a:gd name="connsiteX2031" fmla="*/ 43313 w 4021668"/>
              <a:gd name="connsiteY2031" fmla="*/ 3631996 h 6121401"/>
              <a:gd name="connsiteX2032" fmla="*/ 37156 w 4021668"/>
              <a:gd name="connsiteY2032" fmla="*/ 3634201 h 6121401"/>
              <a:gd name="connsiteX2033" fmla="*/ 28943 w 4021668"/>
              <a:gd name="connsiteY2033" fmla="*/ 3647916 h 6121401"/>
              <a:gd name="connsiteX2034" fmla="*/ 47419 w 4021668"/>
              <a:gd name="connsiteY2034" fmla="*/ 3606775 h 6121401"/>
              <a:gd name="connsiteX2035" fmla="*/ 55632 w 4021668"/>
              <a:gd name="connsiteY2035" fmla="*/ 3596978 h 6121401"/>
              <a:gd name="connsiteX2036" fmla="*/ 63843 w 4021668"/>
              <a:gd name="connsiteY2036" fmla="*/ 3595017 h 6121401"/>
              <a:gd name="connsiteX2037" fmla="*/ 74108 w 4021668"/>
              <a:gd name="connsiteY2037" fmla="*/ 3596978 h 6121401"/>
              <a:gd name="connsiteX2038" fmla="*/ 79079 w 4021668"/>
              <a:gd name="connsiteY2038" fmla="*/ 3587488 h 6121401"/>
              <a:gd name="connsiteX2039" fmla="*/ 72056 w 4021668"/>
              <a:gd name="connsiteY2039" fmla="*/ 3600896 h 6121401"/>
              <a:gd name="connsiteX2040" fmla="*/ 84116 w 4021668"/>
              <a:gd name="connsiteY2040" fmla="*/ 3594039 h 6121401"/>
              <a:gd name="connsiteX2041" fmla="*/ 82319 w 4021668"/>
              <a:gd name="connsiteY2041" fmla="*/ 3581306 h 6121401"/>
              <a:gd name="connsiteX2042" fmla="*/ 88479 w 4021668"/>
              <a:gd name="connsiteY2042" fmla="*/ 3569550 h 6121401"/>
              <a:gd name="connsiteX2043" fmla="*/ 106955 w 4021668"/>
              <a:gd name="connsiteY2043" fmla="*/ 3546040 h 6121401"/>
              <a:gd name="connsiteX2044" fmla="*/ 109009 w 4021668"/>
              <a:gd name="connsiteY2044" fmla="*/ 3544082 h 6121401"/>
              <a:gd name="connsiteX2045" fmla="*/ 102849 w 4021668"/>
              <a:gd name="connsiteY2045" fmla="*/ 3540163 h 6121401"/>
              <a:gd name="connsiteX2046" fmla="*/ 115167 w 4021668"/>
              <a:gd name="connsiteY2046" fmla="*/ 3516654 h 6121401"/>
              <a:gd name="connsiteX2047" fmla="*/ 106955 w 4021668"/>
              <a:gd name="connsiteY2047" fmla="*/ 3514696 h 6121401"/>
              <a:gd name="connsiteX2048" fmla="*/ 109009 w 4021668"/>
              <a:gd name="connsiteY2048" fmla="*/ 3500981 h 6121401"/>
              <a:gd name="connsiteX2049" fmla="*/ 98743 w 4021668"/>
              <a:gd name="connsiteY2049" fmla="*/ 3508816 h 6121401"/>
              <a:gd name="connsiteX2050" fmla="*/ 113113 w 4021668"/>
              <a:gd name="connsiteY2050" fmla="*/ 3487267 h 6121401"/>
              <a:gd name="connsiteX2051" fmla="*/ 127485 w 4021668"/>
              <a:gd name="connsiteY2051" fmla="*/ 3473552 h 6121401"/>
              <a:gd name="connsiteX2052" fmla="*/ 133642 w 4021668"/>
              <a:gd name="connsiteY2052" fmla="*/ 3455920 h 6121401"/>
              <a:gd name="connsiteX2053" fmla="*/ 135696 w 4021668"/>
              <a:gd name="connsiteY2053" fmla="*/ 3452003 h 6121401"/>
              <a:gd name="connsiteX2054" fmla="*/ 152121 w 4021668"/>
              <a:gd name="connsiteY2054" fmla="*/ 3436329 h 6121401"/>
              <a:gd name="connsiteX2055" fmla="*/ 143910 w 4021668"/>
              <a:gd name="connsiteY2055" fmla="*/ 3432411 h 6121401"/>
              <a:gd name="connsiteX2056" fmla="*/ 145964 w 4021668"/>
              <a:gd name="connsiteY2056" fmla="*/ 3430453 h 6121401"/>
              <a:gd name="connsiteX2057" fmla="*/ 152121 w 4021668"/>
              <a:gd name="connsiteY2057" fmla="*/ 3432411 h 6121401"/>
              <a:gd name="connsiteX2058" fmla="*/ 170600 w 4021668"/>
              <a:gd name="connsiteY2058" fmla="*/ 3403025 h 6121401"/>
              <a:gd name="connsiteX2059" fmla="*/ 168545 w 4021668"/>
              <a:gd name="connsiteY2059" fmla="*/ 3401065 h 6121401"/>
              <a:gd name="connsiteX2060" fmla="*/ 158279 w 4021668"/>
              <a:gd name="connsiteY2060" fmla="*/ 3408900 h 6121401"/>
              <a:gd name="connsiteX2061" fmla="*/ 156228 w 4021668"/>
              <a:gd name="connsiteY2061" fmla="*/ 3406943 h 6121401"/>
              <a:gd name="connsiteX2062" fmla="*/ 178809 w 4021668"/>
              <a:gd name="connsiteY2062" fmla="*/ 3373636 h 6121401"/>
              <a:gd name="connsiteX2063" fmla="*/ 193182 w 4021668"/>
              <a:gd name="connsiteY2063" fmla="*/ 3375596 h 6121401"/>
              <a:gd name="connsiteX2064" fmla="*/ 189076 w 4021668"/>
              <a:gd name="connsiteY2064" fmla="*/ 3356005 h 6121401"/>
              <a:gd name="connsiteX2065" fmla="*/ 199339 w 4021668"/>
              <a:gd name="connsiteY2065" fmla="*/ 3346207 h 6121401"/>
              <a:gd name="connsiteX2066" fmla="*/ 201394 w 4021668"/>
              <a:gd name="connsiteY2066" fmla="*/ 3344249 h 6121401"/>
              <a:gd name="connsiteX2067" fmla="*/ 236295 w 4021668"/>
              <a:gd name="connsiteY2067" fmla="*/ 3297230 h 6121401"/>
              <a:gd name="connsiteX2068" fmla="*/ 236295 w 4021668"/>
              <a:gd name="connsiteY2068" fmla="*/ 3295271 h 6121401"/>
              <a:gd name="connsiteX2069" fmla="*/ 242454 w 4021668"/>
              <a:gd name="connsiteY2069" fmla="*/ 3299190 h 6121401"/>
              <a:gd name="connsiteX2070" fmla="*/ 260930 w 4021668"/>
              <a:gd name="connsiteY2070" fmla="*/ 3287432 h 6121401"/>
              <a:gd name="connsiteX2071" fmla="*/ 246557 w 4021668"/>
              <a:gd name="connsiteY2071" fmla="*/ 3273720 h 6121401"/>
              <a:gd name="connsiteX2072" fmla="*/ 254771 w 4021668"/>
              <a:gd name="connsiteY2072" fmla="*/ 3263925 h 6121401"/>
              <a:gd name="connsiteX2073" fmla="*/ 261699 w 4021668"/>
              <a:gd name="connsiteY2073" fmla="*/ 3250701 h 6121401"/>
              <a:gd name="connsiteX2074" fmla="*/ 255789 w 4021668"/>
              <a:gd name="connsiteY2074" fmla="*/ 3246056 h 6121401"/>
              <a:gd name="connsiteX2075" fmla="*/ 258876 w 4021668"/>
              <a:gd name="connsiteY2075" fmla="*/ 3242373 h 6121401"/>
              <a:gd name="connsiteX2076" fmla="*/ 253856 w 4021668"/>
              <a:gd name="connsiteY2076" fmla="*/ 3244537 h 6121401"/>
              <a:gd name="connsiteX2077" fmla="*/ 248611 w 4021668"/>
              <a:gd name="connsiteY2077" fmla="*/ 3240416 h 6121401"/>
              <a:gd name="connsiteX2078" fmla="*/ 271194 w 4021668"/>
              <a:gd name="connsiteY2078" fmla="*/ 3228660 h 6121401"/>
              <a:gd name="connsiteX2079" fmla="*/ 287618 w 4021668"/>
              <a:gd name="connsiteY2079" fmla="*/ 3209069 h 6121401"/>
              <a:gd name="connsiteX2080" fmla="*/ 273248 w 4021668"/>
              <a:gd name="connsiteY2080" fmla="*/ 3212987 h 6121401"/>
              <a:gd name="connsiteX2081" fmla="*/ 271194 w 4021668"/>
              <a:gd name="connsiteY2081" fmla="*/ 3211029 h 6121401"/>
              <a:gd name="connsiteX2082" fmla="*/ 281459 w 4021668"/>
              <a:gd name="connsiteY2082" fmla="*/ 3195355 h 6121401"/>
              <a:gd name="connsiteX2083" fmla="*/ 291724 w 4021668"/>
              <a:gd name="connsiteY2083" fmla="*/ 3185559 h 6121401"/>
              <a:gd name="connsiteX2084" fmla="*/ 287618 w 4021668"/>
              <a:gd name="connsiteY2084" fmla="*/ 3185559 h 6121401"/>
              <a:gd name="connsiteX2085" fmla="*/ 281459 w 4021668"/>
              <a:gd name="connsiteY2085" fmla="*/ 3183601 h 6121401"/>
              <a:gd name="connsiteX2086" fmla="*/ 285567 w 4021668"/>
              <a:gd name="connsiteY2086" fmla="*/ 3158130 h 6121401"/>
              <a:gd name="connsiteX2087" fmla="*/ 269142 w 4021668"/>
              <a:gd name="connsiteY2087" fmla="*/ 3154212 h 6121401"/>
              <a:gd name="connsiteX2088" fmla="*/ 242454 w 4021668"/>
              <a:gd name="connsiteY2088" fmla="*/ 3144418 h 6121401"/>
              <a:gd name="connsiteX2089" fmla="*/ 228081 w 4021668"/>
              <a:gd name="connsiteY2089" fmla="*/ 3126786 h 6121401"/>
              <a:gd name="connsiteX2090" fmla="*/ 234242 w 4021668"/>
              <a:gd name="connsiteY2090" fmla="*/ 3113070 h 6121401"/>
              <a:gd name="connsiteX2091" fmla="*/ 246557 w 4021668"/>
              <a:gd name="connsiteY2091" fmla="*/ 3091521 h 6121401"/>
              <a:gd name="connsiteX2092" fmla="*/ 283512 w 4021668"/>
              <a:gd name="connsiteY2092" fmla="*/ 3050377 h 6121401"/>
              <a:gd name="connsiteX2093" fmla="*/ 281459 w 4021668"/>
              <a:gd name="connsiteY2093" fmla="*/ 3048420 h 6121401"/>
              <a:gd name="connsiteX2094" fmla="*/ 286387 w 4021668"/>
              <a:gd name="connsiteY2094" fmla="*/ 3040583 h 6121401"/>
              <a:gd name="connsiteX2095" fmla="*/ 288645 w 4021668"/>
              <a:gd name="connsiteY2095" fmla="*/ 3040583 h 6121401"/>
              <a:gd name="connsiteX2096" fmla="*/ 289672 w 4021668"/>
              <a:gd name="connsiteY2096" fmla="*/ 3042541 h 6121401"/>
              <a:gd name="connsiteX2097" fmla="*/ 292751 w 4021668"/>
              <a:gd name="connsiteY2097" fmla="*/ 3040583 h 6121401"/>
              <a:gd name="connsiteX2098" fmla="*/ 297881 w 4021668"/>
              <a:gd name="connsiteY2098" fmla="*/ 3040583 h 6121401"/>
              <a:gd name="connsiteX2099" fmla="*/ 295182 w 4021668"/>
              <a:gd name="connsiteY2099" fmla="*/ 3039038 h 6121401"/>
              <a:gd name="connsiteX2100" fmla="*/ 295829 w 4021668"/>
              <a:gd name="connsiteY2100" fmla="*/ 3038625 h 6121401"/>
              <a:gd name="connsiteX2101" fmla="*/ 299935 w 4021668"/>
              <a:gd name="connsiteY2101" fmla="*/ 3038625 h 6121401"/>
              <a:gd name="connsiteX2102" fmla="*/ 299935 w 4021668"/>
              <a:gd name="connsiteY2102" fmla="*/ 3044501 h 6121401"/>
              <a:gd name="connsiteX2103" fmla="*/ 299935 w 4021668"/>
              <a:gd name="connsiteY2103" fmla="*/ 3048420 h 6121401"/>
              <a:gd name="connsiteX2104" fmla="*/ 300963 w 4021668"/>
              <a:gd name="connsiteY2104" fmla="*/ 3048420 h 6121401"/>
              <a:gd name="connsiteX2105" fmla="*/ 301991 w 4021668"/>
              <a:gd name="connsiteY2105" fmla="*/ 3052338 h 6121401"/>
              <a:gd name="connsiteX2106" fmla="*/ 306097 w 4021668"/>
              <a:gd name="connsiteY2106" fmla="*/ 3048420 h 6121401"/>
              <a:gd name="connsiteX2107" fmla="*/ 304043 w 4021668"/>
              <a:gd name="connsiteY2107" fmla="*/ 3048420 h 6121401"/>
              <a:gd name="connsiteX2108" fmla="*/ 303005 w 4021668"/>
              <a:gd name="connsiteY2108" fmla="*/ 3047430 h 6121401"/>
              <a:gd name="connsiteX2109" fmla="*/ 314565 w 4021668"/>
              <a:gd name="connsiteY2109" fmla="*/ 3036176 h 6121401"/>
              <a:gd name="connsiteX2110" fmla="*/ 322519 w 4021668"/>
              <a:gd name="connsiteY2110" fmla="*/ 3032746 h 6121401"/>
              <a:gd name="connsiteX2111" fmla="*/ 326627 w 4021668"/>
              <a:gd name="connsiteY2111" fmla="*/ 3038625 h 6121401"/>
              <a:gd name="connsiteX2112" fmla="*/ 353315 w 4021668"/>
              <a:gd name="connsiteY2112" fmla="*/ 3040583 h 6121401"/>
              <a:gd name="connsiteX2113" fmla="*/ 380002 w 4021668"/>
              <a:gd name="connsiteY2113" fmla="*/ 3032746 h 6121401"/>
              <a:gd name="connsiteX2114" fmla="*/ 388214 w 4021668"/>
              <a:gd name="connsiteY2114" fmla="*/ 3038625 h 6121401"/>
              <a:gd name="connsiteX2115" fmla="*/ 386163 w 4021668"/>
              <a:gd name="connsiteY2115" fmla="*/ 3042541 h 6121401"/>
              <a:gd name="connsiteX2116" fmla="*/ 373845 w 4021668"/>
              <a:gd name="connsiteY2116" fmla="*/ 3048420 h 6121401"/>
              <a:gd name="connsiteX2117" fmla="*/ 380002 w 4021668"/>
              <a:gd name="connsiteY2117" fmla="*/ 3050377 h 6121401"/>
              <a:gd name="connsiteX2118" fmla="*/ 396426 w 4021668"/>
              <a:gd name="connsiteY2118" fmla="*/ 3038625 h 6121401"/>
              <a:gd name="connsiteX2119" fmla="*/ 396426 w 4021668"/>
              <a:gd name="connsiteY2119" fmla="*/ 3030788 h 6121401"/>
              <a:gd name="connsiteX2120" fmla="*/ 445699 w 4021668"/>
              <a:gd name="connsiteY2120" fmla="*/ 3003361 h 6121401"/>
              <a:gd name="connsiteX2121" fmla="*/ 451856 w 4021668"/>
              <a:gd name="connsiteY2121" fmla="*/ 3007278 h 6121401"/>
              <a:gd name="connsiteX2122" fmla="*/ 437487 w 4021668"/>
              <a:gd name="connsiteY2122" fmla="*/ 3022950 h 6121401"/>
              <a:gd name="connsiteX2123" fmla="*/ 421063 w 4021668"/>
              <a:gd name="connsiteY2123" fmla="*/ 3038625 h 6121401"/>
              <a:gd name="connsiteX2124" fmla="*/ 439541 w 4021668"/>
              <a:gd name="connsiteY2124" fmla="*/ 3034707 h 6121401"/>
              <a:gd name="connsiteX2125" fmla="*/ 439541 w 4021668"/>
              <a:gd name="connsiteY2125" fmla="*/ 3032746 h 6121401"/>
              <a:gd name="connsiteX2126" fmla="*/ 439541 w 4021668"/>
              <a:gd name="connsiteY2126" fmla="*/ 3028827 h 6121401"/>
              <a:gd name="connsiteX2127" fmla="*/ 460069 w 4021668"/>
              <a:gd name="connsiteY2127" fmla="*/ 3013154 h 6121401"/>
              <a:gd name="connsiteX2128" fmla="*/ 455962 w 4021668"/>
              <a:gd name="connsiteY2128" fmla="*/ 3020992 h 6121401"/>
              <a:gd name="connsiteX2129" fmla="*/ 451856 w 4021668"/>
              <a:gd name="connsiteY2129" fmla="*/ 3028827 h 6121401"/>
              <a:gd name="connsiteX2130" fmla="*/ 445699 w 4021668"/>
              <a:gd name="connsiteY2130" fmla="*/ 3036665 h 6121401"/>
              <a:gd name="connsiteX2131" fmla="*/ 443647 w 4021668"/>
              <a:gd name="connsiteY2131" fmla="*/ 3040583 h 6121401"/>
              <a:gd name="connsiteX2132" fmla="*/ 441593 w 4021668"/>
              <a:gd name="connsiteY2132" fmla="*/ 3040583 h 6121401"/>
              <a:gd name="connsiteX2133" fmla="*/ 431326 w 4021668"/>
              <a:gd name="connsiteY2133" fmla="*/ 3048420 h 6121401"/>
              <a:gd name="connsiteX2134" fmla="*/ 431326 w 4021668"/>
              <a:gd name="connsiteY2134" fmla="*/ 3054298 h 6121401"/>
              <a:gd name="connsiteX2135" fmla="*/ 447754 w 4021668"/>
              <a:gd name="connsiteY2135" fmla="*/ 3048420 h 6121401"/>
              <a:gd name="connsiteX2136" fmla="*/ 431326 w 4021668"/>
              <a:gd name="connsiteY2136" fmla="*/ 3069970 h 6121401"/>
              <a:gd name="connsiteX2137" fmla="*/ 433380 w 4021668"/>
              <a:gd name="connsiteY2137" fmla="*/ 3083685 h 6121401"/>
              <a:gd name="connsiteX2138" fmla="*/ 441593 w 4021668"/>
              <a:gd name="connsiteY2138" fmla="*/ 3075847 h 6121401"/>
              <a:gd name="connsiteX2139" fmla="*/ 486759 w 4021668"/>
              <a:gd name="connsiteY2139" fmla="*/ 3017073 h 6121401"/>
              <a:gd name="connsiteX2140" fmla="*/ 484705 w 4021668"/>
              <a:gd name="connsiteY2140" fmla="*/ 3017073 h 6121401"/>
              <a:gd name="connsiteX2141" fmla="*/ 490865 w 4021668"/>
              <a:gd name="connsiteY2141" fmla="*/ 3007278 h 6121401"/>
              <a:gd name="connsiteX2142" fmla="*/ 490865 w 4021668"/>
              <a:gd name="connsiteY2142" fmla="*/ 3005318 h 6121401"/>
              <a:gd name="connsiteX2143" fmla="*/ 482653 w 4021668"/>
              <a:gd name="connsiteY2143" fmla="*/ 2993563 h 6121401"/>
              <a:gd name="connsiteX2144" fmla="*/ 484705 w 4021668"/>
              <a:gd name="connsiteY2144" fmla="*/ 2989647 h 6121401"/>
              <a:gd name="connsiteX2145" fmla="*/ 479059 w 4021668"/>
              <a:gd name="connsiteY2145" fmla="*/ 2994053 h 6121401"/>
              <a:gd name="connsiteX2146" fmla="*/ 476494 w 4021668"/>
              <a:gd name="connsiteY2146" fmla="*/ 2995523 h 6121401"/>
              <a:gd name="connsiteX2147" fmla="*/ 478546 w 4021668"/>
              <a:gd name="connsiteY2147" fmla="*/ 2993563 h 6121401"/>
              <a:gd name="connsiteX2148" fmla="*/ 494971 w 4021668"/>
              <a:gd name="connsiteY2148" fmla="*/ 2975932 h 6121401"/>
              <a:gd name="connsiteX2149" fmla="*/ 488811 w 4021668"/>
              <a:gd name="connsiteY2149" fmla="*/ 2977890 h 6121401"/>
              <a:gd name="connsiteX2150" fmla="*/ 494971 w 4021668"/>
              <a:gd name="connsiteY2150" fmla="*/ 2968095 h 6121401"/>
              <a:gd name="connsiteX2151" fmla="*/ 478546 w 4021668"/>
              <a:gd name="connsiteY2151" fmla="*/ 2972014 h 6121401"/>
              <a:gd name="connsiteX2152" fmla="*/ 488811 w 4021668"/>
              <a:gd name="connsiteY2152" fmla="*/ 2954380 h 6121401"/>
              <a:gd name="connsiteX2153" fmla="*/ 474441 w 4021668"/>
              <a:gd name="connsiteY2153" fmla="*/ 2964176 h 6121401"/>
              <a:gd name="connsiteX2154" fmla="*/ 468283 w 4021668"/>
              <a:gd name="connsiteY2154" fmla="*/ 2964176 h 6121401"/>
              <a:gd name="connsiteX2155" fmla="*/ 466229 w 4021668"/>
              <a:gd name="connsiteY2155" fmla="*/ 2948504 h 6121401"/>
              <a:gd name="connsiteX2156" fmla="*/ 482653 w 4021668"/>
              <a:gd name="connsiteY2156" fmla="*/ 2932831 h 6121401"/>
              <a:gd name="connsiteX2157" fmla="*/ 480599 w 4021668"/>
              <a:gd name="connsiteY2157" fmla="*/ 2923036 h 6121401"/>
              <a:gd name="connsiteX2158" fmla="*/ 462123 w 4021668"/>
              <a:gd name="connsiteY2158" fmla="*/ 2934789 h 6121401"/>
              <a:gd name="connsiteX2159" fmla="*/ 449805 w 4021668"/>
              <a:gd name="connsiteY2159" fmla="*/ 2923036 h 6121401"/>
              <a:gd name="connsiteX2160" fmla="*/ 447754 w 4021668"/>
              <a:gd name="connsiteY2160" fmla="*/ 2924994 h 6121401"/>
              <a:gd name="connsiteX2161" fmla="*/ 441593 w 4021668"/>
              <a:gd name="connsiteY2161" fmla="*/ 2930872 h 6121401"/>
              <a:gd name="connsiteX2162" fmla="*/ 429274 w 4021668"/>
              <a:gd name="connsiteY2162" fmla="*/ 2950464 h 6121401"/>
              <a:gd name="connsiteX2163" fmla="*/ 402587 w 4021668"/>
              <a:gd name="connsiteY2163" fmla="*/ 2966137 h 6121401"/>
              <a:gd name="connsiteX2164" fmla="*/ 414901 w 4021668"/>
              <a:gd name="connsiteY2164" fmla="*/ 2946545 h 6121401"/>
              <a:gd name="connsiteX2165" fmla="*/ 439541 w 4021668"/>
              <a:gd name="connsiteY2165" fmla="*/ 2919117 h 6121401"/>
              <a:gd name="connsiteX2166" fmla="*/ 445699 w 4021668"/>
              <a:gd name="connsiteY2166" fmla="*/ 2913238 h 6121401"/>
              <a:gd name="connsiteX2167" fmla="*/ 445699 w 4021668"/>
              <a:gd name="connsiteY2167" fmla="*/ 2909320 h 6121401"/>
              <a:gd name="connsiteX2168" fmla="*/ 458016 w 4021668"/>
              <a:gd name="connsiteY2168" fmla="*/ 2901484 h 6121401"/>
              <a:gd name="connsiteX2169" fmla="*/ 458016 w 4021668"/>
              <a:gd name="connsiteY2169" fmla="*/ 2903444 h 6121401"/>
              <a:gd name="connsiteX2170" fmla="*/ 466229 w 4021668"/>
              <a:gd name="connsiteY2170" fmla="*/ 2905402 h 6121401"/>
              <a:gd name="connsiteX2171" fmla="*/ 472387 w 4021668"/>
              <a:gd name="connsiteY2171" fmla="*/ 2899526 h 6121401"/>
              <a:gd name="connsiteX2172" fmla="*/ 478546 w 4021668"/>
              <a:gd name="connsiteY2172" fmla="*/ 2883853 h 6121401"/>
              <a:gd name="connsiteX2173" fmla="*/ 470335 w 4021668"/>
              <a:gd name="connsiteY2173" fmla="*/ 2874055 h 6121401"/>
              <a:gd name="connsiteX2174" fmla="*/ 468283 w 4021668"/>
              <a:gd name="connsiteY2174" fmla="*/ 2876016 h 6121401"/>
              <a:gd name="connsiteX2175" fmla="*/ 455962 w 4021668"/>
              <a:gd name="connsiteY2175" fmla="*/ 2887771 h 6121401"/>
              <a:gd name="connsiteX2176" fmla="*/ 431326 w 4021668"/>
              <a:gd name="connsiteY2176" fmla="*/ 2911281 h 6121401"/>
              <a:gd name="connsiteX2177" fmla="*/ 423117 w 4021668"/>
              <a:gd name="connsiteY2177" fmla="*/ 2915198 h 6121401"/>
              <a:gd name="connsiteX2178" fmla="*/ 406693 w 4021668"/>
              <a:gd name="connsiteY2178" fmla="*/ 2932831 h 6121401"/>
              <a:gd name="connsiteX2179" fmla="*/ 398480 w 4021668"/>
              <a:gd name="connsiteY2179" fmla="*/ 2934789 h 6121401"/>
              <a:gd name="connsiteX2180" fmla="*/ 421063 w 4021668"/>
              <a:gd name="connsiteY2180" fmla="*/ 2907363 h 6121401"/>
              <a:gd name="connsiteX2181" fmla="*/ 424142 w 4021668"/>
              <a:gd name="connsiteY2181" fmla="*/ 2905158 h 6121401"/>
              <a:gd name="connsiteX2182" fmla="*/ 426765 w 4021668"/>
              <a:gd name="connsiteY2182" fmla="*/ 2907035 h 6121401"/>
              <a:gd name="connsiteX2183" fmla="*/ 425169 w 4021668"/>
              <a:gd name="connsiteY2183" fmla="*/ 2909320 h 6121401"/>
              <a:gd name="connsiteX2184" fmla="*/ 427223 w 4021668"/>
              <a:gd name="connsiteY2184" fmla="*/ 2907363 h 6121401"/>
              <a:gd name="connsiteX2185" fmla="*/ 426765 w 4021668"/>
              <a:gd name="connsiteY2185" fmla="*/ 2907035 h 6121401"/>
              <a:gd name="connsiteX2186" fmla="*/ 429274 w 4021668"/>
              <a:gd name="connsiteY2186" fmla="*/ 2903444 h 6121401"/>
              <a:gd name="connsiteX2187" fmla="*/ 464175 w 4021668"/>
              <a:gd name="connsiteY2187" fmla="*/ 2868179 h 6121401"/>
              <a:gd name="connsiteX2188" fmla="*/ 466229 w 4021668"/>
              <a:gd name="connsiteY2188" fmla="*/ 2866219 h 6121401"/>
              <a:gd name="connsiteX2189" fmla="*/ 460069 w 4021668"/>
              <a:gd name="connsiteY2189" fmla="*/ 2860342 h 6121401"/>
              <a:gd name="connsiteX2190" fmla="*/ 443647 w 4021668"/>
              <a:gd name="connsiteY2190" fmla="*/ 2876016 h 6121401"/>
              <a:gd name="connsiteX2191" fmla="*/ 421063 w 4021668"/>
              <a:gd name="connsiteY2191" fmla="*/ 2895607 h 6121401"/>
              <a:gd name="connsiteX2192" fmla="*/ 416955 w 4021668"/>
              <a:gd name="connsiteY2192" fmla="*/ 2895607 h 6121401"/>
              <a:gd name="connsiteX2193" fmla="*/ 400532 w 4021668"/>
              <a:gd name="connsiteY2193" fmla="*/ 2913238 h 6121401"/>
              <a:gd name="connsiteX2194" fmla="*/ 416955 w 4021668"/>
              <a:gd name="connsiteY2194" fmla="*/ 2883853 h 6121401"/>
              <a:gd name="connsiteX2195" fmla="*/ 406693 w 4021668"/>
              <a:gd name="connsiteY2195" fmla="*/ 2876016 h 6121401"/>
              <a:gd name="connsiteX2196" fmla="*/ 396426 w 4021668"/>
              <a:gd name="connsiteY2196" fmla="*/ 2864260 h 6121401"/>
              <a:gd name="connsiteX2197" fmla="*/ 392321 w 4021668"/>
              <a:gd name="connsiteY2197" fmla="*/ 2860342 h 6121401"/>
              <a:gd name="connsiteX2198" fmla="*/ 390267 w 4021668"/>
              <a:gd name="connsiteY2198" fmla="*/ 2860342 h 6121401"/>
              <a:gd name="connsiteX2199" fmla="*/ 386163 w 4021668"/>
              <a:gd name="connsiteY2199" fmla="*/ 2868179 h 6121401"/>
              <a:gd name="connsiteX2200" fmla="*/ 377950 w 4021668"/>
              <a:gd name="connsiteY2200" fmla="*/ 2862302 h 6121401"/>
              <a:gd name="connsiteX2201" fmla="*/ 371791 w 4021668"/>
              <a:gd name="connsiteY2201" fmla="*/ 2864260 h 6121401"/>
              <a:gd name="connsiteX2202" fmla="*/ 349207 w 4021668"/>
              <a:gd name="connsiteY2202" fmla="*/ 2881894 h 6121401"/>
              <a:gd name="connsiteX2203" fmla="*/ 334839 w 4021668"/>
              <a:gd name="connsiteY2203" fmla="*/ 2854466 h 6121401"/>
              <a:gd name="connsiteX2204" fmla="*/ 334839 w 4021668"/>
              <a:gd name="connsiteY2204" fmla="*/ 2852506 h 6121401"/>
              <a:gd name="connsiteX2205" fmla="*/ 328678 w 4021668"/>
              <a:gd name="connsiteY2205" fmla="*/ 2854466 h 6121401"/>
              <a:gd name="connsiteX2206" fmla="*/ 312254 w 4021668"/>
              <a:gd name="connsiteY2206" fmla="*/ 2858385 h 6121401"/>
              <a:gd name="connsiteX2207" fmla="*/ 295829 w 4021668"/>
              <a:gd name="connsiteY2207" fmla="*/ 2876016 h 6121401"/>
              <a:gd name="connsiteX2208" fmla="*/ 287618 w 4021668"/>
              <a:gd name="connsiteY2208" fmla="*/ 2877976 h 6121401"/>
              <a:gd name="connsiteX2209" fmla="*/ 301991 w 4021668"/>
              <a:gd name="connsiteY2209" fmla="*/ 2858385 h 6121401"/>
              <a:gd name="connsiteX2210" fmla="*/ 291724 w 4021668"/>
              <a:gd name="connsiteY2210" fmla="*/ 2856424 h 6121401"/>
              <a:gd name="connsiteX2211" fmla="*/ 244506 w 4021668"/>
              <a:gd name="connsiteY2211" fmla="*/ 2836832 h 6121401"/>
              <a:gd name="connsiteX2212" fmla="*/ 221924 w 4021668"/>
              <a:gd name="connsiteY2212" fmla="*/ 2844668 h 6121401"/>
              <a:gd name="connsiteX2213" fmla="*/ 213712 w 4021668"/>
              <a:gd name="connsiteY2213" fmla="*/ 2844668 h 6121401"/>
              <a:gd name="connsiteX2214" fmla="*/ 213712 w 4021668"/>
              <a:gd name="connsiteY2214" fmla="*/ 2834875 h 6121401"/>
              <a:gd name="connsiteX2215" fmla="*/ 217819 w 4021668"/>
              <a:gd name="connsiteY2215" fmla="*/ 2832915 h 6121401"/>
              <a:gd name="connsiteX2216" fmla="*/ 213712 w 4021668"/>
              <a:gd name="connsiteY2216" fmla="*/ 2828995 h 6121401"/>
              <a:gd name="connsiteX2217" fmla="*/ 213712 w 4021668"/>
              <a:gd name="connsiteY2217" fmla="*/ 2821159 h 6121401"/>
              <a:gd name="connsiteX2218" fmla="*/ 207552 w 4021668"/>
              <a:gd name="connsiteY2218" fmla="*/ 2823119 h 6121401"/>
              <a:gd name="connsiteX2219" fmla="*/ 209606 w 4021668"/>
              <a:gd name="connsiteY2219" fmla="*/ 2823119 h 6121401"/>
              <a:gd name="connsiteX2220" fmla="*/ 211658 w 4021668"/>
              <a:gd name="connsiteY2220" fmla="*/ 2825077 h 6121401"/>
              <a:gd name="connsiteX2221" fmla="*/ 207552 w 4021668"/>
              <a:gd name="connsiteY2221" fmla="*/ 2828995 h 6121401"/>
              <a:gd name="connsiteX2222" fmla="*/ 203445 w 4021668"/>
              <a:gd name="connsiteY2222" fmla="*/ 2827038 h 6121401"/>
              <a:gd name="connsiteX2223" fmla="*/ 205497 w 4021668"/>
              <a:gd name="connsiteY2223" fmla="*/ 2825077 h 6121401"/>
              <a:gd name="connsiteX2224" fmla="*/ 203445 w 4021668"/>
              <a:gd name="connsiteY2224" fmla="*/ 2825077 h 6121401"/>
              <a:gd name="connsiteX2225" fmla="*/ 195233 w 4021668"/>
              <a:gd name="connsiteY2225" fmla="*/ 2825077 h 6121401"/>
              <a:gd name="connsiteX2226" fmla="*/ 207552 w 4021668"/>
              <a:gd name="connsiteY2226" fmla="*/ 2811364 h 6121401"/>
              <a:gd name="connsiteX2227" fmla="*/ 195233 w 4021668"/>
              <a:gd name="connsiteY2227" fmla="*/ 2805486 h 6121401"/>
              <a:gd name="connsiteX2228" fmla="*/ 193182 w 4021668"/>
              <a:gd name="connsiteY2228" fmla="*/ 2803528 h 6121401"/>
              <a:gd name="connsiteX2229" fmla="*/ 187021 w 4021668"/>
              <a:gd name="connsiteY2229" fmla="*/ 2803528 h 6121401"/>
              <a:gd name="connsiteX2230" fmla="*/ 182915 w 4021668"/>
              <a:gd name="connsiteY2230" fmla="*/ 2803528 h 6121401"/>
              <a:gd name="connsiteX2231" fmla="*/ 178809 w 4021668"/>
              <a:gd name="connsiteY2231" fmla="*/ 2801568 h 6121401"/>
              <a:gd name="connsiteX2232" fmla="*/ 143910 w 4021668"/>
              <a:gd name="connsiteY2232" fmla="*/ 2787855 h 6121401"/>
              <a:gd name="connsiteX2233" fmla="*/ 139804 w 4021668"/>
              <a:gd name="connsiteY2233" fmla="*/ 2787855 h 6121401"/>
              <a:gd name="connsiteX2234" fmla="*/ 137749 w 4021668"/>
              <a:gd name="connsiteY2234" fmla="*/ 2783937 h 6121401"/>
              <a:gd name="connsiteX2235" fmla="*/ 139804 w 4021668"/>
              <a:gd name="connsiteY2235" fmla="*/ 2783937 h 6121401"/>
              <a:gd name="connsiteX2236" fmla="*/ 135696 w 4021668"/>
              <a:gd name="connsiteY2236" fmla="*/ 2780017 h 6121401"/>
              <a:gd name="connsiteX2237" fmla="*/ 113113 w 4021668"/>
              <a:gd name="connsiteY2237" fmla="*/ 2787855 h 6121401"/>
              <a:gd name="connsiteX2238" fmla="*/ 104904 w 4021668"/>
              <a:gd name="connsiteY2238" fmla="*/ 2787855 h 6121401"/>
              <a:gd name="connsiteX2239" fmla="*/ 104904 w 4021668"/>
              <a:gd name="connsiteY2239" fmla="*/ 2778058 h 6121401"/>
              <a:gd name="connsiteX2240" fmla="*/ 109009 w 4021668"/>
              <a:gd name="connsiteY2240" fmla="*/ 2776099 h 6121401"/>
              <a:gd name="connsiteX2241" fmla="*/ 104904 w 4021668"/>
              <a:gd name="connsiteY2241" fmla="*/ 2772181 h 6121401"/>
              <a:gd name="connsiteX2242" fmla="*/ 104904 w 4021668"/>
              <a:gd name="connsiteY2242" fmla="*/ 2764344 h 6121401"/>
              <a:gd name="connsiteX2243" fmla="*/ 96691 w 4021668"/>
              <a:gd name="connsiteY2243" fmla="*/ 2768264 h 6121401"/>
              <a:gd name="connsiteX2244" fmla="*/ 88479 w 4021668"/>
              <a:gd name="connsiteY2244" fmla="*/ 2768264 h 6121401"/>
              <a:gd name="connsiteX2245" fmla="*/ 100797 w 4021668"/>
              <a:gd name="connsiteY2245" fmla="*/ 2754550 h 6121401"/>
              <a:gd name="connsiteX2246" fmla="*/ 88479 w 4021668"/>
              <a:gd name="connsiteY2246" fmla="*/ 2748671 h 6121401"/>
              <a:gd name="connsiteX2247" fmla="*/ 82319 w 4021668"/>
              <a:gd name="connsiteY2247" fmla="*/ 2746712 h 6121401"/>
              <a:gd name="connsiteX2248" fmla="*/ 74108 w 4021668"/>
              <a:gd name="connsiteY2248" fmla="*/ 2746712 h 6121401"/>
              <a:gd name="connsiteX2249" fmla="*/ 67948 w 4021668"/>
              <a:gd name="connsiteY2249" fmla="*/ 2738875 h 6121401"/>
              <a:gd name="connsiteX2250" fmla="*/ 72056 w 4021668"/>
              <a:gd name="connsiteY2250" fmla="*/ 2729080 h 6121401"/>
              <a:gd name="connsiteX2251" fmla="*/ 84373 w 4021668"/>
              <a:gd name="connsiteY2251" fmla="*/ 2723204 h 6121401"/>
              <a:gd name="connsiteX2252" fmla="*/ 94637 w 4021668"/>
              <a:gd name="connsiteY2252" fmla="*/ 2717325 h 6121401"/>
              <a:gd name="connsiteX2253" fmla="*/ 86424 w 4021668"/>
              <a:gd name="connsiteY2253" fmla="*/ 2715367 h 6121401"/>
              <a:gd name="connsiteX2254" fmla="*/ 106955 w 4021668"/>
              <a:gd name="connsiteY2254" fmla="*/ 2705572 h 6121401"/>
              <a:gd name="connsiteX2255" fmla="*/ 102849 w 4021668"/>
              <a:gd name="connsiteY2255" fmla="*/ 2713406 h 6121401"/>
              <a:gd name="connsiteX2256" fmla="*/ 127485 w 4021668"/>
              <a:gd name="connsiteY2256" fmla="*/ 2695775 h 6121401"/>
              <a:gd name="connsiteX2257" fmla="*/ 145964 w 4021668"/>
              <a:gd name="connsiteY2257" fmla="*/ 2684020 h 6121401"/>
              <a:gd name="connsiteX2258" fmla="*/ 152121 w 4021668"/>
              <a:gd name="connsiteY2258" fmla="*/ 2676183 h 6121401"/>
              <a:gd name="connsiteX2259" fmla="*/ 148015 w 4021668"/>
              <a:gd name="connsiteY2259" fmla="*/ 2678143 h 6121401"/>
              <a:gd name="connsiteX2260" fmla="*/ 189076 w 4021668"/>
              <a:gd name="connsiteY2260" fmla="*/ 2648755 h 6121401"/>
              <a:gd name="connsiteX2261" fmla="*/ 184970 w 4021668"/>
              <a:gd name="connsiteY2261" fmla="*/ 2654634 h 6121401"/>
              <a:gd name="connsiteX2262" fmla="*/ 201394 w 4021668"/>
              <a:gd name="connsiteY2262" fmla="*/ 2644837 h 6121401"/>
              <a:gd name="connsiteX2263" fmla="*/ 211658 w 4021668"/>
              <a:gd name="connsiteY2263" fmla="*/ 2638961 h 6121401"/>
              <a:gd name="connsiteX2264" fmla="*/ 201394 w 4021668"/>
              <a:gd name="connsiteY2264" fmla="*/ 2642879 h 6121401"/>
              <a:gd name="connsiteX2265" fmla="*/ 197287 w 4021668"/>
              <a:gd name="connsiteY2265" fmla="*/ 2642879 h 6121401"/>
              <a:gd name="connsiteX2266" fmla="*/ 203445 w 4021668"/>
              <a:gd name="connsiteY2266" fmla="*/ 2635042 h 6121401"/>
              <a:gd name="connsiteX2267" fmla="*/ 265036 w 4021668"/>
              <a:gd name="connsiteY2267" fmla="*/ 2591941 h 6121401"/>
              <a:gd name="connsiteX2268" fmla="*/ 254771 w 4021668"/>
              <a:gd name="connsiteY2268" fmla="*/ 2605653 h 6121401"/>
              <a:gd name="connsiteX2269" fmla="*/ 223976 w 4021668"/>
              <a:gd name="connsiteY2269" fmla="*/ 2627206 h 6121401"/>
              <a:gd name="connsiteX2270" fmla="*/ 213712 w 4021668"/>
              <a:gd name="connsiteY2270" fmla="*/ 2637000 h 6121401"/>
              <a:gd name="connsiteX2271" fmla="*/ 232187 w 4021668"/>
              <a:gd name="connsiteY2271" fmla="*/ 2633082 h 6121401"/>
              <a:gd name="connsiteX2272" fmla="*/ 215763 w 4021668"/>
              <a:gd name="connsiteY2272" fmla="*/ 2650713 h 6121401"/>
              <a:gd name="connsiteX2273" fmla="*/ 221924 w 4021668"/>
              <a:gd name="connsiteY2273" fmla="*/ 2648755 h 6121401"/>
              <a:gd name="connsiteX2274" fmla="*/ 271194 w 4021668"/>
              <a:gd name="connsiteY2274" fmla="*/ 2613490 h 6121401"/>
              <a:gd name="connsiteX2275" fmla="*/ 279405 w 4021668"/>
              <a:gd name="connsiteY2275" fmla="*/ 2591941 h 6121401"/>
              <a:gd name="connsiteX2276" fmla="*/ 279405 w 4021668"/>
              <a:gd name="connsiteY2276" fmla="*/ 2588022 h 6121401"/>
              <a:gd name="connsiteX2277" fmla="*/ 265036 w 4021668"/>
              <a:gd name="connsiteY2277" fmla="*/ 2589980 h 6121401"/>
              <a:gd name="connsiteX2278" fmla="*/ 279405 w 4021668"/>
              <a:gd name="connsiteY2278" fmla="*/ 2576267 h 6121401"/>
              <a:gd name="connsiteX2279" fmla="*/ 273248 w 4021668"/>
              <a:gd name="connsiteY2279" fmla="*/ 2578228 h 6121401"/>
              <a:gd name="connsiteX2280" fmla="*/ 209606 w 4021668"/>
              <a:gd name="connsiteY2280" fmla="*/ 2623288 h 6121401"/>
              <a:gd name="connsiteX2281" fmla="*/ 168545 w 4021668"/>
              <a:gd name="connsiteY2281" fmla="*/ 2648755 h 6121401"/>
              <a:gd name="connsiteX2282" fmla="*/ 168278 w 4021668"/>
              <a:gd name="connsiteY2282" fmla="*/ 2647228 h 6121401"/>
              <a:gd name="connsiteX2283" fmla="*/ 170600 w 4021668"/>
              <a:gd name="connsiteY2283" fmla="*/ 2644837 h 6121401"/>
              <a:gd name="connsiteX2284" fmla="*/ 168204 w 4021668"/>
              <a:gd name="connsiteY2284" fmla="*/ 2646797 h 6121401"/>
              <a:gd name="connsiteX2285" fmla="*/ 166491 w 4021668"/>
              <a:gd name="connsiteY2285" fmla="*/ 2637000 h 6121401"/>
              <a:gd name="connsiteX2286" fmla="*/ 184970 w 4021668"/>
              <a:gd name="connsiteY2286" fmla="*/ 2621326 h 6121401"/>
              <a:gd name="connsiteX2287" fmla="*/ 199339 w 4021668"/>
              <a:gd name="connsiteY2287" fmla="*/ 2607614 h 6121401"/>
              <a:gd name="connsiteX2288" fmla="*/ 209606 w 4021668"/>
              <a:gd name="connsiteY2288" fmla="*/ 2597819 h 6121401"/>
              <a:gd name="connsiteX2289" fmla="*/ 230133 w 4021668"/>
              <a:gd name="connsiteY2289" fmla="*/ 2586062 h 6121401"/>
              <a:gd name="connsiteX2290" fmla="*/ 279405 w 4021668"/>
              <a:gd name="connsiteY2290" fmla="*/ 2548839 h 6121401"/>
              <a:gd name="connsiteX2291" fmla="*/ 293778 w 4021668"/>
              <a:gd name="connsiteY2291" fmla="*/ 2533166 h 6121401"/>
              <a:gd name="connsiteX2292" fmla="*/ 304043 w 4021668"/>
              <a:gd name="connsiteY2292" fmla="*/ 2527290 h 6121401"/>
              <a:gd name="connsiteX2293" fmla="*/ 318411 w 4021668"/>
              <a:gd name="connsiteY2293" fmla="*/ 2517493 h 6121401"/>
              <a:gd name="connsiteX2294" fmla="*/ 318411 w 4021668"/>
              <a:gd name="connsiteY2294" fmla="*/ 2513575 h 6121401"/>
              <a:gd name="connsiteX2295" fmla="*/ 308148 w 4021668"/>
              <a:gd name="connsiteY2295" fmla="*/ 2519453 h 6121401"/>
              <a:gd name="connsiteX2296" fmla="*/ 318411 w 4021668"/>
              <a:gd name="connsiteY2296" fmla="*/ 2507698 h 6121401"/>
              <a:gd name="connsiteX2297" fmla="*/ 318411 w 4021668"/>
              <a:gd name="connsiteY2297" fmla="*/ 2493982 h 6121401"/>
              <a:gd name="connsiteX2298" fmla="*/ 273248 w 4021668"/>
              <a:gd name="connsiteY2298" fmla="*/ 2529250 h 6121401"/>
              <a:gd name="connsiteX2299" fmla="*/ 191128 w 4021668"/>
              <a:gd name="connsiteY2299" fmla="*/ 2591941 h 6121401"/>
              <a:gd name="connsiteX2300" fmla="*/ 180863 w 4021668"/>
              <a:gd name="connsiteY2300" fmla="*/ 2597819 h 6121401"/>
              <a:gd name="connsiteX2301" fmla="*/ 184970 w 4021668"/>
              <a:gd name="connsiteY2301" fmla="*/ 2591941 h 6121401"/>
              <a:gd name="connsiteX2302" fmla="*/ 246557 w 4021668"/>
              <a:gd name="connsiteY2302" fmla="*/ 2539044 h 6121401"/>
              <a:gd name="connsiteX2303" fmla="*/ 250663 w 4021668"/>
              <a:gd name="connsiteY2303" fmla="*/ 2535126 h 6121401"/>
              <a:gd name="connsiteX2304" fmla="*/ 285567 w 4021668"/>
              <a:gd name="connsiteY2304" fmla="*/ 2507698 h 6121401"/>
              <a:gd name="connsiteX2305" fmla="*/ 310202 w 4021668"/>
              <a:gd name="connsiteY2305" fmla="*/ 2488106 h 6121401"/>
              <a:gd name="connsiteX2306" fmla="*/ 314308 w 4021668"/>
              <a:gd name="connsiteY2306" fmla="*/ 2484188 h 6121401"/>
              <a:gd name="connsiteX2307" fmla="*/ 314308 w 4021668"/>
              <a:gd name="connsiteY2307" fmla="*/ 2458719 h 6121401"/>
              <a:gd name="connsiteX2308" fmla="*/ 328678 w 4021668"/>
              <a:gd name="connsiteY2308" fmla="*/ 2403864 h 6121401"/>
              <a:gd name="connsiteX2309" fmla="*/ 347153 w 4021668"/>
              <a:gd name="connsiteY2309" fmla="*/ 2349006 h 6121401"/>
              <a:gd name="connsiteX2310" fmla="*/ 349207 w 4021668"/>
              <a:gd name="connsiteY2310" fmla="*/ 2339212 h 6121401"/>
              <a:gd name="connsiteX2311" fmla="*/ 388214 w 4021668"/>
              <a:gd name="connsiteY2311" fmla="*/ 2262806 h 6121401"/>
              <a:gd name="connsiteX2312" fmla="*/ 410796 w 4021668"/>
              <a:gd name="connsiteY2312" fmla="*/ 2227541 h 6121401"/>
              <a:gd name="connsiteX2313" fmla="*/ 453911 w 4021668"/>
              <a:gd name="connsiteY2313" fmla="*/ 2166808 h 6121401"/>
              <a:gd name="connsiteX2314" fmla="*/ 503181 w 4021668"/>
              <a:gd name="connsiteY2314" fmla="*/ 2106075 h 6121401"/>
              <a:gd name="connsiteX2315" fmla="*/ 536031 w 4021668"/>
              <a:gd name="connsiteY2315" fmla="*/ 2066892 h 6121401"/>
              <a:gd name="connsiteX2316" fmla="*/ 572983 w 4021668"/>
              <a:gd name="connsiteY2316" fmla="*/ 2015953 h 6121401"/>
              <a:gd name="connsiteX2317" fmla="*/ 599674 w 4021668"/>
              <a:gd name="connsiteY2317" fmla="*/ 1968934 h 6121401"/>
              <a:gd name="connsiteX2318" fmla="*/ 646891 w 4021668"/>
              <a:gd name="connsiteY2318" fmla="*/ 1890569 h 6121401"/>
              <a:gd name="connsiteX2319" fmla="*/ 648947 w 4021668"/>
              <a:gd name="connsiteY2319" fmla="*/ 1888610 h 6121401"/>
              <a:gd name="connsiteX2320" fmla="*/ 650998 w 4021668"/>
              <a:gd name="connsiteY2320" fmla="*/ 1884692 h 6121401"/>
              <a:gd name="connsiteX2321" fmla="*/ 650998 w 4021668"/>
              <a:gd name="connsiteY2321" fmla="*/ 1870979 h 6121401"/>
              <a:gd name="connsiteX2322" fmla="*/ 653053 w 4021668"/>
              <a:gd name="connsiteY2322" fmla="*/ 1863141 h 6121401"/>
              <a:gd name="connsiteX2323" fmla="*/ 667422 w 4021668"/>
              <a:gd name="connsiteY2323" fmla="*/ 1831795 h 6121401"/>
              <a:gd name="connsiteX2324" fmla="*/ 829607 w 4021668"/>
              <a:gd name="connsiteY2324" fmla="*/ 1718167 h 6121401"/>
              <a:gd name="connsiteX2325" fmla="*/ 848085 w 4021668"/>
              <a:gd name="connsiteY2325" fmla="*/ 1690738 h 6121401"/>
              <a:gd name="connsiteX2326" fmla="*/ 854243 w 4021668"/>
              <a:gd name="connsiteY2326" fmla="*/ 1682900 h 6121401"/>
              <a:gd name="connsiteX2327" fmla="*/ 887091 w 4021668"/>
              <a:gd name="connsiteY2327" fmla="*/ 1628044 h 6121401"/>
              <a:gd name="connsiteX2328" fmla="*/ 915833 w 4021668"/>
              <a:gd name="connsiteY2328" fmla="*/ 1577106 h 6121401"/>
              <a:gd name="connsiteX2329" fmla="*/ 940469 w 4021668"/>
              <a:gd name="connsiteY2329" fmla="*/ 1545762 h 6121401"/>
              <a:gd name="connsiteX2330" fmla="*/ 948681 w 4021668"/>
              <a:gd name="connsiteY2330" fmla="*/ 1522252 h 6121401"/>
              <a:gd name="connsiteX2331" fmla="*/ 952788 w 4021668"/>
              <a:gd name="connsiteY2331" fmla="*/ 1508537 h 6121401"/>
              <a:gd name="connsiteX2332" fmla="*/ 956893 w 4021668"/>
              <a:gd name="connsiteY2332" fmla="*/ 1514416 h 6121401"/>
              <a:gd name="connsiteX2333" fmla="*/ 965105 w 4021668"/>
              <a:gd name="connsiteY2333" fmla="*/ 1504619 h 6121401"/>
              <a:gd name="connsiteX2334" fmla="*/ 995900 w 4021668"/>
              <a:gd name="connsiteY2334" fmla="*/ 1443886 h 6121401"/>
              <a:gd name="connsiteX2335" fmla="*/ 1012323 w 4021668"/>
              <a:gd name="connsiteY2335" fmla="*/ 1412542 h 6121401"/>
              <a:gd name="connsiteX2336" fmla="*/ 1059541 w 4021668"/>
              <a:gd name="connsiteY2336" fmla="*/ 1306747 h 6121401"/>
              <a:gd name="connsiteX2337" fmla="*/ 1069808 w 4021668"/>
              <a:gd name="connsiteY2337" fmla="*/ 1287155 h 6121401"/>
              <a:gd name="connsiteX2338" fmla="*/ 1084178 w 4021668"/>
              <a:gd name="connsiteY2338" fmla="*/ 1263645 h 6121401"/>
              <a:gd name="connsiteX2339" fmla="*/ 1090337 w 4021668"/>
              <a:gd name="connsiteY2339" fmla="*/ 1253851 h 6121401"/>
              <a:gd name="connsiteX2340" fmla="*/ 1104707 w 4021668"/>
              <a:gd name="connsiteY2340" fmla="*/ 1230341 h 6121401"/>
              <a:gd name="connsiteX2341" fmla="*/ 1151926 w 4021668"/>
              <a:gd name="connsiteY2341" fmla="*/ 1112790 h 6121401"/>
              <a:gd name="connsiteX2342" fmla="*/ 1184774 w 4021668"/>
              <a:gd name="connsiteY2342" fmla="*/ 1030508 h 6121401"/>
              <a:gd name="connsiteX2343" fmla="*/ 1201198 w 4021668"/>
              <a:gd name="connsiteY2343" fmla="*/ 987407 h 6121401"/>
              <a:gd name="connsiteX2344" fmla="*/ 1199147 w 4021668"/>
              <a:gd name="connsiteY2344" fmla="*/ 989368 h 6121401"/>
              <a:gd name="connsiteX2345" fmla="*/ 1205304 w 4021668"/>
              <a:gd name="connsiteY2345" fmla="*/ 969776 h 6121401"/>
              <a:gd name="connsiteX2346" fmla="*/ 1207356 w 4021668"/>
              <a:gd name="connsiteY2346" fmla="*/ 969776 h 6121401"/>
              <a:gd name="connsiteX2347" fmla="*/ 1213516 w 4021668"/>
              <a:gd name="connsiteY2347" fmla="*/ 954102 h 6121401"/>
              <a:gd name="connsiteX2348" fmla="*/ 1211465 w 4021668"/>
              <a:gd name="connsiteY2348" fmla="*/ 946266 h 6121401"/>
              <a:gd name="connsiteX2349" fmla="*/ 1223783 w 4021668"/>
              <a:gd name="connsiteY2349" fmla="*/ 924713 h 6121401"/>
              <a:gd name="connsiteX2350" fmla="*/ 1219674 w 4021668"/>
              <a:gd name="connsiteY2350" fmla="*/ 942348 h 6121401"/>
              <a:gd name="connsiteX2351" fmla="*/ 1231992 w 4021668"/>
              <a:gd name="connsiteY2351" fmla="*/ 922755 h 6121401"/>
              <a:gd name="connsiteX2352" fmla="*/ 1242259 w 4021668"/>
              <a:gd name="connsiteY2352" fmla="*/ 905124 h 6121401"/>
              <a:gd name="connsiteX2353" fmla="*/ 1250471 w 4021668"/>
              <a:gd name="connsiteY2353" fmla="*/ 871818 h 6121401"/>
              <a:gd name="connsiteX2354" fmla="*/ 1246365 w 4021668"/>
              <a:gd name="connsiteY2354" fmla="*/ 862023 h 6121401"/>
              <a:gd name="connsiteX2355" fmla="*/ 1268947 w 4021668"/>
              <a:gd name="connsiteY2355" fmla="*/ 791493 h 6121401"/>
              <a:gd name="connsiteX2356" fmla="*/ 1291531 w 4021668"/>
              <a:gd name="connsiteY2356" fmla="*/ 764064 h 6121401"/>
              <a:gd name="connsiteX2357" fmla="*/ 1293583 w 4021668"/>
              <a:gd name="connsiteY2357" fmla="*/ 760146 h 6121401"/>
              <a:gd name="connsiteX2358" fmla="*/ 1289477 w 4021668"/>
              <a:gd name="connsiteY2358" fmla="*/ 750352 h 6121401"/>
              <a:gd name="connsiteX2359" fmla="*/ 1301795 w 4021668"/>
              <a:gd name="connsiteY2359" fmla="*/ 748391 h 6121401"/>
              <a:gd name="connsiteX2360" fmla="*/ 1301795 w 4021668"/>
              <a:gd name="connsiteY2360" fmla="*/ 764064 h 6121401"/>
              <a:gd name="connsiteX2361" fmla="*/ 1314113 w 4021668"/>
              <a:gd name="connsiteY2361" fmla="*/ 752312 h 6121401"/>
              <a:gd name="connsiteX2362" fmla="*/ 1305900 w 4021668"/>
              <a:gd name="connsiteY2362" fmla="*/ 785616 h 6121401"/>
              <a:gd name="connsiteX2363" fmla="*/ 1285371 w 4021668"/>
              <a:gd name="connsiteY2363" fmla="*/ 842431 h 6121401"/>
              <a:gd name="connsiteX2364" fmla="*/ 1271001 w 4021668"/>
              <a:gd name="connsiteY2364" fmla="*/ 873778 h 6121401"/>
              <a:gd name="connsiteX2365" fmla="*/ 1268947 w 4021668"/>
              <a:gd name="connsiteY2365" fmla="*/ 893370 h 6121401"/>
              <a:gd name="connsiteX2366" fmla="*/ 1246365 w 4021668"/>
              <a:gd name="connsiteY2366" fmla="*/ 961939 h 6121401"/>
              <a:gd name="connsiteX2367" fmla="*/ 1244310 w 4021668"/>
              <a:gd name="connsiteY2367" fmla="*/ 969776 h 6121401"/>
              <a:gd name="connsiteX2368" fmla="*/ 1234047 w 4021668"/>
              <a:gd name="connsiteY2368" fmla="*/ 997203 h 6121401"/>
              <a:gd name="connsiteX2369" fmla="*/ 1221729 w 4021668"/>
              <a:gd name="connsiteY2369" fmla="*/ 1042263 h 6121401"/>
              <a:gd name="connsiteX2370" fmla="*/ 1240205 w 4021668"/>
              <a:gd name="connsiteY2370" fmla="*/ 1020714 h 6121401"/>
              <a:gd name="connsiteX2371" fmla="*/ 1250471 w 4021668"/>
              <a:gd name="connsiteY2371" fmla="*/ 1006999 h 6121401"/>
              <a:gd name="connsiteX2372" fmla="*/ 1275107 w 4021668"/>
              <a:gd name="connsiteY2372" fmla="*/ 959979 h 6121401"/>
              <a:gd name="connsiteX2373" fmla="*/ 1277159 w 4021668"/>
              <a:gd name="connsiteY2373" fmla="*/ 954102 h 6121401"/>
              <a:gd name="connsiteX2374" fmla="*/ 1312059 w 4021668"/>
              <a:gd name="connsiteY2374" fmla="*/ 879654 h 6121401"/>
              <a:gd name="connsiteX2375" fmla="*/ 1320271 w 4021668"/>
              <a:gd name="connsiteY2375" fmla="*/ 873778 h 6121401"/>
              <a:gd name="connsiteX2376" fmla="*/ 1330537 w 4021668"/>
              <a:gd name="connsiteY2376" fmla="*/ 856144 h 6121401"/>
              <a:gd name="connsiteX2377" fmla="*/ 1334643 w 4021668"/>
              <a:gd name="connsiteY2377" fmla="*/ 834594 h 6121401"/>
              <a:gd name="connsiteX2378" fmla="*/ 1336695 w 4021668"/>
              <a:gd name="connsiteY2378" fmla="*/ 830676 h 6121401"/>
              <a:gd name="connsiteX2379" fmla="*/ 1340800 w 4021668"/>
              <a:gd name="connsiteY2379" fmla="*/ 815003 h 6121401"/>
              <a:gd name="connsiteX2380" fmla="*/ 1346961 w 4021668"/>
              <a:gd name="connsiteY2380" fmla="*/ 807166 h 6121401"/>
              <a:gd name="connsiteX2381" fmla="*/ 1351067 w 4021668"/>
              <a:gd name="connsiteY2381" fmla="*/ 811084 h 6121401"/>
              <a:gd name="connsiteX2382" fmla="*/ 1351067 w 4021668"/>
              <a:gd name="connsiteY2382" fmla="*/ 813045 h 6121401"/>
              <a:gd name="connsiteX2383" fmla="*/ 1352094 w 4021668"/>
              <a:gd name="connsiteY2383" fmla="*/ 811084 h 6121401"/>
              <a:gd name="connsiteX2384" fmla="*/ 1357225 w 4021668"/>
              <a:gd name="connsiteY2384" fmla="*/ 811084 h 6121401"/>
              <a:gd name="connsiteX2385" fmla="*/ 1357225 w 4021668"/>
              <a:gd name="connsiteY2385" fmla="*/ 809124 h 6121401"/>
              <a:gd name="connsiteX2386" fmla="*/ 1353705 w 4021668"/>
              <a:gd name="connsiteY2386" fmla="*/ 807445 h 6121401"/>
              <a:gd name="connsiteX2387" fmla="*/ 1356198 w 4021668"/>
              <a:gd name="connsiteY2387" fmla="*/ 800309 h 6121401"/>
              <a:gd name="connsiteX2388" fmla="*/ 1357225 w 4021668"/>
              <a:gd name="connsiteY2388" fmla="*/ 799330 h 6121401"/>
              <a:gd name="connsiteX2389" fmla="*/ 1357225 w 4021668"/>
              <a:gd name="connsiteY2389" fmla="*/ 797372 h 6121401"/>
              <a:gd name="connsiteX2390" fmla="*/ 1356198 w 4021668"/>
              <a:gd name="connsiteY2390" fmla="*/ 800309 h 6121401"/>
              <a:gd name="connsiteX2391" fmla="*/ 1353119 w 4021668"/>
              <a:gd name="connsiteY2391" fmla="*/ 803248 h 6121401"/>
              <a:gd name="connsiteX2392" fmla="*/ 1351067 w 4021668"/>
              <a:gd name="connsiteY2392" fmla="*/ 793453 h 6121401"/>
              <a:gd name="connsiteX2393" fmla="*/ 1367491 w 4021668"/>
              <a:gd name="connsiteY2393" fmla="*/ 760146 h 6121401"/>
              <a:gd name="connsiteX2394" fmla="*/ 1369543 w 4021668"/>
              <a:gd name="connsiteY2394" fmla="*/ 754271 h 6121401"/>
              <a:gd name="connsiteX2395" fmla="*/ 1367491 w 4021668"/>
              <a:gd name="connsiteY2395" fmla="*/ 750352 h 6121401"/>
              <a:gd name="connsiteX2396" fmla="*/ 1369543 w 4021668"/>
              <a:gd name="connsiteY2396" fmla="*/ 728802 h 6121401"/>
              <a:gd name="connsiteX2397" fmla="*/ 1381861 w 4021668"/>
              <a:gd name="connsiteY2397" fmla="*/ 683740 h 6121401"/>
              <a:gd name="connsiteX2398" fmla="*/ 1388022 w 4021668"/>
              <a:gd name="connsiteY2398" fmla="*/ 662190 h 6121401"/>
              <a:gd name="connsiteX2399" fmla="*/ 1396233 w 4021668"/>
              <a:gd name="connsiteY2399" fmla="*/ 638681 h 6121401"/>
              <a:gd name="connsiteX2400" fmla="*/ 1402391 w 4021668"/>
              <a:gd name="connsiteY2400" fmla="*/ 613210 h 6121401"/>
              <a:gd name="connsiteX2401" fmla="*/ 1408551 w 4021668"/>
              <a:gd name="connsiteY2401" fmla="*/ 587743 h 6121401"/>
              <a:gd name="connsiteX2402" fmla="*/ 1414709 w 4021668"/>
              <a:gd name="connsiteY2402" fmla="*/ 566193 h 6121401"/>
              <a:gd name="connsiteX2403" fmla="*/ 1427027 w 4021668"/>
              <a:gd name="connsiteY2403" fmla="*/ 534846 h 6121401"/>
              <a:gd name="connsiteX2404" fmla="*/ 1431134 w 4021668"/>
              <a:gd name="connsiteY2404" fmla="*/ 444728 h 6121401"/>
              <a:gd name="connsiteX2405" fmla="*/ 1437291 w 4021668"/>
              <a:gd name="connsiteY2405" fmla="*/ 413380 h 6121401"/>
              <a:gd name="connsiteX2406" fmla="*/ 1439346 w 4021668"/>
              <a:gd name="connsiteY2406" fmla="*/ 389871 h 6121401"/>
              <a:gd name="connsiteX2407" fmla="*/ 1435240 w 4021668"/>
              <a:gd name="connsiteY2407" fmla="*/ 368318 h 6121401"/>
              <a:gd name="connsiteX2408" fmla="*/ 1437291 w 4021668"/>
              <a:gd name="connsiteY2408" fmla="*/ 319340 h 6121401"/>
              <a:gd name="connsiteX2409" fmla="*/ 1441397 w 4021668"/>
              <a:gd name="connsiteY2409" fmla="*/ 313464 h 6121401"/>
              <a:gd name="connsiteX2410" fmla="*/ 1445503 w 4021668"/>
              <a:gd name="connsiteY2410" fmla="*/ 331095 h 6121401"/>
              <a:gd name="connsiteX2411" fmla="*/ 1447557 w 4021668"/>
              <a:gd name="connsiteY2411" fmla="*/ 348727 h 6121401"/>
              <a:gd name="connsiteX2412" fmla="*/ 1447557 w 4021668"/>
              <a:gd name="connsiteY2412" fmla="*/ 303667 h 6121401"/>
              <a:gd name="connsiteX2413" fmla="*/ 1459876 w 4021668"/>
              <a:gd name="connsiteY2413" fmla="*/ 286035 h 6121401"/>
              <a:gd name="connsiteX2414" fmla="*/ 1466033 w 4021668"/>
              <a:gd name="connsiteY2414" fmla="*/ 287994 h 6121401"/>
              <a:gd name="connsiteX2415" fmla="*/ 1470139 w 4021668"/>
              <a:gd name="connsiteY2415" fmla="*/ 293873 h 6121401"/>
              <a:gd name="connsiteX2416" fmla="*/ 1476299 w 4021668"/>
              <a:gd name="connsiteY2416" fmla="*/ 336974 h 6121401"/>
              <a:gd name="connsiteX2417" fmla="*/ 1478352 w 4021668"/>
              <a:gd name="connsiteY2417" fmla="*/ 354606 h 6121401"/>
              <a:gd name="connsiteX2418" fmla="*/ 1480406 w 4021668"/>
              <a:gd name="connsiteY2418" fmla="*/ 350687 h 6121401"/>
              <a:gd name="connsiteX2419" fmla="*/ 1492723 w 4021668"/>
              <a:gd name="connsiteY2419" fmla="*/ 335013 h 6121401"/>
              <a:gd name="connsiteX2420" fmla="*/ 1490670 w 4021668"/>
              <a:gd name="connsiteY2420" fmla="*/ 346769 h 6121401"/>
              <a:gd name="connsiteX2421" fmla="*/ 1476299 w 4021668"/>
              <a:gd name="connsiteY2421" fmla="*/ 421217 h 6121401"/>
              <a:gd name="connsiteX2422" fmla="*/ 1470139 w 4021668"/>
              <a:gd name="connsiteY2422" fmla="*/ 442767 h 6121401"/>
              <a:gd name="connsiteX2423" fmla="*/ 1472194 w 4021668"/>
              <a:gd name="connsiteY2423" fmla="*/ 462358 h 6121401"/>
              <a:gd name="connsiteX2424" fmla="*/ 1470139 w 4021668"/>
              <a:gd name="connsiteY2424" fmla="*/ 472156 h 6121401"/>
              <a:gd name="connsiteX2425" fmla="*/ 1468087 w 4021668"/>
              <a:gd name="connsiteY2425" fmla="*/ 509379 h 6121401"/>
              <a:gd name="connsiteX2426" fmla="*/ 1468087 w 4021668"/>
              <a:gd name="connsiteY2426" fmla="*/ 511336 h 6121401"/>
              <a:gd name="connsiteX2427" fmla="*/ 1476299 w 4021668"/>
              <a:gd name="connsiteY2427" fmla="*/ 523091 h 6121401"/>
              <a:gd name="connsiteX2428" fmla="*/ 1474247 w 4021668"/>
              <a:gd name="connsiteY2428" fmla="*/ 534846 h 6121401"/>
              <a:gd name="connsiteX2429" fmla="*/ 1476299 w 4021668"/>
              <a:gd name="connsiteY2429" fmla="*/ 530928 h 6121401"/>
              <a:gd name="connsiteX2430" fmla="*/ 1488618 w 4021668"/>
              <a:gd name="connsiteY2430" fmla="*/ 485868 h 6121401"/>
              <a:gd name="connsiteX2431" fmla="*/ 1492723 w 4021668"/>
              <a:gd name="connsiteY2431" fmla="*/ 470195 h 6121401"/>
              <a:gd name="connsiteX2432" fmla="*/ 1492723 w 4021668"/>
              <a:gd name="connsiteY2432" fmla="*/ 468237 h 6121401"/>
              <a:gd name="connsiteX2433" fmla="*/ 1492723 w 4021668"/>
              <a:gd name="connsiteY2433" fmla="*/ 450603 h 6121401"/>
              <a:gd name="connsiteX2434" fmla="*/ 1498882 w 4021668"/>
              <a:gd name="connsiteY2434" fmla="*/ 431011 h 6121401"/>
              <a:gd name="connsiteX2435" fmla="*/ 1500936 w 4021668"/>
              <a:gd name="connsiteY2435" fmla="*/ 425136 h 6121401"/>
              <a:gd name="connsiteX2436" fmla="*/ 1500936 w 4021668"/>
              <a:gd name="connsiteY2436" fmla="*/ 413380 h 6121401"/>
              <a:gd name="connsiteX2437" fmla="*/ 1496828 w 4021668"/>
              <a:gd name="connsiteY2437" fmla="*/ 376155 h 6121401"/>
              <a:gd name="connsiteX2438" fmla="*/ 1490670 w 4021668"/>
              <a:gd name="connsiteY2438" fmla="*/ 354606 h 6121401"/>
              <a:gd name="connsiteX2439" fmla="*/ 1494775 w 4021668"/>
              <a:gd name="connsiteY2439" fmla="*/ 344811 h 6121401"/>
              <a:gd name="connsiteX2440" fmla="*/ 1505039 w 4021668"/>
              <a:gd name="connsiteY2440" fmla="*/ 335013 h 6121401"/>
              <a:gd name="connsiteX2441" fmla="*/ 1511200 w 4021668"/>
              <a:gd name="connsiteY2441" fmla="*/ 348727 h 6121401"/>
              <a:gd name="connsiteX2442" fmla="*/ 1519411 w 4021668"/>
              <a:gd name="connsiteY2442" fmla="*/ 360484 h 6121401"/>
              <a:gd name="connsiteX2443" fmla="*/ 1531729 w 4021668"/>
              <a:gd name="connsiteY2443" fmla="*/ 354606 h 6121401"/>
              <a:gd name="connsiteX2444" fmla="*/ 1533782 w 4021668"/>
              <a:gd name="connsiteY2444" fmla="*/ 340893 h 6121401"/>
              <a:gd name="connsiteX2445" fmla="*/ 1537887 w 4021668"/>
              <a:gd name="connsiteY2445" fmla="*/ 335013 h 6121401"/>
              <a:gd name="connsiteX2446" fmla="*/ 1539943 w 4021668"/>
              <a:gd name="connsiteY2446" fmla="*/ 360484 h 6121401"/>
              <a:gd name="connsiteX2447" fmla="*/ 1550205 w 4021668"/>
              <a:gd name="connsiteY2447" fmla="*/ 327178 h 6121401"/>
              <a:gd name="connsiteX2448" fmla="*/ 1564579 w 4021668"/>
              <a:gd name="connsiteY2448" fmla="*/ 303667 h 6121401"/>
              <a:gd name="connsiteX2449" fmla="*/ 1564579 w 4021668"/>
              <a:gd name="connsiteY2449" fmla="*/ 301709 h 6121401"/>
              <a:gd name="connsiteX2450" fmla="*/ 1568684 w 4021668"/>
              <a:gd name="connsiteY2450" fmla="*/ 289955 h 6121401"/>
              <a:gd name="connsiteX2451" fmla="*/ 1570736 w 4021668"/>
              <a:gd name="connsiteY2451" fmla="*/ 282117 h 6121401"/>
              <a:gd name="connsiteX2452" fmla="*/ 1572791 w 4021668"/>
              <a:gd name="connsiteY2452" fmla="*/ 272323 h 6121401"/>
              <a:gd name="connsiteX2453" fmla="*/ 1576897 w 4021668"/>
              <a:gd name="connsiteY2453" fmla="*/ 268404 h 6121401"/>
              <a:gd name="connsiteX2454" fmla="*/ 1562523 w 4021668"/>
              <a:gd name="connsiteY2454" fmla="*/ 321301 h 6121401"/>
              <a:gd name="connsiteX2455" fmla="*/ 1560472 w 4021668"/>
              <a:gd name="connsiteY2455" fmla="*/ 319340 h 6121401"/>
              <a:gd name="connsiteX2456" fmla="*/ 1554311 w 4021668"/>
              <a:gd name="connsiteY2456" fmla="*/ 352648 h 6121401"/>
              <a:gd name="connsiteX2457" fmla="*/ 1562523 w 4021668"/>
              <a:gd name="connsiteY2457" fmla="*/ 340893 h 6121401"/>
              <a:gd name="connsiteX2458" fmla="*/ 1568684 w 4021668"/>
              <a:gd name="connsiteY2458" fmla="*/ 342851 h 6121401"/>
              <a:gd name="connsiteX2459" fmla="*/ 1572791 w 4021668"/>
              <a:gd name="connsiteY2459" fmla="*/ 342851 h 6121401"/>
              <a:gd name="connsiteX2460" fmla="*/ 1572791 w 4021668"/>
              <a:gd name="connsiteY2460" fmla="*/ 354606 h 6121401"/>
              <a:gd name="connsiteX2461" fmla="*/ 1578948 w 4021668"/>
              <a:gd name="connsiteY2461" fmla="*/ 391829 h 6121401"/>
              <a:gd name="connsiteX2462" fmla="*/ 1578948 w 4021668"/>
              <a:gd name="connsiteY2462" fmla="*/ 393789 h 6121401"/>
              <a:gd name="connsiteX2463" fmla="*/ 1589215 w 4021668"/>
              <a:gd name="connsiteY2463" fmla="*/ 346769 h 6121401"/>
              <a:gd name="connsiteX2464" fmla="*/ 1585105 w 4021668"/>
              <a:gd name="connsiteY2464" fmla="*/ 348727 h 6121401"/>
              <a:gd name="connsiteX2465" fmla="*/ 1589215 w 4021668"/>
              <a:gd name="connsiteY2465" fmla="*/ 321301 h 6121401"/>
              <a:gd name="connsiteX2466" fmla="*/ 1599478 w 4021668"/>
              <a:gd name="connsiteY2466" fmla="*/ 270362 h 6121401"/>
              <a:gd name="connsiteX2467" fmla="*/ 1609743 w 4021668"/>
              <a:gd name="connsiteY2467" fmla="*/ 225304 h 6121401"/>
              <a:gd name="connsiteX2468" fmla="*/ 1613849 w 4021668"/>
              <a:gd name="connsiteY2468" fmla="*/ 219424 h 6121401"/>
              <a:gd name="connsiteX2469" fmla="*/ 1611796 w 4021668"/>
              <a:gd name="connsiteY2469" fmla="*/ 242935 h 6121401"/>
              <a:gd name="connsiteX2470" fmla="*/ 1603583 w 4021668"/>
              <a:gd name="connsiteY2470" fmla="*/ 289955 h 6121401"/>
              <a:gd name="connsiteX2471" fmla="*/ 1601533 w 4021668"/>
              <a:gd name="connsiteY2471" fmla="*/ 319340 h 6121401"/>
              <a:gd name="connsiteX2472" fmla="*/ 1595373 w 4021668"/>
              <a:gd name="connsiteY2472" fmla="*/ 338933 h 6121401"/>
              <a:gd name="connsiteX2473" fmla="*/ 1589215 w 4021668"/>
              <a:gd name="connsiteY2473" fmla="*/ 401626 h 6121401"/>
              <a:gd name="connsiteX2474" fmla="*/ 1597424 w 4021668"/>
              <a:gd name="connsiteY2474" fmla="*/ 378115 h 6121401"/>
              <a:gd name="connsiteX2475" fmla="*/ 1601533 w 4021668"/>
              <a:gd name="connsiteY2475" fmla="*/ 368318 h 6121401"/>
              <a:gd name="connsiteX2476" fmla="*/ 1603583 w 4021668"/>
              <a:gd name="connsiteY2476" fmla="*/ 325220 h 6121401"/>
              <a:gd name="connsiteX2477" fmla="*/ 1613849 w 4021668"/>
              <a:gd name="connsiteY2477" fmla="*/ 268404 h 6121401"/>
              <a:gd name="connsiteX2478" fmla="*/ 1620008 w 4021668"/>
              <a:gd name="connsiteY2478" fmla="*/ 209631 h 6121401"/>
              <a:gd name="connsiteX2479" fmla="*/ 1632327 w 4021668"/>
              <a:gd name="connsiteY2479" fmla="*/ 137142 h 6121401"/>
              <a:gd name="connsiteX2480" fmla="*/ 1640539 w 4021668"/>
              <a:gd name="connsiteY2480" fmla="*/ 131264 h 6121401"/>
              <a:gd name="connsiteX2481" fmla="*/ 1636433 w 4021668"/>
              <a:gd name="connsiteY2481" fmla="*/ 176323 h 6121401"/>
              <a:gd name="connsiteX2482" fmla="*/ 1628220 w 4021668"/>
              <a:gd name="connsiteY2482" fmla="*/ 235097 h 6121401"/>
              <a:gd name="connsiteX2483" fmla="*/ 1630271 w 4021668"/>
              <a:gd name="connsiteY2483" fmla="*/ 225304 h 6121401"/>
              <a:gd name="connsiteX2484" fmla="*/ 1634378 w 4021668"/>
              <a:gd name="connsiteY2484" fmla="*/ 235097 h 6121401"/>
              <a:gd name="connsiteX2485" fmla="*/ 1632327 w 4021668"/>
              <a:gd name="connsiteY2485" fmla="*/ 260566 h 6121401"/>
              <a:gd name="connsiteX2486" fmla="*/ 1613849 w 4021668"/>
              <a:gd name="connsiteY2486" fmla="*/ 368318 h 6121401"/>
              <a:gd name="connsiteX2487" fmla="*/ 1611796 w 4021668"/>
              <a:gd name="connsiteY2487" fmla="*/ 382033 h 6121401"/>
              <a:gd name="connsiteX2488" fmla="*/ 1615902 w 4021668"/>
              <a:gd name="connsiteY2488" fmla="*/ 393789 h 6121401"/>
              <a:gd name="connsiteX2489" fmla="*/ 1617954 w 4021668"/>
              <a:gd name="connsiteY2489" fmla="*/ 397707 h 6121401"/>
              <a:gd name="connsiteX2490" fmla="*/ 1620008 w 4021668"/>
              <a:gd name="connsiteY2490" fmla="*/ 387911 h 6121401"/>
              <a:gd name="connsiteX2491" fmla="*/ 1630271 w 4021668"/>
              <a:gd name="connsiteY2491" fmla="*/ 368318 h 6121401"/>
              <a:gd name="connsiteX2492" fmla="*/ 1624114 w 4021668"/>
              <a:gd name="connsiteY2492" fmla="*/ 403585 h 6121401"/>
              <a:gd name="connsiteX2493" fmla="*/ 1626166 w 4021668"/>
              <a:gd name="connsiteY2493" fmla="*/ 405544 h 6121401"/>
              <a:gd name="connsiteX2494" fmla="*/ 1632327 w 4021668"/>
              <a:gd name="connsiteY2494" fmla="*/ 401626 h 6121401"/>
              <a:gd name="connsiteX2495" fmla="*/ 1634378 w 4021668"/>
              <a:gd name="connsiteY2495" fmla="*/ 376155 h 6121401"/>
              <a:gd name="connsiteX2496" fmla="*/ 1638484 w 4021668"/>
              <a:gd name="connsiteY2496" fmla="*/ 358524 h 6121401"/>
              <a:gd name="connsiteX2497" fmla="*/ 1648750 w 4021668"/>
              <a:gd name="connsiteY2497" fmla="*/ 299749 h 6121401"/>
              <a:gd name="connsiteX2498" fmla="*/ 1654909 w 4021668"/>
              <a:gd name="connsiteY2498" fmla="*/ 272323 h 6121401"/>
              <a:gd name="connsiteX2499" fmla="*/ 1654909 w 4021668"/>
              <a:gd name="connsiteY2499" fmla="*/ 282117 h 6121401"/>
              <a:gd name="connsiteX2500" fmla="*/ 1656963 w 4021668"/>
              <a:gd name="connsiteY2500" fmla="*/ 278200 h 6121401"/>
              <a:gd name="connsiteX2501" fmla="*/ 1665174 w 4021668"/>
              <a:gd name="connsiteY2501" fmla="*/ 307586 h 6121401"/>
              <a:gd name="connsiteX2502" fmla="*/ 1665174 w 4021668"/>
              <a:gd name="connsiteY2502" fmla="*/ 284075 h 6121401"/>
              <a:gd name="connsiteX2503" fmla="*/ 1671333 w 4021668"/>
              <a:gd name="connsiteY2503" fmla="*/ 262526 h 6121401"/>
              <a:gd name="connsiteX2504" fmla="*/ 1675439 w 4021668"/>
              <a:gd name="connsiteY2504" fmla="*/ 240977 h 6121401"/>
              <a:gd name="connsiteX2505" fmla="*/ 1681599 w 4021668"/>
              <a:gd name="connsiteY2505" fmla="*/ 219424 h 6121401"/>
              <a:gd name="connsiteX2506" fmla="*/ 1685705 w 4021668"/>
              <a:gd name="connsiteY2506" fmla="*/ 197875 h 6121401"/>
              <a:gd name="connsiteX2507" fmla="*/ 1693917 w 4021668"/>
              <a:gd name="connsiteY2507" fmla="*/ 178284 h 6121401"/>
              <a:gd name="connsiteX2508" fmla="*/ 1693917 w 4021668"/>
              <a:gd name="connsiteY2508" fmla="*/ 213548 h 6121401"/>
              <a:gd name="connsiteX2509" fmla="*/ 1708287 w 4021668"/>
              <a:gd name="connsiteY2509" fmla="*/ 217466 h 6121401"/>
              <a:gd name="connsiteX2510" fmla="*/ 1710339 w 4021668"/>
              <a:gd name="connsiteY2510" fmla="*/ 225304 h 6121401"/>
              <a:gd name="connsiteX2511" fmla="*/ 1704181 w 4021668"/>
              <a:gd name="connsiteY2511" fmla="*/ 284075 h 6121401"/>
              <a:gd name="connsiteX2512" fmla="*/ 1693917 w 4021668"/>
              <a:gd name="connsiteY2512" fmla="*/ 329138 h 6121401"/>
              <a:gd name="connsiteX2513" fmla="*/ 1687757 w 4021668"/>
              <a:gd name="connsiteY2513" fmla="*/ 378115 h 6121401"/>
              <a:gd name="connsiteX2514" fmla="*/ 1685705 w 4021668"/>
              <a:gd name="connsiteY2514" fmla="*/ 360484 h 6121401"/>
              <a:gd name="connsiteX2515" fmla="*/ 1685705 w 4021668"/>
              <a:gd name="connsiteY2515" fmla="*/ 356566 h 6121401"/>
              <a:gd name="connsiteX2516" fmla="*/ 1681599 w 4021668"/>
              <a:gd name="connsiteY2516" fmla="*/ 372238 h 6121401"/>
              <a:gd name="connsiteX2517" fmla="*/ 1669281 w 4021668"/>
              <a:gd name="connsiteY2517" fmla="*/ 378115 h 6121401"/>
              <a:gd name="connsiteX2518" fmla="*/ 1675439 w 4021668"/>
              <a:gd name="connsiteY2518" fmla="*/ 391829 h 6121401"/>
              <a:gd name="connsiteX2519" fmla="*/ 1677491 w 4021668"/>
              <a:gd name="connsiteY2519" fmla="*/ 401626 h 6121401"/>
              <a:gd name="connsiteX2520" fmla="*/ 1685705 w 4021668"/>
              <a:gd name="connsiteY2520" fmla="*/ 397707 h 6121401"/>
              <a:gd name="connsiteX2521" fmla="*/ 1683650 w 4021668"/>
              <a:gd name="connsiteY2521" fmla="*/ 419257 h 6121401"/>
              <a:gd name="connsiteX2522" fmla="*/ 1683650 w 4021668"/>
              <a:gd name="connsiteY2522" fmla="*/ 491748 h 6121401"/>
              <a:gd name="connsiteX2523" fmla="*/ 1698021 w 4021668"/>
              <a:gd name="connsiteY2523" fmla="*/ 476071 h 6121401"/>
              <a:gd name="connsiteX2524" fmla="*/ 1712393 w 4021668"/>
              <a:gd name="connsiteY2524" fmla="*/ 450603 h 6121401"/>
              <a:gd name="connsiteX2525" fmla="*/ 1710339 w 4021668"/>
              <a:gd name="connsiteY2525" fmla="*/ 495662 h 6121401"/>
              <a:gd name="connsiteX2526" fmla="*/ 1722657 w 4021668"/>
              <a:gd name="connsiteY2526" fmla="*/ 427093 h 6121401"/>
              <a:gd name="connsiteX2527" fmla="*/ 1753454 w 4021668"/>
              <a:gd name="connsiteY2527" fmla="*/ 352648 h 6121401"/>
              <a:gd name="connsiteX2528" fmla="*/ 1757559 w 4021668"/>
              <a:gd name="connsiteY2528" fmla="*/ 352648 h 6121401"/>
              <a:gd name="connsiteX2529" fmla="*/ 1757559 w 4021668"/>
              <a:gd name="connsiteY2529" fmla="*/ 382033 h 6121401"/>
              <a:gd name="connsiteX2530" fmla="*/ 1751398 w 4021668"/>
              <a:gd name="connsiteY2530" fmla="*/ 442767 h 6121401"/>
              <a:gd name="connsiteX2531" fmla="*/ 1755506 w 4021668"/>
              <a:gd name="connsiteY2531" fmla="*/ 417299 h 6121401"/>
              <a:gd name="connsiteX2532" fmla="*/ 1757559 w 4021668"/>
              <a:gd name="connsiteY2532" fmla="*/ 403585 h 6121401"/>
              <a:gd name="connsiteX2533" fmla="*/ 1765771 w 4021668"/>
              <a:gd name="connsiteY2533" fmla="*/ 393789 h 6121401"/>
              <a:gd name="connsiteX2534" fmla="*/ 1769874 w 4021668"/>
              <a:gd name="connsiteY2534" fmla="*/ 387911 h 6121401"/>
              <a:gd name="connsiteX2535" fmla="*/ 1763716 w 4021668"/>
              <a:gd name="connsiteY2535" fmla="*/ 364402 h 6121401"/>
              <a:gd name="connsiteX2536" fmla="*/ 1771929 w 4021668"/>
              <a:gd name="connsiteY2536" fmla="*/ 362442 h 6121401"/>
              <a:gd name="connsiteX2537" fmla="*/ 1778090 w 4021668"/>
              <a:gd name="connsiteY2537" fmla="*/ 358524 h 6121401"/>
              <a:gd name="connsiteX2538" fmla="*/ 1788353 w 4021668"/>
              <a:gd name="connsiteY2538" fmla="*/ 317382 h 6121401"/>
              <a:gd name="connsiteX2539" fmla="*/ 1788353 w 4021668"/>
              <a:gd name="connsiteY2539" fmla="*/ 303667 h 6121401"/>
              <a:gd name="connsiteX2540" fmla="*/ 1786302 w 4021668"/>
              <a:gd name="connsiteY2540" fmla="*/ 303667 h 6121401"/>
              <a:gd name="connsiteX2541" fmla="*/ 1784247 w 4021668"/>
              <a:gd name="connsiteY2541" fmla="*/ 309546 h 6121401"/>
              <a:gd name="connsiteX2542" fmla="*/ 1782192 w 4021668"/>
              <a:gd name="connsiteY2542" fmla="*/ 291915 h 6121401"/>
              <a:gd name="connsiteX2543" fmla="*/ 1780141 w 4021668"/>
              <a:gd name="connsiteY2543" fmla="*/ 242935 h 6121401"/>
              <a:gd name="connsiteX2544" fmla="*/ 1773983 w 4021668"/>
              <a:gd name="connsiteY2544" fmla="*/ 229222 h 6121401"/>
              <a:gd name="connsiteX2545" fmla="*/ 1769874 w 4021668"/>
              <a:gd name="connsiteY2545" fmla="*/ 219424 h 6121401"/>
              <a:gd name="connsiteX2546" fmla="*/ 1755506 w 4021668"/>
              <a:gd name="connsiteY2546" fmla="*/ 197875 h 6121401"/>
              <a:gd name="connsiteX2547" fmla="*/ 1743187 w 4021668"/>
              <a:gd name="connsiteY2547" fmla="*/ 201793 h 6121401"/>
              <a:gd name="connsiteX2548" fmla="*/ 1745241 w 4021668"/>
              <a:gd name="connsiteY2548" fmla="*/ 191996 h 6121401"/>
              <a:gd name="connsiteX2549" fmla="*/ 1765771 w 4021668"/>
              <a:gd name="connsiteY2549" fmla="*/ 193957 h 6121401"/>
              <a:gd name="connsiteX2550" fmla="*/ 1776035 w 4021668"/>
              <a:gd name="connsiteY2550" fmla="*/ 205712 h 6121401"/>
              <a:gd name="connsiteX2551" fmla="*/ 1780141 w 4021668"/>
              <a:gd name="connsiteY2551" fmla="*/ 217466 h 6121401"/>
              <a:gd name="connsiteX2552" fmla="*/ 1782192 w 4021668"/>
              <a:gd name="connsiteY2552" fmla="*/ 223343 h 6121401"/>
              <a:gd name="connsiteX2553" fmla="*/ 1790405 w 4021668"/>
              <a:gd name="connsiteY2553" fmla="*/ 262526 h 6121401"/>
              <a:gd name="connsiteX2554" fmla="*/ 1792459 w 4021668"/>
              <a:gd name="connsiteY2554" fmla="*/ 278200 h 6121401"/>
              <a:gd name="connsiteX2555" fmla="*/ 1796565 w 4021668"/>
              <a:gd name="connsiteY2555" fmla="*/ 295833 h 6121401"/>
              <a:gd name="connsiteX2556" fmla="*/ 1800671 w 4021668"/>
              <a:gd name="connsiteY2556" fmla="*/ 258608 h 6121401"/>
              <a:gd name="connsiteX2557" fmla="*/ 1810935 w 4021668"/>
              <a:gd name="connsiteY2557" fmla="*/ 223343 h 6121401"/>
              <a:gd name="connsiteX2558" fmla="*/ 1812989 w 4021668"/>
              <a:gd name="connsiteY2558" fmla="*/ 193957 h 6121401"/>
              <a:gd name="connsiteX2559" fmla="*/ 1812989 w 4021668"/>
              <a:gd name="connsiteY2559" fmla="*/ 172405 h 6121401"/>
              <a:gd name="connsiteX2560" fmla="*/ 1810935 w 4021668"/>
              <a:gd name="connsiteY2560" fmla="*/ 160653 h 6121401"/>
              <a:gd name="connsiteX2561" fmla="*/ 1815041 w 4021668"/>
              <a:gd name="connsiteY2561" fmla="*/ 144979 h 6121401"/>
              <a:gd name="connsiteX2562" fmla="*/ 1810935 w 4021668"/>
              <a:gd name="connsiteY2562" fmla="*/ 125387 h 6121401"/>
              <a:gd name="connsiteX2563" fmla="*/ 1819147 w 4021668"/>
              <a:gd name="connsiteY2563" fmla="*/ 88163 h 6121401"/>
              <a:gd name="connsiteX2564" fmla="*/ 1827359 w 4021668"/>
              <a:gd name="connsiteY2564" fmla="*/ 80328 h 6121401"/>
              <a:gd name="connsiteX2565" fmla="*/ 1829413 w 4021668"/>
              <a:gd name="connsiteY2565" fmla="*/ 191996 h 6121401"/>
              <a:gd name="connsiteX2566" fmla="*/ 1810935 w 4021668"/>
              <a:gd name="connsiteY2566" fmla="*/ 293873 h 6121401"/>
              <a:gd name="connsiteX2567" fmla="*/ 1810935 w 4021668"/>
              <a:gd name="connsiteY2567" fmla="*/ 315424 h 6121401"/>
              <a:gd name="connsiteX2568" fmla="*/ 1804778 w 4021668"/>
              <a:gd name="connsiteY2568" fmla="*/ 329138 h 6121401"/>
              <a:gd name="connsiteX2569" fmla="*/ 1804778 w 4021668"/>
              <a:gd name="connsiteY2569" fmla="*/ 331095 h 6121401"/>
              <a:gd name="connsiteX2570" fmla="*/ 1812989 w 4021668"/>
              <a:gd name="connsiteY2570" fmla="*/ 335013 h 6121401"/>
              <a:gd name="connsiteX2571" fmla="*/ 1812989 w 4021668"/>
              <a:gd name="connsiteY2571" fmla="*/ 342851 h 6121401"/>
              <a:gd name="connsiteX2572" fmla="*/ 1819147 w 4021668"/>
              <a:gd name="connsiteY2572" fmla="*/ 344811 h 6121401"/>
              <a:gd name="connsiteX2573" fmla="*/ 1819147 w 4021668"/>
              <a:gd name="connsiteY2573" fmla="*/ 350687 h 6121401"/>
              <a:gd name="connsiteX2574" fmla="*/ 1821202 w 4021668"/>
              <a:gd name="connsiteY2574" fmla="*/ 352648 h 6121401"/>
              <a:gd name="connsiteX2575" fmla="*/ 1827359 w 4021668"/>
              <a:gd name="connsiteY2575" fmla="*/ 358524 h 6121401"/>
              <a:gd name="connsiteX2576" fmla="*/ 1835571 w 4021668"/>
              <a:gd name="connsiteY2576" fmla="*/ 299749 h 6121401"/>
              <a:gd name="connsiteX2577" fmla="*/ 1845838 w 4021668"/>
              <a:gd name="connsiteY2577" fmla="*/ 299749 h 6121401"/>
              <a:gd name="connsiteX2578" fmla="*/ 1841731 w 4021668"/>
              <a:gd name="connsiteY2578" fmla="*/ 331095 h 6121401"/>
              <a:gd name="connsiteX2579" fmla="*/ 1833519 w 4021668"/>
              <a:gd name="connsiteY2579" fmla="*/ 366360 h 6121401"/>
              <a:gd name="connsiteX2580" fmla="*/ 1839677 w 4021668"/>
              <a:gd name="connsiteY2580" fmla="*/ 372238 h 6121401"/>
              <a:gd name="connsiteX2581" fmla="*/ 1845838 w 4021668"/>
              <a:gd name="connsiteY2581" fmla="*/ 358524 h 6121401"/>
              <a:gd name="connsiteX2582" fmla="*/ 1864314 w 4021668"/>
              <a:gd name="connsiteY2582" fmla="*/ 372238 h 6121401"/>
              <a:gd name="connsiteX2583" fmla="*/ 1868419 w 4021668"/>
              <a:gd name="connsiteY2583" fmla="*/ 378115 h 6121401"/>
              <a:gd name="connsiteX2584" fmla="*/ 1872526 w 4021668"/>
              <a:gd name="connsiteY2584" fmla="*/ 366360 h 6121401"/>
              <a:gd name="connsiteX2585" fmla="*/ 1876632 w 4021668"/>
              <a:gd name="connsiteY2585" fmla="*/ 382033 h 6121401"/>
              <a:gd name="connsiteX2586" fmla="*/ 1886895 w 4021668"/>
              <a:gd name="connsiteY2586" fmla="*/ 380075 h 6121401"/>
              <a:gd name="connsiteX2587" fmla="*/ 1891004 w 4021668"/>
              <a:gd name="connsiteY2587" fmla="*/ 376155 h 6121401"/>
              <a:gd name="connsiteX2588" fmla="*/ 1884843 w 4021668"/>
              <a:gd name="connsiteY2588" fmla="*/ 360484 h 6121401"/>
              <a:gd name="connsiteX2589" fmla="*/ 1897161 w 4021668"/>
              <a:gd name="connsiteY2589" fmla="*/ 325220 h 6121401"/>
              <a:gd name="connsiteX2590" fmla="*/ 1895108 w 4021668"/>
              <a:gd name="connsiteY2590" fmla="*/ 297791 h 6121401"/>
              <a:gd name="connsiteX2591" fmla="*/ 1888950 w 4021668"/>
              <a:gd name="connsiteY2591" fmla="*/ 284075 h 6121401"/>
              <a:gd name="connsiteX2592" fmla="*/ 1884843 w 4021668"/>
              <a:gd name="connsiteY2592" fmla="*/ 274282 h 6121401"/>
              <a:gd name="connsiteX2593" fmla="*/ 1870474 w 4021668"/>
              <a:gd name="connsiteY2593" fmla="*/ 252731 h 6121401"/>
              <a:gd name="connsiteX2594" fmla="*/ 1858156 w 4021668"/>
              <a:gd name="connsiteY2594" fmla="*/ 256651 h 6121401"/>
              <a:gd name="connsiteX2595" fmla="*/ 1860207 w 4021668"/>
              <a:gd name="connsiteY2595" fmla="*/ 246853 h 6121401"/>
              <a:gd name="connsiteX2596" fmla="*/ 1880737 w 4021668"/>
              <a:gd name="connsiteY2596" fmla="*/ 248813 h 6121401"/>
              <a:gd name="connsiteX2597" fmla="*/ 1891004 w 4021668"/>
              <a:gd name="connsiteY2597" fmla="*/ 260566 h 6121401"/>
              <a:gd name="connsiteX2598" fmla="*/ 1895108 w 4021668"/>
              <a:gd name="connsiteY2598" fmla="*/ 272323 h 6121401"/>
              <a:gd name="connsiteX2599" fmla="*/ 1897161 w 4021668"/>
              <a:gd name="connsiteY2599" fmla="*/ 278200 h 6121401"/>
              <a:gd name="connsiteX2600" fmla="*/ 1903319 w 4021668"/>
              <a:gd name="connsiteY2600" fmla="*/ 297791 h 6121401"/>
              <a:gd name="connsiteX2601" fmla="*/ 1913586 w 4021668"/>
              <a:gd name="connsiteY2601" fmla="*/ 284075 h 6121401"/>
              <a:gd name="connsiteX2602" fmla="*/ 1905373 w 4021668"/>
              <a:gd name="connsiteY2602" fmla="*/ 329138 h 6121401"/>
              <a:gd name="connsiteX2603" fmla="*/ 1905373 w 4021668"/>
              <a:gd name="connsiteY2603" fmla="*/ 331095 h 6121401"/>
              <a:gd name="connsiteX2604" fmla="*/ 1909479 w 4021668"/>
              <a:gd name="connsiteY2604" fmla="*/ 344811 h 6121401"/>
              <a:gd name="connsiteX2605" fmla="*/ 1913586 w 4021668"/>
              <a:gd name="connsiteY2605" fmla="*/ 305628 h 6121401"/>
              <a:gd name="connsiteX2606" fmla="*/ 1913586 w 4021668"/>
              <a:gd name="connsiteY2606" fmla="*/ 284075 h 6121401"/>
              <a:gd name="connsiteX2607" fmla="*/ 1919743 w 4021668"/>
              <a:gd name="connsiteY2607" fmla="*/ 209631 h 6121401"/>
              <a:gd name="connsiteX2608" fmla="*/ 1927955 w 4021668"/>
              <a:gd name="connsiteY2608" fmla="*/ 190038 h 6121401"/>
              <a:gd name="connsiteX2609" fmla="*/ 1942328 w 4021668"/>
              <a:gd name="connsiteY2609" fmla="*/ 211588 h 6121401"/>
              <a:gd name="connsiteX2610" fmla="*/ 1940274 w 4021668"/>
              <a:gd name="connsiteY2610" fmla="*/ 221384 h 6121401"/>
              <a:gd name="connsiteX2611" fmla="*/ 1936168 w 4021668"/>
              <a:gd name="connsiteY2611" fmla="*/ 284075 h 6121401"/>
              <a:gd name="connsiteX2612" fmla="*/ 1936168 w 4021668"/>
              <a:gd name="connsiteY2612" fmla="*/ 325220 h 6121401"/>
              <a:gd name="connsiteX2613" fmla="*/ 1936168 w 4021668"/>
              <a:gd name="connsiteY2613" fmla="*/ 327178 h 6121401"/>
              <a:gd name="connsiteX2614" fmla="*/ 1964909 w 4021668"/>
              <a:gd name="connsiteY2614" fmla="*/ 221384 h 6121401"/>
              <a:gd name="connsiteX2615" fmla="*/ 2003916 w 4021668"/>
              <a:gd name="connsiteY2615" fmla="*/ 178284 h 6121401"/>
              <a:gd name="connsiteX2616" fmla="*/ 2032658 w 4021668"/>
              <a:gd name="connsiteY2616" fmla="*/ 101877 h 6121401"/>
              <a:gd name="connsiteX2617" fmla="*/ 2139415 w 4021668"/>
              <a:gd name="connsiteY2617" fmla="*/ 74449 h 6121401"/>
              <a:gd name="connsiteX2618" fmla="*/ 2143521 w 4021668"/>
              <a:gd name="connsiteY2618" fmla="*/ 137142 h 6121401"/>
              <a:gd name="connsiteX2619" fmla="*/ 2166102 w 4021668"/>
              <a:gd name="connsiteY2619" fmla="*/ 135182 h 6121401"/>
              <a:gd name="connsiteX2620" fmla="*/ 2168157 w 4021668"/>
              <a:gd name="connsiteY2620" fmla="*/ 96001 h 6121401"/>
              <a:gd name="connsiteX2621" fmla="*/ 2174315 w 4021668"/>
              <a:gd name="connsiteY2621" fmla="*/ 123427 h 6121401"/>
              <a:gd name="connsiteX2622" fmla="*/ 2176369 w 4021668"/>
              <a:gd name="connsiteY2622" fmla="*/ 119510 h 6121401"/>
              <a:gd name="connsiteX2623" fmla="*/ 2180473 w 4021668"/>
              <a:gd name="connsiteY2623" fmla="*/ 76409 h 6121401"/>
              <a:gd name="connsiteX2624" fmla="*/ 2188684 w 4021668"/>
              <a:gd name="connsiteY2624" fmla="*/ 72491 h 6121401"/>
              <a:gd name="connsiteX2625" fmla="*/ 2178420 w 4021668"/>
              <a:gd name="connsiteY2625" fmla="*/ 58776 h 6121401"/>
              <a:gd name="connsiteX2626" fmla="*/ 2192791 w 4021668"/>
              <a:gd name="connsiteY2626" fmla="*/ 47020 h 6121401"/>
              <a:gd name="connsiteX2627" fmla="*/ 2194845 w 4021668"/>
              <a:gd name="connsiteY2627" fmla="*/ 39185 h 6121401"/>
              <a:gd name="connsiteX2628" fmla="*/ 2196896 w 4021668"/>
              <a:gd name="connsiteY2628" fmla="*/ 27429 h 6121401"/>
              <a:gd name="connsiteX2629" fmla="*/ 2196896 w 4021668"/>
              <a:gd name="connsiteY2629" fmla="*/ 15674 h 6121401"/>
              <a:gd name="connsiteX2630" fmla="*/ 2203057 w 4021668"/>
              <a:gd name="connsiteY2630" fmla="*/ 48981 h 6121401"/>
              <a:gd name="connsiteX2631" fmla="*/ 2198950 w 4021668"/>
              <a:gd name="connsiteY2631" fmla="*/ 66612 h 6121401"/>
              <a:gd name="connsiteX2632" fmla="*/ 2211269 w 4021668"/>
              <a:gd name="connsiteY2632" fmla="*/ 70530 h 6121401"/>
              <a:gd name="connsiteX2633" fmla="*/ 2219481 w 4021668"/>
              <a:gd name="connsiteY2633" fmla="*/ 58776 h 6121401"/>
              <a:gd name="connsiteX2634" fmla="*/ 2219481 w 4021668"/>
              <a:gd name="connsiteY2634" fmla="*/ 70530 h 6121401"/>
              <a:gd name="connsiteX2635" fmla="*/ 2223587 w 4021668"/>
              <a:gd name="connsiteY2635" fmla="*/ 86204 h 6121401"/>
              <a:gd name="connsiteX2636" fmla="*/ 2240011 w 4021668"/>
              <a:gd name="connsiteY2636" fmla="*/ 92083 h 6121401"/>
              <a:gd name="connsiteX2637" fmla="*/ 2242063 w 4021668"/>
              <a:gd name="connsiteY2637" fmla="*/ 70530 h 6121401"/>
              <a:gd name="connsiteX2638" fmla="*/ 2246168 w 4021668"/>
              <a:gd name="connsiteY2638" fmla="*/ 60736 h 6121401"/>
              <a:gd name="connsiteX2639" fmla="*/ 2252326 w 4021668"/>
              <a:gd name="connsiteY2639" fmla="*/ 56818 h 6121401"/>
              <a:gd name="connsiteX2640" fmla="*/ 2260541 w 4021668"/>
              <a:gd name="connsiteY2640" fmla="*/ 54857 h 6121401"/>
              <a:gd name="connsiteX2641" fmla="*/ 2266699 w 4021668"/>
              <a:gd name="connsiteY2641" fmla="*/ 119510 h 6121401"/>
              <a:gd name="connsiteX2642" fmla="*/ 2270051 w 4021668"/>
              <a:gd name="connsiteY2642" fmla="*/ 118273 h 6121401"/>
              <a:gd name="connsiteX2643" fmla="*/ 2268754 w 4021668"/>
              <a:gd name="connsiteY2643" fmla="*/ 119510 h 6121401"/>
              <a:gd name="connsiteX2644" fmla="*/ 2274142 w 4021668"/>
              <a:gd name="connsiteY2644" fmla="*/ 118041 h 6121401"/>
              <a:gd name="connsiteX2645" fmla="*/ 2274380 w 4021668"/>
              <a:gd name="connsiteY2645" fmla="*/ 116672 h 6121401"/>
              <a:gd name="connsiteX2646" fmla="*/ 2282611 w 4021668"/>
              <a:gd name="connsiteY2646" fmla="*/ 113632 h 6121401"/>
              <a:gd name="connsiteX2647" fmla="*/ 2289281 w 4021668"/>
              <a:gd name="connsiteY2647" fmla="*/ 101877 h 6121401"/>
              <a:gd name="connsiteX2648" fmla="*/ 2291335 w 4021668"/>
              <a:gd name="connsiteY2648" fmla="*/ 113633 h 6121401"/>
              <a:gd name="connsiteX2649" fmla="*/ 2295441 w 4021668"/>
              <a:gd name="connsiteY2649" fmla="*/ 101877 h 6121401"/>
              <a:gd name="connsiteX2650" fmla="*/ 2297493 w 4021668"/>
              <a:gd name="connsiteY2650" fmla="*/ 129306 h 6121401"/>
              <a:gd name="connsiteX2651" fmla="*/ 2295441 w 4021668"/>
              <a:gd name="connsiteY2651" fmla="*/ 146937 h 6121401"/>
              <a:gd name="connsiteX2652" fmla="*/ 2289281 w 4021668"/>
              <a:gd name="connsiteY2652" fmla="*/ 170446 h 6121401"/>
              <a:gd name="connsiteX2653" fmla="*/ 2289281 w 4021668"/>
              <a:gd name="connsiteY2653" fmla="*/ 176323 h 6121401"/>
              <a:gd name="connsiteX2654" fmla="*/ 2291335 w 4021668"/>
              <a:gd name="connsiteY2654" fmla="*/ 193957 h 6121401"/>
              <a:gd name="connsiteX2655" fmla="*/ 2293387 w 4021668"/>
              <a:gd name="connsiteY2655" fmla="*/ 223343 h 6121401"/>
              <a:gd name="connsiteX2656" fmla="*/ 2297493 w 4021668"/>
              <a:gd name="connsiteY2656" fmla="*/ 223343 h 6121401"/>
              <a:gd name="connsiteX2657" fmla="*/ 2297493 w 4021668"/>
              <a:gd name="connsiteY2657" fmla="*/ 207673 h 6121401"/>
              <a:gd name="connsiteX2658" fmla="*/ 2307759 w 4021668"/>
              <a:gd name="connsiteY2658" fmla="*/ 191996 h 6121401"/>
              <a:gd name="connsiteX2659" fmla="*/ 2307759 w 4021668"/>
              <a:gd name="connsiteY2659" fmla="*/ 154773 h 6121401"/>
              <a:gd name="connsiteX2660" fmla="*/ 2303654 w 4021668"/>
              <a:gd name="connsiteY2660" fmla="*/ 154773 h 6121401"/>
              <a:gd name="connsiteX2661" fmla="*/ 2307759 w 4021668"/>
              <a:gd name="connsiteY2661" fmla="*/ 146937 h 6121401"/>
              <a:gd name="connsiteX2662" fmla="*/ 2307759 w 4021668"/>
              <a:gd name="connsiteY2662" fmla="*/ 143018 h 6121401"/>
              <a:gd name="connsiteX2663" fmla="*/ 2307759 w 4021668"/>
              <a:gd name="connsiteY2663" fmla="*/ 88163 h 6121401"/>
              <a:gd name="connsiteX2664" fmla="*/ 2322130 w 4021668"/>
              <a:gd name="connsiteY2664" fmla="*/ 5880 h 6121401"/>
              <a:gd name="connsiteX2665" fmla="*/ 2328289 w 4021668"/>
              <a:gd name="connsiteY2665" fmla="*/ 0 h 6121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</a:cxnLst>
            <a:rect l="l" t="t" r="r" b="b"/>
            <a:pathLst>
              <a:path w="4021668" h="6121401">
                <a:moveTo>
                  <a:pt x="3194650" y="5991044"/>
                </a:moveTo>
                <a:cubicBezTo>
                  <a:pt x="3192597" y="5993004"/>
                  <a:pt x="3190543" y="5994962"/>
                  <a:pt x="3186437" y="5996920"/>
                </a:cubicBezTo>
                <a:cubicBezTo>
                  <a:pt x="3186437" y="5996920"/>
                  <a:pt x="3188492" y="5996920"/>
                  <a:pt x="3188492" y="5996920"/>
                </a:cubicBezTo>
                <a:cubicBezTo>
                  <a:pt x="3186437" y="6000841"/>
                  <a:pt x="3184385" y="6004757"/>
                  <a:pt x="3180280" y="6006718"/>
                </a:cubicBezTo>
                <a:cubicBezTo>
                  <a:pt x="3186437" y="6000841"/>
                  <a:pt x="3190543" y="5996920"/>
                  <a:pt x="3194650" y="5991044"/>
                </a:cubicBezTo>
                <a:close/>
                <a:moveTo>
                  <a:pt x="835767" y="4974251"/>
                </a:moveTo>
                <a:cubicBezTo>
                  <a:pt x="833715" y="4976210"/>
                  <a:pt x="831661" y="4978170"/>
                  <a:pt x="829607" y="4980130"/>
                </a:cubicBezTo>
                <a:cubicBezTo>
                  <a:pt x="827555" y="4984049"/>
                  <a:pt x="831661" y="4986006"/>
                  <a:pt x="835767" y="4986006"/>
                </a:cubicBezTo>
                <a:cubicBezTo>
                  <a:pt x="837821" y="4986006"/>
                  <a:pt x="841924" y="4986006"/>
                  <a:pt x="843978" y="4986006"/>
                </a:cubicBezTo>
                <a:cubicBezTo>
                  <a:pt x="841924" y="4982088"/>
                  <a:pt x="839872" y="4978170"/>
                  <a:pt x="835767" y="4974251"/>
                </a:cubicBezTo>
                <a:close/>
                <a:moveTo>
                  <a:pt x="572983" y="4964457"/>
                </a:moveTo>
                <a:cubicBezTo>
                  <a:pt x="570931" y="4966415"/>
                  <a:pt x="568878" y="4966415"/>
                  <a:pt x="566826" y="4968376"/>
                </a:cubicBezTo>
                <a:cubicBezTo>
                  <a:pt x="564771" y="4968376"/>
                  <a:pt x="564771" y="4970332"/>
                  <a:pt x="564771" y="4972290"/>
                </a:cubicBezTo>
                <a:cubicBezTo>
                  <a:pt x="572983" y="4976210"/>
                  <a:pt x="572983" y="4970332"/>
                  <a:pt x="575037" y="4964457"/>
                </a:cubicBezTo>
                <a:cubicBezTo>
                  <a:pt x="575037" y="4964457"/>
                  <a:pt x="572983" y="4964457"/>
                  <a:pt x="572983" y="4964457"/>
                </a:cubicBezTo>
                <a:close/>
                <a:moveTo>
                  <a:pt x="926099" y="4915477"/>
                </a:moveTo>
                <a:cubicBezTo>
                  <a:pt x="924045" y="4917437"/>
                  <a:pt x="921991" y="4921355"/>
                  <a:pt x="917885" y="4925274"/>
                </a:cubicBezTo>
                <a:cubicBezTo>
                  <a:pt x="919939" y="4925274"/>
                  <a:pt x="921991" y="4923313"/>
                  <a:pt x="921991" y="4923313"/>
                </a:cubicBezTo>
                <a:cubicBezTo>
                  <a:pt x="926099" y="4921355"/>
                  <a:pt x="928151" y="4917437"/>
                  <a:pt x="926099" y="4915477"/>
                </a:cubicBezTo>
                <a:close/>
                <a:moveTo>
                  <a:pt x="323601" y="4728094"/>
                </a:moveTo>
                <a:lnTo>
                  <a:pt x="323289" y="4730829"/>
                </a:lnTo>
                <a:cubicBezTo>
                  <a:pt x="322519" y="4734747"/>
                  <a:pt x="320467" y="4738175"/>
                  <a:pt x="314308" y="4739154"/>
                </a:cubicBezTo>
                <a:lnTo>
                  <a:pt x="315168" y="4734130"/>
                </a:lnTo>
                <a:close/>
                <a:moveTo>
                  <a:pt x="944575" y="4713686"/>
                </a:moveTo>
                <a:cubicBezTo>
                  <a:pt x="944575" y="4715644"/>
                  <a:pt x="944575" y="4715644"/>
                  <a:pt x="942521" y="4717605"/>
                </a:cubicBezTo>
                <a:cubicBezTo>
                  <a:pt x="944575" y="4717605"/>
                  <a:pt x="944575" y="4717605"/>
                  <a:pt x="946627" y="4717605"/>
                </a:cubicBezTo>
                <a:cubicBezTo>
                  <a:pt x="946627" y="4717605"/>
                  <a:pt x="946627" y="4715644"/>
                  <a:pt x="946627" y="4715644"/>
                </a:cubicBezTo>
                <a:cubicBezTo>
                  <a:pt x="946627" y="4713686"/>
                  <a:pt x="946627" y="4713686"/>
                  <a:pt x="944575" y="4713686"/>
                </a:cubicBezTo>
                <a:close/>
                <a:moveTo>
                  <a:pt x="971264" y="4696055"/>
                </a:moveTo>
                <a:cubicBezTo>
                  <a:pt x="967157" y="4696055"/>
                  <a:pt x="965105" y="4696055"/>
                  <a:pt x="963051" y="4698013"/>
                </a:cubicBezTo>
                <a:cubicBezTo>
                  <a:pt x="961000" y="4698013"/>
                  <a:pt x="956893" y="4701932"/>
                  <a:pt x="963051" y="4705850"/>
                </a:cubicBezTo>
                <a:cubicBezTo>
                  <a:pt x="963051" y="4701932"/>
                  <a:pt x="965105" y="4701932"/>
                  <a:pt x="967157" y="4701932"/>
                </a:cubicBezTo>
                <a:cubicBezTo>
                  <a:pt x="969211" y="4699974"/>
                  <a:pt x="969211" y="4698013"/>
                  <a:pt x="971264" y="4696055"/>
                </a:cubicBezTo>
                <a:close/>
                <a:moveTo>
                  <a:pt x="1000005" y="4692135"/>
                </a:moveTo>
                <a:cubicBezTo>
                  <a:pt x="995900" y="4694095"/>
                  <a:pt x="989741" y="4694095"/>
                  <a:pt x="987687" y="4699974"/>
                </a:cubicBezTo>
                <a:cubicBezTo>
                  <a:pt x="983581" y="4699974"/>
                  <a:pt x="979474" y="4701932"/>
                  <a:pt x="977424" y="4701932"/>
                </a:cubicBezTo>
                <a:cubicBezTo>
                  <a:pt x="977424" y="4701932"/>
                  <a:pt x="979474" y="4701932"/>
                  <a:pt x="979474" y="4703892"/>
                </a:cubicBezTo>
                <a:cubicBezTo>
                  <a:pt x="977424" y="4705850"/>
                  <a:pt x="973317" y="4705850"/>
                  <a:pt x="971264" y="4707808"/>
                </a:cubicBezTo>
                <a:cubicBezTo>
                  <a:pt x="969211" y="4709769"/>
                  <a:pt x="969211" y="4709769"/>
                  <a:pt x="967157" y="4711726"/>
                </a:cubicBezTo>
                <a:cubicBezTo>
                  <a:pt x="963051" y="4715644"/>
                  <a:pt x="954839" y="4715644"/>
                  <a:pt x="952788" y="4721523"/>
                </a:cubicBezTo>
                <a:cubicBezTo>
                  <a:pt x="952788" y="4727400"/>
                  <a:pt x="950733" y="4731318"/>
                  <a:pt x="946627" y="4735236"/>
                </a:cubicBezTo>
                <a:cubicBezTo>
                  <a:pt x="940469" y="4739154"/>
                  <a:pt x="936363" y="4743075"/>
                  <a:pt x="936363" y="4750910"/>
                </a:cubicBezTo>
                <a:cubicBezTo>
                  <a:pt x="936363" y="4752870"/>
                  <a:pt x="936363" y="4752870"/>
                  <a:pt x="936363" y="4752870"/>
                </a:cubicBezTo>
                <a:cubicBezTo>
                  <a:pt x="938415" y="4752870"/>
                  <a:pt x="938415" y="4752870"/>
                  <a:pt x="940469" y="4752870"/>
                </a:cubicBezTo>
                <a:cubicBezTo>
                  <a:pt x="944575" y="4752870"/>
                  <a:pt x="948681" y="4752870"/>
                  <a:pt x="946627" y="4758746"/>
                </a:cubicBezTo>
                <a:cubicBezTo>
                  <a:pt x="965105" y="4737196"/>
                  <a:pt x="983581" y="4715644"/>
                  <a:pt x="1000005" y="4692135"/>
                </a:cubicBezTo>
                <a:close/>
                <a:moveTo>
                  <a:pt x="919939" y="4692135"/>
                </a:moveTo>
                <a:cubicBezTo>
                  <a:pt x="919939" y="4692135"/>
                  <a:pt x="917885" y="4694095"/>
                  <a:pt x="915833" y="4696055"/>
                </a:cubicBezTo>
                <a:cubicBezTo>
                  <a:pt x="917885" y="4694095"/>
                  <a:pt x="919939" y="4694095"/>
                  <a:pt x="921991" y="4692135"/>
                </a:cubicBezTo>
                <a:cubicBezTo>
                  <a:pt x="921991" y="4692135"/>
                  <a:pt x="921991" y="4692135"/>
                  <a:pt x="919939" y="4692135"/>
                </a:cubicBezTo>
                <a:close/>
                <a:moveTo>
                  <a:pt x="334839" y="4680382"/>
                </a:moveTo>
                <a:cubicBezTo>
                  <a:pt x="332784" y="4686259"/>
                  <a:pt x="328678" y="4688216"/>
                  <a:pt x="326627" y="4692135"/>
                </a:cubicBezTo>
                <a:cubicBezTo>
                  <a:pt x="326627" y="4692135"/>
                  <a:pt x="328678" y="4694095"/>
                  <a:pt x="328678" y="4694095"/>
                </a:cubicBezTo>
                <a:cubicBezTo>
                  <a:pt x="330732" y="4690176"/>
                  <a:pt x="334839" y="4686259"/>
                  <a:pt x="336891" y="4682340"/>
                </a:cubicBezTo>
                <a:cubicBezTo>
                  <a:pt x="336891" y="4682340"/>
                  <a:pt x="336891" y="4682340"/>
                  <a:pt x="334839" y="4680382"/>
                </a:cubicBezTo>
                <a:close/>
                <a:moveTo>
                  <a:pt x="646891" y="4674503"/>
                </a:moveTo>
                <a:cubicBezTo>
                  <a:pt x="640732" y="4682340"/>
                  <a:pt x="636626" y="4690176"/>
                  <a:pt x="630467" y="4698013"/>
                </a:cubicBezTo>
                <a:cubicBezTo>
                  <a:pt x="636626" y="4701932"/>
                  <a:pt x="640732" y="4699974"/>
                  <a:pt x="642785" y="4694095"/>
                </a:cubicBezTo>
                <a:cubicBezTo>
                  <a:pt x="643812" y="4691155"/>
                  <a:pt x="646891" y="4688707"/>
                  <a:pt x="648688" y="4685768"/>
                </a:cubicBezTo>
                <a:cubicBezTo>
                  <a:pt x="650485" y="4682830"/>
                  <a:pt x="650998" y="4679402"/>
                  <a:pt x="646891" y="4674503"/>
                </a:cubicBezTo>
                <a:close/>
                <a:moveTo>
                  <a:pt x="665367" y="4652954"/>
                </a:moveTo>
                <a:cubicBezTo>
                  <a:pt x="663315" y="4654912"/>
                  <a:pt x="663315" y="4654912"/>
                  <a:pt x="661261" y="4656872"/>
                </a:cubicBezTo>
                <a:cubicBezTo>
                  <a:pt x="659210" y="4658831"/>
                  <a:pt x="659210" y="4660791"/>
                  <a:pt x="657155" y="4662748"/>
                </a:cubicBezTo>
                <a:cubicBezTo>
                  <a:pt x="657155" y="4662748"/>
                  <a:pt x="659210" y="4662748"/>
                  <a:pt x="659210" y="4664708"/>
                </a:cubicBezTo>
                <a:cubicBezTo>
                  <a:pt x="661261" y="4660791"/>
                  <a:pt x="663315" y="4656872"/>
                  <a:pt x="665367" y="4652954"/>
                </a:cubicBezTo>
                <a:close/>
                <a:moveTo>
                  <a:pt x="161722" y="4634690"/>
                </a:moveTo>
                <a:lnTo>
                  <a:pt x="162386" y="4635323"/>
                </a:lnTo>
                <a:cubicBezTo>
                  <a:pt x="160333" y="4637281"/>
                  <a:pt x="160333" y="4639238"/>
                  <a:pt x="158279" y="4641198"/>
                </a:cubicBezTo>
                <a:lnTo>
                  <a:pt x="157750" y="4640692"/>
                </a:lnTo>
                <a:close/>
                <a:moveTo>
                  <a:pt x="1078020" y="4625525"/>
                </a:moveTo>
                <a:cubicBezTo>
                  <a:pt x="1075965" y="4627484"/>
                  <a:pt x="1075965" y="4631404"/>
                  <a:pt x="1073914" y="4633362"/>
                </a:cubicBezTo>
                <a:cubicBezTo>
                  <a:pt x="1075967" y="4632383"/>
                  <a:pt x="1078020" y="4631894"/>
                  <a:pt x="1079047" y="4630914"/>
                </a:cubicBezTo>
                <a:cubicBezTo>
                  <a:pt x="1080073" y="4629934"/>
                  <a:pt x="1080073" y="4628465"/>
                  <a:pt x="1078020" y="4625525"/>
                </a:cubicBezTo>
                <a:close/>
                <a:moveTo>
                  <a:pt x="1059541" y="4602015"/>
                </a:moveTo>
                <a:cubicBezTo>
                  <a:pt x="1047224" y="4602015"/>
                  <a:pt x="1047224" y="4613771"/>
                  <a:pt x="1041065" y="4617688"/>
                </a:cubicBezTo>
                <a:cubicBezTo>
                  <a:pt x="1051330" y="4615731"/>
                  <a:pt x="1055435" y="4609853"/>
                  <a:pt x="1059541" y="4602015"/>
                </a:cubicBezTo>
                <a:close/>
                <a:moveTo>
                  <a:pt x="698215" y="4590261"/>
                </a:moveTo>
                <a:cubicBezTo>
                  <a:pt x="694110" y="4592221"/>
                  <a:pt x="690005" y="4596139"/>
                  <a:pt x="685898" y="4602015"/>
                </a:cubicBezTo>
                <a:cubicBezTo>
                  <a:pt x="673580" y="4619646"/>
                  <a:pt x="659210" y="4637281"/>
                  <a:pt x="646891" y="4652954"/>
                </a:cubicBezTo>
                <a:cubicBezTo>
                  <a:pt x="642785" y="4658831"/>
                  <a:pt x="638679" y="4662748"/>
                  <a:pt x="634574" y="4666666"/>
                </a:cubicBezTo>
                <a:cubicBezTo>
                  <a:pt x="634574" y="4668627"/>
                  <a:pt x="632522" y="4668627"/>
                  <a:pt x="632522" y="4670585"/>
                </a:cubicBezTo>
                <a:cubicBezTo>
                  <a:pt x="630467" y="4684301"/>
                  <a:pt x="616095" y="4694095"/>
                  <a:pt x="609938" y="4705850"/>
                </a:cubicBezTo>
                <a:cubicBezTo>
                  <a:pt x="605832" y="4711726"/>
                  <a:pt x="603781" y="4719565"/>
                  <a:pt x="601725" y="4725441"/>
                </a:cubicBezTo>
                <a:cubicBezTo>
                  <a:pt x="620201" y="4705850"/>
                  <a:pt x="634574" y="4682340"/>
                  <a:pt x="650998" y="4660791"/>
                </a:cubicBezTo>
                <a:cubicBezTo>
                  <a:pt x="655104" y="4654912"/>
                  <a:pt x="661261" y="4647075"/>
                  <a:pt x="665367" y="4641198"/>
                </a:cubicBezTo>
                <a:cubicBezTo>
                  <a:pt x="667422" y="4637281"/>
                  <a:pt x="671529" y="4633362"/>
                  <a:pt x="677686" y="4635323"/>
                </a:cubicBezTo>
                <a:cubicBezTo>
                  <a:pt x="677686" y="4633362"/>
                  <a:pt x="679739" y="4631404"/>
                  <a:pt x="679739" y="4631404"/>
                </a:cubicBezTo>
                <a:cubicBezTo>
                  <a:pt x="679739" y="4627484"/>
                  <a:pt x="679739" y="4621607"/>
                  <a:pt x="685898" y="4619646"/>
                </a:cubicBezTo>
                <a:cubicBezTo>
                  <a:pt x="685898" y="4619646"/>
                  <a:pt x="685898" y="4619646"/>
                  <a:pt x="685898" y="4621607"/>
                </a:cubicBezTo>
                <a:cubicBezTo>
                  <a:pt x="690005" y="4611813"/>
                  <a:pt x="694110" y="4603973"/>
                  <a:pt x="698215" y="4594179"/>
                </a:cubicBezTo>
                <a:cubicBezTo>
                  <a:pt x="698215" y="4592221"/>
                  <a:pt x="698215" y="4592221"/>
                  <a:pt x="698215" y="4590261"/>
                </a:cubicBezTo>
                <a:close/>
                <a:moveTo>
                  <a:pt x="1114972" y="4572629"/>
                </a:moveTo>
                <a:cubicBezTo>
                  <a:pt x="1112921" y="4574586"/>
                  <a:pt x="1110869" y="4576548"/>
                  <a:pt x="1110869" y="4578506"/>
                </a:cubicBezTo>
                <a:cubicBezTo>
                  <a:pt x="1108813" y="4582424"/>
                  <a:pt x="1106761" y="4586342"/>
                  <a:pt x="1104707" y="4588303"/>
                </a:cubicBezTo>
                <a:cubicBezTo>
                  <a:pt x="1110869" y="4584384"/>
                  <a:pt x="1112921" y="4578506"/>
                  <a:pt x="1114972" y="4572629"/>
                </a:cubicBezTo>
                <a:close/>
                <a:moveTo>
                  <a:pt x="726958" y="4527570"/>
                </a:moveTo>
                <a:cubicBezTo>
                  <a:pt x="718746" y="4529528"/>
                  <a:pt x="712585" y="4533446"/>
                  <a:pt x="714639" y="4539322"/>
                </a:cubicBezTo>
                <a:cubicBezTo>
                  <a:pt x="716695" y="4539322"/>
                  <a:pt x="716695" y="4541283"/>
                  <a:pt x="718746" y="4541283"/>
                </a:cubicBezTo>
                <a:cubicBezTo>
                  <a:pt x="720801" y="4539322"/>
                  <a:pt x="720801" y="4539322"/>
                  <a:pt x="722852" y="4537364"/>
                </a:cubicBezTo>
                <a:cubicBezTo>
                  <a:pt x="722852" y="4537364"/>
                  <a:pt x="722852" y="4535404"/>
                  <a:pt x="724906" y="4535404"/>
                </a:cubicBezTo>
                <a:cubicBezTo>
                  <a:pt x="724906" y="4533446"/>
                  <a:pt x="726958" y="4531486"/>
                  <a:pt x="726958" y="4527570"/>
                </a:cubicBezTo>
                <a:close/>
                <a:moveTo>
                  <a:pt x="700270" y="4415899"/>
                </a:moveTo>
                <a:cubicBezTo>
                  <a:pt x="706428" y="4415899"/>
                  <a:pt x="708480" y="4415899"/>
                  <a:pt x="708480" y="4417857"/>
                </a:cubicBezTo>
                <a:cubicBezTo>
                  <a:pt x="708480" y="4417857"/>
                  <a:pt x="708480" y="4415899"/>
                  <a:pt x="708480" y="4415899"/>
                </a:cubicBezTo>
                <a:cubicBezTo>
                  <a:pt x="706428" y="4415899"/>
                  <a:pt x="704376" y="4415899"/>
                  <a:pt x="700270" y="4415899"/>
                </a:cubicBezTo>
                <a:close/>
                <a:moveTo>
                  <a:pt x="546295" y="4376715"/>
                </a:moveTo>
                <a:cubicBezTo>
                  <a:pt x="544241" y="4376715"/>
                  <a:pt x="542189" y="4378673"/>
                  <a:pt x="542189" y="4382591"/>
                </a:cubicBezTo>
                <a:cubicBezTo>
                  <a:pt x="542189" y="4382591"/>
                  <a:pt x="544241" y="4382591"/>
                  <a:pt x="544241" y="4384552"/>
                </a:cubicBezTo>
                <a:cubicBezTo>
                  <a:pt x="546295" y="4382591"/>
                  <a:pt x="546295" y="4380633"/>
                  <a:pt x="548347" y="4378673"/>
                </a:cubicBezTo>
                <a:cubicBezTo>
                  <a:pt x="548347" y="4378673"/>
                  <a:pt x="546295" y="4378673"/>
                  <a:pt x="546295" y="4376715"/>
                </a:cubicBezTo>
                <a:close/>
                <a:moveTo>
                  <a:pt x="317525" y="4291923"/>
                </a:moveTo>
                <a:lnTo>
                  <a:pt x="311667" y="4301241"/>
                </a:lnTo>
                <a:lnTo>
                  <a:pt x="310202" y="4300309"/>
                </a:lnTo>
                <a:close/>
                <a:moveTo>
                  <a:pt x="319331" y="4289855"/>
                </a:moveTo>
                <a:lnTo>
                  <a:pt x="317525" y="4291923"/>
                </a:lnTo>
                <a:lnTo>
                  <a:pt x="318411" y="4290512"/>
                </a:lnTo>
                <a:close/>
                <a:moveTo>
                  <a:pt x="308148" y="4284635"/>
                </a:moveTo>
                <a:cubicBezTo>
                  <a:pt x="310202" y="4284635"/>
                  <a:pt x="310202" y="4284635"/>
                  <a:pt x="310202" y="4284635"/>
                </a:cubicBezTo>
                <a:cubicBezTo>
                  <a:pt x="308148" y="4286593"/>
                  <a:pt x="306097" y="4286593"/>
                  <a:pt x="304043" y="4288554"/>
                </a:cubicBezTo>
                <a:cubicBezTo>
                  <a:pt x="304043" y="4286593"/>
                  <a:pt x="306097" y="4286593"/>
                  <a:pt x="308148" y="4284635"/>
                </a:cubicBezTo>
                <a:close/>
                <a:moveTo>
                  <a:pt x="361717" y="4226997"/>
                </a:moveTo>
                <a:lnTo>
                  <a:pt x="361526" y="4229780"/>
                </a:lnTo>
                <a:cubicBezTo>
                  <a:pt x="361526" y="4231738"/>
                  <a:pt x="359472" y="4237615"/>
                  <a:pt x="357420" y="4239576"/>
                </a:cubicBezTo>
                <a:cubicBezTo>
                  <a:pt x="353314" y="4242514"/>
                  <a:pt x="351774" y="4245453"/>
                  <a:pt x="351517" y="4248391"/>
                </a:cubicBezTo>
                <a:lnTo>
                  <a:pt x="352008" y="4250797"/>
                </a:lnTo>
                <a:lnTo>
                  <a:pt x="336891" y="4274839"/>
                </a:lnTo>
                <a:lnTo>
                  <a:pt x="332178" y="4283190"/>
                </a:lnTo>
                <a:lnTo>
                  <a:pt x="326627" y="4284635"/>
                </a:lnTo>
                <a:lnTo>
                  <a:pt x="319331" y="4289855"/>
                </a:lnTo>
                <a:lnTo>
                  <a:pt x="320466" y="4288554"/>
                </a:lnTo>
                <a:cubicBezTo>
                  <a:pt x="322519" y="4286593"/>
                  <a:pt x="324573" y="4284635"/>
                  <a:pt x="324573" y="4282675"/>
                </a:cubicBezTo>
                <a:cubicBezTo>
                  <a:pt x="324573" y="4274839"/>
                  <a:pt x="326627" y="4270920"/>
                  <a:pt x="330732" y="4267002"/>
                </a:cubicBezTo>
                <a:close/>
                <a:moveTo>
                  <a:pt x="1168350" y="4174925"/>
                </a:moveTo>
                <a:cubicBezTo>
                  <a:pt x="1168350" y="4176883"/>
                  <a:pt x="1168350" y="4174925"/>
                  <a:pt x="1166298" y="4176883"/>
                </a:cubicBezTo>
                <a:cubicBezTo>
                  <a:pt x="1166298" y="4176883"/>
                  <a:pt x="1166298" y="4178842"/>
                  <a:pt x="1168350" y="4178842"/>
                </a:cubicBezTo>
                <a:cubicBezTo>
                  <a:pt x="1168350" y="4176883"/>
                  <a:pt x="1168350" y="4176883"/>
                  <a:pt x="1168350" y="4174925"/>
                </a:cubicBezTo>
                <a:close/>
                <a:moveTo>
                  <a:pt x="1178617" y="4149455"/>
                </a:moveTo>
                <a:cubicBezTo>
                  <a:pt x="1176562" y="4151415"/>
                  <a:pt x="1174509" y="4153373"/>
                  <a:pt x="1172457" y="4153373"/>
                </a:cubicBezTo>
                <a:cubicBezTo>
                  <a:pt x="1174509" y="4153373"/>
                  <a:pt x="1176562" y="4151415"/>
                  <a:pt x="1178617" y="4151415"/>
                </a:cubicBezTo>
                <a:cubicBezTo>
                  <a:pt x="1178617" y="4151415"/>
                  <a:pt x="1178617" y="4149455"/>
                  <a:pt x="1178617" y="4149455"/>
                </a:cubicBezTo>
                <a:close/>
                <a:moveTo>
                  <a:pt x="314308" y="3951583"/>
                </a:moveTo>
                <a:cubicBezTo>
                  <a:pt x="312254" y="3953540"/>
                  <a:pt x="310202" y="3955500"/>
                  <a:pt x="308148" y="3957458"/>
                </a:cubicBezTo>
                <a:cubicBezTo>
                  <a:pt x="312254" y="3957458"/>
                  <a:pt x="314308" y="3955500"/>
                  <a:pt x="316359" y="3953540"/>
                </a:cubicBezTo>
                <a:cubicBezTo>
                  <a:pt x="316359" y="3953540"/>
                  <a:pt x="314308" y="3951583"/>
                  <a:pt x="314308" y="3951583"/>
                </a:cubicBezTo>
                <a:close/>
                <a:moveTo>
                  <a:pt x="125434" y="3826196"/>
                </a:moveTo>
                <a:cubicBezTo>
                  <a:pt x="123380" y="3828157"/>
                  <a:pt x="123380" y="3832076"/>
                  <a:pt x="121328" y="3835993"/>
                </a:cubicBezTo>
                <a:cubicBezTo>
                  <a:pt x="125434" y="3834033"/>
                  <a:pt x="127485" y="3830115"/>
                  <a:pt x="129539" y="3828157"/>
                </a:cubicBezTo>
                <a:cubicBezTo>
                  <a:pt x="127485" y="3828157"/>
                  <a:pt x="127485" y="3828157"/>
                  <a:pt x="125434" y="3826196"/>
                </a:cubicBezTo>
                <a:close/>
                <a:moveTo>
                  <a:pt x="105673" y="3824728"/>
                </a:moveTo>
                <a:cubicBezTo>
                  <a:pt x="103363" y="3824728"/>
                  <a:pt x="100798" y="3825217"/>
                  <a:pt x="96691" y="3826196"/>
                </a:cubicBezTo>
                <a:cubicBezTo>
                  <a:pt x="104904" y="3834033"/>
                  <a:pt x="104904" y="3834033"/>
                  <a:pt x="113113" y="3826196"/>
                </a:cubicBezTo>
                <a:cubicBezTo>
                  <a:pt x="110035" y="3825217"/>
                  <a:pt x="107982" y="3824728"/>
                  <a:pt x="105673" y="3824728"/>
                </a:cubicBezTo>
                <a:close/>
                <a:moveTo>
                  <a:pt x="127485" y="3814442"/>
                </a:moveTo>
                <a:cubicBezTo>
                  <a:pt x="127485" y="3816402"/>
                  <a:pt x="125434" y="3816402"/>
                  <a:pt x="125434" y="3816402"/>
                </a:cubicBezTo>
                <a:cubicBezTo>
                  <a:pt x="127485" y="3818360"/>
                  <a:pt x="129539" y="3820320"/>
                  <a:pt x="131591" y="3820320"/>
                </a:cubicBezTo>
                <a:cubicBezTo>
                  <a:pt x="131591" y="3820320"/>
                  <a:pt x="133642" y="3818360"/>
                  <a:pt x="133642" y="3818360"/>
                </a:cubicBezTo>
                <a:cubicBezTo>
                  <a:pt x="131591" y="3816402"/>
                  <a:pt x="129539" y="3816402"/>
                  <a:pt x="127485" y="3814442"/>
                </a:cubicBezTo>
                <a:close/>
                <a:moveTo>
                  <a:pt x="100797" y="3779179"/>
                </a:moveTo>
                <a:cubicBezTo>
                  <a:pt x="90531" y="3787013"/>
                  <a:pt x="84373" y="3792891"/>
                  <a:pt x="80267" y="3798771"/>
                </a:cubicBezTo>
                <a:cubicBezTo>
                  <a:pt x="80267" y="3798771"/>
                  <a:pt x="82319" y="3800729"/>
                  <a:pt x="82319" y="3800729"/>
                </a:cubicBezTo>
                <a:cubicBezTo>
                  <a:pt x="86424" y="3798771"/>
                  <a:pt x="88479" y="3796811"/>
                  <a:pt x="92585" y="3794850"/>
                </a:cubicBezTo>
                <a:cubicBezTo>
                  <a:pt x="92585" y="3794850"/>
                  <a:pt x="94637" y="3796811"/>
                  <a:pt x="94637" y="3796811"/>
                </a:cubicBezTo>
                <a:cubicBezTo>
                  <a:pt x="92585" y="3800729"/>
                  <a:pt x="90531" y="3804647"/>
                  <a:pt x="88479" y="3806605"/>
                </a:cubicBezTo>
                <a:cubicBezTo>
                  <a:pt x="94637" y="3804647"/>
                  <a:pt x="100797" y="3802689"/>
                  <a:pt x="106955" y="3798771"/>
                </a:cubicBezTo>
                <a:cubicBezTo>
                  <a:pt x="104904" y="3796811"/>
                  <a:pt x="102849" y="3794850"/>
                  <a:pt x="98743" y="3790931"/>
                </a:cubicBezTo>
                <a:cubicBezTo>
                  <a:pt x="100797" y="3787013"/>
                  <a:pt x="100797" y="3783098"/>
                  <a:pt x="102849" y="3779179"/>
                </a:cubicBezTo>
                <a:cubicBezTo>
                  <a:pt x="102849" y="3779179"/>
                  <a:pt x="100797" y="3779179"/>
                  <a:pt x="100797" y="3779179"/>
                </a:cubicBezTo>
                <a:close/>
                <a:moveTo>
                  <a:pt x="67948" y="3745872"/>
                </a:moveTo>
                <a:cubicBezTo>
                  <a:pt x="59737" y="3749791"/>
                  <a:pt x="53580" y="3755669"/>
                  <a:pt x="53580" y="3763505"/>
                </a:cubicBezTo>
                <a:cubicBezTo>
                  <a:pt x="63843" y="3761544"/>
                  <a:pt x="63843" y="3761544"/>
                  <a:pt x="67948" y="3745872"/>
                </a:cubicBezTo>
                <a:close/>
                <a:moveTo>
                  <a:pt x="37156" y="3739995"/>
                </a:moveTo>
                <a:cubicBezTo>
                  <a:pt x="30995" y="3739995"/>
                  <a:pt x="26889" y="3741953"/>
                  <a:pt x="26889" y="3747830"/>
                </a:cubicBezTo>
                <a:cubicBezTo>
                  <a:pt x="35100" y="3747830"/>
                  <a:pt x="35100" y="3747830"/>
                  <a:pt x="37156" y="3739995"/>
                </a:cubicBezTo>
                <a:close/>
                <a:moveTo>
                  <a:pt x="53012" y="3623258"/>
                </a:moveTo>
                <a:lnTo>
                  <a:pt x="54137" y="3626838"/>
                </a:lnTo>
                <a:lnTo>
                  <a:pt x="53454" y="3628813"/>
                </a:lnTo>
                <a:lnTo>
                  <a:pt x="45365" y="3632243"/>
                </a:lnTo>
                <a:lnTo>
                  <a:pt x="46266" y="3630236"/>
                </a:lnTo>
                <a:lnTo>
                  <a:pt x="49471" y="3628324"/>
                </a:lnTo>
                <a:close/>
                <a:moveTo>
                  <a:pt x="61789" y="3604815"/>
                </a:moveTo>
                <a:cubicBezTo>
                  <a:pt x="53580" y="3606775"/>
                  <a:pt x="53580" y="3606775"/>
                  <a:pt x="55632" y="3616570"/>
                </a:cubicBezTo>
                <a:cubicBezTo>
                  <a:pt x="59737" y="3610691"/>
                  <a:pt x="59737" y="3608733"/>
                  <a:pt x="61789" y="3604815"/>
                </a:cubicBezTo>
                <a:close/>
                <a:moveTo>
                  <a:pt x="33049" y="3589141"/>
                </a:moveTo>
                <a:cubicBezTo>
                  <a:pt x="33049" y="3589141"/>
                  <a:pt x="35100" y="3591099"/>
                  <a:pt x="35100" y="3591099"/>
                </a:cubicBezTo>
                <a:cubicBezTo>
                  <a:pt x="35100" y="3593060"/>
                  <a:pt x="33049" y="3595017"/>
                  <a:pt x="28943" y="3598938"/>
                </a:cubicBezTo>
                <a:cubicBezTo>
                  <a:pt x="30995" y="3593060"/>
                  <a:pt x="33049" y="3591099"/>
                  <a:pt x="33049" y="3589141"/>
                </a:cubicBezTo>
                <a:close/>
                <a:moveTo>
                  <a:pt x="82319" y="3581305"/>
                </a:moveTo>
                <a:lnTo>
                  <a:pt x="82319" y="3581306"/>
                </a:lnTo>
                <a:lnTo>
                  <a:pt x="79079" y="3587488"/>
                </a:lnTo>
                <a:close/>
                <a:moveTo>
                  <a:pt x="90531" y="3549958"/>
                </a:moveTo>
                <a:cubicBezTo>
                  <a:pt x="92585" y="3551918"/>
                  <a:pt x="92585" y="3553876"/>
                  <a:pt x="92585" y="3555837"/>
                </a:cubicBezTo>
                <a:cubicBezTo>
                  <a:pt x="90531" y="3555837"/>
                  <a:pt x="88479" y="3555837"/>
                  <a:pt x="86424" y="3555837"/>
                </a:cubicBezTo>
                <a:cubicBezTo>
                  <a:pt x="86424" y="3555837"/>
                  <a:pt x="86424" y="3551918"/>
                  <a:pt x="86424" y="3551918"/>
                </a:cubicBezTo>
                <a:cubicBezTo>
                  <a:pt x="86424" y="3549958"/>
                  <a:pt x="90531" y="3549958"/>
                  <a:pt x="90531" y="3549958"/>
                </a:cubicBezTo>
                <a:close/>
                <a:moveTo>
                  <a:pt x="119273" y="3459838"/>
                </a:moveTo>
                <a:cubicBezTo>
                  <a:pt x="119273" y="3459838"/>
                  <a:pt x="121328" y="3461796"/>
                  <a:pt x="121328" y="3461796"/>
                </a:cubicBezTo>
                <a:cubicBezTo>
                  <a:pt x="115167" y="3471594"/>
                  <a:pt x="111061" y="3479430"/>
                  <a:pt x="104904" y="3487267"/>
                </a:cubicBezTo>
                <a:cubicBezTo>
                  <a:pt x="102849" y="3475512"/>
                  <a:pt x="111061" y="3467676"/>
                  <a:pt x="119273" y="3459838"/>
                </a:cubicBezTo>
                <a:close/>
                <a:moveTo>
                  <a:pt x="150070" y="3403025"/>
                </a:moveTo>
                <a:cubicBezTo>
                  <a:pt x="152121" y="3406943"/>
                  <a:pt x="152121" y="3408900"/>
                  <a:pt x="152121" y="3408900"/>
                </a:cubicBezTo>
                <a:cubicBezTo>
                  <a:pt x="145964" y="3420656"/>
                  <a:pt x="139804" y="3432411"/>
                  <a:pt x="133642" y="3442205"/>
                </a:cubicBezTo>
                <a:cubicBezTo>
                  <a:pt x="129539" y="3448085"/>
                  <a:pt x="125434" y="3452003"/>
                  <a:pt x="121328" y="3455920"/>
                </a:cubicBezTo>
                <a:cubicBezTo>
                  <a:pt x="125434" y="3442205"/>
                  <a:pt x="131591" y="3432411"/>
                  <a:pt x="135696" y="3420656"/>
                </a:cubicBezTo>
                <a:cubicBezTo>
                  <a:pt x="139804" y="3414777"/>
                  <a:pt x="145964" y="3410860"/>
                  <a:pt x="150070" y="3403025"/>
                </a:cubicBezTo>
                <a:close/>
                <a:moveTo>
                  <a:pt x="180863" y="3369718"/>
                </a:moveTo>
                <a:cubicBezTo>
                  <a:pt x="172652" y="3379514"/>
                  <a:pt x="166491" y="3389309"/>
                  <a:pt x="158279" y="3399104"/>
                </a:cubicBezTo>
                <a:cubicBezTo>
                  <a:pt x="162386" y="3375596"/>
                  <a:pt x="168545" y="3369718"/>
                  <a:pt x="180863" y="3369718"/>
                </a:cubicBezTo>
                <a:close/>
                <a:moveTo>
                  <a:pt x="223976" y="3352087"/>
                </a:moveTo>
                <a:cubicBezTo>
                  <a:pt x="223976" y="3354045"/>
                  <a:pt x="219870" y="3354045"/>
                  <a:pt x="219870" y="3354045"/>
                </a:cubicBezTo>
                <a:cubicBezTo>
                  <a:pt x="217819" y="3356005"/>
                  <a:pt x="219870" y="3357962"/>
                  <a:pt x="219870" y="3359922"/>
                </a:cubicBezTo>
                <a:cubicBezTo>
                  <a:pt x="219870" y="3359922"/>
                  <a:pt x="223976" y="3359922"/>
                  <a:pt x="226027" y="3359922"/>
                </a:cubicBezTo>
                <a:cubicBezTo>
                  <a:pt x="226027" y="3356005"/>
                  <a:pt x="226027" y="3354045"/>
                  <a:pt x="223976" y="3352087"/>
                </a:cubicBezTo>
                <a:close/>
                <a:moveTo>
                  <a:pt x="187021" y="3344249"/>
                </a:moveTo>
                <a:cubicBezTo>
                  <a:pt x="187021" y="3344249"/>
                  <a:pt x="189076" y="3346207"/>
                  <a:pt x="189076" y="3346207"/>
                </a:cubicBezTo>
                <a:cubicBezTo>
                  <a:pt x="189076" y="3348168"/>
                  <a:pt x="187021" y="3350126"/>
                  <a:pt x="184970" y="3352087"/>
                </a:cubicBezTo>
                <a:cubicBezTo>
                  <a:pt x="184970" y="3352087"/>
                  <a:pt x="182915" y="3350126"/>
                  <a:pt x="182915" y="3350126"/>
                </a:cubicBezTo>
                <a:cubicBezTo>
                  <a:pt x="184970" y="3348168"/>
                  <a:pt x="187021" y="3346207"/>
                  <a:pt x="187021" y="3344249"/>
                </a:cubicBezTo>
                <a:close/>
                <a:moveTo>
                  <a:pt x="236295" y="3330535"/>
                </a:moveTo>
                <a:cubicBezTo>
                  <a:pt x="232187" y="3334452"/>
                  <a:pt x="226027" y="3340331"/>
                  <a:pt x="228081" y="3350126"/>
                </a:cubicBezTo>
                <a:cubicBezTo>
                  <a:pt x="232187" y="3344249"/>
                  <a:pt x="234242" y="3338373"/>
                  <a:pt x="238347" y="3332495"/>
                </a:cubicBezTo>
                <a:cubicBezTo>
                  <a:pt x="238347" y="3332495"/>
                  <a:pt x="236295" y="3330535"/>
                  <a:pt x="236295" y="3330535"/>
                </a:cubicBezTo>
                <a:close/>
                <a:moveTo>
                  <a:pt x="201394" y="3330535"/>
                </a:moveTo>
                <a:cubicBezTo>
                  <a:pt x="199339" y="3334452"/>
                  <a:pt x="199339" y="3336413"/>
                  <a:pt x="197287" y="3336413"/>
                </a:cubicBezTo>
                <a:cubicBezTo>
                  <a:pt x="195233" y="3338373"/>
                  <a:pt x="195233" y="3336413"/>
                  <a:pt x="193182" y="3336413"/>
                </a:cubicBezTo>
                <a:cubicBezTo>
                  <a:pt x="193182" y="3334452"/>
                  <a:pt x="195233" y="3332495"/>
                  <a:pt x="195233" y="3332495"/>
                </a:cubicBezTo>
                <a:cubicBezTo>
                  <a:pt x="195233" y="3330535"/>
                  <a:pt x="197287" y="3332495"/>
                  <a:pt x="201394" y="3330535"/>
                </a:cubicBezTo>
                <a:close/>
                <a:moveTo>
                  <a:pt x="228081" y="3287432"/>
                </a:moveTo>
                <a:cubicBezTo>
                  <a:pt x="228081" y="3293311"/>
                  <a:pt x="228081" y="3297230"/>
                  <a:pt x="228081" y="3301148"/>
                </a:cubicBezTo>
                <a:cubicBezTo>
                  <a:pt x="217819" y="3295271"/>
                  <a:pt x="217819" y="3295271"/>
                  <a:pt x="228081" y="3287432"/>
                </a:cubicBezTo>
                <a:close/>
                <a:moveTo>
                  <a:pt x="326627" y="3265883"/>
                </a:moveTo>
                <a:cubicBezTo>
                  <a:pt x="322519" y="3269801"/>
                  <a:pt x="314308" y="3273720"/>
                  <a:pt x="314308" y="3281557"/>
                </a:cubicBezTo>
                <a:cubicBezTo>
                  <a:pt x="320466" y="3279598"/>
                  <a:pt x="324573" y="3277638"/>
                  <a:pt x="330732" y="3273720"/>
                </a:cubicBezTo>
                <a:cubicBezTo>
                  <a:pt x="328678" y="3271762"/>
                  <a:pt x="326627" y="3267843"/>
                  <a:pt x="326627" y="3265883"/>
                </a:cubicBezTo>
                <a:close/>
                <a:moveTo>
                  <a:pt x="332784" y="3256089"/>
                </a:moveTo>
                <a:cubicBezTo>
                  <a:pt x="330732" y="3260007"/>
                  <a:pt x="326627" y="3263925"/>
                  <a:pt x="324573" y="3265883"/>
                </a:cubicBezTo>
                <a:cubicBezTo>
                  <a:pt x="329705" y="3265883"/>
                  <a:pt x="332273" y="3265883"/>
                  <a:pt x="333298" y="3264659"/>
                </a:cubicBezTo>
                <a:cubicBezTo>
                  <a:pt x="334325" y="3263435"/>
                  <a:pt x="333811" y="3260986"/>
                  <a:pt x="332784" y="3256089"/>
                </a:cubicBezTo>
                <a:close/>
                <a:moveTo>
                  <a:pt x="253856" y="3244537"/>
                </a:moveTo>
                <a:lnTo>
                  <a:pt x="255789" y="3246056"/>
                </a:lnTo>
                <a:lnTo>
                  <a:pt x="250663" y="3252170"/>
                </a:lnTo>
                <a:cubicBezTo>
                  <a:pt x="250663" y="3250211"/>
                  <a:pt x="250150" y="3247762"/>
                  <a:pt x="250920" y="3245803"/>
                </a:cubicBezTo>
                <a:close/>
                <a:moveTo>
                  <a:pt x="310202" y="3230620"/>
                </a:moveTo>
                <a:cubicBezTo>
                  <a:pt x="304043" y="3232579"/>
                  <a:pt x="301991" y="3232579"/>
                  <a:pt x="299935" y="3232579"/>
                </a:cubicBezTo>
                <a:cubicBezTo>
                  <a:pt x="291724" y="3242373"/>
                  <a:pt x="283512" y="3254131"/>
                  <a:pt x="275299" y="3263925"/>
                </a:cubicBezTo>
                <a:cubicBezTo>
                  <a:pt x="273248" y="3265883"/>
                  <a:pt x="273248" y="3267843"/>
                  <a:pt x="273248" y="3269801"/>
                </a:cubicBezTo>
                <a:cubicBezTo>
                  <a:pt x="275299" y="3269801"/>
                  <a:pt x="275299" y="3271762"/>
                  <a:pt x="277353" y="3271762"/>
                </a:cubicBezTo>
                <a:cubicBezTo>
                  <a:pt x="287618" y="3260007"/>
                  <a:pt x="299935" y="3246291"/>
                  <a:pt x="310202" y="3230620"/>
                </a:cubicBezTo>
                <a:close/>
                <a:moveTo>
                  <a:pt x="326627" y="3216905"/>
                </a:moveTo>
                <a:cubicBezTo>
                  <a:pt x="324573" y="3216905"/>
                  <a:pt x="322519" y="3218863"/>
                  <a:pt x="322519" y="3220823"/>
                </a:cubicBezTo>
                <a:cubicBezTo>
                  <a:pt x="324573" y="3236497"/>
                  <a:pt x="312254" y="3244333"/>
                  <a:pt x="304043" y="3254131"/>
                </a:cubicBezTo>
                <a:cubicBezTo>
                  <a:pt x="297881" y="3261965"/>
                  <a:pt x="291724" y="3267843"/>
                  <a:pt x="285567" y="3275680"/>
                </a:cubicBezTo>
                <a:cubicBezTo>
                  <a:pt x="283512" y="3277638"/>
                  <a:pt x="283512" y="3277638"/>
                  <a:pt x="289672" y="3285475"/>
                </a:cubicBezTo>
                <a:cubicBezTo>
                  <a:pt x="295829" y="3279598"/>
                  <a:pt x="301991" y="3273720"/>
                  <a:pt x="306097" y="3263925"/>
                </a:cubicBezTo>
                <a:cubicBezTo>
                  <a:pt x="312254" y="3252170"/>
                  <a:pt x="320466" y="3242373"/>
                  <a:pt x="328678" y="3230620"/>
                </a:cubicBezTo>
                <a:cubicBezTo>
                  <a:pt x="330732" y="3228660"/>
                  <a:pt x="330732" y="3224742"/>
                  <a:pt x="330732" y="3220823"/>
                </a:cubicBezTo>
                <a:cubicBezTo>
                  <a:pt x="330732" y="3218863"/>
                  <a:pt x="328678" y="3216905"/>
                  <a:pt x="326627" y="3216905"/>
                </a:cubicBezTo>
                <a:close/>
                <a:moveTo>
                  <a:pt x="353315" y="3207111"/>
                </a:moveTo>
                <a:cubicBezTo>
                  <a:pt x="349207" y="3214947"/>
                  <a:pt x="345102" y="3220823"/>
                  <a:pt x="340996" y="3230620"/>
                </a:cubicBezTo>
                <a:cubicBezTo>
                  <a:pt x="359472" y="3232579"/>
                  <a:pt x="357420" y="3214947"/>
                  <a:pt x="369739" y="3212987"/>
                </a:cubicBezTo>
                <a:cubicBezTo>
                  <a:pt x="369739" y="3211029"/>
                  <a:pt x="369739" y="3211029"/>
                  <a:pt x="367683" y="3209069"/>
                </a:cubicBezTo>
                <a:cubicBezTo>
                  <a:pt x="363578" y="3209069"/>
                  <a:pt x="359472" y="3209069"/>
                  <a:pt x="353315" y="3207111"/>
                </a:cubicBezTo>
                <a:close/>
                <a:moveTo>
                  <a:pt x="373845" y="3193395"/>
                </a:moveTo>
                <a:cubicBezTo>
                  <a:pt x="371791" y="3195355"/>
                  <a:pt x="369739" y="3197314"/>
                  <a:pt x="369739" y="3199272"/>
                </a:cubicBezTo>
                <a:cubicBezTo>
                  <a:pt x="371791" y="3199272"/>
                  <a:pt x="371791" y="3199272"/>
                  <a:pt x="371791" y="3201232"/>
                </a:cubicBezTo>
                <a:cubicBezTo>
                  <a:pt x="371791" y="3199272"/>
                  <a:pt x="380002" y="3199272"/>
                  <a:pt x="380002" y="3197314"/>
                </a:cubicBezTo>
                <a:cubicBezTo>
                  <a:pt x="377950" y="3193395"/>
                  <a:pt x="375896" y="3193395"/>
                  <a:pt x="373845" y="3193395"/>
                </a:cubicBezTo>
                <a:close/>
                <a:moveTo>
                  <a:pt x="338942" y="3175764"/>
                </a:moveTo>
                <a:cubicBezTo>
                  <a:pt x="334839" y="3179682"/>
                  <a:pt x="334839" y="3179682"/>
                  <a:pt x="332784" y="3179682"/>
                </a:cubicBezTo>
                <a:cubicBezTo>
                  <a:pt x="326627" y="3189477"/>
                  <a:pt x="316359" y="3195355"/>
                  <a:pt x="318411" y="3209069"/>
                </a:cubicBezTo>
                <a:cubicBezTo>
                  <a:pt x="318411" y="3211029"/>
                  <a:pt x="314308" y="3212987"/>
                  <a:pt x="314308" y="3214947"/>
                </a:cubicBezTo>
                <a:cubicBezTo>
                  <a:pt x="314308" y="3216905"/>
                  <a:pt x="314308" y="3218863"/>
                  <a:pt x="314308" y="3220823"/>
                </a:cubicBezTo>
                <a:cubicBezTo>
                  <a:pt x="316359" y="3220823"/>
                  <a:pt x="316359" y="3220823"/>
                  <a:pt x="318411" y="3222781"/>
                </a:cubicBezTo>
                <a:cubicBezTo>
                  <a:pt x="324573" y="3214947"/>
                  <a:pt x="330732" y="3207111"/>
                  <a:pt x="336891" y="3199272"/>
                </a:cubicBezTo>
                <a:cubicBezTo>
                  <a:pt x="338942" y="3195355"/>
                  <a:pt x="340996" y="3193395"/>
                  <a:pt x="347153" y="3193395"/>
                </a:cubicBezTo>
                <a:cubicBezTo>
                  <a:pt x="349207" y="3193395"/>
                  <a:pt x="353315" y="3189477"/>
                  <a:pt x="357420" y="3187519"/>
                </a:cubicBezTo>
                <a:cubicBezTo>
                  <a:pt x="355369" y="3187519"/>
                  <a:pt x="355369" y="3185559"/>
                  <a:pt x="353315" y="3185559"/>
                </a:cubicBezTo>
                <a:cubicBezTo>
                  <a:pt x="351260" y="3185559"/>
                  <a:pt x="349207" y="3187519"/>
                  <a:pt x="347153" y="3187519"/>
                </a:cubicBezTo>
                <a:cubicBezTo>
                  <a:pt x="347153" y="3185559"/>
                  <a:pt x="349207" y="3183601"/>
                  <a:pt x="349207" y="3183601"/>
                </a:cubicBezTo>
                <a:cubicBezTo>
                  <a:pt x="347153" y="3181641"/>
                  <a:pt x="343048" y="3179682"/>
                  <a:pt x="340996" y="3177721"/>
                </a:cubicBezTo>
                <a:cubicBezTo>
                  <a:pt x="340996" y="3177721"/>
                  <a:pt x="338942" y="3175764"/>
                  <a:pt x="338942" y="3175764"/>
                </a:cubicBezTo>
                <a:close/>
                <a:moveTo>
                  <a:pt x="308148" y="3171845"/>
                </a:moveTo>
                <a:cubicBezTo>
                  <a:pt x="308148" y="3173803"/>
                  <a:pt x="308148" y="3173803"/>
                  <a:pt x="308148" y="3175764"/>
                </a:cubicBezTo>
                <a:cubicBezTo>
                  <a:pt x="308148" y="3175764"/>
                  <a:pt x="310202" y="3175764"/>
                  <a:pt x="310202" y="3175764"/>
                </a:cubicBezTo>
                <a:cubicBezTo>
                  <a:pt x="310202" y="3173803"/>
                  <a:pt x="310202" y="3171845"/>
                  <a:pt x="310202" y="3171845"/>
                </a:cubicBezTo>
                <a:cubicBezTo>
                  <a:pt x="310202" y="3169885"/>
                  <a:pt x="308148" y="3171845"/>
                  <a:pt x="308148" y="3171845"/>
                </a:cubicBezTo>
                <a:close/>
                <a:moveTo>
                  <a:pt x="423117" y="3089561"/>
                </a:moveTo>
                <a:cubicBezTo>
                  <a:pt x="423117" y="3091521"/>
                  <a:pt x="421063" y="3093479"/>
                  <a:pt x="421063" y="3095440"/>
                </a:cubicBezTo>
                <a:cubicBezTo>
                  <a:pt x="421063" y="3095440"/>
                  <a:pt x="423117" y="3095440"/>
                  <a:pt x="423117" y="3095440"/>
                </a:cubicBezTo>
                <a:cubicBezTo>
                  <a:pt x="423117" y="3093479"/>
                  <a:pt x="425169" y="3091521"/>
                  <a:pt x="425169" y="3089561"/>
                </a:cubicBezTo>
                <a:cubicBezTo>
                  <a:pt x="425169" y="3089561"/>
                  <a:pt x="423117" y="3089561"/>
                  <a:pt x="423117" y="3089561"/>
                </a:cubicBezTo>
                <a:close/>
                <a:moveTo>
                  <a:pt x="453911" y="3087603"/>
                </a:moveTo>
                <a:cubicBezTo>
                  <a:pt x="453911" y="3089561"/>
                  <a:pt x="453911" y="3089561"/>
                  <a:pt x="451856" y="3091521"/>
                </a:cubicBezTo>
                <a:cubicBezTo>
                  <a:pt x="453911" y="3093479"/>
                  <a:pt x="453911" y="3091521"/>
                  <a:pt x="455962" y="3091521"/>
                </a:cubicBezTo>
                <a:cubicBezTo>
                  <a:pt x="455962" y="3089561"/>
                  <a:pt x="455962" y="3089561"/>
                  <a:pt x="453911" y="3087603"/>
                </a:cubicBezTo>
                <a:close/>
                <a:moveTo>
                  <a:pt x="299935" y="3044501"/>
                </a:moveTo>
                <a:lnTo>
                  <a:pt x="303005" y="3047430"/>
                </a:lnTo>
                <a:lnTo>
                  <a:pt x="301991" y="3048420"/>
                </a:lnTo>
                <a:lnTo>
                  <a:pt x="300963" y="3048420"/>
                </a:lnTo>
                <a:close/>
                <a:moveTo>
                  <a:pt x="287618" y="3034707"/>
                </a:moveTo>
                <a:lnTo>
                  <a:pt x="295182" y="3039038"/>
                </a:lnTo>
                <a:lnTo>
                  <a:pt x="292751" y="3040583"/>
                </a:lnTo>
                <a:lnTo>
                  <a:pt x="288645" y="3040583"/>
                </a:lnTo>
                <a:lnTo>
                  <a:pt x="287618" y="3038625"/>
                </a:lnTo>
                <a:lnTo>
                  <a:pt x="286387" y="3040583"/>
                </a:lnTo>
                <a:lnTo>
                  <a:pt x="285567" y="3040583"/>
                </a:lnTo>
                <a:cubicBezTo>
                  <a:pt x="285567" y="3038625"/>
                  <a:pt x="287618" y="3036665"/>
                  <a:pt x="287618" y="3034707"/>
                </a:cubicBezTo>
                <a:close/>
                <a:moveTo>
                  <a:pt x="474225" y="2997996"/>
                </a:moveTo>
                <a:lnTo>
                  <a:pt x="470335" y="3007278"/>
                </a:lnTo>
                <a:cubicBezTo>
                  <a:pt x="468283" y="3009236"/>
                  <a:pt x="468283" y="3009236"/>
                  <a:pt x="468283" y="3009236"/>
                </a:cubicBezTo>
                <a:cubicBezTo>
                  <a:pt x="466229" y="3011196"/>
                  <a:pt x="462123" y="3013154"/>
                  <a:pt x="460069" y="3013154"/>
                </a:cubicBezTo>
                <a:cubicBezTo>
                  <a:pt x="460069" y="3011196"/>
                  <a:pt x="462123" y="3011196"/>
                  <a:pt x="462123" y="3011196"/>
                </a:cubicBezTo>
                <a:close/>
                <a:moveTo>
                  <a:pt x="476489" y="2995526"/>
                </a:moveTo>
                <a:lnTo>
                  <a:pt x="474225" y="2997996"/>
                </a:lnTo>
                <a:lnTo>
                  <a:pt x="474441" y="2997481"/>
                </a:lnTo>
                <a:close/>
                <a:moveTo>
                  <a:pt x="476492" y="2995523"/>
                </a:moveTo>
                <a:lnTo>
                  <a:pt x="476494" y="2995523"/>
                </a:lnTo>
                <a:lnTo>
                  <a:pt x="476489" y="2995526"/>
                </a:lnTo>
                <a:close/>
                <a:moveTo>
                  <a:pt x="499077" y="2928912"/>
                </a:moveTo>
                <a:cubicBezTo>
                  <a:pt x="497022" y="2930872"/>
                  <a:pt x="497022" y="2930872"/>
                  <a:pt x="494971" y="2930872"/>
                </a:cubicBezTo>
                <a:cubicBezTo>
                  <a:pt x="494971" y="2930872"/>
                  <a:pt x="492917" y="2932831"/>
                  <a:pt x="492917" y="2932831"/>
                </a:cubicBezTo>
                <a:cubicBezTo>
                  <a:pt x="492917" y="2932831"/>
                  <a:pt x="494971" y="2934789"/>
                  <a:pt x="494971" y="2934789"/>
                </a:cubicBezTo>
                <a:cubicBezTo>
                  <a:pt x="497022" y="2932831"/>
                  <a:pt x="497022" y="2930872"/>
                  <a:pt x="499077" y="2928912"/>
                </a:cubicBezTo>
                <a:close/>
                <a:moveTo>
                  <a:pt x="472387" y="2923036"/>
                </a:moveTo>
                <a:cubicBezTo>
                  <a:pt x="470335" y="2924994"/>
                  <a:pt x="470335" y="2926954"/>
                  <a:pt x="470335" y="2926954"/>
                </a:cubicBezTo>
                <a:cubicBezTo>
                  <a:pt x="470335" y="2926954"/>
                  <a:pt x="472387" y="2926954"/>
                  <a:pt x="472387" y="2924994"/>
                </a:cubicBezTo>
                <a:cubicBezTo>
                  <a:pt x="472387" y="2924994"/>
                  <a:pt x="472387" y="2923036"/>
                  <a:pt x="472387" y="2923036"/>
                </a:cubicBezTo>
                <a:close/>
                <a:moveTo>
                  <a:pt x="480599" y="2825077"/>
                </a:moveTo>
                <a:cubicBezTo>
                  <a:pt x="476492" y="2828995"/>
                  <a:pt x="472387" y="2834875"/>
                  <a:pt x="472387" y="2842712"/>
                </a:cubicBezTo>
                <a:cubicBezTo>
                  <a:pt x="474441" y="2842712"/>
                  <a:pt x="474441" y="2840750"/>
                  <a:pt x="476492" y="2840750"/>
                </a:cubicBezTo>
                <a:cubicBezTo>
                  <a:pt x="476492" y="2842712"/>
                  <a:pt x="474441" y="2844668"/>
                  <a:pt x="474441" y="2846626"/>
                </a:cubicBezTo>
                <a:cubicBezTo>
                  <a:pt x="474441" y="2848587"/>
                  <a:pt x="476492" y="2850546"/>
                  <a:pt x="478546" y="2850546"/>
                </a:cubicBezTo>
                <a:cubicBezTo>
                  <a:pt x="480599" y="2850546"/>
                  <a:pt x="480599" y="2850546"/>
                  <a:pt x="482653" y="2850546"/>
                </a:cubicBezTo>
                <a:cubicBezTo>
                  <a:pt x="484705" y="2846626"/>
                  <a:pt x="484705" y="2842712"/>
                  <a:pt x="486759" y="2840750"/>
                </a:cubicBezTo>
                <a:cubicBezTo>
                  <a:pt x="486759" y="2838792"/>
                  <a:pt x="488811" y="2836832"/>
                  <a:pt x="488811" y="2836832"/>
                </a:cubicBezTo>
                <a:cubicBezTo>
                  <a:pt x="486759" y="2832915"/>
                  <a:pt x="484705" y="2828995"/>
                  <a:pt x="480599" y="2825077"/>
                </a:cubicBezTo>
                <a:close/>
                <a:moveTo>
                  <a:pt x="219870" y="2813321"/>
                </a:moveTo>
                <a:cubicBezTo>
                  <a:pt x="211658" y="2813321"/>
                  <a:pt x="209606" y="2819201"/>
                  <a:pt x="205497" y="2819201"/>
                </a:cubicBezTo>
                <a:cubicBezTo>
                  <a:pt x="211658" y="2821159"/>
                  <a:pt x="215763" y="2819201"/>
                  <a:pt x="219870" y="2813321"/>
                </a:cubicBezTo>
                <a:close/>
                <a:moveTo>
                  <a:pt x="106955" y="2758466"/>
                </a:moveTo>
                <a:cubicBezTo>
                  <a:pt x="100797" y="2756508"/>
                  <a:pt x="98743" y="2764344"/>
                  <a:pt x="92585" y="2764344"/>
                </a:cubicBezTo>
                <a:cubicBezTo>
                  <a:pt x="98743" y="2766305"/>
                  <a:pt x="102849" y="2764344"/>
                  <a:pt x="106955" y="2758466"/>
                </a:cubicBezTo>
                <a:close/>
                <a:moveTo>
                  <a:pt x="369739" y="2742795"/>
                </a:moveTo>
                <a:cubicBezTo>
                  <a:pt x="363578" y="2740835"/>
                  <a:pt x="359472" y="2742795"/>
                  <a:pt x="355369" y="2744753"/>
                </a:cubicBezTo>
                <a:cubicBezTo>
                  <a:pt x="347153" y="2750632"/>
                  <a:pt x="338942" y="2756508"/>
                  <a:pt x="328678" y="2762384"/>
                </a:cubicBezTo>
                <a:cubicBezTo>
                  <a:pt x="328678" y="2766305"/>
                  <a:pt x="326627" y="2768264"/>
                  <a:pt x="322519" y="2770224"/>
                </a:cubicBezTo>
                <a:cubicBezTo>
                  <a:pt x="324573" y="2768264"/>
                  <a:pt x="324573" y="2766305"/>
                  <a:pt x="326627" y="2764344"/>
                </a:cubicBezTo>
                <a:cubicBezTo>
                  <a:pt x="322519" y="2768264"/>
                  <a:pt x="318411" y="2770224"/>
                  <a:pt x="314308" y="2774141"/>
                </a:cubicBezTo>
                <a:cubicBezTo>
                  <a:pt x="314308" y="2774141"/>
                  <a:pt x="314308" y="2776099"/>
                  <a:pt x="314308" y="2778058"/>
                </a:cubicBezTo>
                <a:cubicBezTo>
                  <a:pt x="318411" y="2780017"/>
                  <a:pt x="322519" y="2778058"/>
                  <a:pt x="326627" y="2776099"/>
                </a:cubicBezTo>
                <a:cubicBezTo>
                  <a:pt x="332784" y="2772181"/>
                  <a:pt x="338942" y="2770224"/>
                  <a:pt x="347153" y="2768264"/>
                </a:cubicBezTo>
                <a:cubicBezTo>
                  <a:pt x="349207" y="2768264"/>
                  <a:pt x="349207" y="2768264"/>
                  <a:pt x="351260" y="2768264"/>
                </a:cubicBezTo>
                <a:cubicBezTo>
                  <a:pt x="359472" y="2764344"/>
                  <a:pt x="367683" y="2758466"/>
                  <a:pt x="371791" y="2752590"/>
                </a:cubicBezTo>
                <a:cubicBezTo>
                  <a:pt x="373845" y="2748671"/>
                  <a:pt x="373845" y="2746712"/>
                  <a:pt x="369739" y="2742795"/>
                </a:cubicBezTo>
                <a:close/>
                <a:moveTo>
                  <a:pt x="86424" y="2717325"/>
                </a:moveTo>
                <a:cubicBezTo>
                  <a:pt x="86424" y="2719285"/>
                  <a:pt x="84373" y="2721243"/>
                  <a:pt x="84373" y="2723204"/>
                </a:cubicBezTo>
                <a:cubicBezTo>
                  <a:pt x="78215" y="2723204"/>
                  <a:pt x="74108" y="2725161"/>
                  <a:pt x="72056" y="2729080"/>
                </a:cubicBezTo>
                <a:cubicBezTo>
                  <a:pt x="76161" y="2723204"/>
                  <a:pt x="80267" y="2719285"/>
                  <a:pt x="86424" y="2717325"/>
                </a:cubicBezTo>
                <a:close/>
                <a:moveTo>
                  <a:pt x="256823" y="2684020"/>
                </a:moveTo>
                <a:cubicBezTo>
                  <a:pt x="252718" y="2685981"/>
                  <a:pt x="246557" y="2687939"/>
                  <a:pt x="242454" y="2689897"/>
                </a:cubicBezTo>
                <a:cubicBezTo>
                  <a:pt x="228081" y="2699694"/>
                  <a:pt x="215763" y="2709488"/>
                  <a:pt x="201394" y="2719285"/>
                </a:cubicBezTo>
                <a:cubicBezTo>
                  <a:pt x="201394" y="2719285"/>
                  <a:pt x="201394" y="2721243"/>
                  <a:pt x="201394" y="2723204"/>
                </a:cubicBezTo>
                <a:cubicBezTo>
                  <a:pt x="205497" y="2725161"/>
                  <a:pt x="209606" y="2723204"/>
                  <a:pt x="213712" y="2721243"/>
                </a:cubicBezTo>
                <a:cubicBezTo>
                  <a:pt x="215763" y="2719285"/>
                  <a:pt x="217819" y="2719285"/>
                  <a:pt x="221924" y="2717325"/>
                </a:cubicBezTo>
                <a:cubicBezTo>
                  <a:pt x="221924" y="2717325"/>
                  <a:pt x="221924" y="2717325"/>
                  <a:pt x="219870" y="2715367"/>
                </a:cubicBezTo>
                <a:cubicBezTo>
                  <a:pt x="223976" y="2713406"/>
                  <a:pt x="226027" y="2711448"/>
                  <a:pt x="230133" y="2707530"/>
                </a:cubicBezTo>
                <a:cubicBezTo>
                  <a:pt x="230133" y="2707530"/>
                  <a:pt x="232187" y="2709488"/>
                  <a:pt x="232187" y="2709488"/>
                </a:cubicBezTo>
                <a:cubicBezTo>
                  <a:pt x="230133" y="2711448"/>
                  <a:pt x="228081" y="2713406"/>
                  <a:pt x="226027" y="2713406"/>
                </a:cubicBezTo>
                <a:cubicBezTo>
                  <a:pt x="228081" y="2711448"/>
                  <a:pt x="232187" y="2711448"/>
                  <a:pt x="234242" y="2711448"/>
                </a:cubicBezTo>
                <a:cubicBezTo>
                  <a:pt x="244506" y="2709488"/>
                  <a:pt x="252718" y="2701651"/>
                  <a:pt x="258876" y="2693814"/>
                </a:cubicBezTo>
                <a:cubicBezTo>
                  <a:pt x="260930" y="2689897"/>
                  <a:pt x="260930" y="2687939"/>
                  <a:pt x="256823" y="2684020"/>
                </a:cubicBezTo>
                <a:close/>
                <a:moveTo>
                  <a:pt x="291724" y="2658552"/>
                </a:moveTo>
                <a:cubicBezTo>
                  <a:pt x="289672" y="2658552"/>
                  <a:pt x="289672" y="2658552"/>
                  <a:pt x="287618" y="2660510"/>
                </a:cubicBezTo>
                <a:cubicBezTo>
                  <a:pt x="287618" y="2660510"/>
                  <a:pt x="287618" y="2662470"/>
                  <a:pt x="287618" y="2662470"/>
                </a:cubicBezTo>
                <a:cubicBezTo>
                  <a:pt x="289672" y="2660510"/>
                  <a:pt x="291724" y="2660510"/>
                  <a:pt x="291724" y="2658552"/>
                </a:cubicBezTo>
                <a:close/>
                <a:moveTo>
                  <a:pt x="191128" y="2648755"/>
                </a:moveTo>
                <a:cubicBezTo>
                  <a:pt x="191128" y="2648755"/>
                  <a:pt x="191128" y="2650713"/>
                  <a:pt x="191128" y="2652673"/>
                </a:cubicBezTo>
                <a:cubicBezTo>
                  <a:pt x="189076" y="2652673"/>
                  <a:pt x="189076" y="2652673"/>
                  <a:pt x="187021" y="2652673"/>
                </a:cubicBezTo>
                <a:cubicBezTo>
                  <a:pt x="187021" y="2650713"/>
                  <a:pt x="189076" y="2650713"/>
                  <a:pt x="191128" y="2648755"/>
                </a:cubicBezTo>
                <a:close/>
                <a:moveTo>
                  <a:pt x="277353" y="2646797"/>
                </a:moveTo>
                <a:cubicBezTo>
                  <a:pt x="271194" y="2650713"/>
                  <a:pt x="265036" y="2652673"/>
                  <a:pt x="262984" y="2660510"/>
                </a:cubicBezTo>
                <a:cubicBezTo>
                  <a:pt x="275299" y="2656592"/>
                  <a:pt x="275299" y="2656592"/>
                  <a:pt x="277353" y="2646797"/>
                </a:cubicBezTo>
                <a:close/>
                <a:moveTo>
                  <a:pt x="168204" y="2646797"/>
                </a:moveTo>
                <a:lnTo>
                  <a:pt x="168278" y="2647228"/>
                </a:lnTo>
                <a:lnTo>
                  <a:pt x="164182" y="2651449"/>
                </a:lnTo>
                <a:cubicBezTo>
                  <a:pt x="161360" y="2653163"/>
                  <a:pt x="158280" y="2654633"/>
                  <a:pt x="156228" y="2656592"/>
                </a:cubicBezTo>
                <a:close/>
                <a:moveTo>
                  <a:pt x="306097" y="2542963"/>
                </a:moveTo>
                <a:cubicBezTo>
                  <a:pt x="299935" y="2546881"/>
                  <a:pt x="289672" y="2554718"/>
                  <a:pt x="287618" y="2562551"/>
                </a:cubicBezTo>
                <a:cubicBezTo>
                  <a:pt x="285567" y="2564512"/>
                  <a:pt x="283512" y="2566472"/>
                  <a:pt x="283512" y="2566472"/>
                </a:cubicBezTo>
                <a:cubicBezTo>
                  <a:pt x="273248" y="2566472"/>
                  <a:pt x="271194" y="2572349"/>
                  <a:pt x="269142" y="2578228"/>
                </a:cubicBezTo>
                <a:cubicBezTo>
                  <a:pt x="285567" y="2572349"/>
                  <a:pt x="295829" y="2566472"/>
                  <a:pt x="301991" y="2556675"/>
                </a:cubicBezTo>
                <a:cubicBezTo>
                  <a:pt x="306097" y="2552758"/>
                  <a:pt x="308148" y="2548839"/>
                  <a:pt x="306097" y="2542963"/>
                </a:cubicBezTo>
                <a:close/>
                <a:moveTo>
                  <a:pt x="334839" y="2527290"/>
                </a:moveTo>
                <a:cubicBezTo>
                  <a:pt x="332784" y="2529250"/>
                  <a:pt x="330732" y="2531207"/>
                  <a:pt x="328678" y="2531207"/>
                </a:cubicBezTo>
                <a:cubicBezTo>
                  <a:pt x="330732" y="2531207"/>
                  <a:pt x="334839" y="2531207"/>
                  <a:pt x="336891" y="2529250"/>
                </a:cubicBezTo>
                <a:cubicBezTo>
                  <a:pt x="336891" y="2529250"/>
                  <a:pt x="336891" y="2527290"/>
                  <a:pt x="334839" y="2527290"/>
                </a:cubicBezTo>
                <a:close/>
                <a:moveTo>
                  <a:pt x="410796" y="2254969"/>
                </a:moveTo>
                <a:cubicBezTo>
                  <a:pt x="396426" y="2268682"/>
                  <a:pt x="373845" y="2307866"/>
                  <a:pt x="365632" y="2335294"/>
                </a:cubicBezTo>
                <a:cubicBezTo>
                  <a:pt x="386163" y="2309826"/>
                  <a:pt x="396426" y="2282397"/>
                  <a:pt x="410796" y="2254969"/>
                </a:cubicBezTo>
                <a:close/>
                <a:moveTo>
                  <a:pt x="1285371" y="1202913"/>
                </a:moveTo>
                <a:cubicBezTo>
                  <a:pt x="1285371" y="1206831"/>
                  <a:pt x="1283319" y="1210749"/>
                  <a:pt x="1281264" y="1214667"/>
                </a:cubicBezTo>
                <a:cubicBezTo>
                  <a:pt x="1281264" y="1214667"/>
                  <a:pt x="1283319" y="1214667"/>
                  <a:pt x="1283319" y="1214667"/>
                </a:cubicBezTo>
                <a:cubicBezTo>
                  <a:pt x="1283319" y="1216627"/>
                  <a:pt x="1283319" y="1218586"/>
                  <a:pt x="1285371" y="1222504"/>
                </a:cubicBezTo>
                <a:cubicBezTo>
                  <a:pt x="1287423" y="1214667"/>
                  <a:pt x="1287423" y="1210749"/>
                  <a:pt x="1287423" y="1208788"/>
                </a:cubicBezTo>
                <a:cubicBezTo>
                  <a:pt x="1287423" y="1206831"/>
                  <a:pt x="1285371" y="1204871"/>
                  <a:pt x="1285371" y="1202913"/>
                </a:cubicBezTo>
                <a:close/>
                <a:moveTo>
                  <a:pt x="1314113" y="1179403"/>
                </a:moveTo>
                <a:cubicBezTo>
                  <a:pt x="1314113" y="1179403"/>
                  <a:pt x="1312059" y="1181361"/>
                  <a:pt x="1312059" y="1181361"/>
                </a:cubicBezTo>
                <a:cubicBezTo>
                  <a:pt x="1312059" y="1181361"/>
                  <a:pt x="1312059" y="1183321"/>
                  <a:pt x="1312059" y="1185279"/>
                </a:cubicBezTo>
                <a:cubicBezTo>
                  <a:pt x="1312059" y="1189199"/>
                  <a:pt x="1310007" y="1193118"/>
                  <a:pt x="1303848" y="1193118"/>
                </a:cubicBezTo>
                <a:cubicBezTo>
                  <a:pt x="1301795" y="1193118"/>
                  <a:pt x="1299740" y="1198994"/>
                  <a:pt x="1297689" y="1202913"/>
                </a:cubicBezTo>
                <a:cubicBezTo>
                  <a:pt x="1303848" y="1202913"/>
                  <a:pt x="1305900" y="1202913"/>
                  <a:pt x="1310007" y="1202913"/>
                </a:cubicBezTo>
                <a:cubicBezTo>
                  <a:pt x="1310007" y="1202913"/>
                  <a:pt x="1312059" y="1202913"/>
                  <a:pt x="1312059" y="1200952"/>
                </a:cubicBezTo>
                <a:cubicBezTo>
                  <a:pt x="1314113" y="1195076"/>
                  <a:pt x="1316167" y="1189199"/>
                  <a:pt x="1320271" y="1183321"/>
                </a:cubicBezTo>
                <a:cubicBezTo>
                  <a:pt x="1320271" y="1181361"/>
                  <a:pt x="1320271" y="1179403"/>
                  <a:pt x="1320271" y="1179403"/>
                </a:cubicBezTo>
                <a:cubicBezTo>
                  <a:pt x="1318219" y="1181361"/>
                  <a:pt x="1318219" y="1183321"/>
                  <a:pt x="1316167" y="1187239"/>
                </a:cubicBezTo>
                <a:cubicBezTo>
                  <a:pt x="1314113" y="1185279"/>
                  <a:pt x="1314113" y="1181361"/>
                  <a:pt x="1314113" y="1179403"/>
                </a:cubicBezTo>
                <a:close/>
                <a:moveTo>
                  <a:pt x="1548154" y="922755"/>
                </a:moveTo>
                <a:lnTo>
                  <a:pt x="1546100" y="930594"/>
                </a:lnTo>
                <a:lnTo>
                  <a:pt x="1546100" y="930592"/>
                </a:lnTo>
                <a:cubicBezTo>
                  <a:pt x="1546100" y="928634"/>
                  <a:pt x="1548154" y="924713"/>
                  <a:pt x="1548154" y="922755"/>
                </a:cubicBezTo>
                <a:close/>
                <a:moveTo>
                  <a:pt x="1525570" y="916877"/>
                </a:moveTo>
                <a:cubicBezTo>
                  <a:pt x="1525570" y="918837"/>
                  <a:pt x="1523519" y="922755"/>
                  <a:pt x="1523519" y="924713"/>
                </a:cubicBezTo>
                <a:cubicBezTo>
                  <a:pt x="1521464" y="924713"/>
                  <a:pt x="1521464" y="924713"/>
                  <a:pt x="1521464" y="926674"/>
                </a:cubicBezTo>
                <a:cubicBezTo>
                  <a:pt x="1523519" y="924713"/>
                  <a:pt x="1527624" y="922755"/>
                  <a:pt x="1529676" y="920795"/>
                </a:cubicBezTo>
                <a:cubicBezTo>
                  <a:pt x="1527624" y="918837"/>
                  <a:pt x="1527624" y="916877"/>
                  <a:pt x="1525570" y="916877"/>
                </a:cubicBezTo>
                <a:close/>
                <a:moveTo>
                  <a:pt x="1517357" y="912961"/>
                </a:moveTo>
                <a:cubicBezTo>
                  <a:pt x="1517357" y="914919"/>
                  <a:pt x="1517357" y="918837"/>
                  <a:pt x="1515306" y="920795"/>
                </a:cubicBezTo>
                <a:cubicBezTo>
                  <a:pt x="1515306" y="922755"/>
                  <a:pt x="1515306" y="926674"/>
                  <a:pt x="1515306" y="928634"/>
                </a:cubicBezTo>
                <a:cubicBezTo>
                  <a:pt x="1517357" y="924713"/>
                  <a:pt x="1519411" y="918837"/>
                  <a:pt x="1521464" y="914919"/>
                </a:cubicBezTo>
                <a:cubicBezTo>
                  <a:pt x="1519411" y="914919"/>
                  <a:pt x="1519411" y="912961"/>
                  <a:pt x="1517357" y="912961"/>
                </a:cubicBezTo>
                <a:close/>
                <a:moveTo>
                  <a:pt x="1408551" y="893370"/>
                </a:moveTo>
                <a:cubicBezTo>
                  <a:pt x="1408551" y="893370"/>
                  <a:pt x="1410604" y="893370"/>
                  <a:pt x="1410604" y="893370"/>
                </a:cubicBezTo>
                <a:cubicBezTo>
                  <a:pt x="1410604" y="897286"/>
                  <a:pt x="1408551" y="901205"/>
                  <a:pt x="1408551" y="903164"/>
                </a:cubicBezTo>
                <a:cubicBezTo>
                  <a:pt x="1408551" y="905124"/>
                  <a:pt x="1406497" y="907082"/>
                  <a:pt x="1402391" y="903164"/>
                </a:cubicBezTo>
                <a:cubicBezTo>
                  <a:pt x="1404443" y="899245"/>
                  <a:pt x="1406497" y="897286"/>
                  <a:pt x="1408551" y="893370"/>
                </a:cubicBezTo>
                <a:close/>
                <a:moveTo>
                  <a:pt x="1394180" y="877696"/>
                </a:moveTo>
                <a:cubicBezTo>
                  <a:pt x="1388022" y="889451"/>
                  <a:pt x="1385967" y="899245"/>
                  <a:pt x="1385967" y="907082"/>
                </a:cubicBezTo>
                <a:cubicBezTo>
                  <a:pt x="1383915" y="924713"/>
                  <a:pt x="1379809" y="944306"/>
                  <a:pt x="1375704" y="961939"/>
                </a:cubicBezTo>
                <a:cubicBezTo>
                  <a:pt x="1375704" y="967815"/>
                  <a:pt x="1373649" y="973694"/>
                  <a:pt x="1371598" y="981530"/>
                </a:cubicBezTo>
                <a:cubicBezTo>
                  <a:pt x="1371598" y="985447"/>
                  <a:pt x="1369543" y="989368"/>
                  <a:pt x="1367491" y="989368"/>
                </a:cubicBezTo>
                <a:cubicBezTo>
                  <a:pt x="1357225" y="995243"/>
                  <a:pt x="1355173" y="1005038"/>
                  <a:pt x="1351067" y="1014835"/>
                </a:cubicBezTo>
                <a:cubicBezTo>
                  <a:pt x="1351067" y="1014835"/>
                  <a:pt x="1349013" y="1014835"/>
                  <a:pt x="1349013" y="1016796"/>
                </a:cubicBezTo>
                <a:cubicBezTo>
                  <a:pt x="1346961" y="1014835"/>
                  <a:pt x="1344907" y="1012877"/>
                  <a:pt x="1342855" y="1012877"/>
                </a:cubicBezTo>
                <a:cubicBezTo>
                  <a:pt x="1340800" y="1014835"/>
                  <a:pt x="1338749" y="1016796"/>
                  <a:pt x="1338749" y="1018753"/>
                </a:cubicBezTo>
                <a:cubicBezTo>
                  <a:pt x="1338749" y="1022672"/>
                  <a:pt x="1338749" y="1028548"/>
                  <a:pt x="1336695" y="1032466"/>
                </a:cubicBezTo>
                <a:cubicBezTo>
                  <a:pt x="1336695" y="1034427"/>
                  <a:pt x="1336695" y="1036385"/>
                  <a:pt x="1336695" y="1038346"/>
                </a:cubicBezTo>
                <a:cubicBezTo>
                  <a:pt x="1338749" y="1036385"/>
                  <a:pt x="1340800" y="1036385"/>
                  <a:pt x="1342855" y="1036385"/>
                </a:cubicBezTo>
                <a:cubicBezTo>
                  <a:pt x="1344907" y="1042263"/>
                  <a:pt x="1344907" y="1048139"/>
                  <a:pt x="1340800" y="1052058"/>
                </a:cubicBezTo>
                <a:cubicBezTo>
                  <a:pt x="1328483" y="1069692"/>
                  <a:pt x="1334643" y="1093199"/>
                  <a:pt x="1320271" y="1112790"/>
                </a:cubicBezTo>
                <a:cubicBezTo>
                  <a:pt x="1320271" y="1112790"/>
                  <a:pt x="1320271" y="1112790"/>
                  <a:pt x="1320271" y="1114751"/>
                </a:cubicBezTo>
                <a:cubicBezTo>
                  <a:pt x="1322324" y="1122588"/>
                  <a:pt x="1318219" y="1130425"/>
                  <a:pt x="1316167" y="1136301"/>
                </a:cubicBezTo>
                <a:cubicBezTo>
                  <a:pt x="1314113" y="1150016"/>
                  <a:pt x="1310007" y="1165689"/>
                  <a:pt x="1307953" y="1179403"/>
                </a:cubicBezTo>
                <a:cubicBezTo>
                  <a:pt x="1310007" y="1171566"/>
                  <a:pt x="1312059" y="1163729"/>
                  <a:pt x="1316167" y="1155893"/>
                </a:cubicBezTo>
                <a:cubicBezTo>
                  <a:pt x="1316167" y="1155893"/>
                  <a:pt x="1318219" y="1155893"/>
                  <a:pt x="1318219" y="1155893"/>
                </a:cubicBezTo>
                <a:cubicBezTo>
                  <a:pt x="1318219" y="1159810"/>
                  <a:pt x="1318219" y="1163729"/>
                  <a:pt x="1318219" y="1167647"/>
                </a:cubicBezTo>
                <a:cubicBezTo>
                  <a:pt x="1318219" y="1167647"/>
                  <a:pt x="1320271" y="1167647"/>
                  <a:pt x="1320271" y="1167647"/>
                </a:cubicBezTo>
                <a:cubicBezTo>
                  <a:pt x="1320271" y="1167647"/>
                  <a:pt x="1322324" y="1165689"/>
                  <a:pt x="1324376" y="1165689"/>
                </a:cubicBezTo>
                <a:cubicBezTo>
                  <a:pt x="1324376" y="1165689"/>
                  <a:pt x="1324376" y="1165689"/>
                  <a:pt x="1326431" y="1165689"/>
                </a:cubicBezTo>
                <a:cubicBezTo>
                  <a:pt x="1328483" y="1155893"/>
                  <a:pt x="1330537" y="1148056"/>
                  <a:pt x="1332589" y="1138261"/>
                </a:cubicBezTo>
                <a:cubicBezTo>
                  <a:pt x="1334643" y="1114751"/>
                  <a:pt x="1340800" y="1091241"/>
                  <a:pt x="1346961" y="1069692"/>
                </a:cubicBezTo>
                <a:cubicBezTo>
                  <a:pt x="1351067" y="1057937"/>
                  <a:pt x="1351067" y="1046181"/>
                  <a:pt x="1353119" y="1034427"/>
                </a:cubicBezTo>
                <a:cubicBezTo>
                  <a:pt x="1355173" y="1022672"/>
                  <a:pt x="1359279" y="1012877"/>
                  <a:pt x="1361331" y="1001122"/>
                </a:cubicBezTo>
                <a:cubicBezTo>
                  <a:pt x="1361331" y="999161"/>
                  <a:pt x="1363386" y="997203"/>
                  <a:pt x="1365437" y="993286"/>
                </a:cubicBezTo>
                <a:cubicBezTo>
                  <a:pt x="1367491" y="997203"/>
                  <a:pt x="1367491" y="999161"/>
                  <a:pt x="1367491" y="1001122"/>
                </a:cubicBezTo>
                <a:cubicBezTo>
                  <a:pt x="1365437" y="1010917"/>
                  <a:pt x="1363386" y="1020714"/>
                  <a:pt x="1361331" y="1030508"/>
                </a:cubicBezTo>
                <a:cubicBezTo>
                  <a:pt x="1355173" y="1059895"/>
                  <a:pt x="1349013" y="1089284"/>
                  <a:pt x="1342855" y="1118669"/>
                </a:cubicBezTo>
                <a:cubicBezTo>
                  <a:pt x="1342855" y="1120628"/>
                  <a:pt x="1342855" y="1122588"/>
                  <a:pt x="1342855" y="1124548"/>
                </a:cubicBezTo>
                <a:cubicBezTo>
                  <a:pt x="1351067" y="1120628"/>
                  <a:pt x="1349013" y="1110833"/>
                  <a:pt x="1351067" y="1104957"/>
                </a:cubicBezTo>
                <a:cubicBezTo>
                  <a:pt x="1353119" y="1099078"/>
                  <a:pt x="1355173" y="1093199"/>
                  <a:pt x="1355173" y="1085365"/>
                </a:cubicBezTo>
                <a:cubicBezTo>
                  <a:pt x="1357225" y="1079486"/>
                  <a:pt x="1359279" y="1071650"/>
                  <a:pt x="1359279" y="1065774"/>
                </a:cubicBezTo>
                <a:cubicBezTo>
                  <a:pt x="1361331" y="1057937"/>
                  <a:pt x="1361331" y="1052058"/>
                  <a:pt x="1363386" y="1044221"/>
                </a:cubicBezTo>
                <a:cubicBezTo>
                  <a:pt x="1365437" y="1038346"/>
                  <a:pt x="1365437" y="1032466"/>
                  <a:pt x="1367491" y="1024630"/>
                </a:cubicBezTo>
                <a:cubicBezTo>
                  <a:pt x="1369543" y="1018753"/>
                  <a:pt x="1369543" y="1010917"/>
                  <a:pt x="1371598" y="1005038"/>
                </a:cubicBezTo>
                <a:cubicBezTo>
                  <a:pt x="1373649" y="1006999"/>
                  <a:pt x="1375704" y="1006999"/>
                  <a:pt x="1377755" y="1006999"/>
                </a:cubicBezTo>
                <a:cubicBezTo>
                  <a:pt x="1377755" y="991326"/>
                  <a:pt x="1383915" y="979570"/>
                  <a:pt x="1385967" y="963897"/>
                </a:cubicBezTo>
                <a:cubicBezTo>
                  <a:pt x="1385967" y="963897"/>
                  <a:pt x="1385967" y="963897"/>
                  <a:pt x="1383915" y="963897"/>
                </a:cubicBezTo>
                <a:cubicBezTo>
                  <a:pt x="1383915" y="965857"/>
                  <a:pt x="1381861" y="965857"/>
                  <a:pt x="1381861" y="967815"/>
                </a:cubicBezTo>
                <a:cubicBezTo>
                  <a:pt x="1379809" y="965857"/>
                  <a:pt x="1377755" y="965857"/>
                  <a:pt x="1379809" y="963897"/>
                </a:cubicBezTo>
                <a:cubicBezTo>
                  <a:pt x="1383915" y="946266"/>
                  <a:pt x="1388022" y="926674"/>
                  <a:pt x="1390074" y="909043"/>
                </a:cubicBezTo>
                <a:cubicBezTo>
                  <a:pt x="1385967" y="899245"/>
                  <a:pt x="1394180" y="889451"/>
                  <a:pt x="1394180" y="879654"/>
                </a:cubicBezTo>
                <a:cubicBezTo>
                  <a:pt x="1394180" y="879654"/>
                  <a:pt x="1394180" y="877696"/>
                  <a:pt x="1394180" y="877696"/>
                </a:cubicBezTo>
                <a:close/>
                <a:moveTo>
                  <a:pt x="1461928" y="860062"/>
                </a:moveTo>
                <a:cubicBezTo>
                  <a:pt x="1457822" y="863983"/>
                  <a:pt x="1459876" y="865941"/>
                  <a:pt x="1463981" y="865941"/>
                </a:cubicBezTo>
                <a:cubicBezTo>
                  <a:pt x="1468087" y="865941"/>
                  <a:pt x="1470139" y="865941"/>
                  <a:pt x="1476299" y="865941"/>
                </a:cubicBezTo>
                <a:cubicBezTo>
                  <a:pt x="1470139" y="863983"/>
                  <a:pt x="1466033" y="862023"/>
                  <a:pt x="1461928" y="860062"/>
                </a:cubicBezTo>
                <a:close/>
                <a:moveTo>
                  <a:pt x="1517357" y="852226"/>
                </a:moveTo>
                <a:cubicBezTo>
                  <a:pt x="1517357" y="854186"/>
                  <a:pt x="1515306" y="858104"/>
                  <a:pt x="1515306" y="862023"/>
                </a:cubicBezTo>
                <a:cubicBezTo>
                  <a:pt x="1517357" y="860062"/>
                  <a:pt x="1519411" y="856144"/>
                  <a:pt x="1521464" y="854186"/>
                </a:cubicBezTo>
                <a:cubicBezTo>
                  <a:pt x="1521464" y="854186"/>
                  <a:pt x="1521464" y="852226"/>
                  <a:pt x="1521464" y="852226"/>
                </a:cubicBezTo>
                <a:cubicBezTo>
                  <a:pt x="1519411" y="852226"/>
                  <a:pt x="1519411" y="852226"/>
                  <a:pt x="1517357" y="852226"/>
                </a:cubicBezTo>
                <a:close/>
                <a:moveTo>
                  <a:pt x="1412656" y="836553"/>
                </a:moveTo>
                <a:cubicBezTo>
                  <a:pt x="1410604" y="842431"/>
                  <a:pt x="1408551" y="850268"/>
                  <a:pt x="1404443" y="856144"/>
                </a:cubicBezTo>
                <a:cubicBezTo>
                  <a:pt x="1404443" y="860062"/>
                  <a:pt x="1402391" y="862023"/>
                  <a:pt x="1402391" y="865941"/>
                </a:cubicBezTo>
                <a:cubicBezTo>
                  <a:pt x="1402391" y="867899"/>
                  <a:pt x="1402391" y="871818"/>
                  <a:pt x="1402391" y="873778"/>
                </a:cubicBezTo>
                <a:cubicBezTo>
                  <a:pt x="1408551" y="865941"/>
                  <a:pt x="1410604" y="856144"/>
                  <a:pt x="1410604" y="846350"/>
                </a:cubicBezTo>
                <a:cubicBezTo>
                  <a:pt x="1412656" y="842431"/>
                  <a:pt x="1412656" y="838513"/>
                  <a:pt x="1412656" y="836553"/>
                </a:cubicBezTo>
                <a:close/>
                <a:moveTo>
                  <a:pt x="1615902" y="824800"/>
                </a:moveTo>
                <a:cubicBezTo>
                  <a:pt x="1615902" y="826758"/>
                  <a:pt x="1613849" y="830676"/>
                  <a:pt x="1613849" y="832634"/>
                </a:cubicBezTo>
                <a:cubicBezTo>
                  <a:pt x="1613849" y="832634"/>
                  <a:pt x="1613849" y="832634"/>
                  <a:pt x="1613849" y="834594"/>
                </a:cubicBezTo>
                <a:cubicBezTo>
                  <a:pt x="1615902" y="830676"/>
                  <a:pt x="1615902" y="828715"/>
                  <a:pt x="1615902" y="824800"/>
                </a:cubicBezTo>
                <a:close/>
                <a:moveTo>
                  <a:pt x="1537887" y="824800"/>
                </a:moveTo>
                <a:cubicBezTo>
                  <a:pt x="1529676" y="834594"/>
                  <a:pt x="1527624" y="842431"/>
                  <a:pt x="1527624" y="852226"/>
                </a:cubicBezTo>
                <a:cubicBezTo>
                  <a:pt x="1527624" y="852226"/>
                  <a:pt x="1527624" y="854186"/>
                  <a:pt x="1527624" y="854186"/>
                </a:cubicBezTo>
                <a:cubicBezTo>
                  <a:pt x="1529676" y="856144"/>
                  <a:pt x="1531729" y="856144"/>
                  <a:pt x="1533782" y="856144"/>
                </a:cubicBezTo>
                <a:cubicBezTo>
                  <a:pt x="1535835" y="852226"/>
                  <a:pt x="1535835" y="846350"/>
                  <a:pt x="1537887" y="842431"/>
                </a:cubicBezTo>
                <a:cubicBezTo>
                  <a:pt x="1539943" y="838513"/>
                  <a:pt x="1537887" y="832634"/>
                  <a:pt x="1537887" y="824800"/>
                </a:cubicBezTo>
                <a:close/>
                <a:moveTo>
                  <a:pt x="1349013" y="805208"/>
                </a:moveTo>
                <a:lnTo>
                  <a:pt x="1353705" y="807445"/>
                </a:lnTo>
                <a:lnTo>
                  <a:pt x="1353119" y="809124"/>
                </a:lnTo>
                <a:lnTo>
                  <a:pt x="1352094" y="811084"/>
                </a:lnTo>
                <a:lnTo>
                  <a:pt x="1351067" y="811084"/>
                </a:lnTo>
                <a:cubicBezTo>
                  <a:pt x="1349013" y="811084"/>
                  <a:pt x="1346961" y="807166"/>
                  <a:pt x="1349013" y="805208"/>
                </a:cubicBezTo>
                <a:close/>
                <a:moveTo>
                  <a:pt x="1492723" y="797372"/>
                </a:moveTo>
                <a:cubicBezTo>
                  <a:pt x="1484512" y="801290"/>
                  <a:pt x="1482457" y="805208"/>
                  <a:pt x="1486563" y="811084"/>
                </a:cubicBezTo>
                <a:cubicBezTo>
                  <a:pt x="1486563" y="811084"/>
                  <a:pt x="1488618" y="813045"/>
                  <a:pt x="1488618" y="813045"/>
                </a:cubicBezTo>
                <a:cubicBezTo>
                  <a:pt x="1490670" y="809124"/>
                  <a:pt x="1492723" y="805208"/>
                  <a:pt x="1494775" y="801290"/>
                </a:cubicBezTo>
                <a:cubicBezTo>
                  <a:pt x="1494775" y="799330"/>
                  <a:pt x="1492723" y="797372"/>
                  <a:pt x="1492723" y="797372"/>
                </a:cubicBezTo>
                <a:close/>
                <a:moveTo>
                  <a:pt x="1357225" y="777780"/>
                </a:moveTo>
                <a:cubicBezTo>
                  <a:pt x="1357225" y="779737"/>
                  <a:pt x="1357225" y="781699"/>
                  <a:pt x="1355173" y="783656"/>
                </a:cubicBezTo>
                <a:cubicBezTo>
                  <a:pt x="1357225" y="783656"/>
                  <a:pt x="1357225" y="781699"/>
                  <a:pt x="1357225" y="779737"/>
                </a:cubicBezTo>
                <a:cubicBezTo>
                  <a:pt x="1357225" y="779737"/>
                  <a:pt x="1357225" y="777780"/>
                  <a:pt x="1357225" y="777780"/>
                </a:cubicBezTo>
                <a:close/>
                <a:moveTo>
                  <a:pt x="1648750" y="771902"/>
                </a:moveTo>
                <a:cubicBezTo>
                  <a:pt x="1646696" y="773862"/>
                  <a:pt x="1644645" y="775822"/>
                  <a:pt x="1644645" y="777780"/>
                </a:cubicBezTo>
                <a:cubicBezTo>
                  <a:pt x="1644645" y="779737"/>
                  <a:pt x="1644645" y="781699"/>
                  <a:pt x="1644645" y="783656"/>
                </a:cubicBezTo>
                <a:cubicBezTo>
                  <a:pt x="1646696" y="779737"/>
                  <a:pt x="1646696" y="775822"/>
                  <a:pt x="1648750" y="771902"/>
                </a:cubicBezTo>
                <a:close/>
                <a:moveTo>
                  <a:pt x="1424973" y="767983"/>
                </a:moveTo>
                <a:cubicBezTo>
                  <a:pt x="1422921" y="771902"/>
                  <a:pt x="1422921" y="773862"/>
                  <a:pt x="1420867" y="777780"/>
                </a:cubicBezTo>
                <a:cubicBezTo>
                  <a:pt x="1418815" y="781699"/>
                  <a:pt x="1418815" y="787575"/>
                  <a:pt x="1416761" y="791493"/>
                </a:cubicBezTo>
                <a:cubicBezTo>
                  <a:pt x="1416761" y="793453"/>
                  <a:pt x="1416761" y="795411"/>
                  <a:pt x="1416761" y="795411"/>
                </a:cubicBezTo>
                <a:cubicBezTo>
                  <a:pt x="1414709" y="805208"/>
                  <a:pt x="1412656" y="816963"/>
                  <a:pt x="1410604" y="826758"/>
                </a:cubicBezTo>
                <a:cubicBezTo>
                  <a:pt x="1412656" y="824800"/>
                  <a:pt x="1412656" y="824800"/>
                  <a:pt x="1414709" y="826758"/>
                </a:cubicBezTo>
                <a:cubicBezTo>
                  <a:pt x="1414709" y="820882"/>
                  <a:pt x="1416761" y="816963"/>
                  <a:pt x="1418815" y="811084"/>
                </a:cubicBezTo>
                <a:cubicBezTo>
                  <a:pt x="1422921" y="803248"/>
                  <a:pt x="1422921" y="793453"/>
                  <a:pt x="1424973" y="785616"/>
                </a:cubicBezTo>
                <a:cubicBezTo>
                  <a:pt x="1427027" y="781699"/>
                  <a:pt x="1424973" y="775822"/>
                  <a:pt x="1424973" y="767983"/>
                </a:cubicBezTo>
                <a:close/>
                <a:moveTo>
                  <a:pt x="1496828" y="758188"/>
                </a:moveTo>
                <a:cubicBezTo>
                  <a:pt x="1496828" y="764064"/>
                  <a:pt x="1494775" y="771902"/>
                  <a:pt x="1492723" y="777780"/>
                </a:cubicBezTo>
                <a:cubicBezTo>
                  <a:pt x="1494775" y="779737"/>
                  <a:pt x="1494775" y="775822"/>
                  <a:pt x="1496828" y="775822"/>
                </a:cubicBezTo>
                <a:cubicBezTo>
                  <a:pt x="1498882" y="775822"/>
                  <a:pt x="1500936" y="775822"/>
                  <a:pt x="1502988" y="773862"/>
                </a:cubicBezTo>
                <a:cubicBezTo>
                  <a:pt x="1502988" y="771902"/>
                  <a:pt x="1502988" y="771902"/>
                  <a:pt x="1502988" y="769943"/>
                </a:cubicBezTo>
                <a:cubicBezTo>
                  <a:pt x="1502988" y="766025"/>
                  <a:pt x="1502988" y="762106"/>
                  <a:pt x="1500936" y="758188"/>
                </a:cubicBezTo>
                <a:cubicBezTo>
                  <a:pt x="1498882" y="758188"/>
                  <a:pt x="1498882" y="758188"/>
                  <a:pt x="1496828" y="758188"/>
                </a:cubicBezTo>
                <a:close/>
                <a:moveTo>
                  <a:pt x="1381861" y="742515"/>
                </a:moveTo>
                <a:cubicBezTo>
                  <a:pt x="1373649" y="746433"/>
                  <a:pt x="1371598" y="750352"/>
                  <a:pt x="1375704" y="756231"/>
                </a:cubicBezTo>
                <a:cubicBezTo>
                  <a:pt x="1377755" y="752312"/>
                  <a:pt x="1379809" y="746433"/>
                  <a:pt x="1381861" y="742515"/>
                </a:cubicBezTo>
                <a:close/>
                <a:moveTo>
                  <a:pt x="1492723" y="726842"/>
                </a:moveTo>
                <a:cubicBezTo>
                  <a:pt x="1490670" y="726842"/>
                  <a:pt x="1488618" y="728802"/>
                  <a:pt x="1488618" y="728802"/>
                </a:cubicBezTo>
                <a:cubicBezTo>
                  <a:pt x="1488618" y="732721"/>
                  <a:pt x="1488618" y="738597"/>
                  <a:pt x="1488618" y="742515"/>
                </a:cubicBezTo>
                <a:cubicBezTo>
                  <a:pt x="1488618" y="742515"/>
                  <a:pt x="1488618" y="742515"/>
                  <a:pt x="1490670" y="742515"/>
                </a:cubicBezTo>
                <a:cubicBezTo>
                  <a:pt x="1490670" y="736638"/>
                  <a:pt x="1490670" y="732721"/>
                  <a:pt x="1492723" y="726842"/>
                </a:cubicBezTo>
                <a:close/>
                <a:moveTo>
                  <a:pt x="1507094" y="720964"/>
                </a:moveTo>
                <a:cubicBezTo>
                  <a:pt x="1505039" y="724882"/>
                  <a:pt x="1502988" y="728802"/>
                  <a:pt x="1502988" y="732721"/>
                </a:cubicBezTo>
                <a:cubicBezTo>
                  <a:pt x="1502988" y="734678"/>
                  <a:pt x="1502988" y="736638"/>
                  <a:pt x="1502988" y="738597"/>
                </a:cubicBezTo>
                <a:cubicBezTo>
                  <a:pt x="1502988" y="732721"/>
                  <a:pt x="1511200" y="728802"/>
                  <a:pt x="1507094" y="720964"/>
                </a:cubicBezTo>
                <a:close/>
                <a:moveTo>
                  <a:pt x="1388022" y="703332"/>
                </a:moveTo>
                <a:cubicBezTo>
                  <a:pt x="1385967" y="709211"/>
                  <a:pt x="1383915" y="717047"/>
                  <a:pt x="1381861" y="722924"/>
                </a:cubicBezTo>
                <a:cubicBezTo>
                  <a:pt x="1383915" y="724882"/>
                  <a:pt x="1383915" y="720964"/>
                  <a:pt x="1385967" y="720964"/>
                </a:cubicBezTo>
                <a:cubicBezTo>
                  <a:pt x="1385967" y="720964"/>
                  <a:pt x="1388022" y="720964"/>
                  <a:pt x="1388022" y="720964"/>
                </a:cubicBezTo>
                <a:cubicBezTo>
                  <a:pt x="1390074" y="717047"/>
                  <a:pt x="1390074" y="713128"/>
                  <a:pt x="1392125" y="709211"/>
                </a:cubicBezTo>
                <a:cubicBezTo>
                  <a:pt x="1392125" y="709211"/>
                  <a:pt x="1392125" y="707251"/>
                  <a:pt x="1392125" y="707251"/>
                </a:cubicBezTo>
                <a:cubicBezTo>
                  <a:pt x="1392125" y="707251"/>
                  <a:pt x="1390074" y="707251"/>
                  <a:pt x="1390074" y="705293"/>
                </a:cubicBezTo>
                <a:cubicBezTo>
                  <a:pt x="1390074" y="705293"/>
                  <a:pt x="1390074" y="705293"/>
                  <a:pt x="1390074" y="703332"/>
                </a:cubicBezTo>
                <a:cubicBezTo>
                  <a:pt x="1388022" y="703332"/>
                  <a:pt x="1388022" y="703332"/>
                  <a:pt x="1388022" y="703332"/>
                </a:cubicBezTo>
                <a:close/>
                <a:moveTo>
                  <a:pt x="1568684" y="681782"/>
                </a:moveTo>
                <a:lnTo>
                  <a:pt x="1568228" y="684176"/>
                </a:lnTo>
                <a:lnTo>
                  <a:pt x="1564579" y="687659"/>
                </a:lnTo>
                <a:cubicBezTo>
                  <a:pt x="1564579" y="695495"/>
                  <a:pt x="1562523" y="703332"/>
                  <a:pt x="1562523" y="709211"/>
                </a:cubicBezTo>
                <a:cubicBezTo>
                  <a:pt x="1562523" y="709211"/>
                  <a:pt x="1562523" y="709211"/>
                  <a:pt x="1562523" y="711168"/>
                </a:cubicBezTo>
                <a:cubicBezTo>
                  <a:pt x="1562523" y="711168"/>
                  <a:pt x="1562523" y="713128"/>
                  <a:pt x="1562523" y="713128"/>
                </a:cubicBezTo>
                <a:cubicBezTo>
                  <a:pt x="1558418" y="717047"/>
                  <a:pt x="1558418" y="720964"/>
                  <a:pt x="1560472" y="724882"/>
                </a:cubicBezTo>
                <a:lnTo>
                  <a:pt x="1568228" y="684176"/>
                </a:lnTo>
                <a:lnTo>
                  <a:pt x="1568684" y="683740"/>
                </a:lnTo>
                <a:cubicBezTo>
                  <a:pt x="1568684" y="681782"/>
                  <a:pt x="1568684" y="681782"/>
                  <a:pt x="1568684" y="681782"/>
                </a:cubicBezTo>
                <a:close/>
                <a:moveTo>
                  <a:pt x="1548154" y="677864"/>
                </a:moveTo>
                <a:cubicBezTo>
                  <a:pt x="1548154" y="679822"/>
                  <a:pt x="1548154" y="683740"/>
                  <a:pt x="1546100" y="685701"/>
                </a:cubicBezTo>
                <a:cubicBezTo>
                  <a:pt x="1546100" y="687659"/>
                  <a:pt x="1546100" y="689619"/>
                  <a:pt x="1546100" y="691577"/>
                </a:cubicBezTo>
                <a:cubicBezTo>
                  <a:pt x="1546100" y="691577"/>
                  <a:pt x="1546100" y="693537"/>
                  <a:pt x="1546100" y="693537"/>
                </a:cubicBezTo>
                <a:cubicBezTo>
                  <a:pt x="1544048" y="701374"/>
                  <a:pt x="1544048" y="709211"/>
                  <a:pt x="1546100" y="717047"/>
                </a:cubicBezTo>
                <a:cubicBezTo>
                  <a:pt x="1550205" y="713128"/>
                  <a:pt x="1550205" y="707251"/>
                  <a:pt x="1552260" y="701374"/>
                </a:cubicBezTo>
                <a:cubicBezTo>
                  <a:pt x="1554311" y="693537"/>
                  <a:pt x="1554311" y="687659"/>
                  <a:pt x="1550205" y="681782"/>
                </a:cubicBezTo>
                <a:cubicBezTo>
                  <a:pt x="1550205" y="679822"/>
                  <a:pt x="1550205" y="679822"/>
                  <a:pt x="1548154" y="677864"/>
                </a:cubicBezTo>
                <a:close/>
                <a:moveTo>
                  <a:pt x="1396233" y="666108"/>
                </a:moveTo>
                <a:cubicBezTo>
                  <a:pt x="1390074" y="673946"/>
                  <a:pt x="1392125" y="679822"/>
                  <a:pt x="1392125" y="683740"/>
                </a:cubicBezTo>
                <a:cubicBezTo>
                  <a:pt x="1392125" y="677864"/>
                  <a:pt x="1400337" y="673946"/>
                  <a:pt x="1396233" y="666108"/>
                </a:cubicBezTo>
                <a:close/>
                <a:moveTo>
                  <a:pt x="2461732" y="664150"/>
                </a:moveTo>
                <a:cubicBezTo>
                  <a:pt x="2459680" y="671986"/>
                  <a:pt x="2459680" y="679822"/>
                  <a:pt x="2457626" y="687659"/>
                </a:cubicBezTo>
                <a:cubicBezTo>
                  <a:pt x="2457626" y="687659"/>
                  <a:pt x="2459680" y="687659"/>
                  <a:pt x="2459680" y="687659"/>
                </a:cubicBezTo>
                <a:cubicBezTo>
                  <a:pt x="2461732" y="685701"/>
                  <a:pt x="2463787" y="683740"/>
                  <a:pt x="2463787" y="681782"/>
                </a:cubicBezTo>
                <a:cubicBezTo>
                  <a:pt x="2463787" y="675904"/>
                  <a:pt x="2461732" y="670027"/>
                  <a:pt x="2461732" y="664150"/>
                </a:cubicBezTo>
                <a:close/>
                <a:moveTo>
                  <a:pt x="1474247" y="664150"/>
                </a:moveTo>
                <a:cubicBezTo>
                  <a:pt x="1474247" y="664150"/>
                  <a:pt x="1472194" y="666108"/>
                  <a:pt x="1472194" y="666108"/>
                </a:cubicBezTo>
                <a:cubicBezTo>
                  <a:pt x="1472194" y="666108"/>
                  <a:pt x="1472194" y="668069"/>
                  <a:pt x="1472194" y="668069"/>
                </a:cubicBezTo>
                <a:cubicBezTo>
                  <a:pt x="1472194" y="666108"/>
                  <a:pt x="1474247" y="666108"/>
                  <a:pt x="1474247" y="664150"/>
                </a:cubicBezTo>
                <a:close/>
                <a:moveTo>
                  <a:pt x="1535835" y="656313"/>
                </a:moveTo>
                <a:cubicBezTo>
                  <a:pt x="1535835" y="658273"/>
                  <a:pt x="1535835" y="658273"/>
                  <a:pt x="1533782" y="660231"/>
                </a:cubicBezTo>
                <a:cubicBezTo>
                  <a:pt x="1533782" y="662190"/>
                  <a:pt x="1533782" y="664150"/>
                  <a:pt x="1533782" y="666108"/>
                </a:cubicBezTo>
                <a:cubicBezTo>
                  <a:pt x="1535835" y="662190"/>
                  <a:pt x="1535835" y="658273"/>
                  <a:pt x="1535835" y="656313"/>
                </a:cubicBezTo>
                <a:close/>
                <a:moveTo>
                  <a:pt x="1554311" y="652393"/>
                </a:moveTo>
                <a:cubicBezTo>
                  <a:pt x="1554311" y="658273"/>
                  <a:pt x="1552260" y="662190"/>
                  <a:pt x="1552260" y="666108"/>
                </a:cubicBezTo>
                <a:cubicBezTo>
                  <a:pt x="1554311" y="668069"/>
                  <a:pt x="1556366" y="668069"/>
                  <a:pt x="1556366" y="670027"/>
                </a:cubicBezTo>
                <a:cubicBezTo>
                  <a:pt x="1556366" y="666108"/>
                  <a:pt x="1558418" y="662190"/>
                  <a:pt x="1558418" y="658273"/>
                </a:cubicBezTo>
                <a:cubicBezTo>
                  <a:pt x="1556366" y="656313"/>
                  <a:pt x="1554311" y="654355"/>
                  <a:pt x="1554311" y="652393"/>
                </a:cubicBezTo>
                <a:close/>
                <a:moveTo>
                  <a:pt x="1695968" y="640641"/>
                </a:moveTo>
                <a:cubicBezTo>
                  <a:pt x="1695968" y="644559"/>
                  <a:pt x="1693917" y="646517"/>
                  <a:pt x="1693917" y="650435"/>
                </a:cubicBezTo>
                <a:cubicBezTo>
                  <a:pt x="1693917" y="650435"/>
                  <a:pt x="1693917" y="652393"/>
                  <a:pt x="1693917" y="652393"/>
                </a:cubicBezTo>
                <a:cubicBezTo>
                  <a:pt x="1693917" y="654355"/>
                  <a:pt x="1693917" y="656313"/>
                  <a:pt x="1693917" y="656313"/>
                </a:cubicBezTo>
                <a:cubicBezTo>
                  <a:pt x="1693917" y="650435"/>
                  <a:pt x="1693917" y="644559"/>
                  <a:pt x="1695968" y="640641"/>
                </a:cubicBezTo>
                <a:close/>
                <a:moveTo>
                  <a:pt x="2471998" y="634762"/>
                </a:moveTo>
                <a:cubicBezTo>
                  <a:pt x="2463787" y="634762"/>
                  <a:pt x="2461732" y="636720"/>
                  <a:pt x="2461732" y="648477"/>
                </a:cubicBezTo>
                <a:cubicBezTo>
                  <a:pt x="2461732" y="648477"/>
                  <a:pt x="2463787" y="648477"/>
                  <a:pt x="2463787" y="648477"/>
                </a:cubicBezTo>
                <a:cubicBezTo>
                  <a:pt x="2467892" y="644559"/>
                  <a:pt x="2469943" y="638681"/>
                  <a:pt x="2471998" y="634762"/>
                </a:cubicBezTo>
                <a:close/>
                <a:moveTo>
                  <a:pt x="1704181" y="630844"/>
                </a:moveTo>
                <a:cubicBezTo>
                  <a:pt x="1702126" y="632802"/>
                  <a:pt x="1698021" y="634762"/>
                  <a:pt x="1695968" y="636720"/>
                </a:cubicBezTo>
                <a:cubicBezTo>
                  <a:pt x="1698021" y="638681"/>
                  <a:pt x="1700075" y="640641"/>
                  <a:pt x="1700075" y="642599"/>
                </a:cubicBezTo>
                <a:cubicBezTo>
                  <a:pt x="1702126" y="638681"/>
                  <a:pt x="1702126" y="634762"/>
                  <a:pt x="1704181" y="630844"/>
                </a:cubicBezTo>
                <a:close/>
                <a:moveTo>
                  <a:pt x="1509146" y="628886"/>
                </a:moveTo>
                <a:cubicBezTo>
                  <a:pt x="1509146" y="628886"/>
                  <a:pt x="1507094" y="630844"/>
                  <a:pt x="1507094" y="630844"/>
                </a:cubicBezTo>
                <a:cubicBezTo>
                  <a:pt x="1507094" y="632802"/>
                  <a:pt x="1509146" y="632802"/>
                  <a:pt x="1509146" y="632802"/>
                </a:cubicBezTo>
                <a:cubicBezTo>
                  <a:pt x="1509146" y="630844"/>
                  <a:pt x="1509146" y="630844"/>
                  <a:pt x="1509146" y="628886"/>
                </a:cubicBezTo>
                <a:close/>
                <a:moveTo>
                  <a:pt x="1636433" y="626926"/>
                </a:moveTo>
                <a:cubicBezTo>
                  <a:pt x="1636433" y="626926"/>
                  <a:pt x="1638484" y="626926"/>
                  <a:pt x="1638484" y="626926"/>
                </a:cubicBezTo>
                <a:cubicBezTo>
                  <a:pt x="1638484" y="628886"/>
                  <a:pt x="1636433" y="628886"/>
                  <a:pt x="1638484" y="628886"/>
                </a:cubicBezTo>
                <a:cubicBezTo>
                  <a:pt x="1636433" y="628886"/>
                  <a:pt x="1636433" y="626926"/>
                  <a:pt x="1636433" y="626926"/>
                </a:cubicBezTo>
                <a:close/>
                <a:moveTo>
                  <a:pt x="1622059" y="605377"/>
                </a:moveTo>
                <a:cubicBezTo>
                  <a:pt x="1622059" y="607335"/>
                  <a:pt x="1622059" y="607335"/>
                  <a:pt x="1622059" y="609295"/>
                </a:cubicBezTo>
                <a:cubicBezTo>
                  <a:pt x="1622059" y="609295"/>
                  <a:pt x="1622059" y="609295"/>
                  <a:pt x="1624114" y="607335"/>
                </a:cubicBezTo>
                <a:cubicBezTo>
                  <a:pt x="1622059" y="607335"/>
                  <a:pt x="1622059" y="605377"/>
                  <a:pt x="1622059" y="605377"/>
                </a:cubicBezTo>
                <a:close/>
                <a:moveTo>
                  <a:pt x="1427027" y="601457"/>
                </a:moveTo>
                <a:cubicBezTo>
                  <a:pt x="1422921" y="611253"/>
                  <a:pt x="1418815" y="624968"/>
                  <a:pt x="1416761" y="636720"/>
                </a:cubicBezTo>
                <a:cubicBezTo>
                  <a:pt x="1418815" y="634762"/>
                  <a:pt x="1418815" y="632802"/>
                  <a:pt x="1420867" y="630844"/>
                </a:cubicBezTo>
                <a:cubicBezTo>
                  <a:pt x="1420867" y="628886"/>
                  <a:pt x="1422921" y="624968"/>
                  <a:pt x="1422921" y="623008"/>
                </a:cubicBezTo>
                <a:cubicBezTo>
                  <a:pt x="1424973" y="615170"/>
                  <a:pt x="1424973" y="609295"/>
                  <a:pt x="1427027" y="601457"/>
                </a:cubicBezTo>
                <a:close/>
                <a:moveTo>
                  <a:pt x="1745241" y="597539"/>
                </a:moveTo>
                <a:cubicBezTo>
                  <a:pt x="1745241" y="601457"/>
                  <a:pt x="1747293" y="603416"/>
                  <a:pt x="1747293" y="607335"/>
                </a:cubicBezTo>
                <a:cubicBezTo>
                  <a:pt x="1747293" y="609295"/>
                  <a:pt x="1745241" y="613210"/>
                  <a:pt x="1745241" y="615170"/>
                </a:cubicBezTo>
                <a:cubicBezTo>
                  <a:pt x="1747293" y="609295"/>
                  <a:pt x="1751398" y="603416"/>
                  <a:pt x="1749347" y="597539"/>
                </a:cubicBezTo>
                <a:cubicBezTo>
                  <a:pt x="1747293" y="597539"/>
                  <a:pt x="1747293" y="597539"/>
                  <a:pt x="1745241" y="597539"/>
                </a:cubicBezTo>
                <a:close/>
                <a:moveTo>
                  <a:pt x="1634378" y="589704"/>
                </a:moveTo>
                <a:cubicBezTo>
                  <a:pt x="1634378" y="597539"/>
                  <a:pt x="1634378" y="605377"/>
                  <a:pt x="1632327" y="613210"/>
                </a:cubicBezTo>
                <a:cubicBezTo>
                  <a:pt x="1632327" y="615170"/>
                  <a:pt x="1630271" y="619088"/>
                  <a:pt x="1630271" y="619088"/>
                </a:cubicBezTo>
                <a:cubicBezTo>
                  <a:pt x="1628220" y="619088"/>
                  <a:pt x="1626166" y="619088"/>
                  <a:pt x="1626166" y="619088"/>
                </a:cubicBezTo>
                <a:cubicBezTo>
                  <a:pt x="1626166" y="623008"/>
                  <a:pt x="1624114" y="626926"/>
                  <a:pt x="1624114" y="632802"/>
                </a:cubicBezTo>
                <a:cubicBezTo>
                  <a:pt x="1622059" y="640641"/>
                  <a:pt x="1617954" y="648477"/>
                  <a:pt x="1613849" y="656313"/>
                </a:cubicBezTo>
                <a:cubicBezTo>
                  <a:pt x="1613849" y="662190"/>
                  <a:pt x="1613849" y="668069"/>
                  <a:pt x="1611796" y="673946"/>
                </a:cubicBezTo>
                <a:cubicBezTo>
                  <a:pt x="1611796" y="681782"/>
                  <a:pt x="1609743" y="689619"/>
                  <a:pt x="1607691" y="695495"/>
                </a:cubicBezTo>
                <a:cubicBezTo>
                  <a:pt x="1607691" y="697455"/>
                  <a:pt x="1605635" y="697455"/>
                  <a:pt x="1605635" y="699413"/>
                </a:cubicBezTo>
                <a:cubicBezTo>
                  <a:pt x="1603583" y="707251"/>
                  <a:pt x="1601533" y="717047"/>
                  <a:pt x="1599478" y="724882"/>
                </a:cubicBezTo>
                <a:cubicBezTo>
                  <a:pt x="1599478" y="730760"/>
                  <a:pt x="1599478" y="736638"/>
                  <a:pt x="1599478" y="740555"/>
                </a:cubicBezTo>
                <a:cubicBezTo>
                  <a:pt x="1599478" y="740555"/>
                  <a:pt x="1597424" y="742515"/>
                  <a:pt x="1597424" y="742515"/>
                </a:cubicBezTo>
                <a:cubicBezTo>
                  <a:pt x="1597424" y="742515"/>
                  <a:pt x="1595373" y="742515"/>
                  <a:pt x="1595373" y="742515"/>
                </a:cubicBezTo>
                <a:cubicBezTo>
                  <a:pt x="1591267" y="758188"/>
                  <a:pt x="1587159" y="775822"/>
                  <a:pt x="1583054" y="791493"/>
                </a:cubicBezTo>
                <a:cubicBezTo>
                  <a:pt x="1583054" y="793453"/>
                  <a:pt x="1583054" y="795411"/>
                  <a:pt x="1581002" y="797372"/>
                </a:cubicBezTo>
                <a:cubicBezTo>
                  <a:pt x="1581002" y="799330"/>
                  <a:pt x="1581002" y="799330"/>
                  <a:pt x="1581002" y="801290"/>
                </a:cubicBezTo>
                <a:cubicBezTo>
                  <a:pt x="1581002" y="811084"/>
                  <a:pt x="1581002" y="820882"/>
                  <a:pt x="1574842" y="828715"/>
                </a:cubicBezTo>
                <a:cubicBezTo>
                  <a:pt x="1570736" y="836553"/>
                  <a:pt x="1568684" y="842431"/>
                  <a:pt x="1574842" y="850268"/>
                </a:cubicBezTo>
                <a:cubicBezTo>
                  <a:pt x="1574842" y="852226"/>
                  <a:pt x="1576897" y="854186"/>
                  <a:pt x="1574842" y="856144"/>
                </a:cubicBezTo>
                <a:cubicBezTo>
                  <a:pt x="1572791" y="865941"/>
                  <a:pt x="1570736" y="875735"/>
                  <a:pt x="1564579" y="887491"/>
                </a:cubicBezTo>
                <a:cubicBezTo>
                  <a:pt x="1562523" y="883572"/>
                  <a:pt x="1560472" y="879654"/>
                  <a:pt x="1560472" y="877696"/>
                </a:cubicBezTo>
                <a:cubicBezTo>
                  <a:pt x="1558418" y="885532"/>
                  <a:pt x="1556366" y="893370"/>
                  <a:pt x="1554311" y="903164"/>
                </a:cubicBezTo>
                <a:lnTo>
                  <a:pt x="1553967" y="907849"/>
                </a:lnTo>
                <a:lnTo>
                  <a:pt x="1541995" y="934510"/>
                </a:lnTo>
                <a:lnTo>
                  <a:pt x="1539719" y="946989"/>
                </a:lnTo>
                <a:lnTo>
                  <a:pt x="1535835" y="948223"/>
                </a:lnTo>
                <a:cubicBezTo>
                  <a:pt x="1535835" y="944306"/>
                  <a:pt x="1535835" y="938429"/>
                  <a:pt x="1535835" y="934510"/>
                </a:cubicBezTo>
                <a:cubicBezTo>
                  <a:pt x="1535835" y="934510"/>
                  <a:pt x="1533782" y="934510"/>
                  <a:pt x="1533782" y="934510"/>
                </a:cubicBezTo>
                <a:cubicBezTo>
                  <a:pt x="1535835" y="938429"/>
                  <a:pt x="1535835" y="944306"/>
                  <a:pt x="1533782" y="948223"/>
                </a:cubicBezTo>
                <a:cubicBezTo>
                  <a:pt x="1531729" y="954102"/>
                  <a:pt x="1529676" y="958021"/>
                  <a:pt x="1529676" y="963897"/>
                </a:cubicBezTo>
                <a:lnTo>
                  <a:pt x="1536081" y="966953"/>
                </a:lnTo>
                <a:lnTo>
                  <a:pt x="1533782" y="979570"/>
                </a:lnTo>
                <a:cubicBezTo>
                  <a:pt x="1532756" y="981529"/>
                  <a:pt x="1532243" y="982998"/>
                  <a:pt x="1533012" y="984468"/>
                </a:cubicBezTo>
                <a:lnTo>
                  <a:pt x="1535928" y="986529"/>
                </a:lnTo>
                <a:lnTo>
                  <a:pt x="1535835" y="987407"/>
                </a:lnTo>
                <a:cubicBezTo>
                  <a:pt x="1535835" y="987407"/>
                  <a:pt x="1537887" y="989368"/>
                  <a:pt x="1537887" y="989368"/>
                </a:cubicBezTo>
                <a:cubicBezTo>
                  <a:pt x="1537887" y="989368"/>
                  <a:pt x="1537887" y="989368"/>
                  <a:pt x="1539943" y="989368"/>
                </a:cubicBezTo>
                <a:lnTo>
                  <a:pt x="1535928" y="986529"/>
                </a:lnTo>
                <a:lnTo>
                  <a:pt x="1537887" y="967815"/>
                </a:lnTo>
                <a:lnTo>
                  <a:pt x="1536081" y="966953"/>
                </a:lnTo>
                <a:lnTo>
                  <a:pt x="1539719" y="946989"/>
                </a:lnTo>
                <a:lnTo>
                  <a:pt x="1541995" y="946266"/>
                </a:lnTo>
                <a:lnTo>
                  <a:pt x="1546100" y="930594"/>
                </a:lnTo>
                <a:lnTo>
                  <a:pt x="1546100" y="932552"/>
                </a:lnTo>
                <a:cubicBezTo>
                  <a:pt x="1550205" y="925694"/>
                  <a:pt x="1552258" y="921286"/>
                  <a:pt x="1553285" y="917123"/>
                </a:cubicBezTo>
                <a:lnTo>
                  <a:pt x="1553967" y="907849"/>
                </a:lnTo>
                <a:lnTo>
                  <a:pt x="1554311" y="907082"/>
                </a:lnTo>
                <a:cubicBezTo>
                  <a:pt x="1558418" y="914919"/>
                  <a:pt x="1558418" y="914919"/>
                  <a:pt x="1556366" y="922755"/>
                </a:cubicBezTo>
                <a:cubicBezTo>
                  <a:pt x="1552260" y="934510"/>
                  <a:pt x="1550205" y="946266"/>
                  <a:pt x="1556366" y="958021"/>
                </a:cubicBezTo>
                <a:cubicBezTo>
                  <a:pt x="1560472" y="950183"/>
                  <a:pt x="1562523" y="940387"/>
                  <a:pt x="1564579" y="930592"/>
                </a:cubicBezTo>
                <a:cubicBezTo>
                  <a:pt x="1566630" y="920795"/>
                  <a:pt x="1570736" y="911001"/>
                  <a:pt x="1574842" y="901205"/>
                </a:cubicBezTo>
                <a:cubicBezTo>
                  <a:pt x="1574842" y="901205"/>
                  <a:pt x="1576897" y="899245"/>
                  <a:pt x="1576897" y="899245"/>
                </a:cubicBezTo>
                <a:cubicBezTo>
                  <a:pt x="1576897" y="903164"/>
                  <a:pt x="1574842" y="907082"/>
                  <a:pt x="1578948" y="909043"/>
                </a:cubicBezTo>
                <a:cubicBezTo>
                  <a:pt x="1581002" y="905124"/>
                  <a:pt x="1585105" y="903164"/>
                  <a:pt x="1587159" y="899245"/>
                </a:cubicBezTo>
                <a:cubicBezTo>
                  <a:pt x="1589215" y="901205"/>
                  <a:pt x="1589215" y="903164"/>
                  <a:pt x="1591267" y="907082"/>
                </a:cubicBezTo>
                <a:cubicBezTo>
                  <a:pt x="1591267" y="905124"/>
                  <a:pt x="1593320" y="901205"/>
                  <a:pt x="1593320" y="899245"/>
                </a:cubicBezTo>
                <a:cubicBezTo>
                  <a:pt x="1595373" y="891409"/>
                  <a:pt x="1595373" y="881614"/>
                  <a:pt x="1599478" y="873778"/>
                </a:cubicBezTo>
                <a:cubicBezTo>
                  <a:pt x="1599478" y="871818"/>
                  <a:pt x="1599478" y="869859"/>
                  <a:pt x="1599478" y="869859"/>
                </a:cubicBezTo>
                <a:cubicBezTo>
                  <a:pt x="1605635" y="842431"/>
                  <a:pt x="1609743" y="826758"/>
                  <a:pt x="1613849" y="816963"/>
                </a:cubicBezTo>
                <a:cubicBezTo>
                  <a:pt x="1613849" y="803248"/>
                  <a:pt x="1615902" y="803248"/>
                  <a:pt x="1624114" y="797372"/>
                </a:cubicBezTo>
                <a:cubicBezTo>
                  <a:pt x="1626166" y="787575"/>
                  <a:pt x="1630271" y="779737"/>
                  <a:pt x="1632327" y="769943"/>
                </a:cubicBezTo>
                <a:cubicBezTo>
                  <a:pt x="1634378" y="760146"/>
                  <a:pt x="1638484" y="748391"/>
                  <a:pt x="1638484" y="738597"/>
                </a:cubicBezTo>
                <a:cubicBezTo>
                  <a:pt x="1638484" y="738597"/>
                  <a:pt x="1638484" y="736638"/>
                  <a:pt x="1638484" y="736638"/>
                </a:cubicBezTo>
                <a:cubicBezTo>
                  <a:pt x="1636433" y="736638"/>
                  <a:pt x="1636433" y="738597"/>
                  <a:pt x="1634378" y="738597"/>
                </a:cubicBezTo>
                <a:cubicBezTo>
                  <a:pt x="1630271" y="740555"/>
                  <a:pt x="1624114" y="736638"/>
                  <a:pt x="1624114" y="734678"/>
                </a:cubicBezTo>
                <a:cubicBezTo>
                  <a:pt x="1624114" y="730760"/>
                  <a:pt x="1624114" y="728802"/>
                  <a:pt x="1626166" y="724882"/>
                </a:cubicBezTo>
                <a:cubicBezTo>
                  <a:pt x="1636433" y="707251"/>
                  <a:pt x="1636433" y="685701"/>
                  <a:pt x="1640539" y="666108"/>
                </a:cubicBezTo>
                <a:cubicBezTo>
                  <a:pt x="1640539" y="662190"/>
                  <a:pt x="1642590" y="656313"/>
                  <a:pt x="1642590" y="652393"/>
                </a:cubicBezTo>
                <a:cubicBezTo>
                  <a:pt x="1642590" y="654355"/>
                  <a:pt x="1640539" y="654355"/>
                  <a:pt x="1638484" y="654355"/>
                </a:cubicBezTo>
                <a:cubicBezTo>
                  <a:pt x="1634378" y="656313"/>
                  <a:pt x="1630271" y="660231"/>
                  <a:pt x="1626166" y="664150"/>
                </a:cubicBezTo>
                <a:cubicBezTo>
                  <a:pt x="1626166" y="668069"/>
                  <a:pt x="1626166" y="671986"/>
                  <a:pt x="1624114" y="675904"/>
                </a:cubicBezTo>
                <a:cubicBezTo>
                  <a:pt x="1624114" y="679822"/>
                  <a:pt x="1628220" y="683740"/>
                  <a:pt x="1622059" y="685701"/>
                </a:cubicBezTo>
                <a:cubicBezTo>
                  <a:pt x="1620008" y="685701"/>
                  <a:pt x="1620008" y="683740"/>
                  <a:pt x="1620008" y="683740"/>
                </a:cubicBezTo>
                <a:cubicBezTo>
                  <a:pt x="1620008" y="668069"/>
                  <a:pt x="1622059" y="652393"/>
                  <a:pt x="1624114" y="636720"/>
                </a:cubicBezTo>
                <a:cubicBezTo>
                  <a:pt x="1624114" y="634762"/>
                  <a:pt x="1626166" y="634762"/>
                  <a:pt x="1628220" y="632802"/>
                </a:cubicBezTo>
                <a:cubicBezTo>
                  <a:pt x="1632327" y="638681"/>
                  <a:pt x="1628220" y="646517"/>
                  <a:pt x="1632327" y="652393"/>
                </a:cubicBezTo>
                <a:cubicBezTo>
                  <a:pt x="1640539" y="650435"/>
                  <a:pt x="1642590" y="648477"/>
                  <a:pt x="1642590" y="642599"/>
                </a:cubicBezTo>
                <a:cubicBezTo>
                  <a:pt x="1642590" y="640641"/>
                  <a:pt x="1640539" y="636720"/>
                  <a:pt x="1640539" y="634762"/>
                </a:cubicBezTo>
                <a:cubicBezTo>
                  <a:pt x="1634378" y="623008"/>
                  <a:pt x="1636433" y="611253"/>
                  <a:pt x="1640539" y="599497"/>
                </a:cubicBezTo>
                <a:cubicBezTo>
                  <a:pt x="1640539" y="597539"/>
                  <a:pt x="1642590" y="595579"/>
                  <a:pt x="1642590" y="591660"/>
                </a:cubicBezTo>
                <a:cubicBezTo>
                  <a:pt x="1638484" y="591660"/>
                  <a:pt x="1636433" y="589704"/>
                  <a:pt x="1634378" y="589704"/>
                </a:cubicBezTo>
                <a:close/>
                <a:moveTo>
                  <a:pt x="1478352" y="583824"/>
                </a:moveTo>
                <a:cubicBezTo>
                  <a:pt x="1478352" y="585784"/>
                  <a:pt x="1478352" y="587743"/>
                  <a:pt x="1478352" y="589704"/>
                </a:cubicBezTo>
                <a:cubicBezTo>
                  <a:pt x="1478352" y="589704"/>
                  <a:pt x="1480406" y="587743"/>
                  <a:pt x="1480406" y="587743"/>
                </a:cubicBezTo>
                <a:cubicBezTo>
                  <a:pt x="1480406" y="585784"/>
                  <a:pt x="1480406" y="585784"/>
                  <a:pt x="1480406" y="583824"/>
                </a:cubicBezTo>
                <a:cubicBezTo>
                  <a:pt x="1480406" y="583824"/>
                  <a:pt x="1480406" y="583824"/>
                  <a:pt x="1478352" y="583824"/>
                </a:cubicBezTo>
                <a:close/>
                <a:moveTo>
                  <a:pt x="2476104" y="579908"/>
                </a:moveTo>
                <a:cubicBezTo>
                  <a:pt x="2471998" y="579908"/>
                  <a:pt x="2469943" y="581866"/>
                  <a:pt x="2469943" y="581866"/>
                </a:cubicBezTo>
                <a:cubicBezTo>
                  <a:pt x="2469943" y="585784"/>
                  <a:pt x="2469943" y="587743"/>
                  <a:pt x="2469943" y="591660"/>
                </a:cubicBezTo>
                <a:cubicBezTo>
                  <a:pt x="2474050" y="587743"/>
                  <a:pt x="2474050" y="583824"/>
                  <a:pt x="2476104" y="579908"/>
                </a:cubicBezTo>
                <a:close/>
                <a:moveTo>
                  <a:pt x="1763716" y="579908"/>
                </a:moveTo>
                <a:cubicBezTo>
                  <a:pt x="1761665" y="589704"/>
                  <a:pt x="1759611" y="601457"/>
                  <a:pt x="1755506" y="611253"/>
                </a:cubicBezTo>
                <a:cubicBezTo>
                  <a:pt x="1755506" y="613210"/>
                  <a:pt x="1755506" y="615170"/>
                  <a:pt x="1751398" y="615170"/>
                </a:cubicBezTo>
                <a:cubicBezTo>
                  <a:pt x="1751398" y="615170"/>
                  <a:pt x="1751398" y="617130"/>
                  <a:pt x="1751398" y="617130"/>
                </a:cubicBezTo>
                <a:cubicBezTo>
                  <a:pt x="1753454" y="626926"/>
                  <a:pt x="1751398" y="634762"/>
                  <a:pt x="1749347" y="644559"/>
                </a:cubicBezTo>
                <a:cubicBezTo>
                  <a:pt x="1749347" y="648477"/>
                  <a:pt x="1749347" y="654355"/>
                  <a:pt x="1749347" y="658273"/>
                </a:cubicBezTo>
                <a:cubicBezTo>
                  <a:pt x="1753454" y="650435"/>
                  <a:pt x="1755506" y="640641"/>
                  <a:pt x="1757559" y="632802"/>
                </a:cubicBezTo>
                <a:cubicBezTo>
                  <a:pt x="1759611" y="626926"/>
                  <a:pt x="1759611" y="621049"/>
                  <a:pt x="1761665" y="615170"/>
                </a:cubicBezTo>
                <a:cubicBezTo>
                  <a:pt x="1763716" y="607335"/>
                  <a:pt x="1765771" y="599497"/>
                  <a:pt x="1767823" y="593621"/>
                </a:cubicBezTo>
                <a:cubicBezTo>
                  <a:pt x="1767823" y="589704"/>
                  <a:pt x="1765771" y="587743"/>
                  <a:pt x="1767823" y="583824"/>
                </a:cubicBezTo>
                <a:cubicBezTo>
                  <a:pt x="1767823" y="581866"/>
                  <a:pt x="1765771" y="579908"/>
                  <a:pt x="1765771" y="579908"/>
                </a:cubicBezTo>
                <a:cubicBezTo>
                  <a:pt x="1765771" y="579908"/>
                  <a:pt x="1765771" y="579908"/>
                  <a:pt x="1763716" y="579908"/>
                </a:cubicBezTo>
                <a:close/>
                <a:moveTo>
                  <a:pt x="1533782" y="575987"/>
                </a:moveTo>
                <a:cubicBezTo>
                  <a:pt x="1533782" y="579908"/>
                  <a:pt x="1531729" y="581866"/>
                  <a:pt x="1531729" y="583824"/>
                </a:cubicBezTo>
                <a:cubicBezTo>
                  <a:pt x="1531729" y="595579"/>
                  <a:pt x="1529676" y="607335"/>
                  <a:pt x="1531729" y="621049"/>
                </a:cubicBezTo>
                <a:cubicBezTo>
                  <a:pt x="1533782" y="613210"/>
                  <a:pt x="1533782" y="611253"/>
                  <a:pt x="1533782" y="607335"/>
                </a:cubicBezTo>
                <a:cubicBezTo>
                  <a:pt x="1535835" y="597539"/>
                  <a:pt x="1535835" y="587743"/>
                  <a:pt x="1535835" y="577948"/>
                </a:cubicBezTo>
                <a:cubicBezTo>
                  <a:pt x="1535835" y="577948"/>
                  <a:pt x="1533782" y="575987"/>
                  <a:pt x="1533782" y="575987"/>
                </a:cubicBezTo>
                <a:close/>
                <a:moveTo>
                  <a:pt x="1396233" y="574030"/>
                </a:moveTo>
                <a:cubicBezTo>
                  <a:pt x="1398285" y="574030"/>
                  <a:pt x="1398285" y="574030"/>
                  <a:pt x="1398285" y="574030"/>
                </a:cubicBezTo>
                <a:cubicBezTo>
                  <a:pt x="1398285" y="574030"/>
                  <a:pt x="1398285" y="575987"/>
                  <a:pt x="1398285" y="577948"/>
                </a:cubicBezTo>
                <a:cubicBezTo>
                  <a:pt x="1398285" y="577948"/>
                  <a:pt x="1396233" y="577948"/>
                  <a:pt x="1396233" y="577948"/>
                </a:cubicBezTo>
                <a:cubicBezTo>
                  <a:pt x="1396233" y="575987"/>
                  <a:pt x="1396233" y="574030"/>
                  <a:pt x="1396233" y="574030"/>
                </a:cubicBezTo>
                <a:close/>
                <a:moveTo>
                  <a:pt x="1659015" y="570110"/>
                </a:moveTo>
                <a:cubicBezTo>
                  <a:pt x="1656963" y="572069"/>
                  <a:pt x="1654909" y="575987"/>
                  <a:pt x="1652857" y="577948"/>
                </a:cubicBezTo>
                <a:cubicBezTo>
                  <a:pt x="1652857" y="577948"/>
                  <a:pt x="1650802" y="579908"/>
                  <a:pt x="1650802" y="579908"/>
                </a:cubicBezTo>
                <a:cubicBezTo>
                  <a:pt x="1650802" y="581866"/>
                  <a:pt x="1650802" y="583824"/>
                  <a:pt x="1650802" y="585784"/>
                </a:cubicBezTo>
                <a:cubicBezTo>
                  <a:pt x="1646696" y="585784"/>
                  <a:pt x="1644645" y="587743"/>
                  <a:pt x="1644645" y="591660"/>
                </a:cubicBezTo>
                <a:cubicBezTo>
                  <a:pt x="1644645" y="593621"/>
                  <a:pt x="1646696" y="597539"/>
                  <a:pt x="1646696" y="599497"/>
                </a:cubicBezTo>
                <a:cubicBezTo>
                  <a:pt x="1646696" y="601457"/>
                  <a:pt x="1648750" y="605377"/>
                  <a:pt x="1648750" y="607335"/>
                </a:cubicBezTo>
                <a:cubicBezTo>
                  <a:pt x="1648750" y="609295"/>
                  <a:pt x="1646696" y="609295"/>
                  <a:pt x="1646696" y="611253"/>
                </a:cubicBezTo>
                <a:cubicBezTo>
                  <a:pt x="1646696" y="611253"/>
                  <a:pt x="1646696" y="613210"/>
                  <a:pt x="1646696" y="613210"/>
                </a:cubicBezTo>
                <a:cubicBezTo>
                  <a:pt x="1646696" y="613210"/>
                  <a:pt x="1648750" y="613210"/>
                  <a:pt x="1648750" y="613210"/>
                </a:cubicBezTo>
                <a:cubicBezTo>
                  <a:pt x="1648750" y="611253"/>
                  <a:pt x="1648750" y="611253"/>
                  <a:pt x="1648750" y="607335"/>
                </a:cubicBezTo>
                <a:cubicBezTo>
                  <a:pt x="1650802" y="601457"/>
                  <a:pt x="1652857" y="593621"/>
                  <a:pt x="1654909" y="587743"/>
                </a:cubicBezTo>
                <a:cubicBezTo>
                  <a:pt x="1656963" y="581866"/>
                  <a:pt x="1659015" y="575987"/>
                  <a:pt x="1659015" y="570110"/>
                </a:cubicBezTo>
                <a:close/>
                <a:moveTo>
                  <a:pt x="1640539" y="556399"/>
                </a:moveTo>
                <a:cubicBezTo>
                  <a:pt x="1640539" y="558357"/>
                  <a:pt x="1640539" y="560317"/>
                  <a:pt x="1642590" y="560317"/>
                </a:cubicBezTo>
                <a:cubicBezTo>
                  <a:pt x="1642590" y="560317"/>
                  <a:pt x="1644645" y="558357"/>
                  <a:pt x="1644645" y="558357"/>
                </a:cubicBezTo>
                <a:cubicBezTo>
                  <a:pt x="1644645" y="558357"/>
                  <a:pt x="1642590" y="556399"/>
                  <a:pt x="1642590" y="556399"/>
                </a:cubicBezTo>
                <a:cubicBezTo>
                  <a:pt x="1642590" y="556399"/>
                  <a:pt x="1640539" y="556399"/>
                  <a:pt x="1640539" y="556399"/>
                </a:cubicBezTo>
                <a:close/>
                <a:moveTo>
                  <a:pt x="1632327" y="556399"/>
                </a:moveTo>
                <a:cubicBezTo>
                  <a:pt x="1630271" y="562275"/>
                  <a:pt x="1630271" y="570110"/>
                  <a:pt x="1628220" y="575987"/>
                </a:cubicBezTo>
                <a:cubicBezTo>
                  <a:pt x="1628220" y="579908"/>
                  <a:pt x="1628220" y="585784"/>
                  <a:pt x="1628220" y="589704"/>
                </a:cubicBezTo>
                <a:cubicBezTo>
                  <a:pt x="1631298" y="582845"/>
                  <a:pt x="1632839" y="577456"/>
                  <a:pt x="1633351" y="572314"/>
                </a:cubicBezTo>
                <a:cubicBezTo>
                  <a:pt x="1633865" y="567171"/>
                  <a:pt x="1633353" y="562275"/>
                  <a:pt x="1632327" y="556399"/>
                </a:cubicBezTo>
                <a:close/>
                <a:moveTo>
                  <a:pt x="1537887" y="554438"/>
                </a:moveTo>
                <a:cubicBezTo>
                  <a:pt x="1537887" y="554438"/>
                  <a:pt x="1535835" y="556399"/>
                  <a:pt x="1535835" y="556399"/>
                </a:cubicBezTo>
                <a:cubicBezTo>
                  <a:pt x="1535835" y="556399"/>
                  <a:pt x="1535835" y="558357"/>
                  <a:pt x="1535835" y="558357"/>
                </a:cubicBezTo>
                <a:cubicBezTo>
                  <a:pt x="1535835" y="558357"/>
                  <a:pt x="1537887" y="558357"/>
                  <a:pt x="1537887" y="558357"/>
                </a:cubicBezTo>
                <a:cubicBezTo>
                  <a:pt x="1537887" y="556399"/>
                  <a:pt x="1537887" y="554438"/>
                  <a:pt x="1537887" y="554438"/>
                </a:cubicBezTo>
                <a:close/>
                <a:moveTo>
                  <a:pt x="1560377" y="554210"/>
                </a:moveTo>
                <a:lnTo>
                  <a:pt x="1562523" y="554438"/>
                </a:lnTo>
                <a:lnTo>
                  <a:pt x="1562758" y="557566"/>
                </a:lnTo>
                <a:lnTo>
                  <a:pt x="1560472" y="556399"/>
                </a:lnTo>
                <a:cubicBezTo>
                  <a:pt x="1560472" y="554438"/>
                  <a:pt x="1560472" y="554438"/>
                  <a:pt x="1560472" y="554438"/>
                </a:cubicBezTo>
                <a:close/>
                <a:moveTo>
                  <a:pt x="1691863" y="546601"/>
                </a:moveTo>
                <a:cubicBezTo>
                  <a:pt x="1679545" y="554438"/>
                  <a:pt x="1675439" y="568150"/>
                  <a:pt x="1673387" y="581866"/>
                </a:cubicBezTo>
                <a:cubicBezTo>
                  <a:pt x="1671333" y="597539"/>
                  <a:pt x="1669281" y="613210"/>
                  <a:pt x="1665174" y="628886"/>
                </a:cubicBezTo>
                <a:cubicBezTo>
                  <a:pt x="1661069" y="646517"/>
                  <a:pt x="1654909" y="666108"/>
                  <a:pt x="1656963" y="683740"/>
                </a:cubicBezTo>
                <a:cubicBezTo>
                  <a:pt x="1656963" y="685701"/>
                  <a:pt x="1656963" y="687659"/>
                  <a:pt x="1656963" y="689619"/>
                </a:cubicBezTo>
                <a:cubicBezTo>
                  <a:pt x="1652857" y="695495"/>
                  <a:pt x="1650802" y="701374"/>
                  <a:pt x="1648750" y="707251"/>
                </a:cubicBezTo>
                <a:cubicBezTo>
                  <a:pt x="1648750" y="709211"/>
                  <a:pt x="1648750" y="709211"/>
                  <a:pt x="1648750" y="711168"/>
                </a:cubicBezTo>
                <a:cubicBezTo>
                  <a:pt x="1646696" y="728802"/>
                  <a:pt x="1644645" y="746433"/>
                  <a:pt x="1644645" y="764064"/>
                </a:cubicBezTo>
                <a:cubicBezTo>
                  <a:pt x="1646696" y="762106"/>
                  <a:pt x="1650802" y="760146"/>
                  <a:pt x="1652857" y="756231"/>
                </a:cubicBezTo>
                <a:cubicBezTo>
                  <a:pt x="1652857" y="754271"/>
                  <a:pt x="1652857" y="748391"/>
                  <a:pt x="1654909" y="744473"/>
                </a:cubicBezTo>
                <a:cubicBezTo>
                  <a:pt x="1656963" y="744473"/>
                  <a:pt x="1656963" y="744473"/>
                  <a:pt x="1659015" y="746433"/>
                </a:cubicBezTo>
                <a:cubicBezTo>
                  <a:pt x="1661069" y="742515"/>
                  <a:pt x="1661069" y="738597"/>
                  <a:pt x="1663121" y="734678"/>
                </a:cubicBezTo>
                <a:cubicBezTo>
                  <a:pt x="1661069" y="730760"/>
                  <a:pt x="1659015" y="726842"/>
                  <a:pt x="1661069" y="720964"/>
                </a:cubicBezTo>
                <a:cubicBezTo>
                  <a:pt x="1663121" y="720964"/>
                  <a:pt x="1663121" y="720964"/>
                  <a:pt x="1665174" y="720964"/>
                </a:cubicBezTo>
                <a:cubicBezTo>
                  <a:pt x="1665174" y="717047"/>
                  <a:pt x="1665174" y="713128"/>
                  <a:pt x="1663121" y="709211"/>
                </a:cubicBezTo>
                <a:cubicBezTo>
                  <a:pt x="1661069" y="705293"/>
                  <a:pt x="1663121" y="701374"/>
                  <a:pt x="1663121" y="697455"/>
                </a:cubicBezTo>
                <a:cubicBezTo>
                  <a:pt x="1663121" y="689619"/>
                  <a:pt x="1663121" y="683740"/>
                  <a:pt x="1665174" y="675904"/>
                </a:cubicBezTo>
                <a:cubicBezTo>
                  <a:pt x="1665174" y="675904"/>
                  <a:pt x="1667226" y="673946"/>
                  <a:pt x="1667226" y="673946"/>
                </a:cubicBezTo>
                <a:cubicBezTo>
                  <a:pt x="1669281" y="658273"/>
                  <a:pt x="1673387" y="644559"/>
                  <a:pt x="1677491" y="628886"/>
                </a:cubicBezTo>
                <a:cubicBezTo>
                  <a:pt x="1683650" y="605377"/>
                  <a:pt x="1693917" y="579908"/>
                  <a:pt x="1689807" y="554438"/>
                </a:cubicBezTo>
                <a:cubicBezTo>
                  <a:pt x="1689807" y="552479"/>
                  <a:pt x="1689807" y="548559"/>
                  <a:pt x="1691863" y="546601"/>
                </a:cubicBezTo>
                <a:close/>
                <a:moveTo>
                  <a:pt x="1585105" y="542682"/>
                </a:moveTo>
                <a:cubicBezTo>
                  <a:pt x="1585105" y="544640"/>
                  <a:pt x="1583054" y="546601"/>
                  <a:pt x="1583054" y="546601"/>
                </a:cubicBezTo>
                <a:cubicBezTo>
                  <a:pt x="1583054" y="546601"/>
                  <a:pt x="1585105" y="546601"/>
                  <a:pt x="1585105" y="546601"/>
                </a:cubicBezTo>
                <a:cubicBezTo>
                  <a:pt x="1585105" y="546601"/>
                  <a:pt x="1585105" y="544640"/>
                  <a:pt x="1585105" y="544640"/>
                </a:cubicBezTo>
                <a:cubicBezTo>
                  <a:pt x="1585105" y="544640"/>
                  <a:pt x="1585105" y="542682"/>
                  <a:pt x="1585105" y="542682"/>
                </a:cubicBezTo>
                <a:close/>
                <a:moveTo>
                  <a:pt x="1847889" y="534846"/>
                </a:moveTo>
                <a:cubicBezTo>
                  <a:pt x="1845838" y="534846"/>
                  <a:pt x="1845838" y="534846"/>
                  <a:pt x="1843783" y="536806"/>
                </a:cubicBezTo>
                <a:cubicBezTo>
                  <a:pt x="1843783" y="536806"/>
                  <a:pt x="1843783" y="538765"/>
                  <a:pt x="1843783" y="538765"/>
                </a:cubicBezTo>
                <a:cubicBezTo>
                  <a:pt x="1845838" y="538765"/>
                  <a:pt x="1845838" y="538765"/>
                  <a:pt x="1847889" y="538765"/>
                </a:cubicBezTo>
                <a:cubicBezTo>
                  <a:pt x="1847889" y="538765"/>
                  <a:pt x="1847889" y="536806"/>
                  <a:pt x="1847889" y="534846"/>
                </a:cubicBezTo>
                <a:close/>
                <a:moveTo>
                  <a:pt x="1519411" y="530928"/>
                </a:moveTo>
                <a:cubicBezTo>
                  <a:pt x="1519411" y="536806"/>
                  <a:pt x="1519411" y="542682"/>
                  <a:pt x="1519411" y="548559"/>
                </a:cubicBezTo>
                <a:cubicBezTo>
                  <a:pt x="1519411" y="548559"/>
                  <a:pt x="1519411" y="550519"/>
                  <a:pt x="1519411" y="550519"/>
                </a:cubicBezTo>
                <a:cubicBezTo>
                  <a:pt x="1519411" y="552479"/>
                  <a:pt x="1519411" y="552479"/>
                  <a:pt x="1519411" y="554438"/>
                </a:cubicBezTo>
                <a:cubicBezTo>
                  <a:pt x="1519411" y="556399"/>
                  <a:pt x="1517357" y="560317"/>
                  <a:pt x="1517357" y="560317"/>
                </a:cubicBezTo>
                <a:cubicBezTo>
                  <a:pt x="1517357" y="562275"/>
                  <a:pt x="1515306" y="562275"/>
                  <a:pt x="1513251" y="564233"/>
                </a:cubicBezTo>
                <a:cubicBezTo>
                  <a:pt x="1513251" y="562275"/>
                  <a:pt x="1513251" y="562275"/>
                  <a:pt x="1513251" y="560317"/>
                </a:cubicBezTo>
                <a:cubicBezTo>
                  <a:pt x="1511200" y="562275"/>
                  <a:pt x="1511200" y="564233"/>
                  <a:pt x="1509146" y="566193"/>
                </a:cubicBezTo>
                <a:cubicBezTo>
                  <a:pt x="1507094" y="579908"/>
                  <a:pt x="1505039" y="593621"/>
                  <a:pt x="1502988" y="605377"/>
                </a:cubicBezTo>
                <a:cubicBezTo>
                  <a:pt x="1500936" y="591660"/>
                  <a:pt x="1502988" y="579908"/>
                  <a:pt x="1505039" y="568150"/>
                </a:cubicBezTo>
                <a:cubicBezTo>
                  <a:pt x="1505039" y="568150"/>
                  <a:pt x="1502988" y="568150"/>
                  <a:pt x="1502988" y="568150"/>
                </a:cubicBezTo>
                <a:cubicBezTo>
                  <a:pt x="1500936" y="583824"/>
                  <a:pt x="1500936" y="597539"/>
                  <a:pt x="1498882" y="613210"/>
                </a:cubicBezTo>
                <a:cubicBezTo>
                  <a:pt x="1498882" y="621049"/>
                  <a:pt x="1496828" y="628886"/>
                  <a:pt x="1494775" y="634762"/>
                </a:cubicBezTo>
                <a:cubicBezTo>
                  <a:pt x="1486563" y="650435"/>
                  <a:pt x="1486563" y="664150"/>
                  <a:pt x="1486563" y="681782"/>
                </a:cubicBezTo>
                <a:cubicBezTo>
                  <a:pt x="1486563" y="681782"/>
                  <a:pt x="1484512" y="683740"/>
                  <a:pt x="1484512" y="683740"/>
                </a:cubicBezTo>
                <a:cubicBezTo>
                  <a:pt x="1474247" y="687659"/>
                  <a:pt x="1472194" y="683740"/>
                  <a:pt x="1468087" y="689619"/>
                </a:cubicBezTo>
                <a:cubicBezTo>
                  <a:pt x="1470139" y="705293"/>
                  <a:pt x="1466033" y="719005"/>
                  <a:pt x="1461928" y="734678"/>
                </a:cubicBezTo>
                <a:cubicBezTo>
                  <a:pt x="1459876" y="738597"/>
                  <a:pt x="1461928" y="742515"/>
                  <a:pt x="1461928" y="746433"/>
                </a:cubicBezTo>
                <a:cubicBezTo>
                  <a:pt x="1461928" y="756231"/>
                  <a:pt x="1461928" y="766025"/>
                  <a:pt x="1455771" y="773862"/>
                </a:cubicBezTo>
                <a:cubicBezTo>
                  <a:pt x="1451663" y="781699"/>
                  <a:pt x="1449609" y="787575"/>
                  <a:pt x="1455771" y="795411"/>
                </a:cubicBezTo>
                <a:cubicBezTo>
                  <a:pt x="1455771" y="797372"/>
                  <a:pt x="1457822" y="799330"/>
                  <a:pt x="1455771" y="801290"/>
                </a:cubicBezTo>
                <a:cubicBezTo>
                  <a:pt x="1453716" y="807166"/>
                  <a:pt x="1453716" y="813045"/>
                  <a:pt x="1451663" y="816963"/>
                </a:cubicBezTo>
                <a:cubicBezTo>
                  <a:pt x="1455771" y="813045"/>
                  <a:pt x="1457822" y="807166"/>
                  <a:pt x="1461928" y="803248"/>
                </a:cubicBezTo>
                <a:cubicBezTo>
                  <a:pt x="1461928" y="807166"/>
                  <a:pt x="1461928" y="811084"/>
                  <a:pt x="1461928" y="815003"/>
                </a:cubicBezTo>
                <a:cubicBezTo>
                  <a:pt x="1461928" y="816963"/>
                  <a:pt x="1461928" y="818921"/>
                  <a:pt x="1461928" y="820882"/>
                </a:cubicBezTo>
                <a:cubicBezTo>
                  <a:pt x="1453716" y="826758"/>
                  <a:pt x="1453716" y="838513"/>
                  <a:pt x="1449609" y="846350"/>
                </a:cubicBezTo>
                <a:lnTo>
                  <a:pt x="1447968" y="847915"/>
                </a:lnTo>
                <a:lnTo>
                  <a:pt x="1447557" y="846350"/>
                </a:lnTo>
                <a:lnTo>
                  <a:pt x="1445287" y="849237"/>
                </a:lnTo>
                <a:lnTo>
                  <a:pt x="1443452" y="840473"/>
                </a:lnTo>
                <a:cubicBezTo>
                  <a:pt x="1443452" y="836553"/>
                  <a:pt x="1443452" y="834594"/>
                  <a:pt x="1445503" y="830676"/>
                </a:cubicBezTo>
                <a:cubicBezTo>
                  <a:pt x="1439346" y="818921"/>
                  <a:pt x="1439346" y="818921"/>
                  <a:pt x="1441397" y="807166"/>
                </a:cubicBezTo>
                <a:cubicBezTo>
                  <a:pt x="1443452" y="793453"/>
                  <a:pt x="1447557" y="781699"/>
                  <a:pt x="1445503" y="767983"/>
                </a:cubicBezTo>
                <a:cubicBezTo>
                  <a:pt x="1443452" y="777780"/>
                  <a:pt x="1439346" y="787575"/>
                  <a:pt x="1437291" y="797372"/>
                </a:cubicBezTo>
                <a:cubicBezTo>
                  <a:pt x="1435240" y="805208"/>
                  <a:pt x="1435240" y="813045"/>
                  <a:pt x="1431134" y="818921"/>
                </a:cubicBezTo>
                <a:cubicBezTo>
                  <a:pt x="1429080" y="820882"/>
                  <a:pt x="1429080" y="824800"/>
                  <a:pt x="1429080" y="826758"/>
                </a:cubicBezTo>
                <a:cubicBezTo>
                  <a:pt x="1431134" y="832634"/>
                  <a:pt x="1427027" y="836553"/>
                  <a:pt x="1424973" y="842431"/>
                </a:cubicBezTo>
                <a:cubicBezTo>
                  <a:pt x="1422921" y="846350"/>
                  <a:pt x="1420867" y="850268"/>
                  <a:pt x="1414709" y="854186"/>
                </a:cubicBezTo>
                <a:cubicBezTo>
                  <a:pt x="1410604" y="856144"/>
                  <a:pt x="1408551" y="863983"/>
                  <a:pt x="1408551" y="867899"/>
                </a:cubicBezTo>
                <a:cubicBezTo>
                  <a:pt x="1406497" y="879654"/>
                  <a:pt x="1406497" y="891409"/>
                  <a:pt x="1402391" y="903164"/>
                </a:cubicBezTo>
                <a:cubicBezTo>
                  <a:pt x="1402391" y="905124"/>
                  <a:pt x="1400337" y="907082"/>
                  <a:pt x="1400337" y="909043"/>
                </a:cubicBezTo>
                <a:cubicBezTo>
                  <a:pt x="1400337" y="911001"/>
                  <a:pt x="1398285" y="912961"/>
                  <a:pt x="1398285" y="914919"/>
                </a:cubicBezTo>
                <a:cubicBezTo>
                  <a:pt x="1398285" y="914919"/>
                  <a:pt x="1398285" y="916877"/>
                  <a:pt x="1398285" y="916877"/>
                </a:cubicBezTo>
                <a:cubicBezTo>
                  <a:pt x="1398285" y="930592"/>
                  <a:pt x="1396233" y="946266"/>
                  <a:pt x="1392125" y="959979"/>
                </a:cubicBezTo>
                <a:cubicBezTo>
                  <a:pt x="1388022" y="985447"/>
                  <a:pt x="1383915" y="1008957"/>
                  <a:pt x="1379809" y="1034427"/>
                </a:cubicBezTo>
                <a:cubicBezTo>
                  <a:pt x="1379809" y="1034427"/>
                  <a:pt x="1379809" y="1036385"/>
                  <a:pt x="1381861" y="1036385"/>
                </a:cubicBezTo>
                <a:cubicBezTo>
                  <a:pt x="1381861" y="1034427"/>
                  <a:pt x="1381861" y="1032466"/>
                  <a:pt x="1383915" y="1030508"/>
                </a:cubicBezTo>
                <a:cubicBezTo>
                  <a:pt x="1385967" y="1022672"/>
                  <a:pt x="1388022" y="1014835"/>
                  <a:pt x="1390074" y="1008957"/>
                </a:cubicBezTo>
                <a:cubicBezTo>
                  <a:pt x="1396233" y="991326"/>
                  <a:pt x="1400337" y="975652"/>
                  <a:pt x="1406497" y="958021"/>
                </a:cubicBezTo>
                <a:cubicBezTo>
                  <a:pt x="1406497" y="958021"/>
                  <a:pt x="1406497" y="959979"/>
                  <a:pt x="1404443" y="959979"/>
                </a:cubicBezTo>
                <a:cubicBezTo>
                  <a:pt x="1404443" y="959979"/>
                  <a:pt x="1402391" y="958021"/>
                  <a:pt x="1402391" y="958021"/>
                </a:cubicBezTo>
                <a:cubicBezTo>
                  <a:pt x="1402391" y="956060"/>
                  <a:pt x="1404443" y="954102"/>
                  <a:pt x="1404443" y="952144"/>
                </a:cubicBezTo>
                <a:cubicBezTo>
                  <a:pt x="1406497" y="952144"/>
                  <a:pt x="1406497" y="954102"/>
                  <a:pt x="1408551" y="954102"/>
                </a:cubicBezTo>
                <a:cubicBezTo>
                  <a:pt x="1412656" y="942348"/>
                  <a:pt x="1414709" y="930592"/>
                  <a:pt x="1418815" y="920795"/>
                </a:cubicBezTo>
                <a:cubicBezTo>
                  <a:pt x="1420867" y="914919"/>
                  <a:pt x="1422921" y="907082"/>
                  <a:pt x="1429080" y="901205"/>
                </a:cubicBezTo>
                <a:cubicBezTo>
                  <a:pt x="1431134" y="893370"/>
                  <a:pt x="1433185" y="885532"/>
                  <a:pt x="1433185" y="875735"/>
                </a:cubicBezTo>
                <a:cubicBezTo>
                  <a:pt x="1435240" y="869859"/>
                  <a:pt x="1437291" y="863983"/>
                  <a:pt x="1441397" y="856144"/>
                </a:cubicBezTo>
                <a:cubicBezTo>
                  <a:pt x="1441397" y="856144"/>
                  <a:pt x="1441397" y="856144"/>
                  <a:pt x="1441397" y="854186"/>
                </a:cubicBezTo>
                <a:lnTo>
                  <a:pt x="1445287" y="849237"/>
                </a:lnTo>
                <a:lnTo>
                  <a:pt x="1445503" y="850268"/>
                </a:lnTo>
                <a:lnTo>
                  <a:pt x="1447968" y="847915"/>
                </a:lnTo>
                <a:lnTo>
                  <a:pt x="1449609" y="854186"/>
                </a:lnTo>
                <a:cubicBezTo>
                  <a:pt x="1449609" y="854186"/>
                  <a:pt x="1449609" y="854186"/>
                  <a:pt x="1449609" y="856144"/>
                </a:cubicBezTo>
                <a:cubicBezTo>
                  <a:pt x="1449609" y="858104"/>
                  <a:pt x="1449609" y="860062"/>
                  <a:pt x="1449609" y="863983"/>
                </a:cubicBezTo>
                <a:cubicBezTo>
                  <a:pt x="1449609" y="863983"/>
                  <a:pt x="1449609" y="865941"/>
                  <a:pt x="1449609" y="869859"/>
                </a:cubicBezTo>
                <a:cubicBezTo>
                  <a:pt x="1453716" y="856144"/>
                  <a:pt x="1457822" y="846350"/>
                  <a:pt x="1461928" y="834594"/>
                </a:cubicBezTo>
                <a:cubicBezTo>
                  <a:pt x="1470139" y="838513"/>
                  <a:pt x="1472194" y="836553"/>
                  <a:pt x="1474247" y="832634"/>
                </a:cubicBezTo>
                <a:cubicBezTo>
                  <a:pt x="1474247" y="830676"/>
                  <a:pt x="1474247" y="828715"/>
                  <a:pt x="1474247" y="824800"/>
                </a:cubicBezTo>
                <a:cubicBezTo>
                  <a:pt x="1472194" y="813045"/>
                  <a:pt x="1476299" y="803248"/>
                  <a:pt x="1480406" y="793453"/>
                </a:cubicBezTo>
                <a:cubicBezTo>
                  <a:pt x="1484512" y="787575"/>
                  <a:pt x="1484512" y="779737"/>
                  <a:pt x="1486563" y="769943"/>
                </a:cubicBezTo>
                <a:cubicBezTo>
                  <a:pt x="1482457" y="771902"/>
                  <a:pt x="1480406" y="771902"/>
                  <a:pt x="1478352" y="771902"/>
                </a:cubicBezTo>
                <a:cubicBezTo>
                  <a:pt x="1476299" y="775822"/>
                  <a:pt x="1474247" y="779737"/>
                  <a:pt x="1474247" y="783656"/>
                </a:cubicBezTo>
                <a:cubicBezTo>
                  <a:pt x="1474247" y="789535"/>
                  <a:pt x="1472194" y="793453"/>
                  <a:pt x="1468087" y="797372"/>
                </a:cubicBezTo>
                <a:cubicBezTo>
                  <a:pt x="1466033" y="795411"/>
                  <a:pt x="1463981" y="793453"/>
                  <a:pt x="1463981" y="791493"/>
                </a:cubicBezTo>
                <a:cubicBezTo>
                  <a:pt x="1463981" y="783656"/>
                  <a:pt x="1463981" y="777780"/>
                  <a:pt x="1466033" y="769943"/>
                </a:cubicBezTo>
                <a:cubicBezTo>
                  <a:pt x="1468087" y="766025"/>
                  <a:pt x="1470139" y="760146"/>
                  <a:pt x="1470139" y="756231"/>
                </a:cubicBezTo>
                <a:cubicBezTo>
                  <a:pt x="1470139" y="756231"/>
                  <a:pt x="1470139" y="756231"/>
                  <a:pt x="1468087" y="754271"/>
                </a:cubicBezTo>
                <a:cubicBezTo>
                  <a:pt x="1468087" y="754271"/>
                  <a:pt x="1470139" y="752312"/>
                  <a:pt x="1470139" y="752312"/>
                </a:cubicBezTo>
                <a:cubicBezTo>
                  <a:pt x="1472194" y="742515"/>
                  <a:pt x="1474247" y="732721"/>
                  <a:pt x="1476299" y="724882"/>
                </a:cubicBezTo>
                <a:cubicBezTo>
                  <a:pt x="1478352" y="717047"/>
                  <a:pt x="1480406" y="709211"/>
                  <a:pt x="1482457" y="703332"/>
                </a:cubicBezTo>
                <a:cubicBezTo>
                  <a:pt x="1486563" y="695495"/>
                  <a:pt x="1488618" y="687659"/>
                  <a:pt x="1490670" y="679822"/>
                </a:cubicBezTo>
                <a:cubicBezTo>
                  <a:pt x="1490670" y="670027"/>
                  <a:pt x="1492723" y="662190"/>
                  <a:pt x="1496828" y="654355"/>
                </a:cubicBezTo>
                <a:cubicBezTo>
                  <a:pt x="1498882" y="646517"/>
                  <a:pt x="1500936" y="636720"/>
                  <a:pt x="1502988" y="628886"/>
                </a:cubicBezTo>
                <a:cubicBezTo>
                  <a:pt x="1505039" y="623008"/>
                  <a:pt x="1507094" y="615170"/>
                  <a:pt x="1509146" y="609295"/>
                </a:cubicBezTo>
                <a:cubicBezTo>
                  <a:pt x="1509146" y="599497"/>
                  <a:pt x="1511200" y="587743"/>
                  <a:pt x="1511200" y="577948"/>
                </a:cubicBezTo>
                <a:cubicBezTo>
                  <a:pt x="1511200" y="575987"/>
                  <a:pt x="1513251" y="575987"/>
                  <a:pt x="1515306" y="574030"/>
                </a:cubicBezTo>
                <a:cubicBezTo>
                  <a:pt x="1519411" y="579908"/>
                  <a:pt x="1515306" y="587743"/>
                  <a:pt x="1519411" y="593621"/>
                </a:cubicBezTo>
                <a:cubicBezTo>
                  <a:pt x="1519411" y="587743"/>
                  <a:pt x="1519411" y="581866"/>
                  <a:pt x="1523519" y="577948"/>
                </a:cubicBezTo>
                <a:cubicBezTo>
                  <a:pt x="1523519" y="574030"/>
                  <a:pt x="1523519" y="572069"/>
                  <a:pt x="1523519" y="568150"/>
                </a:cubicBezTo>
                <a:cubicBezTo>
                  <a:pt x="1521464" y="562275"/>
                  <a:pt x="1521464" y="554438"/>
                  <a:pt x="1523519" y="548559"/>
                </a:cubicBezTo>
                <a:cubicBezTo>
                  <a:pt x="1523519" y="542682"/>
                  <a:pt x="1523519" y="538765"/>
                  <a:pt x="1523519" y="532888"/>
                </a:cubicBezTo>
                <a:cubicBezTo>
                  <a:pt x="1521464" y="532888"/>
                  <a:pt x="1521464" y="532888"/>
                  <a:pt x="1519411" y="530928"/>
                </a:cubicBezTo>
                <a:close/>
                <a:moveTo>
                  <a:pt x="3872137" y="525049"/>
                </a:moveTo>
                <a:cubicBezTo>
                  <a:pt x="3872137" y="527009"/>
                  <a:pt x="3872137" y="527009"/>
                  <a:pt x="3872137" y="527009"/>
                </a:cubicBezTo>
                <a:cubicBezTo>
                  <a:pt x="3872137" y="527009"/>
                  <a:pt x="3872137" y="527009"/>
                  <a:pt x="3874188" y="525049"/>
                </a:cubicBezTo>
                <a:cubicBezTo>
                  <a:pt x="3874188" y="527009"/>
                  <a:pt x="3872137" y="525049"/>
                  <a:pt x="3872137" y="525049"/>
                </a:cubicBezTo>
                <a:close/>
                <a:moveTo>
                  <a:pt x="1468087" y="519172"/>
                </a:moveTo>
                <a:cubicBezTo>
                  <a:pt x="1468087" y="528970"/>
                  <a:pt x="1466033" y="538765"/>
                  <a:pt x="1463981" y="546601"/>
                </a:cubicBezTo>
                <a:cubicBezTo>
                  <a:pt x="1461928" y="556399"/>
                  <a:pt x="1461928" y="566193"/>
                  <a:pt x="1457822" y="574030"/>
                </a:cubicBezTo>
                <a:cubicBezTo>
                  <a:pt x="1451663" y="585784"/>
                  <a:pt x="1449609" y="599497"/>
                  <a:pt x="1445503" y="613210"/>
                </a:cubicBezTo>
                <a:cubicBezTo>
                  <a:pt x="1441397" y="628886"/>
                  <a:pt x="1437291" y="644559"/>
                  <a:pt x="1431134" y="660231"/>
                </a:cubicBezTo>
                <a:cubicBezTo>
                  <a:pt x="1429080" y="666108"/>
                  <a:pt x="1427027" y="673946"/>
                  <a:pt x="1427027" y="679822"/>
                </a:cubicBezTo>
                <a:cubicBezTo>
                  <a:pt x="1431134" y="671986"/>
                  <a:pt x="1433185" y="666108"/>
                  <a:pt x="1435240" y="658273"/>
                </a:cubicBezTo>
                <a:cubicBezTo>
                  <a:pt x="1439346" y="646517"/>
                  <a:pt x="1441397" y="632802"/>
                  <a:pt x="1445503" y="621049"/>
                </a:cubicBezTo>
                <a:cubicBezTo>
                  <a:pt x="1445503" y="619088"/>
                  <a:pt x="1447557" y="615170"/>
                  <a:pt x="1453716" y="617130"/>
                </a:cubicBezTo>
                <a:cubicBezTo>
                  <a:pt x="1449609" y="626926"/>
                  <a:pt x="1441397" y="636720"/>
                  <a:pt x="1445503" y="650435"/>
                </a:cubicBezTo>
                <a:cubicBezTo>
                  <a:pt x="1447557" y="650435"/>
                  <a:pt x="1447557" y="650435"/>
                  <a:pt x="1449609" y="648477"/>
                </a:cubicBezTo>
                <a:cubicBezTo>
                  <a:pt x="1451663" y="638681"/>
                  <a:pt x="1451663" y="628886"/>
                  <a:pt x="1453716" y="619088"/>
                </a:cubicBezTo>
                <a:cubicBezTo>
                  <a:pt x="1453716" y="615170"/>
                  <a:pt x="1455771" y="611253"/>
                  <a:pt x="1455771" y="607335"/>
                </a:cubicBezTo>
                <a:cubicBezTo>
                  <a:pt x="1457822" y="601457"/>
                  <a:pt x="1461928" y="597539"/>
                  <a:pt x="1461928" y="593621"/>
                </a:cubicBezTo>
                <a:cubicBezTo>
                  <a:pt x="1463981" y="587743"/>
                  <a:pt x="1461928" y="581866"/>
                  <a:pt x="1461928" y="575987"/>
                </a:cubicBezTo>
                <a:cubicBezTo>
                  <a:pt x="1461928" y="572069"/>
                  <a:pt x="1461928" y="566193"/>
                  <a:pt x="1463981" y="562275"/>
                </a:cubicBezTo>
                <a:cubicBezTo>
                  <a:pt x="1463981" y="562275"/>
                  <a:pt x="1461928" y="564233"/>
                  <a:pt x="1461928" y="564233"/>
                </a:cubicBezTo>
                <a:cubicBezTo>
                  <a:pt x="1461928" y="556399"/>
                  <a:pt x="1463981" y="548559"/>
                  <a:pt x="1466033" y="540726"/>
                </a:cubicBezTo>
                <a:cubicBezTo>
                  <a:pt x="1466033" y="532888"/>
                  <a:pt x="1468087" y="527009"/>
                  <a:pt x="1468087" y="519172"/>
                </a:cubicBezTo>
                <a:close/>
                <a:moveTo>
                  <a:pt x="1644645" y="513297"/>
                </a:moveTo>
                <a:cubicBezTo>
                  <a:pt x="1644645" y="515255"/>
                  <a:pt x="1644645" y="519172"/>
                  <a:pt x="1642590" y="521133"/>
                </a:cubicBezTo>
                <a:cubicBezTo>
                  <a:pt x="1644643" y="520152"/>
                  <a:pt x="1645157" y="519172"/>
                  <a:pt x="1645157" y="517949"/>
                </a:cubicBezTo>
                <a:cubicBezTo>
                  <a:pt x="1645157" y="516725"/>
                  <a:pt x="1644645" y="515256"/>
                  <a:pt x="1644645" y="513297"/>
                </a:cubicBezTo>
                <a:close/>
                <a:moveTo>
                  <a:pt x="1422921" y="507418"/>
                </a:moveTo>
                <a:cubicBezTo>
                  <a:pt x="1424973" y="509379"/>
                  <a:pt x="1424973" y="511336"/>
                  <a:pt x="1427027" y="513297"/>
                </a:cubicBezTo>
                <a:cubicBezTo>
                  <a:pt x="1427027" y="515255"/>
                  <a:pt x="1427027" y="515255"/>
                  <a:pt x="1427027" y="515255"/>
                </a:cubicBezTo>
                <a:cubicBezTo>
                  <a:pt x="1424973" y="515255"/>
                  <a:pt x="1424973" y="517215"/>
                  <a:pt x="1424973" y="517215"/>
                </a:cubicBezTo>
                <a:cubicBezTo>
                  <a:pt x="1422921" y="519172"/>
                  <a:pt x="1422921" y="519172"/>
                  <a:pt x="1420867" y="521133"/>
                </a:cubicBezTo>
                <a:cubicBezTo>
                  <a:pt x="1420867" y="517215"/>
                  <a:pt x="1422921" y="513297"/>
                  <a:pt x="1422921" y="507418"/>
                </a:cubicBezTo>
                <a:close/>
                <a:moveTo>
                  <a:pt x="1443452" y="499581"/>
                </a:moveTo>
                <a:cubicBezTo>
                  <a:pt x="1441397" y="505460"/>
                  <a:pt x="1441397" y="511336"/>
                  <a:pt x="1439346" y="517215"/>
                </a:cubicBezTo>
                <a:cubicBezTo>
                  <a:pt x="1439346" y="525049"/>
                  <a:pt x="1439346" y="532888"/>
                  <a:pt x="1439346" y="542682"/>
                </a:cubicBezTo>
                <a:cubicBezTo>
                  <a:pt x="1441397" y="536806"/>
                  <a:pt x="1441397" y="528970"/>
                  <a:pt x="1445503" y="525049"/>
                </a:cubicBezTo>
                <a:cubicBezTo>
                  <a:pt x="1449609" y="522111"/>
                  <a:pt x="1451149" y="518194"/>
                  <a:pt x="1451406" y="513785"/>
                </a:cubicBezTo>
                <a:cubicBezTo>
                  <a:pt x="1451663" y="509378"/>
                  <a:pt x="1450636" y="504480"/>
                  <a:pt x="1449609" y="499581"/>
                </a:cubicBezTo>
                <a:cubicBezTo>
                  <a:pt x="1447557" y="497623"/>
                  <a:pt x="1443452" y="497623"/>
                  <a:pt x="1443452" y="499581"/>
                </a:cubicBezTo>
                <a:close/>
                <a:moveTo>
                  <a:pt x="1677491" y="497623"/>
                </a:moveTo>
                <a:cubicBezTo>
                  <a:pt x="1677491" y="497623"/>
                  <a:pt x="1675439" y="499581"/>
                  <a:pt x="1675439" y="499581"/>
                </a:cubicBezTo>
                <a:cubicBezTo>
                  <a:pt x="1675439" y="499581"/>
                  <a:pt x="1677491" y="501541"/>
                  <a:pt x="1677491" y="501541"/>
                </a:cubicBezTo>
                <a:cubicBezTo>
                  <a:pt x="1677491" y="501541"/>
                  <a:pt x="1677491" y="499581"/>
                  <a:pt x="1677491" y="499581"/>
                </a:cubicBezTo>
                <a:cubicBezTo>
                  <a:pt x="1677491" y="499581"/>
                  <a:pt x="1677491" y="497623"/>
                  <a:pt x="1677491" y="497623"/>
                </a:cubicBezTo>
                <a:close/>
                <a:moveTo>
                  <a:pt x="1517357" y="495662"/>
                </a:moveTo>
                <a:cubicBezTo>
                  <a:pt x="1515306" y="509379"/>
                  <a:pt x="1517357" y="521133"/>
                  <a:pt x="1515306" y="532888"/>
                </a:cubicBezTo>
                <a:cubicBezTo>
                  <a:pt x="1518385" y="525052"/>
                  <a:pt x="1519924" y="519174"/>
                  <a:pt x="1520181" y="513542"/>
                </a:cubicBezTo>
                <a:cubicBezTo>
                  <a:pt x="1520437" y="507909"/>
                  <a:pt x="1519411" y="502521"/>
                  <a:pt x="1517357" y="495662"/>
                </a:cubicBezTo>
                <a:close/>
                <a:moveTo>
                  <a:pt x="1654909" y="493706"/>
                </a:moveTo>
                <a:cubicBezTo>
                  <a:pt x="1654909" y="515255"/>
                  <a:pt x="1652857" y="536806"/>
                  <a:pt x="1652857" y="558357"/>
                </a:cubicBezTo>
                <a:cubicBezTo>
                  <a:pt x="1654909" y="560317"/>
                  <a:pt x="1656963" y="560317"/>
                  <a:pt x="1659015" y="562275"/>
                </a:cubicBezTo>
                <a:cubicBezTo>
                  <a:pt x="1659015" y="552479"/>
                  <a:pt x="1659015" y="542682"/>
                  <a:pt x="1661069" y="532888"/>
                </a:cubicBezTo>
                <a:cubicBezTo>
                  <a:pt x="1656963" y="527009"/>
                  <a:pt x="1659015" y="521133"/>
                  <a:pt x="1659015" y="515255"/>
                </a:cubicBezTo>
                <a:cubicBezTo>
                  <a:pt x="1659015" y="507418"/>
                  <a:pt x="1659015" y="499581"/>
                  <a:pt x="1654909" y="493706"/>
                </a:cubicBezTo>
                <a:close/>
                <a:moveTo>
                  <a:pt x="1507094" y="489787"/>
                </a:moveTo>
                <a:cubicBezTo>
                  <a:pt x="1502988" y="495662"/>
                  <a:pt x="1500936" y="503500"/>
                  <a:pt x="1498882" y="509379"/>
                </a:cubicBezTo>
                <a:cubicBezTo>
                  <a:pt x="1500936" y="513297"/>
                  <a:pt x="1498882" y="517215"/>
                  <a:pt x="1498882" y="521133"/>
                </a:cubicBezTo>
                <a:cubicBezTo>
                  <a:pt x="1498882" y="528970"/>
                  <a:pt x="1498882" y="534846"/>
                  <a:pt x="1498882" y="542682"/>
                </a:cubicBezTo>
                <a:cubicBezTo>
                  <a:pt x="1498882" y="544640"/>
                  <a:pt x="1498882" y="548559"/>
                  <a:pt x="1498882" y="550519"/>
                </a:cubicBezTo>
                <a:cubicBezTo>
                  <a:pt x="1498882" y="550519"/>
                  <a:pt x="1498882" y="552479"/>
                  <a:pt x="1498882" y="552479"/>
                </a:cubicBezTo>
                <a:cubicBezTo>
                  <a:pt x="1498882" y="556399"/>
                  <a:pt x="1498882" y="560317"/>
                  <a:pt x="1498882" y="564233"/>
                </a:cubicBezTo>
                <a:cubicBezTo>
                  <a:pt x="1500936" y="562275"/>
                  <a:pt x="1502988" y="560317"/>
                  <a:pt x="1502988" y="560317"/>
                </a:cubicBezTo>
                <a:cubicBezTo>
                  <a:pt x="1502988" y="558357"/>
                  <a:pt x="1505039" y="556399"/>
                  <a:pt x="1505039" y="554438"/>
                </a:cubicBezTo>
                <a:cubicBezTo>
                  <a:pt x="1505039" y="556399"/>
                  <a:pt x="1505039" y="558357"/>
                  <a:pt x="1505039" y="560317"/>
                </a:cubicBezTo>
                <a:cubicBezTo>
                  <a:pt x="1507094" y="558357"/>
                  <a:pt x="1509146" y="556399"/>
                  <a:pt x="1513251" y="552479"/>
                </a:cubicBezTo>
                <a:cubicBezTo>
                  <a:pt x="1509146" y="538765"/>
                  <a:pt x="1511200" y="523091"/>
                  <a:pt x="1505039" y="507418"/>
                </a:cubicBezTo>
                <a:cubicBezTo>
                  <a:pt x="1505039" y="507418"/>
                  <a:pt x="1505039" y="505460"/>
                  <a:pt x="1505039" y="505460"/>
                </a:cubicBezTo>
                <a:cubicBezTo>
                  <a:pt x="1507094" y="499581"/>
                  <a:pt x="1507094" y="495662"/>
                  <a:pt x="1507094" y="489787"/>
                </a:cubicBezTo>
                <a:close/>
                <a:moveTo>
                  <a:pt x="2474050" y="487827"/>
                </a:moveTo>
                <a:cubicBezTo>
                  <a:pt x="2474050" y="489787"/>
                  <a:pt x="2474050" y="489787"/>
                  <a:pt x="2471998" y="491748"/>
                </a:cubicBezTo>
                <a:cubicBezTo>
                  <a:pt x="2471998" y="491748"/>
                  <a:pt x="2471998" y="493706"/>
                  <a:pt x="2471998" y="495662"/>
                </a:cubicBezTo>
                <a:cubicBezTo>
                  <a:pt x="2476104" y="495662"/>
                  <a:pt x="2477643" y="494684"/>
                  <a:pt x="2478157" y="493215"/>
                </a:cubicBezTo>
                <a:cubicBezTo>
                  <a:pt x="2478670" y="491746"/>
                  <a:pt x="2478156" y="489787"/>
                  <a:pt x="2478156" y="487827"/>
                </a:cubicBezTo>
                <a:cubicBezTo>
                  <a:pt x="2476104" y="487827"/>
                  <a:pt x="2476104" y="487827"/>
                  <a:pt x="2474050" y="487827"/>
                </a:cubicBezTo>
                <a:close/>
                <a:moveTo>
                  <a:pt x="3874188" y="476071"/>
                </a:moveTo>
                <a:cubicBezTo>
                  <a:pt x="3865976" y="481950"/>
                  <a:pt x="3861870" y="487827"/>
                  <a:pt x="3863924" y="497623"/>
                </a:cubicBezTo>
                <a:cubicBezTo>
                  <a:pt x="3865976" y="497623"/>
                  <a:pt x="3868030" y="497623"/>
                  <a:pt x="3868030" y="497623"/>
                </a:cubicBezTo>
                <a:cubicBezTo>
                  <a:pt x="3870082" y="489787"/>
                  <a:pt x="3878295" y="485868"/>
                  <a:pt x="3874188" y="476071"/>
                </a:cubicBezTo>
                <a:close/>
                <a:moveTo>
                  <a:pt x="1737030" y="464316"/>
                </a:moveTo>
                <a:cubicBezTo>
                  <a:pt x="1737030" y="466277"/>
                  <a:pt x="1737030" y="466277"/>
                  <a:pt x="1734975" y="468237"/>
                </a:cubicBezTo>
                <a:cubicBezTo>
                  <a:pt x="1730869" y="476071"/>
                  <a:pt x="1728817" y="483908"/>
                  <a:pt x="1726763" y="491748"/>
                </a:cubicBezTo>
                <a:cubicBezTo>
                  <a:pt x="1726763" y="491748"/>
                  <a:pt x="1726763" y="491748"/>
                  <a:pt x="1726763" y="493706"/>
                </a:cubicBezTo>
                <a:cubicBezTo>
                  <a:pt x="1724711" y="509379"/>
                  <a:pt x="1724711" y="523091"/>
                  <a:pt x="1722657" y="538765"/>
                </a:cubicBezTo>
                <a:cubicBezTo>
                  <a:pt x="1722657" y="538765"/>
                  <a:pt x="1722657" y="540726"/>
                  <a:pt x="1722657" y="540726"/>
                </a:cubicBezTo>
                <a:cubicBezTo>
                  <a:pt x="1724711" y="562275"/>
                  <a:pt x="1722657" y="581866"/>
                  <a:pt x="1718551" y="603416"/>
                </a:cubicBezTo>
                <a:cubicBezTo>
                  <a:pt x="1716499" y="611253"/>
                  <a:pt x="1716499" y="621049"/>
                  <a:pt x="1712393" y="626926"/>
                </a:cubicBezTo>
                <a:cubicBezTo>
                  <a:pt x="1710339" y="640641"/>
                  <a:pt x="1708287" y="656313"/>
                  <a:pt x="1708287" y="671986"/>
                </a:cubicBezTo>
                <a:cubicBezTo>
                  <a:pt x="1710339" y="666108"/>
                  <a:pt x="1714444" y="660231"/>
                  <a:pt x="1716499" y="656313"/>
                </a:cubicBezTo>
                <a:cubicBezTo>
                  <a:pt x="1724711" y="630844"/>
                  <a:pt x="1730869" y="605377"/>
                  <a:pt x="1728817" y="577948"/>
                </a:cubicBezTo>
                <a:cubicBezTo>
                  <a:pt x="1728817" y="574030"/>
                  <a:pt x="1728817" y="568150"/>
                  <a:pt x="1730869" y="566193"/>
                </a:cubicBezTo>
                <a:cubicBezTo>
                  <a:pt x="1739081" y="546601"/>
                  <a:pt x="1737030" y="527009"/>
                  <a:pt x="1741135" y="507418"/>
                </a:cubicBezTo>
                <a:cubicBezTo>
                  <a:pt x="1739081" y="491748"/>
                  <a:pt x="1739081" y="478031"/>
                  <a:pt x="1737030" y="464316"/>
                </a:cubicBezTo>
                <a:close/>
                <a:moveTo>
                  <a:pt x="3812598" y="462358"/>
                </a:moveTo>
                <a:cubicBezTo>
                  <a:pt x="3812598" y="464316"/>
                  <a:pt x="3812598" y="466277"/>
                  <a:pt x="3814652" y="466277"/>
                </a:cubicBezTo>
                <a:cubicBezTo>
                  <a:pt x="3814652" y="466277"/>
                  <a:pt x="3816704" y="464316"/>
                  <a:pt x="3816704" y="464316"/>
                </a:cubicBezTo>
                <a:cubicBezTo>
                  <a:pt x="3814652" y="464316"/>
                  <a:pt x="3812598" y="462358"/>
                  <a:pt x="3812598" y="462358"/>
                </a:cubicBezTo>
                <a:close/>
                <a:moveTo>
                  <a:pt x="2418619" y="462358"/>
                </a:moveTo>
                <a:cubicBezTo>
                  <a:pt x="2416569" y="464316"/>
                  <a:pt x="2416569" y="466277"/>
                  <a:pt x="2416569" y="468237"/>
                </a:cubicBezTo>
                <a:cubicBezTo>
                  <a:pt x="2416569" y="472156"/>
                  <a:pt x="2416569" y="476071"/>
                  <a:pt x="2418619" y="479989"/>
                </a:cubicBezTo>
                <a:cubicBezTo>
                  <a:pt x="2418619" y="479989"/>
                  <a:pt x="2420674" y="481950"/>
                  <a:pt x="2420674" y="481950"/>
                </a:cubicBezTo>
                <a:cubicBezTo>
                  <a:pt x="2420674" y="474113"/>
                  <a:pt x="2420674" y="468237"/>
                  <a:pt x="2418619" y="462358"/>
                </a:cubicBezTo>
                <a:close/>
                <a:moveTo>
                  <a:pt x="1648750" y="450603"/>
                </a:moveTo>
                <a:cubicBezTo>
                  <a:pt x="1648750" y="450603"/>
                  <a:pt x="1648750" y="452563"/>
                  <a:pt x="1646696" y="452563"/>
                </a:cubicBezTo>
                <a:cubicBezTo>
                  <a:pt x="1644645" y="458440"/>
                  <a:pt x="1642590" y="464316"/>
                  <a:pt x="1640539" y="468237"/>
                </a:cubicBezTo>
                <a:cubicBezTo>
                  <a:pt x="1640539" y="470195"/>
                  <a:pt x="1640539" y="470195"/>
                  <a:pt x="1638484" y="472156"/>
                </a:cubicBezTo>
                <a:cubicBezTo>
                  <a:pt x="1638484" y="474113"/>
                  <a:pt x="1638484" y="474113"/>
                  <a:pt x="1638484" y="476071"/>
                </a:cubicBezTo>
                <a:cubicBezTo>
                  <a:pt x="1638484" y="476071"/>
                  <a:pt x="1638484" y="478031"/>
                  <a:pt x="1636433" y="478031"/>
                </a:cubicBezTo>
                <a:cubicBezTo>
                  <a:pt x="1634378" y="487827"/>
                  <a:pt x="1634378" y="499581"/>
                  <a:pt x="1634378" y="511336"/>
                </a:cubicBezTo>
                <a:cubicBezTo>
                  <a:pt x="1636433" y="509379"/>
                  <a:pt x="1638484" y="507418"/>
                  <a:pt x="1640539" y="505460"/>
                </a:cubicBezTo>
                <a:cubicBezTo>
                  <a:pt x="1642590" y="501541"/>
                  <a:pt x="1644645" y="499581"/>
                  <a:pt x="1644645" y="495662"/>
                </a:cubicBezTo>
                <a:cubicBezTo>
                  <a:pt x="1648750" y="483908"/>
                  <a:pt x="1648750" y="474113"/>
                  <a:pt x="1650802" y="466277"/>
                </a:cubicBezTo>
                <a:cubicBezTo>
                  <a:pt x="1652857" y="460398"/>
                  <a:pt x="1650802" y="454522"/>
                  <a:pt x="1648750" y="450603"/>
                </a:cubicBezTo>
                <a:close/>
                <a:moveTo>
                  <a:pt x="1570736" y="440809"/>
                </a:moveTo>
                <a:cubicBezTo>
                  <a:pt x="1568684" y="444728"/>
                  <a:pt x="1566630" y="448646"/>
                  <a:pt x="1564579" y="450603"/>
                </a:cubicBezTo>
                <a:cubicBezTo>
                  <a:pt x="1562523" y="466277"/>
                  <a:pt x="1562523" y="481950"/>
                  <a:pt x="1562523" y="499581"/>
                </a:cubicBezTo>
                <a:cubicBezTo>
                  <a:pt x="1564579" y="497623"/>
                  <a:pt x="1564579" y="495662"/>
                  <a:pt x="1566630" y="493706"/>
                </a:cubicBezTo>
                <a:cubicBezTo>
                  <a:pt x="1572791" y="513297"/>
                  <a:pt x="1572791" y="530928"/>
                  <a:pt x="1556366" y="544640"/>
                </a:cubicBezTo>
                <a:lnTo>
                  <a:pt x="1560377" y="554210"/>
                </a:lnTo>
                <a:lnTo>
                  <a:pt x="1557906" y="553949"/>
                </a:lnTo>
                <a:cubicBezTo>
                  <a:pt x="1556879" y="553950"/>
                  <a:pt x="1556366" y="554439"/>
                  <a:pt x="1556366" y="556399"/>
                </a:cubicBezTo>
                <a:cubicBezTo>
                  <a:pt x="1554311" y="562275"/>
                  <a:pt x="1554311" y="568150"/>
                  <a:pt x="1552260" y="574030"/>
                </a:cubicBezTo>
                <a:cubicBezTo>
                  <a:pt x="1552260" y="581866"/>
                  <a:pt x="1552260" y="589704"/>
                  <a:pt x="1552260" y="599497"/>
                </a:cubicBezTo>
                <a:cubicBezTo>
                  <a:pt x="1554311" y="593621"/>
                  <a:pt x="1554311" y="585784"/>
                  <a:pt x="1558418" y="581866"/>
                </a:cubicBezTo>
                <a:cubicBezTo>
                  <a:pt x="1561497" y="576967"/>
                  <a:pt x="1563038" y="572559"/>
                  <a:pt x="1563550" y="568150"/>
                </a:cubicBezTo>
                <a:lnTo>
                  <a:pt x="1562758" y="557566"/>
                </a:lnTo>
                <a:lnTo>
                  <a:pt x="1567656" y="560070"/>
                </a:lnTo>
                <a:cubicBezTo>
                  <a:pt x="1569196" y="561784"/>
                  <a:pt x="1569710" y="564234"/>
                  <a:pt x="1568684" y="568150"/>
                </a:cubicBezTo>
                <a:cubicBezTo>
                  <a:pt x="1566630" y="583824"/>
                  <a:pt x="1566630" y="599497"/>
                  <a:pt x="1562523" y="613210"/>
                </a:cubicBezTo>
                <a:cubicBezTo>
                  <a:pt x="1560472" y="617130"/>
                  <a:pt x="1560472" y="623008"/>
                  <a:pt x="1558418" y="626926"/>
                </a:cubicBezTo>
                <a:cubicBezTo>
                  <a:pt x="1558418" y="628886"/>
                  <a:pt x="1558418" y="632802"/>
                  <a:pt x="1558418" y="634762"/>
                </a:cubicBezTo>
                <a:cubicBezTo>
                  <a:pt x="1560472" y="636720"/>
                  <a:pt x="1562523" y="638681"/>
                  <a:pt x="1562523" y="640641"/>
                </a:cubicBezTo>
                <a:cubicBezTo>
                  <a:pt x="1564579" y="634762"/>
                  <a:pt x="1564579" y="626926"/>
                  <a:pt x="1570736" y="623008"/>
                </a:cubicBezTo>
                <a:cubicBezTo>
                  <a:pt x="1570736" y="623008"/>
                  <a:pt x="1570736" y="623008"/>
                  <a:pt x="1572791" y="621049"/>
                </a:cubicBezTo>
                <a:cubicBezTo>
                  <a:pt x="1570736" y="605377"/>
                  <a:pt x="1568684" y="589704"/>
                  <a:pt x="1572791" y="574030"/>
                </a:cubicBezTo>
                <a:cubicBezTo>
                  <a:pt x="1572791" y="572069"/>
                  <a:pt x="1572791" y="570110"/>
                  <a:pt x="1572791" y="566193"/>
                </a:cubicBezTo>
                <a:cubicBezTo>
                  <a:pt x="1570736" y="556399"/>
                  <a:pt x="1574842" y="548559"/>
                  <a:pt x="1583054" y="544640"/>
                </a:cubicBezTo>
                <a:cubicBezTo>
                  <a:pt x="1576897" y="538765"/>
                  <a:pt x="1576897" y="530928"/>
                  <a:pt x="1576897" y="523091"/>
                </a:cubicBezTo>
                <a:cubicBezTo>
                  <a:pt x="1578948" y="521133"/>
                  <a:pt x="1581002" y="521133"/>
                  <a:pt x="1581002" y="519172"/>
                </a:cubicBezTo>
                <a:cubicBezTo>
                  <a:pt x="1583054" y="517215"/>
                  <a:pt x="1583054" y="513297"/>
                  <a:pt x="1585105" y="511336"/>
                </a:cubicBezTo>
                <a:cubicBezTo>
                  <a:pt x="1587159" y="507418"/>
                  <a:pt x="1587159" y="503500"/>
                  <a:pt x="1587159" y="499581"/>
                </a:cubicBezTo>
                <a:cubicBezTo>
                  <a:pt x="1587159" y="499581"/>
                  <a:pt x="1587159" y="497623"/>
                  <a:pt x="1587159" y="497623"/>
                </a:cubicBezTo>
                <a:cubicBezTo>
                  <a:pt x="1587159" y="493706"/>
                  <a:pt x="1587159" y="489787"/>
                  <a:pt x="1587159" y="485868"/>
                </a:cubicBezTo>
                <a:cubicBezTo>
                  <a:pt x="1585105" y="485868"/>
                  <a:pt x="1585105" y="483908"/>
                  <a:pt x="1583054" y="483908"/>
                </a:cubicBezTo>
                <a:cubicBezTo>
                  <a:pt x="1578948" y="481950"/>
                  <a:pt x="1578948" y="479989"/>
                  <a:pt x="1578948" y="476071"/>
                </a:cubicBezTo>
                <a:cubicBezTo>
                  <a:pt x="1578948" y="474113"/>
                  <a:pt x="1578948" y="472156"/>
                  <a:pt x="1581002" y="470195"/>
                </a:cubicBezTo>
                <a:cubicBezTo>
                  <a:pt x="1578948" y="472156"/>
                  <a:pt x="1574842" y="474113"/>
                  <a:pt x="1570736" y="476071"/>
                </a:cubicBezTo>
                <a:cubicBezTo>
                  <a:pt x="1566630" y="466277"/>
                  <a:pt x="1581002" y="454522"/>
                  <a:pt x="1570736" y="440809"/>
                </a:cubicBezTo>
                <a:close/>
                <a:moveTo>
                  <a:pt x="3880349" y="431011"/>
                </a:moveTo>
                <a:cubicBezTo>
                  <a:pt x="3876242" y="434930"/>
                  <a:pt x="3872137" y="438849"/>
                  <a:pt x="3874188" y="444728"/>
                </a:cubicBezTo>
                <a:cubicBezTo>
                  <a:pt x="3868030" y="448646"/>
                  <a:pt x="3861870" y="452563"/>
                  <a:pt x="3855712" y="456480"/>
                </a:cubicBezTo>
                <a:cubicBezTo>
                  <a:pt x="3851606" y="456480"/>
                  <a:pt x="3851606" y="454522"/>
                  <a:pt x="3849552" y="450603"/>
                </a:cubicBezTo>
                <a:cubicBezTo>
                  <a:pt x="3845446" y="456480"/>
                  <a:pt x="3841341" y="462358"/>
                  <a:pt x="3837234" y="464316"/>
                </a:cubicBezTo>
                <a:cubicBezTo>
                  <a:pt x="3833128" y="466277"/>
                  <a:pt x="3831076" y="468237"/>
                  <a:pt x="3829022" y="472156"/>
                </a:cubicBezTo>
                <a:cubicBezTo>
                  <a:pt x="3831076" y="472156"/>
                  <a:pt x="3833128" y="474113"/>
                  <a:pt x="3835183" y="474113"/>
                </a:cubicBezTo>
                <a:cubicBezTo>
                  <a:pt x="3837234" y="472156"/>
                  <a:pt x="3841341" y="470195"/>
                  <a:pt x="3847500" y="472156"/>
                </a:cubicBezTo>
                <a:cubicBezTo>
                  <a:pt x="3845446" y="474113"/>
                  <a:pt x="3843394" y="476071"/>
                  <a:pt x="3841341" y="478031"/>
                </a:cubicBezTo>
                <a:cubicBezTo>
                  <a:pt x="3845446" y="479989"/>
                  <a:pt x="3847500" y="481950"/>
                  <a:pt x="3851606" y="485868"/>
                </a:cubicBezTo>
                <a:cubicBezTo>
                  <a:pt x="3863924" y="479989"/>
                  <a:pt x="3872137" y="470195"/>
                  <a:pt x="3876242" y="458440"/>
                </a:cubicBezTo>
                <a:cubicBezTo>
                  <a:pt x="3876242" y="464316"/>
                  <a:pt x="3876242" y="470195"/>
                  <a:pt x="3876242" y="474113"/>
                </a:cubicBezTo>
                <a:cubicBezTo>
                  <a:pt x="3880349" y="470195"/>
                  <a:pt x="3884452" y="466277"/>
                  <a:pt x="3888561" y="462358"/>
                </a:cubicBezTo>
                <a:cubicBezTo>
                  <a:pt x="3890613" y="464316"/>
                  <a:pt x="3892667" y="468237"/>
                  <a:pt x="3894718" y="470195"/>
                </a:cubicBezTo>
                <a:cubicBezTo>
                  <a:pt x="3896770" y="468237"/>
                  <a:pt x="3898824" y="466277"/>
                  <a:pt x="3904983" y="466277"/>
                </a:cubicBezTo>
                <a:cubicBezTo>
                  <a:pt x="3900879" y="468237"/>
                  <a:pt x="3898824" y="470195"/>
                  <a:pt x="3896770" y="472156"/>
                </a:cubicBezTo>
                <a:cubicBezTo>
                  <a:pt x="3896770" y="476071"/>
                  <a:pt x="3898824" y="478031"/>
                  <a:pt x="3898824" y="481950"/>
                </a:cubicBezTo>
                <a:cubicBezTo>
                  <a:pt x="3896770" y="483908"/>
                  <a:pt x="3894718" y="483908"/>
                  <a:pt x="3892667" y="485868"/>
                </a:cubicBezTo>
                <a:cubicBezTo>
                  <a:pt x="3892667" y="487827"/>
                  <a:pt x="3894718" y="489787"/>
                  <a:pt x="3894718" y="491748"/>
                </a:cubicBezTo>
                <a:cubicBezTo>
                  <a:pt x="3892667" y="491748"/>
                  <a:pt x="3890613" y="493706"/>
                  <a:pt x="3888561" y="493706"/>
                </a:cubicBezTo>
                <a:cubicBezTo>
                  <a:pt x="3890613" y="495662"/>
                  <a:pt x="3892667" y="495662"/>
                  <a:pt x="3894718" y="495662"/>
                </a:cubicBezTo>
                <a:cubicBezTo>
                  <a:pt x="3896770" y="493706"/>
                  <a:pt x="3900879" y="491748"/>
                  <a:pt x="3902932" y="491748"/>
                </a:cubicBezTo>
                <a:cubicBezTo>
                  <a:pt x="3909089" y="481950"/>
                  <a:pt x="3915248" y="470195"/>
                  <a:pt x="3921406" y="460398"/>
                </a:cubicBezTo>
                <a:cubicBezTo>
                  <a:pt x="3917300" y="458440"/>
                  <a:pt x="3915248" y="458440"/>
                  <a:pt x="3911143" y="460398"/>
                </a:cubicBezTo>
                <a:cubicBezTo>
                  <a:pt x="3909089" y="462358"/>
                  <a:pt x="3904983" y="460398"/>
                  <a:pt x="3902932" y="458440"/>
                </a:cubicBezTo>
                <a:cubicBezTo>
                  <a:pt x="3900879" y="456480"/>
                  <a:pt x="3898824" y="454522"/>
                  <a:pt x="3896770" y="450603"/>
                </a:cubicBezTo>
                <a:cubicBezTo>
                  <a:pt x="3890613" y="452563"/>
                  <a:pt x="3884452" y="452563"/>
                  <a:pt x="3878295" y="454522"/>
                </a:cubicBezTo>
                <a:cubicBezTo>
                  <a:pt x="3880349" y="446685"/>
                  <a:pt x="3880349" y="438849"/>
                  <a:pt x="3880349" y="431011"/>
                </a:cubicBezTo>
                <a:close/>
                <a:moveTo>
                  <a:pt x="1529676" y="427093"/>
                </a:moveTo>
                <a:cubicBezTo>
                  <a:pt x="1525570" y="436889"/>
                  <a:pt x="1523519" y="448646"/>
                  <a:pt x="1521464" y="458440"/>
                </a:cubicBezTo>
                <a:cubicBezTo>
                  <a:pt x="1525570" y="454522"/>
                  <a:pt x="1529676" y="450603"/>
                  <a:pt x="1533782" y="446685"/>
                </a:cubicBezTo>
                <a:cubicBezTo>
                  <a:pt x="1533782" y="442767"/>
                  <a:pt x="1533782" y="438849"/>
                  <a:pt x="1531729" y="436889"/>
                </a:cubicBezTo>
                <a:cubicBezTo>
                  <a:pt x="1531729" y="432972"/>
                  <a:pt x="1529676" y="431011"/>
                  <a:pt x="1529676" y="427093"/>
                </a:cubicBezTo>
                <a:close/>
                <a:moveTo>
                  <a:pt x="1663121" y="423176"/>
                </a:moveTo>
                <a:cubicBezTo>
                  <a:pt x="1661069" y="427093"/>
                  <a:pt x="1659015" y="431011"/>
                  <a:pt x="1656963" y="434930"/>
                </a:cubicBezTo>
                <a:cubicBezTo>
                  <a:pt x="1656963" y="434930"/>
                  <a:pt x="1656963" y="434930"/>
                  <a:pt x="1656963" y="436889"/>
                </a:cubicBezTo>
                <a:cubicBezTo>
                  <a:pt x="1656963" y="438849"/>
                  <a:pt x="1659015" y="438849"/>
                  <a:pt x="1659015" y="442767"/>
                </a:cubicBezTo>
                <a:cubicBezTo>
                  <a:pt x="1661069" y="436889"/>
                  <a:pt x="1663121" y="436889"/>
                  <a:pt x="1663121" y="434930"/>
                </a:cubicBezTo>
                <a:cubicBezTo>
                  <a:pt x="1663121" y="431011"/>
                  <a:pt x="1663121" y="427093"/>
                  <a:pt x="1663121" y="423176"/>
                </a:cubicBezTo>
                <a:close/>
                <a:moveTo>
                  <a:pt x="3831076" y="409462"/>
                </a:moveTo>
                <a:cubicBezTo>
                  <a:pt x="3829022" y="411420"/>
                  <a:pt x="3824916" y="411420"/>
                  <a:pt x="3822865" y="413380"/>
                </a:cubicBezTo>
                <a:cubicBezTo>
                  <a:pt x="3818758" y="415338"/>
                  <a:pt x="3814652" y="415338"/>
                  <a:pt x="3812598" y="415338"/>
                </a:cubicBezTo>
                <a:cubicBezTo>
                  <a:pt x="3812598" y="419257"/>
                  <a:pt x="3810547" y="421217"/>
                  <a:pt x="3810547" y="423176"/>
                </a:cubicBezTo>
                <a:cubicBezTo>
                  <a:pt x="3812598" y="425136"/>
                  <a:pt x="3814652" y="425136"/>
                  <a:pt x="3816704" y="427093"/>
                </a:cubicBezTo>
                <a:cubicBezTo>
                  <a:pt x="3808494" y="431011"/>
                  <a:pt x="3806440" y="438849"/>
                  <a:pt x="3800282" y="444728"/>
                </a:cubicBezTo>
                <a:cubicBezTo>
                  <a:pt x="3800282" y="446685"/>
                  <a:pt x="3800282" y="446685"/>
                  <a:pt x="3802333" y="448646"/>
                </a:cubicBezTo>
                <a:cubicBezTo>
                  <a:pt x="3802333" y="448646"/>
                  <a:pt x="3804385" y="446685"/>
                  <a:pt x="3804385" y="446685"/>
                </a:cubicBezTo>
                <a:cubicBezTo>
                  <a:pt x="3810547" y="440809"/>
                  <a:pt x="3814652" y="432972"/>
                  <a:pt x="3818758" y="427093"/>
                </a:cubicBezTo>
                <a:cubicBezTo>
                  <a:pt x="3820813" y="423176"/>
                  <a:pt x="3824916" y="419257"/>
                  <a:pt x="3826970" y="415338"/>
                </a:cubicBezTo>
                <a:cubicBezTo>
                  <a:pt x="3826970" y="415338"/>
                  <a:pt x="3829022" y="415338"/>
                  <a:pt x="3829022" y="417299"/>
                </a:cubicBezTo>
                <a:cubicBezTo>
                  <a:pt x="3831076" y="415338"/>
                  <a:pt x="3833128" y="413380"/>
                  <a:pt x="3831076" y="409462"/>
                </a:cubicBezTo>
                <a:close/>
                <a:moveTo>
                  <a:pt x="1498882" y="407502"/>
                </a:moveTo>
                <a:cubicBezTo>
                  <a:pt x="1498882" y="411420"/>
                  <a:pt x="1496828" y="415338"/>
                  <a:pt x="1496828" y="419257"/>
                </a:cubicBezTo>
                <a:cubicBezTo>
                  <a:pt x="1496828" y="417299"/>
                  <a:pt x="1496828" y="413380"/>
                  <a:pt x="1496828" y="409462"/>
                </a:cubicBezTo>
                <a:cubicBezTo>
                  <a:pt x="1498882" y="407502"/>
                  <a:pt x="1498882" y="407502"/>
                  <a:pt x="1498882" y="407502"/>
                </a:cubicBezTo>
                <a:close/>
                <a:moveTo>
                  <a:pt x="1886895" y="405544"/>
                </a:moveTo>
                <a:cubicBezTo>
                  <a:pt x="1884843" y="411420"/>
                  <a:pt x="1882789" y="415338"/>
                  <a:pt x="1886895" y="421217"/>
                </a:cubicBezTo>
                <a:cubicBezTo>
                  <a:pt x="1886895" y="421217"/>
                  <a:pt x="1886895" y="419257"/>
                  <a:pt x="1886895" y="417299"/>
                </a:cubicBezTo>
                <a:cubicBezTo>
                  <a:pt x="1886895" y="417299"/>
                  <a:pt x="1886895" y="415338"/>
                  <a:pt x="1886895" y="415338"/>
                </a:cubicBezTo>
                <a:cubicBezTo>
                  <a:pt x="1886895" y="411420"/>
                  <a:pt x="1886895" y="409462"/>
                  <a:pt x="1886895" y="405544"/>
                </a:cubicBezTo>
                <a:close/>
                <a:moveTo>
                  <a:pt x="1589215" y="405544"/>
                </a:moveTo>
                <a:cubicBezTo>
                  <a:pt x="1587159" y="409462"/>
                  <a:pt x="1583054" y="415338"/>
                  <a:pt x="1581002" y="419257"/>
                </a:cubicBezTo>
                <a:cubicBezTo>
                  <a:pt x="1589215" y="427093"/>
                  <a:pt x="1593320" y="434930"/>
                  <a:pt x="1589215" y="446685"/>
                </a:cubicBezTo>
                <a:cubicBezTo>
                  <a:pt x="1587159" y="458440"/>
                  <a:pt x="1585105" y="462358"/>
                  <a:pt x="1583054" y="466277"/>
                </a:cubicBezTo>
                <a:cubicBezTo>
                  <a:pt x="1585105" y="468237"/>
                  <a:pt x="1585105" y="470195"/>
                  <a:pt x="1587159" y="472156"/>
                </a:cubicBezTo>
                <a:cubicBezTo>
                  <a:pt x="1593320" y="468237"/>
                  <a:pt x="1597424" y="466277"/>
                  <a:pt x="1597424" y="458440"/>
                </a:cubicBezTo>
                <a:cubicBezTo>
                  <a:pt x="1597424" y="454522"/>
                  <a:pt x="1599478" y="448646"/>
                  <a:pt x="1599478" y="444728"/>
                </a:cubicBezTo>
                <a:cubicBezTo>
                  <a:pt x="1597424" y="438849"/>
                  <a:pt x="1597424" y="432972"/>
                  <a:pt x="1597424" y="429053"/>
                </a:cubicBezTo>
                <a:cubicBezTo>
                  <a:pt x="1597424" y="429053"/>
                  <a:pt x="1597424" y="431011"/>
                  <a:pt x="1595373" y="431011"/>
                </a:cubicBezTo>
                <a:cubicBezTo>
                  <a:pt x="1595373" y="429053"/>
                  <a:pt x="1595373" y="427093"/>
                  <a:pt x="1595373" y="423176"/>
                </a:cubicBezTo>
                <a:cubicBezTo>
                  <a:pt x="1595373" y="421217"/>
                  <a:pt x="1593320" y="419257"/>
                  <a:pt x="1593320" y="417299"/>
                </a:cubicBezTo>
                <a:cubicBezTo>
                  <a:pt x="1591267" y="413380"/>
                  <a:pt x="1591267" y="409462"/>
                  <a:pt x="1589215" y="405544"/>
                </a:cubicBezTo>
                <a:close/>
                <a:moveTo>
                  <a:pt x="1513251" y="401626"/>
                </a:moveTo>
                <a:cubicBezTo>
                  <a:pt x="1509146" y="421217"/>
                  <a:pt x="1505039" y="442767"/>
                  <a:pt x="1500936" y="464316"/>
                </a:cubicBezTo>
                <a:cubicBezTo>
                  <a:pt x="1502988" y="462358"/>
                  <a:pt x="1505039" y="460398"/>
                  <a:pt x="1505039" y="460398"/>
                </a:cubicBezTo>
                <a:cubicBezTo>
                  <a:pt x="1505039" y="458440"/>
                  <a:pt x="1505039" y="458440"/>
                  <a:pt x="1505039" y="456480"/>
                </a:cubicBezTo>
                <a:cubicBezTo>
                  <a:pt x="1505039" y="452563"/>
                  <a:pt x="1505039" y="446685"/>
                  <a:pt x="1507094" y="440809"/>
                </a:cubicBezTo>
                <a:cubicBezTo>
                  <a:pt x="1507094" y="440809"/>
                  <a:pt x="1507094" y="440809"/>
                  <a:pt x="1507094" y="442767"/>
                </a:cubicBezTo>
                <a:cubicBezTo>
                  <a:pt x="1509146" y="432972"/>
                  <a:pt x="1511200" y="425136"/>
                  <a:pt x="1513251" y="415338"/>
                </a:cubicBezTo>
                <a:cubicBezTo>
                  <a:pt x="1513251" y="411420"/>
                  <a:pt x="1513251" y="405544"/>
                  <a:pt x="1513251" y="401626"/>
                </a:cubicBezTo>
                <a:close/>
                <a:moveTo>
                  <a:pt x="3792838" y="401379"/>
                </a:moveTo>
                <a:cubicBezTo>
                  <a:pt x="3794634" y="400645"/>
                  <a:pt x="3797201" y="401625"/>
                  <a:pt x="3802333" y="403585"/>
                </a:cubicBezTo>
                <a:lnTo>
                  <a:pt x="3797654" y="416985"/>
                </a:lnTo>
                <a:lnTo>
                  <a:pt x="3786345" y="415635"/>
                </a:lnTo>
                <a:lnTo>
                  <a:pt x="3787964" y="409462"/>
                </a:lnTo>
                <a:cubicBezTo>
                  <a:pt x="3790017" y="404563"/>
                  <a:pt x="3791042" y="402114"/>
                  <a:pt x="3792838" y="401379"/>
                </a:cubicBezTo>
                <a:close/>
                <a:moveTo>
                  <a:pt x="3853658" y="395747"/>
                </a:moveTo>
                <a:cubicBezTo>
                  <a:pt x="3851606" y="395747"/>
                  <a:pt x="3851606" y="397707"/>
                  <a:pt x="3851606" y="401626"/>
                </a:cubicBezTo>
                <a:cubicBezTo>
                  <a:pt x="3851606" y="401626"/>
                  <a:pt x="3853658" y="401626"/>
                  <a:pt x="3853658" y="401626"/>
                </a:cubicBezTo>
                <a:cubicBezTo>
                  <a:pt x="3853658" y="399664"/>
                  <a:pt x="3853658" y="397707"/>
                  <a:pt x="3853658" y="395747"/>
                </a:cubicBezTo>
                <a:close/>
                <a:moveTo>
                  <a:pt x="3821744" y="384175"/>
                </a:moveTo>
                <a:lnTo>
                  <a:pt x="3820813" y="385952"/>
                </a:lnTo>
                <a:cubicBezTo>
                  <a:pt x="3820813" y="385952"/>
                  <a:pt x="3818758" y="385952"/>
                  <a:pt x="3818758" y="385952"/>
                </a:cubicBezTo>
                <a:cubicBezTo>
                  <a:pt x="3816704" y="387911"/>
                  <a:pt x="3814652" y="389871"/>
                  <a:pt x="3812598" y="391829"/>
                </a:cubicBezTo>
                <a:lnTo>
                  <a:pt x="3818075" y="394441"/>
                </a:lnTo>
                <a:lnTo>
                  <a:pt x="3816704" y="395747"/>
                </a:lnTo>
                <a:cubicBezTo>
                  <a:pt x="3812598" y="397707"/>
                  <a:pt x="3806440" y="401626"/>
                  <a:pt x="3802333" y="403585"/>
                </a:cubicBezTo>
                <a:cubicBezTo>
                  <a:pt x="3805414" y="396728"/>
                  <a:pt x="3809007" y="392320"/>
                  <a:pt x="3813369" y="388891"/>
                </a:cubicBezTo>
                <a:close/>
                <a:moveTo>
                  <a:pt x="3826970" y="374198"/>
                </a:moveTo>
                <a:cubicBezTo>
                  <a:pt x="3826970" y="374198"/>
                  <a:pt x="3829022" y="374198"/>
                  <a:pt x="3829022" y="374198"/>
                </a:cubicBezTo>
                <a:lnTo>
                  <a:pt x="3829022" y="380075"/>
                </a:lnTo>
                <a:lnTo>
                  <a:pt x="3821744" y="384175"/>
                </a:lnTo>
                <a:close/>
                <a:moveTo>
                  <a:pt x="3933830" y="363223"/>
                </a:moveTo>
                <a:lnTo>
                  <a:pt x="3931159" y="366360"/>
                </a:lnTo>
                <a:cubicBezTo>
                  <a:pt x="3929106" y="369789"/>
                  <a:pt x="3926539" y="373217"/>
                  <a:pt x="3921406" y="374198"/>
                </a:cubicBezTo>
                <a:cubicBezTo>
                  <a:pt x="3923461" y="376155"/>
                  <a:pt x="3923461" y="378115"/>
                  <a:pt x="3923461" y="380075"/>
                </a:cubicBezTo>
                <a:lnTo>
                  <a:pt x="3907689" y="387020"/>
                </a:lnTo>
                <a:lnTo>
                  <a:pt x="3909089" y="385952"/>
                </a:lnTo>
                <a:cubicBezTo>
                  <a:pt x="3907037" y="385952"/>
                  <a:pt x="3907037" y="383994"/>
                  <a:pt x="3907037" y="383994"/>
                </a:cubicBezTo>
                <a:cubicBezTo>
                  <a:pt x="3907037" y="383994"/>
                  <a:pt x="3904983" y="383994"/>
                  <a:pt x="3904983" y="383994"/>
                </a:cubicBezTo>
                <a:cubicBezTo>
                  <a:pt x="3902932" y="383994"/>
                  <a:pt x="3902932" y="383994"/>
                  <a:pt x="3898824" y="385952"/>
                </a:cubicBezTo>
                <a:cubicBezTo>
                  <a:pt x="3904983" y="376155"/>
                  <a:pt x="3907037" y="368318"/>
                  <a:pt x="3917300" y="368318"/>
                </a:cubicBezTo>
                <a:close/>
                <a:moveTo>
                  <a:pt x="3769485" y="362442"/>
                </a:moveTo>
                <a:cubicBezTo>
                  <a:pt x="3769485" y="362442"/>
                  <a:pt x="3771541" y="362442"/>
                  <a:pt x="3771541" y="364402"/>
                </a:cubicBezTo>
                <a:cubicBezTo>
                  <a:pt x="3769485" y="366360"/>
                  <a:pt x="3769485" y="368318"/>
                  <a:pt x="3767434" y="370279"/>
                </a:cubicBezTo>
                <a:cubicBezTo>
                  <a:pt x="3767434" y="370279"/>
                  <a:pt x="3765380" y="370279"/>
                  <a:pt x="3765380" y="368318"/>
                </a:cubicBezTo>
                <a:cubicBezTo>
                  <a:pt x="3767434" y="366360"/>
                  <a:pt x="3767434" y="364402"/>
                  <a:pt x="3769485" y="362442"/>
                </a:cubicBezTo>
                <a:close/>
                <a:moveTo>
                  <a:pt x="2605443" y="362442"/>
                </a:moveTo>
                <a:cubicBezTo>
                  <a:pt x="2605443" y="364402"/>
                  <a:pt x="2605443" y="366360"/>
                  <a:pt x="2605443" y="366360"/>
                </a:cubicBezTo>
                <a:cubicBezTo>
                  <a:pt x="2603389" y="366360"/>
                  <a:pt x="2603389" y="366360"/>
                  <a:pt x="2601337" y="366360"/>
                </a:cubicBezTo>
                <a:cubicBezTo>
                  <a:pt x="2601337" y="364402"/>
                  <a:pt x="2597231" y="362442"/>
                  <a:pt x="2605443" y="362442"/>
                </a:cubicBezTo>
                <a:close/>
                <a:moveTo>
                  <a:pt x="1541995" y="356566"/>
                </a:moveTo>
                <a:cubicBezTo>
                  <a:pt x="1541995" y="360484"/>
                  <a:pt x="1541995" y="362442"/>
                  <a:pt x="1539943" y="366360"/>
                </a:cubicBezTo>
                <a:cubicBezTo>
                  <a:pt x="1539943" y="366360"/>
                  <a:pt x="1541995" y="368318"/>
                  <a:pt x="1541995" y="368318"/>
                </a:cubicBezTo>
                <a:cubicBezTo>
                  <a:pt x="1544048" y="364402"/>
                  <a:pt x="1544048" y="360484"/>
                  <a:pt x="1541995" y="356566"/>
                </a:cubicBezTo>
                <a:close/>
                <a:moveTo>
                  <a:pt x="2215376" y="327178"/>
                </a:moveTo>
                <a:cubicBezTo>
                  <a:pt x="2215376" y="331095"/>
                  <a:pt x="2215376" y="333055"/>
                  <a:pt x="2215376" y="336974"/>
                </a:cubicBezTo>
                <a:cubicBezTo>
                  <a:pt x="2215376" y="333055"/>
                  <a:pt x="2217427" y="331095"/>
                  <a:pt x="2219481" y="329138"/>
                </a:cubicBezTo>
                <a:cubicBezTo>
                  <a:pt x="2217427" y="327178"/>
                  <a:pt x="2217427" y="327178"/>
                  <a:pt x="2215376" y="327178"/>
                </a:cubicBezTo>
                <a:close/>
                <a:moveTo>
                  <a:pt x="1537887" y="327178"/>
                </a:moveTo>
                <a:cubicBezTo>
                  <a:pt x="1537887" y="327178"/>
                  <a:pt x="1539943" y="327178"/>
                  <a:pt x="1539943" y="327178"/>
                </a:cubicBezTo>
                <a:cubicBezTo>
                  <a:pt x="1539943" y="329138"/>
                  <a:pt x="1539943" y="329138"/>
                  <a:pt x="1539943" y="331095"/>
                </a:cubicBezTo>
                <a:cubicBezTo>
                  <a:pt x="1539943" y="329138"/>
                  <a:pt x="1537887" y="329138"/>
                  <a:pt x="1537887" y="327178"/>
                </a:cubicBezTo>
                <a:close/>
                <a:moveTo>
                  <a:pt x="3904983" y="313464"/>
                </a:moveTo>
                <a:cubicBezTo>
                  <a:pt x="3904983" y="313464"/>
                  <a:pt x="3907037" y="315424"/>
                  <a:pt x="3907037" y="315424"/>
                </a:cubicBezTo>
                <a:cubicBezTo>
                  <a:pt x="3904983" y="317382"/>
                  <a:pt x="3902932" y="321301"/>
                  <a:pt x="3900879" y="323260"/>
                </a:cubicBezTo>
                <a:cubicBezTo>
                  <a:pt x="3898824" y="323260"/>
                  <a:pt x="3898824" y="321301"/>
                  <a:pt x="3896770" y="321301"/>
                </a:cubicBezTo>
                <a:cubicBezTo>
                  <a:pt x="3898824" y="319340"/>
                  <a:pt x="3900879" y="317382"/>
                  <a:pt x="3904983" y="313464"/>
                </a:cubicBezTo>
                <a:close/>
                <a:moveTo>
                  <a:pt x="1443452" y="305628"/>
                </a:moveTo>
                <a:cubicBezTo>
                  <a:pt x="1445503" y="307586"/>
                  <a:pt x="1445503" y="307586"/>
                  <a:pt x="1445503" y="309546"/>
                </a:cubicBezTo>
                <a:cubicBezTo>
                  <a:pt x="1445503" y="311504"/>
                  <a:pt x="1443452" y="311504"/>
                  <a:pt x="1443452" y="311504"/>
                </a:cubicBezTo>
                <a:cubicBezTo>
                  <a:pt x="1443452" y="309546"/>
                  <a:pt x="1441397" y="309546"/>
                  <a:pt x="1441397" y="307586"/>
                </a:cubicBezTo>
                <a:cubicBezTo>
                  <a:pt x="1441397" y="307586"/>
                  <a:pt x="1441397" y="307586"/>
                  <a:pt x="1443452" y="305628"/>
                </a:cubicBezTo>
                <a:close/>
                <a:moveTo>
                  <a:pt x="3939885" y="299749"/>
                </a:moveTo>
                <a:cubicBezTo>
                  <a:pt x="3940910" y="304648"/>
                  <a:pt x="3939884" y="308076"/>
                  <a:pt x="3937575" y="310525"/>
                </a:cubicBezTo>
                <a:lnTo>
                  <a:pt x="3932996" y="312767"/>
                </a:lnTo>
                <a:lnTo>
                  <a:pt x="3927567" y="307586"/>
                </a:lnTo>
                <a:lnTo>
                  <a:pt x="3928050" y="306202"/>
                </a:lnTo>
                <a:close/>
                <a:moveTo>
                  <a:pt x="3927567" y="289955"/>
                </a:moveTo>
                <a:cubicBezTo>
                  <a:pt x="3929619" y="289955"/>
                  <a:pt x="3929619" y="289955"/>
                  <a:pt x="3933724" y="289955"/>
                </a:cubicBezTo>
                <a:lnTo>
                  <a:pt x="3928050" y="306202"/>
                </a:lnTo>
                <a:lnTo>
                  <a:pt x="3925513" y="307586"/>
                </a:lnTo>
                <a:cubicBezTo>
                  <a:pt x="3925513" y="309546"/>
                  <a:pt x="3927567" y="311504"/>
                  <a:pt x="3927567" y="315424"/>
                </a:cubicBezTo>
                <a:lnTo>
                  <a:pt x="3932996" y="312767"/>
                </a:lnTo>
                <a:lnTo>
                  <a:pt x="3933983" y="313708"/>
                </a:lnTo>
                <a:cubicBezTo>
                  <a:pt x="3936292" y="315423"/>
                  <a:pt x="3938858" y="316404"/>
                  <a:pt x="3941936" y="315424"/>
                </a:cubicBezTo>
                <a:cubicBezTo>
                  <a:pt x="3946043" y="313464"/>
                  <a:pt x="3948097" y="309546"/>
                  <a:pt x="3950149" y="305628"/>
                </a:cubicBezTo>
                <a:cubicBezTo>
                  <a:pt x="3960415" y="303667"/>
                  <a:pt x="3970680" y="301709"/>
                  <a:pt x="3980945" y="299749"/>
                </a:cubicBezTo>
                <a:cubicBezTo>
                  <a:pt x="3980945" y="299749"/>
                  <a:pt x="3980945" y="301709"/>
                  <a:pt x="3982996" y="305628"/>
                </a:cubicBezTo>
                <a:lnTo>
                  <a:pt x="3991209" y="298444"/>
                </a:lnTo>
                <a:lnTo>
                  <a:pt x="3991209" y="303667"/>
                </a:lnTo>
                <a:cubicBezTo>
                  <a:pt x="3995315" y="303667"/>
                  <a:pt x="4001472" y="297791"/>
                  <a:pt x="4003527" y="307586"/>
                </a:cubicBezTo>
                <a:cubicBezTo>
                  <a:pt x="3997367" y="311504"/>
                  <a:pt x="3993263" y="313464"/>
                  <a:pt x="3987103" y="317382"/>
                </a:cubicBezTo>
                <a:cubicBezTo>
                  <a:pt x="3972734" y="327178"/>
                  <a:pt x="3960415" y="338933"/>
                  <a:pt x="3946043" y="348727"/>
                </a:cubicBezTo>
                <a:cubicBezTo>
                  <a:pt x="3946043" y="348727"/>
                  <a:pt x="3946043" y="350687"/>
                  <a:pt x="3946043" y="350687"/>
                </a:cubicBezTo>
                <a:cubicBezTo>
                  <a:pt x="3941936" y="354606"/>
                  <a:pt x="3938344" y="359503"/>
                  <a:pt x="3933981" y="363176"/>
                </a:cubicBezTo>
                <a:lnTo>
                  <a:pt x="3933830" y="363223"/>
                </a:lnTo>
                <a:lnTo>
                  <a:pt x="3937831" y="358524"/>
                </a:lnTo>
                <a:cubicBezTo>
                  <a:pt x="3937831" y="350687"/>
                  <a:pt x="3935779" y="342851"/>
                  <a:pt x="3935779" y="336974"/>
                </a:cubicBezTo>
                <a:cubicBezTo>
                  <a:pt x="3933724" y="336974"/>
                  <a:pt x="3931673" y="336974"/>
                  <a:pt x="3931673" y="336974"/>
                </a:cubicBezTo>
                <a:cubicBezTo>
                  <a:pt x="3929619" y="338933"/>
                  <a:pt x="3929619" y="340893"/>
                  <a:pt x="3927567" y="340893"/>
                </a:cubicBezTo>
                <a:cubicBezTo>
                  <a:pt x="3917300" y="340893"/>
                  <a:pt x="3907037" y="342851"/>
                  <a:pt x="3896770" y="342851"/>
                </a:cubicBezTo>
                <a:cubicBezTo>
                  <a:pt x="3900879" y="336974"/>
                  <a:pt x="3902932" y="333055"/>
                  <a:pt x="3904983" y="327178"/>
                </a:cubicBezTo>
                <a:cubicBezTo>
                  <a:pt x="3907037" y="325220"/>
                  <a:pt x="3907037" y="323260"/>
                  <a:pt x="3909089" y="321301"/>
                </a:cubicBezTo>
                <a:cubicBezTo>
                  <a:pt x="3911143" y="311504"/>
                  <a:pt x="3921406" y="293873"/>
                  <a:pt x="3927567" y="289955"/>
                </a:cubicBezTo>
                <a:close/>
                <a:moveTo>
                  <a:pt x="1673387" y="284075"/>
                </a:moveTo>
                <a:cubicBezTo>
                  <a:pt x="1673387" y="286035"/>
                  <a:pt x="1673387" y="287994"/>
                  <a:pt x="1671333" y="289955"/>
                </a:cubicBezTo>
                <a:cubicBezTo>
                  <a:pt x="1671333" y="289955"/>
                  <a:pt x="1673387" y="289955"/>
                  <a:pt x="1673387" y="289955"/>
                </a:cubicBezTo>
                <a:cubicBezTo>
                  <a:pt x="1673387" y="287994"/>
                  <a:pt x="1673387" y="286035"/>
                  <a:pt x="1673387" y="284075"/>
                </a:cubicBezTo>
                <a:close/>
                <a:moveTo>
                  <a:pt x="1447557" y="284075"/>
                </a:moveTo>
                <a:cubicBezTo>
                  <a:pt x="1447557" y="287994"/>
                  <a:pt x="1445503" y="289955"/>
                  <a:pt x="1445503" y="291915"/>
                </a:cubicBezTo>
                <a:cubicBezTo>
                  <a:pt x="1445503" y="291915"/>
                  <a:pt x="1443452" y="293873"/>
                  <a:pt x="1441397" y="289955"/>
                </a:cubicBezTo>
                <a:cubicBezTo>
                  <a:pt x="1441397" y="289955"/>
                  <a:pt x="1441397" y="287994"/>
                  <a:pt x="1441397" y="287994"/>
                </a:cubicBezTo>
                <a:cubicBezTo>
                  <a:pt x="1443452" y="286035"/>
                  <a:pt x="1445503" y="286035"/>
                  <a:pt x="1447557" y="284075"/>
                </a:cubicBezTo>
                <a:close/>
                <a:moveTo>
                  <a:pt x="4005581" y="276242"/>
                </a:moveTo>
                <a:lnTo>
                  <a:pt x="4021513" y="276242"/>
                </a:lnTo>
                <a:lnTo>
                  <a:pt x="4013976" y="289473"/>
                </a:lnTo>
                <a:lnTo>
                  <a:pt x="4011739" y="291915"/>
                </a:lnTo>
                <a:cubicBezTo>
                  <a:pt x="4009685" y="291915"/>
                  <a:pt x="4009685" y="291915"/>
                  <a:pt x="4007633" y="291915"/>
                </a:cubicBezTo>
                <a:cubicBezTo>
                  <a:pt x="4009685" y="289955"/>
                  <a:pt x="4009685" y="286035"/>
                  <a:pt x="4011739" y="284075"/>
                </a:cubicBezTo>
                <a:cubicBezTo>
                  <a:pt x="4009685" y="284075"/>
                  <a:pt x="4009685" y="284075"/>
                  <a:pt x="4007633" y="284075"/>
                </a:cubicBezTo>
                <a:lnTo>
                  <a:pt x="3991209" y="298444"/>
                </a:lnTo>
                <a:lnTo>
                  <a:pt x="3991209" y="286035"/>
                </a:lnTo>
                <a:lnTo>
                  <a:pt x="3992251" y="285128"/>
                </a:lnTo>
                <a:lnTo>
                  <a:pt x="3993263" y="289955"/>
                </a:lnTo>
                <a:cubicBezTo>
                  <a:pt x="3997367" y="286035"/>
                  <a:pt x="3999421" y="278200"/>
                  <a:pt x="4005581" y="276242"/>
                </a:cubicBezTo>
                <a:close/>
                <a:moveTo>
                  <a:pt x="4021668" y="275970"/>
                </a:moveTo>
                <a:lnTo>
                  <a:pt x="4021668" y="276242"/>
                </a:lnTo>
                <a:lnTo>
                  <a:pt x="4021513" y="276242"/>
                </a:lnTo>
                <a:close/>
                <a:moveTo>
                  <a:pt x="2268754" y="266444"/>
                </a:moveTo>
                <a:cubicBezTo>
                  <a:pt x="2258487" y="268404"/>
                  <a:pt x="2256436" y="274282"/>
                  <a:pt x="2256436" y="284075"/>
                </a:cubicBezTo>
                <a:cubicBezTo>
                  <a:pt x="2270805" y="280158"/>
                  <a:pt x="2258487" y="270362"/>
                  <a:pt x="2268754" y="266444"/>
                </a:cubicBezTo>
                <a:close/>
                <a:moveTo>
                  <a:pt x="4008562" y="255451"/>
                </a:moveTo>
                <a:lnTo>
                  <a:pt x="4011739" y="262526"/>
                </a:lnTo>
                <a:cubicBezTo>
                  <a:pt x="4008661" y="266444"/>
                  <a:pt x="4006094" y="271342"/>
                  <a:pt x="4003014" y="275750"/>
                </a:cubicBezTo>
                <a:lnTo>
                  <a:pt x="3992251" y="285128"/>
                </a:lnTo>
                <a:lnTo>
                  <a:pt x="3991209" y="280158"/>
                </a:lnTo>
                <a:cubicBezTo>
                  <a:pt x="3995315" y="272323"/>
                  <a:pt x="4001472" y="264484"/>
                  <a:pt x="4007633" y="256651"/>
                </a:cubicBezTo>
                <a:close/>
                <a:moveTo>
                  <a:pt x="4021668" y="238987"/>
                </a:moveTo>
                <a:lnTo>
                  <a:pt x="4021668" y="241140"/>
                </a:lnTo>
                <a:lnTo>
                  <a:pt x="4019952" y="240977"/>
                </a:lnTo>
                <a:close/>
                <a:moveTo>
                  <a:pt x="4021668" y="222064"/>
                </a:moveTo>
                <a:lnTo>
                  <a:pt x="4021668" y="238529"/>
                </a:lnTo>
                <a:lnTo>
                  <a:pt x="4008562" y="255451"/>
                </a:lnTo>
                <a:lnTo>
                  <a:pt x="4005581" y="248813"/>
                </a:lnTo>
                <a:cubicBezTo>
                  <a:pt x="4007633" y="245873"/>
                  <a:pt x="4010712" y="242445"/>
                  <a:pt x="4013791" y="238037"/>
                </a:cubicBezTo>
                <a:close/>
                <a:moveTo>
                  <a:pt x="2274911" y="217466"/>
                </a:moveTo>
                <a:cubicBezTo>
                  <a:pt x="2274911" y="219424"/>
                  <a:pt x="2272857" y="221384"/>
                  <a:pt x="2272857" y="223343"/>
                </a:cubicBezTo>
                <a:cubicBezTo>
                  <a:pt x="2272857" y="242935"/>
                  <a:pt x="2272857" y="262526"/>
                  <a:pt x="2272857" y="280158"/>
                </a:cubicBezTo>
                <a:cubicBezTo>
                  <a:pt x="2272857" y="284075"/>
                  <a:pt x="2270805" y="286035"/>
                  <a:pt x="2270805" y="289955"/>
                </a:cubicBezTo>
                <a:cubicBezTo>
                  <a:pt x="2270805" y="293873"/>
                  <a:pt x="2270805" y="297791"/>
                  <a:pt x="2270805" y="303667"/>
                </a:cubicBezTo>
                <a:cubicBezTo>
                  <a:pt x="2270805" y="301709"/>
                  <a:pt x="2272857" y="299749"/>
                  <a:pt x="2272857" y="297791"/>
                </a:cubicBezTo>
                <a:cubicBezTo>
                  <a:pt x="2272857" y="301709"/>
                  <a:pt x="2270805" y="303667"/>
                  <a:pt x="2270805" y="305628"/>
                </a:cubicBezTo>
                <a:cubicBezTo>
                  <a:pt x="2272857" y="305628"/>
                  <a:pt x="2274911" y="305628"/>
                  <a:pt x="2274911" y="305628"/>
                </a:cubicBezTo>
                <a:cubicBezTo>
                  <a:pt x="2279017" y="299749"/>
                  <a:pt x="2279017" y="291915"/>
                  <a:pt x="2276963" y="284075"/>
                </a:cubicBezTo>
                <a:cubicBezTo>
                  <a:pt x="2276963" y="280158"/>
                  <a:pt x="2279017" y="274282"/>
                  <a:pt x="2281072" y="268404"/>
                </a:cubicBezTo>
                <a:cubicBezTo>
                  <a:pt x="2281072" y="264484"/>
                  <a:pt x="2281072" y="260566"/>
                  <a:pt x="2281072" y="256651"/>
                </a:cubicBezTo>
                <a:cubicBezTo>
                  <a:pt x="2281072" y="248813"/>
                  <a:pt x="2281072" y="240977"/>
                  <a:pt x="2279017" y="233140"/>
                </a:cubicBezTo>
                <a:cubicBezTo>
                  <a:pt x="2279017" y="229222"/>
                  <a:pt x="2276963" y="223343"/>
                  <a:pt x="2274911" y="217466"/>
                </a:cubicBezTo>
                <a:close/>
                <a:moveTo>
                  <a:pt x="2252326" y="217466"/>
                </a:moveTo>
                <a:cubicBezTo>
                  <a:pt x="2252326" y="219424"/>
                  <a:pt x="2252326" y="221384"/>
                  <a:pt x="2252326" y="223343"/>
                </a:cubicBezTo>
                <a:cubicBezTo>
                  <a:pt x="2254382" y="223343"/>
                  <a:pt x="2256436" y="223343"/>
                  <a:pt x="2256436" y="223343"/>
                </a:cubicBezTo>
                <a:cubicBezTo>
                  <a:pt x="2256436" y="221384"/>
                  <a:pt x="2256436" y="219424"/>
                  <a:pt x="2256436" y="217466"/>
                </a:cubicBezTo>
                <a:cubicBezTo>
                  <a:pt x="2254382" y="217466"/>
                  <a:pt x="2254382" y="217466"/>
                  <a:pt x="2252326" y="217466"/>
                </a:cubicBezTo>
                <a:close/>
                <a:moveTo>
                  <a:pt x="2223587" y="213548"/>
                </a:moveTo>
                <a:cubicBezTo>
                  <a:pt x="2223587" y="215506"/>
                  <a:pt x="2221533" y="217466"/>
                  <a:pt x="2219481" y="217466"/>
                </a:cubicBezTo>
                <a:cubicBezTo>
                  <a:pt x="2219481" y="217466"/>
                  <a:pt x="2221533" y="219424"/>
                  <a:pt x="2221533" y="219424"/>
                </a:cubicBezTo>
                <a:cubicBezTo>
                  <a:pt x="2223587" y="217466"/>
                  <a:pt x="2225639" y="217466"/>
                  <a:pt x="2225639" y="215506"/>
                </a:cubicBezTo>
                <a:cubicBezTo>
                  <a:pt x="2225639" y="215506"/>
                  <a:pt x="2223587" y="215506"/>
                  <a:pt x="2223587" y="213548"/>
                </a:cubicBezTo>
                <a:close/>
                <a:moveTo>
                  <a:pt x="2289281" y="199833"/>
                </a:moveTo>
                <a:cubicBezTo>
                  <a:pt x="2289281" y="201793"/>
                  <a:pt x="2289281" y="203753"/>
                  <a:pt x="2289281" y="205712"/>
                </a:cubicBezTo>
                <a:cubicBezTo>
                  <a:pt x="2287230" y="213548"/>
                  <a:pt x="2283124" y="223343"/>
                  <a:pt x="2289281" y="233140"/>
                </a:cubicBezTo>
                <a:cubicBezTo>
                  <a:pt x="2289281" y="233140"/>
                  <a:pt x="2289281" y="235097"/>
                  <a:pt x="2289281" y="235097"/>
                </a:cubicBezTo>
                <a:cubicBezTo>
                  <a:pt x="2285175" y="246853"/>
                  <a:pt x="2287230" y="258608"/>
                  <a:pt x="2287230" y="270362"/>
                </a:cubicBezTo>
                <a:cubicBezTo>
                  <a:pt x="2287230" y="272323"/>
                  <a:pt x="2289281" y="276242"/>
                  <a:pt x="2289281" y="280158"/>
                </a:cubicBezTo>
                <a:cubicBezTo>
                  <a:pt x="2291335" y="280158"/>
                  <a:pt x="2293387" y="280158"/>
                  <a:pt x="2293387" y="278200"/>
                </a:cubicBezTo>
                <a:cubicBezTo>
                  <a:pt x="2293387" y="272323"/>
                  <a:pt x="2293387" y="266444"/>
                  <a:pt x="2293387" y="260566"/>
                </a:cubicBezTo>
                <a:cubicBezTo>
                  <a:pt x="2291335" y="240977"/>
                  <a:pt x="2289281" y="219424"/>
                  <a:pt x="2289281" y="199833"/>
                </a:cubicBezTo>
                <a:close/>
                <a:moveTo>
                  <a:pt x="2264644" y="197875"/>
                </a:moveTo>
                <a:cubicBezTo>
                  <a:pt x="2262593" y="199833"/>
                  <a:pt x="2258487" y="199833"/>
                  <a:pt x="2258487" y="201793"/>
                </a:cubicBezTo>
                <a:cubicBezTo>
                  <a:pt x="2258487" y="205712"/>
                  <a:pt x="2258487" y="211588"/>
                  <a:pt x="2258487" y="215506"/>
                </a:cubicBezTo>
                <a:cubicBezTo>
                  <a:pt x="2260541" y="215506"/>
                  <a:pt x="2262593" y="215506"/>
                  <a:pt x="2262593" y="215506"/>
                </a:cubicBezTo>
                <a:cubicBezTo>
                  <a:pt x="2266699" y="211588"/>
                  <a:pt x="2268754" y="207673"/>
                  <a:pt x="2268754" y="201793"/>
                </a:cubicBezTo>
                <a:cubicBezTo>
                  <a:pt x="2268754" y="199833"/>
                  <a:pt x="2266699" y="199833"/>
                  <a:pt x="2264644" y="197875"/>
                </a:cubicBezTo>
                <a:close/>
                <a:moveTo>
                  <a:pt x="2361137" y="182202"/>
                </a:moveTo>
                <a:cubicBezTo>
                  <a:pt x="2363189" y="182202"/>
                  <a:pt x="2363189" y="182202"/>
                  <a:pt x="2365242" y="182202"/>
                </a:cubicBezTo>
                <a:cubicBezTo>
                  <a:pt x="2365242" y="182202"/>
                  <a:pt x="2365242" y="184162"/>
                  <a:pt x="2365242" y="184162"/>
                </a:cubicBezTo>
                <a:cubicBezTo>
                  <a:pt x="2363189" y="184162"/>
                  <a:pt x="2363189" y="182202"/>
                  <a:pt x="2361137" y="182202"/>
                </a:cubicBezTo>
                <a:close/>
                <a:moveTo>
                  <a:pt x="2198950" y="129306"/>
                </a:moveTo>
                <a:cubicBezTo>
                  <a:pt x="2192791" y="131264"/>
                  <a:pt x="2192791" y="135182"/>
                  <a:pt x="2194845" y="139100"/>
                </a:cubicBezTo>
                <a:cubicBezTo>
                  <a:pt x="2197924" y="137141"/>
                  <a:pt x="2199463" y="135672"/>
                  <a:pt x="2199977" y="134203"/>
                </a:cubicBezTo>
                <a:cubicBezTo>
                  <a:pt x="2200489" y="132733"/>
                  <a:pt x="2199977" y="131265"/>
                  <a:pt x="2198950" y="129306"/>
                </a:cubicBezTo>
                <a:close/>
                <a:moveTo>
                  <a:pt x="2272857" y="127345"/>
                </a:moveTo>
                <a:cubicBezTo>
                  <a:pt x="2266699" y="135182"/>
                  <a:pt x="2260541" y="143018"/>
                  <a:pt x="2254382" y="148897"/>
                </a:cubicBezTo>
                <a:cubicBezTo>
                  <a:pt x="2248222" y="156734"/>
                  <a:pt x="2250275" y="162611"/>
                  <a:pt x="2252326" y="170446"/>
                </a:cubicBezTo>
                <a:cubicBezTo>
                  <a:pt x="2256436" y="172405"/>
                  <a:pt x="2260541" y="172405"/>
                  <a:pt x="2260541" y="168488"/>
                </a:cubicBezTo>
                <a:cubicBezTo>
                  <a:pt x="2260541" y="166528"/>
                  <a:pt x="2260541" y="164571"/>
                  <a:pt x="2260541" y="164571"/>
                </a:cubicBezTo>
                <a:cubicBezTo>
                  <a:pt x="2254382" y="156734"/>
                  <a:pt x="2258487" y="150855"/>
                  <a:pt x="2268754" y="144979"/>
                </a:cubicBezTo>
                <a:cubicBezTo>
                  <a:pt x="2268754" y="144979"/>
                  <a:pt x="2270805" y="146937"/>
                  <a:pt x="2272857" y="148897"/>
                </a:cubicBezTo>
                <a:cubicBezTo>
                  <a:pt x="2272857" y="141060"/>
                  <a:pt x="2272857" y="135182"/>
                  <a:pt x="2272857" y="127345"/>
                </a:cubicBezTo>
                <a:close/>
                <a:moveTo>
                  <a:pt x="2256436" y="125387"/>
                </a:moveTo>
                <a:cubicBezTo>
                  <a:pt x="2254382" y="127345"/>
                  <a:pt x="2254382" y="129306"/>
                  <a:pt x="2252326" y="133224"/>
                </a:cubicBezTo>
                <a:cubicBezTo>
                  <a:pt x="2254382" y="133224"/>
                  <a:pt x="2254382" y="133224"/>
                  <a:pt x="2256436" y="133224"/>
                </a:cubicBezTo>
                <a:cubicBezTo>
                  <a:pt x="2256436" y="131264"/>
                  <a:pt x="2258487" y="129306"/>
                  <a:pt x="2256436" y="125387"/>
                </a:cubicBezTo>
                <a:close/>
                <a:moveTo>
                  <a:pt x="2274911" y="113633"/>
                </a:moveTo>
                <a:lnTo>
                  <a:pt x="2274380" y="116672"/>
                </a:lnTo>
                <a:lnTo>
                  <a:pt x="2270051" y="118273"/>
                </a:lnTo>
                <a:close/>
                <a:moveTo>
                  <a:pt x="2213321" y="103835"/>
                </a:moveTo>
                <a:cubicBezTo>
                  <a:pt x="2213321" y="103835"/>
                  <a:pt x="2211269" y="103835"/>
                  <a:pt x="2207163" y="105796"/>
                </a:cubicBezTo>
                <a:cubicBezTo>
                  <a:pt x="2209215" y="105796"/>
                  <a:pt x="2211269" y="107754"/>
                  <a:pt x="2211269" y="107754"/>
                </a:cubicBezTo>
                <a:cubicBezTo>
                  <a:pt x="2211269" y="107754"/>
                  <a:pt x="2213321" y="107754"/>
                  <a:pt x="2215376" y="105796"/>
                </a:cubicBezTo>
                <a:cubicBezTo>
                  <a:pt x="2215376" y="105796"/>
                  <a:pt x="2213321" y="103835"/>
                  <a:pt x="2213321" y="103835"/>
                </a:cubicBezTo>
                <a:close/>
                <a:moveTo>
                  <a:pt x="2217427" y="90123"/>
                </a:moveTo>
                <a:cubicBezTo>
                  <a:pt x="2217427" y="92083"/>
                  <a:pt x="2217427" y="94040"/>
                  <a:pt x="2217427" y="97959"/>
                </a:cubicBezTo>
                <a:cubicBezTo>
                  <a:pt x="2217427" y="97959"/>
                  <a:pt x="2219481" y="97959"/>
                  <a:pt x="2219481" y="97959"/>
                </a:cubicBezTo>
                <a:cubicBezTo>
                  <a:pt x="2221533" y="94040"/>
                  <a:pt x="2221533" y="92083"/>
                  <a:pt x="2221533" y="90123"/>
                </a:cubicBezTo>
                <a:cubicBezTo>
                  <a:pt x="2219481" y="90123"/>
                  <a:pt x="2219481" y="90123"/>
                  <a:pt x="2217427" y="90123"/>
                </a:cubicBezTo>
                <a:close/>
                <a:moveTo>
                  <a:pt x="2198950" y="82286"/>
                </a:moveTo>
                <a:cubicBezTo>
                  <a:pt x="2192791" y="86204"/>
                  <a:pt x="2192791" y="90123"/>
                  <a:pt x="2192791" y="96001"/>
                </a:cubicBezTo>
                <a:cubicBezTo>
                  <a:pt x="2192791" y="101877"/>
                  <a:pt x="2192791" y="105796"/>
                  <a:pt x="2192791" y="111672"/>
                </a:cubicBezTo>
                <a:cubicBezTo>
                  <a:pt x="2192791" y="115589"/>
                  <a:pt x="2186633" y="121468"/>
                  <a:pt x="2194845" y="125387"/>
                </a:cubicBezTo>
                <a:cubicBezTo>
                  <a:pt x="2197924" y="118529"/>
                  <a:pt x="2199977" y="109714"/>
                  <a:pt x="2200747" y="101632"/>
                </a:cubicBezTo>
                <a:cubicBezTo>
                  <a:pt x="2201517" y="93551"/>
                  <a:pt x="2201004" y="86204"/>
                  <a:pt x="2198950" y="82286"/>
                </a:cubicBezTo>
                <a:close/>
                <a:moveTo>
                  <a:pt x="2170209" y="76409"/>
                </a:moveTo>
                <a:cubicBezTo>
                  <a:pt x="2170209" y="76409"/>
                  <a:pt x="2172261" y="76409"/>
                  <a:pt x="2172261" y="76409"/>
                </a:cubicBezTo>
                <a:cubicBezTo>
                  <a:pt x="2172261" y="76409"/>
                  <a:pt x="2172261" y="78367"/>
                  <a:pt x="2170209" y="80328"/>
                </a:cubicBezTo>
                <a:cubicBezTo>
                  <a:pt x="2170209" y="80328"/>
                  <a:pt x="2168157" y="80328"/>
                  <a:pt x="2164051" y="78367"/>
                </a:cubicBezTo>
                <a:cubicBezTo>
                  <a:pt x="2168157" y="76409"/>
                  <a:pt x="2168157" y="76409"/>
                  <a:pt x="2170209" y="76409"/>
                </a:cubicBezTo>
                <a:close/>
                <a:moveTo>
                  <a:pt x="2328289" y="0"/>
                </a:moveTo>
                <a:cubicBezTo>
                  <a:pt x="2330341" y="9798"/>
                  <a:pt x="2332396" y="17634"/>
                  <a:pt x="2332396" y="25471"/>
                </a:cubicBezTo>
                <a:cubicBezTo>
                  <a:pt x="2334448" y="66612"/>
                  <a:pt x="2336502" y="105796"/>
                  <a:pt x="2338553" y="146937"/>
                </a:cubicBezTo>
                <a:cubicBezTo>
                  <a:pt x="2338553" y="160653"/>
                  <a:pt x="2338553" y="176323"/>
                  <a:pt x="2338553" y="190038"/>
                </a:cubicBezTo>
                <a:cubicBezTo>
                  <a:pt x="2357029" y="201793"/>
                  <a:pt x="2346765" y="221384"/>
                  <a:pt x="2352926" y="237057"/>
                </a:cubicBezTo>
                <a:cubicBezTo>
                  <a:pt x="2352926" y="239016"/>
                  <a:pt x="2354978" y="240977"/>
                  <a:pt x="2359083" y="248813"/>
                </a:cubicBezTo>
                <a:cubicBezTo>
                  <a:pt x="2361137" y="237057"/>
                  <a:pt x="2365242" y="231180"/>
                  <a:pt x="2365242" y="225304"/>
                </a:cubicBezTo>
                <a:cubicBezTo>
                  <a:pt x="2363189" y="213548"/>
                  <a:pt x="2365242" y="203753"/>
                  <a:pt x="2367295" y="191996"/>
                </a:cubicBezTo>
                <a:cubicBezTo>
                  <a:pt x="2369347" y="182202"/>
                  <a:pt x="2369347" y="172405"/>
                  <a:pt x="2369347" y="160653"/>
                </a:cubicBezTo>
                <a:cubicBezTo>
                  <a:pt x="2369347" y="137142"/>
                  <a:pt x="2369347" y="111672"/>
                  <a:pt x="2367295" y="88163"/>
                </a:cubicBezTo>
                <a:cubicBezTo>
                  <a:pt x="2375507" y="113633"/>
                  <a:pt x="2377559" y="137142"/>
                  <a:pt x="2377559" y="162611"/>
                </a:cubicBezTo>
                <a:cubicBezTo>
                  <a:pt x="2377559" y="168488"/>
                  <a:pt x="2377559" y="172405"/>
                  <a:pt x="2385772" y="174365"/>
                </a:cubicBezTo>
                <a:cubicBezTo>
                  <a:pt x="2398089" y="170446"/>
                  <a:pt x="2391932" y="158692"/>
                  <a:pt x="2396038" y="152813"/>
                </a:cubicBezTo>
                <a:cubicBezTo>
                  <a:pt x="2398089" y="150855"/>
                  <a:pt x="2400144" y="150855"/>
                  <a:pt x="2402196" y="148897"/>
                </a:cubicBezTo>
                <a:cubicBezTo>
                  <a:pt x="2404250" y="148897"/>
                  <a:pt x="2406301" y="150855"/>
                  <a:pt x="2408356" y="150855"/>
                </a:cubicBezTo>
                <a:cubicBezTo>
                  <a:pt x="2410407" y="156734"/>
                  <a:pt x="2412461" y="162611"/>
                  <a:pt x="2412461" y="168488"/>
                </a:cubicBezTo>
                <a:cubicBezTo>
                  <a:pt x="2408356" y="184162"/>
                  <a:pt x="2404250" y="199833"/>
                  <a:pt x="2400144" y="215506"/>
                </a:cubicBezTo>
                <a:cubicBezTo>
                  <a:pt x="2398089" y="223343"/>
                  <a:pt x="2396038" y="229222"/>
                  <a:pt x="2396038" y="237057"/>
                </a:cubicBezTo>
                <a:cubicBezTo>
                  <a:pt x="2398089" y="270362"/>
                  <a:pt x="2396038" y="303667"/>
                  <a:pt x="2391932" y="338933"/>
                </a:cubicBezTo>
                <a:cubicBezTo>
                  <a:pt x="2391932" y="348727"/>
                  <a:pt x="2391932" y="356566"/>
                  <a:pt x="2393983" y="366360"/>
                </a:cubicBezTo>
                <a:lnTo>
                  <a:pt x="2393983" y="370279"/>
                </a:lnTo>
                <a:cubicBezTo>
                  <a:pt x="2393983" y="370279"/>
                  <a:pt x="2396038" y="370279"/>
                  <a:pt x="2396038" y="370279"/>
                </a:cubicBezTo>
                <a:cubicBezTo>
                  <a:pt x="2396038" y="372238"/>
                  <a:pt x="2396038" y="374198"/>
                  <a:pt x="2393983" y="378115"/>
                </a:cubicBezTo>
                <a:cubicBezTo>
                  <a:pt x="2393983" y="378115"/>
                  <a:pt x="2393983" y="378115"/>
                  <a:pt x="2391932" y="378115"/>
                </a:cubicBezTo>
                <a:cubicBezTo>
                  <a:pt x="2393983" y="380075"/>
                  <a:pt x="2396038" y="385952"/>
                  <a:pt x="2391932" y="389871"/>
                </a:cubicBezTo>
                <a:cubicBezTo>
                  <a:pt x="2389878" y="391829"/>
                  <a:pt x="2387825" y="393789"/>
                  <a:pt x="2385772" y="395747"/>
                </a:cubicBezTo>
                <a:cubicBezTo>
                  <a:pt x="2385772" y="399664"/>
                  <a:pt x="2385772" y="401626"/>
                  <a:pt x="2385772" y="405544"/>
                </a:cubicBezTo>
                <a:cubicBezTo>
                  <a:pt x="2387825" y="405544"/>
                  <a:pt x="2387825" y="403585"/>
                  <a:pt x="2389878" y="403585"/>
                </a:cubicBezTo>
                <a:cubicBezTo>
                  <a:pt x="2391932" y="401626"/>
                  <a:pt x="2391932" y="397707"/>
                  <a:pt x="2393983" y="395747"/>
                </a:cubicBezTo>
                <a:cubicBezTo>
                  <a:pt x="2402196" y="389871"/>
                  <a:pt x="2410407" y="391829"/>
                  <a:pt x="2412461" y="399664"/>
                </a:cubicBezTo>
                <a:cubicBezTo>
                  <a:pt x="2412461" y="401626"/>
                  <a:pt x="2412461" y="401626"/>
                  <a:pt x="2414514" y="403585"/>
                </a:cubicBezTo>
                <a:cubicBezTo>
                  <a:pt x="2414514" y="401626"/>
                  <a:pt x="2416569" y="401626"/>
                  <a:pt x="2418619" y="399664"/>
                </a:cubicBezTo>
                <a:cubicBezTo>
                  <a:pt x="2418619" y="405544"/>
                  <a:pt x="2418619" y="409462"/>
                  <a:pt x="2416569" y="413380"/>
                </a:cubicBezTo>
                <a:cubicBezTo>
                  <a:pt x="2416569" y="417299"/>
                  <a:pt x="2418619" y="421217"/>
                  <a:pt x="2420674" y="425136"/>
                </a:cubicBezTo>
                <a:cubicBezTo>
                  <a:pt x="2420674" y="421217"/>
                  <a:pt x="2420674" y="419257"/>
                  <a:pt x="2420674" y="415338"/>
                </a:cubicBezTo>
                <a:cubicBezTo>
                  <a:pt x="2420674" y="405544"/>
                  <a:pt x="2424780" y="395747"/>
                  <a:pt x="2426832" y="385952"/>
                </a:cubicBezTo>
                <a:cubicBezTo>
                  <a:pt x="2430937" y="348727"/>
                  <a:pt x="2432992" y="313464"/>
                  <a:pt x="2435045" y="276242"/>
                </a:cubicBezTo>
                <a:cubicBezTo>
                  <a:pt x="2435045" y="272323"/>
                  <a:pt x="2437098" y="270362"/>
                  <a:pt x="2441204" y="264484"/>
                </a:cubicBezTo>
                <a:cubicBezTo>
                  <a:pt x="2447363" y="270362"/>
                  <a:pt x="2451468" y="274282"/>
                  <a:pt x="2455573" y="278200"/>
                </a:cubicBezTo>
                <a:cubicBezTo>
                  <a:pt x="2455573" y="286035"/>
                  <a:pt x="2455573" y="293873"/>
                  <a:pt x="2457626" y="301709"/>
                </a:cubicBezTo>
                <a:cubicBezTo>
                  <a:pt x="2459680" y="307586"/>
                  <a:pt x="2463787" y="311504"/>
                  <a:pt x="2467892" y="315424"/>
                </a:cubicBezTo>
                <a:cubicBezTo>
                  <a:pt x="2467892" y="313464"/>
                  <a:pt x="2469943" y="311504"/>
                  <a:pt x="2469943" y="311504"/>
                </a:cubicBezTo>
                <a:cubicBezTo>
                  <a:pt x="2471998" y="305628"/>
                  <a:pt x="2471998" y="301709"/>
                  <a:pt x="2474050" y="295833"/>
                </a:cubicBezTo>
                <a:cubicBezTo>
                  <a:pt x="2482262" y="297791"/>
                  <a:pt x="2480209" y="301709"/>
                  <a:pt x="2478156" y="303667"/>
                </a:cubicBezTo>
                <a:cubicBezTo>
                  <a:pt x="2478156" y="305628"/>
                  <a:pt x="2474050" y="307586"/>
                  <a:pt x="2478156" y="309546"/>
                </a:cubicBezTo>
                <a:cubicBezTo>
                  <a:pt x="2478156" y="309546"/>
                  <a:pt x="2480209" y="311504"/>
                  <a:pt x="2480209" y="311504"/>
                </a:cubicBezTo>
                <a:cubicBezTo>
                  <a:pt x="2480209" y="311504"/>
                  <a:pt x="2478156" y="311504"/>
                  <a:pt x="2478156" y="311504"/>
                </a:cubicBezTo>
                <a:cubicBezTo>
                  <a:pt x="2482262" y="323260"/>
                  <a:pt x="2484317" y="336974"/>
                  <a:pt x="2484317" y="350687"/>
                </a:cubicBezTo>
                <a:cubicBezTo>
                  <a:pt x="2484317" y="364402"/>
                  <a:pt x="2484317" y="378115"/>
                  <a:pt x="2486368" y="389871"/>
                </a:cubicBezTo>
                <a:cubicBezTo>
                  <a:pt x="2486368" y="399664"/>
                  <a:pt x="2488423" y="411420"/>
                  <a:pt x="2490474" y="421217"/>
                </a:cubicBezTo>
                <a:cubicBezTo>
                  <a:pt x="2492528" y="419257"/>
                  <a:pt x="2496635" y="417299"/>
                  <a:pt x="2500740" y="415338"/>
                </a:cubicBezTo>
                <a:cubicBezTo>
                  <a:pt x="2498686" y="423176"/>
                  <a:pt x="2496635" y="429053"/>
                  <a:pt x="2492528" y="434930"/>
                </a:cubicBezTo>
                <a:cubicBezTo>
                  <a:pt x="2492528" y="432972"/>
                  <a:pt x="2490474" y="432972"/>
                  <a:pt x="2490474" y="431011"/>
                </a:cubicBezTo>
                <a:cubicBezTo>
                  <a:pt x="2490474" y="436889"/>
                  <a:pt x="2492528" y="442767"/>
                  <a:pt x="2492528" y="446685"/>
                </a:cubicBezTo>
                <a:cubicBezTo>
                  <a:pt x="2492528" y="446685"/>
                  <a:pt x="2494580" y="446685"/>
                  <a:pt x="2494580" y="446685"/>
                </a:cubicBezTo>
                <a:cubicBezTo>
                  <a:pt x="2494580" y="446685"/>
                  <a:pt x="2494580" y="448646"/>
                  <a:pt x="2496635" y="448646"/>
                </a:cubicBezTo>
                <a:cubicBezTo>
                  <a:pt x="2496635" y="448646"/>
                  <a:pt x="2494580" y="448646"/>
                  <a:pt x="2494580" y="448646"/>
                </a:cubicBezTo>
                <a:cubicBezTo>
                  <a:pt x="2496635" y="458440"/>
                  <a:pt x="2496635" y="470195"/>
                  <a:pt x="2496635" y="479989"/>
                </a:cubicBezTo>
                <a:cubicBezTo>
                  <a:pt x="2496635" y="481950"/>
                  <a:pt x="2496635" y="483908"/>
                  <a:pt x="2496635" y="485868"/>
                </a:cubicBezTo>
                <a:cubicBezTo>
                  <a:pt x="2496635" y="489787"/>
                  <a:pt x="2496635" y="493706"/>
                  <a:pt x="2494580" y="497623"/>
                </a:cubicBezTo>
                <a:cubicBezTo>
                  <a:pt x="2494580" y="499581"/>
                  <a:pt x="2496635" y="499581"/>
                  <a:pt x="2496635" y="501541"/>
                </a:cubicBezTo>
                <a:cubicBezTo>
                  <a:pt x="2498686" y="501541"/>
                  <a:pt x="2498686" y="501541"/>
                  <a:pt x="2500740" y="501541"/>
                </a:cubicBezTo>
                <a:cubicBezTo>
                  <a:pt x="2498686" y="507418"/>
                  <a:pt x="2502793" y="513297"/>
                  <a:pt x="2496635" y="519172"/>
                </a:cubicBezTo>
                <a:cubicBezTo>
                  <a:pt x="2494580" y="521133"/>
                  <a:pt x="2492528" y="523091"/>
                  <a:pt x="2492528" y="525049"/>
                </a:cubicBezTo>
                <a:cubicBezTo>
                  <a:pt x="2494580" y="534846"/>
                  <a:pt x="2492528" y="542682"/>
                  <a:pt x="2488423" y="552479"/>
                </a:cubicBezTo>
                <a:cubicBezTo>
                  <a:pt x="2488423" y="560317"/>
                  <a:pt x="2488423" y="568150"/>
                  <a:pt x="2488423" y="575987"/>
                </a:cubicBezTo>
                <a:cubicBezTo>
                  <a:pt x="2492528" y="575987"/>
                  <a:pt x="2498686" y="575987"/>
                  <a:pt x="2502793" y="574030"/>
                </a:cubicBezTo>
                <a:cubicBezTo>
                  <a:pt x="2502793" y="572069"/>
                  <a:pt x="2502793" y="572069"/>
                  <a:pt x="2502793" y="570110"/>
                </a:cubicBezTo>
                <a:cubicBezTo>
                  <a:pt x="2500740" y="570110"/>
                  <a:pt x="2498686" y="572069"/>
                  <a:pt x="2498686" y="570110"/>
                </a:cubicBezTo>
                <a:cubicBezTo>
                  <a:pt x="2498686" y="566193"/>
                  <a:pt x="2500740" y="562275"/>
                  <a:pt x="2502793" y="560317"/>
                </a:cubicBezTo>
                <a:cubicBezTo>
                  <a:pt x="2500740" y="540726"/>
                  <a:pt x="2504847" y="519172"/>
                  <a:pt x="2504847" y="497623"/>
                </a:cubicBezTo>
                <a:cubicBezTo>
                  <a:pt x="2508952" y="499581"/>
                  <a:pt x="2511004" y="501541"/>
                  <a:pt x="2513059" y="505460"/>
                </a:cubicBezTo>
                <a:cubicBezTo>
                  <a:pt x="2513059" y="493706"/>
                  <a:pt x="2511004" y="481950"/>
                  <a:pt x="2511004" y="472156"/>
                </a:cubicBezTo>
                <a:cubicBezTo>
                  <a:pt x="2515111" y="470195"/>
                  <a:pt x="2517165" y="472156"/>
                  <a:pt x="2517165" y="474113"/>
                </a:cubicBezTo>
                <a:cubicBezTo>
                  <a:pt x="2517165" y="472156"/>
                  <a:pt x="2517165" y="472156"/>
                  <a:pt x="2517165" y="470195"/>
                </a:cubicBezTo>
                <a:cubicBezTo>
                  <a:pt x="2511004" y="413380"/>
                  <a:pt x="2506899" y="358524"/>
                  <a:pt x="2500740" y="301709"/>
                </a:cubicBezTo>
                <a:cubicBezTo>
                  <a:pt x="2500740" y="297791"/>
                  <a:pt x="2500740" y="291915"/>
                  <a:pt x="2500740" y="282117"/>
                </a:cubicBezTo>
                <a:cubicBezTo>
                  <a:pt x="2504847" y="287994"/>
                  <a:pt x="2508952" y="289955"/>
                  <a:pt x="2508952" y="291915"/>
                </a:cubicBezTo>
                <a:cubicBezTo>
                  <a:pt x="2508952" y="289955"/>
                  <a:pt x="2511004" y="287994"/>
                  <a:pt x="2513059" y="284075"/>
                </a:cubicBezTo>
                <a:cubicBezTo>
                  <a:pt x="2513059" y="289955"/>
                  <a:pt x="2513059" y="293873"/>
                  <a:pt x="2513059" y="299749"/>
                </a:cubicBezTo>
                <a:cubicBezTo>
                  <a:pt x="2515111" y="309546"/>
                  <a:pt x="2517165" y="317382"/>
                  <a:pt x="2519216" y="327178"/>
                </a:cubicBezTo>
                <a:cubicBezTo>
                  <a:pt x="2521270" y="327178"/>
                  <a:pt x="2525376" y="325220"/>
                  <a:pt x="2529482" y="325220"/>
                </a:cubicBezTo>
                <a:cubicBezTo>
                  <a:pt x="2527428" y="329138"/>
                  <a:pt x="2523322" y="331095"/>
                  <a:pt x="2521270" y="333055"/>
                </a:cubicBezTo>
                <a:cubicBezTo>
                  <a:pt x="2525376" y="366360"/>
                  <a:pt x="2527428" y="401626"/>
                  <a:pt x="2529482" y="434930"/>
                </a:cubicBezTo>
                <a:cubicBezTo>
                  <a:pt x="2529482" y="440809"/>
                  <a:pt x="2531534" y="448646"/>
                  <a:pt x="2531534" y="454522"/>
                </a:cubicBezTo>
                <a:cubicBezTo>
                  <a:pt x="2531534" y="456480"/>
                  <a:pt x="2533589" y="458440"/>
                  <a:pt x="2535641" y="458440"/>
                </a:cubicBezTo>
                <a:cubicBezTo>
                  <a:pt x="2539746" y="460398"/>
                  <a:pt x="2545906" y="462358"/>
                  <a:pt x="2552065" y="466277"/>
                </a:cubicBezTo>
                <a:cubicBezTo>
                  <a:pt x="2562328" y="431011"/>
                  <a:pt x="2564383" y="397707"/>
                  <a:pt x="2578752" y="360484"/>
                </a:cubicBezTo>
                <a:cubicBezTo>
                  <a:pt x="2582859" y="372238"/>
                  <a:pt x="2578752" y="380075"/>
                  <a:pt x="2578752" y="389871"/>
                </a:cubicBezTo>
                <a:cubicBezTo>
                  <a:pt x="2578752" y="389871"/>
                  <a:pt x="2580807" y="387911"/>
                  <a:pt x="2582859" y="387911"/>
                </a:cubicBezTo>
                <a:cubicBezTo>
                  <a:pt x="2582859" y="389871"/>
                  <a:pt x="2582859" y="393789"/>
                  <a:pt x="2582859" y="395747"/>
                </a:cubicBezTo>
                <a:cubicBezTo>
                  <a:pt x="2586965" y="393789"/>
                  <a:pt x="2591070" y="391829"/>
                  <a:pt x="2595176" y="389871"/>
                </a:cubicBezTo>
                <a:cubicBezTo>
                  <a:pt x="2597231" y="389871"/>
                  <a:pt x="2601337" y="389871"/>
                  <a:pt x="2603389" y="389871"/>
                </a:cubicBezTo>
                <a:cubicBezTo>
                  <a:pt x="2605443" y="383994"/>
                  <a:pt x="2609548" y="378115"/>
                  <a:pt x="2611600" y="374198"/>
                </a:cubicBezTo>
                <a:cubicBezTo>
                  <a:pt x="2611600" y="380075"/>
                  <a:pt x="2609548" y="385952"/>
                  <a:pt x="2609548" y="393789"/>
                </a:cubicBezTo>
                <a:cubicBezTo>
                  <a:pt x="2611600" y="395747"/>
                  <a:pt x="2611600" y="395747"/>
                  <a:pt x="2613655" y="397707"/>
                </a:cubicBezTo>
                <a:cubicBezTo>
                  <a:pt x="2615707" y="397707"/>
                  <a:pt x="2615707" y="399664"/>
                  <a:pt x="2617761" y="401626"/>
                </a:cubicBezTo>
                <a:cubicBezTo>
                  <a:pt x="2619813" y="385952"/>
                  <a:pt x="2619813" y="370279"/>
                  <a:pt x="2621867" y="354606"/>
                </a:cubicBezTo>
                <a:cubicBezTo>
                  <a:pt x="2623919" y="340893"/>
                  <a:pt x="2625973" y="327178"/>
                  <a:pt x="2628024" y="313464"/>
                </a:cubicBezTo>
                <a:cubicBezTo>
                  <a:pt x="2632131" y="313464"/>
                  <a:pt x="2634185" y="313464"/>
                  <a:pt x="2636237" y="313464"/>
                </a:cubicBezTo>
                <a:cubicBezTo>
                  <a:pt x="2636237" y="323260"/>
                  <a:pt x="2634185" y="333055"/>
                  <a:pt x="2636237" y="342851"/>
                </a:cubicBezTo>
                <a:cubicBezTo>
                  <a:pt x="2640343" y="340893"/>
                  <a:pt x="2642395" y="338933"/>
                  <a:pt x="2644449" y="338933"/>
                </a:cubicBezTo>
                <a:cubicBezTo>
                  <a:pt x="2646504" y="340893"/>
                  <a:pt x="2648554" y="342851"/>
                  <a:pt x="2650609" y="344811"/>
                </a:cubicBezTo>
                <a:cubicBezTo>
                  <a:pt x="2652661" y="340893"/>
                  <a:pt x="2652661" y="338933"/>
                  <a:pt x="2654713" y="335013"/>
                </a:cubicBezTo>
                <a:cubicBezTo>
                  <a:pt x="2656766" y="340893"/>
                  <a:pt x="2662925" y="346769"/>
                  <a:pt x="2654713" y="350687"/>
                </a:cubicBezTo>
                <a:cubicBezTo>
                  <a:pt x="2636237" y="346769"/>
                  <a:pt x="2634185" y="348727"/>
                  <a:pt x="2634185" y="362442"/>
                </a:cubicBezTo>
                <a:cubicBezTo>
                  <a:pt x="2634185" y="372238"/>
                  <a:pt x="2636237" y="380075"/>
                  <a:pt x="2638290" y="389871"/>
                </a:cubicBezTo>
                <a:cubicBezTo>
                  <a:pt x="2638290" y="389871"/>
                  <a:pt x="2640343" y="389871"/>
                  <a:pt x="2640343" y="391829"/>
                </a:cubicBezTo>
                <a:cubicBezTo>
                  <a:pt x="2642395" y="389871"/>
                  <a:pt x="2644449" y="387911"/>
                  <a:pt x="2646504" y="385952"/>
                </a:cubicBezTo>
                <a:cubicBezTo>
                  <a:pt x="2646504" y="391829"/>
                  <a:pt x="2644449" y="397707"/>
                  <a:pt x="2640343" y="399664"/>
                </a:cubicBezTo>
                <a:cubicBezTo>
                  <a:pt x="2630080" y="405544"/>
                  <a:pt x="2630080" y="411420"/>
                  <a:pt x="2628024" y="421217"/>
                </a:cubicBezTo>
                <a:cubicBezTo>
                  <a:pt x="2628024" y="423176"/>
                  <a:pt x="2628024" y="423176"/>
                  <a:pt x="2628024" y="425136"/>
                </a:cubicBezTo>
                <a:cubicBezTo>
                  <a:pt x="2628024" y="427093"/>
                  <a:pt x="2628024" y="429053"/>
                  <a:pt x="2628024" y="431011"/>
                </a:cubicBezTo>
                <a:cubicBezTo>
                  <a:pt x="2630080" y="444728"/>
                  <a:pt x="2632131" y="458440"/>
                  <a:pt x="2632131" y="472156"/>
                </a:cubicBezTo>
                <a:cubicBezTo>
                  <a:pt x="2632131" y="470195"/>
                  <a:pt x="2634185" y="468237"/>
                  <a:pt x="2634185" y="464316"/>
                </a:cubicBezTo>
                <a:cubicBezTo>
                  <a:pt x="2632131" y="483908"/>
                  <a:pt x="2634185" y="503500"/>
                  <a:pt x="2638290" y="523091"/>
                </a:cubicBezTo>
                <a:cubicBezTo>
                  <a:pt x="2640343" y="521133"/>
                  <a:pt x="2640343" y="519172"/>
                  <a:pt x="2642395" y="519172"/>
                </a:cubicBezTo>
                <a:cubicBezTo>
                  <a:pt x="2642395" y="515255"/>
                  <a:pt x="2644449" y="511336"/>
                  <a:pt x="2644449" y="507418"/>
                </a:cubicBezTo>
                <a:cubicBezTo>
                  <a:pt x="2644449" y="501541"/>
                  <a:pt x="2646504" y="493706"/>
                  <a:pt x="2646504" y="487827"/>
                </a:cubicBezTo>
                <a:cubicBezTo>
                  <a:pt x="2646504" y="487827"/>
                  <a:pt x="2646504" y="487827"/>
                  <a:pt x="2648554" y="487827"/>
                </a:cubicBezTo>
                <a:cubicBezTo>
                  <a:pt x="2648554" y="487827"/>
                  <a:pt x="2648554" y="485868"/>
                  <a:pt x="2648554" y="485868"/>
                </a:cubicBezTo>
                <a:cubicBezTo>
                  <a:pt x="2648554" y="481950"/>
                  <a:pt x="2650609" y="478031"/>
                  <a:pt x="2652661" y="476071"/>
                </a:cubicBezTo>
                <a:cubicBezTo>
                  <a:pt x="2656766" y="474113"/>
                  <a:pt x="2656766" y="472156"/>
                  <a:pt x="2656766" y="468237"/>
                </a:cubicBezTo>
                <a:cubicBezTo>
                  <a:pt x="2656766" y="466277"/>
                  <a:pt x="2658819" y="462358"/>
                  <a:pt x="2660873" y="456480"/>
                </a:cubicBezTo>
                <a:cubicBezTo>
                  <a:pt x="2662925" y="460398"/>
                  <a:pt x="2664979" y="462358"/>
                  <a:pt x="2662925" y="464316"/>
                </a:cubicBezTo>
                <a:cubicBezTo>
                  <a:pt x="2660873" y="472156"/>
                  <a:pt x="2656766" y="478031"/>
                  <a:pt x="2652661" y="485868"/>
                </a:cubicBezTo>
                <a:cubicBezTo>
                  <a:pt x="2654713" y="485868"/>
                  <a:pt x="2654713" y="487827"/>
                  <a:pt x="2656766" y="489787"/>
                </a:cubicBezTo>
                <a:cubicBezTo>
                  <a:pt x="2656766" y="489787"/>
                  <a:pt x="2658819" y="487827"/>
                  <a:pt x="2658819" y="487827"/>
                </a:cubicBezTo>
                <a:cubicBezTo>
                  <a:pt x="2660873" y="485868"/>
                  <a:pt x="2662925" y="481950"/>
                  <a:pt x="2664979" y="479989"/>
                </a:cubicBezTo>
                <a:cubicBezTo>
                  <a:pt x="2675242" y="478031"/>
                  <a:pt x="2675242" y="472156"/>
                  <a:pt x="2677298" y="466277"/>
                </a:cubicBezTo>
                <a:cubicBezTo>
                  <a:pt x="2677298" y="462358"/>
                  <a:pt x="2679348" y="458440"/>
                  <a:pt x="2679348" y="456480"/>
                </a:cubicBezTo>
                <a:cubicBezTo>
                  <a:pt x="2681403" y="452563"/>
                  <a:pt x="2685509" y="450603"/>
                  <a:pt x="2693722" y="450603"/>
                </a:cubicBezTo>
                <a:cubicBezTo>
                  <a:pt x="2689615" y="456480"/>
                  <a:pt x="2685509" y="462358"/>
                  <a:pt x="2681403" y="468237"/>
                </a:cubicBezTo>
                <a:cubicBezTo>
                  <a:pt x="2683455" y="470195"/>
                  <a:pt x="2685509" y="470195"/>
                  <a:pt x="2685509" y="472156"/>
                </a:cubicBezTo>
                <a:cubicBezTo>
                  <a:pt x="2706039" y="450603"/>
                  <a:pt x="2726570" y="427093"/>
                  <a:pt x="2747096" y="405544"/>
                </a:cubicBezTo>
                <a:cubicBezTo>
                  <a:pt x="2763521" y="387911"/>
                  <a:pt x="2777893" y="370279"/>
                  <a:pt x="2794318" y="354606"/>
                </a:cubicBezTo>
                <a:cubicBezTo>
                  <a:pt x="2818954" y="331095"/>
                  <a:pt x="2874384" y="225304"/>
                  <a:pt x="2901072" y="203753"/>
                </a:cubicBezTo>
                <a:cubicBezTo>
                  <a:pt x="2903126" y="201793"/>
                  <a:pt x="2903126" y="199833"/>
                  <a:pt x="2905178" y="197875"/>
                </a:cubicBezTo>
                <a:cubicBezTo>
                  <a:pt x="2923657" y="176323"/>
                  <a:pt x="2942132" y="152813"/>
                  <a:pt x="2964715" y="131264"/>
                </a:cubicBezTo>
                <a:cubicBezTo>
                  <a:pt x="2981138" y="115589"/>
                  <a:pt x="3001668" y="101877"/>
                  <a:pt x="3020147" y="88163"/>
                </a:cubicBezTo>
                <a:cubicBezTo>
                  <a:pt x="3030411" y="80328"/>
                  <a:pt x="3042729" y="72491"/>
                  <a:pt x="3055047" y="64652"/>
                </a:cubicBezTo>
                <a:cubicBezTo>
                  <a:pt x="3057099" y="62694"/>
                  <a:pt x="3059152" y="62694"/>
                  <a:pt x="3061204" y="62694"/>
                </a:cubicBezTo>
                <a:cubicBezTo>
                  <a:pt x="3069416" y="58776"/>
                  <a:pt x="3077630" y="56818"/>
                  <a:pt x="3081735" y="52899"/>
                </a:cubicBezTo>
                <a:cubicBezTo>
                  <a:pt x="3096107" y="43103"/>
                  <a:pt x="3110476" y="35265"/>
                  <a:pt x="3126902" y="35265"/>
                </a:cubicBezTo>
                <a:cubicBezTo>
                  <a:pt x="3151537" y="33308"/>
                  <a:pt x="3176173" y="29389"/>
                  <a:pt x="3200809" y="43103"/>
                </a:cubicBezTo>
                <a:cubicBezTo>
                  <a:pt x="3202861" y="45063"/>
                  <a:pt x="3204916" y="43103"/>
                  <a:pt x="3206967" y="43103"/>
                </a:cubicBezTo>
                <a:cubicBezTo>
                  <a:pt x="3215180" y="43103"/>
                  <a:pt x="3223391" y="41145"/>
                  <a:pt x="3229548" y="43103"/>
                </a:cubicBezTo>
                <a:cubicBezTo>
                  <a:pt x="3237761" y="45063"/>
                  <a:pt x="3245976" y="48981"/>
                  <a:pt x="3254185" y="50938"/>
                </a:cubicBezTo>
                <a:cubicBezTo>
                  <a:pt x="3262398" y="52899"/>
                  <a:pt x="3268558" y="58776"/>
                  <a:pt x="3276770" y="64652"/>
                </a:cubicBezTo>
                <a:cubicBezTo>
                  <a:pt x="3282928" y="68573"/>
                  <a:pt x="3287034" y="72491"/>
                  <a:pt x="3293194" y="76409"/>
                </a:cubicBezTo>
                <a:cubicBezTo>
                  <a:pt x="3307565" y="84243"/>
                  <a:pt x="3323988" y="90123"/>
                  <a:pt x="3334252" y="101877"/>
                </a:cubicBezTo>
                <a:cubicBezTo>
                  <a:pt x="3340411" y="107754"/>
                  <a:pt x="3348624" y="111672"/>
                  <a:pt x="3356837" y="115589"/>
                </a:cubicBezTo>
                <a:cubicBezTo>
                  <a:pt x="3369154" y="123427"/>
                  <a:pt x="3385578" y="127345"/>
                  <a:pt x="3389683" y="143018"/>
                </a:cubicBezTo>
                <a:cubicBezTo>
                  <a:pt x="3389683" y="144979"/>
                  <a:pt x="3391735" y="146937"/>
                  <a:pt x="3393790" y="146937"/>
                </a:cubicBezTo>
                <a:cubicBezTo>
                  <a:pt x="3404054" y="148897"/>
                  <a:pt x="3408159" y="156734"/>
                  <a:pt x="3414318" y="162611"/>
                </a:cubicBezTo>
                <a:cubicBezTo>
                  <a:pt x="3426637" y="172405"/>
                  <a:pt x="3436902" y="186120"/>
                  <a:pt x="3443061" y="199833"/>
                </a:cubicBezTo>
                <a:cubicBezTo>
                  <a:pt x="3445115" y="203753"/>
                  <a:pt x="3447167" y="207673"/>
                  <a:pt x="3451272" y="209631"/>
                </a:cubicBezTo>
                <a:cubicBezTo>
                  <a:pt x="3457432" y="217466"/>
                  <a:pt x="3465645" y="223343"/>
                  <a:pt x="3463591" y="235097"/>
                </a:cubicBezTo>
                <a:cubicBezTo>
                  <a:pt x="3461539" y="246853"/>
                  <a:pt x="3465645" y="256651"/>
                  <a:pt x="3471802" y="264484"/>
                </a:cubicBezTo>
                <a:cubicBezTo>
                  <a:pt x="3477963" y="272323"/>
                  <a:pt x="3480015" y="280158"/>
                  <a:pt x="3480015" y="289955"/>
                </a:cubicBezTo>
                <a:cubicBezTo>
                  <a:pt x="3480015" y="301709"/>
                  <a:pt x="3482068" y="315424"/>
                  <a:pt x="3480015" y="327178"/>
                </a:cubicBezTo>
                <a:cubicBezTo>
                  <a:pt x="3477963" y="340893"/>
                  <a:pt x="3471802" y="354606"/>
                  <a:pt x="3469750" y="368318"/>
                </a:cubicBezTo>
                <a:cubicBezTo>
                  <a:pt x="3463591" y="389871"/>
                  <a:pt x="3412266" y="481950"/>
                  <a:pt x="3406108" y="503500"/>
                </a:cubicBezTo>
                <a:cubicBezTo>
                  <a:pt x="3402002" y="519172"/>
                  <a:pt x="3393790" y="532888"/>
                  <a:pt x="3387630" y="546601"/>
                </a:cubicBezTo>
                <a:cubicBezTo>
                  <a:pt x="3385578" y="550519"/>
                  <a:pt x="3385578" y="554438"/>
                  <a:pt x="3381473" y="562275"/>
                </a:cubicBezTo>
                <a:cubicBezTo>
                  <a:pt x="3387630" y="562275"/>
                  <a:pt x="3391735" y="562275"/>
                  <a:pt x="3395843" y="560317"/>
                </a:cubicBezTo>
                <a:cubicBezTo>
                  <a:pt x="3404054" y="558357"/>
                  <a:pt x="3412266" y="554438"/>
                  <a:pt x="3420478" y="552479"/>
                </a:cubicBezTo>
                <a:cubicBezTo>
                  <a:pt x="3447167" y="540726"/>
                  <a:pt x="3473857" y="530928"/>
                  <a:pt x="3502599" y="519172"/>
                </a:cubicBezTo>
                <a:cubicBezTo>
                  <a:pt x="3504650" y="517215"/>
                  <a:pt x="3506705" y="515255"/>
                  <a:pt x="3506705" y="513297"/>
                </a:cubicBezTo>
                <a:cubicBezTo>
                  <a:pt x="3508757" y="509379"/>
                  <a:pt x="3510811" y="505460"/>
                  <a:pt x="3514915" y="503500"/>
                </a:cubicBezTo>
                <a:cubicBezTo>
                  <a:pt x="3521075" y="499581"/>
                  <a:pt x="3529287" y="497623"/>
                  <a:pt x="3533393" y="489787"/>
                </a:cubicBezTo>
                <a:cubicBezTo>
                  <a:pt x="3535445" y="497623"/>
                  <a:pt x="3531339" y="503500"/>
                  <a:pt x="3527233" y="507418"/>
                </a:cubicBezTo>
                <a:cubicBezTo>
                  <a:pt x="3529287" y="507418"/>
                  <a:pt x="3531339" y="505460"/>
                  <a:pt x="3531339" y="505460"/>
                </a:cubicBezTo>
                <a:cubicBezTo>
                  <a:pt x="3545711" y="499581"/>
                  <a:pt x="3560082" y="493706"/>
                  <a:pt x="3574453" y="487827"/>
                </a:cubicBezTo>
                <a:cubicBezTo>
                  <a:pt x="3576505" y="478031"/>
                  <a:pt x="3580611" y="468237"/>
                  <a:pt x="3586772" y="460398"/>
                </a:cubicBezTo>
                <a:cubicBezTo>
                  <a:pt x="3586772" y="462358"/>
                  <a:pt x="3588823" y="464316"/>
                  <a:pt x="3588823" y="466277"/>
                </a:cubicBezTo>
                <a:cubicBezTo>
                  <a:pt x="3588823" y="472156"/>
                  <a:pt x="3586772" y="478031"/>
                  <a:pt x="3584717" y="483908"/>
                </a:cubicBezTo>
                <a:cubicBezTo>
                  <a:pt x="3601141" y="476071"/>
                  <a:pt x="3619617" y="468237"/>
                  <a:pt x="3638095" y="460398"/>
                </a:cubicBezTo>
                <a:cubicBezTo>
                  <a:pt x="3652465" y="454522"/>
                  <a:pt x="3666837" y="452563"/>
                  <a:pt x="3681208" y="444728"/>
                </a:cubicBezTo>
                <a:cubicBezTo>
                  <a:pt x="3699684" y="434930"/>
                  <a:pt x="3720213" y="431011"/>
                  <a:pt x="3738692" y="425136"/>
                </a:cubicBezTo>
                <a:cubicBezTo>
                  <a:pt x="3740744" y="421217"/>
                  <a:pt x="3742799" y="419257"/>
                  <a:pt x="3744850" y="417299"/>
                </a:cubicBezTo>
                <a:cubicBezTo>
                  <a:pt x="3748956" y="411420"/>
                  <a:pt x="3755116" y="407502"/>
                  <a:pt x="3753061" y="397707"/>
                </a:cubicBezTo>
                <a:cubicBezTo>
                  <a:pt x="3746904" y="399664"/>
                  <a:pt x="3742799" y="401626"/>
                  <a:pt x="3738692" y="401626"/>
                </a:cubicBezTo>
                <a:cubicBezTo>
                  <a:pt x="3738692" y="387911"/>
                  <a:pt x="3746904" y="383994"/>
                  <a:pt x="3757168" y="382033"/>
                </a:cubicBezTo>
                <a:cubicBezTo>
                  <a:pt x="3757168" y="383994"/>
                  <a:pt x="3759222" y="385952"/>
                  <a:pt x="3759222" y="389871"/>
                </a:cubicBezTo>
                <a:cubicBezTo>
                  <a:pt x="3767434" y="387911"/>
                  <a:pt x="3773592" y="382033"/>
                  <a:pt x="3777698" y="376155"/>
                </a:cubicBezTo>
                <a:cubicBezTo>
                  <a:pt x="3775646" y="372238"/>
                  <a:pt x="3771541" y="366360"/>
                  <a:pt x="3771541" y="364402"/>
                </a:cubicBezTo>
                <a:cubicBezTo>
                  <a:pt x="3769485" y="362442"/>
                  <a:pt x="3767434" y="360484"/>
                  <a:pt x="3765380" y="356566"/>
                </a:cubicBezTo>
                <a:cubicBezTo>
                  <a:pt x="3769485" y="352648"/>
                  <a:pt x="3771541" y="346769"/>
                  <a:pt x="3777698" y="342851"/>
                </a:cubicBezTo>
                <a:cubicBezTo>
                  <a:pt x="3781803" y="338933"/>
                  <a:pt x="3787964" y="340893"/>
                  <a:pt x="3787964" y="346769"/>
                </a:cubicBezTo>
                <a:cubicBezTo>
                  <a:pt x="3787964" y="352648"/>
                  <a:pt x="3790017" y="358524"/>
                  <a:pt x="3790017" y="364402"/>
                </a:cubicBezTo>
                <a:cubicBezTo>
                  <a:pt x="3792068" y="362442"/>
                  <a:pt x="3796176" y="360484"/>
                  <a:pt x="3798228" y="358524"/>
                </a:cubicBezTo>
                <a:cubicBezTo>
                  <a:pt x="3796176" y="364402"/>
                  <a:pt x="3796176" y="372238"/>
                  <a:pt x="3785910" y="374198"/>
                </a:cubicBezTo>
                <a:cubicBezTo>
                  <a:pt x="3783858" y="374198"/>
                  <a:pt x="3783858" y="376155"/>
                  <a:pt x="3781803" y="376155"/>
                </a:cubicBezTo>
                <a:cubicBezTo>
                  <a:pt x="3781803" y="378115"/>
                  <a:pt x="3779752" y="378115"/>
                  <a:pt x="3779752" y="380075"/>
                </a:cubicBezTo>
                <a:cubicBezTo>
                  <a:pt x="3777698" y="387911"/>
                  <a:pt x="3773592" y="393789"/>
                  <a:pt x="3769485" y="399664"/>
                </a:cubicBezTo>
                <a:cubicBezTo>
                  <a:pt x="3773592" y="397707"/>
                  <a:pt x="3777698" y="395747"/>
                  <a:pt x="3781803" y="393789"/>
                </a:cubicBezTo>
                <a:cubicBezTo>
                  <a:pt x="3781803" y="395747"/>
                  <a:pt x="3781803" y="399664"/>
                  <a:pt x="3781803" y="401626"/>
                </a:cubicBezTo>
                <a:cubicBezTo>
                  <a:pt x="3779752" y="405544"/>
                  <a:pt x="3775646" y="409462"/>
                  <a:pt x="3771541" y="415338"/>
                </a:cubicBezTo>
                <a:cubicBezTo>
                  <a:pt x="3775646" y="415338"/>
                  <a:pt x="3779752" y="415338"/>
                  <a:pt x="3783858" y="415338"/>
                </a:cubicBezTo>
                <a:lnTo>
                  <a:pt x="3786345" y="415635"/>
                </a:lnTo>
                <a:lnTo>
                  <a:pt x="3785910" y="417299"/>
                </a:lnTo>
                <a:cubicBezTo>
                  <a:pt x="3790017" y="421217"/>
                  <a:pt x="3792068" y="423176"/>
                  <a:pt x="3794122" y="427093"/>
                </a:cubicBezTo>
                <a:lnTo>
                  <a:pt x="3797654" y="416985"/>
                </a:lnTo>
                <a:lnTo>
                  <a:pt x="3800282" y="417299"/>
                </a:lnTo>
                <a:cubicBezTo>
                  <a:pt x="3806440" y="411420"/>
                  <a:pt x="3814652" y="405544"/>
                  <a:pt x="3820813" y="399664"/>
                </a:cubicBezTo>
                <a:cubicBezTo>
                  <a:pt x="3820813" y="399664"/>
                  <a:pt x="3820813" y="397707"/>
                  <a:pt x="3820813" y="395747"/>
                </a:cubicBezTo>
                <a:lnTo>
                  <a:pt x="3818075" y="394441"/>
                </a:lnTo>
                <a:lnTo>
                  <a:pt x="3818758" y="393789"/>
                </a:lnTo>
                <a:cubicBezTo>
                  <a:pt x="3818758" y="391829"/>
                  <a:pt x="3818758" y="391829"/>
                  <a:pt x="3820813" y="389871"/>
                </a:cubicBezTo>
                <a:cubicBezTo>
                  <a:pt x="3822865" y="385952"/>
                  <a:pt x="3829022" y="387911"/>
                  <a:pt x="3829022" y="380075"/>
                </a:cubicBezTo>
                <a:lnTo>
                  <a:pt x="3829022" y="383994"/>
                </a:lnTo>
                <a:cubicBezTo>
                  <a:pt x="3831076" y="383994"/>
                  <a:pt x="3833128" y="382033"/>
                  <a:pt x="3833128" y="382033"/>
                </a:cubicBezTo>
                <a:cubicBezTo>
                  <a:pt x="3833128" y="382033"/>
                  <a:pt x="3835183" y="382033"/>
                  <a:pt x="3835183" y="382033"/>
                </a:cubicBezTo>
                <a:cubicBezTo>
                  <a:pt x="3835183" y="382033"/>
                  <a:pt x="3835183" y="383994"/>
                  <a:pt x="3835183" y="383994"/>
                </a:cubicBezTo>
                <a:cubicBezTo>
                  <a:pt x="3843394" y="383994"/>
                  <a:pt x="3853658" y="383994"/>
                  <a:pt x="3861870" y="383994"/>
                </a:cubicBezTo>
                <a:cubicBezTo>
                  <a:pt x="3861870" y="383994"/>
                  <a:pt x="3863924" y="382033"/>
                  <a:pt x="3863924" y="382033"/>
                </a:cubicBezTo>
                <a:cubicBezTo>
                  <a:pt x="3863924" y="382033"/>
                  <a:pt x="3865976" y="380075"/>
                  <a:pt x="3868030" y="380075"/>
                </a:cubicBezTo>
                <a:cubicBezTo>
                  <a:pt x="3870082" y="382033"/>
                  <a:pt x="3872137" y="382033"/>
                  <a:pt x="3872137" y="383994"/>
                </a:cubicBezTo>
                <a:cubicBezTo>
                  <a:pt x="3874188" y="385952"/>
                  <a:pt x="3876242" y="385952"/>
                  <a:pt x="3876242" y="387911"/>
                </a:cubicBezTo>
                <a:cubicBezTo>
                  <a:pt x="3880349" y="385952"/>
                  <a:pt x="3882400" y="383994"/>
                  <a:pt x="3882400" y="383994"/>
                </a:cubicBezTo>
                <a:cubicBezTo>
                  <a:pt x="3888561" y="387911"/>
                  <a:pt x="3892667" y="389871"/>
                  <a:pt x="3896770" y="391829"/>
                </a:cubicBezTo>
                <a:lnTo>
                  <a:pt x="3907689" y="387020"/>
                </a:lnTo>
                <a:lnTo>
                  <a:pt x="3898824" y="393789"/>
                </a:lnTo>
                <a:cubicBezTo>
                  <a:pt x="3900879" y="395747"/>
                  <a:pt x="3900879" y="397707"/>
                  <a:pt x="3900879" y="397707"/>
                </a:cubicBezTo>
                <a:cubicBezTo>
                  <a:pt x="3898824" y="401626"/>
                  <a:pt x="3898824" y="407502"/>
                  <a:pt x="3892667" y="407502"/>
                </a:cubicBezTo>
                <a:cubicBezTo>
                  <a:pt x="3890613" y="403585"/>
                  <a:pt x="3890613" y="401626"/>
                  <a:pt x="3890613" y="399664"/>
                </a:cubicBezTo>
                <a:cubicBezTo>
                  <a:pt x="3888561" y="401626"/>
                  <a:pt x="3888561" y="401626"/>
                  <a:pt x="3886507" y="403585"/>
                </a:cubicBezTo>
                <a:cubicBezTo>
                  <a:pt x="3888561" y="409462"/>
                  <a:pt x="3890613" y="413380"/>
                  <a:pt x="3890613" y="417299"/>
                </a:cubicBezTo>
                <a:cubicBezTo>
                  <a:pt x="3888561" y="419257"/>
                  <a:pt x="3886507" y="421217"/>
                  <a:pt x="3884452" y="423176"/>
                </a:cubicBezTo>
                <a:cubicBezTo>
                  <a:pt x="3884452" y="423176"/>
                  <a:pt x="3886507" y="423176"/>
                  <a:pt x="3886507" y="425136"/>
                </a:cubicBezTo>
                <a:cubicBezTo>
                  <a:pt x="3896770" y="434930"/>
                  <a:pt x="3909089" y="442767"/>
                  <a:pt x="3923461" y="444728"/>
                </a:cubicBezTo>
                <a:cubicBezTo>
                  <a:pt x="3925513" y="440809"/>
                  <a:pt x="3929619" y="434930"/>
                  <a:pt x="3931673" y="431011"/>
                </a:cubicBezTo>
                <a:cubicBezTo>
                  <a:pt x="3931673" y="431011"/>
                  <a:pt x="3931673" y="431011"/>
                  <a:pt x="3929619" y="431011"/>
                </a:cubicBezTo>
                <a:cubicBezTo>
                  <a:pt x="3925513" y="432972"/>
                  <a:pt x="3921406" y="431011"/>
                  <a:pt x="3913197" y="429053"/>
                </a:cubicBezTo>
                <a:cubicBezTo>
                  <a:pt x="3915248" y="427093"/>
                  <a:pt x="3917300" y="425136"/>
                  <a:pt x="3919354" y="423176"/>
                </a:cubicBezTo>
                <a:cubicBezTo>
                  <a:pt x="3915248" y="411420"/>
                  <a:pt x="3915248" y="411420"/>
                  <a:pt x="3921406" y="403585"/>
                </a:cubicBezTo>
                <a:cubicBezTo>
                  <a:pt x="3925513" y="407502"/>
                  <a:pt x="3925513" y="411420"/>
                  <a:pt x="3925513" y="417299"/>
                </a:cubicBezTo>
                <a:cubicBezTo>
                  <a:pt x="3927567" y="415338"/>
                  <a:pt x="3927567" y="415338"/>
                  <a:pt x="3929619" y="413380"/>
                </a:cubicBezTo>
                <a:cubicBezTo>
                  <a:pt x="3931673" y="411420"/>
                  <a:pt x="3933724" y="409462"/>
                  <a:pt x="3937831" y="409462"/>
                </a:cubicBezTo>
                <a:cubicBezTo>
                  <a:pt x="3941936" y="409462"/>
                  <a:pt x="3943990" y="407502"/>
                  <a:pt x="3946043" y="407502"/>
                </a:cubicBezTo>
                <a:cubicBezTo>
                  <a:pt x="3946043" y="407502"/>
                  <a:pt x="3946043" y="405544"/>
                  <a:pt x="3948097" y="405544"/>
                </a:cubicBezTo>
                <a:cubicBezTo>
                  <a:pt x="3948097" y="403585"/>
                  <a:pt x="3948097" y="401626"/>
                  <a:pt x="3948097" y="397707"/>
                </a:cubicBezTo>
                <a:cubicBezTo>
                  <a:pt x="3948097" y="393789"/>
                  <a:pt x="3948097" y="389871"/>
                  <a:pt x="3950149" y="387911"/>
                </a:cubicBezTo>
                <a:cubicBezTo>
                  <a:pt x="3958361" y="376155"/>
                  <a:pt x="3966572" y="364402"/>
                  <a:pt x="3974785" y="352648"/>
                </a:cubicBezTo>
                <a:cubicBezTo>
                  <a:pt x="3978891" y="346769"/>
                  <a:pt x="3985051" y="338933"/>
                  <a:pt x="3989157" y="333055"/>
                </a:cubicBezTo>
                <a:lnTo>
                  <a:pt x="4013976" y="289473"/>
                </a:lnTo>
                <a:lnTo>
                  <a:pt x="4021668" y="281084"/>
                </a:lnTo>
                <a:lnTo>
                  <a:pt x="4021668" y="6121401"/>
                </a:lnTo>
                <a:lnTo>
                  <a:pt x="3840553" y="6121401"/>
                </a:lnTo>
                <a:lnTo>
                  <a:pt x="3849552" y="6108591"/>
                </a:lnTo>
                <a:lnTo>
                  <a:pt x="3833742" y="6121401"/>
                </a:lnTo>
                <a:lnTo>
                  <a:pt x="837771" y="6121401"/>
                </a:lnTo>
                <a:lnTo>
                  <a:pt x="836793" y="6118878"/>
                </a:lnTo>
                <a:cubicBezTo>
                  <a:pt x="834226" y="6114960"/>
                  <a:pt x="830633" y="6111531"/>
                  <a:pt x="825501" y="6108591"/>
                </a:cubicBezTo>
                <a:cubicBezTo>
                  <a:pt x="819343" y="6106634"/>
                  <a:pt x="819343" y="6096836"/>
                  <a:pt x="813185" y="6094878"/>
                </a:cubicBezTo>
                <a:cubicBezTo>
                  <a:pt x="804971" y="6092918"/>
                  <a:pt x="802918" y="6083124"/>
                  <a:pt x="798812" y="6079205"/>
                </a:cubicBezTo>
                <a:cubicBezTo>
                  <a:pt x="792655" y="6073327"/>
                  <a:pt x="788549" y="6065492"/>
                  <a:pt x="794706" y="6055696"/>
                </a:cubicBezTo>
                <a:cubicBezTo>
                  <a:pt x="798812" y="6049819"/>
                  <a:pt x="794706" y="6041982"/>
                  <a:pt x="798812" y="6034146"/>
                </a:cubicBezTo>
                <a:cubicBezTo>
                  <a:pt x="802918" y="6026309"/>
                  <a:pt x="807025" y="6018472"/>
                  <a:pt x="804971" y="6010636"/>
                </a:cubicBezTo>
                <a:cubicBezTo>
                  <a:pt x="809079" y="6002798"/>
                  <a:pt x="807025" y="5994962"/>
                  <a:pt x="809079" y="5987126"/>
                </a:cubicBezTo>
                <a:cubicBezTo>
                  <a:pt x="811131" y="5979289"/>
                  <a:pt x="815237" y="5971453"/>
                  <a:pt x="819343" y="5963616"/>
                </a:cubicBezTo>
                <a:cubicBezTo>
                  <a:pt x="827555" y="5947942"/>
                  <a:pt x="835767" y="5934229"/>
                  <a:pt x="843978" y="5918556"/>
                </a:cubicBezTo>
                <a:cubicBezTo>
                  <a:pt x="852191" y="5904843"/>
                  <a:pt x="854243" y="5889170"/>
                  <a:pt x="870666" y="5881333"/>
                </a:cubicBezTo>
                <a:cubicBezTo>
                  <a:pt x="872721" y="5881333"/>
                  <a:pt x="850137" y="5842151"/>
                  <a:pt x="850137" y="5840190"/>
                </a:cubicBezTo>
                <a:cubicBezTo>
                  <a:pt x="860403" y="5820599"/>
                  <a:pt x="872721" y="5799049"/>
                  <a:pt x="882985" y="5779456"/>
                </a:cubicBezTo>
                <a:cubicBezTo>
                  <a:pt x="885039" y="5777500"/>
                  <a:pt x="882985" y="5771621"/>
                  <a:pt x="882985" y="5769662"/>
                </a:cubicBezTo>
                <a:cubicBezTo>
                  <a:pt x="882985" y="5765744"/>
                  <a:pt x="885039" y="5763783"/>
                  <a:pt x="889145" y="5761825"/>
                </a:cubicBezTo>
                <a:cubicBezTo>
                  <a:pt x="895303" y="5759865"/>
                  <a:pt x="897357" y="5753989"/>
                  <a:pt x="897357" y="5748110"/>
                </a:cubicBezTo>
                <a:cubicBezTo>
                  <a:pt x="897357" y="5744192"/>
                  <a:pt x="897357" y="5740274"/>
                  <a:pt x="899409" y="5738316"/>
                </a:cubicBezTo>
                <a:cubicBezTo>
                  <a:pt x="911726" y="5712845"/>
                  <a:pt x="926099" y="5689338"/>
                  <a:pt x="938415" y="5663867"/>
                </a:cubicBezTo>
                <a:cubicBezTo>
                  <a:pt x="940469" y="5659949"/>
                  <a:pt x="942521" y="5656031"/>
                  <a:pt x="944575" y="5656031"/>
                </a:cubicBezTo>
                <a:cubicBezTo>
                  <a:pt x="958945" y="5650154"/>
                  <a:pt x="961000" y="5634480"/>
                  <a:pt x="967157" y="5624684"/>
                </a:cubicBezTo>
                <a:cubicBezTo>
                  <a:pt x="969211" y="5620768"/>
                  <a:pt x="971264" y="5616849"/>
                  <a:pt x="973317" y="5610972"/>
                </a:cubicBezTo>
                <a:cubicBezTo>
                  <a:pt x="979474" y="5601176"/>
                  <a:pt x="983581" y="5591380"/>
                  <a:pt x="989741" y="5581585"/>
                </a:cubicBezTo>
                <a:cubicBezTo>
                  <a:pt x="991793" y="5575706"/>
                  <a:pt x="997954" y="5571788"/>
                  <a:pt x="1004111" y="5569829"/>
                </a:cubicBezTo>
                <a:cubicBezTo>
                  <a:pt x="1004111" y="5565911"/>
                  <a:pt x="1002060" y="5560033"/>
                  <a:pt x="1006165" y="5556115"/>
                </a:cubicBezTo>
                <a:cubicBezTo>
                  <a:pt x="1010269" y="5550238"/>
                  <a:pt x="1012323" y="5544360"/>
                  <a:pt x="1016429" y="5538483"/>
                </a:cubicBezTo>
                <a:cubicBezTo>
                  <a:pt x="1012323" y="5536523"/>
                  <a:pt x="1012323" y="5532607"/>
                  <a:pt x="1010269" y="5530647"/>
                </a:cubicBezTo>
                <a:cubicBezTo>
                  <a:pt x="1006165" y="5528689"/>
                  <a:pt x="1004111" y="5524768"/>
                  <a:pt x="1002060" y="5520851"/>
                </a:cubicBezTo>
                <a:cubicBezTo>
                  <a:pt x="997954" y="5516934"/>
                  <a:pt x="995900" y="5513016"/>
                  <a:pt x="1000005" y="5507137"/>
                </a:cubicBezTo>
                <a:cubicBezTo>
                  <a:pt x="1002060" y="5503218"/>
                  <a:pt x="1000005" y="5499300"/>
                  <a:pt x="1002060" y="5495382"/>
                </a:cubicBezTo>
                <a:cubicBezTo>
                  <a:pt x="1004111" y="5491463"/>
                  <a:pt x="1006165" y="5487545"/>
                  <a:pt x="1006165" y="5481669"/>
                </a:cubicBezTo>
                <a:cubicBezTo>
                  <a:pt x="1008217" y="5477750"/>
                  <a:pt x="1008217" y="5471872"/>
                  <a:pt x="1008217" y="5467953"/>
                </a:cubicBezTo>
                <a:cubicBezTo>
                  <a:pt x="1010269" y="5464036"/>
                  <a:pt x="1012323" y="5458159"/>
                  <a:pt x="1014378" y="5454240"/>
                </a:cubicBezTo>
                <a:cubicBezTo>
                  <a:pt x="1018483" y="5446404"/>
                  <a:pt x="1022587" y="5438567"/>
                  <a:pt x="1026693" y="5432691"/>
                </a:cubicBezTo>
                <a:cubicBezTo>
                  <a:pt x="1022587" y="5428772"/>
                  <a:pt x="1020536" y="5426812"/>
                  <a:pt x="1018483" y="5420936"/>
                </a:cubicBezTo>
                <a:cubicBezTo>
                  <a:pt x="1012323" y="5417018"/>
                  <a:pt x="1006165" y="5413099"/>
                  <a:pt x="1002060" y="5405262"/>
                </a:cubicBezTo>
                <a:cubicBezTo>
                  <a:pt x="1000005" y="5399383"/>
                  <a:pt x="946627" y="5448361"/>
                  <a:pt x="944575" y="5442486"/>
                </a:cubicBezTo>
                <a:cubicBezTo>
                  <a:pt x="940469" y="5436607"/>
                  <a:pt x="936363" y="5430730"/>
                  <a:pt x="932257" y="5424854"/>
                </a:cubicBezTo>
                <a:cubicBezTo>
                  <a:pt x="930202" y="5422894"/>
                  <a:pt x="926099" y="5418976"/>
                  <a:pt x="924045" y="5418976"/>
                </a:cubicBezTo>
                <a:cubicBezTo>
                  <a:pt x="915833" y="5415057"/>
                  <a:pt x="911726" y="5411139"/>
                  <a:pt x="909675" y="5403302"/>
                </a:cubicBezTo>
                <a:cubicBezTo>
                  <a:pt x="903515" y="5399383"/>
                  <a:pt x="903515" y="5393508"/>
                  <a:pt x="905569" y="5387629"/>
                </a:cubicBezTo>
                <a:cubicBezTo>
                  <a:pt x="905569" y="5383710"/>
                  <a:pt x="903515" y="5379792"/>
                  <a:pt x="905569" y="5377834"/>
                </a:cubicBezTo>
                <a:cubicBezTo>
                  <a:pt x="907621" y="5371956"/>
                  <a:pt x="905569" y="5369998"/>
                  <a:pt x="901463" y="5366079"/>
                </a:cubicBezTo>
                <a:cubicBezTo>
                  <a:pt x="897357" y="5362161"/>
                  <a:pt x="895303" y="5356284"/>
                  <a:pt x="891197" y="5352363"/>
                </a:cubicBezTo>
                <a:cubicBezTo>
                  <a:pt x="889145" y="5352363"/>
                  <a:pt x="891197" y="5348445"/>
                  <a:pt x="891197" y="5346488"/>
                </a:cubicBezTo>
                <a:cubicBezTo>
                  <a:pt x="891197" y="5344530"/>
                  <a:pt x="893250" y="5342570"/>
                  <a:pt x="893250" y="5340612"/>
                </a:cubicBezTo>
                <a:cubicBezTo>
                  <a:pt x="895303" y="5336693"/>
                  <a:pt x="893250" y="5332774"/>
                  <a:pt x="891197" y="5330814"/>
                </a:cubicBezTo>
                <a:cubicBezTo>
                  <a:pt x="887091" y="5326896"/>
                  <a:pt x="887091" y="5322978"/>
                  <a:pt x="889145" y="5319059"/>
                </a:cubicBezTo>
                <a:cubicBezTo>
                  <a:pt x="891197" y="5317101"/>
                  <a:pt x="893250" y="5315141"/>
                  <a:pt x="891197" y="5313183"/>
                </a:cubicBezTo>
                <a:cubicBezTo>
                  <a:pt x="889145" y="5303385"/>
                  <a:pt x="889145" y="5291632"/>
                  <a:pt x="878879" y="5283794"/>
                </a:cubicBezTo>
                <a:cubicBezTo>
                  <a:pt x="874773" y="5277919"/>
                  <a:pt x="872721" y="5270081"/>
                  <a:pt x="876827" y="5264203"/>
                </a:cubicBezTo>
                <a:cubicBezTo>
                  <a:pt x="880933" y="5258327"/>
                  <a:pt x="878879" y="5252448"/>
                  <a:pt x="876827" y="5246572"/>
                </a:cubicBezTo>
                <a:cubicBezTo>
                  <a:pt x="874773" y="5240693"/>
                  <a:pt x="870666" y="5238734"/>
                  <a:pt x="866561" y="5236776"/>
                </a:cubicBezTo>
                <a:cubicBezTo>
                  <a:pt x="862454" y="5234816"/>
                  <a:pt x="858351" y="5232858"/>
                  <a:pt x="852191" y="5230899"/>
                </a:cubicBezTo>
                <a:cubicBezTo>
                  <a:pt x="848085" y="5228941"/>
                  <a:pt x="843978" y="5230899"/>
                  <a:pt x="841924" y="5232858"/>
                </a:cubicBezTo>
                <a:cubicBezTo>
                  <a:pt x="837821" y="5236776"/>
                  <a:pt x="833715" y="5236776"/>
                  <a:pt x="829607" y="5234816"/>
                </a:cubicBezTo>
                <a:cubicBezTo>
                  <a:pt x="825501" y="5232858"/>
                  <a:pt x="823448" y="5230899"/>
                  <a:pt x="819343" y="5228941"/>
                </a:cubicBezTo>
                <a:cubicBezTo>
                  <a:pt x="815237" y="5226981"/>
                  <a:pt x="815237" y="5223062"/>
                  <a:pt x="813185" y="5221103"/>
                </a:cubicBezTo>
                <a:cubicBezTo>
                  <a:pt x="811131" y="5211307"/>
                  <a:pt x="813185" y="5205430"/>
                  <a:pt x="821394" y="5199552"/>
                </a:cubicBezTo>
                <a:cubicBezTo>
                  <a:pt x="823448" y="5197594"/>
                  <a:pt x="827555" y="5197594"/>
                  <a:pt x="829607" y="5193676"/>
                </a:cubicBezTo>
                <a:cubicBezTo>
                  <a:pt x="835767" y="5183878"/>
                  <a:pt x="848085" y="5181921"/>
                  <a:pt x="852191" y="5170165"/>
                </a:cubicBezTo>
                <a:cubicBezTo>
                  <a:pt x="852191" y="5168207"/>
                  <a:pt x="856297" y="5168207"/>
                  <a:pt x="858351" y="5170165"/>
                </a:cubicBezTo>
                <a:cubicBezTo>
                  <a:pt x="860403" y="5170165"/>
                  <a:pt x="862454" y="5172123"/>
                  <a:pt x="864509" y="5174084"/>
                </a:cubicBezTo>
                <a:cubicBezTo>
                  <a:pt x="872721" y="5176042"/>
                  <a:pt x="876827" y="5174084"/>
                  <a:pt x="876827" y="5166247"/>
                </a:cubicBezTo>
                <a:cubicBezTo>
                  <a:pt x="876827" y="5160372"/>
                  <a:pt x="878879" y="5158411"/>
                  <a:pt x="882985" y="5156452"/>
                </a:cubicBezTo>
                <a:cubicBezTo>
                  <a:pt x="885039" y="5156452"/>
                  <a:pt x="885039" y="5154492"/>
                  <a:pt x="885039" y="5154492"/>
                </a:cubicBezTo>
                <a:cubicBezTo>
                  <a:pt x="893250" y="5142737"/>
                  <a:pt x="899409" y="5129025"/>
                  <a:pt x="907621" y="5117269"/>
                </a:cubicBezTo>
                <a:cubicBezTo>
                  <a:pt x="909675" y="5115309"/>
                  <a:pt x="909675" y="5113352"/>
                  <a:pt x="907621" y="5111391"/>
                </a:cubicBezTo>
                <a:cubicBezTo>
                  <a:pt x="907621" y="5109433"/>
                  <a:pt x="905569" y="5107473"/>
                  <a:pt x="905569" y="5103554"/>
                </a:cubicBezTo>
                <a:cubicBezTo>
                  <a:pt x="903515" y="5095717"/>
                  <a:pt x="901463" y="5087881"/>
                  <a:pt x="891197" y="5083962"/>
                </a:cubicBezTo>
                <a:cubicBezTo>
                  <a:pt x="889145" y="5083962"/>
                  <a:pt x="887091" y="5080047"/>
                  <a:pt x="887091" y="5078086"/>
                </a:cubicBezTo>
                <a:cubicBezTo>
                  <a:pt x="885039" y="5072209"/>
                  <a:pt x="882985" y="5062413"/>
                  <a:pt x="878879" y="5058495"/>
                </a:cubicBezTo>
                <a:cubicBezTo>
                  <a:pt x="874773" y="5054576"/>
                  <a:pt x="872721" y="5048699"/>
                  <a:pt x="870666" y="5042821"/>
                </a:cubicBezTo>
                <a:cubicBezTo>
                  <a:pt x="866561" y="5042821"/>
                  <a:pt x="860403" y="5042821"/>
                  <a:pt x="854243" y="5042821"/>
                </a:cubicBezTo>
                <a:cubicBezTo>
                  <a:pt x="860403" y="5033026"/>
                  <a:pt x="860403" y="5027148"/>
                  <a:pt x="856297" y="5019310"/>
                </a:cubicBezTo>
                <a:cubicBezTo>
                  <a:pt x="850137" y="5017354"/>
                  <a:pt x="843978" y="5017354"/>
                  <a:pt x="837821" y="5015393"/>
                </a:cubicBezTo>
                <a:cubicBezTo>
                  <a:pt x="829607" y="5013435"/>
                  <a:pt x="825501" y="5009517"/>
                  <a:pt x="823448" y="5001679"/>
                </a:cubicBezTo>
                <a:cubicBezTo>
                  <a:pt x="823448" y="4999719"/>
                  <a:pt x="823448" y="4995801"/>
                  <a:pt x="821394" y="4993844"/>
                </a:cubicBezTo>
                <a:cubicBezTo>
                  <a:pt x="819343" y="4987967"/>
                  <a:pt x="817291" y="4980130"/>
                  <a:pt x="807025" y="4980130"/>
                </a:cubicBezTo>
                <a:cubicBezTo>
                  <a:pt x="804971" y="4980130"/>
                  <a:pt x="802918" y="4976210"/>
                  <a:pt x="800865" y="4974251"/>
                </a:cubicBezTo>
                <a:cubicBezTo>
                  <a:pt x="798812" y="4970332"/>
                  <a:pt x="798812" y="4966415"/>
                  <a:pt x="796761" y="4960539"/>
                </a:cubicBezTo>
                <a:cubicBezTo>
                  <a:pt x="792655" y="4960539"/>
                  <a:pt x="765965" y="5017354"/>
                  <a:pt x="765965" y="5017354"/>
                </a:cubicBezTo>
                <a:cubicBezTo>
                  <a:pt x="761858" y="5011475"/>
                  <a:pt x="755700" y="5005598"/>
                  <a:pt x="753646" y="4999719"/>
                </a:cubicBezTo>
                <a:cubicBezTo>
                  <a:pt x="751595" y="4997761"/>
                  <a:pt x="751595" y="4993844"/>
                  <a:pt x="753646" y="4991884"/>
                </a:cubicBezTo>
                <a:cubicBezTo>
                  <a:pt x="749540" y="4993844"/>
                  <a:pt x="745437" y="4993844"/>
                  <a:pt x="741329" y="4993844"/>
                </a:cubicBezTo>
                <a:cubicBezTo>
                  <a:pt x="739277" y="4993844"/>
                  <a:pt x="739277" y="4991884"/>
                  <a:pt x="737221" y="4991884"/>
                </a:cubicBezTo>
                <a:cubicBezTo>
                  <a:pt x="741329" y="4989925"/>
                  <a:pt x="747489" y="4987967"/>
                  <a:pt x="747489" y="4984049"/>
                </a:cubicBezTo>
                <a:cubicBezTo>
                  <a:pt x="747489" y="4984049"/>
                  <a:pt x="747489" y="4984049"/>
                  <a:pt x="747489" y="4982088"/>
                </a:cubicBezTo>
                <a:cubicBezTo>
                  <a:pt x="735170" y="4982088"/>
                  <a:pt x="724906" y="4987967"/>
                  <a:pt x="712585" y="4986006"/>
                </a:cubicBezTo>
                <a:cubicBezTo>
                  <a:pt x="714639" y="4982088"/>
                  <a:pt x="716695" y="4978170"/>
                  <a:pt x="716695" y="4976210"/>
                </a:cubicBezTo>
                <a:cubicBezTo>
                  <a:pt x="716695" y="4974251"/>
                  <a:pt x="714639" y="4970332"/>
                  <a:pt x="714639" y="4968376"/>
                </a:cubicBezTo>
                <a:cubicBezTo>
                  <a:pt x="712585" y="4970332"/>
                  <a:pt x="712585" y="4970332"/>
                  <a:pt x="710533" y="4972290"/>
                </a:cubicBezTo>
                <a:cubicBezTo>
                  <a:pt x="710533" y="4974251"/>
                  <a:pt x="710533" y="4976210"/>
                  <a:pt x="710533" y="4978170"/>
                </a:cubicBezTo>
                <a:cubicBezTo>
                  <a:pt x="704376" y="4980130"/>
                  <a:pt x="702323" y="4978170"/>
                  <a:pt x="698215" y="4974251"/>
                </a:cubicBezTo>
                <a:cubicBezTo>
                  <a:pt x="692057" y="4976210"/>
                  <a:pt x="690005" y="4982088"/>
                  <a:pt x="685898" y="4987967"/>
                </a:cubicBezTo>
                <a:cubicBezTo>
                  <a:pt x="685898" y="4989925"/>
                  <a:pt x="685898" y="4991884"/>
                  <a:pt x="687952" y="4993844"/>
                </a:cubicBezTo>
                <a:cubicBezTo>
                  <a:pt x="692057" y="4991884"/>
                  <a:pt x="696165" y="4987967"/>
                  <a:pt x="702323" y="4986006"/>
                </a:cubicBezTo>
                <a:cubicBezTo>
                  <a:pt x="702323" y="4991884"/>
                  <a:pt x="700270" y="4997761"/>
                  <a:pt x="700270" y="5001679"/>
                </a:cubicBezTo>
                <a:cubicBezTo>
                  <a:pt x="704376" y="5003637"/>
                  <a:pt x="708480" y="5003637"/>
                  <a:pt x="706428" y="5007558"/>
                </a:cubicBezTo>
                <a:cubicBezTo>
                  <a:pt x="706428" y="5009517"/>
                  <a:pt x="702323" y="5011475"/>
                  <a:pt x="700270" y="5011475"/>
                </a:cubicBezTo>
                <a:cubicBezTo>
                  <a:pt x="694110" y="5013435"/>
                  <a:pt x="690005" y="5013435"/>
                  <a:pt x="683847" y="5013435"/>
                </a:cubicBezTo>
                <a:cubicBezTo>
                  <a:pt x="681791" y="5011475"/>
                  <a:pt x="677686" y="5009517"/>
                  <a:pt x="675634" y="5007558"/>
                </a:cubicBezTo>
                <a:cubicBezTo>
                  <a:pt x="667422" y="5009517"/>
                  <a:pt x="661261" y="5011475"/>
                  <a:pt x="661261" y="5023229"/>
                </a:cubicBezTo>
                <a:cubicBezTo>
                  <a:pt x="661261" y="5025190"/>
                  <a:pt x="657155" y="5029108"/>
                  <a:pt x="655104" y="5031066"/>
                </a:cubicBezTo>
                <a:cubicBezTo>
                  <a:pt x="648947" y="5036945"/>
                  <a:pt x="644837" y="5042821"/>
                  <a:pt x="638679" y="5050657"/>
                </a:cubicBezTo>
                <a:cubicBezTo>
                  <a:pt x="634574" y="5056536"/>
                  <a:pt x="630467" y="5062413"/>
                  <a:pt x="626362" y="5068291"/>
                </a:cubicBezTo>
                <a:cubicBezTo>
                  <a:pt x="624309" y="5064370"/>
                  <a:pt x="624309" y="5060455"/>
                  <a:pt x="626362" y="5058495"/>
                </a:cubicBezTo>
                <a:cubicBezTo>
                  <a:pt x="632522" y="5050657"/>
                  <a:pt x="638679" y="5040861"/>
                  <a:pt x="644837" y="5033026"/>
                </a:cubicBezTo>
                <a:cubicBezTo>
                  <a:pt x="648947" y="5027148"/>
                  <a:pt x="653053" y="5019310"/>
                  <a:pt x="659210" y="5015393"/>
                </a:cubicBezTo>
                <a:cubicBezTo>
                  <a:pt x="663315" y="5013435"/>
                  <a:pt x="667422" y="5009517"/>
                  <a:pt x="669473" y="5005598"/>
                </a:cubicBezTo>
                <a:cubicBezTo>
                  <a:pt x="667422" y="5005598"/>
                  <a:pt x="663315" y="5005598"/>
                  <a:pt x="661261" y="5005598"/>
                </a:cubicBezTo>
                <a:cubicBezTo>
                  <a:pt x="661261" y="5003637"/>
                  <a:pt x="661261" y="5001679"/>
                  <a:pt x="661261" y="5001679"/>
                </a:cubicBezTo>
                <a:cubicBezTo>
                  <a:pt x="655104" y="5007558"/>
                  <a:pt x="648947" y="5015393"/>
                  <a:pt x="640732" y="5023229"/>
                </a:cubicBezTo>
                <a:cubicBezTo>
                  <a:pt x="646891" y="5013435"/>
                  <a:pt x="653053" y="5007558"/>
                  <a:pt x="657155" y="4999719"/>
                </a:cubicBezTo>
                <a:cubicBezTo>
                  <a:pt x="659210" y="4997761"/>
                  <a:pt x="661261" y="4993844"/>
                  <a:pt x="663315" y="4991884"/>
                </a:cubicBezTo>
                <a:cubicBezTo>
                  <a:pt x="663315" y="4989925"/>
                  <a:pt x="661261" y="4987967"/>
                  <a:pt x="661261" y="4986006"/>
                </a:cubicBezTo>
                <a:cubicBezTo>
                  <a:pt x="650998" y="4995801"/>
                  <a:pt x="642785" y="5007558"/>
                  <a:pt x="632522" y="5017354"/>
                </a:cubicBezTo>
                <a:cubicBezTo>
                  <a:pt x="632522" y="5013435"/>
                  <a:pt x="632522" y="5011475"/>
                  <a:pt x="632522" y="5007558"/>
                </a:cubicBezTo>
                <a:cubicBezTo>
                  <a:pt x="607886" y="5031066"/>
                  <a:pt x="607886" y="5031066"/>
                  <a:pt x="611991" y="5040861"/>
                </a:cubicBezTo>
                <a:cubicBezTo>
                  <a:pt x="599674" y="5038903"/>
                  <a:pt x="595565" y="5044781"/>
                  <a:pt x="591462" y="5052618"/>
                </a:cubicBezTo>
                <a:cubicBezTo>
                  <a:pt x="589407" y="5056536"/>
                  <a:pt x="585302" y="5058495"/>
                  <a:pt x="581195" y="5062413"/>
                </a:cubicBezTo>
                <a:cubicBezTo>
                  <a:pt x="581195" y="5052618"/>
                  <a:pt x="583250" y="5044781"/>
                  <a:pt x="583250" y="5036945"/>
                </a:cubicBezTo>
                <a:cubicBezTo>
                  <a:pt x="572983" y="5038903"/>
                  <a:pt x="570931" y="5048699"/>
                  <a:pt x="566826" y="5054576"/>
                </a:cubicBezTo>
                <a:cubicBezTo>
                  <a:pt x="562719" y="5058495"/>
                  <a:pt x="560667" y="5068291"/>
                  <a:pt x="552453" y="5068291"/>
                </a:cubicBezTo>
                <a:cubicBezTo>
                  <a:pt x="552453" y="5060455"/>
                  <a:pt x="554507" y="5052618"/>
                  <a:pt x="560667" y="5046739"/>
                </a:cubicBezTo>
                <a:cubicBezTo>
                  <a:pt x="566826" y="5040861"/>
                  <a:pt x="572983" y="5034984"/>
                  <a:pt x="570931" y="5025190"/>
                </a:cubicBezTo>
                <a:cubicBezTo>
                  <a:pt x="570931" y="5023229"/>
                  <a:pt x="572983" y="5019310"/>
                  <a:pt x="575037" y="5017354"/>
                </a:cubicBezTo>
                <a:cubicBezTo>
                  <a:pt x="583250" y="5011475"/>
                  <a:pt x="585302" y="5005598"/>
                  <a:pt x="581195" y="4995801"/>
                </a:cubicBezTo>
                <a:cubicBezTo>
                  <a:pt x="577089" y="5003637"/>
                  <a:pt x="570931" y="5013435"/>
                  <a:pt x="566826" y="5021271"/>
                </a:cubicBezTo>
                <a:cubicBezTo>
                  <a:pt x="566826" y="5021271"/>
                  <a:pt x="564771" y="5023229"/>
                  <a:pt x="562719" y="5023229"/>
                </a:cubicBezTo>
                <a:cubicBezTo>
                  <a:pt x="562719" y="5023229"/>
                  <a:pt x="560667" y="5023229"/>
                  <a:pt x="560667" y="5023229"/>
                </a:cubicBezTo>
                <a:cubicBezTo>
                  <a:pt x="556559" y="5009517"/>
                  <a:pt x="552453" y="4995801"/>
                  <a:pt x="550401" y="4982088"/>
                </a:cubicBezTo>
                <a:cubicBezTo>
                  <a:pt x="550401" y="4976210"/>
                  <a:pt x="550401" y="4970332"/>
                  <a:pt x="552453" y="4966415"/>
                </a:cubicBezTo>
                <a:cubicBezTo>
                  <a:pt x="558613" y="4948783"/>
                  <a:pt x="560667" y="4929192"/>
                  <a:pt x="572983" y="4911559"/>
                </a:cubicBezTo>
                <a:cubicBezTo>
                  <a:pt x="575037" y="4909601"/>
                  <a:pt x="575037" y="4905681"/>
                  <a:pt x="575037" y="4903721"/>
                </a:cubicBezTo>
                <a:cubicBezTo>
                  <a:pt x="579143" y="4891967"/>
                  <a:pt x="583250" y="4880214"/>
                  <a:pt x="591462" y="4868459"/>
                </a:cubicBezTo>
                <a:cubicBezTo>
                  <a:pt x="597619" y="4858662"/>
                  <a:pt x="605832" y="4848868"/>
                  <a:pt x="605832" y="4837112"/>
                </a:cubicBezTo>
                <a:cubicBezTo>
                  <a:pt x="605832" y="4835152"/>
                  <a:pt x="607886" y="4831236"/>
                  <a:pt x="609938" y="4829277"/>
                </a:cubicBezTo>
                <a:cubicBezTo>
                  <a:pt x="618150" y="4819479"/>
                  <a:pt x="624309" y="4809684"/>
                  <a:pt x="624309" y="4795969"/>
                </a:cubicBezTo>
                <a:cubicBezTo>
                  <a:pt x="624309" y="4794011"/>
                  <a:pt x="626362" y="4790092"/>
                  <a:pt x="626362" y="4788134"/>
                </a:cubicBezTo>
                <a:cubicBezTo>
                  <a:pt x="622257" y="4790092"/>
                  <a:pt x="618150" y="4792052"/>
                  <a:pt x="614043" y="4794011"/>
                </a:cubicBezTo>
                <a:cubicBezTo>
                  <a:pt x="616095" y="4790092"/>
                  <a:pt x="618150" y="4786174"/>
                  <a:pt x="620201" y="4782256"/>
                </a:cubicBezTo>
                <a:cubicBezTo>
                  <a:pt x="630467" y="4770501"/>
                  <a:pt x="638679" y="4758746"/>
                  <a:pt x="648947" y="4746991"/>
                </a:cubicBezTo>
                <a:cubicBezTo>
                  <a:pt x="648947" y="4746991"/>
                  <a:pt x="648947" y="4745033"/>
                  <a:pt x="650998" y="4745033"/>
                </a:cubicBezTo>
                <a:cubicBezTo>
                  <a:pt x="653053" y="4743075"/>
                  <a:pt x="653053" y="4741114"/>
                  <a:pt x="655104" y="4739154"/>
                </a:cubicBezTo>
                <a:cubicBezTo>
                  <a:pt x="657155" y="4735236"/>
                  <a:pt x="659210" y="4733279"/>
                  <a:pt x="661261" y="4729360"/>
                </a:cubicBezTo>
                <a:cubicBezTo>
                  <a:pt x="663315" y="4723483"/>
                  <a:pt x="667422" y="4715644"/>
                  <a:pt x="669473" y="4709769"/>
                </a:cubicBezTo>
                <a:cubicBezTo>
                  <a:pt x="665367" y="4717605"/>
                  <a:pt x="659210" y="4725441"/>
                  <a:pt x="650998" y="4731318"/>
                </a:cubicBezTo>
                <a:cubicBezTo>
                  <a:pt x="648947" y="4733279"/>
                  <a:pt x="648947" y="4735236"/>
                  <a:pt x="646891" y="4735236"/>
                </a:cubicBezTo>
                <a:cubicBezTo>
                  <a:pt x="638679" y="4745033"/>
                  <a:pt x="632522" y="4754828"/>
                  <a:pt x="624309" y="4764625"/>
                </a:cubicBezTo>
                <a:cubicBezTo>
                  <a:pt x="620201" y="4760706"/>
                  <a:pt x="616095" y="4758746"/>
                  <a:pt x="607886" y="4760706"/>
                </a:cubicBezTo>
                <a:cubicBezTo>
                  <a:pt x="611991" y="4764625"/>
                  <a:pt x="616095" y="4766583"/>
                  <a:pt x="620201" y="4770501"/>
                </a:cubicBezTo>
                <a:cubicBezTo>
                  <a:pt x="609938" y="4784216"/>
                  <a:pt x="599674" y="4795969"/>
                  <a:pt x="587356" y="4809684"/>
                </a:cubicBezTo>
                <a:cubicBezTo>
                  <a:pt x="587356" y="4799888"/>
                  <a:pt x="587356" y="4794011"/>
                  <a:pt x="587356" y="4788134"/>
                </a:cubicBezTo>
                <a:cubicBezTo>
                  <a:pt x="595565" y="4788134"/>
                  <a:pt x="601725" y="4788134"/>
                  <a:pt x="603781" y="4778338"/>
                </a:cubicBezTo>
                <a:cubicBezTo>
                  <a:pt x="599674" y="4778338"/>
                  <a:pt x="595565" y="4778338"/>
                  <a:pt x="589407" y="4778338"/>
                </a:cubicBezTo>
                <a:cubicBezTo>
                  <a:pt x="599674" y="4764625"/>
                  <a:pt x="607886" y="4754828"/>
                  <a:pt x="616095" y="4743075"/>
                </a:cubicBezTo>
                <a:cubicBezTo>
                  <a:pt x="611991" y="4745033"/>
                  <a:pt x="607886" y="4745033"/>
                  <a:pt x="605832" y="4746991"/>
                </a:cubicBezTo>
                <a:cubicBezTo>
                  <a:pt x="591462" y="4764625"/>
                  <a:pt x="577089" y="4782256"/>
                  <a:pt x="562719" y="4799888"/>
                </a:cubicBezTo>
                <a:cubicBezTo>
                  <a:pt x="558613" y="4805765"/>
                  <a:pt x="552453" y="4807725"/>
                  <a:pt x="542189" y="4809684"/>
                </a:cubicBezTo>
                <a:cubicBezTo>
                  <a:pt x="558613" y="4786174"/>
                  <a:pt x="575037" y="4764625"/>
                  <a:pt x="589407" y="4743075"/>
                </a:cubicBezTo>
                <a:cubicBezTo>
                  <a:pt x="589407" y="4743075"/>
                  <a:pt x="587356" y="4741114"/>
                  <a:pt x="587356" y="4741114"/>
                </a:cubicBezTo>
                <a:cubicBezTo>
                  <a:pt x="570931" y="4760706"/>
                  <a:pt x="554507" y="4780299"/>
                  <a:pt x="538083" y="4803805"/>
                </a:cubicBezTo>
                <a:cubicBezTo>
                  <a:pt x="540137" y="4795969"/>
                  <a:pt x="542189" y="4792052"/>
                  <a:pt x="544241" y="4784216"/>
                </a:cubicBezTo>
                <a:cubicBezTo>
                  <a:pt x="536031" y="4792052"/>
                  <a:pt x="531925" y="4795969"/>
                  <a:pt x="527817" y="4801848"/>
                </a:cubicBezTo>
                <a:cubicBezTo>
                  <a:pt x="525765" y="4803805"/>
                  <a:pt x="523711" y="4805765"/>
                  <a:pt x="521659" y="4809684"/>
                </a:cubicBezTo>
                <a:cubicBezTo>
                  <a:pt x="521659" y="4815561"/>
                  <a:pt x="517553" y="4821439"/>
                  <a:pt x="513447" y="4827315"/>
                </a:cubicBezTo>
                <a:cubicBezTo>
                  <a:pt x="511395" y="4831236"/>
                  <a:pt x="509341" y="4833194"/>
                  <a:pt x="507289" y="4835152"/>
                </a:cubicBezTo>
                <a:cubicBezTo>
                  <a:pt x="503181" y="4846908"/>
                  <a:pt x="501129" y="4856703"/>
                  <a:pt x="499077" y="4868459"/>
                </a:cubicBezTo>
                <a:cubicBezTo>
                  <a:pt x="497022" y="4876297"/>
                  <a:pt x="494971" y="4882172"/>
                  <a:pt x="490865" y="4890008"/>
                </a:cubicBezTo>
                <a:cubicBezTo>
                  <a:pt x="482653" y="4907640"/>
                  <a:pt x="476492" y="4925274"/>
                  <a:pt x="472387" y="4942906"/>
                </a:cubicBezTo>
                <a:cubicBezTo>
                  <a:pt x="470335" y="4952699"/>
                  <a:pt x="468283" y="4954659"/>
                  <a:pt x="458016" y="4968376"/>
                </a:cubicBezTo>
                <a:cubicBezTo>
                  <a:pt x="462123" y="4950741"/>
                  <a:pt x="466229" y="4937028"/>
                  <a:pt x="470335" y="4921355"/>
                </a:cubicBezTo>
                <a:cubicBezTo>
                  <a:pt x="472387" y="4915477"/>
                  <a:pt x="474441" y="4909601"/>
                  <a:pt x="476492" y="4901763"/>
                </a:cubicBezTo>
                <a:cubicBezTo>
                  <a:pt x="480599" y="4886090"/>
                  <a:pt x="482653" y="4870417"/>
                  <a:pt x="488811" y="4854743"/>
                </a:cubicBezTo>
                <a:cubicBezTo>
                  <a:pt x="492917" y="4844950"/>
                  <a:pt x="494971" y="4835152"/>
                  <a:pt x="499077" y="4825358"/>
                </a:cubicBezTo>
                <a:cubicBezTo>
                  <a:pt x="490865" y="4825358"/>
                  <a:pt x="484705" y="4831236"/>
                  <a:pt x="480599" y="4839070"/>
                </a:cubicBezTo>
                <a:cubicBezTo>
                  <a:pt x="478546" y="4842989"/>
                  <a:pt x="476492" y="4848868"/>
                  <a:pt x="468283" y="4844950"/>
                </a:cubicBezTo>
                <a:cubicBezTo>
                  <a:pt x="478546" y="4831236"/>
                  <a:pt x="488811" y="4819479"/>
                  <a:pt x="497022" y="4805765"/>
                </a:cubicBezTo>
                <a:cubicBezTo>
                  <a:pt x="497022" y="4803805"/>
                  <a:pt x="494971" y="4803805"/>
                  <a:pt x="494971" y="4801848"/>
                </a:cubicBezTo>
                <a:cubicBezTo>
                  <a:pt x="488811" y="4809684"/>
                  <a:pt x="482653" y="4811645"/>
                  <a:pt x="474441" y="4811645"/>
                </a:cubicBezTo>
                <a:cubicBezTo>
                  <a:pt x="474441" y="4815561"/>
                  <a:pt x="476492" y="4821439"/>
                  <a:pt x="474441" y="4823397"/>
                </a:cubicBezTo>
                <a:cubicBezTo>
                  <a:pt x="470335" y="4827315"/>
                  <a:pt x="468283" y="4831236"/>
                  <a:pt x="466229" y="4835152"/>
                </a:cubicBezTo>
                <a:cubicBezTo>
                  <a:pt x="466229" y="4835152"/>
                  <a:pt x="466229" y="4837112"/>
                  <a:pt x="466229" y="4837112"/>
                </a:cubicBezTo>
                <a:cubicBezTo>
                  <a:pt x="466229" y="4837112"/>
                  <a:pt x="466229" y="4837112"/>
                  <a:pt x="464175" y="4837112"/>
                </a:cubicBezTo>
                <a:cubicBezTo>
                  <a:pt x="462123" y="4841030"/>
                  <a:pt x="460069" y="4846908"/>
                  <a:pt x="455962" y="4850826"/>
                </a:cubicBezTo>
                <a:cubicBezTo>
                  <a:pt x="449805" y="4846908"/>
                  <a:pt x="451856" y="4841030"/>
                  <a:pt x="451856" y="4837112"/>
                </a:cubicBezTo>
                <a:cubicBezTo>
                  <a:pt x="449805" y="4835152"/>
                  <a:pt x="449805" y="4835152"/>
                  <a:pt x="447754" y="4833194"/>
                </a:cubicBezTo>
                <a:cubicBezTo>
                  <a:pt x="449805" y="4831236"/>
                  <a:pt x="451856" y="4829277"/>
                  <a:pt x="453911" y="4827315"/>
                </a:cubicBezTo>
                <a:cubicBezTo>
                  <a:pt x="455962" y="4821439"/>
                  <a:pt x="458016" y="4815561"/>
                  <a:pt x="460069" y="4809684"/>
                </a:cubicBezTo>
                <a:cubicBezTo>
                  <a:pt x="453911" y="4809684"/>
                  <a:pt x="451856" y="4811645"/>
                  <a:pt x="449805" y="4819479"/>
                </a:cubicBezTo>
                <a:cubicBezTo>
                  <a:pt x="449805" y="4821439"/>
                  <a:pt x="447754" y="4823397"/>
                  <a:pt x="447754" y="4825358"/>
                </a:cubicBezTo>
                <a:cubicBezTo>
                  <a:pt x="441593" y="4833194"/>
                  <a:pt x="433380" y="4839070"/>
                  <a:pt x="427223" y="4846908"/>
                </a:cubicBezTo>
                <a:cubicBezTo>
                  <a:pt x="425169" y="4844950"/>
                  <a:pt x="423117" y="4842989"/>
                  <a:pt x="419011" y="4841030"/>
                </a:cubicBezTo>
                <a:cubicBezTo>
                  <a:pt x="421063" y="4839070"/>
                  <a:pt x="421063" y="4835152"/>
                  <a:pt x="421063" y="4835152"/>
                </a:cubicBezTo>
                <a:cubicBezTo>
                  <a:pt x="425169" y="4833194"/>
                  <a:pt x="431326" y="4833194"/>
                  <a:pt x="433380" y="4831236"/>
                </a:cubicBezTo>
                <a:cubicBezTo>
                  <a:pt x="441593" y="4821439"/>
                  <a:pt x="449805" y="4809684"/>
                  <a:pt x="458016" y="4799888"/>
                </a:cubicBezTo>
                <a:cubicBezTo>
                  <a:pt x="460069" y="4797930"/>
                  <a:pt x="462123" y="4795969"/>
                  <a:pt x="464175" y="4792052"/>
                </a:cubicBezTo>
                <a:cubicBezTo>
                  <a:pt x="468283" y="4778338"/>
                  <a:pt x="472387" y="4766583"/>
                  <a:pt x="476492" y="4752870"/>
                </a:cubicBezTo>
                <a:cubicBezTo>
                  <a:pt x="470335" y="4758746"/>
                  <a:pt x="464175" y="4764625"/>
                  <a:pt x="458016" y="4772461"/>
                </a:cubicBezTo>
                <a:cubicBezTo>
                  <a:pt x="453911" y="4778338"/>
                  <a:pt x="449805" y="4786174"/>
                  <a:pt x="445699" y="4792052"/>
                </a:cubicBezTo>
                <a:cubicBezTo>
                  <a:pt x="441593" y="4797930"/>
                  <a:pt x="437487" y="4803805"/>
                  <a:pt x="427223" y="4803805"/>
                </a:cubicBezTo>
                <a:cubicBezTo>
                  <a:pt x="425169" y="4803805"/>
                  <a:pt x="423117" y="4805765"/>
                  <a:pt x="423117" y="4805765"/>
                </a:cubicBezTo>
                <a:cubicBezTo>
                  <a:pt x="425169" y="4813603"/>
                  <a:pt x="416955" y="4813603"/>
                  <a:pt x="410796" y="4817521"/>
                </a:cubicBezTo>
                <a:cubicBezTo>
                  <a:pt x="410796" y="4815561"/>
                  <a:pt x="410796" y="4813603"/>
                  <a:pt x="410796" y="4813603"/>
                </a:cubicBezTo>
                <a:cubicBezTo>
                  <a:pt x="421063" y="4799888"/>
                  <a:pt x="423117" y="4792052"/>
                  <a:pt x="421063" y="4776378"/>
                </a:cubicBezTo>
                <a:cubicBezTo>
                  <a:pt x="421063" y="4770501"/>
                  <a:pt x="423117" y="4764625"/>
                  <a:pt x="427223" y="4760706"/>
                </a:cubicBezTo>
                <a:cubicBezTo>
                  <a:pt x="437487" y="4752870"/>
                  <a:pt x="441593" y="4743075"/>
                  <a:pt x="445699" y="4731318"/>
                </a:cubicBezTo>
                <a:cubicBezTo>
                  <a:pt x="445699" y="4727400"/>
                  <a:pt x="447754" y="4723483"/>
                  <a:pt x="449805" y="4721523"/>
                </a:cubicBezTo>
                <a:cubicBezTo>
                  <a:pt x="451856" y="4717605"/>
                  <a:pt x="453911" y="4713686"/>
                  <a:pt x="458016" y="4709769"/>
                </a:cubicBezTo>
                <a:cubicBezTo>
                  <a:pt x="453911" y="4709769"/>
                  <a:pt x="451856" y="4707808"/>
                  <a:pt x="447754" y="4707808"/>
                </a:cubicBezTo>
                <a:cubicBezTo>
                  <a:pt x="447754" y="4696055"/>
                  <a:pt x="462123" y="4705850"/>
                  <a:pt x="462123" y="4699974"/>
                </a:cubicBezTo>
                <a:cubicBezTo>
                  <a:pt x="460069" y="4696055"/>
                  <a:pt x="455962" y="4694095"/>
                  <a:pt x="453911" y="4690176"/>
                </a:cubicBezTo>
                <a:cubicBezTo>
                  <a:pt x="439541" y="4694095"/>
                  <a:pt x="439541" y="4709769"/>
                  <a:pt x="431326" y="4721523"/>
                </a:cubicBezTo>
                <a:cubicBezTo>
                  <a:pt x="429274" y="4719565"/>
                  <a:pt x="427223" y="4717605"/>
                  <a:pt x="425169" y="4715644"/>
                </a:cubicBezTo>
                <a:cubicBezTo>
                  <a:pt x="416955" y="4719565"/>
                  <a:pt x="412850" y="4725441"/>
                  <a:pt x="412850" y="4733279"/>
                </a:cubicBezTo>
                <a:cubicBezTo>
                  <a:pt x="412850" y="4739154"/>
                  <a:pt x="408744" y="4741114"/>
                  <a:pt x="404639" y="4745033"/>
                </a:cubicBezTo>
                <a:cubicBezTo>
                  <a:pt x="396426" y="4750910"/>
                  <a:pt x="388214" y="4754828"/>
                  <a:pt x="377950" y="4758746"/>
                </a:cubicBezTo>
                <a:cubicBezTo>
                  <a:pt x="377950" y="4762664"/>
                  <a:pt x="380002" y="4766583"/>
                  <a:pt x="375896" y="4772461"/>
                </a:cubicBezTo>
                <a:cubicBezTo>
                  <a:pt x="369739" y="4778338"/>
                  <a:pt x="357420" y="4778338"/>
                  <a:pt x="353315" y="4788134"/>
                </a:cubicBezTo>
                <a:cubicBezTo>
                  <a:pt x="351260" y="4790092"/>
                  <a:pt x="347153" y="4792052"/>
                  <a:pt x="343048" y="4794011"/>
                </a:cubicBezTo>
                <a:cubicBezTo>
                  <a:pt x="336891" y="4797930"/>
                  <a:pt x="347153" y="4799888"/>
                  <a:pt x="345102" y="4801848"/>
                </a:cubicBezTo>
                <a:cubicBezTo>
                  <a:pt x="340996" y="4807725"/>
                  <a:pt x="345102" y="4821439"/>
                  <a:pt x="330732" y="4821439"/>
                </a:cubicBezTo>
                <a:cubicBezTo>
                  <a:pt x="328678" y="4821439"/>
                  <a:pt x="328678" y="4825358"/>
                  <a:pt x="326627" y="4827315"/>
                </a:cubicBezTo>
                <a:cubicBezTo>
                  <a:pt x="318411" y="4837112"/>
                  <a:pt x="310202" y="4848868"/>
                  <a:pt x="301991" y="4858662"/>
                </a:cubicBezTo>
                <a:cubicBezTo>
                  <a:pt x="299935" y="4860623"/>
                  <a:pt x="297881" y="4862581"/>
                  <a:pt x="295829" y="4864539"/>
                </a:cubicBezTo>
                <a:cubicBezTo>
                  <a:pt x="293778" y="4862581"/>
                  <a:pt x="293778" y="4862581"/>
                  <a:pt x="293778" y="4860623"/>
                </a:cubicBezTo>
                <a:cubicBezTo>
                  <a:pt x="306097" y="4841030"/>
                  <a:pt x="316359" y="4821439"/>
                  <a:pt x="328678" y="4801848"/>
                </a:cubicBezTo>
                <a:cubicBezTo>
                  <a:pt x="322519" y="4805765"/>
                  <a:pt x="320466" y="4811645"/>
                  <a:pt x="316359" y="4815561"/>
                </a:cubicBezTo>
                <a:cubicBezTo>
                  <a:pt x="312254" y="4819479"/>
                  <a:pt x="308148" y="4825358"/>
                  <a:pt x="304043" y="4829277"/>
                </a:cubicBezTo>
                <a:cubicBezTo>
                  <a:pt x="304043" y="4829277"/>
                  <a:pt x="304043" y="4829277"/>
                  <a:pt x="301991" y="4829277"/>
                </a:cubicBezTo>
                <a:cubicBezTo>
                  <a:pt x="308148" y="4819479"/>
                  <a:pt x="316359" y="4807725"/>
                  <a:pt x="322519" y="4797930"/>
                </a:cubicBezTo>
                <a:cubicBezTo>
                  <a:pt x="312254" y="4805765"/>
                  <a:pt x="306097" y="4817521"/>
                  <a:pt x="297881" y="4825358"/>
                </a:cubicBezTo>
                <a:cubicBezTo>
                  <a:pt x="289672" y="4835152"/>
                  <a:pt x="285567" y="4846908"/>
                  <a:pt x="275299" y="4854743"/>
                </a:cubicBezTo>
                <a:cubicBezTo>
                  <a:pt x="275299" y="4854743"/>
                  <a:pt x="273248" y="4852786"/>
                  <a:pt x="273248" y="4852786"/>
                </a:cubicBezTo>
                <a:cubicBezTo>
                  <a:pt x="281459" y="4839070"/>
                  <a:pt x="289672" y="4823397"/>
                  <a:pt x="297881" y="4805765"/>
                </a:cubicBezTo>
                <a:cubicBezTo>
                  <a:pt x="291724" y="4807725"/>
                  <a:pt x="287618" y="4809684"/>
                  <a:pt x="281459" y="4811645"/>
                </a:cubicBezTo>
                <a:cubicBezTo>
                  <a:pt x="283512" y="4805765"/>
                  <a:pt x="283512" y="4799888"/>
                  <a:pt x="285567" y="4794011"/>
                </a:cubicBezTo>
                <a:cubicBezTo>
                  <a:pt x="289672" y="4786174"/>
                  <a:pt x="295829" y="4795969"/>
                  <a:pt x="301991" y="4788134"/>
                </a:cubicBezTo>
                <a:cubicBezTo>
                  <a:pt x="295829" y="4776378"/>
                  <a:pt x="301991" y="4764625"/>
                  <a:pt x="310202" y="4754828"/>
                </a:cubicBezTo>
                <a:cubicBezTo>
                  <a:pt x="312254" y="4752870"/>
                  <a:pt x="314308" y="4750910"/>
                  <a:pt x="314308" y="4748952"/>
                </a:cubicBezTo>
                <a:cubicBezTo>
                  <a:pt x="318411" y="4743075"/>
                  <a:pt x="322519" y="4735236"/>
                  <a:pt x="326627" y="4729360"/>
                </a:cubicBezTo>
                <a:cubicBezTo>
                  <a:pt x="326627" y="4729360"/>
                  <a:pt x="324573" y="4727400"/>
                  <a:pt x="324573" y="4727400"/>
                </a:cubicBezTo>
                <a:lnTo>
                  <a:pt x="323601" y="4728094"/>
                </a:lnTo>
                <a:lnTo>
                  <a:pt x="324573" y="4719565"/>
                </a:lnTo>
                <a:cubicBezTo>
                  <a:pt x="322519" y="4722503"/>
                  <a:pt x="318927" y="4724462"/>
                  <a:pt x="316361" y="4727155"/>
                </a:cubicBezTo>
                <a:lnTo>
                  <a:pt x="315168" y="4734130"/>
                </a:lnTo>
                <a:lnTo>
                  <a:pt x="308148" y="4739154"/>
                </a:lnTo>
                <a:cubicBezTo>
                  <a:pt x="301991" y="4745033"/>
                  <a:pt x="297881" y="4750910"/>
                  <a:pt x="297881" y="4758746"/>
                </a:cubicBezTo>
                <a:cubicBezTo>
                  <a:pt x="297881" y="4760706"/>
                  <a:pt x="293778" y="4764625"/>
                  <a:pt x="291724" y="4766583"/>
                </a:cubicBezTo>
                <a:cubicBezTo>
                  <a:pt x="283512" y="4772461"/>
                  <a:pt x="277353" y="4778338"/>
                  <a:pt x="269142" y="4786174"/>
                </a:cubicBezTo>
                <a:cubicBezTo>
                  <a:pt x="265036" y="4784216"/>
                  <a:pt x="258876" y="4784216"/>
                  <a:pt x="256823" y="4792052"/>
                </a:cubicBezTo>
                <a:cubicBezTo>
                  <a:pt x="258876" y="4794011"/>
                  <a:pt x="260930" y="4794011"/>
                  <a:pt x="265036" y="4797930"/>
                </a:cubicBezTo>
                <a:cubicBezTo>
                  <a:pt x="258876" y="4803805"/>
                  <a:pt x="256823" y="4807725"/>
                  <a:pt x="250663" y="4811645"/>
                </a:cubicBezTo>
                <a:cubicBezTo>
                  <a:pt x="240400" y="4815561"/>
                  <a:pt x="232187" y="4821439"/>
                  <a:pt x="228081" y="4829277"/>
                </a:cubicBezTo>
                <a:cubicBezTo>
                  <a:pt x="223976" y="4835152"/>
                  <a:pt x="221924" y="4841030"/>
                  <a:pt x="217819" y="4846908"/>
                </a:cubicBezTo>
                <a:cubicBezTo>
                  <a:pt x="215763" y="4848868"/>
                  <a:pt x="213712" y="4850826"/>
                  <a:pt x="213712" y="4852786"/>
                </a:cubicBezTo>
                <a:cubicBezTo>
                  <a:pt x="213712" y="4837112"/>
                  <a:pt x="221924" y="4825358"/>
                  <a:pt x="230133" y="4813603"/>
                </a:cubicBezTo>
                <a:cubicBezTo>
                  <a:pt x="226027" y="4813603"/>
                  <a:pt x="221924" y="4813603"/>
                  <a:pt x="219870" y="4811645"/>
                </a:cubicBezTo>
                <a:cubicBezTo>
                  <a:pt x="215763" y="4809684"/>
                  <a:pt x="211658" y="4805765"/>
                  <a:pt x="217819" y="4801848"/>
                </a:cubicBezTo>
                <a:cubicBezTo>
                  <a:pt x="219870" y="4803805"/>
                  <a:pt x="221924" y="4805765"/>
                  <a:pt x="223976" y="4809684"/>
                </a:cubicBezTo>
                <a:cubicBezTo>
                  <a:pt x="234242" y="4797930"/>
                  <a:pt x="242454" y="4788134"/>
                  <a:pt x="250663" y="4778338"/>
                </a:cubicBezTo>
                <a:cubicBezTo>
                  <a:pt x="254771" y="4772461"/>
                  <a:pt x="258876" y="4766583"/>
                  <a:pt x="254771" y="4760706"/>
                </a:cubicBezTo>
                <a:cubicBezTo>
                  <a:pt x="267087" y="4762664"/>
                  <a:pt x="269142" y="4754828"/>
                  <a:pt x="271194" y="4746991"/>
                </a:cubicBezTo>
                <a:cubicBezTo>
                  <a:pt x="273248" y="4741114"/>
                  <a:pt x="277353" y="4735236"/>
                  <a:pt x="281459" y="4729360"/>
                </a:cubicBezTo>
                <a:cubicBezTo>
                  <a:pt x="262984" y="4737196"/>
                  <a:pt x="250663" y="4746991"/>
                  <a:pt x="240400" y="4760706"/>
                </a:cubicBezTo>
                <a:cubicBezTo>
                  <a:pt x="236295" y="4764625"/>
                  <a:pt x="234242" y="4770501"/>
                  <a:pt x="230133" y="4772461"/>
                </a:cubicBezTo>
                <a:cubicBezTo>
                  <a:pt x="219870" y="4776378"/>
                  <a:pt x="213712" y="4782256"/>
                  <a:pt x="207552" y="4792052"/>
                </a:cubicBezTo>
                <a:cubicBezTo>
                  <a:pt x="205497" y="4794011"/>
                  <a:pt x="203445" y="4794011"/>
                  <a:pt x="199339" y="4797930"/>
                </a:cubicBezTo>
                <a:cubicBezTo>
                  <a:pt x="199339" y="4788134"/>
                  <a:pt x="193182" y="4780299"/>
                  <a:pt x="205497" y="4772461"/>
                </a:cubicBezTo>
                <a:cubicBezTo>
                  <a:pt x="199339" y="4770501"/>
                  <a:pt x="195233" y="4768543"/>
                  <a:pt x="191128" y="4768543"/>
                </a:cubicBezTo>
                <a:cubicBezTo>
                  <a:pt x="191128" y="4772461"/>
                  <a:pt x="191128" y="4776378"/>
                  <a:pt x="191128" y="4778338"/>
                </a:cubicBezTo>
                <a:cubicBezTo>
                  <a:pt x="187021" y="4780299"/>
                  <a:pt x="178809" y="4782256"/>
                  <a:pt x="178809" y="4784216"/>
                </a:cubicBezTo>
                <a:cubicBezTo>
                  <a:pt x="176757" y="4792052"/>
                  <a:pt x="168545" y="4794011"/>
                  <a:pt x="164440" y="4799888"/>
                </a:cubicBezTo>
                <a:cubicBezTo>
                  <a:pt x="166491" y="4803805"/>
                  <a:pt x="170600" y="4807725"/>
                  <a:pt x="174704" y="4813603"/>
                </a:cubicBezTo>
                <a:cubicBezTo>
                  <a:pt x="158279" y="4809684"/>
                  <a:pt x="158279" y="4821439"/>
                  <a:pt x="154172" y="4829277"/>
                </a:cubicBezTo>
                <a:cubicBezTo>
                  <a:pt x="150070" y="4825358"/>
                  <a:pt x="148015" y="4823397"/>
                  <a:pt x="145964" y="4819479"/>
                </a:cubicBezTo>
                <a:cubicBezTo>
                  <a:pt x="143910" y="4817521"/>
                  <a:pt x="143910" y="4813603"/>
                  <a:pt x="143910" y="4809684"/>
                </a:cubicBezTo>
                <a:cubicBezTo>
                  <a:pt x="148015" y="4801848"/>
                  <a:pt x="152121" y="4792052"/>
                  <a:pt x="154172" y="4784216"/>
                </a:cubicBezTo>
                <a:cubicBezTo>
                  <a:pt x="154172" y="4782256"/>
                  <a:pt x="154172" y="4780299"/>
                  <a:pt x="154172" y="4774419"/>
                </a:cubicBezTo>
                <a:cubicBezTo>
                  <a:pt x="143910" y="4784216"/>
                  <a:pt x="135696" y="4792052"/>
                  <a:pt x="133642" y="4803805"/>
                </a:cubicBezTo>
                <a:cubicBezTo>
                  <a:pt x="133642" y="4805765"/>
                  <a:pt x="131591" y="4809684"/>
                  <a:pt x="129539" y="4811645"/>
                </a:cubicBezTo>
                <a:cubicBezTo>
                  <a:pt x="123380" y="4825358"/>
                  <a:pt x="115167" y="4837112"/>
                  <a:pt x="109009" y="4850826"/>
                </a:cubicBezTo>
                <a:cubicBezTo>
                  <a:pt x="106955" y="4854743"/>
                  <a:pt x="104904" y="4858662"/>
                  <a:pt x="109009" y="4862581"/>
                </a:cubicBezTo>
                <a:cubicBezTo>
                  <a:pt x="109009" y="4862581"/>
                  <a:pt x="109009" y="4864539"/>
                  <a:pt x="106955" y="4864539"/>
                </a:cubicBezTo>
                <a:cubicBezTo>
                  <a:pt x="102849" y="4864539"/>
                  <a:pt x="98743" y="4862581"/>
                  <a:pt x="94637" y="4862581"/>
                </a:cubicBezTo>
                <a:cubicBezTo>
                  <a:pt x="104904" y="4835152"/>
                  <a:pt x="127485" y="4815561"/>
                  <a:pt x="133642" y="4786174"/>
                </a:cubicBezTo>
                <a:cubicBezTo>
                  <a:pt x="129539" y="4788134"/>
                  <a:pt x="125434" y="4790092"/>
                  <a:pt x="123380" y="4792052"/>
                </a:cubicBezTo>
                <a:cubicBezTo>
                  <a:pt x="125434" y="4784216"/>
                  <a:pt x="127485" y="4778338"/>
                  <a:pt x="131591" y="4772461"/>
                </a:cubicBezTo>
                <a:cubicBezTo>
                  <a:pt x="135696" y="4766583"/>
                  <a:pt x="139804" y="4758746"/>
                  <a:pt x="141856" y="4750910"/>
                </a:cubicBezTo>
                <a:cubicBezTo>
                  <a:pt x="143910" y="4743075"/>
                  <a:pt x="150070" y="4739154"/>
                  <a:pt x="148015" y="4729360"/>
                </a:cubicBezTo>
                <a:cubicBezTo>
                  <a:pt x="148015" y="4727400"/>
                  <a:pt x="150070" y="4723483"/>
                  <a:pt x="154172" y="4721523"/>
                </a:cubicBezTo>
                <a:cubicBezTo>
                  <a:pt x="156228" y="4721523"/>
                  <a:pt x="160333" y="4723483"/>
                  <a:pt x="162386" y="4725441"/>
                </a:cubicBezTo>
                <a:cubicBezTo>
                  <a:pt x="164440" y="4725441"/>
                  <a:pt x="164440" y="4727400"/>
                  <a:pt x="168545" y="4729360"/>
                </a:cubicBezTo>
                <a:cubicBezTo>
                  <a:pt x="170600" y="4719565"/>
                  <a:pt x="162386" y="4715644"/>
                  <a:pt x="158279" y="4711726"/>
                </a:cubicBezTo>
                <a:cubicBezTo>
                  <a:pt x="166491" y="4694095"/>
                  <a:pt x="174704" y="4678422"/>
                  <a:pt x="182915" y="4660791"/>
                </a:cubicBezTo>
                <a:cubicBezTo>
                  <a:pt x="182915" y="4660791"/>
                  <a:pt x="180863" y="4660791"/>
                  <a:pt x="180863" y="4658831"/>
                </a:cubicBezTo>
                <a:cubicBezTo>
                  <a:pt x="178809" y="4660791"/>
                  <a:pt x="178809" y="4662748"/>
                  <a:pt x="176757" y="4664708"/>
                </a:cubicBezTo>
                <a:cubicBezTo>
                  <a:pt x="170600" y="4674503"/>
                  <a:pt x="166491" y="4686259"/>
                  <a:pt x="152121" y="4692135"/>
                </a:cubicBezTo>
                <a:cubicBezTo>
                  <a:pt x="152121" y="4688216"/>
                  <a:pt x="152121" y="4684301"/>
                  <a:pt x="154172" y="4680382"/>
                </a:cubicBezTo>
                <a:cubicBezTo>
                  <a:pt x="160333" y="4666666"/>
                  <a:pt x="164440" y="4654912"/>
                  <a:pt x="170600" y="4641198"/>
                </a:cubicBezTo>
                <a:cubicBezTo>
                  <a:pt x="172652" y="4635323"/>
                  <a:pt x="170600" y="4631404"/>
                  <a:pt x="166491" y="4627484"/>
                </a:cubicBezTo>
                <a:lnTo>
                  <a:pt x="161722" y="4634690"/>
                </a:lnTo>
                <a:lnTo>
                  <a:pt x="160333" y="4633362"/>
                </a:lnTo>
                <a:cubicBezTo>
                  <a:pt x="158279" y="4635323"/>
                  <a:pt x="158279" y="4637281"/>
                  <a:pt x="156228" y="4639238"/>
                </a:cubicBezTo>
                <a:lnTo>
                  <a:pt x="157750" y="4640692"/>
                </a:lnTo>
                <a:lnTo>
                  <a:pt x="141856" y="4664708"/>
                </a:lnTo>
                <a:cubicBezTo>
                  <a:pt x="141856" y="4664708"/>
                  <a:pt x="141856" y="4662748"/>
                  <a:pt x="141856" y="4662748"/>
                </a:cubicBezTo>
                <a:cubicBezTo>
                  <a:pt x="152121" y="4643157"/>
                  <a:pt x="160333" y="4623564"/>
                  <a:pt x="170600" y="4603973"/>
                </a:cubicBezTo>
                <a:cubicBezTo>
                  <a:pt x="178809" y="4588303"/>
                  <a:pt x="184970" y="4574586"/>
                  <a:pt x="193182" y="4558914"/>
                </a:cubicBezTo>
                <a:cubicBezTo>
                  <a:pt x="193182" y="4558914"/>
                  <a:pt x="193182" y="4556956"/>
                  <a:pt x="191128" y="4554995"/>
                </a:cubicBezTo>
                <a:cubicBezTo>
                  <a:pt x="189076" y="4558914"/>
                  <a:pt x="184970" y="4560875"/>
                  <a:pt x="180863" y="4564793"/>
                </a:cubicBezTo>
                <a:cubicBezTo>
                  <a:pt x="187021" y="4549119"/>
                  <a:pt x="191128" y="4537364"/>
                  <a:pt x="195233" y="4521690"/>
                </a:cubicBezTo>
                <a:cubicBezTo>
                  <a:pt x="189076" y="4525609"/>
                  <a:pt x="187021" y="4529528"/>
                  <a:pt x="182915" y="4531486"/>
                </a:cubicBezTo>
                <a:cubicBezTo>
                  <a:pt x="182915" y="4521690"/>
                  <a:pt x="187021" y="4513855"/>
                  <a:pt x="193182" y="4511894"/>
                </a:cubicBezTo>
                <a:cubicBezTo>
                  <a:pt x="201394" y="4507978"/>
                  <a:pt x="205497" y="4504059"/>
                  <a:pt x="207552" y="4496224"/>
                </a:cubicBezTo>
                <a:cubicBezTo>
                  <a:pt x="205497" y="4496224"/>
                  <a:pt x="203445" y="4494263"/>
                  <a:pt x="199339" y="4494263"/>
                </a:cubicBezTo>
                <a:cubicBezTo>
                  <a:pt x="199339" y="4486426"/>
                  <a:pt x="203445" y="4480550"/>
                  <a:pt x="209606" y="4476631"/>
                </a:cubicBezTo>
                <a:cubicBezTo>
                  <a:pt x="215763" y="4470753"/>
                  <a:pt x="226027" y="4468795"/>
                  <a:pt x="223976" y="4457039"/>
                </a:cubicBezTo>
                <a:cubicBezTo>
                  <a:pt x="223976" y="4457039"/>
                  <a:pt x="226027" y="4455079"/>
                  <a:pt x="226027" y="4455079"/>
                </a:cubicBezTo>
                <a:cubicBezTo>
                  <a:pt x="238347" y="4447242"/>
                  <a:pt x="238347" y="4435490"/>
                  <a:pt x="242454" y="4423732"/>
                </a:cubicBezTo>
                <a:cubicBezTo>
                  <a:pt x="238347" y="4427651"/>
                  <a:pt x="236295" y="4429611"/>
                  <a:pt x="234242" y="4431569"/>
                </a:cubicBezTo>
                <a:cubicBezTo>
                  <a:pt x="244506" y="4413938"/>
                  <a:pt x="254771" y="4398265"/>
                  <a:pt x="265036" y="4380633"/>
                </a:cubicBezTo>
                <a:cubicBezTo>
                  <a:pt x="267087" y="4382591"/>
                  <a:pt x="269142" y="4384552"/>
                  <a:pt x="273248" y="4386510"/>
                </a:cubicBezTo>
                <a:cubicBezTo>
                  <a:pt x="273248" y="4378673"/>
                  <a:pt x="273248" y="4372797"/>
                  <a:pt x="275299" y="4364960"/>
                </a:cubicBezTo>
                <a:cubicBezTo>
                  <a:pt x="283512" y="4361042"/>
                  <a:pt x="289672" y="4355163"/>
                  <a:pt x="285567" y="4343409"/>
                </a:cubicBezTo>
                <a:cubicBezTo>
                  <a:pt x="283512" y="4339490"/>
                  <a:pt x="289672" y="4329696"/>
                  <a:pt x="293778" y="4329696"/>
                </a:cubicBezTo>
                <a:cubicBezTo>
                  <a:pt x="304043" y="4327738"/>
                  <a:pt x="306097" y="4317940"/>
                  <a:pt x="314308" y="4315980"/>
                </a:cubicBezTo>
                <a:cubicBezTo>
                  <a:pt x="312254" y="4314022"/>
                  <a:pt x="310202" y="4312064"/>
                  <a:pt x="306097" y="4310104"/>
                </a:cubicBezTo>
                <a:lnTo>
                  <a:pt x="311667" y="4301241"/>
                </a:lnTo>
                <a:lnTo>
                  <a:pt x="317129" y="4304716"/>
                </a:lnTo>
                <a:cubicBezTo>
                  <a:pt x="318925" y="4304716"/>
                  <a:pt x="320465" y="4303248"/>
                  <a:pt x="322519" y="4300309"/>
                </a:cubicBezTo>
                <a:lnTo>
                  <a:pt x="332178" y="4283190"/>
                </a:lnTo>
                <a:lnTo>
                  <a:pt x="337916" y="4281696"/>
                </a:lnTo>
                <a:cubicBezTo>
                  <a:pt x="339969" y="4279247"/>
                  <a:pt x="340995" y="4275819"/>
                  <a:pt x="343048" y="4272881"/>
                </a:cubicBezTo>
                <a:cubicBezTo>
                  <a:pt x="345102" y="4267002"/>
                  <a:pt x="349207" y="4263086"/>
                  <a:pt x="353315" y="4257208"/>
                </a:cubicBezTo>
                <a:lnTo>
                  <a:pt x="352008" y="4250797"/>
                </a:lnTo>
                <a:lnTo>
                  <a:pt x="355369" y="4245453"/>
                </a:lnTo>
                <a:cubicBezTo>
                  <a:pt x="355369" y="4243494"/>
                  <a:pt x="359472" y="4241534"/>
                  <a:pt x="361526" y="4243494"/>
                </a:cubicBezTo>
                <a:cubicBezTo>
                  <a:pt x="367683" y="4245453"/>
                  <a:pt x="369739" y="4239576"/>
                  <a:pt x="371791" y="4235658"/>
                </a:cubicBezTo>
                <a:cubicBezTo>
                  <a:pt x="369739" y="4233698"/>
                  <a:pt x="367683" y="4233698"/>
                  <a:pt x="365632" y="4231738"/>
                </a:cubicBezTo>
                <a:cubicBezTo>
                  <a:pt x="367683" y="4225861"/>
                  <a:pt x="371791" y="4221942"/>
                  <a:pt x="373845" y="4216066"/>
                </a:cubicBezTo>
                <a:cubicBezTo>
                  <a:pt x="373845" y="4216066"/>
                  <a:pt x="371791" y="4214106"/>
                  <a:pt x="371791" y="4214106"/>
                </a:cubicBezTo>
                <a:cubicBezTo>
                  <a:pt x="371791" y="4216066"/>
                  <a:pt x="367683" y="4218024"/>
                  <a:pt x="365632" y="4221942"/>
                </a:cubicBezTo>
                <a:lnTo>
                  <a:pt x="361717" y="4226997"/>
                </a:lnTo>
                <a:lnTo>
                  <a:pt x="362553" y="4214841"/>
                </a:lnTo>
                <a:cubicBezTo>
                  <a:pt x="364606" y="4210677"/>
                  <a:pt x="367686" y="4207250"/>
                  <a:pt x="369739" y="4204311"/>
                </a:cubicBezTo>
                <a:cubicBezTo>
                  <a:pt x="384108" y="4184720"/>
                  <a:pt x="355369" y="4075006"/>
                  <a:pt x="365632" y="4053457"/>
                </a:cubicBezTo>
                <a:cubicBezTo>
                  <a:pt x="371791" y="4041702"/>
                  <a:pt x="371791" y="4027989"/>
                  <a:pt x="384108" y="4020153"/>
                </a:cubicBezTo>
                <a:cubicBezTo>
                  <a:pt x="386163" y="4020153"/>
                  <a:pt x="384108" y="4016235"/>
                  <a:pt x="386163" y="4014274"/>
                </a:cubicBezTo>
                <a:cubicBezTo>
                  <a:pt x="386163" y="4010355"/>
                  <a:pt x="388214" y="4008397"/>
                  <a:pt x="390267" y="4004479"/>
                </a:cubicBezTo>
                <a:cubicBezTo>
                  <a:pt x="400532" y="3988806"/>
                  <a:pt x="412850" y="3975093"/>
                  <a:pt x="423117" y="3959419"/>
                </a:cubicBezTo>
                <a:cubicBezTo>
                  <a:pt x="425169" y="3957458"/>
                  <a:pt x="425169" y="3953540"/>
                  <a:pt x="425169" y="3949623"/>
                </a:cubicBezTo>
                <a:cubicBezTo>
                  <a:pt x="425169" y="3949623"/>
                  <a:pt x="423117" y="3949623"/>
                  <a:pt x="423117" y="3949623"/>
                </a:cubicBezTo>
                <a:cubicBezTo>
                  <a:pt x="414901" y="3955500"/>
                  <a:pt x="406693" y="3963336"/>
                  <a:pt x="396426" y="3969214"/>
                </a:cubicBezTo>
                <a:cubicBezTo>
                  <a:pt x="392321" y="3961377"/>
                  <a:pt x="388214" y="3955500"/>
                  <a:pt x="384108" y="3949623"/>
                </a:cubicBezTo>
                <a:cubicBezTo>
                  <a:pt x="371791" y="3949623"/>
                  <a:pt x="361526" y="3945705"/>
                  <a:pt x="355369" y="3957458"/>
                </a:cubicBezTo>
                <a:cubicBezTo>
                  <a:pt x="349207" y="3959419"/>
                  <a:pt x="345102" y="3949623"/>
                  <a:pt x="338942" y="3959419"/>
                </a:cubicBezTo>
                <a:cubicBezTo>
                  <a:pt x="340996" y="3961377"/>
                  <a:pt x="343048" y="3965296"/>
                  <a:pt x="345102" y="3967254"/>
                </a:cubicBezTo>
                <a:cubicBezTo>
                  <a:pt x="334839" y="3977050"/>
                  <a:pt x="326627" y="3986845"/>
                  <a:pt x="318411" y="3996643"/>
                </a:cubicBezTo>
                <a:cubicBezTo>
                  <a:pt x="318411" y="3996643"/>
                  <a:pt x="316359" y="3994682"/>
                  <a:pt x="316359" y="3994682"/>
                </a:cubicBezTo>
                <a:cubicBezTo>
                  <a:pt x="318411" y="3990764"/>
                  <a:pt x="320466" y="3984887"/>
                  <a:pt x="324573" y="3980969"/>
                </a:cubicBezTo>
                <a:cubicBezTo>
                  <a:pt x="324573" y="3980969"/>
                  <a:pt x="324573" y="3980969"/>
                  <a:pt x="322519" y="3979010"/>
                </a:cubicBezTo>
                <a:cubicBezTo>
                  <a:pt x="320466" y="3980969"/>
                  <a:pt x="316359" y="3984887"/>
                  <a:pt x="314308" y="3988806"/>
                </a:cubicBezTo>
                <a:cubicBezTo>
                  <a:pt x="312254" y="3977050"/>
                  <a:pt x="295829" y="3980969"/>
                  <a:pt x="297881" y="3969214"/>
                </a:cubicBezTo>
                <a:cubicBezTo>
                  <a:pt x="293778" y="3971172"/>
                  <a:pt x="291724" y="3973133"/>
                  <a:pt x="287618" y="3975093"/>
                </a:cubicBezTo>
                <a:cubicBezTo>
                  <a:pt x="287618" y="3971172"/>
                  <a:pt x="287618" y="3967254"/>
                  <a:pt x="287618" y="3961377"/>
                </a:cubicBezTo>
                <a:cubicBezTo>
                  <a:pt x="277353" y="3971172"/>
                  <a:pt x="269142" y="3979010"/>
                  <a:pt x="258876" y="3986845"/>
                </a:cubicBezTo>
                <a:cubicBezTo>
                  <a:pt x="258876" y="3980969"/>
                  <a:pt x="258876" y="3979010"/>
                  <a:pt x="258876" y="3975093"/>
                </a:cubicBezTo>
                <a:cubicBezTo>
                  <a:pt x="250663" y="3980969"/>
                  <a:pt x="246557" y="3984887"/>
                  <a:pt x="240400" y="3988806"/>
                </a:cubicBezTo>
                <a:cubicBezTo>
                  <a:pt x="240400" y="3988806"/>
                  <a:pt x="238347" y="3988806"/>
                  <a:pt x="238347" y="3986845"/>
                </a:cubicBezTo>
                <a:cubicBezTo>
                  <a:pt x="246557" y="3975093"/>
                  <a:pt x="254771" y="3965296"/>
                  <a:pt x="262984" y="3953540"/>
                </a:cubicBezTo>
                <a:cubicBezTo>
                  <a:pt x="256823" y="3953540"/>
                  <a:pt x="252718" y="3955500"/>
                  <a:pt x="248611" y="3955500"/>
                </a:cubicBezTo>
                <a:cubicBezTo>
                  <a:pt x="250663" y="3951583"/>
                  <a:pt x="252718" y="3947665"/>
                  <a:pt x="252718" y="3945705"/>
                </a:cubicBezTo>
                <a:cubicBezTo>
                  <a:pt x="246557" y="3945705"/>
                  <a:pt x="242454" y="3943744"/>
                  <a:pt x="236295" y="3943744"/>
                </a:cubicBezTo>
                <a:cubicBezTo>
                  <a:pt x="223976" y="3957458"/>
                  <a:pt x="213712" y="3973133"/>
                  <a:pt x="193182" y="3980969"/>
                </a:cubicBezTo>
                <a:cubicBezTo>
                  <a:pt x="199339" y="3971172"/>
                  <a:pt x="203445" y="3963336"/>
                  <a:pt x="209606" y="3955500"/>
                </a:cubicBezTo>
                <a:cubicBezTo>
                  <a:pt x="215763" y="3947665"/>
                  <a:pt x="223976" y="3943744"/>
                  <a:pt x="223976" y="3928073"/>
                </a:cubicBezTo>
                <a:cubicBezTo>
                  <a:pt x="215763" y="3935909"/>
                  <a:pt x="207552" y="3941786"/>
                  <a:pt x="201394" y="3949623"/>
                </a:cubicBezTo>
                <a:cubicBezTo>
                  <a:pt x="195233" y="3955500"/>
                  <a:pt x="195233" y="3967254"/>
                  <a:pt x="182915" y="3969214"/>
                </a:cubicBezTo>
                <a:cubicBezTo>
                  <a:pt x="189076" y="3951583"/>
                  <a:pt x="203445" y="3939828"/>
                  <a:pt x="209606" y="3922194"/>
                </a:cubicBezTo>
                <a:cubicBezTo>
                  <a:pt x="205497" y="3924155"/>
                  <a:pt x="203445" y="3926112"/>
                  <a:pt x="199339" y="3930031"/>
                </a:cubicBezTo>
                <a:cubicBezTo>
                  <a:pt x="201394" y="3918276"/>
                  <a:pt x="211658" y="3910441"/>
                  <a:pt x="205497" y="3896727"/>
                </a:cubicBezTo>
                <a:cubicBezTo>
                  <a:pt x="195233" y="3900645"/>
                  <a:pt x="201394" y="3888889"/>
                  <a:pt x="195233" y="3886931"/>
                </a:cubicBezTo>
                <a:cubicBezTo>
                  <a:pt x="191128" y="3884971"/>
                  <a:pt x="184970" y="3883011"/>
                  <a:pt x="180863" y="3879092"/>
                </a:cubicBezTo>
                <a:cubicBezTo>
                  <a:pt x="172652" y="3881054"/>
                  <a:pt x="164440" y="3883011"/>
                  <a:pt x="156228" y="3884971"/>
                </a:cubicBezTo>
                <a:cubicBezTo>
                  <a:pt x="143910" y="3896727"/>
                  <a:pt x="133642" y="3916318"/>
                  <a:pt x="117221" y="3928073"/>
                </a:cubicBezTo>
                <a:cubicBezTo>
                  <a:pt x="119273" y="3922194"/>
                  <a:pt x="123380" y="3918276"/>
                  <a:pt x="125434" y="3912399"/>
                </a:cubicBezTo>
                <a:cubicBezTo>
                  <a:pt x="125434" y="3912399"/>
                  <a:pt x="123380" y="3910441"/>
                  <a:pt x="123380" y="3910441"/>
                </a:cubicBezTo>
                <a:cubicBezTo>
                  <a:pt x="121328" y="3914358"/>
                  <a:pt x="117221" y="3916318"/>
                  <a:pt x="115167" y="3920236"/>
                </a:cubicBezTo>
                <a:cubicBezTo>
                  <a:pt x="115167" y="3918276"/>
                  <a:pt x="115167" y="3914358"/>
                  <a:pt x="117221" y="3912399"/>
                </a:cubicBezTo>
                <a:cubicBezTo>
                  <a:pt x="123380" y="3902603"/>
                  <a:pt x="131591" y="3892808"/>
                  <a:pt x="137749" y="3884971"/>
                </a:cubicBezTo>
                <a:cubicBezTo>
                  <a:pt x="145964" y="3875174"/>
                  <a:pt x="152121" y="3865380"/>
                  <a:pt x="160333" y="3855582"/>
                </a:cubicBezTo>
                <a:cubicBezTo>
                  <a:pt x="154172" y="3855582"/>
                  <a:pt x="148015" y="3857542"/>
                  <a:pt x="139804" y="3857542"/>
                </a:cubicBezTo>
                <a:cubicBezTo>
                  <a:pt x="133642" y="3861461"/>
                  <a:pt x="125434" y="3869298"/>
                  <a:pt x="117221" y="3875174"/>
                </a:cubicBezTo>
                <a:cubicBezTo>
                  <a:pt x="117221" y="3873216"/>
                  <a:pt x="117221" y="3869298"/>
                  <a:pt x="115167" y="3867340"/>
                </a:cubicBezTo>
                <a:cubicBezTo>
                  <a:pt x="111061" y="3869298"/>
                  <a:pt x="106955" y="3869298"/>
                  <a:pt x="104904" y="3869298"/>
                </a:cubicBezTo>
                <a:cubicBezTo>
                  <a:pt x="102849" y="3861461"/>
                  <a:pt x="115167" y="3857542"/>
                  <a:pt x="106955" y="3849707"/>
                </a:cubicBezTo>
                <a:cubicBezTo>
                  <a:pt x="98743" y="3847749"/>
                  <a:pt x="102849" y="3859500"/>
                  <a:pt x="94637" y="3857542"/>
                </a:cubicBezTo>
                <a:cubicBezTo>
                  <a:pt x="90531" y="3855582"/>
                  <a:pt x="84373" y="3861461"/>
                  <a:pt x="80267" y="3853625"/>
                </a:cubicBezTo>
                <a:cubicBezTo>
                  <a:pt x="86424" y="3847749"/>
                  <a:pt x="94637" y="3841869"/>
                  <a:pt x="100797" y="3834033"/>
                </a:cubicBezTo>
                <a:cubicBezTo>
                  <a:pt x="100797" y="3826196"/>
                  <a:pt x="86424" y="3835993"/>
                  <a:pt x="90531" y="3824238"/>
                </a:cubicBezTo>
                <a:cubicBezTo>
                  <a:pt x="74108" y="3820320"/>
                  <a:pt x="82319" y="3841869"/>
                  <a:pt x="70001" y="3843830"/>
                </a:cubicBezTo>
                <a:cubicBezTo>
                  <a:pt x="67948" y="3839911"/>
                  <a:pt x="67948" y="3835993"/>
                  <a:pt x="65894" y="3832076"/>
                </a:cubicBezTo>
                <a:cubicBezTo>
                  <a:pt x="61789" y="3835993"/>
                  <a:pt x="57685" y="3837951"/>
                  <a:pt x="51525" y="3841869"/>
                </a:cubicBezTo>
                <a:cubicBezTo>
                  <a:pt x="55632" y="3834033"/>
                  <a:pt x="59737" y="3830115"/>
                  <a:pt x="63843" y="3824238"/>
                </a:cubicBezTo>
                <a:cubicBezTo>
                  <a:pt x="53580" y="3826196"/>
                  <a:pt x="53580" y="3839911"/>
                  <a:pt x="39207" y="3837951"/>
                </a:cubicBezTo>
                <a:cubicBezTo>
                  <a:pt x="45365" y="3830115"/>
                  <a:pt x="51525" y="3822278"/>
                  <a:pt x="55632" y="3816402"/>
                </a:cubicBezTo>
                <a:cubicBezTo>
                  <a:pt x="61789" y="3806605"/>
                  <a:pt x="61789" y="3800729"/>
                  <a:pt x="53580" y="3792891"/>
                </a:cubicBezTo>
                <a:cubicBezTo>
                  <a:pt x="47419" y="3794850"/>
                  <a:pt x="55632" y="3804647"/>
                  <a:pt x="49471" y="3806605"/>
                </a:cubicBezTo>
                <a:cubicBezTo>
                  <a:pt x="45365" y="3796811"/>
                  <a:pt x="41259" y="3788973"/>
                  <a:pt x="35100" y="3779179"/>
                </a:cubicBezTo>
                <a:cubicBezTo>
                  <a:pt x="28943" y="3788973"/>
                  <a:pt x="28943" y="3798771"/>
                  <a:pt x="16624" y="3800729"/>
                </a:cubicBezTo>
                <a:cubicBezTo>
                  <a:pt x="24835" y="3787013"/>
                  <a:pt x="30995" y="3773300"/>
                  <a:pt x="30995" y="3757627"/>
                </a:cubicBezTo>
                <a:cubicBezTo>
                  <a:pt x="28943" y="3757627"/>
                  <a:pt x="24835" y="3755669"/>
                  <a:pt x="22783" y="3755669"/>
                </a:cubicBezTo>
                <a:cubicBezTo>
                  <a:pt x="24835" y="3749791"/>
                  <a:pt x="26889" y="3743913"/>
                  <a:pt x="26889" y="3739995"/>
                </a:cubicBezTo>
                <a:cubicBezTo>
                  <a:pt x="24835" y="3738035"/>
                  <a:pt x="22783" y="3738035"/>
                  <a:pt x="20729" y="3736078"/>
                </a:cubicBezTo>
                <a:cubicBezTo>
                  <a:pt x="26889" y="3722362"/>
                  <a:pt x="35100" y="3708649"/>
                  <a:pt x="41259" y="3694935"/>
                </a:cubicBezTo>
                <a:cubicBezTo>
                  <a:pt x="28943" y="3702771"/>
                  <a:pt x="22783" y="3714528"/>
                  <a:pt x="16624" y="3724322"/>
                </a:cubicBezTo>
                <a:cubicBezTo>
                  <a:pt x="12519" y="3732160"/>
                  <a:pt x="6359" y="3741953"/>
                  <a:pt x="200" y="3749791"/>
                </a:cubicBezTo>
                <a:cubicBezTo>
                  <a:pt x="-1854" y="3732160"/>
                  <a:pt x="12519" y="3720404"/>
                  <a:pt x="16624" y="3704731"/>
                </a:cubicBezTo>
                <a:cubicBezTo>
                  <a:pt x="20729" y="3689058"/>
                  <a:pt x="30995" y="3675344"/>
                  <a:pt x="39207" y="3659669"/>
                </a:cubicBezTo>
                <a:cubicBezTo>
                  <a:pt x="42286" y="3652812"/>
                  <a:pt x="46392" y="3645956"/>
                  <a:pt x="49984" y="3638854"/>
                </a:cubicBezTo>
                <a:lnTo>
                  <a:pt x="53454" y="3628813"/>
                </a:lnTo>
                <a:lnTo>
                  <a:pt x="54605" y="3628324"/>
                </a:lnTo>
                <a:lnTo>
                  <a:pt x="54137" y="3626838"/>
                </a:lnTo>
                <a:lnTo>
                  <a:pt x="57685" y="3616570"/>
                </a:lnTo>
                <a:lnTo>
                  <a:pt x="53012" y="3623258"/>
                </a:lnTo>
                <a:lnTo>
                  <a:pt x="51525" y="3618527"/>
                </a:lnTo>
                <a:lnTo>
                  <a:pt x="46266" y="3630236"/>
                </a:lnTo>
                <a:lnTo>
                  <a:pt x="43313" y="3631996"/>
                </a:lnTo>
                <a:cubicBezTo>
                  <a:pt x="40748" y="3632242"/>
                  <a:pt x="38181" y="3632242"/>
                  <a:pt x="37156" y="3634201"/>
                </a:cubicBezTo>
                <a:cubicBezTo>
                  <a:pt x="35100" y="3638119"/>
                  <a:pt x="30995" y="3642038"/>
                  <a:pt x="28943" y="3647916"/>
                </a:cubicBezTo>
                <a:cubicBezTo>
                  <a:pt x="33049" y="3634201"/>
                  <a:pt x="39207" y="3620489"/>
                  <a:pt x="47419" y="3606775"/>
                </a:cubicBezTo>
                <a:cubicBezTo>
                  <a:pt x="49471" y="3602857"/>
                  <a:pt x="55632" y="3600896"/>
                  <a:pt x="55632" y="3596978"/>
                </a:cubicBezTo>
                <a:cubicBezTo>
                  <a:pt x="57685" y="3591099"/>
                  <a:pt x="61789" y="3593060"/>
                  <a:pt x="63843" y="3595017"/>
                </a:cubicBezTo>
                <a:cubicBezTo>
                  <a:pt x="67948" y="3598938"/>
                  <a:pt x="70001" y="3600896"/>
                  <a:pt x="74108" y="3596978"/>
                </a:cubicBezTo>
                <a:lnTo>
                  <a:pt x="79079" y="3587488"/>
                </a:lnTo>
                <a:lnTo>
                  <a:pt x="72056" y="3600896"/>
                </a:lnTo>
                <a:cubicBezTo>
                  <a:pt x="79240" y="3597957"/>
                  <a:pt x="82832" y="3596488"/>
                  <a:pt x="84116" y="3594039"/>
                </a:cubicBezTo>
                <a:lnTo>
                  <a:pt x="82319" y="3581306"/>
                </a:lnTo>
                <a:lnTo>
                  <a:pt x="88479" y="3569550"/>
                </a:lnTo>
                <a:cubicBezTo>
                  <a:pt x="94637" y="3561713"/>
                  <a:pt x="92585" y="3548001"/>
                  <a:pt x="106955" y="3546040"/>
                </a:cubicBezTo>
                <a:cubicBezTo>
                  <a:pt x="106955" y="3546040"/>
                  <a:pt x="106955" y="3544082"/>
                  <a:pt x="109009" y="3544082"/>
                </a:cubicBezTo>
                <a:cubicBezTo>
                  <a:pt x="106955" y="3542121"/>
                  <a:pt x="104904" y="3542121"/>
                  <a:pt x="102849" y="3540163"/>
                </a:cubicBezTo>
                <a:cubicBezTo>
                  <a:pt x="106955" y="3532327"/>
                  <a:pt x="111061" y="3524489"/>
                  <a:pt x="115167" y="3516654"/>
                </a:cubicBezTo>
                <a:cubicBezTo>
                  <a:pt x="113113" y="3516654"/>
                  <a:pt x="111061" y="3514696"/>
                  <a:pt x="106955" y="3514696"/>
                </a:cubicBezTo>
                <a:cubicBezTo>
                  <a:pt x="106955" y="3510774"/>
                  <a:pt x="109009" y="3504898"/>
                  <a:pt x="109009" y="3500981"/>
                </a:cubicBezTo>
                <a:cubicBezTo>
                  <a:pt x="104904" y="3504898"/>
                  <a:pt x="100797" y="3506856"/>
                  <a:pt x="98743" y="3508816"/>
                </a:cubicBezTo>
                <a:cubicBezTo>
                  <a:pt x="102849" y="3500981"/>
                  <a:pt x="104904" y="3491185"/>
                  <a:pt x="113113" y="3487267"/>
                </a:cubicBezTo>
                <a:cubicBezTo>
                  <a:pt x="121328" y="3483347"/>
                  <a:pt x="123380" y="3479430"/>
                  <a:pt x="127485" y="3473552"/>
                </a:cubicBezTo>
                <a:cubicBezTo>
                  <a:pt x="131591" y="3467676"/>
                  <a:pt x="135696" y="3463757"/>
                  <a:pt x="133642" y="3455920"/>
                </a:cubicBezTo>
                <a:cubicBezTo>
                  <a:pt x="133642" y="3455920"/>
                  <a:pt x="135696" y="3452003"/>
                  <a:pt x="135696" y="3452003"/>
                </a:cubicBezTo>
                <a:cubicBezTo>
                  <a:pt x="143910" y="3450045"/>
                  <a:pt x="145964" y="3440247"/>
                  <a:pt x="152121" y="3436329"/>
                </a:cubicBezTo>
                <a:cubicBezTo>
                  <a:pt x="150070" y="3434369"/>
                  <a:pt x="145964" y="3432411"/>
                  <a:pt x="143910" y="3432411"/>
                </a:cubicBezTo>
                <a:cubicBezTo>
                  <a:pt x="143910" y="3432411"/>
                  <a:pt x="143910" y="3430453"/>
                  <a:pt x="145964" y="3430453"/>
                </a:cubicBezTo>
                <a:cubicBezTo>
                  <a:pt x="148015" y="3430453"/>
                  <a:pt x="152121" y="3432411"/>
                  <a:pt x="152121" y="3432411"/>
                </a:cubicBezTo>
                <a:cubicBezTo>
                  <a:pt x="158279" y="3422614"/>
                  <a:pt x="164440" y="3412818"/>
                  <a:pt x="170600" y="3403025"/>
                </a:cubicBezTo>
                <a:cubicBezTo>
                  <a:pt x="170600" y="3403025"/>
                  <a:pt x="168545" y="3403025"/>
                  <a:pt x="168545" y="3401065"/>
                </a:cubicBezTo>
                <a:cubicBezTo>
                  <a:pt x="164440" y="3403025"/>
                  <a:pt x="162386" y="3406943"/>
                  <a:pt x="158279" y="3408900"/>
                </a:cubicBezTo>
                <a:cubicBezTo>
                  <a:pt x="158279" y="3408900"/>
                  <a:pt x="156228" y="3408900"/>
                  <a:pt x="156228" y="3406943"/>
                </a:cubicBezTo>
                <a:cubicBezTo>
                  <a:pt x="164440" y="3395185"/>
                  <a:pt x="170600" y="3383434"/>
                  <a:pt x="178809" y="3373636"/>
                </a:cubicBezTo>
                <a:cubicBezTo>
                  <a:pt x="184970" y="3373636"/>
                  <a:pt x="189076" y="3375596"/>
                  <a:pt x="193182" y="3375596"/>
                </a:cubicBezTo>
                <a:cubicBezTo>
                  <a:pt x="191128" y="3369718"/>
                  <a:pt x="189076" y="3361880"/>
                  <a:pt x="189076" y="3356005"/>
                </a:cubicBezTo>
                <a:cubicBezTo>
                  <a:pt x="189076" y="3352087"/>
                  <a:pt x="195233" y="3350126"/>
                  <a:pt x="199339" y="3346207"/>
                </a:cubicBezTo>
                <a:cubicBezTo>
                  <a:pt x="199339" y="3346207"/>
                  <a:pt x="201394" y="3344249"/>
                  <a:pt x="201394" y="3344249"/>
                </a:cubicBezTo>
                <a:cubicBezTo>
                  <a:pt x="213712" y="3328576"/>
                  <a:pt x="223976" y="3312902"/>
                  <a:pt x="236295" y="3297230"/>
                </a:cubicBezTo>
                <a:cubicBezTo>
                  <a:pt x="236295" y="3297230"/>
                  <a:pt x="236295" y="3295271"/>
                  <a:pt x="236295" y="3295271"/>
                </a:cubicBezTo>
                <a:cubicBezTo>
                  <a:pt x="238347" y="3297230"/>
                  <a:pt x="240400" y="3297230"/>
                  <a:pt x="242454" y="3299190"/>
                </a:cubicBezTo>
                <a:cubicBezTo>
                  <a:pt x="248611" y="3295271"/>
                  <a:pt x="254771" y="3291353"/>
                  <a:pt x="260930" y="3287432"/>
                </a:cubicBezTo>
                <a:cubicBezTo>
                  <a:pt x="254771" y="3283517"/>
                  <a:pt x="250663" y="3279598"/>
                  <a:pt x="246557" y="3273720"/>
                </a:cubicBezTo>
                <a:cubicBezTo>
                  <a:pt x="248611" y="3269801"/>
                  <a:pt x="252718" y="3265883"/>
                  <a:pt x="254771" y="3263925"/>
                </a:cubicBezTo>
                <a:cubicBezTo>
                  <a:pt x="259903" y="3258048"/>
                  <a:pt x="262469" y="3254129"/>
                  <a:pt x="261699" y="3250701"/>
                </a:cubicBezTo>
                <a:lnTo>
                  <a:pt x="255789" y="3246056"/>
                </a:lnTo>
                <a:lnTo>
                  <a:pt x="258876" y="3242373"/>
                </a:lnTo>
                <a:lnTo>
                  <a:pt x="253856" y="3244537"/>
                </a:lnTo>
                <a:lnTo>
                  <a:pt x="248611" y="3240416"/>
                </a:lnTo>
                <a:cubicBezTo>
                  <a:pt x="256823" y="3236497"/>
                  <a:pt x="262984" y="3230620"/>
                  <a:pt x="271194" y="3228660"/>
                </a:cubicBezTo>
                <a:cubicBezTo>
                  <a:pt x="281459" y="3224742"/>
                  <a:pt x="281459" y="3216905"/>
                  <a:pt x="287618" y="3209069"/>
                </a:cubicBezTo>
                <a:cubicBezTo>
                  <a:pt x="283512" y="3211029"/>
                  <a:pt x="277353" y="3211029"/>
                  <a:pt x="273248" y="3212987"/>
                </a:cubicBezTo>
                <a:cubicBezTo>
                  <a:pt x="273248" y="3212987"/>
                  <a:pt x="271194" y="3211029"/>
                  <a:pt x="271194" y="3211029"/>
                </a:cubicBezTo>
                <a:cubicBezTo>
                  <a:pt x="275299" y="3205150"/>
                  <a:pt x="277353" y="3201232"/>
                  <a:pt x="281459" y="3195355"/>
                </a:cubicBezTo>
                <a:cubicBezTo>
                  <a:pt x="285567" y="3191438"/>
                  <a:pt x="287618" y="3189477"/>
                  <a:pt x="291724" y="3185559"/>
                </a:cubicBezTo>
                <a:cubicBezTo>
                  <a:pt x="289672" y="3185559"/>
                  <a:pt x="287618" y="3185559"/>
                  <a:pt x="287618" y="3185559"/>
                </a:cubicBezTo>
                <a:cubicBezTo>
                  <a:pt x="285567" y="3185559"/>
                  <a:pt x="283512" y="3183601"/>
                  <a:pt x="281459" y="3183601"/>
                </a:cubicBezTo>
                <a:cubicBezTo>
                  <a:pt x="281459" y="3173803"/>
                  <a:pt x="285567" y="3165970"/>
                  <a:pt x="285567" y="3158130"/>
                </a:cubicBezTo>
                <a:cubicBezTo>
                  <a:pt x="279405" y="3156172"/>
                  <a:pt x="273248" y="3152254"/>
                  <a:pt x="269142" y="3154212"/>
                </a:cubicBezTo>
                <a:cubicBezTo>
                  <a:pt x="258876" y="3156172"/>
                  <a:pt x="250663" y="3148336"/>
                  <a:pt x="242454" y="3144418"/>
                </a:cubicBezTo>
                <a:cubicBezTo>
                  <a:pt x="236295" y="3140499"/>
                  <a:pt x="228081" y="3136581"/>
                  <a:pt x="228081" y="3126786"/>
                </a:cubicBezTo>
                <a:cubicBezTo>
                  <a:pt x="230133" y="3122867"/>
                  <a:pt x="234242" y="3116990"/>
                  <a:pt x="234242" y="3113070"/>
                </a:cubicBezTo>
                <a:cubicBezTo>
                  <a:pt x="236295" y="3105234"/>
                  <a:pt x="240400" y="3099358"/>
                  <a:pt x="246557" y="3091521"/>
                </a:cubicBezTo>
                <a:cubicBezTo>
                  <a:pt x="258876" y="3077808"/>
                  <a:pt x="273248" y="3066051"/>
                  <a:pt x="283512" y="3050377"/>
                </a:cubicBezTo>
                <a:cubicBezTo>
                  <a:pt x="283512" y="3050377"/>
                  <a:pt x="283512" y="3048420"/>
                  <a:pt x="281459" y="3048420"/>
                </a:cubicBezTo>
                <a:lnTo>
                  <a:pt x="286387" y="3040583"/>
                </a:lnTo>
                <a:lnTo>
                  <a:pt x="288645" y="3040583"/>
                </a:lnTo>
                <a:lnTo>
                  <a:pt x="289672" y="3042541"/>
                </a:lnTo>
                <a:lnTo>
                  <a:pt x="292751" y="3040583"/>
                </a:lnTo>
                <a:lnTo>
                  <a:pt x="297881" y="3040583"/>
                </a:lnTo>
                <a:lnTo>
                  <a:pt x="295182" y="3039038"/>
                </a:lnTo>
                <a:lnTo>
                  <a:pt x="295829" y="3038625"/>
                </a:lnTo>
                <a:cubicBezTo>
                  <a:pt x="295829" y="3038625"/>
                  <a:pt x="297881" y="3038625"/>
                  <a:pt x="299935" y="3038625"/>
                </a:cubicBezTo>
                <a:lnTo>
                  <a:pt x="299935" y="3044501"/>
                </a:lnTo>
                <a:lnTo>
                  <a:pt x="299935" y="3048420"/>
                </a:lnTo>
                <a:lnTo>
                  <a:pt x="300963" y="3048420"/>
                </a:lnTo>
                <a:lnTo>
                  <a:pt x="301991" y="3052338"/>
                </a:lnTo>
                <a:cubicBezTo>
                  <a:pt x="304043" y="3050377"/>
                  <a:pt x="304043" y="3050377"/>
                  <a:pt x="306097" y="3048420"/>
                </a:cubicBezTo>
                <a:cubicBezTo>
                  <a:pt x="306097" y="3048420"/>
                  <a:pt x="304043" y="3048420"/>
                  <a:pt x="304043" y="3048420"/>
                </a:cubicBezTo>
                <a:lnTo>
                  <a:pt x="303005" y="3047430"/>
                </a:lnTo>
                <a:lnTo>
                  <a:pt x="314565" y="3036176"/>
                </a:lnTo>
                <a:cubicBezTo>
                  <a:pt x="318413" y="3033237"/>
                  <a:pt x="321492" y="3031767"/>
                  <a:pt x="322519" y="3032746"/>
                </a:cubicBezTo>
                <a:cubicBezTo>
                  <a:pt x="324573" y="3034707"/>
                  <a:pt x="326627" y="3036665"/>
                  <a:pt x="326627" y="3038625"/>
                </a:cubicBezTo>
                <a:cubicBezTo>
                  <a:pt x="336891" y="3038625"/>
                  <a:pt x="345102" y="3038625"/>
                  <a:pt x="353315" y="3040583"/>
                </a:cubicBezTo>
                <a:cubicBezTo>
                  <a:pt x="363578" y="3042541"/>
                  <a:pt x="369739" y="3034707"/>
                  <a:pt x="380002" y="3032746"/>
                </a:cubicBezTo>
                <a:cubicBezTo>
                  <a:pt x="382056" y="3034707"/>
                  <a:pt x="386163" y="3036665"/>
                  <a:pt x="388214" y="3038625"/>
                </a:cubicBezTo>
                <a:cubicBezTo>
                  <a:pt x="388214" y="3040583"/>
                  <a:pt x="386163" y="3042541"/>
                  <a:pt x="386163" y="3042541"/>
                </a:cubicBezTo>
                <a:cubicBezTo>
                  <a:pt x="382056" y="3044501"/>
                  <a:pt x="377950" y="3046459"/>
                  <a:pt x="373845" y="3048420"/>
                </a:cubicBezTo>
                <a:cubicBezTo>
                  <a:pt x="375896" y="3050377"/>
                  <a:pt x="377950" y="3050377"/>
                  <a:pt x="380002" y="3050377"/>
                </a:cubicBezTo>
                <a:cubicBezTo>
                  <a:pt x="386163" y="3046459"/>
                  <a:pt x="390267" y="3042541"/>
                  <a:pt x="396426" y="3038625"/>
                </a:cubicBezTo>
                <a:cubicBezTo>
                  <a:pt x="396426" y="3036665"/>
                  <a:pt x="396426" y="3034707"/>
                  <a:pt x="396426" y="3030788"/>
                </a:cubicBezTo>
                <a:cubicBezTo>
                  <a:pt x="416955" y="3028827"/>
                  <a:pt x="429274" y="3015114"/>
                  <a:pt x="445699" y="3003361"/>
                </a:cubicBezTo>
                <a:cubicBezTo>
                  <a:pt x="447754" y="3005318"/>
                  <a:pt x="449805" y="3005318"/>
                  <a:pt x="451856" y="3007278"/>
                </a:cubicBezTo>
                <a:cubicBezTo>
                  <a:pt x="445699" y="3013154"/>
                  <a:pt x="441593" y="3017073"/>
                  <a:pt x="437487" y="3022950"/>
                </a:cubicBezTo>
                <a:cubicBezTo>
                  <a:pt x="433380" y="3026870"/>
                  <a:pt x="427223" y="3032746"/>
                  <a:pt x="421063" y="3038625"/>
                </a:cubicBezTo>
                <a:cubicBezTo>
                  <a:pt x="429274" y="3038625"/>
                  <a:pt x="433380" y="3036665"/>
                  <a:pt x="439541" y="3034707"/>
                </a:cubicBezTo>
                <a:cubicBezTo>
                  <a:pt x="439541" y="3032746"/>
                  <a:pt x="439541" y="3032746"/>
                  <a:pt x="439541" y="3032746"/>
                </a:cubicBezTo>
                <a:cubicBezTo>
                  <a:pt x="439541" y="3030788"/>
                  <a:pt x="439541" y="3030788"/>
                  <a:pt x="439541" y="3028827"/>
                </a:cubicBezTo>
                <a:cubicBezTo>
                  <a:pt x="445699" y="3022950"/>
                  <a:pt x="449805" y="3015114"/>
                  <a:pt x="460069" y="3013154"/>
                </a:cubicBezTo>
                <a:cubicBezTo>
                  <a:pt x="460069" y="3015114"/>
                  <a:pt x="458016" y="3017073"/>
                  <a:pt x="455962" y="3020992"/>
                </a:cubicBezTo>
                <a:cubicBezTo>
                  <a:pt x="455962" y="3024910"/>
                  <a:pt x="453911" y="3026870"/>
                  <a:pt x="451856" y="3028827"/>
                </a:cubicBezTo>
                <a:cubicBezTo>
                  <a:pt x="449805" y="3030788"/>
                  <a:pt x="447754" y="3034707"/>
                  <a:pt x="445699" y="3036665"/>
                </a:cubicBezTo>
                <a:cubicBezTo>
                  <a:pt x="445699" y="3038625"/>
                  <a:pt x="445699" y="3038625"/>
                  <a:pt x="443647" y="3040583"/>
                </a:cubicBezTo>
                <a:cubicBezTo>
                  <a:pt x="443647" y="3040583"/>
                  <a:pt x="441593" y="3040583"/>
                  <a:pt x="441593" y="3040583"/>
                </a:cubicBezTo>
                <a:cubicBezTo>
                  <a:pt x="437487" y="3042541"/>
                  <a:pt x="433380" y="3046459"/>
                  <a:pt x="431326" y="3048420"/>
                </a:cubicBezTo>
                <a:cubicBezTo>
                  <a:pt x="429274" y="3050377"/>
                  <a:pt x="429274" y="3052338"/>
                  <a:pt x="431326" y="3054298"/>
                </a:cubicBezTo>
                <a:cubicBezTo>
                  <a:pt x="437487" y="3052338"/>
                  <a:pt x="441593" y="3050377"/>
                  <a:pt x="447754" y="3048420"/>
                </a:cubicBezTo>
                <a:cubicBezTo>
                  <a:pt x="443647" y="3056256"/>
                  <a:pt x="439541" y="3064092"/>
                  <a:pt x="431326" y="3069970"/>
                </a:cubicBezTo>
                <a:cubicBezTo>
                  <a:pt x="435431" y="3071930"/>
                  <a:pt x="435431" y="3075847"/>
                  <a:pt x="433380" y="3083685"/>
                </a:cubicBezTo>
                <a:cubicBezTo>
                  <a:pt x="437487" y="3079765"/>
                  <a:pt x="439541" y="3077808"/>
                  <a:pt x="441593" y="3075847"/>
                </a:cubicBezTo>
                <a:cubicBezTo>
                  <a:pt x="458016" y="3058216"/>
                  <a:pt x="470335" y="3036665"/>
                  <a:pt x="486759" y="3017073"/>
                </a:cubicBezTo>
                <a:cubicBezTo>
                  <a:pt x="486759" y="3017073"/>
                  <a:pt x="486759" y="3017073"/>
                  <a:pt x="484705" y="3017073"/>
                </a:cubicBezTo>
                <a:cubicBezTo>
                  <a:pt x="486759" y="3013154"/>
                  <a:pt x="488811" y="3011196"/>
                  <a:pt x="490865" y="3007278"/>
                </a:cubicBezTo>
                <a:cubicBezTo>
                  <a:pt x="490865" y="3007278"/>
                  <a:pt x="490865" y="3005318"/>
                  <a:pt x="490865" y="3005318"/>
                </a:cubicBezTo>
                <a:cubicBezTo>
                  <a:pt x="486759" y="3001399"/>
                  <a:pt x="484705" y="2997481"/>
                  <a:pt x="482653" y="2993563"/>
                </a:cubicBezTo>
                <a:cubicBezTo>
                  <a:pt x="482653" y="2991605"/>
                  <a:pt x="484705" y="2991605"/>
                  <a:pt x="484705" y="2989647"/>
                </a:cubicBezTo>
                <a:cubicBezTo>
                  <a:pt x="481626" y="2991605"/>
                  <a:pt x="480087" y="2993073"/>
                  <a:pt x="479059" y="2994053"/>
                </a:cubicBezTo>
                <a:lnTo>
                  <a:pt x="476494" y="2995523"/>
                </a:lnTo>
                <a:lnTo>
                  <a:pt x="478546" y="2993563"/>
                </a:lnTo>
                <a:cubicBezTo>
                  <a:pt x="486759" y="2989647"/>
                  <a:pt x="490865" y="2983768"/>
                  <a:pt x="494971" y="2975932"/>
                </a:cubicBezTo>
                <a:cubicBezTo>
                  <a:pt x="492917" y="2975932"/>
                  <a:pt x="490865" y="2977890"/>
                  <a:pt x="488811" y="2977890"/>
                </a:cubicBezTo>
                <a:cubicBezTo>
                  <a:pt x="490865" y="2973972"/>
                  <a:pt x="492917" y="2972014"/>
                  <a:pt x="494971" y="2968095"/>
                </a:cubicBezTo>
                <a:cubicBezTo>
                  <a:pt x="488811" y="2970056"/>
                  <a:pt x="486759" y="2977890"/>
                  <a:pt x="478546" y="2972014"/>
                </a:cubicBezTo>
                <a:cubicBezTo>
                  <a:pt x="480599" y="2966137"/>
                  <a:pt x="484705" y="2960259"/>
                  <a:pt x="488811" y="2954380"/>
                </a:cubicBezTo>
                <a:cubicBezTo>
                  <a:pt x="482653" y="2958298"/>
                  <a:pt x="478546" y="2962216"/>
                  <a:pt x="474441" y="2964176"/>
                </a:cubicBezTo>
                <a:cubicBezTo>
                  <a:pt x="472387" y="2964176"/>
                  <a:pt x="470335" y="2964176"/>
                  <a:pt x="468283" y="2964176"/>
                </a:cubicBezTo>
                <a:cubicBezTo>
                  <a:pt x="478546" y="2956341"/>
                  <a:pt x="472387" y="2952422"/>
                  <a:pt x="466229" y="2948504"/>
                </a:cubicBezTo>
                <a:cubicBezTo>
                  <a:pt x="472387" y="2942627"/>
                  <a:pt x="478546" y="2938706"/>
                  <a:pt x="482653" y="2932831"/>
                </a:cubicBezTo>
                <a:cubicBezTo>
                  <a:pt x="482653" y="2928912"/>
                  <a:pt x="480599" y="2926954"/>
                  <a:pt x="480599" y="2923036"/>
                </a:cubicBezTo>
                <a:cubicBezTo>
                  <a:pt x="474441" y="2928912"/>
                  <a:pt x="470335" y="2932831"/>
                  <a:pt x="462123" y="2934789"/>
                </a:cubicBezTo>
                <a:cubicBezTo>
                  <a:pt x="455962" y="2930872"/>
                  <a:pt x="451856" y="2926954"/>
                  <a:pt x="449805" y="2923036"/>
                </a:cubicBezTo>
                <a:cubicBezTo>
                  <a:pt x="449805" y="2923036"/>
                  <a:pt x="447754" y="2923036"/>
                  <a:pt x="447754" y="2924994"/>
                </a:cubicBezTo>
                <a:cubicBezTo>
                  <a:pt x="445699" y="2926954"/>
                  <a:pt x="443647" y="2928912"/>
                  <a:pt x="441593" y="2930872"/>
                </a:cubicBezTo>
                <a:cubicBezTo>
                  <a:pt x="441593" y="2938706"/>
                  <a:pt x="433380" y="2944585"/>
                  <a:pt x="429274" y="2950464"/>
                </a:cubicBezTo>
                <a:cubicBezTo>
                  <a:pt x="423117" y="2958298"/>
                  <a:pt x="414901" y="2966137"/>
                  <a:pt x="402587" y="2966137"/>
                </a:cubicBezTo>
                <a:cubicBezTo>
                  <a:pt x="404639" y="2956341"/>
                  <a:pt x="408744" y="2950464"/>
                  <a:pt x="414901" y="2946545"/>
                </a:cubicBezTo>
                <a:cubicBezTo>
                  <a:pt x="425169" y="2938706"/>
                  <a:pt x="433380" y="2928912"/>
                  <a:pt x="439541" y="2919117"/>
                </a:cubicBezTo>
                <a:cubicBezTo>
                  <a:pt x="441593" y="2917157"/>
                  <a:pt x="443647" y="2915198"/>
                  <a:pt x="445699" y="2913238"/>
                </a:cubicBezTo>
                <a:cubicBezTo>
                  <a:pt x="445699" y="2911281"/>
                  <a:pt x="445699" y="2909320"/>
                  <a:pt x="445699" y="2909320"/>
                </a:cubicBezTo>
                <a:cubicBezTo>
                  <a:pt x="445699" y="2899526"/>
                  <a:pt x="451856" y="2897565"/>
                  <a:pt x="458016" y="2901484"/>
                </a:cubicBezTo>
                <a:lnTo>
                  <a:pt x="458016" y="2903444"/>
                </a:lnTo>
                <a:cubicBezTo>
                  <a:pt x="460069" y="2905402"/>
                  <a:pt x="462123" y="2907363"/>
                  <a:pt x="466229" y="2905402"/>
                </a:cubicBezTo>
                <a:cubicBezTo>
                  <a:pt x="468283" y="2903444"/>
                  <a:pt x="470335" y="2901484"/>
                  <a:pt x="472387" y="2899526"/>
                </a:cubicBezTo>
                <a:cubicBezTo>
                  <a:pt x="474441" y="2893647"/>
                  <a:pt x="474441" y="2889728"/>
                  <a:pt x="478546" y="2883853"/>
                </a:cubicBezTo>
                <a:cubicBezTo>
                  <a:pt x="476492" y="2879934"/>
                  <a:pt x="472387" y="2877976"/>
                  <a:pt x="470335" y="2874055"/>
                </a:cubicBezTo>
                <a:cubicBezTo>
                  <a:pt x="470335" y="2874055"/>
                  <a:pt x="470335" y="2874055"/>
                  <a:pt x="468283" y="2876016"/>
                </a:cubicBezTo>
                <a:cubicBezTo>
                  <a:pt x="464175" y="2879934"/>
                  <a:pt x="458016" y="2883853"/>
                  <a:pt x="455962" y="2887771"/>
                </a:cubicBezTo>
                <a:cubicBezTo>
                  <a:pt x="449805" y="2897565"/>
                  <a:pt x="439541" y="2903444"/>
                  <a:pt x="431326" y="2911281"/>
                </a:cubicBezTo>
                <a:cubicBezTo>
                  <a:pt x="429274" y="2913238"/>
                  <a:pt x="427223" y="2913238"/>
                  <a:pt x="423117" y="2915198"/>
                </a:cubicBezTo>
                <a:cubicBezTo>
                  <a:pt x="419011" y="2923036"/>
                  <a:pt x="410796" y="2926954"/>
                  <a:pt x="406693" y="2932831"/>
                </a:cubicBezTo>
                <a:cubicBezTo>
                  <a:pt x="404639" y="2934789"/>
                  <a:pt x="402587" y="2934789"/>
                  <a:pt x="398480" y="2934789"/>
                </a:cubicBezTo>
                <a:cubicBezTo>
                  <a:pt x="404639" y="2924994"/>
                  <a:pt x="410796" y="2915198"/>
                  <a:pt x="421063" y="2907363"/>
                </a:cubicBezTo>
                <a:cubicBezTo>
                  <a:pt x="422089" y="2906382"/>
                  <a:pt x="423116" y="2905403"/>
                  <a:pt x="424142" y="2905158"/>
                </a:cubicBezTo>
                <a:lnTo>
                  <a:pt x="426765" y="2907035"/>
                </a:lnTo>
                <a:lnTo>
                  <a:pt x="425169" y="2909320"/>
                </a:lnTo>
                <a:cubicBezTo>
                  <a:pt x="427223" y="2909320"/>
                  <a:pt x="427223" y="2907363"/>
                  <a:pt x="427223" y="2907363"/>
                </a:cubicBezTo>
                <a:lnTo>
                  <a:pt x="426765" y="2907035"/>
                </a:lnTo>
                <a:lnTo>
                  <a:pt x="429274" y="2903444"/>
                </a:lnTo>
                <a:cubicBezTo>
                  <a:pt x="441593" y="2891689"/>
                  <a:pt x="451856" y="2879934"/>
                  <a:pt x="464175" y="2868179"/>
                </a:cubicBezTo>
                <a:cubicBezTo>
                  <a:pt x="464175" y="2868179"/>
                  <a:pt x="466229" y="2866219"/>
                  <a:pt x="466229" y="2866219"/>
                </a:cubicBezTo>
                <a:cubicBezTo>
                  <a:pt x="464175" y="2864260"/>
                  <a:pt x="462123" y="2862302"/>
                  <a:pt x="460069" y="2860342"/>
                </a:cubicBezTo>
                <a:cubicBezTo>
                  <a:pt x="455962" y="2866219"/>
                  <a:pt x="449805" y="2870137"/>
                  <a:pt x="443647" y="2876016"/>
                </a:cubicBezTo>
                <a:cubicBezTo>
                  <a:pt x="435431" y="2881894"/>
                  <a:pt x="427223" y="2889728"/>
                  <a:pt x="421063" y="2895607"/>
                </a:cubicBezTo>
                <a:cubicBezTo>
                  <a:pt x="421063" y="2895607"/>
                  <a:pt x="419011" y="2895607"/>
                  <a:pt x="416955" y="2895607"/>
                </a:cubicBezTo>
                <a:cubicBezTo>
                  <a:pt x="412850" y="2901484"/>
                  <a:pt x="406693" y="2907363"/>
                  <a:pt x="400532" y="2913238"/>
                </a:cubicBezTo>
                <a:cubicBezTo>
                  <a:pt x="402587" y="2901484"/>
                  <a:pt x="410796" y="2891689"/>
                  <a:pt x="416955" y="2883853"/>
                </a:cubicBezTo>
                <a:cubicBezTo>
                  <a:pt x="412850" y="2879934"/>
                  <a:pt x="410796" y="2877976"/>
                  <a:pt x="406693" y="2876016"/>
                </a:cubicBezTo>
                <a:cubicBezTo>
                  <a:pt x="400532" y="2874055"/>
                  <a:pt x="398480" y="2868179"/>
                  <a:pt x="396426" y="2864260"/>
                </a:cubicBezTo>
                <a:cubicBezTo>
                  <a:pt x="396426" y="2862302"/>
                  <a:pt x="394375" y="2860342"/>
                  <a:pt x="392321" y="2860342"/>
                </a:cubicBezTo>
                <a:cubicBezTo>
                  <a:pt x="392321" y="2860342"/>
                  <a:pt x="390267" y="2860342"/>
                  <a:pt x="390267" y="2860342"/>
                </a:cubicBezTo>
                <a:cubicBezTo>
                  <a:pt x="390267" y="2862302"/>
                  <a:pt x="388214" y="2866219"/>
                  <a:pt x="386163" y="2868179"/>
                </a:cubicBezTo>
                <a:cubicBezTo>
                  <a:pt x="382056" y="2866219"/>
                  <a:pt x="380002" y="2864260"/>
                  <a:pt x="377950" y="2862302"/>
                </a:cubicBezTo>
                <a:cubicBezTo>
                  <a:pt x="375896" y="2862302"/>
                  <a:pt x="373845" y="2864260"/>
                  <a:pt x="371791" y="2864260"/>
                </a:cubicBezTo>
                <a:cubicBezTo>
                  <a:pt x="363578" y="2870137"/>
                  <a:pt x="357420" y="2877976"/>
                  <a:pt x="349207" y="2881894"/>
                </a:cubicBezTo>
                <a:cubicBezTo>
                  <a:pt x="338942" y="2876016"/>
                  <a:pt x="334839" y="2866219"/>
                  <a:pt x="334839" y="2854466"/>
                </a:cubicBezTo>
                <a:cubicBezTo>
                  <a:pt x="334839" y="2854466"/>
                  <a:pt x="334839" y="2854466"/>
                  <a:pt x="334839" y="2852506"/>
                </a:cubicBezTo>
                <a:cubicBezTo>
                  <a:pt x="332784" y="2852506"/>
                  <a:pt x="330732" y="2852506"/>
                  <a:pt x="328678" y="2854466"/>
                </a:cubicBezTo>
                <a:cubicBezTo>
                  <a:pt x="322519" y="2856424"/>
                  <a:pt x="316359" y="2858385"/>
                  <a:pt x="312254" y="2858385"/>
                </a:cubicBezTo>
                <a:cubicBezTo>
                  <a:pt x="308148" y="2864260"/>
                  <a:pt x="301991" y="2870137"/>
                  <a:pt x="295829" y="2876016"/>
                </a:cubicBezTo>
                <a:cubicBezTo>
                  <a:pt x="293778" y="2877976"/>
                  <a:pt x="291724" y="2877976"/>
                  <a:pt x="287618" y="2877976"/>
                </a:cubicBezTo>
                <a:cubicBezTo>
                  <a:pt x="291724" y="2872097"/>
                  <a:pt x="295829" y="2864260"/>
                  <a:pt x="301991" y="2858385"/>
                </a:cubicBezTo>
                <a:cubicBezTo>
                  <a:pt x="297881" y="2858385"/>
                  <a:pt x="293778" y="2858385"/>
                  <a:pt x="291724" y="2856424"/>
                </a:cubicBezTo>
                <a:cubicBezTo>
                  <a:pt x="275299" y="2854466"/>
                  <a:pt x="258876" y="2846626"/>
                  <a:pt x="244506" y="2836832"/>
                </a:cubicBezTo>
                <a:cubicBezTo>
                  <a:pt x="236295" y="2838792"/>
                  <a:pt x="230133" y="2842712"/>
                  <a:pt x="221924" y="2844668"/>
                </a:cubicBezTo>
                <a:cubicBezTo>
                  <a:pt x="219870" y="2844668"/>
                  <a:pt x="215763" y="2844668"/>
                  <a:pt x="213712" y="2844668"/>
                </a:cubicBezTo>
                <a:cubicBezTo>
                  <a:pt x="209606" y="2842712"/>
                  <a:pt x="209606" y="2838792"/>
                  <a:pt x="213712" y="2834875"/>
                </a:cubicBezTo>
                <a:cubicBezTo>
                  <a:pt x="215763" y="2834875"/>
                  <a:pt x="215763" y="2832915"/>
                  <a:pt x="217819" y="2832915"/>
                </a:cubicBezTo>
                <a:cubicBezTo>
                  <a:pt x="215763" y="2832915"/>
                  <a:pt x="213712" y="2830956"/>
                  <a:pt x="213712" y="2828995"/>
                </a:cubicBezTo>
                <a:cubicBezTo>
                  <a:pt x="213712" y="2827038"/>
                  <a:pt x="217819" y="2823119"/>
                  <a:pt x="213712" y="2821159"/>
                </a:cubicBezTo>
                <a:cubicBezTo>
                  <a:pt x="211658" y="2821159"/>
                  <a:pt x="209606" y="2823119"/>
                  <a:pt x="207552" y="2823119"/>
                </a:cubicBezTo>
                <a:cubicBezTo>
                  <a:pt x="207552" y="2823119"/>
                  <a:pt x="207552" y="2823119"/>
                  <a:pt x="209606" y="2823119"/>
                </a:cubicBezTo>
                <a:cubicBezTo>
                  <a:pt x="209606" y="2823119"/>
                  <a:pt x="211658" y="2825077"/>
                  <a:pt x="211658" y="2825077"/>
                </a:cubicBezTo>
                <a:cubicBezTo>
                  <a:pt x="209606" y="2827038"/>
                  <a:pt x="209606" y="2827038"/>
                  <a:pt x="207552" y="2828995"/>
                </a:cubicBezTo>
                <a:cubicBezTo>
                  <a:pt x="205497" y="2828995"/>
                  <a:pt x="205497" y="2828995"/>
                  <a:pt x="203445" y="2827038"/>
                </a:cubicBezTo>
                <a:cubicBezTo>
                  <a:pt x="203445" y="2827038"/>
                  <a:pt x="203445" y="2825077"/>
                  <a:pt x="205497" y="2825077"/>
                </a:cubicBezTo>
                <a:cubicBezTo>
                  <a:pt x="205497" y="2825077"/>
                  <a:pt x="205497" y="2825077"/>
                  <a:pt x="203445" y="2825077"/>
                </a:cubicBezTo>
                <a:cubicBezTo>
                  <a:pt x="201394" y="2825077"/>
                  <a:pt x="199339" y="2825077"/>
                  <a:pt x="195233" y="2825077"/>
                </a:cubicBezTo>
                <a:cubicBezTo>
                  <a:pt x="201394" y="2819201"/>
                  <a:pt x="205497" y="2815283"/>
                  <a:pt x="207552" y="2811364"/>
                </a:cubicBezTo>
                <a:cubicBezTo>
                  <a:pt x="203445" y="2807446"/>
                  <a:pt x="197287" y="2815283"/>
                  <a:pt x="195233" y="2805486"/>
                </a:cubicBezTo>
                <a:cubicBezTo>
                  <a:pt x="195233" y="2805486"/>
                  <a:pt x="193182" y="2805486"/>
                  <a:pt x="193182" y="2803528"/>
                </a:cubicBezTo>
                <a:cubicBezTo>
                  <a:pt x="191128" y="2803528"/>
                  <a:pt x="189076" y="2803528"/>
                  <a:pt x="187021" y="2803528"/>
                </a:cubicBezTo>
                <a:cubicBezTo>
                  <a:pt x="184970" y="2803528"/>
                  <a:pt x="184970" y="2803528"/>
                  <a:pt x="182915" y="2803528"/>
                </a:cubicBezTo>
                <a:cubicBezTo>
                  <a:pt x="180863" y="2803528"/>
                  <a:pt x="180863" y="2803528"/>
                  <a:pt x="178809" y="2801568"/>
                </a:cubicBezTo>
                <a:cubicBezTo>
                  <a:pt x="166491" y="2799610"/>
                  <a:pt x="154172" y="2795690"/>
                  <a:pt x="143910" y="2787855"/>
                </a:cubicBezTo>
                <a:cubicBezTo>
                  <a:pt x="143910" y="2787855"/>
                  <a:pt x="141856" y="2789815"/>
                  <a:pt x="139804" y="2787855"/>
                </a:cubicBezTo>
                <a:cubicBezTo>
                  <a:pt x="137749" y="2787855"/>
                  <a:pt x="137749" y="2785895"/>
                  <a:pt x="137749" y="2783937"/>
                </a:cubicBezTo>
                <a:cubicBezTo>
                  <a:pt x="137749" y="2783937"/>
                  <a:pt x="139804" y="2783937"/>
                  <a:pt x="139804" y="2783937"/>
                </a:cubicBezTo>
                <a:cubicBezTo>
                  <a:pt x="137749" y="2781976"/>
                  <a:pt x="137749" y="2781976"/>
                  <a:pt x="135696" y="2780017"/>
                </a:cubicBezTo>
                <a:cubicBezTo>
                  <a:pt x="127485" y="2781976"/>
                  <a:pt x="121328" y="2785895"/>
                  <a:pt x="113113" y="2787855"/>
                </a:cubicBezTo>
                <a:cubicBezTo>
                  <a:pt x="111061" y="2787855"/>
                  <a:pt x="106955" y="2787855"/>
                  <a:pt x="104904" y="2787855"/>
                </a:cubicBezTo>
                <a:cubicBezTo>
                  <a:pt x="100797" y="2785895"/>
                  <a:pt x="100797" y="2781976"/>
                  <a:pt x="104904" y="2778058"/>
                </a:cubicBezTo>
                <a:cubicBezTo>
                  <a:pt x="106955" y="2778058"/>
                  <a:pt x="106955" y="2776099"/>
                  <a:pt x="109009" y="2776099"/>
                </a:cubicBezTo>
                <a:cubicBezTo>
                  <a:pt x="106955" y="2776099"/>
                  <a:pt x="104904" y="2774141"/>
                  <a:pt x="104904" y="2772181"/>
                </a:cubicBezTo>
                <a:cubicBezTo>
                  <a:pt x="104904" y="2770224"/>
                  <a:pt x="109009" y="2766305"/>
                  <a:pt x="104904" y="2764344"/>
                </a:cubicBezTo>
                <a:cubicBezTo>
                  <a:pt x="102849" y="2766305"/>
                  <a:pt x="98743" y="2768264"/>
                  <a:pt x="96691" y="2768264"/>
                </a:cubicBezTo>
                <a:cubicBezTo>
                  <a:pt x="94637" y="2768264"/>
                  <a:pt x="92585" y="2768264"/>
                  <a:pt x="88479" y="2768264"/>
                </a:cubicBezTo>
                <a:cubicBezTo>
                  <a:pt x="94637" y="2762384"/>
                  <a:pt x="98743" y="2758466"/>
                  <a:pt x="100797" y="2754550"/>
                </a:cubicBezTo>
                <a:cubicBezTo>
                  <a:pt x="96691" y="2750632"/>
                  <a:pt x="90531" y="2758466"/>
                  <a:pt x="88479" y="2748671"/>
                </a:cubicBezTo>
                <a:cubicBezTo>
                  <a:pt x="88479" y="2748671"/>
                  <a:pt x="84373" y="2746712"/>
                  <a:pt x="82319" y="2746712"/>
                </a:cubicBezTo>
                <a:cubicBezTo>
                  <a:pt x="80267" y="2746712"/>
                  <a:pt x="78215" y="2746712"/>
                  <a:pt x="74108" y="2746712"/>
                </a:cubicBezTo>
                <a:cubicBezTo>
                  <a:pt x="70001" y="2746712"/>
                  <a:pt x="67948" y="2742795"/>
                  <a:pt x="67948" y="2738875"/>
                </a:cubicBezTo>
                <a:cubicBezTo>
                  <a:pt x="67948" y="2734959"/>
                  <a:pt x="70001" y="2732998"/>
                  <a:pt x="72056" y="2729080"/>
                </a:cubicBezTo>
                <a:cubicBezTo>
                  <a:pt x="80267" y="2731039"/>
                  <a:pt x="80267" y="2731039"/>
                  <a:pt x="84373" y="2723204"/>
                </a:cubicBezTo>
                <a:cubicBezTo>
                  <a:pt x="88479" y="2721243"/>
                  <a:pt x="90531" y="2719285"/>
                  <a:pt x="94637" y="2717325"/>
                </a:cubicBezTo>
                <a:cubicBezTo>
                  <a:pt x="92585" y="2717325"/>
                  <a:pt x="90531" y="2715367"/>
                  <a:pt x="86424" y="2715367"/>
                </a:cubicBezTo>
                <a:cubicBezTo>
                  <a:pt x="92585" y="2711448"/>
                  <a:pt x="96691" y="2705572"/>
                  <a:pt x="106955" y="2705572"/>
                </a:cubicBezTo>
                <a:cubicBezTo>
                  <a:pt x="104904" y="2709488"/>
                  <a:pt x="104904" y="2711448"/>
                  <a:pt x="102849" y="2713406"/>
                </a:cubicBezTo>
                <a:cubicBezTo>
                  <a:pt x="111061" y="2707530"/>
                  <a:pt x="119273" y="2701651"/>
                  <a:pt x="127485" y="2695775"/>
                </a:cubicBezTo>
                <a:cubicBezTo>
                  <a:pt x="133642" y="2691857"/>
                  <a:pt x="139804" y="2687939"/>
                  <a:pt x="145964" y="2684020"/>
                </a:cubicBezTo>
                <a:cubicBezTo>
                  <a:pt x="148015" y="2682061"/>
                  <a:pt x="150070" y="2678143"/>
                  <a:pt x="152121" y="2676183"/>
                </a:cubicBezTo>
                <a:cubicBezTo>
                  <a:pt x="150070" y="2676183"/>
                  <a:pt x="150070" y="2676183"/>
                  <a:pt x="148015" y="2678143"/>
                </a:cubicBezTo>
                <a:cubicBezTo>
                  <a:pt x="158279" y="2664428"/>
                  <a:pt x="172652" y="2654634"/>
                  <a:pt x="189076" y="2648755"/>
                </a:cubicBezTo>
                <a:cubicBezTo>
                  <a:pt x="187021" y="2650713"/>
                  <a:pt x="187021" y="2652673"/>
                  <a:pt x="184970" y="2654634"/>
                </a:cubicBezTo>
                <a:cubicBezTo>
                  <a:pt x="193182" y="2656592"/>
                  <a:pt x="199339" y="2650713"/>
                  <a:pt x="201394" y="2644837"/>
                </a:cubicBezTo>
                <a:cubicBezTo>
                  <a:pt x="205497" y="2644837"/>
                  <a:pt x="209606" y="2642879"/>
                  <a:pt x="211658" y="2638961"/>
                </a:cubicBezTo>
                <a:cubicBezTo>
                  <a:pt x="207552" y="2638961"/>
                  <a:pt x="203445" y="2640919"/>
                  <a:pt x="201394" y="2642879"/>
                </a:cubicBezTo>
                <a:cubicBezTo>
                  <a:pt x="199339" y="2642879"/>
                  <a:pt x="199339" y="2642879"/>
                  <a:pt x="197287" y="2642879"/>
                </a:cubicBezTo>
                <a:cubicBezTo>
                  <a:pt x="199339" y="2640919"/>
                  <a:pt x="201394" y="2637000"/>
                  <a:pt x="203445" y="2635042"/>
                </a:cubicBezTo>
                <a:cubicBezTo>
                  <a:pt x="223976" y="2621326"/>
                  <a:pt x="244506" y="2605653"/>
                  <a:pt x="265036" y="2591941"/>
                </a:cubicBezTo>
                <a:cubicBezTo>
                  <a:pt x="265036" y="2597819"/>
                  <a:pt x="258876" y="2601736"/>
                  <a:pt x="254771" y="2605653"/>
                </a:cubicBezTo>
                <a:cubicBezTo>
                  <a:pt x="244506" y="2613490"/>
                  <a:pt x="234242" y="2621326"/>
                  <a:pt x="223976" y="2627206"/>
                </a:cubicBezTo>
                <a:cubicBezTo>
                  <a:pt x="219870" y="2629163"/>
                  <a:pt x="217819" y="2633082"/>
                  <a:pt x="213712" y="2637000"/>
                </a:cubicBezTo>
                <a:cubicBezTo>
                  <a:pt x="221924" y="2633082"/>
                  <a:pt x="221924" y="2633082"/>
                  <a:pt x="232187" y="2633082"/>
                </a:cubicBezTo>
                <a:cubicBezTo>
                  <a:pt x="230133" y="2640919"/>
                  <a:pt x="219870" y="2642879"/>
                  <a:pt x="215763" y="2650713"/>
                </a:cubicBezTo>
                <a:cubicBezTo>
                  <a:pt x="219870" y="2650713"/>
                  <a:pt x="219870" y="2650713"/>
                  <a:pt x="221924" y="2648755"/>
                </a:cubicBezTo>
                <a:cubicBezTo>
                  <a:pt x="238347" y="2637000"/>
                  <a:pt x="254771" y="2625246"/>
                  <a:pt x="271194" y="2613490"/>
                </a:cubicBezTo>
                <a:cubicBezTo>
                  <a:pt x="279405" y="2607614"/>
                  <a:pt x="283512" y="2601736"/>
                  <a:pt x="279405" y="2591941"/>
                </a:cubicBezTo>
                <a:cubicBezTo>
                  <a:pt x="279405" y="2591941"/>
                  <a:pt x="279405" y="2589980"/>
                  <a:pt x="279405" y="2588022"/>
                </a:cubicBezTo>
                <a:cubicBezTo>
                  <a:pt x="275299" y="2588022"/>
                  <a:pt x="269142" y="2588022"/>
                  <a:pt x="265036" y="2589980"/>
                </a:cubicBezTo>
                <a:cubicBezTo>
                  <a:pt x="269142" y="2586062"/>
                  <a:pt x="275299" y="2584104"/>
                  <a:pt x="279405" y="2576267"/>
                </a:cubicBezTo>
                <a:cubicBezTo>
                  <a:pt x="275299" y="2578228"/>
                  <a:pt x="273248" y="2578228"/>
                  <a:pt x="273248" y="2578228"/>
                </a:cubicBezTo>
                <a:cubicBezTo>
                  <a:pt x="252718" y="2593901"/>
                  <a:pt x="232187" y="2609572"/>
                  <a:pt x="209606" y="2623288"/>
                </a:cubicBezTo>
                <a:cubicBezTo>
                  <a:pt x="197287" y="2633082"/>
                  <a:pt x="184970" y="2642879"/>
                  <a:pt x="168545" y="2648755"/>
                </a:cubicBezTo>
                <a:lnTo>
                  <a:pt x="168278" y="2647228"/>
                </a:lnTo>
                <a:lnTo>
                  <a:pt x="170600" y="2644837"/>
                </a:lnTo>
                <a:lnTo>
                  <a:pt x="168204" y="2646797"/>
                </a:lnTo>
                <a:lnTo>
                  <a:pt x="166491" y="2637000"/>
                </a:lnTo>
                <a:cubicBezTo>
                  <a:pt x="172652" y="2631123"/>
                  <a:pt x="178809" y="2627206"/>
                  <a:pt x="184970" y="2621326"/>
                </a:cubicBezTo>
                <a:cubicBezTo>
                  <a:pt x="191128" y="2617411"/>
                  <a:pt x="195233" y="2613490"/>
                  <a:pt x="199339" y="2607614"/>
                </a:cubicBezTo>
                <a:cubicBezTo>
                  <a:pt x="203445" y="2605653"/>
                  <a:pt x="209606" y="2603695"/>
                  <a:pt x="209606" y="2597819"/>
                </a:cubicBezTo>
                <a:cubicBezTo>
                  <a:pt x="219870" y="2597819"/>
                  <a:pt x="223976" y="2589980"/>
                  <a:pt x="230133" y="2586062"/>
                </a:cubicBezTo>
                <a:cubicBezTo>
                  <a:pt x="244506" y="2572349"/>
                  <a:pt x="262984" y="2562551"/>
                  <a:pt x="279405" y="2548839"/>
                </a:cubicBezTo>
                <a:cubicBezTo>
                  <a:pt x="285567" y="2544921"/>
                  <a:pt x="291724" y="2541002"/>
                  <a:pt x="293778" y="2533166"/>
                </a:cubicBezTo>
                <a:cubicBezTo>
                  <a:pt x="295829" y="2529250"/>
                  <a:pt x="297881" y="2527290"/>
                  <a:pt x="304043" y="2527290"/>
                </a:cubicBezTo>
                <a:cubicBezTo>
                  <a:pt x="310202" y="2525329"/>
                  <a:pt x="314308" y="2521411"/>
                  <a:pt x="318411" y="2517493"/>
                </a:cubicBezTo>
                <a:cubicBezTo>
                  <a:pt x="318411" y="2515534"/>
                  <a:pt x="318411" y="2515534"/>
                  <a:pt x="318411" y="2513575"/>
                </a:cubicBezTo>
                <a:cubicBezTo>
                  <a:pt x="314308" y="2515534"/>
                  <a:pt x="312254" y="2517493"/>
                  <a:pt x="308148" y="2519453"/>
                </a:cubicBezTo>
                <a:cubicBezTo>
                  <a:pt x="308148" y="2513575"/>
                  <a:pt x="312254" y="2509658"/>
                  <a:pt x="318411" y="2507698"/>
                </a:cubicBezTo>
                <a:cubicBezTo>
                  <a:pt x="318411" y="2503780"/>
                  <a:pt x="318411" y="2497900"/>
                  <a:pt x="318411" y="2493982"/>
                </a:cubicBezTo>
                <a:cubicBezTo>
                  <a:pt x="304043" y="2505740"/>
                  <a:pt x="289672" y="2517493"/>
                  <a:pt x="273248" y="2529250"/>
                </a:cubicBezTo>
                <a:cubicBezTo>
                  <a:pt x="246557" y="2550800"/>
                  <a:pt x="219870" y="2570391"/>
                  <a:pt x="191128" y="2591941"/>
                </a:cubicBezTo>
                <a:cubicBezTo>
                  <a:pt x="187021" y="2593901"/>
                  <a:pt x="184970" y="2597819"/>
                  <a:pt x="180863" y="2597819"/>
                </a:cubicBezTo>
                <a:cubicBezTo>
                  <a:pt x="182915" y="2595859"/>
                  <a:pt x="182915" y="2593901"/>
                  <a:pt x="184970" y="2591941"/>
                </a:cubicBezTo>
                <a:cubicBezTo>
                  <a:pt x="205497" y="2574310"/>
                  <a:pt x="228081" y="2558636"/>
                  <a:pt x="246557" y="2539044"/>
                </a:cubicBezTo>
                <a:cubicBezTo>
                  <a:pt x="248611" y="2537084"/>
                  <a:pt x="250663" y="2537084"/>
                  <a:pt x="250663" y="2535126"/>
                </a:cubicBezTo>
                <a:cubicBezTo>
                  <a:pt x="260930" y="2525329"/>
                  <a:pt x="275299" y="2519453"/>
                  <a:pt x="285567" y="2507698"/>
                </a:cubicBezTo>
                <a:cubicBezTo>
                  <a:pt x="295829" y="2501820"/>
                  <a:pt x="304043" y="2495943"/>
                  <a:pt x="310202" y="2488106"/>
                </a:cubicBezTo>
                <a:cubicBezTo>
                  <a:pt x="312254" y="2486148"/>
                  <a:pt x="314308" y="2484188"/>
                  <a:pt x="314308" y="2484188"/>
                </a:cubicBezTo>
                <a:cubicBezTo>
                  <a:pt x="312254" y="2476351"/>
                  <a:pt x="312254" y="2466556"/>
                  <a:pt x="314308" y="2458719"/>
                </a:cubicBezTo>
                <a:cubicBezTo>
                  <a:pt x="316359" y="2441088"/>
                  <a:pt x="322519" y="2423455"/>
                  <a:pt x="328678" y="2403864"/>
                </a:cubicBezTo>
                <a:cubicBezTo>
                  <a:pt x="334839" y="2386230"/>
                  <a:pt x="347153" y="2368598"/>
                  <a:pt x="347153" y="2349006"/>
                </a:cubicBezTo>
                <a:cubicBezTo>
                  <a:pt x="347153" y="2345088"/>
                  <a:pt x="349207" y="2343130"/>
                  <a:pt x="349207" y="2339212"/>
                </a:cubicBezTo>
                <a:cubicBezTo>
                  <a:pt x="359472" y="2311784"/>
                  <a:pt x="371791" y="2286316"/>
                  <a:pt x="388214" y="2262806"/>
                </a:cubicBezTo>
                <a:cubicBezTo>
                  <a:pt x="396426" y="2251051"/>
                  <a:pt x="404639" y="2239296"/>
                  <a:pt x="410796" y="2227541"/>
                </a:cubicBezTo>
                <a:cubicBezTo>
                  <a:pt x="423117" y="2205991"/>
                  <a:pt x="437487" y="2186400"/>
                  <a:pt x="453911" y="2166808"/>
                </a:cubicBezTo>
                <a:cubicBezTo>
                  <a:pt x="470335" y="2147217"/>
                  <a:pt x="486759" y="2125664"/>
                  <a:pt x="503181" y="2106075"/>
                </a:cubicBezTo>
                <a:cubicBezTo>
                  <a:pt x="513447" y="2092360"/>
                  <a:pt x="523711" y="2078646"/>
                  <a:pt x="536031" y="2066892"/>
                </a:cubicBezTo>
                <a:cubicBezTo>
                  <a:pt x="550401" y="2051219"/>
                  <a:pt x="562719" y="2035546"/>
                  <a:pt x="572983" y="2015953"/>
                </a:cubicBezTo>
                <a:cubicBezTo>
                  <a:pt x="581195" y="2000280"/>
                  <a:pt x="591462" y="1984608"/>
                  <a:pt x="599674" y="1968934"/>
                </a:cubicBezTo>
                <a:cubicBezTo>
                  <a:pt x="616095" y="1943467"/>
                  <a:pt x="630467" y="1916038"/>
                  <a:pt x="646891" y="1890569"/>
                </a:cubicBezTo>
                <a:cubicBezTo>
                  <a:pt x="646891" y="1890569"/>
                  <a:pt x="646891" y="1888610"/>
                  <a:pt x="648947" y="1888610"/>
                </a:cubicBezTo>
                <a:cubicBezTo>
                  <a:pt x="648947" y="1886652"/>
                  <a:pt x="650998" y="1886652"/>
                  <a:pt x="650998" y="1884692"/>
                </a:cubicBezTo>
                <a:cubicBezTo>
                  <a:pt x="653053" y="1880773"/>
                  <a:pt x="653053" y="1876854"/>
                  <a:pt x="650998" y="1870979"/>
                </a:cubicBezTo>
                <a:cubicBezTo>
                  <a:pt x="650998" y="1869019"/>
                  <a:pt x="650998" y="1865099"/>
                  <a:pt x="653053" y="1863141"/>
                </a:cubicBezTo>
                <a:cubicBezTo>
                  <a:pt x="657155" y="1853347"/>
                  <a:pt x="663315" y="1841590"/>
                  <a:pt x="667422" y="1831795"/>
                </a:cubicBezTo>
                <a:cubicBezTo>
                  <a:pt x="683847" y="1804367"/>
                  <a:pt x="817291" y="1745593"/>
                  <a:pt x="829607" y="1718167"/>
                </a:cubicBezTo>
                <a:cubicBezTo>
                  <a:pt x="833715" y="1708369"/>
                  <a:pt x="841924" y="1698573"/>
                  <a:pt x="848085" y="1690738"/>
                </a:cubicBezTo>
                <a:cubicBezTo>
                  <a:pt x="850137" y="1688778"/>
                  <a:pt x="852191" y="1684859"/>
                  <a:pt x="854243" y="1682900"/>
                </a:cubicBezTo>
                <a:cubicBezTo>
                  <a:pt x="864509" y="1665267"/>
                  <a:pt x="874773" y="1645675"/>
                  <a:pt x="887091" y="1628044"/>
                </a:cubicBezTo>
                <a:cubicBezTo>
                  <a:pt x="897357" y="1610413"/>
                  <a:pt x="905569" y="1592780"/>
                  <a:pt x="915833" y="1577106"/>
                </a:cubicBezTo>
                <a:cubicBezTo>
                  <a:pt x="921991" y="1565353"/>
                  <a:pt x="928151" y="1553597"/>
                  <a:pt x="940469" y="1545762"/>
                </a:cubicBezTo>
                <a:cubicBezTo>
                  <a:pt x="946627" y="1541845"/>
                  <a:pt x="952788" y="1532047"/>
                  <a:pt x="948681" y="1522252"/>
                </a:cubicBezTo>
                <a:cubicBezTo>
                  <a:pt x="946627" y="1516373"/>
                  <a:pt x="950733" y="1512455"/>
                  <a:pt x="952788" y="1508537"/>
                </a:cubicBezTo>
                <a:cubicBezTo>
                  <a:pt x="954839" y="1510498"/>
                  <a:pt x="954839" y="1512455"/>
                  <a:pt x="956893" y="1514416"/>
                </a:cubicBezTo>
                <a:cubicBezTo>
                  <a:pt x="961000" y="1512455"/>
                  <a:pt x="963051" y="1508537"/>
                  <a:pt x="965105" y="1504619"/>
                </a:cubicBezTo>
                <a:cubicBezTo>
                  <a:pt x="975369" y="1485028"/>
                  <a:pt x="985635" y="1463477"/>
                  <a:pt x="995900" y="1443886"/>
                </a:cubicBezTo>
                <a:cubicBezTo>
                  <a:pt x="1002060" y="1434091"/>
                  <a:pt x="1008217" y="1424294"/>
                  <a:pt x="1012323" y="1412542"/>
                </a:cubicBezTo>
                <a:cubicBezTo>
                  <a:pt x="1028748" y="1377274"/>
                  <a:pt x="1045173" y="1342012"/>
                  <a:pt x="1059541" y="1306747"/>
                </a:cubicBezTo>
                <a:cubicBezTo>
                  <a:pt x="1063649" y="1298910"/>
                  <a:pt x="1065702" y="1291074"/>
                  <a:pt x="1069808" y="1287155"/>
                </a:cubicBezTo>
                <a:cubicBezTo>
                  <a:pt x="1075965" y="1281278"/>
                  <a:pt x="1080071" y="1271482"/>
                  <a:pt x="1084178" y="1263645"/>
                </a:cubicBezTo>
                <a:cubicBezTo>
                  <a:pt x="1086232" y="1259727"/>
                  <a:pt x="1088284" y="1255808"/>
                  <a:pt x="1090337" y="1253851"/>
                </a:cubicBezTo>
                <a:cubicBezTo>
                  <a:pt x="1096496" y="1247972"/>
                  <a:pt x="1100602" y="1238177"/>
                  <a:pt x="1104707" y="1230341"/>
                </a:cubicBezTo>
                <a:cubicBezTo>
                  <a:pt x="1121131" y="1191157"/>
                  <a:pt x="1135502" y="1151975"/>
                  <a:pt x="1151926" y="1112790"/>
                </a:cubicBezTo>
                <a:cubicBezTo>
                  <a:pt x="1162193" y="1085365"/>
                  <a:pt x="1174509" y="1057937"/>
                  <a:pt x="1184774" y="1030508"/>
                </a:cubicBezTo>
                <a:cubicBezTo>
                  <a:pt x="1190934" y="1016796"/>
                  <a:pt x="1195037" y="1001122"/>
                  <a:pt x="1201198" y="987407"/>
                </a:cubicBezTo>
                <a:cubicBezTo>
                  <a:pt x="1201198" y="987407"/>
                  <a:pt x="1199147" y="989368"/>
                  <a:pt x="1199147" y="989368"/>
                </a:cubicBezTo>
                <a:cubicBezTo>
                  <a:pt x="1197093" y="981530"/>
                  <a:pt x="1203253" y="975652"/>
                  <a:pt x="1205304" y="969776"/>
                </a:cubicBezTo>
                <a:cubicBezTo>
                  <a:pt x="1205304" y="969776"/>
                  <a:pt x="1207356" y="969776"/>
                  <a:pt x="1207356" y="969776"/>
                </a:cubicBezTo>
                <a:cubicBezTo>
                  <a:pt x="1209410" y="963897"/>
                  <a:pt x="1211465" y="958021"/>
                  <a:pt x="1213516" y="954102"/>
                </a:cubicBezTo>
                <a:cubicBezTo>
                  <a:pt x="1211465" y="950183"/>
                  <a:pt x="1209410" y="948223"/>
                  <a:pt x="1211465" y="946266"/>
                </a:cubicBezTo>
                <a:cubicBezTo>
                  <a:pt x="1211465" y="936469"/>
                  <a:pt x="1213516" y="932552"/>
                  <a:pt x="1223783" y="924713"/>
                </a:cubicBezTo>
                <a:cubicBezTo>
                  <a:pt x="1221729" y="930592"/>
                  <a:pt x="1221729" y="936469"/>
                  <a:pt x="1219674" y="942348"/>
                </a:cubicBezTo>
                <a:cubicBezTo>
                  <a:pt x="1221729" y="934510"/>
                  <a:pt x="1225834" y="928634"/>
                  <a:pt x="1231992" y="922755"/>
                </a:cubicBezTo>
                <a:cubicBezTo>
                  <a:pt x="1238152" y="918837"/>
                  <a:pt x="1240205" y="911001"/>
                  <a:pt x="1242259" y="905124"/>
                </a:cubicBezTo>
                <a:cubicBezTo>
                  <a:pt x="1246365" y="895328"/>
                  <a:pt x="1248417" y="883572"/>
                  <a:pt x="1250471" y="871818"/>
                </a:cubicBezTo>
                <a:cubicBezTo>
                  <a:pt x="1244310" y="871818"/>
                  <a:pt x="1246365" y="865941"/>
                  <a:pt x="1246365" y="862023"/>
                </a:cubicBezTo>
                <a:cubicBezTo>
                  <a:pt x="1254576" y="838513"/>
                  <a:pt x="1260733" y="815003"/>
                  <a:pt x="1268947" y="791493"/>
                </a:cubicBezTo>
                <a:cubicBezTo>
                  <a:pt x="1273052" y="779737"/>
                  <a:pt x="1281264" y="769943"/>
                  <a:pt x="1291531" y="764064"/>
                </a:cubicBezTo>
                <a:cubicBezTo>
                  <a:pt x="1291531" y="764064"/>
                  <a:pt x="1291531" y="762106"/>
                  <a:pt x="1293583" y="760146"/>
                </a:cubicBezTo>
                <a:cubicBezTo>
                  <a:pt x="1291531" y="758188"/>
                  <a:pt x="1291531" y="754271"/>
                  <a:pt x="1289477" y="750352"/>
                </a:cubicBezTo>
                <a:cubicBezTo>
                  <a:pt x="1295638" y="750352"/>
                  <a:pt x="1297689" y="748391"/>
                  <a:pt x="1301795" y="748391"/>
                </a:cubicBezTo>
                <a:cubicBezTo>
                  <a:pt x="1301795" y="754271"/>
                  <a:pt x="1301795" y="758188"/>
                  <a:pt x="1301795" y="764064"/>
                </a:cubicBezTo>
                <a:cubicBezTo>
                  <a:pt x="1305900" y="760146"/>
                  <a:pt x="1310007" y="756231"/>
                  <a:pt x="1314113" y="752312"/>
                </a:cubicBezTo>
                <a:cubicBezTo>
                  <a:pt x="1314113" y="766025"/>
                  <a:pt x="1310007" y="775822"/>
                  <a:pt x="1305900" y="785616"/>
                </a:cubicBezTo>
                <a:cubicBezTo>
                  <a:pt x="1299740" y="805208"/>
                  <a:pt x="1291531" y="822840"/>
                  <a:pt x="1285371" y="842431"/>
                </a:cubicBezTo>
                <a:cubicBezTo>
                  <a:pt x="1281264" y="854186"/>
                  <a:pt x="1277159" y="865941"/>
                  <a:pt x="1271001" y="873778"/>
                </a:cubicBezTo>
                <a:cubicBezTo>
                  <a:pt x="1271001" y="881614"/>
                  <a:pt x="1271001" y="887491"/>
                  <a:pt x="1268947" y="893370"/>
                </a:cubicBezTo>
                <a:cubicBezTo>
                  <a:pt x="1260733" y="916877"/>
                  <a:pt x="1254576" y="938429"/>
                  <a:pt x="1246365" y="961939"/>
                </a:cubicBezTo>
                <a:cubicBezTo>
                  <a:pt x="1246365" y="963897"/>
                  <a:pt x="1244310" y="967815"/>
                  <a:pt x="1244310" y="969776"/>
                </a:cubicBezTo>
                <a:cubicBezTo>
                  <a:pt x="1242259" y="979570"/>
                  <a:pt x="1240205" y="987407"/>
                  <a:pt x="1234047" y="997203"/>
                </a:cubicBezTo>
                <a:cubicBezTo>
                  <a:pt x="1225834" y="1010917"/>
                  <a:pt x="1221729" y="1024630"/>
                  <a:pt x="1221729" y="1042263"/>
                </a:cubicBezTo>
                <a:cubicBezTo>
                  <a:pt x="1227886" y="1032466"/>
                  <a:pt x="1231992" y="1024630"/>
                  <a:pt x="1240205" y="1020714"/>
                </a:cubicBezTo>
                <a:cubicBezTo>
                  <a:pt x="1244310" y="1016796"/>
                  <a:pt x="1248417" y="1012877"/>
                  <a:pt x="1250471" y="1006999"/>
                </a:cubicBezTo>
                <a:cubicBezTo>
                  <a:pt x="1256628" y="991326"/>
                  <a:pt x="1260733" y="973694"/>
                  <a:pt x="1275107" y="959979"/>
                </a:cubicBezTo>
                <a:cubicBezTo>
                  <a:pt x="1277159" y="958021"/>
                  <a:pt x="1277159" y="956060"/>
                  <a:pt x="1277159" y="954102"/>
                </a:cubicBezTo>
                <a:cubicBezTo>
                  <a:pt x="1289477" y="928634"/>
                  <a:pt x="1301795" y="903164"/>
                  <a:pt x="1312059" y="879654"/>
                </a:cubicBezTo>
                <a:cubicBezTo>
                  <a:pt x="1316167" y="877696"/>
                  <a:pt x="1318219" y="875735"/>
                  <a:pt x="1320271" y="873778"/>
                </a:cubicBezTo>
                <a:cubicBezTo>
                  <a:pt x="1322324" y="867899"/>
                  <a:pt x="1324376" y="862023"/>
                  <a:pt x="1330537" y="856144"/>
                </a:cubicBezTo>
                <a:cubicBezTo>
                  <a:pt x="1336695" y="850268"/>
                  <a:pt x="1332589" y="840473"/>
                  <a:pt x="1334643" y="834594"/>
                </a:cubicBezTo>
                <a:cubicBezTo>
                  <a:pt x="1334643" y="832634"/>
                  <a:pt x="1334643" y="832634"/>
                  <a:pt x="1336695" y="830676"/>
                </a:cubicBezTo>
                <a:cubicBezTo>
                  <a:pt x="1340800" y="826758"/>
                  <a:pt x="1340800" y="820882"/>
                  <a:pt x="1340800" y="815003"/>
                </a:cubicBezTo>
                <a:cubicBezTo>
                  <a:pt x="1340800" y="811084"/>
                  <a:pt x="1342855" y="809124"/>
                  <a:pt x="1346961" y="807166"/>
                </a:cubicBezTo>
                <a:cubicBezTo>
                  <a:pt x="1349013" y="809124"/>
                  <a:pt x="1349013" y="809124"/>
                  <a:pt x="1351067" y="811084"/>
                </a:cubicBezTo>
                <a:cubicBezTo>
                  <a:pt x="1351067" y="811084"/>
                  <a:pt x="1351067" y="811084"/>
                  <a:pt x="1351067" y="813045"/>
                </a:cubicBezTo>
                <a:lnTo>
                  <a:pt x="1352094" y="811084"/>
                </a:lnTo>
                <a:lnTo>
                  <a:pt x="1357225" y="811084"/>
                </a:lnTo>
                <a:cubicBezTo>
                  <a:pt x="1357225" y="811084"/>
                  <a:pt x="1357225" y="809124"/>
                  <a:pt x="1357225" y="809124"/>
                </a:cubicBezTo>
                <a:lnTo>
                  <a:pt x="1353705" y="807445"/>
                </a:lnTo>
                <a:lnTo>
                  <a:pt x="1356198" y="800309"/>
                </a:lnTo>
                <a:lnTo>
                  <a:pt x="1357225" y="799330"/>
                </a:lnTo>
                <a:cubicBezTo>
                  <a:pt x="1357225" y="799330"/>
                  <a:pt x="1357225" y="797372"/>
                  <a:pt x="1357225" y="797372"/>
                </a:cubicBezTo>
                <a:lnTo>
                  <a:pt x="1356198" y="800309"/>
                </a:lnTo>
                <a:lnTo>
                  <a:pt x="1353119" y="803248"/>
                </a:lnTo>
                <a:cubicBezTo>
                  <a:pt x="1353119" y="799330"/>
                  <a:pt x="1351067" y="797372"/>
                  <a:pt x="1351067" y="793453"/>
                </a:cubicBezTo>
                <a:cubicBezTo>
                  <a:pt x="1351067" y="779737"/>
                  <a:pt x="1359279" y="769943"/>
                  <a:pt x="1367491" y="760146"/>
                </a:cubicBezTo>
                <a:cubicBezTo>
                  <a:pt x="1367491" y="758188"/>
                  <a:pt x="1369543" y="756231"/>
                  <a:pt x="1369543" y="754271"/>
                </a:cubicBezTo>
                <a:cubicBezTo>
                  <a:pt x="1367491" y="752312"/>
                  <a:pt x="1367491" y="752312"/>
                  <a:pt x="1367491" y="750352"/>
                </a:cubicBezTo>
                <a:cubicBezTo>
                  <a:pt x="1367491" y="742515"/>
                  <a:pt x="1367491" y="736638"/>
                  <a:pt x="1369543" y="728802"/>
                </a:cubicBezTo>
                <a:cubicBezTo>
                  <a:pt x="1375704" y="713128"/>
                  <a:pt x="1377755" y="697455"/>
                  <a:pt x="1381861" y="683740"/>
                </a:cubicBezTo>
                <a:cubicBezTo>
                  <a:pt x="1383915" y="675904"/>
                  <a:pt x="1385967" y="668069"/>
                  <a:pt x="1388022" y="662190"/>
                </a:cubicBezTo>
                <a:cubicBezTo>
                  <a:pt x="1392125" y="654355"/>
                  <a:pt x="1394180" y="646517"/>
                  <a:pt x="1396233" y="638681"/>
                </a:cubicBezTo>
                <a:cubicBezTo>
                  <a:pt x="1396233" y="628886"/>
                  <a:pt x="1398285" y="621049"/>
                  <a:pt x="1402391" y="613210"/>
                </a:cubicBezTo>
                <a:cubicBezTo>
                  <a:pt x="1404443" y="605377"/>
                  <a:pt x="1406497" y="595579"/>
                  <a:pt x="1408551" y="587743"/>
                </a:cubicBezTo>
                <a:cubicBezTo>
                  <a:pt x="1410604" y="579908"/>
                  <a:pt x="1412656" y="574030"/>
                  <a:pt x="1414709" y="566193"/>
                </a:cubicBezTo>
                <a:cubicBezTo>
                  <a:pt x="1427027" y="558357"/>
                  <a:pt x="1422921" y="544640"/>
                  <a:pt x="1427027" y="534846"/>
                </a:cubicBezTo>
                <a:cubicBezTo>
                  <a:pt x="1429080" y="505460"/>
                  <a:pt x="1429080" y="474113"/>
                  <a:pt x="1431134" y="444728"/>
                </a:cubicBezTo>
                <a:cubicBezTo>
                  <a:pt x="1431134" y="434930"/>
                  <a:pt x="1431134" y="423176"/>
                  <a:pt x="1437291" y="413380"/>
                </a:cubicBezTo>
                <a:cubicBezTo>
                  <a:pt x="1441397" y="405544"/>
                  <a:pt x="1441397" y="397707"/>
                  <a:pt x="1439346" y="389871"/>
                </a:cubicBezTo>
                <a:cubicBezTo>
                  <a:pt x="1437291" y="382033"/>
                  <a:pt x="1435240" y="374198"/>
                  <a:pt x="1435240" y="368318"/>
                </a:cubicBezTo>
                <a:cubicBezTo>
                  <a:pt x="1435240" y="352648"/>
                  <a:pt x="1437291" y="335013"/>
                  <a:pt x="1437291" y="319340"/>
                </a:cubicBezTo>
                <a:cubicBezTo>
                  <a:pt x="1437291" y="317382"/>
                  <a:pt x="1439346" y="317382"/>
                  <a:pt x="1441397" y="313464"/>
                </a:cubicBezTo>
                <a:cubicBezTo>
                  <a:pt x="1443452" y="321301"/>
                  <a:pt x="1445503" y="325220"/>
                  <a:pt x="1445503" y="331095"/>
                </a:cubicBezTo>
                <a:cubicBezTo>
                  <a:pt x="1445503" y="336974"/>
                  <a:pt x="1443452" y="342851"/>
                  <a:pt x="1447557" y="348727"/>
                </a:cubicBezTo>
                <a:cubicBezTo>
                  <a:pt x="1451663" y="333055"/>
                  <a:pt x="1451663" y="317382"/>
                  <a:pt x="1447557" y="303667"/>
                </a:cubicBezTo>
                <a:cubicBezTo>
                  <a:pt x="1451663" y="297791"/>
                  <a:pt x="1455771" y="291915"/>
                  <a:pt x="1459876" y="286035"/>
                </a:cubicBezTo>
                <a:cubicBezTo>
                  <a:pt x="1461928" y="286035"/>
                  <a:pt x="1463981" y="287994"/>
                  <a:pt x="1466033" y="287994"/>
                </a:cubicBezTo>
                <a:cubicBezTo>
                  <a:pt x="1468087" y="289955"/>
                  <a:pt x="1470139" y="291915"/>
                  <a:pt x="1470139" y="293873"/>
                </a:cubicBezTo>
                <a:cubicBezTo>
                  <a:pt x="1472194" y="307586"/>
                  <a:pt x="1474247" y="321301"/>
                  <a:pt x="1476299" y="336974"/>
                </a:cubicBezTo>
                <a:cubicBezTo>
                  <a:pt x="1476299" y="342851"/>
                  <a:pt x="1478352" y="348727"/>
                  <a:pt x="1478352" y="354606"/>
                </a:cubicBezTo>
                <a:cubicBezTo>
                  <a:pt x="1478352" y="352648"/>
                  <a:pt x="1478352" y="350687"/>
                  <a:pt x="1480406" y="350687"/>
                </a:cubicBezTo>
                <a:cubicBezTo>
                  <a:pt x="1482457" y="344811"/>
                  <a:pt x="1484512" y="340893"/>
                  <a:pt x="1492723" y="335013"/>
                </a:cubicBezTo>
                <a:cubicBezTo>
                  <a:pt x="1492723" y="340893"/>
                  <a:pt x="1490670" y="344811"/>
                  <a:pt x="1490670" y="346769"/>
                </a:cubicBezTo>
                <a:cubicBezTo>
                  <a:pt x="1486563" y="372238"/>
                  <a:pt x="1482457" y="395747"/>
                  <a:pt x="1476299" y="421217"/>
                </a:cubicBezTo>
                <a:cubicBezTo>
                  <a:pt x="1474247" y="429053"/>
                  <a:pt x="1472194" y="434930"/>
                  <a:pt x="1470139" y="442767"/>
                </a:cubicBezTo>
                <a:cubicBezTo>
                  <a:pt x="1470139" y="448646"/>
                  <a:pt x="1470139" y="456480"/>
                  <a:pt x="1472194" y="462358"/>
                </a:cubicBezTo>
                <a:cubicBezTo>
                  <a:pt x="1472194" y="466277"/>
                  <a:pt x="1472194" y="470195"/>
                  <a:pt x="1470139" y="472156"/>
                </a:cubicBezTo>
                <a:cubicBezTo>
                  <a:pt x="1461928" y="483908"/>
                  <a:pt x="1463981" y="495662"/>
                  <a:pt x="1468087" y="509379"/>
                </a:cubicBezTo>
                <a:cubicBezTo>
                  <a:pt x="1468087" y="509379"/>
                  <a:pt x="1468087" y="509379"/>
                  <a:pt x="1468087" y="511336"/>
                </a:cubicBezTo>
                <a:cubicBezTo>
                  <a:pt x="1474247" y="513297"/>
                  <a:pt x="1478352" y="515255"/>
                  <a:pt x="1476299" y="523091"/>
                </a:cubicBezTo>
                <a:cubicBezTo>
                  <a:pt x="1476299" y="527009"/>
                  <a:pt x="1474247" y="530928"/>
                  <a:pt x="1474247" y="534846"/>
                </a:cubicBezTo>
                <a:cubicBezTo>
                  <a:pt x="1474247" y="532888"/>
                  <a:pt x="1476299" y="530928"/>
                  <a:pt x="1476299" y="530928"/>
                </a:cubicBezTo>
                <a:cubicBezTo>
                  <a:pt x="1480406" y="517215"/>
                  <a:pt x="1484512" y="501541"/>
                  <a:pt x="1488618" y="485868"/>
                </a:cubicBezTo>
                <a:cubicBezTo>
                  <a:pt x="1490670" y="479989"/>
                  <a:pt x="1490670" y="474113"/>
                  <a:pt x="1492723" y="470195"/>
                </a:cubicBezTo>
                <a:cubicBezTo>
                  <a:pt x="1492723" y="470195"/>
                  <a:pt x="1492723" y="468237"/>
                  <a:pt x="1492723" y="468237"/>
                </a:cubicBezTo>
                <a:cubicBezTo>
                  <a:pt x="1492723" y="462358"/>
                  <a:pt x="1492723" y="456480"/>
                  <a:pt x="1492723" y="450603"/>
                </a:cubicBezTo>
                <a:cubicBezTo>
                  <a:pt x="1492723" y="442767"/>
                  <a:pt x="1490670" y="434930"/>
                  <a:pt x="1498882" y="431011"/>
                </a:cubicBezTo>
                <a:cubicBezTo>
                  <a:pt x="1500936" y="431011"/>
                  <a:pt x="1498882" y="427093"/>
                  <a:pt x="1500936" y="425136"/>
                </a:cubicBezTo>
                <a:cubicBezTo>
                  <a:pt x="1500936" y="421217"/>
                  <a:pt x="1500936" y="417299"/>
                  <a:pt x="1500936" y="413380"/>
                </a:cubicBezTo>
                <a:cubicBezTo>
                  <a:pt x="1502988" y="399664"/>
                  <a:pt x="1502988" y="387911"/>
                  <a:pt x="1496828" y="376155"/>
                </a:cubicBezTo>
                <a:cubicBezTo>
                  <a:pt x="1494775" y="368318"/>
                  <a:pt x="1492723" y="362442"/>
                  <a:pt x="1490670" y="354606"/>
                </a:cubicBezTo>
                <a:cubicBezTo>
                  <a:pt x="1490670" y="350687"/>
                  <a:pt x="1492723" y="348727"/>
                  <a:pt x="1494775" y="344811"/>
                </a:cubicBezTo>
                <a:cubicBezTo>
                  <a:pt x="1502988" y="346769"/>
                  <a:pt x="1498882" y="336974"/>
                  <a:pt x="1505039" y="335013"/>
                </a:cubicBezTo>
                <a:cubicBezTo>
                  <a:pt x="1507094" y="338933"/>
                  <a:pt x="1509146" y="344811"/>
                  <a:pt x="1511200" y="348727"/>
                </a:cubicBezTo>
                <a:cubicBezTo>
                  <a:pt x="1513251" y="352648"/>
                  <a:pt x="1517357" y="356566"/>
                  <a:pt x="1519411" y="360484"/>
                </a:cubicBezTo>
                <a:cubicBezTo>
                  <a:pt x="1523519" y="356566"/>
                  <a:pt x="1527624" y="354606"/>
                  <a:pt x="1531729" y="354606"/>
                </a:cubicBezTo>
                <a:cubicBezTo>
                  <a:pt x="1531729" y="350687"/>
                  <a:pt x="1533782" y="346769"/>
                  <a:pt x="1533782" y="340893"/>
                </a:cubicBezTo>
                <a:cubicBezTo>
                  <a:pt x="1533782" y="338933"/>
                  <a:pt x="1533782" y="335013"/>
                  <a:pt x="1537887" y="335013"/>
                </a:cubicBezTo>
                <a:cubicBezTo>
                  <a:pt x="1548154" y="342851"/>
                  <a:pt x="1535835" y="350687"/>
                  <a:pt x="1539943" y="360484"/>
                </a:cubicBezTo>
                <a:cubicBezTo>
                  <a:pt x="1546100" y="348727"/>
                  <a:pt x="1548154" y="338933"/>
                  <a:pt x="1550205" y="327178"/>
                </a:cubicBezTo>
                <a:cubicBezTo>
                  <a:pt x="1552260" y="317382"/>
                  <a:pt x="1554311" y="309546"/>
                  <a:pt x="1564579" y="303667"/>
                </a:cubicBezTo>
                <a:cubicBezTo>
                  <a:pt x="1564579" y="303667"/>
                  <a:pt x="1564579" y="301709"/>
                  <a:pt x="1564579" y="301709"/>
                </a:cubicBezTo>
                <a:cubicBezTo>
                  <a:pt x="1566630" y="297791"/>
                  <a:pt x="1568684" y="293873"/>
                  <a:pt x="1568684" y="289955"/>
                </a:cubicBezTo>
                <a:cubicBezTo>
                  <a:pt x="1568684" y="286035"/>
                  <a:pt x="1568684" y="284075"/>
                  <a:pt x="1570736" y="282117"/>
                </a:cubicBezTo>
                <a:cubicBezTo>
                  <a:pt x="1570736" y="278200"/>
                  <a:pt x="1572791" y="276242"/>
                  <a:pt x="1572791" y="272323"/>
                </a:cubicBezTo>
                <a:cubicBezTo>
                  <a:pt x="1572791" y="272323"/>
                  <a:pt x="1574842" y="270362"/>
                  <a:pt x="1576897" y="268404"/>
                </a:cubicBezTo>
                <a:cubicBezTo>
                  <a:pt x="1574842" y="287994"/>
                  <a:pt x="1570736" y="305628"/>
                  <a:pt x="1562523" y="321301"/>
                </a:cubicBezTo>
                <a:cubicBezTo>
                  <a:pt x="1562523" y="321301"/>
                  <a:pt x="1560472" y="319340"/>
                  <a:pt x="1560472" y="319340"/>
                </a:cubicBezTo>
                <a:cubicBezTo>
                  <a:pt x="1558418" y="331095"/>
                  <a:pt x="1556366" y="342851"/>
                  <a:pt x="1554311" y="352648"/>
                </a:cubicBezTo>
                <a:cubicBezTo>
                  <a:pt x="1556366" y="348727"/>
                  <a:pt x="1558418" y="344811"/>
                  <a:pt x="1562523" y="340893"/>
                </a:cubicBezTo>
                <a:cubicBezTo>
                  <a:pt x="1564579" y="340893"/>
                  <a:pt x="1566630" y="342851"/>
                  <a:pt x="1568684" y="342851"/>
                </a:cubicBezTo>
                <a:cubicBezTo>
                  <a:pt x="1570736" y="342851"/>
                  <a:pt x="1570736" y="342851"/>
                  <a:pt x="1572791" y="342851"/>
                </a:cubicBezTo>
                <a:cubicBezTo>
                  <a:pt x="1572791" y="346769"/>
                  <a:pt x="1572791" y="350687"/>
                  <a:pt x="1572791" y="354606"/>
                </a:cubicBezTo>
                <a:cubicBezTo>
                  <a:pt x="1574842" y="366360"/>
                  <a:pt x="1576897" y="380075"/>
                  <a:pt x="1578948" y="391829"/>
                </a:cubicBezTo>
                <a:cubicBezTo>
                  <a:pt x="1578948" y="391829"/>
                  <a:pt x="1578948" y="391829"/>
                  <a:pt x="1578948" y="393789"/>
                </a:cubicBezTo>
                <a:cubicBezTo>
                  <a:pt x="1583054" y="378115"/>
                  <a:pt x="1587159" y="362442"/>
                  <a:pt x="1589215" y="346769"/>
                </a:cubicBezTo>
                <a:cubicBezTo>
                  <a:pt x="1587159" y="346769"/>
                  <a:pt x="1587159" y="348727"/>
                  <a:pt x="1585105" y="348727"/>
                </a:cubicBezTo>
                <a:cubicBezTo>
                  <a:pt x="1587159" y="338933"/>
                  <a:pt x="1589215" y="329138"/>
                  <a:pt x="1589215" y="321301"/>
                </a:cubicBezTo>
                <a:cubicBezTo>
                  <a:pt x="1593320" y="303667"/>
                  <a:pt x="1597424" y="287994"/>
                  <a:pt x="1599478" y="270362"/>
                </a:cubicBezTo>
                <a:cubicBezTo>
                  <a:pt x="1601533" y="254690"/>
                  <a:pt x="1605635" y="240977"/>
                  <a:pt x="1609743" y="225304"/>
                </a:cubicBezTo>
                <a:cubicBezTo>
                  <a:pt x="1609743" y="223343"/>
                  <a:pt x="1611796" y="223343"/>
                  <a:pt x="1613849" y="219424"/>
                </a:cubicBezTo>
                <a:cubicBezTo>
                  <a:pt x="1615902" y="229222"/>
                  <a:pt x="1613849" y="237057"/>
                  <a:pt x="1611796" y="242935"/>
                </a:cubicBezTo>
                <a:cubicBezTo>
                  <a:pt x="1607691" y="258608"/>
                  <a:pt x="1605635" y="274282"/>
                  <a:pt x="1603583" y="289955"/>
                </a:cubicBezTo>
                <a:cubicBezTo>
                  <a:pt x="1603583" y="299749"/>
                  <a:pt x="1601533" y="309546"/>
                  <a:pt x="1601533" y="319340"/>
                </a:cubicBezTo>
                <a:cubicBezTo>
                  <a:pt x="1601533" y="327178"/>
                  <a:pt x="1599478" y="333055"/>
                  <a:pt x="1595373" y="338933"/>
                </a:cubicBezTo>
                <a:cubicBezTo>
                  <a:pt x="1593320" y="360484"/>
                  <a:pt x="1591267" y="382033"/>
                  <a:pt x="1589215" y="401626"/>
                </a:cubicBezTo>
                <a:cubicBezTo>
                  <a:pt x="1595373" y="393789"/>
                  <a:pt x="1595373" y="385952"/>
                  <a:pt x="1597424" y="378115"/>
                </a:cubicBezTo>
                <a:cubicBezTo>
                  <a:pt x="1599478" y="374198"/>
                  <a:pt x="1599478" y="372238"/>
                  <a:pt x="1601533" y="368318"/>
                </a:cubicBezTo>
                <a:cubicBezTo>
                  <a:pt x="1599478" y="354606"/>
                  <a:pt x="1599478" y="338933"/>
                  <a:pt x="1603583" y="325220"/>
                </a:cubicBezTo>
                <a:cubicBezTo>
                  <a:pt x="1607691" y="305628"/>
                  <a:pt x="1611796" y="287994"/>
                  <a:pt x="1613849" y="268404"/>
                </a:cubicBezTo>
                <a:cubicBezTo>
                  <a:pt x="1615902" y="248813"/>
                  <a:pt x="1615902" y="229222"/>
                  <a:pt x="1620008" y="209631"/>
                </a:cubicBezTo>
                <a:cubicBezTo>
                  <a:pt x="1624114" y="186120"/>
                  <a:pt x="1628220" y="160653"/>
                  <a:pt x="1632327" y="137142"/>
                </a:cubicBezTo>
                <a:cubicBezTo>
                  <a:pt x="1632327" y="135182"/>
                  <a:pt x="1634378" y="131264"/>
                  <a:pt x="1640539" y="131264"/>
                </a:cubicBezTo>
                <a:cubicBezTo>
                  <a:pt x="1638484" y="146937"/>
                  <a:pt x="1638484" y="162611"/>
                  <a:pt x="1636433" y="176323"/>
                </a:cubicBezTo>
                <a:cubicBezTo>
                  <a:pt x="1634378" y="195915"/>
                  <a:pt x="1630271" y="215506"/>
                  <a:pt x="1628220" y="235097"/>
                </a:cubicBezTo>
                <a:cubicBezTo>
                  <a:pt x="1630271" y="231180"/>
                  <a:pt x="1630271" y="227262"/>
                  <a:pt x="1630271" y="225304"/>
                </a:cubicBezTo>
                <a:cubicBezTo>
                  <a:pt x="1632327" y="229222"/>
                  <a:pt x="1634378" y="233140"/>
                  <a:pt x="1634378" y="235097"/>
                </a:cubicBezTo>
                <a:cubicBezTo>
                  <a:pt x="1634378" y="242935"/>
                  <a:pt x="1634378" y="252731"/>
                  <a:pt x="1632327" y="260566"/>
                </a:cubicBezTo>
                <a:cubicBezTo>
                  <a:pt x="1626166" y="295833"/>
                  <a:pt x="1620008" y="333055"/>
                  <a:pt x="1613849" y="368318"/>
                </a:cubicBezTo>
                <a:cubicBezTo>
                  <a:pt x="1613849" y="372238"/>
                  <a:pt x="1611796" y="376155"/>
                  <a:pt x="1611796" y="382033"/>
                </a:cubicBezTo>
                <a:cubicBezTo>
                  <a:pt x="1613849" y="385952"/>
                  <a:pt x="1613849" y="389871"/>
                  <a:pt x="1615902" y="393789"/>
                </a:cubicBezTo>
                <a:cubicBezTo>
                  <a:pt x="1615902" y="395747"/>
                  <a:pt x="1617954" y="395747"/>
                  <a:pt x="1617954" y="397707"/>
                </a:cubicBezTo>
                <a:cubicBezTo>
                  <a:pt x="1617954" y="393789"/>
                  <a:pt x="1620008" y="391829"/>
                  <a:pt x="1620008" y="387911"/>
                </a:cubicBezTo>
                <a:cubicBezTo>
                  <a:pt x="1622059" y="382033"/>
                  <a:pt x="1622059" y="376155"/>
                  <a:pt x="1630271" y="368318"/>
                </a:cubicBezTo>
                <a:cubicBezTo>
                  <a:pt x="1628220" y="382033"/>
                  <a:pt x="1626166" y="391829"/>
                  <a:pt x="1624114" y="403585"/>
                </a:cubicBezTo>
                <a:cubicBezTo>
                  <a:pt x="1624114" y="403585"/>
                  <a:pt x="1626166" y="405544"/>
                  <a:pt x="1626166" y="405544"/>
                </a:cubicBezTo>
                <a:cubicBezTo>
                  <a:pt x="1628220" y="403585"/>
                  <a:pt x="1630271" y="403585"/>
                  <a:pt x="1632327" y="401626"/>
                </a:cubicBezTo>
                <a:cubicBezTo>
                  <a:pt x="1632327" y="393789"/>
                  <a:pt x="1630271" y="385952"/>
                  <a:pt x="1634378" y="376155"/>
                </a:cubicBezTo>
                <a:cubicBezTo>
                  <a:pt x="1636433" y="370279"/>
                  <a:pt x="1638484" y="364402"/>
                  <a:pt x="1638484" y="358524"/>
                </a:cubicBezTo>
                <a:cubicBezTo>
                  <a:pt x="1634378" y="338933"/>
                  <a:pt x="1644645" y="319340"/>
                  <a:pt x="1648750" y="299749"/>
                </a:cubicBezTo>
                <a:cubicBezTo>
                  <a:pt x="1648750" y="289955"/>
                  <a:pt x="1650802" y="280158"/>
                  <a:pt x="1654909" y="272323"/>
                </a:cubicBezTo>
                <a:cubicBezTo>
                  <a:pt x="1654909" y="276242"/>
                  <a:pt x="1654909" y="278200"/>
                  <a:pt x="1654909" y="282117"/>
                </a:cubicBezTo>
                <a:cubicBezTo>
                  <a:pt x="1654909" y="280158"/>
                  <a:pt x="1656963" y="280158"/>
                  <a:pt x="1656963" y="278200"/>
                </a:cubicBezTo>
                <a:cubicBezTo>
                  <a:pt x="1663121" y="286035"/>
                  <a:pt x="1652857" y="297791"/>
                  <a:pt x="1665174" y="307586"/>
                </a:cubicBezTo>
                <a:cubicBezTo>
                  <a:pt x="1665174" y="297791"/>
                  <a:pt x="1665174" y="289955"/>
                  <a:pt x="1665174" y="284075"/>
                </a:cubicBezTo>
                <a:cubicBezTo>
                  <a:pt x="1665174" y="276242"/>
                  <a:pt x="1669281" y="270362"/>
                  <a:pt x="1671333" y="262526"/>
                </a:cubicBezTo>
                <a:cubicBezTo>
                  <a:pt x="1673387" y="254690"/>
                  <a:pt x="1673387" y="248813"/>
                  <a:pt x="1675439" y="240977"/>
                </a:cubicBezTo>
                <a:cubicBezTo>
                  <a:pt x="1677491" y="233140"/>
                  <a:pt x="1679545" y="227262"/>
                  <a:pt x="1681599" y="219424"/>
                </a:cubicBezTo>
                <a:cubicBezTo>
                  <a:pt x="1683650" y="211588"/>
                  <a:pt x="1683650" y="205712"/>
                  <a:pt x="1685705" y="197875"/>
                </a:cubicBezTo>
                <a:cubicBezTo>
                  <a:pt x="1687757" y="191996"/>
                  <a:pt x="1685705" y="184162"/>
                  <a:pt x="1693917" y="178284"/>
                </a:cubicBezTo>
                <a:cubicBezTo>
                  <a:pt x="1698021" y="191996"/>
                  <a:pt x="1691863" y="205712"/>
                  <a:pt x="1693917" y="213548"/>
                </a:cubicBezTo>
                <a:cubicBezTo>
                  <a:pt x="1700075" y="215506"/>
                  <a:pt x="1706235" y="215506"/>
                  <a:pt x="1708287" y="217466"/>
                </a:cubicBezTo>
                <a:cubicBezTo>
                  <a:pt x="1710339" y="219424"/>
                  <a:pt x="1710339" y="223343"/>
                  <a:pt x="1710339" y="225304"/>
                </a:cubicBezTo>
                <a:cubicBezTo>
                  <a:pt x="1704181" y="244895"/>
                  <a:pt x="1704181" y="264484"/>
                  <a:pt x="1704181" y="284075"/>
                </a:cubicBezTo>
                <a:cubicBezTo>
                  <a:pt x="1704181" y="299749"/>
                  <a:pt x="1700075" y="315424"/>
                  <a:pt x="1693917" y="329138"/>
                </a:cubicBezTo>
                <a:cubicBezTo>
                  <a:pt x="1691863" y="344811"/>
                  <a:pt x="1689807" y="360484"/>
                  <a:pt x="1687757" y="378115"/>
                </a:cubicBezTo>
                <a:cubicBezTo>
                  <a:pt x="1685705" y="372238"/>
                  <a:pt x="1685705" y="366360"/>
                  <a:pt x="1685705" y="360484"/>
                </a:cubicBezTo>
                <a:cubicBezTo>
                  <a:pt x="1685705" y="358524"/>
                  <a:pt x="1685705" y="356566"/>
                  <a:pt x="1685705" y="356566"/>
                </a:cubicBezTo>
                <a:cubicBezTo>
                  <a:pt x="1683650" y="362442"/>
                  <a:pt x="1683650" y="368318"/>
                  <a:pt x="1681599" y="372238"/>
                </a:cubicBezTo>
                <a:cubicBezTo>
                  <a:pt x="1681599" y="374198"/>
                  <a:pt x="1673387" y="376155"/>
                  <a:pt x="1669281" y="378115"/>
                </a:cubicBezTo>
                <a:cubicBezTo>
                  <a:pt x="1671333" y="383994"/>
                  <a:pt x="1673387" y="387911"/>
                  <a:pt x="1675439" y="391829"/>
                </a:cubicBezTo>
                <a:cubicBezTo>
                  <a:pt x="1677491" y="395747"/>
                  <a:pt x="1677491" y="397707"/>
                  <a:pt x="1677491" y="401626"/>
                </a:cubicBezTo>
                <a:cubicBezTo>
                  <a:pt x="1677491" y="397707"/>
                  <a:pt x="1681599" y="395747"/>
                  <a:pt x="1685705" y="397707"/>
                </a:cubicBezTo>
                <a:cubicBezTo>
                  <a:pt x="1685705" y="405544"/>
                  <a:pt x="1683650" y="411420"/>
                  <a:pt x="1683650" y="419257"/>
                </a:cubicBezTo>
                <a:cubicBezTo>
                  <a:pt x="1683650" y="442767"/>
                  <a:pt x="1683650" y="468237"/>
                  <a:pt x="1683650" y="491748"/>
                </a:cubicBezTo>
                <a:cubicBezTo>
                  <a:pt x="1685705" y="485868"/>
                  <a:pt x="1689807" y="479989"/>
                  <a:pt x="1698021" y="476071"/>
                </a:cubicBezTo>
                <a:cubicBezTo>
                  <a:pt x="1706235" y="472156"/>
                  <a:pt x="1700075" y="458440"/>
                  <a:pt x="1712393" y="450603"/>
                </a:cubicBezTo>
                <a:cubicBezTo>
                  <a:pt x="1710339" y="468237"/>
                  <a:pt x="1710339" y="481950"/>
                  <a:pt x="1710339" y="495662"/>
                </a:cubicBezTo>
                <a:cubicBezTo>
                  <a:pt x="1716499" y="472156"/>
                  <a:pt x="1722657" y="450603"/>
                  <a:pt x="1722657" y="427093"/>
                </a:cubicBezTo>
                <a:cubicBezTo>
                  <a:pt x="1722657" y="397707"/>
                  <a:pt x="1737030" y="376155"/>
                  <a:pt x="1753454" y="352648"/>
                </a:cubicBezTo>
                <a:cubicBezTo>
                  <a:pt x="1753454" y="352648"/>
                  <a:pt x="1755506" y="352648"/>
                  <a:pt x="1757559" y="352648"/>
                </a:cubicBezTo>
                <a:cubicBezTo>
                  <a:pt x="1761665" y="362442"/>
                  <a:pt x="1759611" y="372238"/>
                  <a:pt x="1757559" y="382033"/>
                </a:cubicBezTo>
                <a:cubicBezTo>
                  <a:pt x="1753454" y="401626"/>
                  <a:pt x="1751398" y="423176"/>
                  <a:pt x="1751398" y="442767"/>
                </a:cubicBezTo>
                <a:cubicBezTo>
                  <a:pt x="1755506" y="434930"/>
                  <a:pt x="1757559" y="427093"/>
                  <a:pt x="1755506" y="417299"/>
                </a:cubicBezTo>
                <a:cubicBezTo>
                  <a:pt x="1755506" y="413380"/>
                  <a:pt x="1755506" y="407502"/>
                  <a:pt x="1757559" y="403585"/>
                </a:cubicBezTo>
                <a:cubicBezTo>
                  <a:pt x="1757559" y="397707"/>
                  <a:pt x="1759611" y="395747"/>
                  <a:pt x="1765771" y="393789"/>
                </a:cubicBezTo>
                <a:cubicBezTo>
                  <a:pt x="1767823" y="391829"/>
                  <a:pt x="1769874" y="389871"/>
                  <a:pt x="1769874" y="387911"/>
                </a:cubicBezTo>
                <a:cubicBezTo>
                  <a:pt x="1767823" y="380075"/>
                  <a:pt x="1765771" y="374198"/>
                  <a:pt x="1763716" y="364402"/>
                </a:cubicBezTo>
                <a:cubicBezTo>
                  <a:pt x="1765771" y="364402"/>
                  <a:pt x="1769874" y="362442"/>
                  <a:pt x="1771929" y="362442"/>
                </a:cubicBezTo>
                <a:cubicBezTo>
                  <a:pt x="1773983" y="362442"/>
                  <a:pt x="1776035" y="360484"/>
                  <a:pt x="1778090" y="358524"/>
                </a:cubicBezTo>
                <a:cubicBezTo>
                  <a:pt x="1780141" y="344811"/>
                  <a:pt x="1784247" y="331095"/>
                  <a:pt x="1788353" y="317382"/>
                </a:cubicBezTo>
                <a:cubicBezTo>
                  <a:pt x="1788353" y="313464"/>
                  <a:pt x="1788353" y="307586"/>
                  <a:pt x="1788353" y="303667"/>
                </a:cubicBezTo>
                <a:cubicBezTo>
                  <a:pt x="1788353" y="303667"/>
                  <a:pt x="1786302" y="303667"/>
                  <a:pt x="1786302" y="303667"/>
                </a:cubicBezTo>
                <a:cubicBezTo>
                  <a:pt x="1786302" y="305628"/>
                  <a:pt x="1784247" y="307586"/>
                  <a:pt x="1784247" y="309546"/>
                </a:cubicBezTo>
                <a:cubicBezTo>
                  <a:pt x="1780141" y="303667"/>
                  <a:pt x="1782192" y="297791"/>
                  <a:pt x="1782192" y="291915"/>
                </a:cubicBezTo>
                <a:cubicBezTo>
                  <a:pt x="1784247" y="276242"/>
                  <a:pt x="1780141" y="260566"/>
                  <a:pt x="1780141" y="242935"/>
                </a:cubicBezTo>
                <a:cubicBezTo>
                  <a:pt x="1780141" y="237057"/>
                  <a:pt x="1776035" y="233140"/>
                  <a:pt x="1773983" y="229222"/>
                </a:cubicBezTo>
                <a:cubicBezTo>
                  <a:pt x="1771929" y="225304"/>
                  <a:pt x="1769874" y="223343"/>
                  <a:pt x="1769874" y="219424"/>
                </a:cubicBezTo>
                <a:cubicBezTo>
                  <a:pt x="1769874" y="209631"/>
                  <a:pt x="1763716" y="203753"/>
                  <a:pt x="1755506" y="197875"/>
                </a:cubicBezTo>
                <a:cubicBezTo>
                  <a:pt x="1751398" y="199833"/>
                  <a:pt x="1747293" y="201793"/>
                  <a:pt x="1743187" y="201793"/>
                </a:cubicBezTo>
                <a:cubicBezTo>
                  <a:pt x="1743187" y="197875"/>
                  <a:pt x="1743187" y="195915"/>
                  <a:pt x="1745241" y="191996"/>
                </a:cubicBezTo>
                <a:cubicBezTo>
                  <a:pt x="1753454" y="188080"/>
                  <a:pt x="1759611" y="188080"/>
                  <a:pt x="1765771" y="193957"/>
                </a:cubicBezTo>
                <a:cubicBezTo>
                  <a:pt x="1769874" y="197875"/>
                  <a:pt x="1771929" y="201793"/>
                  <a:pt x="1776035" y="205712"/>
                </a:cubicBezTo>
                <a:cubicBezTo>
                  <a:pt x="1776035" y="209631"/>
                  <a:pt x="1776035" y="215506"/>
                  <a:pt x="1780141" y="217466"/>
                </a:cubicBezTo>
                <a:cubicBezTo>
                  <a:pt x="1780141" y="219424"/>
                  <a:pt x="1780141" y="221384"/>
                  <a:pt x="1782192" y="223343"/>
                </a:cubicBezTo>
                <a:cubicBezTo>
                  <a:pt x="1786302" y="235097"/>
                  <a:pt x="1792459" y="248813"/>
                  <a:pt x="1790405" y="262526"/>
                </a:cubicBezTo>
                <a:cubicBezTo>
                  <a:pt x="1790405" y="268404"/>
                  <a:pt x="1790405" y="272323"/>
                  <a:pt x="1792459" y="278200"/>
                </a:cubicBezTo>
                <a:cubicBezTo>
                  <a:pt x="1794511" y="284075"/>
                  <a:pt x="1796565" y="289955"/>
                  <a:pt x="1796565" y="295833"/>
                </a:cubicBezTo>
                <a:cubicBezTo>
                  <a:pt x="1798619" y="284075"/>
                  <a:pt x="1798619" y="270362"/>
                  <a:pt x="1800671" y="258608"/>
                </a:cubicBezTo>
                <a:cubicBezTo>
                  <a:pt x="1802723" y="246853"/>
                  <a:pt x="1800671" y="233140"/>
                  <a:pt x="1810935" y="223343"/>
                </a:cubicBezTo>
                <a:cubicBezTo>
                  <a:pt x="1819147" y="215506"/>
                  <a:pt x="1819147" y="203753"/>
                  <a:pt x="1812989" y="193957"/>
                </a:cubicBezTo>
                <a:cubicBezTo>
                  <a:pt x="1808883" y="186120"/>
                  <a:pt x="1808883" y="180244"/>
                  <a:pt x="1812989" y="172405"/>
                </a:cubicBezTo>
                <a:cubicBezTo>
                  <a:pt x="1815041" y="168488"/>
                  <a:pt x="1812989" y="162611"/>
                  <a:pt x="1810935" y="160653"/>
                </a:cubicBezTo>
                <a:cubicBezTo>
                  <a:pt x="1802723" y="152813"/>
                  <a:pt x="1815041" y="148897"/>
                  <a:pt x="1815041" y="144979"/>
                </a:cubicBezTo>
                <a:cubicBezTo>
                  <a:pt x="1815041" y="139100"/>
                  <a:pt x="1806829" y="133224"/>
                  <a:pt x="1810935" y="125387"/>
                </a:cubicBezTo>
                <a:cubicBezTo>
                  <a:pt x="1815041" y="113633"/>
                  <a:pt x="1817095" y="101877"/>
                  <a:pt x="1819147" y="88163"/>
                </a:cubicBezTo>
                <a:cubicBezTo>
                  <a:pt x="1819147" y="84243"/>
                  <a:pt x="1819147" y="78367"/>
                  <a:pt x="1827359" y="80328"/>
                </a:cubicBezTo>
                <a:cubicBezTo>
                  <a:pt x="1831464" y="117550"/>
                  <a:pt x="1833519" y="154773"/>
                  <a:pt x="1829413" y="191996"/>
                </a:cubicBezTo>
                <a:cubicBezTo>
                  <a:pt x="1825307" y="225304"/>
                  <a:pt x="1819147" y="260566"/>
                  <a:pt x="1810935" y="293873"/>
                </a:cubicBezTo>
                <a:cubicBezTo>
                  <a:pt x="1808883" y="301709"/>
                  <a:pt x="1810935" y="307586"/>
                  <a:pt x="1810935" y="315424"/>
                </a:cubicBezTo>
                <a:cubicBezTo>
                  <a:pt x="1810935" y="319340"/>
                  <a:pt x="1808883" y="325220"/>
                  <a:pt x="1804778" y="329138"/>
                </a:cubicBezTo>
                <a:cubicBezTo>
                  <a:pt x="1804778" y="329138"/>
                  <a:pt x="1804778" y="331095"/>
                  <a:pt x="1804778" y="331095"/>
                </a:cubicBezTo>
                <a:cubicBezTo>
                  <a:pt x="1804778" y="335013"/>
                  <a:pt x="1808883" y="336974"/>
                  <a:pt x="1812989" y="335013"/>
                </a:cubicBezTo>
                <a:cubicBezTo>
                  <a:pt x="1812989" y="336974"/>
                  <a:pt x="1812989" y="338933"/>
                  <a:pt x="1812989" y="342851"/>
                </a:cubicBezTo>
                <a:cubicBezTo>
                  <a:pt x="1815041" y="344811"/>
                  <a:pt x="1817095" y="344811"/>
                  <a:pt x="1819147" y="344811"/>
                </a:cubicBezTo>
                <a:cubicBezTo>
                  <a:pt x="1819147" y="346769"/>
                  <a:pt x="1819147" y="348727"/>
                  <a:pt x="1819147" y="350687"/>
                </a:cubicBezTo>
                <a:cubicBezTo>
                  <a:pt x="1819147" y="350687"/>
                  <a:pt x="1821202" y="350687"/>
                  <a:pt x="1821202" y="352648"/>
                </a:cubicBezTo>
                <a:cubicBezTo>
                  <a:pt x="1823254" y="354606"/>
                  <a:pt x="1825307" y="356566"/>
                  <a:pt x="1827359" y="358524"/>
                </a:cubicBezTo>
                <a:cubicBezTo>
                  <a:pt x="1827359" y="338933"/>
                  <a:pt x="1827359" y="319340"/>
                  <a:pt x="1835571" y="299749"/>
                </a:cubicBezTo>
                <a:cubicBezTo>
                  <a:pt x="1839677" y="299749"/>
                  <a:pt x="1841731" y="299749"/>
                  <a:pt x="1845838" y="299749"/>
                </a:cubicBezTo>
                <a:cubicBezTo>
                  <a:pt x="1845838" y="309546"/>
                  <a:pt x="1843783" y="321301"/>
                  <a:pt x="1841731" y="331095"/>
                </a:cubicBezTo>
                <a:cubicBezTo>
                  <a:pt x="1839677" y="342851"/>
                  <a:pt x="1835571" y="354606"/>
                  <a:pt x="1833519" y="366360"/>
                </a:cubicBezTo>
                <a:cubicBezTo>
                  <a:pt x="1835571" y="368318"/>
                  <a:pt x="1837625" y="370279"/>
                  <a:pt x="1839677" y="372238"/>
                </a:cubicBezTo>
                <a:cubicBezTo>
                  <a:pt x="1845838" y="368318"/>
                  <a:pt x="1837625" y="360484"/>
                  <a:pt x="1845838" y="358524"/>
                </a:cubicBezTo>
                <a:cubicBezTo>
                  <a:pt x="1851995" y="362442"/>
                  <a:pt x="1858156" y="368318"/>
                  <a:pt x="1864314" y="372238"/>
                </a:cubicBezTo>
                <a:cubicBezTo>
                  <a:pt x="1866369" y="374198"/>
                  <a:pt x="1866369" y="376155"/>
                  <a:pt x="1868419" y="378115"/>
                </a:cubicBezTo>
                <a:cubicBezTo>
                  <a:pt x="1870474" y="374198"/>
                  <a:pt x="1870474" y="370279"/>
                  <a:pt x="1872526" y="366360"/>
                </a:cubicBezTo>
                <a:cubicBezTo>
                  <a:pt x="1874577" y="372238"/>
                  <a:pt x="1876632" y="376155"/>
                  <a:pt x="1876632" y="382033"/>
                </a:cubicBezTo>
                <a:cubicBezTo>
                  <a:pt x="1878685" y="382033"/>
                  <a:pt x="1882789" y="382033"/>
                  <a:pt x="1886895" y="380075"/>
                </a:cubicBezTo>
                <a:cubicBezTo>
                  <a:pt x="1888950" y="380075"/>
                  <a:pt x="1888950" y="378115"/>
                  <a:pt x="1891004" y="376155"/>
                </a:cubicBezTo>
                <a:cubicBezTo>
                  <a:pt x="1891004" y="370279"/>
                  <a:pt x="1888950" y="366360"/>
                  <a:pt x="1884843" y="360484"/>
                </a:cubicBezTo>
                <a:cubicBezTo>
                  <a:pt x="1895108" y="350687"/>
                  <a:pt x="1897161" y="336974"/>
                  <a:pt x="1897161" y="325220"/>
                </a:cubicBezTo>
                <a:cubicBezTo>
                  <a:pt x="1897161" y="315424"/>
                  <a:pt x="1895108" y="307586"/>
                  <a:pt x="1895108" y="297791"/>
                </a:cubicBezTo>
                <a:cubicBezTo>
                  <a:pt x="1895108" y="291915"/>
                  <a:pt x="1891004" y="287994"/>
                  <a:pt x="1888950" y="284075"/>
                </a:cubicBezTo>
                <a:cubicBezTo>
                  <a:pt x="1886895" y="280158"/>
                  <a:pt x="1884843" y="278200"/>
                  <a:pt x="1884843" y="274282"/>
                </a:cubicBezTo>
                <a:cubicBezTo>
                  <a:pt x="1884843" y="264484"/>
                  <a:pt x="1878685" y="258608"/>
                  <a:pt x="1870474" y="252731"/>
                </a:cubicBezTo>
                <a:cubicBezTo>
                  <a:pt x="1866369" y="254690"/>
                  <a:pt x="1862259" y="256651"/>
                  <a:pt x="1858156" y="256651"/>
                </a:cubicBezTo>
                <a:cubicBezTo>
                  <a:pt x="1858156" y="252731"/>
                  <a:pt x="1858156" y="250771"/>
                  <a:pt x="1860207" y="246853"/>
                </a:cubicBezTo>
                <a:cubicBezTo>
                  <a:pt x="1868419" y="242935"/>
                  <a:pt x="1874577" y="242935"/>
                  <a:pt x="1880737" y="248813"/>
                </a:cubicBezTo>
                <a:cubicBezTo>
                  <a:pt x="1884843" y="252731"/>
                  <a:pt x="1886895" y="256651"/>
                  <a:pt x="1891004" y="260566"/>
                </a:cubicBezTo>
                <a:cubicBezTo>
                  <a:pt x="1891004" y="264484"/>
                  <a:pt x="1891004" y="270362"/>
                  <a:pt x="1895108" y="272323"/>
                </a:cubicBezTo>
                <a:cubicBezTo>
                  <a:pt x="1895108" y="274282"/>
                  <a:pt x="1895108" y="276242"/>
                  <a:pt x="1897161" y="278200"/>
                </a:cubicBezTo>
                <a:cubicBezTo>
                  <a:pt x="1899213" y="284075"/>
                  <a:pt x="1901268" y="291915"/>
                  <a:pt x="1903319" y="297791"/>
                </a:cubicBezTo>
                <a:cubicBezTo>
                  <a:pt x="1905373" y="293873"/>
                  <a:pt x="1909479" y="287994"/>
                  <a:pt x="1913586" y="284075"/>
                </a:cubicBezTo>
                <a:cubicBezTo>
                  <a:pt x="1909479" y="297791"/>
                  <a:pt x="1907425" y="313464"/>
                  <a:pt x="1905373" y="329138"/>
                </a:cubicBezTo>
                <a:cubicBezTo>
                  <a:pt x="1905373" y="329138"/>
                  <a:pt x="1905373" y="331095"/>
                  <a:pt x="1905373" y="331095"/>
                </a:cubicBezTo>
                <a:cubicBezTo>
                  <a:pt x="1907425" y="335013"/>
                  <a:pt x="1909479" y="338933"/>
                  <a:pt x="1909479" y="344811"/>
                </a:cubicBezTo>
                <a:cubicBezTo>
                  <a:pt x="1913586" y="331095"/>
                  <a:pt x="1915637" y="319340"/>
                  <a:pt x="1913586" y="305628"/>
                </a:cubicBezTo>
                <a:cubicBezTo>
                  <a:pt x="1913586" y="297791"/>
                  <a:pt x="1913586" y="291915"/>
                  <a:pt x="1913586" y="284075"/>
                </a:cubicBezTo>
                <a:cubicBezTo>
                  <a:pt x="1915637" y="258608"/>
                  <a:pt x="1917692" y="235097"/>
                  <a:pt x="1919743" y="209631"/>
                </a:cubicBezTo>
                <a:cubicBezTo>
                  <a:pt x="1919743" y="201793"/>
                  <a:pt x="1917692" y="193957"/>
                  <a:pt x="1927955" y="190038"/>
                </a:cubicBezTo>
                <a:cubicBezTo>
                  <a:pt x="1934117" y="188080"/>
                  <a:pt x="1942328" y="199833"/>
                  <a:pt x="1942328" y="211588"/>
                </a:cubicBezTo>
                <a:cubicBezTo>
                  <a:pt x="1942328" y="215506"/>
                  <a:pt x="1940274" y="217466"/>
                  <a:pt x="1940274" y="221384"/>
                </a:cubicBezTo>
                <a:cubicBezTo>
                  <a:pt x="1938222" y="242935"/>
                  <a:pt x="1936168" y="262526"/>
                  <a:pt x="1936168" y="284075"/>
                </a:cubicBezTo>
                <a:cubicBezTo>
                  <a:pt x="1936168" y="297791"/>
                  <a:pt x="1936168" y="311504"/>
                  <a:pt x="1936168" y="325220"/>
                </a:cubicBezTo>
                <a:cubicBezTo>
                  <a:pt x="1936168" y="325220"/>
                  <a:pt x="1936168" y="327178"/>
                  <a:pt x="1936168" y="327178"/>
                </a:cubicBezTo>
                <a:cubicBezTo>
                  <a:pt x="1946433" y="291915"/>
                  <a:pt x="1954647" y="256651"/>
                  <a:pt x="1964909" y="221384"/>
                </a:cubicBezTo>
                <a:cubicBezTo>
                  <a:pt x="1971070" y="197875"/>
                  <a:pt x="1987492" y="184162"/>
                  <a:pt x="2003916" y="178284"/>
                </a:cubicBezTo>
                <a:cubicBezTo>
                  <a:pt x="2005971" y="144979"/>
                  <a:pt x="2030606" y="137142"/>
                  <a:pt x="2032658" y="101877"/>
                </a:cubicBezTo>
                <a:cubicBezTo>
                  <a:pt x="2036764" y="21553"/>
                  <a:pt x="2133254" y="-5875"/>
                  <a:pt x="2139415" y="74449"/>
                </a:cubicBezTo>
                <a:cubicBezTo>
                  <a:pt x="2141467" y="96001"/>
                  <a:pt x="2141467" y="115589"/>
                  <a:pt x="2143521" y="137142"/>
                </a:cubicBezTo>
                <a:cubicBezTo>
                  <a:pt x="2151733" y="135182"/>
                  <a:pt x="2157891" y="135182"/>
                  <a:pt x="2166102" y="135182"/>
                </a:cubicBezTo>
                <a:cubicBezTo>
                  <a:pt x="2166102" y="121468"/>
                  <a:pt x="2168157" y="109714"/>
                  <a:pt x="2168157" y="96001"/>
                </a:cubicBezTo>
                <a:cubicBezTo>
                  <a:pt x="2174315" y="103835"/>
                  <a:pt x="2166102" y="115589"/>
                  <a:pt x="2174315" y="123427"/>
                </a:cubicBezTo>
                <a:cubicBezTo>
                  <a:pt x="2176369" y="121468"/>
                  <a:pt x="2176369" y="121468"/>
                  <a:pt x="2176369" y="119510"/>
                </a:cubicBezTo>
                <a:cubicBezTo>
                  <a:pt x="2178420" y="105796"/>
                  <a:pt x="2178420" y="90123"/>
                  <a:pt x="2180473" y="76409"/>
                </a:cubicBezTo>
                <a:cubicBezTo>
                  <a:pt x="2182527" y="74449"/>
                  <a:pt x="2186633" y="72491"/>
                  <a:pt x="2188684" y="72491"/>
                </a:cubicBezTo>
                <a:cubicBezTo>
                  <a:pt x="2184578" y="68573"/>
                  <a:pt x="2180473" y="64652"/>
                  <a:pt x="2178420" y="58776"/>
                </a:cubicBezTo>
                <a:cubicBezTo>
                  <a:pt x="2190739" y="56818"/>
                  <a:pt x="2192791" y="54857"/>
                  <a:pt x="2192791" y="47020"/>
                </a:cubicBezTo>
                <a:cubicBezTo>
                  <a:pt x="2192791" y="45063"/>
                  <a:pt x="2192791" y="41145"/>
                  <a:pt x="2194845" y="39185"/>
                </a:cubicBezTo>
                <a:cubicBezTo>
                  <a:pt x="2194845" y="35265"/>
                  <a:pt x="2196896" y="31350"/>
                  <a:pt x="2196896" y="27429"/>
                </a:cubicBezTo>
                <a:cubicBezTo>
                  <a:pt x="2196896" y="23511"/>
                  <a:pt x="2196896" y="19591"/>
                  <a:pt x="2196896" y="15674"/>
                </a:cubicBezTo>
                <a:cubicBezTo>
                  <a:pt x="2205109" y="25471"/>
                  <a:pt x="2203057" y="37226"/>
                  <a:pt x="2203057" y="48981"/>
                </a:cubicBezTo>
                <a:cubicBezTo>
                  <a:pt x="2203057" y="54857"/>
                  <a:pt x="2201003" y="60736"/>
                  <a:pt x="2198950" y="66612"/>
                </a:cubicBezTo>
                <a:cubicBezTo>
                  <a:pt x="2203057" y="68573"/>
                  <a:pt x="2207163" y="68573"/>
                  <a:pt x="2211269" y="70530"/>
                </a:cubicBezTo>
                <a:cubicBezTo>
                  <a:pt x="2213321" y="66612"/>
                  <a:pt x="2215376" y="62694"/>
                  <a:pt x="2219481" y="58776"/>
                </a:cubicBezTo>
                <a:cubicBezTo>
                  <a:pt x="2221533" y="64652"/>
                  <a:pt x="2221533" y="64652"/>
                  <a:pt x="2219481" y="70530"/>
                </a:cubicBezTo>
                <a:cubicBezTo>
                  <a:pt x="2217427" y="74449"/>
                  <a:pt x="2219481" y="84243"/>
                  <a:pt x="2223587" y="86204"/>
                </a:cubicBezTo>
                <a:cubicBezTo>
                  <a:pt x="2229745" y="88163"/>
                  <a:pt x="2233852" y="90123"/>
                  <a:pt x="2240011" y="92083"/>
                </a:cubicBezTo>
                <a:cubicBezTo>
                  <a:pt x="2242063" y="84243"/>
                  <a:pt x="2250275" y="78367"/>
                  <a:pt x="2242063" y="70530"/>
                </a:cubicBezTo>
                <a:cubicBezTo>
                  <a:pt x="2237957" y="66612"/>
                  <a:pt x="2242063" y="62694"/>
                  <a:pt x="2246168" y="60736"/>
                </a:cubicBezTo>
                <a:cubicBezTo>
                  <a:pt x="2248222" y="58776"/>
                  <a:pt x="2250275" y="56818"/>
                  <a:pt x="2252326" y="56818"/>
                </a:cubicBezTo>
                <a:cubicBezTo>
                  <a:pt x="2254382" y="56818"/>
                  <a:pt x="2256436" y="54857"/>
                  <a:pt x="2260541" y="54857"/>
                </a:cubicBezTo>
                <a:cubicBezTo>
                  <a:pt x="2262593" y="76409"/>
                  <a:pt x="2264644" y="97959"/>
                  <a:pt x="2266699" y="119510"/>
                </a:cubicBezTo>
                <a:lnTo>
                  <a:pt x="2270051" y="118273"/>
                </a:lnTo>
                <a:lnTo>
                  <a:pt x="2268754" y="119510"/>
                </a:lnTo>
                <a:cubicBezTo>
                  <a:pt x="2271832" y="119510"/>
                  <a:pt x="2273372" y="119021"/>
                  <a:pt x="2274142" y="118041"/>
                </a:cubicBezTo>
                <a:lnTo>
                  <a:pt x="2274380" y="116672"/>
                </a:lnTo>
                <a:lnTo>
                  <a:pt x="2282611" y="113632"/>
                </a:lnTo>
                <a:cubicBezTo>
                  <a:pt x="2286203" y="110693"/>
                  <a:pt x="2288255" y="106774"/>
                  <a:pt x="2289281" y="101877"/>
                </a:cubicBezTo>
                <a:cubicBezTo>
                  <a:pt x="2289281" y="107754"/>
                  <a:pt x="2291335" y="109714"/>
                  <a:pt x="2291335" y="113633"/>
                </a:cubicBezTo>
                <a:cubicBezTo>
                  <a:pt x="2293387" y="107754"/>
                  <a:pt x="2295441" y="105796"/>
                  <a:pt x="2295441" y="101877"/>
                </a:cubicBezTo>
                <a:cubicBezTo>
                  <a:pt x="2297493" y="111672"/>
                  <a:pt x="2297493" y="121468"/>
                  <a:pt x="2297493" y="129306"/>
                </a:cubicBezTo>
                <a:cubicBezTo>
                  <a:pt x="2297493" y="135182"/>
                  <a:pt x="2295441" y="141060"/>
                  <a:pt x="2295441" y="146937"/>
                </a:cubicBezTo>
                <a:cubicBezTo>
                  <a:pt x="2295441" y="154773"/>
                  <a:pt x="2299547" y="162611"/>
                  <a:pt x="2289281" y="170446"/>
                </a:cubicBezTo>
                <a:cubicBezTo>
                  <a:pt x="2287230" y="170446"/>
                  <a:pt x="2289281" y="174365"/>
                  <a:pt x="2289281" y="176323"/>
                </a:cubicBezTo>
                <a:cubicBezTo>
                  <a:pt x="2289281" y="182202"/>
                  <a:pt x="2289281" y="188080"/>
                  <a:pt x="2291335" y="193957"/>
                </a:cubicBezTo>
                <a:cubicBezTo>
                  <a:pt x="2291335" y="203753"/>
                  <a:pt x="2293387" y="213548"/>
                  <a:pt x="2293387" y="223343"/>
                </a:cubicBezTo>
                <a:cubicBezTo>
                  <a:pt x="2293387" y="223343"/>
                  <a:pt x="2295441" y="223343"/>
                  <a:pt x="2297493" y="223343"/>
                </a:cubicBezTo>
                <a:cubicBezTo>
                  <a:pt x="2297493" y="217466"/>
                  <a:pt x="2297493" y="213548"/>
                  <a:pt x="2297493" y="207673"/>
                </a:cubicBezTo>
                <a:cubicBezTo>
                  <a:pt x="2297493" y="199833"/>
                  <a:pt x="2299547" y="195915"/>
                  <a:pt x="2307759" y="191996"/>
                </a:cubicBezTo>
                <a:lnTo>
                  <a:pt x="2307759" y="154773"/>
                </a:lnTo>
                <a:cubicBezTo>
                  <a:pt x="2305706" y="154773"/>
                  <a:pt x="2305706" y="154773"/>
                  <a:pt x="2303654" y="154773"/>
                </a:cubicBezTo>
                <a:cubicBezTo>
                  <a:pt x="2305706" y="152813"/>
                  <a:pt x="2305706" y="148897"/>
                  <a:pt x="2307759" y="146937"/>
                </a:cubicBezTo>
                <a:cubicBezTo>
                  <a:pt x="2307759" y="144979"/>
                  <a:pt x="2307759" y="144979"/>
                  <a:pt x="2307759" y="143018"/>
                </a:cubicBezTo>
                <a:cubicBezTo>
                  <a:pt x="2307759" y="125387"/>
                  <a:pt x="2307759" y="105796"/>
                  <a:pt x="2307759" y="88163"/>
                </a:cubicBezTo>
                <a:cubicBezTo>
                  <a:pt x="2307759" y="60736"/>
                  <a:pt x="2318023" y="33308"/>
                  <a:pt x="2322130" y="5880"/>
                </a:cubicBezTo>
                <a:cubicBezTo>
                  <a:pt x="2322130" y="3921"/>
                  <a:pt x="2324184" y="3921"/>
                  <a:pt x="2328289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412000">
            <a:noAutofit/>
          </a:bodyPr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82E1CED0-B1D6-AC2E-590B-277954E6AA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6718771" cy="42689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BF6ADBA-31AF-97C8-56A4-6772E6371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400"/>
            <a:ext cx="6718771" cy="6630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F1F5E6C-0510-3618-576E-CAFD104602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6718771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144000" indent="0">
              <a:buNone/>
              <a:defRPr sz="2000">
                <a:solidFill>
                  <a:schemeClr val="bg1"/>
                </a:solidFill>
              </a:defRPr>
            </a:lvl2pPr>
            <a:lvl3pPr marL="324000" indent="0">
              <a:buNone/>
              <a:defRPr sz="1800">
                <a:solidFill>
                  <a:schemeClr val="bg1"/>
                </a:solidFill>
              </a:defRPr>
            </a:lvl3pPr>
            <a:lvl4pPr marL="486000" indent="0">
              <a:buNone/>
              <a:defRPr sz="1600">
                <a:solidFill>
                  <a:schemeClr val="bg1"/>
                </a:solidFill>
              </a:defRPr>
            </a:lvl4pPr>
            <a:lvl5pPr marL="6660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E3C51D-C679-12F9-7DF1-0B136A941D2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CDEA79-3022-2AD2-14FB-AA2ACFE463F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00D4AEB-7AD5-51E6-F99D-C63860CCCBD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29976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text, green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F77CC86-6543-8FD5-EC6B-2C906293C3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88531" y="0"/>
            <a:ext cx="5503467" cy="6858000"/>
          </a:xfrm>
          <a:custGeom>
            <a:avLst/>
            <a:gdLst>
              <a:gd name="connsiteX0" fmla="*/ 1417233 w 5503467"/>
              <a:gd name="connsiteY0" fmla="*/ 6852665 h 6857999"/>
              <a:gd name="connsiteX1" fmla="*/ 1415683 w 5503467"/>
              <a:gd name="connsiteY1" fmla="*/ 6854890 h 6857999"/>
              <a:gd name="connsiteX2" fmla="*/ 1416458 w 5503467"/>
              <a:gd name="connsiteY2" fmla="*/ 6856687 h 6857999"/>
              <a:gd name="connsiteX3" fmla="*/ 1417451 w 5503467"/>
              <a:gd name="connsiteY3" fmla="*/ 6854876 h 6857999"/>
              <a:gd name="connsiteX4" fmla="*/ 1417233 w 5503467"/>
              <a:gd name="connsiteY4" fmla="*/ 6852665 h 6857999"/>
              <a:gd name="connsiteX5" fmla="*/ 1582717 w 5503467"/>
              <a:gd name="connsiteY5" fmla="*/ 6840771 h 6857999"/>
              <a:gd name="connsiteX6" fmla="*/ 1582665 w 5503467"/>
              <a:gd name="connsiteY6" fmla="*/ 6857999 h 6857999"/>
              <a:gd name="connsiteX7" fmla="*/ 1578126 w 5503467"/>
              <a:gd name="connsiteY7" fmla="*/ 6857999 h 6857999"/>
              <a:gd name="connsiteX8" fmla="*/ 1439623 w 5503467"/>
              <a:gd name="connsiteY8" fmla="*/ 6833756 h 6857999"/>
              <a:gd name="connsiteX9" fmla="*/ 1439252 w 5503467"/>
              <a:gd name="connsiteY9" fmla="*/ 6834678 h 6857999"/>
              <a:gd name="connsiteX10" fmla="*/ 1439405 w 5503467"/>
              <a:gd name="connsiteY10" fmla="*/ 6835425 h 6857999"/>
              <a:gd name="connsiteX11" fmla="*/ 1439623 w 5503467"/>
              <a:gd name="connsiteY11" fmla="*/ 6833756 h 6857999"/>
              <a:gd name="connsiteX12" fmla="*/ 2505466 w 5503467"/>
              <a:gd name="connsiteY12" fmla="*/ 6827683 h 6857999"/>
              <a:gd name="connsiteX13" fmla="*/ 2502735 w 5503467"/>
              <a:gd name="connsiteY13" fmla="*/ 6829268 h 6857999"/>
              <a:gd name="connsiteX14" fmla="*/ 2498980 w 5503467"/>
              <a:gd name="connsiteY14" fmla="*/ 6842603 h 6857999"/>
              <a:gd name="connsiteX15" fmla="*/ 2499038 w 5503467"/>
              <a:gd name="connsiteY15" fmla="*/ 6849889 h 6857999"/>
              <a:gd name="connsiteX16" fmla="*/ 2499783 w 5503467"/>
              <a:gd name="connsiteY16" fmla="*/ 6849986 h 6857999"/>
              <a:gd name="connsiteX17" fmla="*/ 2499752 w 5503467"/>
              <a:gd name="connsiteY17" fmla="*/ 6850223 h 6857999"/>
              <a:gd name="connsiteX18" fmla="*/ 2505466 w 5503467"/>
              <a:gd name="connsiteY18" fmla="*/ 6827683 h 6857999"/>
              <a:gd name="connsiteX19" fmla="*/ 1428869 w 5503467"/>
              <a:gd name="connsiteY19" fmla="*/ 6827259 h 6857999"/>
              <a:gd name="connsiteX20" fmla="*/ 1425737 w 5503467"/>
              <a:gd name="connsiteY20" fmla="*/ 6830005 h 6857999"/>
              <a:gd name="connsiteX21" fmla="*/ 1425516 w 5503467"/>
              <a:gd name="connsiteY21" fmla="*/ 6841374 h 6857999"/>
              <a:gd name="connsiteX22" fmla="*/ 1425762 w 5503467"/>
              <a:gd name="connsiteY22" fmla="*/ 6841407 h 6857999"/>
              <a:gd name="connsiteX23" fmla="*/ 1428869 w 5503467"/>
              <a:gd name="connsiteY23" fmla="*/ 6827259 h 6857999"/>
              <a:gd name="connsiteX24" fmla="*/ 2576778 w 5503467"/>
              <a:gd name="connsiteY24" fmla="*/ 6825343 h 6857999"/>
              <a:gd name="connsiteX25" fmla="*/ 2576547 w 5503467"/>
              <a:gd name="connsiteY25" fmla="*/ 6827977 h 6857999"/>
              <a:gd name="connsiteX26" fmla="*/ 2572609 w 5503467"/>
              <a:gd name="connsiteY26" fmla="*/ 6827223 h 6857999"/>
              <a:gd name="connsiteX27" fmla="*/ 2572445 w 5503467"/>
              <a:gd name="connsiteY27" fmla="*/ 6826112 h 6857999"/>
              <a:gd name="connsiteX28" fmla="*/ 2573107 w 5503467"/>
              <a:gd name="connsiteY28" fmla="*/ 6825344 h 6857999"/>
              <a:gd name="connsiteX29" fmla="*/ 1851279 w 5503467"/>
              <a:gd name="connsiteY29" fmla="*/ 6815879 h 6857999"/>
              <a:gd name="connsiteX30" fmla="*/ 1849285 w 5503467"/>
              <a:gd name="connsiteY30" fmla="*/ 6835023 h 6857999"/>
              <a:gd name="connsiteX31" fmla="*/ 1851709 w 5503467"/>
              <a:gd name="connsiteY31" fmla="*/ 6824180 h 6857999"/>
              <a:gd name="connsiteX32" fmla="*/ 1851337 w 5503467"/>
              <a:gd name="connsiteY32" fmla="*/ 6821221 h 6857999"/>
              <a:gd name="connsiteX33" fmla="*/ 1851587 w 5503467"/>
              <a:gd name="connsiteY33" fmla="*/ 6821253 h 6857999"/>
              <a:gd name="connsiteX34" fmla="*/ 1851279 w 5503467"/>
              <a:gd name="connsiteY34" fmla="*/ 6815879 h 6857999"/>
              <a:gd name="connsiteX35" fmla="*/ 1366939 w 5503467"/>
              <a:gd name="connsiteY35" fmla="*/ 6808998 h 6857999"/>
              <a:gd name="connsiteX36" fmla="*/ 1366753 w 5503467"/>
              <a:gd name="connsiteY36" fmla="*/ 6810428 h 6857999"/>
              <a:gd name="connsiteX37" fmla="*/ 1367993 w 5503467"/>
              <a:gd name="connsiteY37" fmla="*/ 6810589 h 6857999"/>
              <a:gd name="connsiteX38" fmla="*/ 1368178 w 5503467"/>
              <a:gd name="connsiteY38" fmla="*/ 6809160 h 6857999"/>
              <a:gd name="connsiteX39" fmla="*/ 1366939 w 5503467"/>
              <a:gd name="connsiteY39" fmla="*/ 6808998 h 6857999"/>
              <a:gd name="connsiteX40" fmla="*/ 1543425 w 5503467"/>
              <a:gd name="connsiteY40" fmla="*/ 6801691 h 6857999"/>
              <a:gd name="connsiteX41" fmla="*/ 1543981 w 5503467"/>
              <a:gd name="connsiteY41" fmla="*/ 6805159 h 6857999"/>
              <a:gd name="connsiteX42" fmla="*/ 1545625 w 5503467"/>
              <a:gd name="connsiteY42" fmla="*/ 6802221 h 6857999"/>
              <a:gd name="connsiteX43" fmla="*/ 1545656 w 5503467"/>
              <a:gd name="connsiteY43" fmla="*/ 6801983 h 6857999"/>
              <a:gd name="connsiteX44" fmla="*/ 1371130 w 5503467"/>
              <a:gd name="connsiteY44" fmla="*/ 6790383 h 6857999"/>
              <a:gd name="connsiteX45" fmla="*/ 1370974 w 5503467"/>
              <a:gd name="connsiteY45" fmla="*/ 6791575 h 6857999"/>
              <a:gd name="connsiteX46" fmla="*/ 1372557 w 5503467"/>
              <a:gd name="connsiteY46" fmla="*/ 6791056 h 6857999"/>
              <a:gd name="connsiteX47" fmla="*/ 1371130 w 5503467"/>
              <a:gd name="connsiteY47" fmla="*/ 6790383 h 6857999"/>
              <a:gd name="connsiteX48" fmla="*/ 2602947 w 5503467"/>
              <a:gd name="connsiteY48" fmla="*/ 6784122 h 6857999"/>
              <a:gd name="connsiteX49" fmla="*/ 2602010 w 5503467"/>
              <a:gd name="connsiteY49" fmla="*/ 6797099 h 6857999"/>
              <a:gd name="connsiteX50" fmla="*/ 2603968 w 5503467"/>
              <a:gd name="connsiteY50" fmla="*/ 6785953 h 6857999"/>
              <a:gd name="connsiteX51" fmla="*/ 2602947 w 5503467"/>
              <a:gd name="connsiteY51" fmla="*/ 6784122 h 6857999"/>
              <a:gd name="connsiteX52" fmla="*/ 1581293 w 5503467"/>
              <a:gd name="connsiteY52" fmla="*/ 6758846 h 6857999"/>
              <a:gd name="connsiteX53" fmla="*/ 1577509 w 5503467"/>
              <a:gd name="connsiteY53" fmla="*/ 6764659 h 6857999"/>
              <a:gd name="connsiteX54" fmla="*/ 1577322 w 5503467"/>
              <a:gd name="connsiteY54" fmla="*/ 6766090 h 6857999"/>
              <a:gd name="connsiteX55" fmla="*/ 1583050 w 5503467"/>
              <a:gd name="connsiteY55" fmla="*/ 6780177 h 6857999"/>
              <a:gd name="connsiteX56" fmla="*/ 1584265 w 5503467"/>
              <a:gd name="connsiteY56" fmla="*/ 6765055 h 6857999"/>
              <a:gd name="connsiteX57" fmla="*/ 1581293 w 5503467"/>
              <a:gd name="connsiteY57" fmla="*/ 6758846 h 6857999"/>
              <a:gd name="connsiteX58" fmla="*/ 1381219 w 5503467"/>
              <a:gd name="connsiteY58" fmla="*/ 6757500 h 6857999"/>
              <a:gd name="connsiteX59" fmla="*/ 1379540 w 5503467"/>
              <a:gd name="connsiteY59" fmla="*/ 6770376 h 6857999"/>
              <a:gd name="connsiteX60" fmla="*/ 1379292 w 5503467"/>
              <a:gd name="connsiteY60" fmla="*/ 6770344 h 6857999"/>
              <a:gd name="connsiteX61" fmla="*/ 1381460 w 5503467"/>
              <a:gd name="connsiteY61" fmla="*/ 6773054 h 6857999"/>
              <a:gd name="connsiteX62" fmla="*/ 1382422 w 5503467"/>
              <a:gd name="connsiteY62" fmla="*/ 6771481 h 6857999"/>
              <a:gd name="connsiteX63" fmla="*/ 1381219 w 5503467"/>
              <a:gd name="connsiteY63" fmla="*/ 6757500 h 6857999"/>
              <a:gd name="connsiteX64" fmla="*/ 1410584 w 5503467"/>
              <a:gd name="connsiteY64" fmla="*/ 6735375 h 6857999"/>
              <a:gd name="connsiteX65" fmla="*/ 1410304 w 5503467"/>
              <a:gd name="connsiteY65" fmla="*/ 6737521 h 6857999"/>
              <a:gd name="connsiteX66" fmla="*/ 1412307 w 5503467"/>
              <a:gd name="connsiteY66" fmla="*/ 6739767 h 6857999"/>
              <a:gd name="connsiteX67" fmla="*/ 1412259 w 5503467"/>
              <a:gd name="connsiteY67" fmla="*/ 6739958 h 6857999"/>
              <a:gd name="connsiteX68" fmla="*/ 1412506 w 5503467"/>
              <a:gd name="connsiteY68" fmla="*/ 6739990 h 6857999"/>
              <a:gd name="connsiteX69" fmla="*/ 1412307 w 5503467"/>
              <a:gd name="connsiteY69" fmla="*/ 6739767 h 6857999"/>
              <a:gd name="connsiteX70" fmla="*/ 1412785 w 5503467"/>
              <a:gd name="connsiteY70" fmla="*/ 6737844 h 6857999"/>
              <a:gd name="connsiteX71" fmla="*/ 1410584 w 5503467"/>
              <a:gd name="connsiteY71" fmla="*/ 6735375 h 6857999"/>
              <a:gd name="connsiteX72" fmla="*/ 1827105 w 5503467"/>
              <a:gd name="connsiteY72" fmla="*/ 6724681 h 6857999"/>
              <a:gd name="connsiteX73" fmla="*/ 1826794 w 5503467"/>
              <a:gd name="connsiteY73" fmla="*/ 6725126 h 6857999"/>
              <a:gd name="connsiteX74" fmla="*/ 1826980 w 5503467"/>
              <a:gd name="connsiteY74" fmla="*/ 6725637 h 6857999"/>
              <a:gd name="connsiteX75" fmla="*/ 1826918 w 5503467"/>
              <a:gd name="connsiteY75" fmla="*/ 6726113 h 6857999"/>
              <a:gd name="connsiteX76" fmla="*/ 1827165 w 5503467"/>
              <a:gd name="connsiteY76" fmla="*/ 6726144 h 6857999"/>
              <a:gd name="connsiteX77" fmla="*/ 1826980 w 5503467"/>
              <a:gd name="connsiteY77" fmla="*/ 6725637 h 6857999"/>
              <a:gd name="connsiteX78" fmla="*/ 1416359 w 5503467"/>
              <a:gd name="connsiteY78" fmla="*/ 6712358 h 6857999"/>
              <a:gd name="connsiteX79" fmla="*/ 1416328 w 5503467"/>
              <a:gd name="connsiteY79" fmla="*/ 6712597 h 6857999"/>
              <a:gd name="connsiteX80" fmla="*/ 1420623 w 5503467"/>
              <a:gd name="connsiteY80" fmla="*/ 6753177 h 6857999"/>
              <a:gd name="connsiteX81" fmla="*/ 1424594 w 5503467"/>
              <a:gd name="connsiteY81" fmla="*/ 6742053 h 6857999"/>
              <a:gd name="connsiteX82" fmla="*/ 1428257 w 5503467"/>
              <a:gd name="connsiteY82" fmla="*/ 6729434 h 6857999"/>
              <a:gd name="connsiteX83" fmla="*/ 1416359 w 5503467"/>
              <a:gd name="connsiteY83" fmla="*/ 6712358 h 6857999"/>
              <a:gd name="connsiteX84" fmla="*/ 1496280 w 5503467"/>
              <a:gd name="connsiteY84" fmla="*/ 6708711 h 6857999"/>
              <a:gd name="connsiteX85" fmla="*/ 1491504 w 5503467"/>
              <a:gd name="connsiteY85" fmla="*/ 6714396 h 6857999"/>
              <a:gd name="connsiteX86" fmla="*/ 1496917 w 5503467"/>
              <a:gd name="connsiteY86" fmla="*/ 6738628 h 6857999"/>
              <a:gd name="connsiteX87" fmla="*/ 1481621 w 5503467"/>
              <a:gd name="connsiteY87" fmla="*/ 6770832 h 6857999"/>
              <a:gd name="connsiteX88" fmla="*/ 1490326 w 5503467"/>
              <a:gd name="connsiteY88" fmla="*/ 6789189 h 6857999"/>
              <a:gd name="connsiteX89" fmla="*/ 1496780 w 5503467"/>
              <a:gd name="connsiteY89" fmla="*/ 6774507 h 6857999"/>
              <a:gd name="connsiteX90" fmla="*/ 1500192 w 5503467"/>
              <a:gd name="connsiteY90" fmla="*/ 6767675 h 6857999"/>
              <a:gd name="connsiteX91" fmla="*/ 1501343 w 5503467"/>
              <a:gd name="connsiteY91" fmla="*/ 6758850 h 6857999"/>
              <a:gd name="connsiteX92" fmla="*/ 1502458 w 5503467"/>
              <a:gd name="connsiteY92" fmla="*/ 6761907 h 6857999"/>
              <a:gd name="connsiteX93" fmla="*/ 1502396 w 5503467"/>
              <a:gd name="connsiteY93" fmla="*/ 6762386 h 6857999"/>
              <a:gd name="connsiteX94" fmla="*/ 1506652 w 5503467"/>
              <a:gd name="connsiteY94" fmla="*/ 6743291 h 6857999"/>
              <a:gd name="connsiteX95" fmla="*/ 1506285 w 5503467"/>
              <a:gd name="connsiteY95" fmla="*/ 6726751 h 6857999"/>
              <a:gd name="connsiteX96" fmla="*/ 1496280 w 5503467"/>
              <a:gd name="connsiteY96" fmla="*/ 6708711 h 6857999"/>
              <a:gd name="connsiteX97" fmla="*/ 1391254 w 5503467"/>
              <a:gd name="connsiteY97" fmla="*/ 6703749 h 6857999"/>
              <a:gd name="connsiteX98" fmla="*/ 1396369 w 5503467"/>
              <a:gd name="connsiteY98" fmla="*/ 6780577 h 6857999"/>
              <a:gd name="connsiteX99" fmla="*/ 1399722 w 5503467"/>
              <a:gd name="connsiteY99" fmla="*/ 6764521 h 6857999"/>
              <a:gd name="connsiteX100" fmla="*/ 1397505 w 5503467"/>
              <a:gd name="connsiteY100" fmla="*/ 6731246 h 6857999"/>
              <a:gd name="connsiteX101" fmla="*/ 1396821 w 5503467"/>
              <a:gd name="connsiteY101" fmla="*/ 6732610 h 6857999"/>
              <a:gd name="connsiteX102" fmla="*/ 1396459 w 5503467"/>
              <a:gd name="connsiteY102" fmla="*/ 6714128 h 6857999"/>
              <a:gd name="connsiteX103" fmla="*/ 1396242 w 5503467"/>
              <a:gd name="connsiteY103" fmla="*/ 6709978 h 6857999"/>
              <a:gd name="connsiteX104" fmla="*/ 1391752 w 5503467"/>
              <a:gd name="connsiteY104" fmla="*/ 6703814 h 6857999"/>
              <a:gd name="connsiteX105" fmla="*/ 1541326 w 5503467"/>
              <a:gd name="connsiteY105" fmla="*/ 6701731 h 6857999"/>
              <a:gd name="connsiteX106" fmla="*/ 1538937 w 5503467"/>
              <a:gd name="connsiteY106" fmla="*/ 6702630 h 6857999"/>
              <a:gd name="connsiteX107" fmla="*/ 1541047 w 5503467"/>
              <a:gd name="connsiteY107" fmla="*/ 6703876 h 6857999"/>
              <a:gd name="connsiteX108" fmla="*/ 2580938 w 5503467"/>
              <a:gd name="connsiteY108" fmla="*/ 6701454 h 6857999"/>
              <a:gd name="connsiteX109" fmla="*/ 2580747 w 5503467"/>
              <a:gd name="connsiteY109" fmla="*/ 6712587 h 6857999"/>
              <a:gd name="connsiteX110" fmla="*/ 2588062 w 5503467"/>
              <a:gd name="connsiteY110" fmla="*/ 6716450 h 6857999"/>
              <a:gd name="connsiteX111" fmla="*/ 2580938 w 5503467"/>
              <a:gd name="connsiteY111" fmla="*/ 6701454 h 6857999"/>
              <a:gd name="connsiteX112" fmla="*/ 1418256 w 5503467"/>
              <a:gd name="connsiteY112" fmla="*/ 6697809 h 6857999"/>
              <a:gd name="connsiteX113" fmla="*/ 1415963 w 5503467"/>
              <a:gd name="connsiteY113" fmla="*/ 6697997 h 6857999"/>
              <a:gd name="connsiteX114" fmla="*/ 1417295 w 5503467"/>
              <a:gd name="connsiteY114" fmla="*/ 6699382 h 6857999"/>
              <a:gd name="connsiteX115" fmla="*/ 1418256 w 5503467"/>
              <a:gd name="connsiteY115" fmla="*/ 6697809 h 6857999"/>
              <a:gd name="connsiteX116" fmla="*/ 1612538 w 5503467"/>
              <a:gd name="connsiteY116" fmla="*/ 6685548 h 6857999"/>
              <a:gd name="connsiteX117" fmla="*/ 1612261 w 5503467"/>
              <a:gd name="connsiteY117" fmla="*/ 6685753 h 6857999"/>
              <a:gd name="connsiteX118" fmla="*/ 1609250 w 5503467"/>
              <a:gd name="connsiteY118" fmla="*/ 6689484 h 6857999"/>
              <a:gd name="connsiteX119" fmla="*/ 1611142 w 5503467"/>
              <a:gd name="connsiteY119" fmla="*/ 6692399 h 6857999"/>
              <a:gd name="connsiteX120" fmla="*/ 1612816 w 5503467"/>
              <a:gd name="connsiteY120" fmla="*/ 6689220 h 6857999"/>
              <a:gd name="connsiteX121" fmla="*/ 1612538 w 5503467"/>
              <a:gd name="connsiteY121" fmla="*/ 6685548 h 6857999"/>
              <a:gd name="connsiteX122" fmla="*/ 1565518 w 5503467"/>
              <a:gd name="connsiteY122" fmla="*/ 6670928 h 6857999"/>
              <a:gd name="connsiteX123" fmla="*/ 1562373 w 5503467"/>
              <a:gd name="connsiteY123" fmla="*/ 6710537 h 6857999"/>
              <a:gd name="connsiteX124" fmla="*/ 1563610 w 5503467"/>
              <a:gd name="connsiteY124" fmla="*/ 6712639 h 6857999"/>
              <a:gd name="connsiteX125" fmla="*/ 1563019 w 5503467"/>
              <a:gd name="connsiteY125" fmla="*/ 6717171 h 6857999"/>
              <a:gd name="connsiteX126" fmla="*/ 1563729 w 5503467"/>
              <a:gd name="connsiteY126" fmla="*/ 6721386 h 6857999"/>
              <a:gd name="connsiteX127" fmla="*/ 1567382 w 5503467"/>
              <a:gd name="connsiteY127" fmla="*/ 6741753 h 6857999"/>
              <a:gd name="connsiteX128" fmla="*/ 1568556 w 5503467"/>
              <a:gd name="connsiteY128" fmla="*/ 6744329 h 6857999"/>
              <a:gd name="connsiteX129" fmla="*/ 1574330 w 5503467"/>
              <a:gd name="connsiteY129" fmla="*/ 6725195 h 6857999"/>
              <a:gd name="connsiteX130" fmla="*/ 1574611 w 5503467"/>
              <a:gd name="connsiteY130" fmla="*/ 6724988 h 6857999"/>
              <a:gd name="connsiteX131" fmla="*/ 1574778 w 5503467"/>
              <a:gd name="connsiteY131" fmla="*/ 6692751 h 6857999"/>
              <a:gd name="connsiteX132" fmla="*/ 1571869 w 5503467"/>
              <a:gd name="connsiteY132" fmla="*/ 6680245 h 6857999"/>
              <a:gd name="connsiteX133" fmla="*/ 1565518 w 5503467"/>
              <a:gd name="connsiteY133" fmla="*/ 6670928 h 6857999"/>
              <a:gd name="connsiteX134" fmla="*/ 1822601 w 5503467"/>
              <a:gd name="connsiteY134" fmla="*/ 6666368 h 6857999"/>
              <a:gd name="connsiteX135" fmla="*/ 1817301 w 5503467"/>
              <a:gd name="connsiteY135" fmla="*/ 6666403 h 6857999"/>
              <a:gd name="connsiteX136" fmla="*/ 1818230 w 5503467"/>
              <a:gd name="connsiteY136" fmla="*/ 6668951 h 6857999"/>
              <a:gd name="connsiteX137" fmla="*/ 1822725 w 5503467"/>
              <a:gd name="connsiteY137" fmla="*/ 6671235 h 6857999"/>
              <a:gd name="connsiteX138" fmla="*/ 1822601 w 5503467"/>
              <a:gd name="connsiteY138" fmla="*/ 6666368 h 6857999"/>
              <a:gd name="connsiteX139" fmla="*/ 1304474 w 5503467"/>
              <a:gd name="connsiteY139" fmla="*/ 6655566 h 6857999"/>
              <a:gd name="connsiteX140" fmla="*/ 1303261 w 5503467"/>
              <a:gd name="connsiteY140" fmla="*/ 6660986 h 6857999"/>
              <a:gd name="connsiteX141" fmla="*/ 1305742 w 5503467"/>
              <a:gd name="connsiteY141" fmla="*/ 6661310 h 6857999"/>
              <a:gd name="connsiteX142" fmla="*/ 1304474 w 5503467"/>
              <a:gd name="connsiteY142" fmla="*/ 6655566 h 6857999"/>
              <a:gd name="connsiteX143" fmla="*/ 1573863 w 5503467"/>
              <a:gd name="connsiteY143" fmla="*/ 6655279 h 6857999"/>
              <a:gd name="connsiteX144" fmla="*/ 1574045 w 5503467"/>
              <a:gd name="connsiteY144" fmla="*/ 6665490 h 6857999"/>
              <a:gd name="connsiteX145" fmla="*/ 1573863 w 5503467"/>
              <a:gd name="connsiteY145" fmla="*/ 6655279 h 6857999"/>
              <a:gd name="connsiteX146" fmla="*/ 1304538 w 5503467"/>
              <a:gd name="connsiteY146" fmla="*/ 6649269 h 6857999"/>
              <a:gd name="connsiteX147" fmla="*/ 1304661 w 5503467"/>
              <a:gd name="connsiteY147" fmla="*/ 6654137 h 6857999"/>
              <a:gd name="connsiteX148" fmla="*/ 1305155 w 5503467"/>
              <a:gd name="connsiteY148" fmla="*/ 6654200 h 6857999"/>
              <a:gd name="connsiteX149" fmla="*/ 1305187 w 5503467"/>
              <a:gd name="connsiteY149" fmla="*/ 6653960 h 6857999"/>
              <a:gd name="connsiteX150" fmla="*/ 1304538 w 5503467"/>
              <a:gd name="connsiteY150" fmla="*/ 6649269 h 6857999"/>
              <a:gd name="connsiteX151" fmla="*/ 1337566 w 5503467"/>
              <a:gd name="connsiteY151" fmla="*/ 6647534 h 6857999"/>
              <a:gd name="connsiteX152" fmla="*/ 1336529 w 5503467"/>
              <a:gd name="connsiteY152" fmla="*/ 6651500 h 6857999"/>
              <a:gd name="connsiteX153" fmla="*/ 1336498 w 5503467"/>
              <a:gd name="connsiteY153" fmla="*/ 6651738 h 6857999"/>
              <a:gd name="connsiteX154" fmla="*/ 1332563 w 5503467"/>
              <a:gd name="connsiteY154" fmla="*/ 6650820 h 6857999"/>
              <a:gd name="connsiteX155" fmla="*/ 1332592 w 5503467"/>
              <a:gd name="connsiteY155" fmla="*/ 6650742 h 6857999"/>
              <a:gd name="connsiteX156" fmla="*/ 1333057 w 5503467"/>
              <a:gd name="connsiteY156" fmla="*/ 6649107 h 6857999"/>
              <a:gd name="connsiteX157" fmla="*/ 1386817 w 5503467"/>
              <a:gd name="connsiteY157" fmla="*/ 6641078 h 6857999"/>
              <a:gd name="connsiteX158" fmla="*/ 1386568 w 5503467"/>
              <a:gd name="connsiteY158" fmla="*/ 6642985 h 6857999"/>
              <a:gd name="connsiteX159" fmla="*/ 1388116 w 5503467"/>
              <a:gd name="connsiteY159" fmla="*/ 6642704 h 6857999"/>
              <a:gd name="connsiteX160" fmla="*/ 1387063 w 5503467"/>
              <a:gd name="connsiteY160" fmla="*/ 6641110 h 6857999"/>
              <a:gd name="connsiteX161" fmla="*/ 1635250 w 5503467"/>
              <a:gd name="connsiteY161" fmla="*/ 6635148 h 6857999"/>
              <a:gd name="connsiteX162" fmla="*/ 1634726 w 5503467"/>
              <a:gd name="connsiteY162" fmla="*/ 6635322 h 6857999"/>
              <a:gd name="connsiteX163" fmla="*/ 1635248 w 5503467"/>
              <a:gd name="connsiteY163" fmla="*/ 6636690 h 6857999"/>
              <a:gd name="connsiteX164" fmla="*/ 1635240 w 5503467"/>
              <a:gd name="connsiteY164" fmla="*/ 6642242 h 6857999"/>
              <a:gd name="connsiteX165" fmla="*/ 1639276 w 5503467"/>
              <a:gd name="connsiteY165" fmla="*/ 6648769 h 6857999"/>
              <a:gd name="connsiteX166" fmla="*/ 1639802 w 5503467"/>
              <a:gd name="connsiteY166" fmla="*/ 6648596 h 6857999"/>
              <a:gd name="connsiteX167" fmla="*/ 1635248 w 5503467"/>
              <a:gd name="connsiteY167" fmla="*/ 6636690 h 6857999"/>
              <a:gd name="connsiteX168" fmla="*/ 2587912 w 5503467"/>
              <a:gd name="connsiteY168" fmla="*/ 6630568 h 6857999"/>
              <a:gd name="connsiteX169" fmla="*/ 2584313 w 5503467"/>
              <a:gd name="connsiteY169" fmla="*/ 6631070 h 6857999"/>
              <a:gd name="connsiteX170" fmla="*/ 2593422 w 5503467"/>
              <a:gd name="connsiteY170" fmla="*/ 6650205 h 6857999"/>
              <a:gd name="connsiteX171" fmla="*/ 2587912 w 5503467"/>
              <a:gd name="connsiteY171" fmla="*/ 6630568 h 6857999"/>
              <a:gd name="connsiteX172" fmla="*/ 1305169 w 5503467"/>
              <a:gd name="connsiteY172" fmla="*/ 6621216 h 6857999"/>
              <a:gd name="connsiteX173" fmla="*/ 1305138 w 5503467"/>
              <a:gd name="connsiteY173" fmla="*/ 6621453 h 6857999"/>
              <a:gd name="connsiteX174" fmla="*/ 1305165 w 5503467"/>
              <a:gd name="connsiteY174" fmla="*/ 6621485 h 6857999"/>
              <a:gd name="connsiteX175" fmla="*/ 1304916 w 5503467"/>
              <a:gd name="connsiteY175" fmla="*/ 6636706 h 6857999"/>
              <a:gd name="connsiteX176" fmla="*/ 1311179 w 5503467"/>
              <a:gd name="connsiteY176" fmla="*/ 6631215 h 6857999"/>
              <a:gd name="connsiteX177" fmla="*/ 1311087 w 5503467"/>
              <a:gd name="connsiteY177" fmla="*/ 6629992 h 6857999"/>
              <a:gd name="connsiteX178" fmla="*/ 1309723 w 5503467"/>
              <a:gd name="connsiteY178" fmla="*/ 6626903 h 6857999"/>
              <a:gd name="connsiteX179" fmla="*/ 1305165 w 5503467"/>
              <a:gd name="connsiteY179" fmla="*/ 6621485 h 6857999"/>
              <a:gd name="connsiteX180" fmla="*/ 1422009 w 5503467"/>
              <a:gd name="connsiteY180" fmla="*/ 6620682 h 6857999"/>
              <a:gd name="connsiteX181" fmla="*/ 1419726 w 5503467"/>
              <a:gd name="connsiteY181" fmla="*/ 6665259 h 6857999"/>
              <a:gd name="connsiteX182" fmla="*/ 1422009 w 5503467"/>
              <a:gd name="connsiteY182" fmla="*/ 6620682 h 6857999"/>
              <a:gd name="connsiteX183" fmla="*/ 1505059 w 5503467"/>
              <a:gd name="connsiteY183" fmla="*/ 6616232 h 6857999"/>
              <a:gd name="connsiteX184" fmla="*/ 1506620 w 5503467"/>
              <a:gd name="connsiteY184" fmla="*/ 6621675 h 6857999"/>
              <a:gd name="connsiteX185" fmla="*/ 1506514 w 5503467"/>
              <a:gd name="connsiteY185" fmla="*/ 6622485 h 6857999"/>
              <a:gd name="connsiteX186" fmla="*/ 1506792 w 5503467"/>
              <a:gd name="connsiteY186" fmla="*/ 6622280 h 6857999"/>
              <a:gd name="connsiteX187" fmla="*/ 1506620 w 5503467"/>
              <a:gd name="connsiteY187" fmla="*/ 6621675 h 6857999"/>
              <a:gd name="connsiteX188" fmla="*/ 1506918 w 5503467"/>
              <a:gd name="connsiteY188" fmla="*/ 6619386 h 6857999"/>
              <a:gd name="connsiteX189" fmla="*/ 1507198 w 5503467"/>
              <a:gd name="connsiteY189" fmla="*/ 6617238 h 6857999"/>
              <a:gd name="connsiteX190" fmla="*/ 1507075 w 5503467"/>
              <a:gd name="connsiteY190" fmla="*/ 6616252 h 6857999"/>
              <a:gd name="connsiteX191" fmla="*/ 1505059 w 5503467"/>
              <a:gd name="connsiteY191" fmla="*/ 6616232 h 6857999"/>
              <a:gd name="connsiteX192" fmla="*/ 1599239 w 5503467"/>
              <a:gd name="connsiteY192" fmla="*/ 6609593 h 6857999"/>
              <a:gd name="connsiteX193" fmla="*/ 1591673 w 5503467"/>
              <a:gd name="connsiteY193" fmla="*/ 6613457 h 6857999"/>
              <a:gd name="connsiteX194" fmla="*/ 1583240 w 5503467"/>
              <a:gd name="connsiteY194" fmla="*/ 6693612 h 6857999"/>
              <a:gd name="connsiteX195" fmla="*/ 1591962 w 5503467"/>
              <a:gd name="connsiteY195" fmla="*/ 6667342 h 6857999"/>
              <a:gd name="connsiteX196" fmla="*/ 1597550 w 5503467"/>
              <a:gd name="connsiteY196" fmla="*/ 6645756 h 6857999"/>
              <a:gd name="connsiteX197" fmla="*/ 1597613 w 5503467"/>
              <a:gd name="connsiteY197" fmla="*/ 6645277 h 6857999"/>
              <a:gd name="connsiteX198" fmla="*/ 1599239 w 5503467"/>
              <a:gd name="connsiteY198" fmla="*/ 6609593 h 6857999"/>
              <a:gd name="connsiteX199" fmla="*/ 1448238 w 5503467"/>
              <a:gd name="connsiteY199" fmla="*/ 6609066 h 6857999"/>
              <a:gd name="connsiteX200" fmla="*/ 1447494 w 5503467"/>
              <a:gd name="connsiteY200" fmla="*/ 6610909 h 6857999"/>
              <a:gd name="connsiteX201" fmla="*/ 1447432 w 5503467"/>
              <a:gd name="connsiteY201" fmla="*/ 6611385 h 6857999"/>
              <a:gd name="connsiteX202" fmla="*/ 1448919 w 5503467"/>
              <a:gd name="connsiteY202" fmla="*/ 6611579 h 6857999"/>
              <a:gd name="connsiteX203" fmla="*/ 1448457 w 5503467"/>
              <a:gd name="connsiteY203" fmla="*/ 6609337 h 6857999"/>
              <a:gd name="connsiteX204" fmla="*/ 1578469 w 5503467"/>
              <a:gd name="connsiteY204" fmla="*/ 6608341 h 6857999"/>
              <a:gd name="connsiteX205" fmla="*/ 1576795 w 5503467"/>
              <a:gd name="connsiteY205" fmla="*/ 6611517 h 6857999"/>
              <a:gd name="connsiteX206" fmla="*/ 1578190 w 5503467"/>
              <a:gd name="connsiteY206" fmla="*/ 6612427 h 6857999"/>
              <a:gd name="connsiteX207" fmla="*/ 1580949 w 5503467"/>
              <a:gd name="connsiteY207" fmla="*/ 6610604 h 6857999"/>
              <a:gd name="connsiteX208" fmla="*/ 1578469 w 5503467"/>
              <a:gd name="connsiteY208" fmla="*/ 6608341 h 6857999"/>
              <a:gd name="connsiteX209" fmla="*/ 1455653 w 5503467"/>
              <a:gd name="connsiteY209" fmla="*/ 6596691 h 6857999"/>
              <a:gd name="connsiteX210" fmla="*/ 1454350 w 5503467"/>
              <a:gd name="connsiteY210" fmla="*/ 6598949 h 6857999"/>
              <a:gd name="connsiteX211" fmla="*/ 1454567 w 5503467"/>
              <a:gd name="connsiteY211" fmla="*/ 6601159 h 6857999"/>
              <a:gd name="connsiteX212" fmla="*/ 1455653 w 5503467"/>
              <a:gd name="connsiteY212" fmla="*/ 6596691 h 6857999"/>
              <a:gd name="connsiteX213" fmla="*/ 1448864 w 5503467"/>
              <a:gd name="connsiteY213" fmla="*/ 6594594 h 6857999"/>
              <a:gd name="connsiteX214" fmla="*/ 1448616 w 5503467"/>
              <a:gd name="connsiteY214" fmla="*/ 6596502 h 6857999"/>
              <a:gd name="connsiteX215" fmla="*/ 1450443 w 5503467"/>
              <a:gd name="connsiteY215" fmla="*/ 6599894 h 6857999"/>
              <a:gd name="connsiteX216" fmla="*/ 1450692 w 5503467"/>
              <a:gd name="connsiteY216" fmla="*/ 6599927 h 6857999"/>
              <a:gd name="connsiteX217" fmla="*/ 1451438 w 5503467"/>
              <a:gd name="connsiteY217" fmla="*/ 6596143 h 6857999"/>
              <a:gd name="connsiteX218" fmla="*/ 1448864 w 5503467"/>
              <a:gd name="connsiteY218" fmla="*/ 6594594 h 6857999"/>
              <a:gd name="connsiteX219" fmla="*/ 2583403 w 5503467"/>
              <a:gd name="connsiteY219" fmla="*/ 6583895 h 6857999"/>
              <a:gd name="connsiteX220" fmla="*/ 2584756 w 5503467"/>
              <a:gd name="connsiteY220" fmla="*/ 6612207 h 6857999"/>
              <a:gd name="connsiteX221" fmla="*/ 2590467 w 5503467"/>
              <a:gd name="connsiteY221" fmla="*/ 6591607 h 6857999"/>
              <a:gd name="connsiteX222" fmla="*/ 2585667 w 5503467"/>
              <a:gd name="connsiteY222" fmla="*/ 6583949 h 6857999"/>
              <a:gd name="connsiteX223" fmla="*/ 2583403 w 5503467"/>
              <a:gd name="connsiteY223" fmla="*/ 6583895 h 6857999"/>
              <a:gd name="connsiteX224" fmla="*/ 1404107 w 5503467"/>
              <a:gd name="connsiteY224" fmla="*/ 6580027 h 6857999"/>
              <a:gd name="connsiteX225" fmla="*/ 1401528 w 5503467"/>
              <a:gd name="connsiteY225" fmla="*/ 6594002 h 6857999"/>
              <a:gd name="connsiteX226" fmla="*/ 1401466 w 5503467"/>
              <a:gd name="connsiteY226" fmla="*/ 6594478 h 6857999"/>
              <a:gd name="connsiteX227" fmla="*/ 1401092 w 5503467"/>
              <a:gd name="connsiteY227" fmla="*/ 6597340 h 6857999"/>
              <a:gd name="connsiteX228" fmla="*/ 1399724 w 5503467"/>
              <a:gd name="connsiteY228" fmla="*/ 6607832 h 6857999"/>
              <a:gd name="connsiteX229" fmla="*/ 1396770 w 5503467"/>
              <a:gd name="connsiteY229" fmla="*/ 6634372 h 6857999"/>
              <a:gd name="connsiteX230" fmla="*/ 1396267 w 5503467"/>
              <a:gd name="connsiteY230" fmla="*/ 6647889 h 6857999"/>
              <a:gd name="connsiteX231" fmla="*/ 1395989 w 5503467"/>
              <a:gd name="connsiteY231" fmla="*/ 6648094 h 6857999"/>
              <a:gd name="connsiteX232" fmla="*/ 1395867 w 5503467"/>
              <a:gd name="connsiteY232" fmla="*/ 6648498 h 6857999"/>
              <a:gd name="connsiteX233" fmla="*/ 1395277 w 5503467"/>
              <a:gd name="connsiteY233" fmla="*/ 6647760 h 6857999"/>
              <a:gd name="connsiteX234" fmla="*/ 1394654 w 5503467"/>
              <a:gd name="connsiteY234" fmla="*/ 6652530 h 6857999"/>
              <a:gd name="connsiteX235" fmla="*/ 1395867 w 5503467"/>
              <a:gd name="connsiteY235" fmla="*/ 6648498 h 6857999"/>
              <a:gd name="connsiteX236" fmla="*/ 1395927 w 5503467"/>
              <a:gd name="connsiteY236" fmla="*/ 6648573 h 6857999"/>
              <a:gd name="connsiteX237" fmla="*/ 1395989 w 5503467"/>
              <a:gd name="connsiteY237" fmla="*/ 6648094 h 6857999"/>
              <a:gd name="connsiteX238" fmla="*/ 1402055 w 5503467"/>
              <a:gd name="connsiteY238" fmla="*/ 6673141 h 6857999"/>
              <a:gd name="connsiteX239" fmla="*/ 1401162 w 5503467"/>
              <a:gd name="connsiteY239" fmla="*/ 6652892 h 6857999"/>
              <a:gd name="connsiteX240" fmla="*/ 1401693 w 5503467"/>
              <a:gd name="connsiteY240" fmla="*/ 6650778 h 6857999"/>
              <a:gd name="connsiteX241" fmla="*/ 1418887 w 5503467"/>
              <a:gd name="connsiteY241" fmla="*/ 6598206 h 6857999"/>
              <a:gd name="connsiteX242" fmla="*/ 1410863 w 5503467"/>
              <a:gd name="connsiteY242" fmla="*/ 6588183 h 6857999"/>
              <a:gd name="connsiteX243" fmla="*/ 1410796 w 5503467"/>
              <a:gd name="connsiteY243" fmla="*/ 6594482 h 6857999"/>
              <a:gd name="connsiteX244" fmla="*/ 1409529 w 5503467"/>
              <a:gd name="connsiteY244" fmla="*/ 6586798 h 6857999"/>
              <a:gd name="connsiteX245" fmla="*/ 1404107 w 5503467"/>
              <a:gd name="connsiteY245" fmla="*/ 6580027 h 6857999"/>
              <a:gd name="connsiteX246" fmla="*/ 1565589 w 5503467"/>
              <a:gd name="connsiteY246" fmla="*/ 6571734 h 6857999"/>
              <a:gd name="connsiteX247" fmla="*/ 1565723 w 5503467"/>
              <a:gd name="connsiteY247" fmla="*/ 6572634 h 6857999"/>
              <a:gd name="connsiteX248" fmla="*/ 1563846 w 5503467"/>
              <a:gd name="connsiteY248" fmla="*/ 6587029 h 6857999"/>
              <a:gd name="connsiteX249" fmla="*/ 1565077 w 5503467"/>
              <a:gd name="connsiteY249" fmla="*/ 6612417 h 6857999"/>
              <a:gd name="connsiteX250" fmla="*/ 1568890 w 5503467"/>
              <a:gd name="connsiteY250" fmla="*/ 6593811 h 6857999"/>
              <a:gd name="connsiteX251" fmla="*/ 1565723 w 5503467"/>
              <a:gd name="connsiteY251" fmla="*/ 6572634 h 6857999"/>
              <a:gd name="connsiteX252" fmla="*/ 1565837 w 5503467"/>
              <a:gd name="connsiteY252" fmla="*/ 6571767 h 6857999"/>
              <a:gd name="connsiteX253" fmla="*/ 1509109 w 5503467"/>
              <a:gd name="connsiteY253" fmla="*/ 6569705 h 6857999"/>
              <a:gd name="connsiteX254" fmla="*/ 1508269 w 5503467"/>
              <a:gd name="connsiteY254" fmla="*/ 6576145 h 6857999"/>
              <a:gd name="connsiteX255" fmla="*/ 1508516 w 5503467"/>
              <a:gd name="connsiteY255" fmla="*/ 6576177 h 6857999"/>
              <a:gd name="connsiteX256" fmla="*/ 1508733 w 5503467"/>
              <a:gd name="connsiteY256" fmla="*/ 6576446 h 6857999"/>
              <a:gd name="connsiteX257" fmla="*/ 1509109 w 5503467"/>
              <a:gd name="connsiteY257" fmla="*/ 6569705 h 6857999"/>
              <a:gd name="connsiteX258" fmla="*/ 1710611 w 5503467"/>
              <a:gd name="connsiteY258" fmla="*/ 6558141 h 6857999"/>
              <a:gd name="connsiteX259" fmla="*/ 1711258 w 5503467"/>
              <a:gd name="connsiteY259" fmla="*/ 6568655 h 6857999"/>
              <a:gd name="connsiteX260" fmla="*/ 1708496 w 5503467"/>
              <a:gd name="connsiteY260" fmla="*/ 6580179 h 6857999"/>
              <a:gd name="connsiteX261" fmla="*/ 1712896 w 5503467"/>
              <a:gd name="connsiteY261" fmla="*/ 6581239 h 6857999"/>
              <a:gd name="connsiteX262" fmla="*/ 1710611 w 5503467"/>
              <a:gd name="connsiteY262" fmla="*/ 6558141 h 6857999"/>
              <a:gd name="connsiteX263" fmla="*/ 1595852 w 5503467"/>
              <a:gd name="connsiteY263" fmla="*/ 6552392 h 6857999"/>
              <a:gd name="connsiteX264" fmla="*/ 1595542 w 5503467"/>
              <a:gd name="connsiteY264" fmla="*/ 6552839 h 6857999"/>
              <a:gd name="connsiteX265" fmla="*/ 1591820 w 5503467"/>
              <a:gd name="connsiteY265" fmla="*/ 6562056 h 6857999"/>
              <a:gd name="connsiteX266" fmla="*/ 1586825 w 5503467"/>
              <a:gd name="connsiteY266" fmla="*/ 6571349 h 6857999"/>
              <a:gd name="connsiteX267" fmla="*/ 1587320 w 5503467"/>
              <a:gd name="connsiteY267" fmla="*/ 6571412 h 6857999"/>
              <a:gd name="connsiteX268" fmla="*/ 1596059 w 5503467"/>
              <a:gd name="connsiteY268" fmla="*/ 6579831 h 6857999"/>
              <a:gd name="connsiteX269" fmla="*/ 1595218 w 5503467"/>
              <a:gd name="connsiteY269" fmla="*/ 6586270 h 6857999"/>
              <a:gd name="connsiteX270" fmla="*/ 1597730 w 5503467"/>
              <a:gd name="connsiteY270" fmla="*/ 6588293 h 6857999"/>
              <a:gd name="connsiteX271" fmla="*/ 1602994 w 5503467"/>
              <a:gd name="connsiteY271" fmla="*/ 6598198 h 6857999"/>
              <a:gd name="connsiteX272" fmla="*/ 1601206 w 5503467"/>
              <a:gd name="connsiteY272" fmla="*/ 6577104 h 6857999"/>
              <a:gd name="connsiteX273" fmla="*/ 1595852 w 5503467"/>
              <a:gd name="connsiteY273" fmla="*/ 6552392 h 6857999"/>
              <a:gd name="connsiteX274" fmla="*/ 1286475 w 5503467"/>
              <a:gd name="connsiteY274" fmla="*/ 6547954 h 6857999"/>
              <a:gd name="connsiteX275" fmla="*/ 1283872 w 5503467"/>
              <a:gd name="connsiteY275" fmla="*/ 6548585 h 6857999"/>
              <a:gd name="connsiteX276" fmla="*/ 1283622 w 5503467"/>
              <a:gd name="connsiteY276" fmla="*/ 6548553 h 6857999"/>
              <a:gd name="connsiteX277" fmla="*/ 1283157 w 5503467"/>
              <a:gd name="connsiteY277" fmla="*/ 6554068 h 6857999"/>
              <a:gd name="connsiteX278" fmla="*/ 1285729 w 5503467"/>
              <a:gd name="connsiteY278" fmla="*/ 6553676 h 6857999"/>
              <a:gd name="connsiteX279" fmla="*/ 1286475 w 5503467"/>
              <a:gd name="connsiteY279" fmla="*/ 6547954 h 6857999"/>
              <a:gd name="connsiteX280" fmla="*/ 1561257 w 5503467"/>
              <a:gd name="connsiteY280" fmla="*/ 6546915 h 6857999"/>
              <a:gd name="connsiteX281" fmla="*/ 1561473 w 5503467"/>
              <a:gd name="connsiteY281" fmla="*/ 6551066 h 6857999"/>
              <a:gd name="connsiteX282" fmla="*/ 1562561 w 5503467"/>
              <a:gd name="connsiteY282" fmla="*/ 6548539 h 6857999"/>
              <a:gd name="connsiteX283" fmla="*/ 1561257 w 5503467"/>
              <a:gd name="connsiteY283" fmla="*/ 6546915 h 6857999"/>
              <a:gd name="connsiteX284" fmla="*/ 1475605 w 5503467"/>
              <a:gd name="connsiteY284" fmla="*/ 6546175 h 6857999"/>
              <a:gd name="connsiteX285" fmla="*/ 1471563 w 5503467"/>
              <a:gd name="connsiteY285" fmla="*/ 6577180 h 6857999"/>
              <a:gd name="connsiteX286" fmla="*/ 1472826 w 5503467"/>
              <a:gd name="connsiteY286" fmla="*/ 6600388 h 6857999"/>
              <a:gd name="connsiteX287" fmla="*/ 1472858 w 5503467"/>
              <a:gd name="connsiteY287" fmla="*/ 6600148 h 6857999"/>
              <a:gd name="connsiteX288" fmla="*/ 1479956 w 5503467"/>
              <a:gd name="connsiteY288" fmla="*/ 6601800 h 6857999"/>
              <a:gd name="connsiteX289" fmla="*/ 1479813 w 5503467"/>
              <a:gd name="connsiteY289" fmla="*/ 6568067 h 6857999"/>
              <a:gd name="connsiteX290" fmla="*/ 1475605 w 5503467"/>
              <a:gd name="connsiteY290" fmla="*/ 6546175 h 6857999"/>
              <a:gd name="connsiteX291" fmla="*/ 1386883 w 5503467"/>
              <a:gd name="connsiteY291" fmla="*/ 6545765 h 6857999"/>
              <a:gd name="connsiteX292" fmla="*/ 1384835 w 5503467"/>
              <a:gd name="connsiteY292" fmla="*/ 6553743 h 6857999"/>
              <a:gd name="connsiteX293" fmla="*/ 1385116 w 5503467"/>
              <a:gd name="connsiteY293" fmla="*/ 6553538 h 6857999"/>
              <a:gd name="connsiteX294" fmla="*/ 1388185 w 5503467"/>
              <a:gd name="connsiteY294" fmla="*/ 6553209 h 6857999"/>
              <a:gd name="connsiteX295" fmla="*/ 1388557 w 5503467"/>
              <a:gd name="connsiteY295" fmla="*/ 6548408 h 6857999"/>
              <a:gd name="connsiteX296" fmla="*/ 1386883 w 5503467"/>
              <a:gd name="connsiteY296" fmla="*/ 6545765 h 6857999"/>
              <a:gd name="connsiteX297" fmla="*/ 1592723 w 5503467"/>
              <a:gd name="connsiteY297" fmla="*/ 6545438 h 6857999"/>
              <a:gd name="connsiteX298" fmla="*/ 1592475 w 5503467"/>
              <a:gd name="connsiteY298" fmla="*/ 6547346 h 6857999"/>
              <a:gd name="connsiteX299" fmla="*/ 1595141 w 5503467"/>
              <a:gd name="connsiteY299" fmla="*/ 6552059 h 6857999"/>
              <a:gd name="connsiteX300" fmla="*/ 1595421 w 5503467"/>
              <a:gd name="connsiteY300" fmla="*/ 6549913 h 6857999"/>
              <a:gd name="connsiteX301" fmla="*/ 1594864 w 5503467"/>
              <a:gd name="connsiteY301" fmla="*/ 6546446 h 6857999"/>
              <a:gd name="connsiteX302" fmla="*/ 1592723 w 5503467"/>
              <a:gd name="connsiteY302" fmla="*/ 6545438 h 6857999"/>
              <a:gd name="connsiteX303" fmla="*/ 1310072 w 5503467"/>
              <a:gd name="connsiteY303" fmla="*/ 6531382 h 6857999"/>
              <a:gd name="connsiteX304" fmla="*/ 1310041 w 5503467"/>
              <a:gd name="connsiteY304" fmla="*/ 6531623 h 6857999"/>
              <a:gd name="connsiteX305" fmla="*/ 1310103 w 5503467"/>
              <a:gd name="connsiteY305" fmla="*/ 6531631 h 6857999"/>
              <a:gd name="connsiteX306" fmla="*/ 1310692 w 5503467"/>
              <a:gd name="connsiteY306" fmla="*/ 6536314 h 6857999"/>
              <a:gd name="connsiteX307" fmla="*/ 1310785 w 5503467"/>
              <a:gd name="connsiteY307" fmla="*/ 6531721 h 6857999"/>
              <a:gd name="connsiteX308" fmla="*/ 1310103 w 5503467"/>
              <a:gd name="connsiteY308" fmla="*/ 6531631 h 6857999"/>
              <a:gd name="connsiteX309" fmla="*/ 1582907 w 5503467"/>
              <a:gd name="connsiteY309" fmla="*/ 6524027 h 6857999"/>
              <a:gd name="connsiteX310" fmla="*/ 1581294 w 5503467"/>
              <a:gd name="connsiteY310" fmla="*/ 6526727 h 6857999"/>
              <a:gd name="connsiteX311" fmla="*/ 1584455 w 5503467"/>
              <a:gd name="connsiteY311" fmla="*/ 6527625 h 6857999"/>
              <a:gd name="connsiteX312" fmla="*/ 1585136 w 5503467"/>
              <a:gd name="connsiteY312" fmla="*/ 6526258 h 6857999"/>
              <a:gd name="connsiteX313" fmla="*/ 1582907 w 5503467"/>
              <a:gd name="connsiteY313" fmla="*/ 6524027 h 6857999"/>
              <a:gd name="connsiteX314" fmla="*/ 1454631 w 5503467"/>
              <a:gd name="connsiteY314" fmla="*/ 6517488 h 6857999"/>
              <a:gd name="connsiteX315" fmla="*/ 1448786 w 5503467"/>
              <a:gd name="connsiteY315" fmla="*/ 6562326 h 6857999"/>
              <a:gd name="connsiteX316" fmla="*/ 1449958 w 5503467"/>
              <a:gd name="connsiteY316" fmla="*/ 6572664 h 6857999"/>
              <a:gd name="connsiteX317" fmla="*/ 1453577 w 5503467"/>
              <a:gd name="connsiteY317" fmla="*/ 6569781 h 6857999"/>
              <a:gd name="connsiteX318" fmla="*/ 1453558 w 5503467"/>
              <a:gd name="connsiteY318" fmla="*/ 6570223 h 6857999"/>
              <a:gd name="connsiteX319" fmla="*/ 1453620 w 5503467"/>
              <a:gd name="connsiteY319" fmla="*/ 6569747 h 6857999"/>
              <a:gd name="connsiteX320" fmla="*/ 1453577 w 5503467"/>
              <a:gd name="connsiteY320" fmla="*/ 6569781 h 6857999"/>
              <a:gd name="connsiteX321" fmla="*/ 1455121 w 5503467"/>
              <a:gd name="connsiteY321" fmla="*/ 6535016 h 6857999"/>
              <a:gd name="connsiteX322" fmla="*/ 1454631 w 5503467"/>
              <a:gd name="connsiteY322" fmla="*/ 6517488 h 6857999"/>
              <a:gd name="connsiteX323" fmla="*/ 1661957 w 5503467"/>
              <a:gd name="connsiteY323" fmla="*/ 6517356 h 6857999"/>
              <a:gd name="connsiteX324" fmla="*/ 1661926 w 5503467"/>
              <a:gd name="connsiteY324" fmla="*/ 6517594 h 6857999"/>
              <a:gd name="connsiteX325" fmla="*/ 1655850 w 5503467"/>
              <a:gd name="connsiteY325" fmla="*/ 6523593 h 6857999"/>
              <a:gd name="connsiteX326" fmla="*/ 1664248 w 5503467"/>
              <a:gd name="connsiteY326" fmla="*/ 6532692 h 6857999"/>
              <a:gd name="connsiteX327" fmla="*/ 1661896 w 5503467"/>
              <a:gd name="connsiteY327" fmla="*/ 6517832 h 6857999"/>
              <a:gd name="connsiteX328" fmla="*/ 1661957 w 5503467"/>
              <a:gd name="connsiteY328" fmla="*/ 6517356 h 6857999"/>
              <a:gd name="connsiteX329" fmla="*/ 1726257 w 5503467"/>
              <a:gd name="connsiteY329" fmla="*/ 6507789 h 6857999"/>
              <a:gd name="connsiteX330" fmla="*/ 1723955 w 5503467"/>
              <a:gd name="connsiteY330" fmla="*/ 6525440 h 6857999"/>
              <a:gd name="connsiteX331" fmla="*/ 1723228 w 5503467"/>
              <a:gd name="connsiteY331" fmla="*/ 6558086 h 6857999"/>
              <a:gd name="connsiteX332" fmla="*/ 1723105 w 5503467"/>
              <a:gd name="connsiteY332" fmla="*/ 6560982 h 6857999"/>
              <a:gd name="connsiteX333" fmla="*/ 1726884 w 5503467"/>
              <a:gd name="connsiteY333" fmla="*/ 6566812 h 6857999"/>
              <a:gd name="connsiteX334" fmla="*/ 1730526 w 5503467"/>
              <a:gd name="connsiteY334" fmla="*/ 6606577 h 6857999"/>
              <a:gd name="connsiteX335" fmla="*/ 1732324 w 5503467"/>
              <a:gd name="connsiteY335" fmla="*/ 6606328 h 6857999"/>
              <a:gd name="connsiteX336" fmla="*/ 1735086 w 5503467"/>
              <a:gd name="connsiteY336" fmla="*/ 6600626 h 6857999"/>
              <a:gd name="connsiteX337" fmla="*/ 1736610 w 5503467"/>
              <a:gd name="connsiteY337" fmla="*/ 6588939 h 6857999"/>
              <a:gd name="connsiteX338" fmla="*/ 1732992 w 5503467"/>
              <a:gd name="connsiteY338" fmla="*/ 6560575 h 6857999"/>
              <a:gd name="connsiteX339" fmla="*/ 1729745 w 5503467"/>
              <a:gd name="connsiteY339" fmla="*/ 6539049 h 6857999"/>
              <a:gd name="connsiteX340" fmla="*/ 1729964 w 5503467"/>
              <a:gd name="connsiteY340" fmla="*/ 6539319 h 6857999"/>
              <a:gd name="connsiteX341" fmla="*/ 1730274 w 5503467"/>
              <a:gd name="connsiteY341" fmla="*/ 6538874 h 6857999"/>
              <a:gd name="connsiteX342" fmla="*/ 1726257 w 5503467"/>
              <a:gd name="connsiteY342" fmla="*/ 6507789 h 6857999"/>
              <a:gd name="connsiteX343" fmla="*/ 1496891 w 5503467"/>
              <a:gd name="connsiteY343" fmla="*/ 6502867 h 6857999"/>
              <a:gd name="connsiteX344" fmla="*/ 1490408 w 5503467"/>
              <a:gd name="connsiteY344" fmla="*/ 6508084 h 6857999"/>
              <a:gd name="connsiteX345" fmla="*/ 1489320 w 5503467"/>
              <a:gd name="connsiteY345" fmla="*/ 6516432 h 6857999"/>
              <a:gd name="connsiteX346" fmla="*/ 1491484 w 5503467"/>
              <a:gd name="connsiteY346" fmla="*/ 6534662 h 6857999"/>
              <a:gd name="connsiteX347" fmla="*/ 1493041 w 5503467"/>
              <a:gd name="connsiteY347" fmla="*/ 6590411 h 6857999"/>
              <a:gd name="connsiteX348" fmla="*/ 1480419 w 5503467"/>
              <a:gd name="connsiteY348" fmla="*/ 6602103 h 6857999"/>
              <a:gd name="connsiteX349" fmla="*/ 1479954 w 5503467"/>
              <a:gd name="connsiteY349" fmla="*/ 6603741 h 6857999"/>
              <a:gd name="connsiteX350" fmla="*/ 1474122 w 5503467"/>
              <a:gd name="connsiteY350" fmla="*/ 6615594 h 6857999"/>
              <a:gd name="connsiteX351" fmla="*/ 1478312 w 5503467"/>
              <a:gd name="connsiteY351" fmla="*/ 6678232 h 6857999"/>
              <a:gd name="connsiteX352" fmla="*/ 1473355 w 5503467"/>
              <a:gd name="connsiteY352" fmla="*/ 6669824 h 6857999"/>
              <a:gd name="connsiteX353" fmla="*/ 1473759 w 5503467"/>
              <a:gd name="connsiteY353" fmla="*/ 6670605 h 6857999"/>
              <a:gd name="connsiteX354" fmla="*/ 1466944 w 5503467"/>
              <a:gd name="connsiteY354" fmla="*/ 6732538 h 6857999"/>
              <a:gd name="connsiteX355" fmla="*/ 1473015 w 5503467"/>
              <a:gd name="connsiteY355" fmla="*/ 6745942 h 6857999"/>
              <a:gd name="connsiteX356" fmla="*/ 1479512 w 5503467"/>
              <a:gd name="connsiteY356" fmla="*/ 6703855 h 6857999"/>
              <a:gd name="connsiteX357" fmla="*/ 1491349 w 5503467"/>
              <a:gd name="connsiteY357" fmla="*/ 6713647 h 6857999"/>
              <a:gd name="connsiteX358" fmla="*/ 1490515 w 5503467"/>
              <a:gd name="connsiteY358" fmla="*/ 6706505 h 6857999"/>
              <a:gd name="connsiteX359" fmla="*/ 1496378 w 5503467"/>
              <a:gd name="connsiteY359" fmla="*/ 6698293 h 6857999"/>
              <a:gd name="connsiteX360" fmla="*/ 1502237 w 5503467"/>
              <a:gd name="connsiteY360" fmla="*/ 6695905 h 6857999"/>
              <a:gd name="connsiteX361" fmla="*/ 1504287 w 5503467"/>
              <a:gd name="connsiteY361" fmla="*/ 6682105 h 6857999"/>
              <a:gd name="connsiteX362" fmla="*/ 1504598 w 5503467"/>
              <a:gd name="connsiteY362" fmla="*/ 6679719 h 6857999"/>
              <a:gd name="connsiteX363" fmla="*/ 1504855 w 5503467"/>
              <a:gd name="connsiteY363" fmla="*/ 6664229 h 6857999"/>
              <a:gd name="connsiteX364" fmla="*/ 1500982 w 5503467"/>
              <a:gd name="connsiteY364" fmla="*/ 6653294 h 6857999"/>
              <a:gd name="connsiteX365" fmla="*/ 1496397 w 5503467"/>
              <a:gd name="connsiteY365" fmla="*/ 6647846 h 6857999"/>
              <a:gd name="connsiteX366" fmla="*/ 1506236 w 5503467"/>
              <a:gd name="connsiteY366" fmla="*/ 6622691 h 6857999"/>
              <a:gd name="connsiteX367" fmla="*/ 1496326 w 5503467"/>
              <a:gd name="connsiteY367" fmla="*/ 6594233 h 6857999"/>
              <a:gd name="connsiteX368" fmla="*/ 1496950 w 5503467"/>
              <a:gd name="connsiteY368" fmla="*/ 6585583 h 6857999"/>
              <a:gd name="connsiteX369" fmla="*/ 1504570 w 5503467"/>
              <a:gd name="connsiteY369" fmla="*/ 6527153 h 6857999"/>
              <a:gd name="connsiteX370" fmla="*/ 1503020 w 5503467"/>
              <a:gd name="connsiteY370" fmla="*/ 6525494 h 6857999"/>
              <a:gd name="connsiteX371" fmla="*/ 1496828 w 5503467"/>
              <a:gd name="connsiteY371" fmla="*/ 6503343 h 6857999"/>
              <a:gd name="connsiteX372" fmla="*/ 1496891 w 5503467"/>
              <a:gd name="connsiteY372" fmla="*/ 6502867 h 6857999"/>
              <a:gd name="connsiteX373" fmla="*/ 1655302 w 5503467"/>
              <a:gd name="connsiteY373" fmla="*/ 6500721 h 6857999"/>
              <a:gd name="connsiteX374" fmla="*/ 1653594 w 5503467"/>
              <a:gd name="connsiteY374" fmla="*/ 6506077 h 6857999"/>
              <a:gd name="connsiteX375" fmla="*/ 1653346 w 5503467"/>
              <a:gd name="connsiteY375" fmla="*/ 6507985 h 6857999"/>
              <a:gd name="connsiteX376" fmla="*/ 1655323 w 5503467"/>
              <a:gd name="connsiteY376" fmla="*/ 6519886 h 6857999"/>
              <a:gd name="connsiteX377" fmla="*/ 1655302 w 5503467"/>
              <a:gd name="connsiteY377" fmla="*/ 6500721 h 6857999"/>
              <a:gd name="connsiteX378" fmla="*/ 1429654 w 5503467"/>
              <a:gd name="connsiteY378" fmla="*/ 6498223 h 6857999"/>
              <a:gd name="connsiteX379" fmla="*/ 1427049 w 5503467"/>
              <a:gd name="connsiteY379" fmla="*/ 6498853 h 6857999"/>
              <a:gd name="connsiteX380" fmla="*/ 1426955 w 5503467"/>
              <a:gd name="connsiteY380" fmla="*/ 6499569 h 6857999"/>
              <a:gd name="connsiteX381" fmla="*/ 1429373 w 5503467"/>
              <a:gd name="connsiteY381" fmla="*/ 6502309 h 6857999"/>
              <a:gd name="connsiteX382" fmla="*/ 1429902 w 5503467"/>
              <a:gd name="connsiteY382" fmla="*/ 6498255 h 6857999"/>
              <a:gd name="connsiteX383" fmla="*/ 1672729 w 5503467"/>
              <a:gd name="connsiteY383" fmla="*/ 6485046 h 6857999"/>
              <a:gd name="connsiteX384" fmla="*/ 1671436 w 5503467"/>
              <a:gd name="connsiteY384" fmla="*/ 6539450 h 6857999"/>
              <a:gd name="connsiteX385" fmla="*/ 1671838 w 5503467"/>
              <a:gd name="connsiteY385" fmla="*/ 6540230 h 6857999"/>
              <a:gd name="connsiteX386" fmla="*/ 1675979 w 5503467"/>
              <a:gd name="connsiteY386" fmla="*/ 6570364 h 6857999"/>
              <a:gd name="connsiteX387" fmla="*/ 1671361 w 5503467"/>
              <a:gd name="connsiteY387" fmla="*/ 6646403 h 6857999"/>
              <a:gd name="connsiteX388" fmla="*/ 1671236 w 5503467"/>
              <a:gd name="connsiteY388" fmla="*/ 6647357 h 6857999"/>
              <a:gd name="connsiteX389" fmla="*/ 1671361 w 5503467"/>
              <a:gd name="connsiteY389" fmla="*/ 6650284 h 6857999"/>
              <a:gd name="connsiteX390" fmla="*/ 1668889 w 5503467"/>
              <a:gd name="connsiteY390" fmla="*/ 6705992 h 6857999"/>
              <a:gd name="connsiteX391" fmla="*/ 1668671 w 5503467"/>
              <a:gd name="connsiteY391" fmla="*/ 6707662 h 6857999"/>
              <a:gd name="connsiteX392" fmla="*/ 1676130 w 5503467"/>
              <a:gd name="connsiteY392" fmla="*/ 6737499 h 6857999"/>
              <a:gd name="connsiteX393" fmla="*/ 1677400 w 5503467"/>
              <a:gd name="connsiteY393" fmla="*/ 6741300 h 6857999"/>
              <a:gd name="connsiteX394" fmla="*/ 1689787 w 5503467"/>
              <a:gd name="connsiteY394" fmla="*/ 6690769 h 6857999"/>
              <a:gd name="connsiteX395" fmla="*/ 1689510 w 5503467"/>
              <a:gd name="connsiteY395" fmla="*/ 6689035 h 6857999"/>
              <a:gd name="connsiteX396" fmla="*/ 1689912 w 5503467"/>
              <a:gd name="connsiteY396" fmla="*/ 6689816 h 6857999"/>
              <a:gd name="connsiteX397" fmla="*/ 1682688 w 5503467"/>
              <a:gd name="connsiteY397" fmla="*/ 6617563 h 6857999"/>
              <a:gd name="connsiteX398" fmla="*/ 1682880 w 5503467"/>
              <a:gd name="connsiteY398" fmla="*/ 6602550 h 6857999"/>
              <a:gd name="connsiteX399" fmla="*/ 1681060 w 5503467"/>
              <a:gd name="connsiteY399" fmla="*/ 6506264 h 6857999"/>
              <a:gd name="connsiteX400" fmla="*/ 1672729 w 5503467"/>
              <a:gd name="connsiteY400" fmla="*/ 6485046 h 6857999"/>
              <a:gd name="connsiteX401" fmla="*/ 1453965 w 5503467"/>
              <a:gd name="connsiteY401" fmla="*/ 6481989 h 6857999"/>
              <a:gd name="connsiteX402" fmla="*/ 1454582 w 5503467"/>
              <a:gd name="connsiteY402" fmla="*/ 6486920 h 6857999"/>
              <a:gd name="connsiteX403" fmla="*/ 1454614 w 5503467"/>
              <a:gd name="connsiteY403" fmla="*/ 6486683 h 6857999"/>
              <a:gd name="connsiteX404" fmla="*/ 1454707 w 5503467"/>
              <a:gd name="connsiteY404" fmla="*/ 6482085 h 6857999"/>
              <a:gd name="connsiteX405" fmla="*/ 1453965 w 5503467"/>
              <a:gd name="connsiteY405" fmla="*/ 6481989 h 6857999"/>
              <a:gd name="connsiteX406" fmla="*/ 1316977 w 5503467"/>
              <a:gd name="connsiteY406" fmla="*/ 6480378 h 6857999"/>
              <a:gd name="connsiteX407" fmla="*/ 1322629 w 5503467"/>
              <a:gd name="connsiteY407" fmla="*/ 6525987 h 6857999"/>
              <a:gd name="connsiteX408" fmla="*/ 1321370 w 5503467"/>
              <a:gd name="connsiteY408" fmla="*/ 6498898 h 6857999"/>
              <a:gd name="connsiteX409" fmla="*/ 1319638 w 5503467"/>
              <a:gd name="connsiteY409" fmla="*/ 6488972 h 6857999"/>
              <a:gd name="connsiteX410" fmla="*/ 1316977 w 5503467"/>
              <a:gd name="connsiteY410" fmla="*/ 6480378 h 6857999"/>
              <a:gd name="connsiteX411" fmla="*/ 5319939 w 5503467"/>
              <a:gd name="connsiteY411" fmla="*/ 6462883 h 6857999"/>
              <a:gd name="connsiteX412" fmla="*/ 5316745 w 5503467"/>
              <a:gd name="connsiteY412" fmla="*/ 6464165 h 6857999"/>
              <a:gd name="connsiteX413" fmla="*/ 5320648 w 5503467"/>
              <a:gd name="connsiteY413" fmla="*/ 6472919 h 6857999"/>
              <a:gd name="connsiteX414" fmla="*/ 5323562 w 5503467"/>
              <a:gd name="connsiteY414" fmla="*/ 6471846 h 6857999"/>
              <a:gd name="connsiteX415" fmla="*/ 5319939 w 5503467"/>
              <a:gd name="connsiteY415" fmla="*/ 6462883 h 6857999"/>
              <a:gd name="connsiteX416" fmla="*/ 1466062 w 5503467"/>
              <a:gd name="connsiteY416" fmla="*/ 6462706 h 6857999"/>
              <a:gd name="connsiteX417" fmla="*/ 1465749 w 5503467"/>
              <a:gd name="connsiteY417" fmla="*/ 6470912 h 6857999"/>
              <a:gd name="connsiteX418" fmla="*/ 1466270 w 5503467"/>
              <a:gd name="connsiteY418" fmla="*/ 6474449 h 6857999"/>
              <a:gd name="connsiteX419" fmla="*/ 1466303 w 5503467"/>
              <a:gd name="connsiteY419" fmla="*/ 6476322 h 6857999"/>
              <a:gd name="connsiteX420" fmla="*/ 1466550 w 5503467"/>
              <a:gd name="connsiteY420" fmla="*/ 6476354 h 6857999"/>
              <a:gd name="connsiteX421" fmla="*/ 1466270 w 5503467"/>
              <a:gd name="connsiteY421" fmla="*/ 6474449 h 6857999"/>
              <a:gd name="connsiteX422" fmla="*/ 1493932 w 5503467"/>
              <a:gd name="connsiteY422" fmla="*/ 6461733 h 6857999"/>
              <a:gd name="connsiteX423" fmla="*/ 1487046 w 5503467"/>
              <a:gd name="connsiteY423" fmla="*/ 6466172 h 6857999"/>
              <a:gd name="connsiteX424" fmla="*/ 1487575 w 5503467"/>
              <a:gd name="connsiteY424" fmla="*/ 6465996 h 6857999"/>
              <a:gd name="connsiteX425" fmla="*/ 1487877 w 5503467"/>
              <a:gd name="connsiteY425" fmla="*/ 6481075 h 6857999"/>
              <a:gd name="connsiteX426" fmla="*/ 1494143 w 5503467"/>
              <a:gd name="connsiteY426" fmla="*/ 6475585 h 6857999"/>
              <a:gd name="connsiteX427" fmla="*/ 1494823 w 5503467"/>
              <a:gd name="connsiteY427" fmla="*/ 6476160 h 6857999"/>
              <a:gd name="connsiteX428" fmla="*/ 1493932 w 5503467"/>
              <a:gd name="connsiteY428" fmla="*/ 6461733 h 6857999"/>
              <a:gd name="connsiteX429" fmla="*/ 1390271 w 5503467"/>
              <a:gd name="connsiteY429" fmla="*/ 6452097 h 6857999"/>
              <a:gd name="connsiteX430" fmla="*/ 1389774 w 5503467"/>
              <a:gd name="connsiteY430" fmla="*/ 6453973 h 6857999"/>
              <a:gd name="connsiteX431" fmla="*/ 1391446 w 5503467"/>
              <a:gd name="connsiteY431" fmla="*/ 6456615 h 6857999"/>
              <a:gd name="connsiteX432" fmla="*/ 1391696 w 5503467"/>
              <a:gd name="connsiteY432" fmla="*/ 6456648 h 6857999"/>
              <a:gd name="connsiteX433" fmla="*/ 1391946 w 5503467"/>
              <a:gd name="connsiteY433" fmla="*/ 6454740 h 6857999"/>
              <a:gd name="connsiteX434" fmla="*/ 1390271 w 5503467"/>
              <a:gd name="connsiteY434" fmla="*/ 6452097 h 6857999"/>
              <a:gd name="connsiteX435" fmla="*/ 1339287 w 5503467"/>
              <a:gd name="connsiteY435" fmla="*/ 6427259 h 6857999"/>
              <a:gd name="connsiteX436" fmla="*/ 1340484 w 5503467"/>
              <a:gd name="connsiteY436" fmla="*/ 6452880 h 6857999"/>
              <a:gd name="connsiteX437" fmla="*/ 1349482 w 5503467"/>
              <a:gd name="connsiteY437" fmla="*/ 6511541 h 6857999"/>
              <a:gd name="connsiteX438" fmla="*/ 1357708 w 5503467"/>
              <a:gd name="connsiteY438" fmla="*/ 6560637 h 6857999"/>
              <a:gd name="connsiteX439" fmla="*/ 1361415 w 5503467"/>
              <a:gd name="connsiteY439" fmla="*/ 6596048 h 6857999"/>
              <a:gd name="connsiteX440" fmla="*/ 1361134 w 5503467"/>
              <a:gd name="connsiteY440" fmla="*/ 6596252 h 6857999"/>
              <a:gd name="connsiteX441" fmla="*/ 1364161 w 5503467"/>
              <a:gd name="connsiteY441" fmla="*/ 6629149 h 6857999"/>
              <a:gd name="connsiteX442" fmla="*/ 1365347 w 5503467"/>
              <a:gd name="connsiteY442" fmla="*/ 6602625 h 6857999"/>
              <a:gd name="connsiteX443" fmla="*/ 1364832 w 5503467"/>
              <a:gd name="connsiteY443" fmla="*/ 6573694 h 6857999"/>
              <a:gd name="connsiteX444" fmla="*/ 1366568 w 5503467"/>
              <a:gd name="connsiteY444" fmla="*/ 6575861 h 6857999"/>
              <a:gd name="connsiteX445" fmla="*/ 1367289 w 5503467"/>
              <a:gd name="connsiteY445" fmla="*/ 6558733 h 6857999"/>
              <a:gd name="connsiteX446" fmla="*/ 1369218 w 5503467"/>
              <a:gd name="connsiteY446" fmla="*/ 6538124 h 6857999"/>
              <a:gd name="connsiteX447" fmla="*/ 1363584 w 5503467"/>
              <a:gd name="connsiteY447" fmla="*/ 6519442 h 6857999"/>
              <a:gd name="connsiteX448" fmla="*/ 1362505 w 5503467"/>
              <a:gd name="connsiteY448" fmla="*/ 6504506 h 6857999"/>
              <a:gd name="connsiteX449" fmla="*/ 1362241 w 5503467"/>
              <a:gd name="connsiteY449" fmla="*/ 6467846 h 6857999"/>
              <a:gd name="connsiteX450" fmla="*/ 1357963 w 5503467"/>
              <a:gd name="connsiteY450" fmla="*/ 6465832 h 6857999"/>
              <a:gd name="connsiteX451" fmla="*/ 1361916 w 5503467"/>
              <a:gd name="connsiteY451" fmla="*/ 6507096 h 6857999"/>
              <a:gd name="connsiteX452" fmla="*/ 1353268 w 5503467"/>
              <a:gd name="connsiteY452" fmla="*/ 6501845 h 6857999"/>
              <a:gd name="connsiteX453" fmla="*/ 1346778 w 5503467"/>
              <a:gd name="connsiteY453" fmla="*/ 6454916 h 6857999"/>
              <a:gd name="connsiteX454" fmla="*/ 1339287 w 5503467"/>
              <a:gd name="connsiteY454" fmla="*/ 6427259 h 6857999"/>
              <a:gd name="connsiteX455" fmla="*/ 1295610 w 5503467"/>
              <a:gd name="connsiteY455" fmla="*/ 6417924 h 6857999"/>
              <a:gd name="connsiteX456" fmla="*/ 1296937 w 5503467"/>
              <a:gd name="connsiteY456" fmla="*/ 6440653 h 6857999"/>
              <a:gd name="connsiteX457" fmla="*/ 1295610 w 5503467"/>
              <a:gd name="connsiteY457" fmla="*/ 6417924 h 6857999"/>
              <a:gd name="connsiteX458" fmla="*/ 1491350 w 5503467"/>
              <a:gd name="connsiteY458" fmla="*/ 6402214 h 6857999"/>
              <a:gd name="connsiteX459" fmla="*/ 1486626 w 5503467"/>
              <a:gd name="connsiteY459" fmla="*/ 6430704 h 6857999"/>
              <a:gd name="connsiteX460" fmla="*/ 1486253 w 5503467"/>
              <a:gd name="connsiteY460" fmla="*/ 6433566 h 6857999"/>
              <a:gd name="connsiteX461" fmla="*/ 1486406 w 5503467"/>
              <a:gd name="connsiteY461" fmla="*/ 6440136 h 6857999"/>
              <a:gd name="connsiteX462" fmla="*/ 1486619 w 5503467"/>
              <a:gd name="connsiteY462" fmla="*/ 6450107 h 6857999"/>
              <a:gd name="connsiteX463" fmla="*/ 1488823 w 5503467"/>
              <a:gd name="connsiteY463" fmla="*/ 6446755 h 6857999"/>
              <a:gd name="connsiteX464" fmla="*/ 1493513 w 5503467"/>
              <a:gd name="connsiteY464" fmla="*/ 6422383 h 6857999"/>
              <a:gd name="connsiteX465" fmla="*/ 1491350 w 5503467"/>
              <a:gd name="connsiteY465" fmla="*/ 6402214 h 6857999"/>
              <a:gd name="connsiteX466" fmla="*/ 1505427 w 5503467"/>
              <a:gd name="connsiteY466" fmla="*/ 6394832 h 6857999"/>
              <a:gd name="connsiteX467" fmla="*/ 1504902 w 5503467"/>
              <a:gd name="connsiteY467" fmla="*/ 6395005 h 6857999"/>
              <a:gd name="connsiteX468" fmla="*/ 1505303 w 5503467"/>
              <a:gd name="connsiteY468" fmla="*/ 6395783 h 6857999"/>
              <a:gd name="connsiteX469" fmla="*/ 1503312 w 5503467"/>
              <a:gd name="connsiteY469" fmla="*/ 6411049 h 6857999"/>
              <a:gd name="connsiteX470" fmla="*/ 1503001 w 5503467"/>
              <a:gd name="connsiteY470" fmla="*/ 6413435 h 6857999"/>
              <a:gd name="connsiteX471" fmla="*/ 1502815 w 5503467"/>
              <a:gd name="connsiteY471" fmla="*/ 6414865 h 6857999"/>
              <a:gd name="connsiteX472" fmla="*/ 1501535 w 5503467"/>
              <a:gd name="connsiteY472" fmla="*/ 6442108 h 6857999"/>
              <a:gd name="connsiteX473" fmla="*/ 1505842 w 5503467"/>
              <a:gd name="connsiteY473" fmla="*/ 6447763 h 6857999"/>
              <a:gd name="connsiteX474" fmla="*/ 1506616 w 5503467"/>
              <a:gd name="connsiteY474" fmla="*/ 6449562 h 6857999"/>
              <a:gd name="connsiteX475" fmla="*/ 1506107 w 5503467"/>
              <a:gd name="connsiteY475" fmla="*/ 6397347 h 6857999"/>
              <a:gd name="connsiteX476" fmla="*/ 1505303 w 5503467"/>
              <a:gd name="connsiteY476" fmla="*/ 6395783 h 6857999"/>
              <a:gd name="connsiteX477" fmla="*/ 1645523 w 5503467"/>
              <a:gd name="connsiteY477" fmla="*/ 6382294 h 6857999"/>
              <a:gd name="connsiteX478" fmla="*/ 1645611 w 5503467"/>
              <a:gd name="connsiteY478" fmla="*/ 6391281 h 6857999"/>
              <a:gd name="connsiteX479" fmla="*/ 1647596 w 5503467"/>
              <a:gd name="connsiteY479" fmla="*/ 6391539 h 6857999"/>
              <a:gd name="connsiteX480" fmla="*/ 1647566 w 5503467"/>
              <a:gd name="connsiteY480" fmla="*/ 6389838 h 6857999"/>
              <a:gd name="connsiteX481" fmla="*/ 1647347 w 5503467"/>
              <a:gd name="connsiteY481" fmla="*/ 6389568 h 6857999"/>
              <a:gd name="connsiteX482" fmla="*/ 1645523 w 5503467"/>
              <a:gd name="connsiteY482" fmla="*/ 6382294 h 6857999"/>
              <a:gd name="connsiteX483" fmla="*/ 1289864 w 5503467"/>
              <a:gd name="connsiteY483" fmla="*/ 6369151 h 6857999"/>
              <a:gd name="connsiteX484" fmla="*/ 1293078 w 5503467"/>
              <a:gd name="connsiteY484" fmla="*/ 6394796 h 6857999"/>
              <a:gd name="connsiteX485" fmla="*/ 1293357 w 5503467"/>
              <a:gd name="connsiteY485" fmla="*/ 6394590 h 6857999"/>
              <a:gd name="connsiteX486" fmla="*/ 1295838 w 5503467"/>
              <a:gd name="connsiteY486" fmla="*/ 6394913 h 6857999"/>
              <a:gd name="connsiteX487" fmla="*/ 1296613 w 5503467"/>
              <a:gd name="connsiteY487" fmla="*/ 6392832 h 6857999"/>
              <a:gd name="connsiteX488" fmla="*/ 1298784 w 5503467"/>
              <a:gd name="connsiteY488" fmla="*/ 6391658 h 6857999"/>
              <a:gd name="connsiteX489" fmla="*/ 1299716 w 5503467"/>
              <a:gd name="connsiteY489" fmla="*/ 6388384 h 6857999"/>
              <a:gd name="connsiteX490" fmla="*/ 1296870 w 5503467"/>
              <a:gd name="connsiteY490" fmla="*/ 6373459 h 6857999"/>
              <a:gd name="connsiteX491" fmla="*/ 1294639 w 5503467"/>
              <a:gd name="connsiteY491" fmla="*/ 6373168 h 6857999"/>
              <a:gd name="connsiteX492" fmla="*/ 1289864 w 5503467"/>
              <a:gd name="connsiteY492" fmla="*/ 6369151 h 6857999"/>
              <a:gd name="connsiteX493" fmla="*/ 1439533 w 5503467"/>
              <a:gd name="connsiteY493" fmla="*/ 6368293 h 6857999"/>
              <a:gd name="connsiteX494" fmla="*/ 1437563 w 5503467"/>
              <a:gd name="connsiteY494" fmla="*/ 6375855 h 6857999"/>
              <a:gd name="connsiteX495" fmla="*/ 1437546 w 5503467"/>
              <a:gd name="connsiteY495" fmla="*/ 6375795 h 6857999"/>
              <a:gd name="connsiteX496" fmla="*/ 1437515 w 5503467"/>
              <a:gd name="connsiteY496" fmla="*/ 6376033 h 6857999"/>
              <a:gd name="connsiteX497" fmla="*/ 1437563 w 5503467"/>
              <a:gd name="connsiteY497" fmla="*/ 6375855 h 6857999"/>
              <a:gd name="connsiteX498" fmla="*/ 1441229 w 5503467"/>
              <a:gd name="connsiteY498" fmla="*/ 6390099 h 6857999"/>
              <a:gd name="connsiteX499" fmla="*/ 1439533 w 5503467"/>
              <a:gd name="connsiteY499" fmla="*/ 6368293 h 6857999"/>
              <a:gd name="connsiteX500" fmla="*/ 1420998 w 5503467"/>
              <a:gd name="connsiteY500" fmla="*/ 6363449 h 6857999"/>
              <a:gd name="connsiteX501" fmla="*/ 1419594 w 5503467"/>
              <a:gd name="connsiteY501" fmla="*/ 6380003 h 6857999"/>
              <a:gd name="connsiteX502" fmla="*/ 1423991 w 5503467"/>
              <a:gd name="connsiteY502" fmla="*/ 6382236 h 6857999"/>
              <a:gd name="connsiteX503" fmla="*/ 1424027 w 5503467"/>
              <a:gd name="connsiteY503" fmla="*/ 6382764 h 6857999"/>
              <a:gd name="connsiteX504" fmla="*/ 1424088 w 5503467"/>
              <a:gd name="connsiteY504" fmla="*/ 6382285 h 6857999"/>
              <a:gd name="connsiteX505" fmla="*/ 1423991 w 5503467"/>
              <a:gd name="connsiteY505" fmla="*/ 6382236 h 6857999"/>
              <a:gd name="connsiteX506" fmla="*/ 1422732 w 5503467"/>
              <a:gd name="connsiteY506" fmla="*/ 6363675 h 6857999"/>
              <a:gd name="connsiteX507" fmla="*/ 1420998 w 5503467"/>
              <a:gd name="connsiteY507" fmla="*/ 6363449 h 6857999"/>
              <a:gd name="connsiteX508" fmla="*/ 1611153 w 5503467"/>
              <a:gd name="connsiteY508" fmla="*/ 6359623 h 6857999"/>
              <a:gd name="connsiteX509" fmla="*/ 1608427 w 5503467"/>
              <a:gd name="connsiteY509" fmla="*/ 6424999 h 6857999"/>
              <a:gd name="connsiteX510" fmla="*/ 1607157 w 5503467"/>
              <a:gd name="connsiteY510" fmla="*/ 6428957 h 6857999"/>
              <a:gd name="connsiteX511" fmla="*/ 1614215 w 5503467"/>
              <a:gd name="connsiteY511" fmla="*/ 6452191 h 6857999"/>
              <a:gd name="connsiteX512" fmla="*/ 1613716 w 5503467"/>
              <a:gd name="connsiteY512" fmla="*/ 6459888 h 6857999"/>
              <a:gd name="connsiteX513" fmla="*/ 1615579 w 5503467"/>
              <a:gd name="connsiteY513" fmla="*/ 6528773 h 6857999"/>
              <a:gd name="connsiteX514" fmla="*/ 1617136 w 5503467"/>
              <a:gd name="connsiteY514" fmla="*/ 6586459 h 6857999"/>
              <a:gd name="connsiteX515" fmla="*/ 1633949 w 5503467"/>
              <a:gd name="connsiteY515" fmla="*/ 6631583 h 6857999"/>
              <a:gd name="connsiteX516" fmla="*/ 1633209 w 5503467"/>
              <a:gd name="connsiteY516" fmla="*/ 6621784 h 6857999"/>
              <a:gd name="connsiteX517" fmla="*/ 1630983 w 5503467"/>
              <a:gd name="connsiteY517" fmla="*/ 6530537 h 6857999"/>
              <a:gd name="connsiteX518" fmla="*/ 1625923 w 5503467"/>
              <a:gd name="connsiteY518" fmla="*/ 6474576 h 6857999"/>
              <a:gd name="connsiteX519" fmla="*/ 1625428 w 5503467"/>
              <a:gd name="connsiteY519" fmla="*/ 6474511 h 6857999"/>
              <a:gd name="connsiteX520" fmla="*/ 1622763 w 5503467"/>
              <a:gd name="connsiteY520" fmla="*/ 6471739 h 6857999"/>
              <a:gd name="connsiteX521" fmla="*/ 1623887 w 5503467"/>
              <a:gd name="connsiteY521" fmla="*/ 6445691 h 6857999"/>
              <a:gd name="connsiteX522" fmla="*/ 1624576 w 5503467"/>
              <a:gd name="connsiteY522" fmla="*/ 6430741 h 6857999"/>
              <a:gd name="connsiteX523" fmla="*/ 1628893 w 5503467"/>
              <a:gd name="connsiteY523" fmla="*/ 6416995 h 6857999"/>
              <a:gd name="connsiteX524" fmla="*/ 1623777 w 5503467"/>
              <a:gd name="connsiteY524" fmla="*/ 6417541 h 6857999"/>
              <a:gd name="connsiteX525" fmla="*/ 1629704 w 5503467"/>
              <a:gd name="connsiteY525" fmla="*/ 6401092 h 6857999"/>
              <a:gd name="connsiteX526" fmla="*/ 1627632 w 5503467"/>
              <a:gd name="connsiteY526" fmla="*/ 6386026 h 6857999"/>
              <a:gd name="connsiteX527" fmla="*/ 1623261 w 5503467"/>
              <a:gd name="connsiteY527" fmla="*/ 6386669 h 6857999"/>
              <a:gd name="connsiteX528" fmla="*/ 1622768 w 5503467"/>
              <a:gd name="connsiteY528" fmla="*/ 6386604 h 6857999"/>
              <a:gd name="connsiteX529" fmla="*/ 1620539 w 5503467"/>
              <a:gd name="connsiteY529" fmla="*/ 6370790 h 6857999"/>
              <a:gd name="connsiteX530" fmla="*/ 1611153 w 5503467"/>
              <a:gd name="connsiteY530" fmla="*/ 6359623 h 6857999"/>
              <a:gd name="connsiteX531" fmla="*/ 1419271 w 5503467"/>
              <a:gd name="connsiteY531" fmla="*/ 6339938 h 6857999"/>
              <a:gd name="connsiteX532" fmla="*/ 1417286 w 5503467"/>
              <a:gd name="connsiteY532" fmla="*/ 6341620 h 6857999"/>
              <a:gd name="connsiteX533" fmla="*/ 1418339 w 5503467"/>
              <a:gd name="connsiteY533" fmla="*/ 6343214 h 6857999"/>
              <a:gd name="connsiteX534" fmla="*/ 1419517 w 5503467"/>
              <a:gd name="connsiteY534" fmla="*/ 6341912 h 6857999"/>
              <a:gd name="connsiteX535" fmla="*/ 1419271 w 5503467"/>
              <a:gd name="connsiteY535" fmla="*/ 6339938 h 6857999"/>
              <a:gd name="connsiteX536" fmla="*/ 1355071 w 5503467"/>
              <a:gd name="connsiteY536" fmla="*/ 6337147 h 6857999"/>
              <a:gd name="connsiteX537" fmla="*/ 1356025 w 5503467"/>
              <a:gd name="connsiteY537" fmla="*/ 6349156 h 6857999"/>
              <a:gd name="connsiteX538" fmla="*/ 1355071 w 5503467"/>
              <a:gd name="connsiteY538" fmla="*/ 6337147 h 6857999"/>
              <a:gd name="connsiteX539" fmla="*/ 1618137 w 5503467"/>
              <a:gd name="connsiteY539" fmla="*/ 6337004 h 6857999"/>
              <a:gd name="connsiteX540" fmla="*/ 1617298 w 5503467"/>
              <a:gd name="connsiteY540" fmla="*/ 6343444 h 6857999"/>
              <a:gd name="connsiteX541" fmla="*/ 1620517 w 5503467"/>
              <a:gd name="connsiteY541" fmla="*/ 6351626 h 6857999"/>
              <a:gd name="connsiteX542" fmla="*/ 1620765 w 5503467"/>
              <a:gd name="connsiteY542" fmla="*/ 6351658 h 6857999"/>
              <a:gd name="connsiteX543" fmla="*/ 1618137 w 5503467"/>
              <a:gd name="connsiteY543" fmla="*/ 6337004 h 6857999"/>
              <a:gd name="connsiteX544" fmla="*/ 1288704 w 5503467"/>
              <a:gd name="connsiteY544" fmla="*/ 6327765 h 6857999"/>
              <a:gd name="connsiteX545" fmla="*/ 1287557 w 5503467"/>
              <a:gd name="connsiteY545" fmla="*/ 6328831 h 6857999"/>
              <a:gd name="connsiteX546" fmla="*/ 1292261 w 5503467"/>
              <a:gd name="connsiteY546" fmla="*/ 6346907 h 6857999"/>
              <a:gd name="connsiteX547" fmla="*/ 1288704 w 5503467"/>
              <a:gd name="connsiteY547" fmla="*/ 6327765 h 6857999"/>
              <a:gd name="connsiteX548" fmla="*/ 1433538 w 5503467"/>
              <a:gd name="connsiteY548" fmla="*/ 6319484 h 6857999"/>
              <a:gd name="connsiteX549" fmla="*/ 1433802 w 5503467"/>
              <a:gd name="connsiteY549" fmla="*/ 6319630 h 6857999"/>
              <a:gd name="connsiteX550" fmla="*/ 1437000 w 5503467"/>
              <a:gd name="connsiteY550" fmla="*/ 6345163 h 6857999"/>
              <a:gd name="connsiteX551" fmla="*/ 1441464 w 5503467"/>
              <a:gd name="connsiteY551" fmla="*/ 6345746 h 6857999"/>
              <a:gd name="connsiteX552" fmla="*/ 1445284 w 5503467"/>
              <a:gd name="connsiteY552" fmla="*/ 6331930 h 6857999"/>
              <a:gd name="connsiteX553" fmla="*/ 1445377 w 5503467"/>
              <a:gd name="connsiteY553" fmla="*/ 6331216 h 6857999"/>
              <a:gd name="connsiteX554" fmla="*/ 1444914 w 5503467"/>
              <a:gd name="connsiteY554" fmla="*/ 6327033 h 6857999"/>
              <a:gd name="connsiteX555" fmla="*/ 1438312 w 5503467"/>
              <a:gd name="connsiteY555" fmla="*/ 6323504 h 6857999"/>
              <a:gd name="connsiteX556" fmla="*/ 1436273 w 5503467"/>
              <a:gd name="connsiteY556" fmla="*/ 6320995 h 6857999"/>
              <a:gd name="connsiteX557" fmla="*/ 1433802 w 5503467"/>
              <a:gd name="connsiteY557" fmla="*/ 6319630 h 6857999"/>
              <a:gd name="connsiteX558" fmla="*/ 1433787 w 5503467"/>
              <a:gd name="connsiteY558" fmla="*/ 6319517 h 6857999"/>
              <a:gd name="connsiteX559" fmla="*/ 1441510 w 5503467"/>
              <a:gd name="connsiteY559" fmla="*/ 6308640 h 6857999"/>
              <a:gd name="connsiteX560" fmla="*/ 1440764 w 5503467"/>
              <a:gd name="connsiteY560" fmla="*/ 6310483 h 6857999"/>
              <a:gd name="connsiteX561" fmla="*/ 1440733 w 5503467"/>
              <a:gd name="connsiteY561" fmla="*/ 6310721 h 6857999"/>
              <a:gd name="connsiteX562" fmla="*/ 1442068 w 5503467"/>
              <a:gd name="connsiteY562" fmla="*/ 6310169 h 6857999"/>
              <a:gd name="connsiteX563" fmla="*/ 1441510 w 5503467"/>
              <a:gd name="connsiteY563" fmla="*/ 6308640 h 6857999"/>
              <a:gd name="connsiteX564" fmla="*/ 1178107 w 5503467"/>
              <a:gd name="connsiteY564" fmla="*/ 6297822 h 6857999"/>
              <a:gd name="connsiteX565" fmla="*/ 1178634 w 5503467"/>
              <a:gd name="connsiteY565" fmla="*/ 6299590 h 6857999"/>
              <a:gd name="connsiteX566" fmla="*/ 1179597 w 5503467"/>
              <a:gd name="connsiteY566" fmla="*/ 6298016 h 6857999"/>
              <a:gd name="connsiteX567" fmla="*/ 1267793 w 5503467"/>
              <a:gd name="connsiteY567" fmla="*/ 6290840 h 6857999"/>
              <a:gd name="connsiteX568" fmla="*/ 1267762 w 5503467"/>
              <a:gd name="connsiteY568" fmla="*/ 6291077 h 6857999"/>
              <a:gd name="connsiteX569" fmla="*/ 1270270 w 5503467"/>
              <a:gd name="connsiteY569" fmla="*/ 6298925 h 6857999"/>
              <a:gd name="connsiteX570" fmla="*/ 1270116 w 5503467"/>
              <a:gd name="connsiteY570" fmla="*/ 6296236 h 6857999"/>
              <a:gd name="connsiteX571" fmla="*/ 1267793 w 5503467"/>
              <a:gd name="connsiteY571" fmla="*/ 6290840 h 6857999"/>
              <a:gd name="connsiteX572" fmla="*/ 1433309 w 5503467"/>
              <a:gd name="connsiteY572" fmla="*/ 6276765 h 6857999"/>
              <a:gd name="connsiteX573" fmla="*/ 1430983 w 5503467"/>
              <a:gd name="connsiteY573" fmla="*/ 6279131 h 6857999"/>
              <a:gd name="connsiteX574" fmla="*/ 1435903 w 5503467"/>
              <a:gd name="connsiteY574" fmla="*/ 6297479 h 6857999"/>
              <a:gd name="connsiteX575" fmla="*/ 1436182 w 5503467"/>
              <a:gd name="connsiteY575" fmla="*/ 6297273 h 6857999"/>
              <a:gd name="connsiteX576" fmla="*/ 1438263 w 5503467"/>
              <a:gd name="connsiteY576" fmla="*/ 6292935 h 6857999"/>
              <a:gd name="connsiteX577" fmla="*/ 1433309 w 5503467"/>
              <a:gd name="connsiteY577" fmla="*/ 6276765 h 6857999"/>
              <a:gd name="connsiteX578" fmla="*/ 1587411 w 5503467"/>
              <a:gd name="connsiteY578" fmla="*/ 6270909 h 6857999"/>
              <a:gd name="connsiteX579" fmla="*/ 1587716 w 5503467"/>
              <a:gd name="connsiteY579" fmla="*/ 6282103 h 6857999"/>
              <a:gd name="connsiteX580" fmla="*/ 1588615 w 5503467"/>
              <a:gd name="connsiteY580" fmla="*/ 6282949 h 6857999"/>
              <a:gd name="connsiteX581" fmla="*/ 1587811 w 5503467"/>
              <a:gd name="connsiteY581" fmla="*/ 6273626 h 6857999"/>
              <a:gd name="connsiteX582" fmla="*/ 1587565 w 5503467"/>
              <a:gd name="connsiteY582" fmla="*/ 6273593 h 6857999"/>
              <a:gd name="connsiteX583" fmla="*/ 1587411 w 5503467"/>
              <a:gd name="connsiteY583" fmla="*/ 6270909 h 6857999"/>
              <a:gd name="connsiteX584" fmla="*/ 1267559 w 5503467"/>
              <a:gd name="connsiteY584" fmla="*/ 6257824 h 6857999"/>
              <a:gd name="connsiteX585" fmla="*/ 1265044 w 5503467"/>
              <a:gd name="connsiteY585" fmla="*/ 6265499 h 6857999"/>
              <a:gd name="connsiteX586" fmla="*/ 1276298 w 5503467"/>
              <a:gd name="connsiteY586" fmla="*/ 6262360 h 6857999"/>
              <a:gd name="connsiteX587" fmla="*/ 1275680 w 5503467"/>
              <a:gd name="connsiteY587" fmla="*/ 6259368 h 6857999"/>
              <a:gd name="connsiteX588" fmla="*/ 1275742 w 5503467"/>
              <a:gd name="connsiteY588" fmla="*/ 6258890 h 6857999"/>
              <a:gd name="connsiteX589" fmla="*/ 1267807 w 5503467"/>
              <a:gd name="connsiteY589" fmla="*/ 6257855 h 6857999"/>
              <a:gd name="connsiteX590" fmla="*/ 1341219 w 5503467"/>
              <a:gd name="connsiteY590" fmla="*/ 6246082 h 6857999"/>
              <a:gd name="connsiteX591" fmla="*/ 1342320 w 5503467"/>
              <a:gd name="connsiteY591" fmla="*/ 6286005 h 6857999"/>
              <a:gd name="connsiteX592" fmla="*/ 1342597 w 5503467"/>
              <a:gd name="connsiteY592" fmla="*/ 6291619 h 6857999"/>
              <a:gd name="connsiteX593" fmla="*/ 1345471 w 5503467"/>
              <a:gd name="connsiteY593" fmla="*/ 6310186 h 6857999"/>
              <a:gd name="connsiteX594" fmla="*/ 1345256 w 5503467"/>
              <a:gd name="connsiteY594" fmla="*/ 6309914 h 6857999"/>
              <a:gd name="connsiteX595" fmla="*/ 1349560 w 5503467"/>
              <a:gd name="connsiteY595" fmla="*/ 6319449 h 6857999"/>
              <a:gd name="connsiteX596" fmla="*/ 1352017 w 5503467"/>
              <a:gd name="connsiteY596" fmla="*/ 6298669 h 6857999"/>
              <a:gd name="connsiteX597" fmla="*/ 1348093 w 5503467"/>
              <a:gd name="connsiteY597" fmla="*/ 6266869 h 6857999"/>
              <a:gd name="connsiteX598" fmla="*/ 1346053 w 5503467"/>
              <a:gd name="connsiteY598" fmla="*/ 6247683 h 6857999"/>
              <a:gd name="connsiteX599" fmla="*/ 1341219 w 5503467"/>
              <a:gd name="connsiteY599" fmla="*/ 6246082 h 6857999"/>
              <a:gd name="connsiteX600" fmla="*/ 1493715 w 5503467"/>
              <a:gd name="connsiteY600" fmla="*/ 6231284 h 6857999"/>
              <a:gd name="connsiteX601" fmla="*/ 1485560 w 5503467"/>
              <a:gd name="connsiteY601" fmla="*/ 6233857 h 6857999"/>
              <a:gd name="connsiteX602" fmla="*/ 1485745 w 5503467"/>
              <a:gd name="connsiteY602" fmla="*/ 6236308 h 6857999"/>
              <a:gd name="connsiteX603" fmla="*/ 1485497 w 5503467"/>
              <a:gd name="connsiteY603" fmla="*/ 6236275 h 6857999"/>
              <a:gd name="connsiteX604" fmla="*/ 1492986 w 5503467"/>
              <a:gd name="connsiteY604" fmla="*/ 6269752 h 6857999"/>
              <a:gd name="connsiteX605" fmla="*/ 1495444 w 5503467"/>
              <a:gd name="connsiteY605" fmla="*/ 6248973 h 6857999"/>
              <a:gd name="connsiteX606" fmla="*/ 1493715 w 5503467"/>
              <a:gd name="connsiteY606" fmla="*/ 6231284 h 6857999"/>
              <a:gd name="connsiteX607" fmla="*/ 1573665 w 5503467"/>
              <a:gd name="connsiteY607" fmla="*/ 6225457 h 6857999"/>
              <a:gd name="connsiteX608" fmla="*/ 1573666 w 5503467"/>
              <a:gd name="connsiteY608" fmla="*/ 6225457 h 6857999"/>
              <a:gd name="connsiteX609" fmla="*/ 1573634 w 5503467"/>
              <a:gd name="connsiteY609" fmla="*/ 6225695 h 6857999"/>
              <a:gd name="connsiteX610" fmla="*/ 1573387 w 5503467"/>
              <a:gd name="connsiteY610" fmla="*/ 6225662 h 6857999"/>
              <a:gd name="connsiteX611" fmla="*/ 1573665 w 5503467"/>
              <a:gd name="connsiteY611" fmla="*/ 6225457 h 6857999"/>
              <a:gd name="connsiteX612" fmla="*/ 1573697 w 5503467"/>
              <a:gd name="connsiteY612" fmla="*/ 6225216 h 6857999"/>
              <a:gd name="connsiteX613" fmla="*/ 1573707 w 5503467"/>
              <a:gd name="connsiteY613" fmla="*/ 6225322 h 6857999"/>
              <a:gd name="connsiteX614" fmla="*/ 1573666 w 5503467"/>
              <a:gd name="connsiteY614" fmla="*/ 6225457 h 6857999"/>
              <a:gd name="connsiteX615" fmla="*/ 1472795 w 5503467"/>
              <a:gd name="connsiteY615" fmla="*/ 6221520 h 6857999"/>
              <a:gd name="connsiteX616" fmla="*/ 1473469 w 5503467"/>
              <a:gd name="connsiteY616" fmla="*/ 6235677 h 6857999"/>
              <a:gd name="connsiteX617" fmla="*/ 1478059 w 5503467"/>
              <a:gd name="connsiteY617" fmla="*/ 6235305 h 6857999"/>
              <a:gd name="connsiteX618" fmla="*/ 1478213 w 5503467"/>
              <a:gd name="connsiteY618" fmla="*/ 6232171 h 6857999"/>
              <a:gd name="connsiteX619" fmla="*/ 1473010 w 5503467"/>
              <a:gd name="connsiteY619" fmla="*/ 6221793 h 6857999"/>
              <a:gd name="connsiteX620" fmla="*/ 1411017 w 5503467"/>
              <a:gd name="connsiteY620" fmla="*/ 6207886 h 6857999"/>
              <a:gd name="connsiteX621" fmla="*/ 1408501 w 5503467"/>
              <a:gd name="connsiteY621" fmla="*/ 6215564 h 6857999"/>
              <a:gd name="connsiteX622" fmla="*/ 1408781 w 5503467"/>
              <a:gd name="connsiteY622" fmla="*/ 6215356 h 6857999"/>
              <a:gd name="connsiteX623" fmla="*/ 1426827 w 5503467"/>
              <a:gd name="connsiteY623" fmla="*/ 6210433 h 6857999"/>
              <a:gd name="connsiteX624" fmla="*/ 1411017 w 5503467"/>
              <a:gd name="connsiteY624" fmla="*/ 6207886 h 6857999"/>
              <a:gd name="connsiteX625" fmla="*/ 1489819 w 5503467"/>
              <a:gd name="connsiteY625" fmla="*/ 6207005 h 6857999"/>
              <a:gd name="connsiteX626" fmla="*/ 1488702 w 5503467"/>
              <a:gd name="connsiteY626" fmla="*/ 6207830 h 6857999"/>
              <a:gd name="connsiteX627" fmla="*/ 1489966 w 5503467"/>
              <a:gd name="connsiteY627" fmla="*/ 6208965 h 6857999"/>
              <a:gd name="connsiteX628" fmla="*/ 1490003 w 5503467"/>
              <a:gd name="connsiteY628" fmla="*/ 6209453 h 6857999"/>
              <a:gd name="connsiteX629" fmla="*/ 1490281 w 5503467"/>
              <a:gd name="connsiteY629" fmla="*/ 6209248 h 6857999"/>
              <a:gd name="connsiteX630" fmla="*/ 1489966 w 5503467"/>
              <a:gd name="connsiteY630" fmla="*/ 6208965 h 6857999"/>
              <a:gd name="connsiteX631" fmla="*/ 1340126 w 5503467"/>
              <a:gd name="connsiteY631" fmla="*/ 6190638 h 6857999"/>
              <a:gd name="connsiteX632" fmla="*/ 1340122 w 5503467"/>
              <a:gd name="connsiteY632" fmla="*/ 6200340 h 6857999"/>
              <a:gd name="connsiteX633" fmla="*/ 1340550 w 5503467"/>
              <a:gd name="connsiteY633" fmla="*/ 6212525 h 6857999"/>
              <a:gd name="connsiteX634" fmla="*/ 1346183 w 5503467"/>
              <a:gd name="connsiteY634" fmla="*/ 6237028 h 6857999"/>
              <a:gd name="connsiteX635" fmla="*/ 1346307 w 5503467"/>
              <a:gd name="connsiteY635" fmla="*/ 6238014 h 6857999"/>
              <a:gd name="connsiteX636" fmla="*/ 1346561 w 5503467"/>
              <a:gd name="connsiteY636" fmla="*/ 6224464 h 6857999"/>
              <a:gd name="connsiteX637" fmla="*/ 1340126 w 5503467"/>
              <a:gd name="connsiteY637" fmla="*/ 6190638 h 6857999"/>
              <a:gd name="connsiteX638" fmla="*/ 1490711 w 5503467"/>
              <a:gd name="connsiteY638" fmla="*/ 6144058 h 6857999"/>
              <a:gd name="connsiteX639" fmla="*/ 1490742 w 5503467"/>
              <a:gd name="connsiteY639" fmla="*/ 6147702 h 6857999"/>
              <a:gd name="connsiteX640" fmla="*/ 1491481 w 5503467"/>
              <a:gd name="connsiteY640" fmla="*/ 6157499 h 6857999"/>
              <a:gd name="connsiteX641" fmla="*/ 1492783 w 5503467"/>
              <a:gd name="connsiteY641" fmla="*/ 6157183 h 6857999"/>
              <a:gd name="connsiteX642" fmla="*/ 1499078 w 5503467"/>
              <a:gd name="connsiteY642" fmla="*/ 6153395 h 6857999"/>
              <a:gd name="connsiteX643" fmla="*/ 1490711 w 5503467"/>
              <a:gd name="connsiteY643" fmla="*/ 6144058 h 6857999"/>
              <a:gd name="connsiteX644" fmla="*/ 1483336 w 5503467"/>
              <a:gd name="connsiteY644" fmla="*/ 6140670 h 6857999"/>
              <a:gd name="connsiteX645" fmla="*/ 1483331 w 5503467"/>
              <a:gd name="connsiteY645" fmla="*/ 6150374 h 6857999"/>
              <a:gd name="connsiteX646" fmla="*/ 1483606 w 5503467"/>
              <a:gd name="connsiteY646" fmla="*/ 6159866 h 6857999"/>
              <a:gd name="connsiteX647" fmla="*/ 1484319 w 5503467"/>
              <a:gd name="connsiteY647" fmla="*/ 6160202 h 6857999"/>
              <a:gd name="connsiteX648" fmla="*/ 1488876 w 5503467"/>
              <a:gd name="connsiteY648" fmla="*/ 6158130 h 6857999"/>
              <a:gd name="connsiteX649" fmla="*/ 1483336 w 5503467"/>
              <a:gd name="connsiteY649" fmla="*/ 6140670 h 6857999"/>
              <a:gd name="connsiteX650" fmla="*/ 1490623 w 5503467"/>
              <a:gd name="connsiteY650" fmla="*/ 6133132 h 6857999"/>
              <a:gd name="connsiteX651" fmla="*/ 1490561 w 5503467"/>
              <a:gd name="connsiteY651" fmla="*/ 6133608 h 6857999"/>
              <a:gd name="connsiteX652" fmla="*/ 1491221 w 5503467"/>
              <a:gd name="connsiteY652" fmla="*/ 6133694 h 6857999"/>
              <a:gd name="connsiteX653" fmla="*/ 1491522 w 5503467"/>
              <a:gd name="connsiteY653" fmla="*/ 6133978 h 6857999"/>
              <a:gd name="connsiteX654" fmla="*/ 1491553 w 5503467"/>
              <a:gd name="connsiteY654" fmla="*/ 6133738 h 6857999"/>
              <a:gd name="connsiteX655" fmla="*/ 1491221 w 5503467"/>
              <a:gd name="connsiteY655" fmla="*/ 6133694 h 6857999"/>
              <a:gd name="connsiteX656" fmla="*/ 1487319 w 5503467"/>
              <a:gd name="connsiteY656" fmla="*/ 6102384 h 6857999"/>
              <a:gd name="connsiteX657" fmla="*/ 1488433 w 5503467"/>
              <a:gd name="connsiteY657" fmla="*/ 6109321 h 6857999"/>
              <a:gd name="connsiteX658" fmla="*/ 1488680 w 5503467"/>
              <a:gd name="connsiteY658" fmla="*/ 6109353 h 6857999"/>
              <a:gd name="connsiteX659" fmla="*/ 1487319 w 5503467"/>
              <a:gd name="connsiteY659" fmla="*/ 6102384 h 6857999"/>
              <a:gd name="connsiteX660" fmla="*/ 1329822 w 5503467"/>
              <a:gd name="connsiteY660" fmla="*/ 6072388 h 6857999"/>
              <a:gd name="connsiteX661" fmla="*/ 1328146 w 5503467"/>
              <a:gd name="connsiteY661" fmla="*/ 6073623 h 6857999"/>
              <a:gd name="connsiteX662" fmla="*/ 1329723 w 5503467"/>
              <a:gd name="connsiteY662" fmla="*/ 6082803 h 6857999"/>
              <a:gd name="connsiteX663" fmla="*/ 1330068 w 5503467"/>
              <a:gd name="connsiteY663" fmla="*/ 6072420 h 6857999"/>
              <a:gd name="connsiteX664" fmla="*/ 1512720 w 5503467"/>
              <a:gd name="connsiteY664" fmla="*/ 6068100 h 6857999"/>
              <a:gd name="connsiteX665" fmla="*/ 1511141 w 5503467"/>
              <a:gd name="connsiteY665" fmla="*/ 6068620 h 6857999"/>
              <a:gd name="connsiteX666" fmla="*/ 1507607 w 5503467"/>
              <a:gd name="connsiteY666" fmla="*/ 6070585 h 6857999"/>
              <a:gd name="connsiteX667" fmla="*/ 1507720 w 5503467"/>
              <a:gd name="connsiteY667" fmla="*/ 6094856 h 6857999"/>
              <a:gd name="connsiteX668" fmla="*/ 1498017 w 5503467"/>
              <a:gd name="connsiteY668" fmla="*/ 6097714 h 6857999"/>
              <a:gd name="connsiteX669" fmla="*/ 1499278 w 5503467"/>
              <a:gd name="connsiteY669" fmla="*/ 6117040 h 6857999"/>
              <a:gd name="connsiteX670" fmla="*/ 1498061 w 5503467"/>
              <a:gd name="connsiteY670" fmla="*/ 6134102 h 6857999"/>
              <a:gd name="connsiteX671" fmla="*/ 1501287 w 5503467"/>
              <a:gd name="connsiteY671" fmla="*/ 6134523 h 6857999"/>
              <a:gd name="connsiteX672" fmla="*/ 1504425 w 5503467"/>
              <a:gd name="connsiteY672" fmla="*/ 6118193 h 6857999"/>
              <a:gd name="connsiteX673" fmla="*/ 1511895 w 5503467"/>
              <a:gd name="connsiteY673" fmla="*/ 6122807 h 6857999"/>
              <a:gd name="connsiteX674" fmla="*/ 1515507 w 5503467"/>
              <a:gd name="connsiteY674" fmla="*/ 6153112 h 6857999"/>
              <a:gd name="connsiteX675" fmla="*/ 1514459 w 5503467"/>
              <a:gd name="connsiteY675" fmla="*/ 6143758 h 6857999"/>
              <a:gd name="connsiteX676" fmla="*/ 1515202 w 5503467"/>
              <a:gd name="connsiteY676" fmla="*/ 6141914 h 6857999"/>
              <a:gd name="connsiteX677" fmla="*/ 1519465 w 5503467"/>
              <a:gd name="connsiteY677" fmla="*/ 6178853 h 6857999"/>
              <a:gd name="connsiteX678" fmla="*/ 1518566 w 5503467"/>
              <a:gd name="connsiteY678" fmla="*/ 6178007 h 6857999"/>
              <a:gd name="connsiteX679" fmla="*/ 1522305 w 5503467"/>
              <a:gd name="connsiteY679" fmla="*/ 6209301 h 6857999"/>
              <a:gd name="connsiteX680" fmla="*/ 1529564 w 5503467"/>
              <a:gd name="connsiteY680" fmla="*/ 6198117 h 6857999"/>
              <a:gd name="connsiteX681" fmla="*/ 1536118 w 5503467"/>
              <a:gd name="connsiteY681" fmla="*/ 6236812 h 6857999"/>
              <a:gd name="connsiteX682" fmla="*/ 1534569 w 5503467"/>
              <a:gd name="connsiteY682" fmla="*/ 6242916 h 6857999"/>
              <a:gd name="connsiteX683" fmla="*/ 1532418 w 5503467"/>
              <a:gd name="connsiteY683" fmla="*/ 6269073 h 6857999"/>
              <a:gd name="connsiteX684" fmla="*/ 1534264 w 5503467"/>
              <a:gd name="connsiteY684" fmla="*/ 6303270 h 6857999"/>
              <a:gd name="connsiteX685" fmla="*/ 1533704 w 5503467"/>
              <a:gd name="connsiteY685" fmla="*/ 6307564 h 6857999"/>
              <a:gd name="connsiteX686" fmla="*/ 1534508 w 5503467"/>
              <a:gd name="connsiteY686" fmla="*/ 6314944 h 6857999"/>
              <a:gd name="connsiteX687" fmla="*/ 1541613 w 5503467"/>
              <a:gd name="connsiteY687" fmla="*/ 6376508 h 6857999"/>
              <a:gd name="connsiteX688" fmla="*/ 1544215 w 5503467"/>
              <a:gd name="connsiteY688" fmla="*/ 6375876 h 6857999"/>
              <a:gd name="connsiteX689" fmla="*/ 1546076 w 5503467"/>
              <a:gd name="connsiteY689" fmla="*/ 6379032 h 6857999"/>
              <a:gd name="connsiteX690" fmla="*/ 1544206 w 5503467"/>
              <a:gd name="connsiteY690" fmla="*/ 6399162 h 6857999"/>
              <a:gd name="connsiteX691" fmla="*/ 1547759 w 5503467"/>
              <a:gd name="connsiteY691" fmla="*/ 6431884 h 6857999"/>
              <a:gd name="connsiteX692" fmla="*/ 1549368 w 5503467"/>
              <a:gd name="connsiteY692" fmla="*/ 6436944 h 6857999"/>
              <a:gd name="connsiteX693" fmla="*/ 1551558 w 5503467"/>
              <a:gd name="connsiteY693" fmla="*/ 6464638 h 6857999"/>
              <a:gd name="connsiteX694" fmla="*/ 1550836 w 5503467"/>
              <a:gd name="connsiteY694" fmla="*/ 6485646 h 6857999"/>
              <a:gd name="connsiteX695" fmla="*/ 1558886 w 5503467"/>
              <a:gd name="connsiteY695" fmla="*/ 6514831 h 6857999"/>
              <a:gd name="connsiteX696" fmla="*/ 1560273 w 5503467"/>
              <a:gd name="connsiteY696" fmla="*/ 6531263 h 6857999"/>
              <a:gd name="connsiteX697" fmla="*/ 1565390 w 5503467"/>
              <a:gd name="connsiteY697" fmla="*/ 6532656 h 6857999"/>
              <a:gd name="connsiteX698" fmla="*/ 1567927 w 5503467"/>
              <a:gd name="connsiteY698" fmla="*/ 6540265 h 6857999"/>
              <a:gd name="connsiteX699" fmla="*/ 1565807 w 5503467"/>
              <a:gd name="connsiteY699" fmla="*/ 6570064 h 6857999"/>
              <a:gd name="connsiteX700" fmla="*/ 1576813 w 5503467"/>
              <a:gd name="connsiteY700" fmla="*/ 6568830 h 6857999"/>
              <a:gd name="connsiteX701" fmla="*/ 1574800 w 5503467"/>
              <a:gd name="connsiteY701" fmla="*/ 6559108 h 6857999"/>
              <a:gd name="connsiteX702" fmla="*/ 1580429 w 5503467"/>
              <a:gd name="connsiteY702" fmla="*/ 6515941 h 6857999"/>
              <a:gd name="connsiteX703" fmla="*/ 1585207 w 5503467"/>
              <a:gd name="connsiteY703" fmla="*/ 6506378 h 6857999"/>
              <a:gd name="connsiteX704" fmla="*/ 1574550 w 5503467"/>
              <a:gd name="connsiteY704" fmla="*/ 6493347 h 6857999"/>
              <a:gd name="connsiteX705" fmla="*/ 1566820 w 5503467"/>
              <a:gd name="connsiteY705" fmla="*/ 6515866 h 6857999"/>
              <a:gd name="connsiteX706" fmla="*/ 1563568 w 5503467"/>
              <a:gd name="connsiteY706" fmla="*/ 6509862 h 6857999"/>
              <a:gd name="connsiteX707" fmla="*/ 1567311 w 5503467"/>
              <a:gd name="connsiteY707" fmla="*/ 6452138 h 6857999"/>
              <a:gd name="connsiteX708" fmla="*/ 1570907 w 5503467"/>
              <a:gd name="connsiteY708" fmla="*/ 6449696 h 6857999"/>
              <a:gd name="connsiteX709" fmla="*/ 1571926 w 5503467"/>
              <a:gd name="connsiteY709" fmla="*/ 6463171 h 6857999"/>
              <a:gd name="connsiteX710" fmla="*/ 1572353 w 5503467"/>
              <a:gd name="connsiteY710" fmla="*/ 6477296 h 6857999"/>
              <a:gd name="connsiteX711" fmla="*/ 1587013 w 5503467"/>
              <a:gd name="connsiteY711" fmla="*/ 6490604 h 6857999"/>
              <a:gd name="connsiteX712" fmla="*/ 1590264 w 5503467"/>
              <a:gd name="connsiteY712" fmla="*/ 6494668 h 6857999"/>
              <a:gd name="connsiteX713" fmla="*/ 1590025 w 5503467"/>
              <a:gd name="connsiteY713" fmla="*/ 6477173 h 6857999"/>
              <a:gd name="connsiteX714" fmla="*/ 1582860 w 5503467"/>
              <a:gd name="connsiteY714" fmla="*/ 6404443 h 6857999"/>
              <a:gd name="connsiteX715" fmla="*/ 1582836 w 5503467"/>
              <a:gd name="connsiteY715" fmla="*/ 6393040 h 6857999"/>
              <a:gd name="connsiteX716" fmla="*/ 1595980 w 5503467"/>
              <a:gd name="connsiteY716" fmla="*/ 6388932 h 6857999"/>
              <a:gd name="connsiteX717" fmla="*/ 1599856 w 5503467"/>
              <a:gd name="connsiteY717" fmla="*/ 6392107 h 6857999"/>
              <a:gd name="connsiteX718" fmla="*/ 1600198 w 5503467"/>
              <a:gd name="connsiteY718" fmla="*/ 6389482 h 6857999"/>
              <a:gd name="connsiteX719" fmla="*/ 1597670 w 5503467"/>
              <a:gd name="connsiteY719" fmla="*/ 6350832 h 6857999"/>
              <a:gd name="connsiteX720" fmla="*/ 1593034 w 5503467"/>
              <a:gd name="connsiteY720" fmla="*/ 6316754 h 6857999"/>
              <a:gd name="connsiteX721" fmla="*/ 1592972 w 5503467"/>
              <a:gd name="connsiteY721" fmla="*/ 6317232 h 6857999"/>
              <a:gd name="connsiteX722" fmla="*/ 1583001 w 5503467"/>
              <a:gd name="connsiteY722" fmla="*/ 6291190 h 6857999"/>
              <a:gd name="connsiteX723" fmla="*/ 1577833 w 5503467"/>
              <a:gd name="connsiteY723" fmla="*/ 6266505 h 6857999"/>
              <a:gd name="connsiteX724" fmla="*/ 1573707 w 5503467"/>
              <a:gd name="connsiteY724" fmla="*/ 6225322 h 6857999"/>
              <a:gd name="connsiteX725" fmla="*/ 1575404 w 5503467"/>
              <a:gd name="connsiteY725" fmla="*/ 6219862 h 6857999"/>
              <a:gd name="connsiteX726" fmla="*/ 1572688 w 5503467"/>
              <a:gd name="connsiteY726" fmla="*/ 6188461 h 6857999"/>
              <a:gd name="connsiteX727" fmla="*/ 1570956 w 5503467"/>
              <a:gd name="connsiteY727" fmla="*/ 6178531 h 6857999"/>
              <a:gd name="connsiteX728" fmla="*/ 1565373 w 5503467"/>
              <a:gd name="connsiteY728" fmla="*/ 6186538 h 6857999"/>
              <a:gd name="connsiteX729" fmla="*/ 1556202 w 5503467"/>
              <a:gd name="connsiteY729" fmla="*/ 6173700 h 6857999"/>
              <a:gd name="connsiteX730" fmla="*/ 1552231 w 5503467"/>
              <a:gd name="connsiteY730" fmla="*/ 6184824 h 6857999"/>
              <a:gd name="connsiteX731" fmla="*/ 1550246 w 5503467"/>
              <a:gd name="connsiteY731" fmla="*/ 6182623 h 6857999"/>
              <a:gd name="connsiteX732" fmla="*/ 1543906 w 5503467"/>
              <a:gd name="connsiteY732" fmla="*/ 6144203 h 6857999"/>
              <a:gd name="connsiteX733" fmla="*/ 1538000 w 5503467"/>
              <a:gd name="connsiteY733" fmla="*/ 6110205 h 6857999"/>
              <a:gd name="connsiteX734" fmla="*/ 1532341 w 5503467"/>
              <a:gd name="connsiteY734" fmla="*/ 6153609 h 6857999"/>
              <a:gd name="connsiteX735" fmla="*/ 1528521 w 5503467"/>
              <a:gd name="connsiteY735" fmla="*/ 6173243 h 6857999"/>
              <a:gd name="connsiteX736" fmla="*/ 1516815 w 5503467"/>
              <a:gd name="connsiteY736" fmla="*/ 6137276 h 6857999"/>
              <a:gd name="connsiteX737" fmla="*/ 1513522 w 5503467"/>
              <a:gd name="connsiteY737" fmla="*/ 6081301 h 6857999"/>
              <a:gd name="connsiteX738" fmla="*/ 1514360 w 5503467"/>
              <a:gd name="connsiteY738" fmla="*/ 6080682 h 6857999"/>
              <a:gd name="connsiteX739" fmla="*/ 1512720 w 5503467"/>
              <a:gd name="connsiteY739" fmla="*/ 6068100 h 6857999"/>
              <a:gd name="connsiteX740" fmla="*/ 1287895 w 5503467"/>
              <a:gd name="connsiteY740" fmla="*/ 6028356 h 6857999"/>
              <a:gd name="connsiteX741" fmla="*/ 1288667 w 5503467"/>
              <a:gd name="connsiteY741" fmla="*/ 6030155 h 6857999"/>
              <a:gd name="connsiteX742" fmla="*/ 1289383 w 5503467"/>
              <a:gd name="connsiteY742" fmla="*/ 6028550 h 6857999"/>
              <a:gd name="connsiteX743" fmla="*/ 1338320 w 5503467"/>
              <a:gd name="connsiteY743" fmla="*/ 5983994 h 6857999"/>
              <a:gd name="connsiteX744" fmla="*/ 1336489 w 5503467"/>
              <a:gd name="connsiteY744" fmla="*/ 5986423 h 6857999"/>
              <a:gd name="connsiteX745" fmla="*/ 1340791 w 5503467"/>
              <a:gd name="connsiteY745" fmla="*/ 6079154 h 6857999"/>
              <a:gd name="connsiteX746" fmla="*/ 1340986 w 5503467"/>
              <a:gd name="connsiteY746" fmla="*/ 6131814 h 6857999"/>
              <a:gd name="connsiteX747" fmla="*/ 1341915 w 5503467"/>
              <a:gd name="connsiteY747" fmla="*/ 6132419 h 6857999"/>
              <a:gd name="connsiteX748" fmla="*/ 1340924 w 5503467"/>
              <a:gd name="connsiteY748" fmla="*/ 6132290 h 6857999"/>
              <a:gd name="connsiteX749" fmla="*/ 1340644 w 5503467"/>
              <a:gd name="connsiteY749" fmla="*/ 6134435 h 6857999"/>
              <a:gd name="connsiteX750" fmla="*/ 1341571 w 5503467"/>
              <a:gd name="connsiteY750" fmla="*/ 6142804 h 6857999"/>
              <a:gd name="connsiteX751" fmla="*/ 1343800 w 5503467"/>
              <a:gd name="connsiteY751" fmla="*/ 6150857 h 6857999"/>
              <a:gd name="connsiteX752" fmla="*/ 1350836 w 5503467"/>
              <a:gd name="connsiteY752" fmla="*/ 6152986 h 6857999"/>
              <a:gd name="connsiteX753" fmla="*/ 1352596 w 5503467"/>
              <a:gd name="connsiteY753" fmla="*/ 6166556 h 6857999"/>
              <a:gd name="connsiteX754" fmla="*/ 1349746 w 5503467"/>
              <a:gd name="connsiteY754" fmla="*/ 6167154 h 6857999"/>
              <a:gd name="connsiteX755" fmla="*/ 1344327 w 5503467"/>
              <a:gd name="connsiteY755" fmla="*/ 6154561 h 6857999"/>
              <a:gd name="connsiteX756" fmla="*/ 1347037 w 5503467"/>
              <a:gd name="connsiteY756" fmla="*/ 6197603 h 6857999"/>
              <a:gd name="connsiteX757" fmla="*/ 1351989 w 5503467"/>
              <a:gd name="connsiteY757" fmla="*/ 6215713 h 6857999"/>
              <a:gd name="connsiteX758" fmla="*/ 1361778 w 5503467"/>
              <a:gd name="connsiteY758" fmla="*/ 6231545 h 6857999"/>
              <a:gd name="connsiteX759" fmla="*/ 1364467 w 5503467"/>
              <a:gd name="connsiteY759" fmla="*/ 6251541 h 6857999"/>
              <a:gd name="connsiteX760" fmla="*/ 1365890 w 5503467"/>
              <a:gd name="connsiteY760" fmla="*/ 6261912 h 6857999"/>
              <a:gd name="connsiteX761" fmla="*/ 1370404 w 5503467"/>
              <a:gd name="connsiteY761" fmla="*/ 6289183 h 6857999"/>
              <a:gd name="connsiteX762" fmla="*/ 1374914 w 5503467"/>
              <a:gd name="connsiteY762" fmla="*/ 6326152 h 6857999"/>
              <a:gd name="connsiteX763" fmla="*/ 1375307 w 5503467"/>
              <a:gd name="connsiteY763" fmla="*/ 6276723 h 6857999"/>
              <a:gd name="connsiteX764" fmla="*/ 1384618 w 5503467"/>
              <a:gd name="connsiteY764" fmla="*/ 6249801 h 6857999"/>
              <a:gd name="connsiteX765" fmla="*/ 1384128 w 5503467"/>
              <a:gd name="connsiteY765" fmla="*/ 6238095 h 6857999"/>
              <a:gd name="connsiteX766" fmla="*/ 1387357 w 5503467"/>
              <a:gd name="connsiteY766" fmla="*/ 6226874 h 6857999"/>
              <a:gd name="connsiteX767" fmla="*/ 1392995 w 5503467"/>
              <a:gd name="connsiteY767" fmla="*/ 6231977 h 6857999"/>
              <a:gd name="connsiteX768" fmla="*/ 1403182 w 5503467"/>
              <a:gd name="connsiteY768" fmla="*/ 6264106 h 6857999"/>
              <a:gd name="connsiteX769" fmla="*/ 1403117 w 5503467"/>
              <a:gd name="connsiteY769" fmla="*/ 6270406 h 6857999"/>
              <a:gd name="connsiteX770" fmla="*/ 1401221 w 5503467"/>
              <a:gd name="connsiteY770" fmla="*/ 6284952 h 6857999"/>
              <a:gd name="connsiteX771" fmla="*/ 1389788 w 5503467"/>
              <a:gd name="connsiteY771" fmla="*/ 6266242 h 6857999"/>
              <a:gd name="connsiteX772" fmla="*/ 1391857 w 5503467"/>
              <a:gd name="connsiteY772" fmla="*/ 6287129 h 6857999"/>
              <a:gd name="connsiteX773" fmla="*/ 1390305 w 5503467"/>
              <a:gd name="connsiteY773" fmla="*/ 6293232 h 6857999"/>
              <a:gd name="connsiteX774" fmla="*/ 1388154 w 5503467"/>
              <a:gd name="connsiteY774" fmla="*/ 6319388 h 6857999"/>
              <a:gd name="connsiteX775" fmla="*/ 1390002 w 5503467"/>
              <a:gd name="connsiteY775" fmla="*/ 6353586 h 6857999"/>
              <a:gd name="connsiteX776" fmla="*/ 1389065 w 5503467"/>
              <a:gd name="connsiteY776" fmla="*/ 6368503 h 6857999"/>
              <a:gd name="connsiteX777" fmla="*/ 1389290 w 5503467"/>
              <a:gd name="connsiteY777" fmla="*/ 6424804 h 6857999"/>
              <a:gd name="connsiteX778" fmla="*/ 1389568 w 5503467"/>
              <a:gd name="connsiteY778" fmla="*/ 6424598 h 6857999"/>
              <a:gd name="connsiteX779" fmla="*/ 1400264 w 5503467"/>
              <a:gd name="connsiteY779" fmla="*/ 6425748 h 6857999"/>
              <a:gd name="connsiteX780" fmla="*/ 1402122 w 5503467"/>
              <a:gd name="connsiteY780" fmla="*/ 6428902 h 6857999"/>
              <a:gd name="connsiteX781" fmla="*/ 1405446 w 5503467"/>
              <a:gd name="connsiteY781" fmla="*/ 6486579 h 6857999"/>
              <a:gd name="connsiteX782" fmla="*/ 1407636 w 5503467"/>
              <a:gd name="connsiteY782" fmla="*/ 6514272 h 6857999"/>
              <a:gd name="connsiteX783" fmla="*/ 1405103 w 5503467"/>
              <a:gd name="connsiteY783" fmla="*/ 6568514 h 6857999"/>
              <a:gd name="connsiteX784" fmla="*/ 1407522 w 5503467"/>
              <a:gd name="connsiteY784" fmla="*/ 6569314 h 6857999"/>
              <a:gd name="connsiteX785" fmla="*/ 1410764 w 5503467"/>
              <a:gd name="connsiteY785" fmla="*/ 6523166 h 6857999"/>
              <a:gd name="connsiteX786" fmla="*/ 1410838 w 5503467"/>
              <a:gd name="connsiteY786" fmla="*/ 6572901 h 6857999"/>
              <a:gd name="connsiteX787" fmla="*/ 1414771 w 5503467"/>
              <a:gd name="connsiteY787" fmla="*/ 6579477 h 6857999"/>
              <a:gd name="connsiteX788" fmla="*/ 1415765 w 5503467"/>
              <a:gd name="connsiteY788" fmla="*/ 6575726 h 6857999"/>
              <a:gd name="connsiteX789" fmla="*/ 1420473 w 5503467"/>
              <a:gd name="connsiteY789" fmla="*/ 6582161 h 6857999"/>
              <a:gd name="connsiteX790" fmla="*/ 1421465 w 5503467"/>
              <a:gd name="connsiteY790" fmla="*/ 6582290 h 6857999"/>
              <a:gd name="connsiteX791" fmla="*/ 1424005 w 5503467"/>
              <a:gd name="connsiteY791" fmla="*/ 6589896 h 6857999"/>
              <a:gd name="connsiteX792" fmla="*/ 1423815 w 5503467"/>
              <a:gd name="connsiteY792" fmla="*/ 6595210 h 6857999"/>
              <a:gd name="connsiteX793" fmla="*/ 1424499 w 5503467"/>
              <a:gd name="connsiteY793" fmla="*/ 6595783 h 6857999"/>
              <a:gd name="connsiteX794" fmla="*/ 1423724 w 5503467"/>
              <a:gd name="connsiteY794" fmla="*/ 6597866 h 6857999"/>
              <a:gd name="connsiteX795" fmla="*/ 1422133 w 5503467"/>
              <a:gd name="connsiteY795" fmla="*/ 6619729 h 6857999"/>
              <a:gd name="connsiteX796" fmla="*/ 1427743 w 5503467"/>
              <a:gd name="connsiteY796" fmla="*/ 6619247 h 6857999"/>
              <a:gd name="connsiteX797" fmla="*/ 1429457 w 5503467"/>
              <a:gd name="connsiteY797" fmla="*/ 6600309 h 6857999"/>
              <a:gd name="connsiteX798" fmla="*/ 1431638 w 5503467"/>
              <a:gd name="connsiteY798" fmla="*/ 6575855 h 6857999"/>
              <a:gd name="connsiteX799" fmla="*/ 1432695 w 5503467"/>
              <a:gd name="connsiteY799" fmla="*/ 6563865 h 6857999"/>
              <a:gd name="connsiteX800" fmla="*/ 1431309 w 5503467"/>
              <a:gd name="connsiteY800" fmla="*/ 6543554 h 6857999"/>
              <a:gd name="connsiteX801" fmla="*/ 1423580 w 5503467"/>
              <a:gd name="connsiteY801" fmla="*/ 6566073 h 6857999"/>
              <a:gd name="connsiteX802" fmla="*/ 1420327 w 5503467"/>
              <a:gd name="connsiteY802" fmla="*/ 6560069 h 6857999"/>
              <a:gd name="connsiteX803" fmla="*/ 1422669 w 5503467"/>
              <a:gd name="connsiteY803" fmla="*/ 6520839 h 6857999"/>
              <a:gd name="connsiteX804" fmla="*/ 1418555 w 5503467"/>
              <a:gd name="connsiteY804" fmla="*/ 6496291 h 6857999"/>
              <a:gd name="connsiteX805" fmla="*/ 1415407 w 5503467"/>
              <a:gd name="connsiteY805" fmla="*/ 6464348 h 6857999"/>
              <a:gd name="connsiteX806" fmla="*/ 1412506 w 5503467"/>
              <a:gd name="connsiteY806" fmla="*/ 6432440 h 6857999"/>
              <a:gd name="connsiteX807" fmla="*/ 1407464 w 5503467"/>
              <a:gd name="connsiteY807" fmla="*/ 6403402 h 6857999"/>
              <a:gd name="connsiteX808" fmla="*/ 1402979 w 5503467"/>
              <a:gd name="connsiteY808" fmla="*/ 6375896 h 6857999"/>
              <a:gd name="connsiteX809" fmla="*/ 1400545 w 5503467"/>
              <a:gd name="connsiteY809" fmla="*/ 6340411 h 6857999"/>
              <a:gd name="connsiteX810" fmla="*/ 1397943 w 5503467"/>
              <a:gd name="connsiteY810" fmla="*/ 6337158 h 6857999"/>
              <a:gd name="connsiteX811" fmla="*/ 1399897 w 5503467"/>
              <a:gd name="connsiteY811" fmla="*/ 6335716 h 6857999"/>
              <a:gd name="connsiteX812" fmla="*/ 1396400 w 5503467"/>
              <a:gd name="connsiteY812" fmla="*/ 6318039 h 6857999"/>
              <a:gd name="connsiteX813" fmla="*/ 1396474 w 5503467"/>
              <a:gd name="connsiteY813" fmla="*/ 6292337 h 6857999"/>
              <a:gd name="connsiteX814" fmla="*/ 1401810 w 5503467"/>
              <a:gd name="connsiteY814" fmla="*/ 6286241 h 6857999"/>
              <a:gd name="connsiteX815" fmla="*/ 1406514 w 5503467"/>
              <a:gd name="connsiteY815" fmla="*/ 6304318 h 6857999"/>
              <a:gd name="connsiteX816" fmla="*/ 1410756 w 5503467"/>
              <a:gd name="connsiteY816" fmla="*/ 6318213 h 6857999"/>
              <a:gd name="connsiteX817" fmla="*/ 1420052 w 5503467"/>
              <a:gd name="connsiteY817" fmla="*/ 6322335 h 6857999"/>
              <a:gd name="connsiteX818" fmla="*/ 1416036 w 5503467"/>
              <a:gd name="connsiteY818" fmla="*/ 6293192 h 6857999"/>
              <a:gd name="connsiteX819" fmla="*/ 1412670 w 5503467"/>
              <a:gd name="connsiteY819" fmla="*/ 6255157 h 6857999"/>
              <a:gd name="connsiteX820" fmla="*/ 1413016 w 5503467"/>
              <a:gd name="connsiteY820" fmla="*/ 6246712 h 6857999"/>
              <a:gd name="connsiteX821" fmla="*/ 1399565 w 5503467"/>
              <a:gd name="connsiteY821" fmla="*/ 6241564 h 6857999"/>
              <a:gd name="connsiteX822" fmla="*/ 1390932 w 5503467"/>
              <a:gd name="connsiteY822" fmla="*/ 6197505 h 6857999"/>
              <a:gd name="connsiteX823" fmla="*/ 1390990 w 5503467"/>
              <a:gd name="connsiteY823" fmla="*/ 6204791 h 6857999"/>
              <a:gd name="connsiteX824" fmla="*/ 1389655 w 5503467"/>
              <a:gd name="connsiteY824" fmla="*/ 6213107 h 6857999"/>
              <a:gd name="connsiteX825" fmla="*/ 1388723 w 5503467"/>
              <a:gd name="connsiteY825" fmla="*/ 6214438 h 6857999"/>
              <a:gd name="connsiteX826" fmla="*/ 1384535 w 5503467"/>
              <a:gd name="connsiteY826" fmla="*/ 6223353 h 6857999"/>
              <a:gd name="connsiteX827" fmla="*/ 1379364 w 5503467"/>
              <a:gd name="connsiteY827" fmla="*/ 6212735 h 6857999"/>
              <a:gd name="connsiteX828" fmla="*/ 1378775 w 5503467"/>
              <a:gd name="connsiteY828" fmla="*/ 6211444 h 6857999"/>
              <a:gd name="connsiteX829" fmla="*/ 1372863 w 5503467"/>
              <a:gd name="connsiteY829" fmla="*/ 6187146 h 6857999"/>
              <a:gd name="connsiteX830" fmla="*/ 1371108 w 5503467"/>
              <a:gd name="connsiteY830" fmla="*/ 6156112 h 6857999"/>
              <a:gd name="connsiteX831" fmla="*/ 1361510 w 5503467"/>
              <a:gd name="connsiteY831" fmla="*/ 6131093 h 6857999"/>
              <a:gd name="connsiteX832" fmla="*/ 1354706 w 5503467"/>
              <a:gd name="connsiteY832" fmla="*/ 6088488 h 6857999"/>
              <a:gd name="connsiteX833" fmla="*/ 1354737 w 5503467"/>
              <a:gd name="connsiteY833" fmla="*/ 6088250 h 6857999"/>
              <a:gd name="connsiteX834" fmla="*/ 1350489 w 5503467"/>
              <a:gd name="connsiteY834" fmla="*/ 6089878 h 6857999"/>
              <a:gd name="connsiteX835" fmla="*/ 1349469 w 5503467"/>
              <a:gd name="connsiteY835" fmla="*/ 6082226 h 6857999"/>
              <a:gd name="connsiteX836" fmla="*/ 1352975 w 5503467"/>
              <a:gd name="connsiteY836" fmla="*/ 6080500 h 6857999"/>
              <a:gd name="connsiteX837" fmla="*/ 1354088 w 5503467"/>
              <a:gd name="connsiteY837" fmla="*/ 6083555 h 6857999"/>
              <a:gd name="connsiteX838" fmla="*/ 1342427 w 5503467"/>
              <a:gd name="connsiteY838" fmla="*/ 6020184 h 6857999"/>
              <a:gd name="connsiteX839" fmla="*/ 1338750 w 5503467"/>
              <a:gd name="connsiteY839" fmla="*/ 5992297 h 6857999"/>
              <a:gd name="connsiteX840" fmla="*/ 1338320 w 5503467"/>
              <a:gd name="connsiteY840" fmla="*/ 5983994 h 6857999"/>
              <a:gd name="connsiteX841" fmla="*/ 1270225 w 5503467"/>
              <a:gd name="connsiteY841" fmla="*/ 5802178 h 6857999"/>
              <a:gd name="connsiteX842" fmla="*/ 1274014 w 5503467"/>
              <a:gd name="connsiteY842" fmla="*/ 5856277 h 6857999"/>
              <a:gd name="connsiteX843" fmla="*/ 1276483 w 5503467"/>
              <a:gd name="connsiteY843" fmla="*/ 5883762 h 6857999"/>
              <a:gd name="connsiteX844" fmla="*/ 1276358 w 5503467"/>
              <a:gd name="connsiteY844" fmla="*/ 5884716 h 6857999"/>
              <a:gd name="connsiteX845" fmla="*/ 1276422 w 5503467"/>
              <a:gd name="connsiteY845" fmla="*/ 5886180 h 6857999"/>
              <a:gd name="connsiteX846" fmla="*/ 1290432 w 5503467"/>
              <a:gd name="connsiteY846" fmla="*/ 5962471 h 6857999"/>
              <a:gd name="connsiteX847" fmla="*/ 1290022 w 5503467"/>
              <a:gd name="connsiteY847" fmla="*/ 5983034 h 6857999"/>
              <a:gd name="connsiteX848" fmla="*/ 1283452 w 5503467"/>
              <a:gd name="connsiteY848" fmla="*/ 5979267 h 6857999"/>
              <a:gd name="connsiteX849" fmla="*/ 1283137 w 5503467"/>
              <a:gd name="connsiteY849" fmla="*/ 5987470 h 6857999"/>
              <a:gd name="connsiteX850" fmla="*/ 1282727 w 5503467"/>
              <a:gd name="connsiteY850" fmla="*/ 6004155 h 6857999"/>
              <a:gd name="connsiteX851" fmla="*/ 1287190 w 5503467"/>
              <a:gd name="connsiteY851" fmla="*/ 6012499 h 6857999"/>
              <a:gd name="connsiteX852" fmla="*/ 1294880 w 5503467"/>
              <a:gd name="connsiteY852" fmla="*/ 6007679 h 6857999"/>
              <a:gd name="connsiteX853" fmla="*/ 1298133 w 5503467"/>
              <a:gd name="connsiteY853" fmla="*/ 6009800 h 6857999"/>
              <a:gd name="connsiteX854" fmla="*/ 1314426 w 5503467"/>
              <a:gd name="connsiteY854" fmla="*/ 6043456 h 6857999"/>
              <a:gd name="connsiteX855" fmla="*/ 1318544 w 5503467"/>
              <a:gd name="connsiteY855" fmla="*/ 6054424 h 6857999"/>
              <a:gd name="connsiteX856" fmla="*/ 1321014 w 5503467"/>
              <a:gd name="connsiteY856" fmla="*/ 6078031 h 6857999"/>
              <a:gd name="connsiteX857" fmla="*/ 1323498 w 5503467"/>
              <a:gd name="connsiteY857" fmla="*/ 6146025 h 6857999"/>
              <a:gd name="connsiteX858" fmla="*/ 1323560 w 5503467"/>
              <a:gd name="connsiteY858" fmla="*/ 6145549 h 6857999"/>
              <a:gd name="connsiteX859" fmla="*/ 1327546 w 5503467"/>
              <a:gd name="connsiteY859" fmla="*/ 6176873 h 6857999"/>
              <a:gd name="connsiteX860" fmla="*/ 1327703 w 5503467"/>
              <a:gd name="connsiteY860" fmla="*/ 6173739 h 6857999"/>
              <a:gd name="connsiteX861" fmla="*/ 1326726 w 5503467"/>
              <a:gd name="connsiteY861" fmla="*/ 6136746 h 6857999"/>
              <a:gd name="connsiteX862" fmla="*/ 1322040 w 5503467"/>
              <a:gd name="connsiteY862" fmla="*/ 6068218 h 6857999"/>
              <a:gd name="connsiteX863" fmla="*/ 1326041 w 5503467"/>
              <a:gd name="connsiteY863" fmla="*/ 6064618 h 6857999"/>
              <a:gd name="connsiteX864" fmla="*/ 1327588 w 5503467"/>
              <a:gd name="connsiteY864" fmla="*/ 6070157 h 6857999"/>
              <a:gd name="connsiteX865" fmla="*/ 1328828 w 5503467"/>
              <a:gd name="connsiteY865" fmla="*/ 6070318 h 6857999"/>
              <a:gd name="connsiteX866" fmla="*/ 1329976 w 5503467"/>
              <a:gd name="connsiteY866" fmla="*/ 6071194 h 6857999"/>
              <a:gd name="connsiteX867" fmla="*/ 1326586 w 5503467"/>
              <a:gd name="connsiteY867" fmla="*/ 6017877 h 6857999"/>
              <a:gd name="connsiteX868" fmla="*/ 1319458 w 5503467"/>
              <a:gd name="connsiteY868" fmla="*/ 6020343 h 6857999"/>
              <a:gd name="connsiteX869" fmla="*/ 1317948 w 5503467"/>
              <a:gd name="connsiteY869" fmla="*/ 5995165 h 6857999"/>
              <a:gd name="connsiteX870" fmla="*/ 1316749 w 5503467"/>
              <a:gd name="connsiteY870" fmla="*/ 5971479 h 6857999"/>
              <a:gd name="connsiteX871" fmla="*/ 1315086 w 5503467"/>
              <a:gd name="connsiteY871" fmla="*/ 5945553 h 6857999"/>
              <a:gd name="connsiteX872" fmla="*/ 1312399 w 5503467"/>
              <a:gd name="connsiteY872" fmla="*/ 5919736 h 6857999"/>
              <a:gd name="connsiteX873" fmla="*/ 1309151 w 5503467"/>
              <a:gd name="connsiteY873" fmla="*/ 5896269 h 6857999"/>
              <a:gd name="connsiteX874" fmla="*/ 1302249 w 5503467"/>
              <a:gd name="connsiteY874" fmla="*/ 5871843 h 6857999"/>
              <a:gd name="connsiteX875" fmla="*/ 1300355 w 5503467"/>
              <a:gd name="connsiteY875" fmla="*/ 5878629 h 6857999"/>
              <a:gd name="connsiteX876" fmla="*/ 1309519 w 5503467"/>
              <a:gd name="connsiteY876" fmla="*/ 5988244 h 6857999"/>
              <a:gd name="connsiteX877" fmla="*/ 1313069 w 5503467"/>
              <a:gd name="connsiteY877" fmla="*/ 6024846 h 6857999"/>
              <a:gd name="connsiteX878" fmla="*/ 1309469 w 5503467"/>
              <a:gd name="connsiteY878" fmla="*/ 6035048 h 6857999"/>
              <a:gd name="connsiteX879" fmla="*/ 1304481 w 5503467"/>
              <a:gd name="connsiteY879" fmla="*/ 6024938 h 6857999"/>
              <a:gd name="connsiteX880" fmla="*/ 1299941 w 5503467"/>
              <a:gd name="connsiteY880" fmla="*/ 5984327 h 6857999"/>
              <a:gd name="connsiteX881" fmla="*/ 1296704 w 5503467"/>
              <a:gd name="connsiteY881" fmla="*/ 5941458 h 6857999"/>
              <a:gd name="connsiteX882" fmla="*/ 1291281 w 5503467"/>
              <a:gd name="connsiteY882" fmla="*/ 5855374 h 6857999"/>
              <a:gd name="connsiteX883" fmla="*/ 1288691 w 5503467"/>
              <a:gd name="connsiteY883" fmla="*/ 5821080 h 6857999"/>
              <a:gd name="connsiteX884" fmla="*/ 1288568 w 5503467"/>
              <a:gd name="connsiteY884" fmla="*/ 5820093 h 6857999"/>
              <a:gd name="connsiteX885" fmla="*/ 1287175 w 5503467"/>
              <a:gd name="connsiteY885" fmla="*/ 5819183 h 6857999"/>
              <a:gd name="connsiteX886" fmla="*/ 1283299 w 5503467"/>
              <a:gd name="connsiteY886" fmla="*/ 5816011 h 6857999"/>
              <a:gd name="connsiteX887" fmla="*/ 1280665 w 5503467"/>
              <a:gd name="connsiteY887" fmla="*/ 5816880 h 6857999"/>
              <a:gd name="connsiteX888" fmla="*/ 1277930 w 5503467"/>
              <a:gd name="connsiteY888" fmla="*/ 5832046 h 6857999"/>
              <a:gd name="connsiteX889" fmla="*/ 1275699 w 5503467"/>
              <a:gd name="connsiteY889" fmla="*/ 5831755 h 6857999"/>
              <a:gd name="connsiteX890" fmla="*/ 1270225 w 5503467"/>
              <a:gd name="connsiteY890" fmla="*/ 5802178 h 6857999"/>
              <a:gd name="connsiteX891" fmla="*/ 1263045 w 5503467"/>
              <a:gd name="connsiteY891" fmla="*/ 5772136 h 6857999"/>
              <a:gd name="connsiteX892" fmla="*/ 1268991 w 5503467"/>
              <a:gd name="connsiteY892" fmla="*/ 5784553 h 6857999"/>
              <a:gd name="connsiteX893" fmla="*/ 1277171 w 5503467"/>
              <a:gd name="connsiteY893" fmla="*/ 5795322 h 6857999"/>
              <a:gd name="connsiteX894" fmla="*/ 1277138 w 5503467"/>
              <a:gd name="connsiteY894" fmla="*/ 5799440 h 6857999"/>
              <a:gd name="connsiteX895" fmla="*/ 1279709 w 5503467"/>
              <a:gd name="connsiteY895" fmla="*/ 5802931 h 6857999"/>
              <a:gd name="connsiteX896" fmla="*/ 1282161 w 5503467"/>
              <a:gd name="connsiteY896" fmla="*/ 5793790 h 6857999"/>
              <a:gd name="connsiteX897" fmla="*/ 1285877 w 5503467"/>
              <a:gd name="connsiteY897" fmla="*/ 5803977 h 6857999"/>
              <a:gd name="connsiteX898" fmla="*/ 1286530 w 5503467"/>
              <a:gd name="connsiteY898" fmla="*/ 5798969 h 6857999"/>
              <a:gd name="connsiteX899" fmla="*/ 1280432 w 5503467"/>
              <a:gd name="connsiteY899" fmla="*/ 5776101 h 6857999"/>
              <a:gd name="connsiteX900" fmla="*/ 1277987 w 5503467"/>
              <a:gd name="connsiteY900" fmla="*/ 5773600 h 6857999"/>
              <a:gd name="connsiteX901" fmla="*/ 1263045 w 5503467"/>
              <a:gd name="connsiteY901" fmla="*/ 5772136 h 6857999"/>
              <a:gd name="connsiteX902" fmla="*/ 1253940 w 5503467"/>
              <a:gd name="connsiteY902" fmla="*/ 5745240 h 6857999"/>
              <a:gd name="connsiteX903" fmla="*/ 1250310 w 5503467"/>
              <a:gd name="connsiteY903" fmla="*/ 5755680 h 6857999"/>
              <a:gd name="connsiteX904" fmla="*/ 1247675 w 5503467"/>
              <a:gd name="connsiteY904" fmla="*/ 5754609 h 6857999"/>
              <a:gd name="connsiteX905" fmla="*/ 1247428 w 5503467"/>
              <a:gd name="connsiteY905" fmla="*/ 5754576 h 6857999"/>
              <a:gd name="connsiteX906" fmla="*/ 1250024 w 5503467"/>
              <a:gd name="connsiteY906" fmla="*/ 5769468 h 6857999"/>
              <a:gd name="connsiteX907" fmla="*/ 1254089 w 5503467"/>
              <a:gd name="connsiteY907" fmla="*/ 5763450 h 6857999"/>
              <a:gd name="connsiteX908" fmla="*/ 1253940 w 5503467"/>
              <a:gd name="connsiteY908" fmla="*/ 5745240 h 6857999"/>
              <a:gd name="connsiteX909" fmla="*/ 364059 w 5503467"/>
              <a:gd name="connsiteY909" fmla="*/ 4365044 h 6857999"/>
              <a:gd name="connsiteX910" fmla="*/ 363376 w 5503467"/>
              <a:gd name="connsiteY910" fmla="*/ 4366409 h 6857999"/>
              <a:gd name="connsiteX911" fmla="*/ 364616 w 5503467"/>
              <a:gd name="connsiteY911" fmla="*/ 4366570 h 6857999"/>
              <a:gd name="connsiteX912" fmla="*/ 317482 w 5503467"/>
              <a:gd name="connsiteY912" fmla="*/ 4248369 h 6857999"/>
              <a:gd name="connsiteX913" fmla="*/ 360095 w 5503467"/>
              <a:gd name="connsiteY913" fmla="*/ 4352884 h 6857999"/>
              <a:gd name="connsiteX914" fmla="*/ 317482 w 5503467"/>
              <a:gd name="connsiteY914" fmla="*/ 4248369 h 6857999"/>
              <a:gd name="connsiteX915" fmla="*/ 311290 w 5503467"/>
              <a:gd name="connsiteY915" fmla="*/ 4226216 h 6857999"/>
              <a:gd name="connsiteX916" fmla="*/ 313706 w 5503467"/>
              <a:gd name="connsiteY916" fmla="*/ 4234776 h 6857999"/>
              <a:gd name="connsiteX917" fmla="*/ 311290 w 5503467"/>
              <a:gd name="connsiteY917" fmla="*/ 4226216 h 6857999"/>
              <a:gd name="connsiteX918" fmla="*/ 306519 w 5503467"/>
              <a:gd name="connsiteY918" fmla="*/ 4222196 h 6857999"/>
              <a:gd name="connsiteX919" fmla="*/ 307077 w 5503467"/>
              <a:gd name="connsiteY919" fmla="*/ 4223726 h 6857999"/>
              <a:gd name="connsiteX920" fmla="*/ 310176 w 5503467"/>
              <a:gd name="connsiteY920" fmla="*/ 4225101 h 6857999"/>
              <a:gd name="connsiteX921" fmla="*/ 306519 w 5503467"/>
              <a:gd name="connsiteY921" fmla="*/ 4222196 h 6857999"/>
              <a:gd name="connsiteX922" fmla="*/ 304592 w 5503467"/>
              <a:gd name="connsiteY922" fmla="*/ 4000983 h 6857999"/>
              <a:gd name="connsiteX923" fmla="*/ 303704 w 5503467"/>
              <a:gd name="connsiteY923" fmla="*/ 4002608 h 6857999"/>
              <a:gd name="connsiteX924" fmla="*/ 303633 w 5503467"/>
              <a:gd name="connsiteY924" fmla="*/ 4002557 h 6857999"/>
              <a:gd name="connsiteX925" fmla="*/ 303601 w 5503467"/>
              <a:gd name="connsiteY925" fmla="*/ 4002794 h 6857999"/>
              <a:gd name="connsiteX926" fmla="*/ 303704 w 5503467"/>
              <a:gd name="connsiteY926" fmla="*/ 4002608 h 6857999"/>
              <a:gd name="connsiteX927" fmla="*/ 311008 w 5503467"/>
              <a:gd name="connsiteY927" fmla="*/ 4007886 h 6857999"/>
              <a:gd name="connsiteX928" fmla="*/ 312590 w 5503467"/>
              <a:gd name="connsiteY928" fmla="*/ 4005422 h 6857999"/>
              <a:gd name="connsiteX929" fmla="*/ 304592 w 5503467"/>
              <a:gd name="connsiteY929" fmla="*/ 4000983 h 6857999"/>
              <a:gd name="connsiteX930" fmla="*/ 238219 w 5503467"/>
              <a:gd name="connsiteY930" fmla="*/ 3937514 h 6857999"/>
              <a:gd name="connsiteX931" fmla="*/ 253151 w 5503467"/>
              <a:gd name="connsiteY931" fmla="*/ 3954497 h 6857999"/>
              <a:gd name="connsiteX932" fmla="*/ 258484 w 5503467"/>
              <a:gd name="connsiteY932" fmla="*/ 3960043 h 6857999"/>
              <a:gd name="connsiteX933" fmla="*/ 258452 w 5503467"/>
              <a:gd name="connsiteY933" fmla="*/ 3960283 h 6857999"/>
              <a:gd name="connsiteX934" fmla="*/ 278251 w 5503467"/>
              <a:gd name="connsiteY934" fmla="*/ 3986392 h 6857999"/>
              <a:gd name="connsiteX935" fmla="*/ 275592 w 5503467"/>
              <a:gd name="connsiteY935" fmla="*/ 3968096 h 6857999"/>
              <a:gd name="connsiteX936" fmla="*/ 238219 w 5503467"/>
              <a:gd name="connsiteY936" fmla="*/ 3937514 h 6857999"/>
              <a:gd name="connsiteX937" fmla="*/ 275295 w 5503467"/>
              <a:gd name="connsiteY937" fmla="*/ 3862063 h 6857999"/>
              <a:gd name="connsiteX938" fmla="*/ 276316 w 5503467"/>
              <a:gd name="connsiteY938" fmla="*/ 3863895 h 6857999"/>
              <a:gd name="connsiteX939" fmla="*/ 276781 w 5503467"/>
              <a:gd name="connsiteY939" fmla="*/ 3862258 h 6857999"/>
              <a:gd name="connsiteX940" fmla="*/ 276109 w 5503467"/>
              <a:gd name="connsiteY940" fmla="*/ 3836461 h 6857999"/>
              <a:gd name="connsiteX941" fmla="*/ 275550 w 5503467"/>
              <a:gd name="connsiteY941" fmla="*/ 3836872 h 6857999"/>
              <a:gd name="connsiteX942" fmla="*/ 275551 w 5503467"/>
              <a:gd name="connsiteY942" fmla="*/ 3838813 h 6857999"/>
              <a:gd name="connsiteX943" fmla="*/ 279388 w 5503467"/>
              <a:gd name="connsiteY943" fmla="*/ 3841315 h 6857999"/>
              <a:gd name="connsiteX944" fmla="*/ 279702 w 5503467"/>
              <a:gd name="connsiteY944" fmla="*/ 3841781 h 6857999"/>
              <a:gd name="connsiteX945" fmla="*/ 279734 w 5503467"/>
              <a:gd name="connsiteY945" fmla="*/ 3841541 h 6857999"/>
              <a:gd name="connsiteX946" fmla="*/ 279388 w 5503467"/>
              <a:gd name="connsiteY946" fmla="*/ 3841315 h 6857999"/>
              <a:gd name="connsiteX947" fmla="*/ 151986 w 5503467"/>
              <a:gd name="connsiteY947" fmla="*/ 3834830 h 6857999"/>
              <a:gd name="connsiteX948" fmla="*/ 157348 w 5503467"/>
              <a:gd name="connsiteY948" fmla="*/ 3840136 h 6857999"/>
              <a:gd name="connsiteX949" fmla="*/ 157626 w 5503467"/>
              <a:gd name="connsiteY949" fmla="*/ 3839930 h 6857999"/>
              <a:gd name="connsiteX950" fmla="*/ 158495 w 5503467"/>
              <a:gd name="connsiteY950" fmla="*/ 3839073 h 6857999"/>
              <a:gd name="connsiteX951" fmla="*/ 155861 w 5503467"/>
              <a:gd name="connsiteY951" fmla="*/ 3836061 h 6857999"/>
              <a:gd name="connsiteX952" fmla="*/ 151986 w 5503467"/>
              <a:gd name="connsiteY952" fmla="*/ 3834830 h 6857999"/>
              <a:gd name="connsiteX953" fmla="*/ 267589 w 5503467"/>
              <a:gd name="connsiteY953" fmla="*/ 3828313 h 6857999"/>
              <a:gd name="connsiteX954" fmla="*/ 266935 w 5503467"/>
              <a:gd name="connsiteY954" fmla="*/ 3829443 h 6857999"/>
              <a:gd name="connsiteX955" fmla="*/ 268425 w 5503467"/>
              <a:gd name="connsiteY955" fmla="*/ 3829638 h 6857999"/>
              <a:gd name="connsiteX956" fmla="*/ 267804 w 5503467"/>
              <a:gd name="connsiteY956" fmla="*/ 3828586 h 6857999"/>
              <a:gd name="connsiteX957" fmla="*/ 267589 w 5503467"/>
              <a:gd name="connsiteY957" fmla="*/ 3828313 h 6857999"/>
              <a:gd name="connsiteX958" fmla="*/ 116279 w 5503467"/>
              <a:gd name="connsiteY958" fmla="*/ 3824352 h 6857999"/>
              <a:gd name="connsiteX959" fmla="*/ 131399 w 5503467"/>
              <a:gd name="connsiteY959" fmla="*/ 3841847 h 6857999"/>
              <a:gd name="connsiteX960" fmla="*/ 116279 w 5503467"/>
              <a:gd name="connsiteY960" fmla="*/ 3824352 h 6857999"/>
              <a:gd name="connsiteX961" fmla="*/ 409959 w 5503467"/>
              <a:gd name="connsiteY961" fmla="*/ 3778963 h 6857999"/>
              <a:gd name="connsiteX962" fmla="*/ 409865 w 5503467"/>
              <a:gd name="connsiteY962" fmla="*/ 3779680 h 6857999"/>
              <a:gd name="connsiteX963" fmla="*/ 410363 w 5503467"/>
              <a:gd name="connsiteY963" fmla="*/ 3779744 h 6857999"/>
              <a:gd name="connsiteX964" fmla="*/ 410455 w 5503467"/>
              <a:gd name="connsiteY964" fmla="*/ 3779028 h 6857999"/>
              <a:gd name="connsiteX965" fmla="*/ 67100 w 5503467"/>
              <a:gd name="connsiteY965" fmla="*/ 3777918 h 6857999"/>
              <a:gd name="connsiteX966" fmla="*/ 67782 w 5503467"/>
              <a:gd name="connsiteY966" fmla="*/ 3778494 h 6857999"/>
              <a:gd name="connsiteX967" fmla="*/ 67253 w 5503467"/>
              <a:gd name="connsiteY967" fmla="*/ 3778667 h 6857999"/>
              <a:gd name="connsiteX968" fmla="*/ 67100 w 5503467"/>
              <a:gd name="connsiteY968" fmla="*/ 3777918 h 6857999"/>
              <a:gd name="connsiteX969" fmla="*/ 398187 w 5503467"/>
              <a:gd name="connsiteY969" fmla="*/ 3758995 h 6857999"/>
              <a:gd name="connsiteX970" fmla="*/ 398776 w 5503467"/>
              <a:gd name="connsiteY970" fmla="*/ 3760286 h 6857999"/>
              <a:gd name="connsiteX971" fmla="*/ 399427 w 5503467"/>
              <a:gd name="connsiteY971" fmla="*/ 3759157 h 6857999"/>
              <a:gd name="connsiteX972" fmla="*/ 181037 w 5503467"/>
              <a:gd name="connsiteY972" fmla="*/ 3751300 h 6857999"/>
              <a:gd name="connsiteX973" fmla="*/ 181002 w 5503467"/>
              <a:gd name="connsiteY973" fmla="*/ 3755419 h 6857999"/>
              <a:gd name="connsiteX974" fmla="*/ 226496 w 5503467"/>
              <a:gd name="connsiteY974" fmla="*/ 3797247 h 6857999"/>
              <a:gd name="connsiteX975" fmla="*/ 226279 w 5503467"/>
              <a:gd name="connsiteY975" fmla="*/ 3796978 h 6857999"/>
              <a:gd name="connsiteX976" fmla="*/ 240223 w 5503467"/>
              <a:gd name="connsiteY976" fmla="*/ 3806071 h 6857999"/>
              <a:gd name="connsiteX977" fmla="*/ 244320 w 5503467"/>
              <a:gd name="connsiteY977" fmla="*/ 3793992 h 6857999"/>
              <a:gd name="connsiteX978" fmla="*/ 217021 w 5503467"/>
              <a:gd name="connsiteY978" fmla="*/ 3769330 h 6857999"/>
              <a:gd name="connsiteX979" fmla="*/ 207258 w 5503467"/>
              <a:gd name="connsiteY979" fmla="*/ 3764904 h 6857999"/>
              <a:gd name="connsiteX980" fmla="*/ 214694 w 5503467"/>
              <a:gd name="connsiteY980" fmla="*/ 3771695 h 6857999"/>
              <a:gd name="connsiteX981" fmla="*/ 212368 w 5503467"/>
              <a:gd name="connsiteY981" fmla="*/ 3774061 h 6857999"/>
              <a:gd name="connsiteX982" fmla="*/ 201306 w 5503467"/>
              <a:gd name="connsiteY982" fmla="*/ 3764128 h 6857999"/>
              <a:gd name="connsiteX983" fmla="*/ 202762 w 5503467"/>
              <a:gd name="connsiteY983" fmla="*/ 3762621 h 6857999"/>
              <a:gd name="connsiteX984" fmla="*/ 194241 w 5503467"/>
              <a:gd name="connsiteY984" fmla="*/ 3756416 h 6857999"/>
              <a:gd name="connsiteX985" fmla="*/ 181037 w 5503467"/>
              <a:gd name="connsiteY985" fmla="*/ 3751300 h 6857999"/>
              <a:gd name="connsiteX986" fmla="*/ 324213 w 5503467"/>
              <a:gd name="connsiteY986" fmla="*/ 3701568 h 6857999"/>
              <a:gd name="connsiteX987" fmla="*/ 324182 w 5503467"/>
              <a:gd name="connsiteY987" fmla="*/ 3705687 h 6857999"/>
              <a:gd name="connsiteX988" fmla="*/ 338808 w 5503467"/>
              <a:gd name="connsiteY988" fmla="*/ 3719236 h 6857999"/>
              <a:gd name="connsiteX989" fmla="*/ 335337 w 5503467"/>
              <a:gd name="connsiteY989" fmla="*/ 3711022 h 6857999"/>
              <a:gd name="connsiteX990" fmla="*/ 341288 w 5503467"/>
              <a:gd name="connsiteY990" fmla="*/ 3721500 h 6857999"/>
              <a:gd name="connsiteX991" fmla="*/ 369702 w 5503467"/>
              <a:gd name="connsiteY991" fmla="*/ 3747278 h 6857999"/>
              <a:gd name="connsiteX992" fmla="*/ 369424 w 5503467"/>
              <a:gd name="connsiteY992" fmla="*/ 3747483 h 6857999"/>
              <a:gd name="connsiteX993" fmla="*/ 383370 w 5503467"/>
              <a:gd name="connsiteY993" fmla="*/ 3756579 h 6857999"/>
              <a:gd name="connsiteX994" fmla="*/ 387468 w 5503467"/>
              <a:gd name="connsiteY994" fmla="*/ 3744501 h 6857999"/>
              <a:gd name="connsiteX995" fmla="*/ 364691 w 5503467"/>
              <a:gd name="connsiteY995" fmla="*/ 3721885 h 6857999"/>
              <a:gd name="connsiteX996" fmla="*/ 364412 w 5503467"/>
              <a:gd name="connsiteY996" fmla="*/ 3722090 h 6857999"/>
              <a:gd name="connsiteX997" fmla="*/ 363978 w 5503467"/>
              <a:gd name="connsiteY997" fmla="*/ 3721548 h 6857999"/>
              <a:gd name="connsiteX998" fmla="*/ 360166 w 5503467"/>
              <a:gd name="connsiteY998" fmla="*/ 3719839 h 6857999"/>
              <a:gd name="connsiteX999" fmla="*/ 337417 w 5503467"/>
              <a:gd name="connsiteY999" fmla="*/ 3706686 h 6857999"/>
              <a:gd name="connsiteX1000" fmla="*/ 324213 w 5503467"/>
              <a:gd name="connsiteY1000" fmla="*/ 3701568 h 6857999"/>
              <a:gd name="connsiteX1001" fmla="*/ 57095 w 5503467"/>
              <a:gd name="connsiteY1001" fmla="*/ 3682505 h 6857999"/>
              <a:gd name="connsiteX1002" fmla="*/ 74669 w 5503467"/>
              <a:gd name="connsiteY1002" fmla="*/ 3692802 h 6857999"/>
              <a:gd name="connsiteX1003" fmla="*/ 57095 w 5503467"/>
              <a:gd name="connsiteY1003" fmla="*/ 3682505 h 6857999"/>
              <a:gd name="connsiteX1004" fmla="*/ 534852 w 5503467"/>
              <a:gd name="connsiteY1004" fmla="*/ 3639291 h 6857999"/>
              <a:gd name="connsiteX1005" fmla="*/ 529674 w 5503467"/>
              <a:gd name="connsiteY1005" fmla="*/ 3642251 h 6857999"/>
              <a:gd name="connsiteX1006" fmla="*/ 531685 w 5503467"/>
              <a:gd name="connsiteY1006" fmla="*/ 3650033 h 6857999"/>
              <a:gd name="connsiteX1007" fmla="*/ 528217 w 5503467"/>
              <a:gd name="connsiteY1007" fmla="*/ 3647641 h 6857999"/>
              <a:gd name="connsiteX1008" fmla="*/ 527966 w 5503467"/>
              <a:gd name="connsiteY1008" fmla="*/ 3647609 h 6857999"/>
              <a:gd name="connsiteX1009" fmla="*/ 534871 w 5503467"/>
              <a:gd name="connsiteY1009" fmla="*/ 3673976 h 6857999"/>
              <a:gd name="connsiteX1010" fmla="*/ 545726 w 5503467"/>
              <a:gd name="connsiteY1010" fmla="*/ 3660355 h 6857999"/>
              <a:gd name="connsiteX1011" fmla="*/ 544239 w 5503467"/>
              <a:gd name="connsiteY1011" fmla="*/ 3654339 h 6857999"/>
              <a:gd name="connsiteX1012" fmla="*/ 540433 w 5503467"/>
              <a:gd name="connsiteY1012" fmla="*/ 3640989 h 6857999"/>
              <a:gd name="connsiteX1013" fmla="*/ 540216 w 5503467"/>
              <a:gd name="connsiteY1013" fmla="*/ 3640716 h 6857999"/>
              <a:gd name="connsiteX1014" fmla="*/ 534852 w 5503467"/>
              <a:gd name="connsiteY1014" fmla="*/ 3639291 h 6857999"/>
              <a:gd name="connsiteX1015" fmla="*/ 428152 w 5503467"/>
              <a:gd name="connsiteY1015" fmla="*/ 3637505 h 6857999"/>
              <a:gd name="connsiteX1016" fmla="*/ 428802 w 5503467"/>
              <a:gd name="connsiteY1016" fmla="*/ 3638317 h 6857999"/>
              <a:gd name="connsiteX1017" fmla="*/ 428896 w 5503467"/>
              <a:gd name="connsiteY1017" fmla="*/ 3637602 h 6857999"/>
              <a:gd name="connsiteX1018" fmla="*/ 200275 w 5503467"/>
              <a:gd name="connsiteY1018" fmla="*/ 3632775 h 6857999"/>
              <a:gd name="connsiteX1019" fmla="*/ 217845 w 5503467"/>
              <a:gd name="connsiteY1019" fmla="*/ 3643070 h 6857999"/>
              <a:gd name="connsiteX1020" fmla="*/ 200275 w 5503467"/>
              <a:gd name="connsiteY1020" fmla="*/ 3632775 h 6857999"/>
              <a:gd name="connsiteX1021" fmla="*/ 536938 w 5503467"/>
              <a:gd name="connsiteY1021" fmla="*/ 3543997 h 6857999"/>
              <a:gd name="connsiteX1022" fmla="*/ 536907 w 5503467"/>
              <a:gd name="connsiteY1022" fmla="*/ 3544235 h 6857999"/>
              <a:gd name="connsiteX1023" fmla="*/ 538177 w 5503467"/>
              <a:gd name="connsiteY1023" fmla="*/ 3548040 h 6857999"/>
              <a:gd name="connsiteX1024" fmla="*/ 539727 w 5503467"/>
              <a:gd name="connsiteY1024" fmla="*/ 3545817 h 6857999"/>
              <a:gd name="connsiteX1025" fmla="*/ 536938 w 5503467"/>
              <a:gd name="connsiteY1025" fmla="*/ 3543997 h 6857999"/>
              <a:gd name="connsiteX1026" fmla="*/ 548875 w 5503467"/>
              <a:gd name="connsiteY1026" fmla="*/ 3539490 h 6857999"/>
              <a:gd name="connsiteX1027" fmla="*/ 549309 w 5503467"/>
              <a:gd name="connsiteY1027" fmla="*/ 3540030 h 6857999"/>
              <a:gd name="connsiteX1028" fmla="*/ 550610 w 5503467"/>
              <a:gd name="connsiteY1028" fmla="*/ 3539716 h 6857999"/>
              <a:gd name="connsiteX1029" fmla="*/ 548875 w 5503467"/>
              <a:gd name="connsiteY1029" fmla="*/ 3539490 h 6857999"/>
              <a:gd name="connsiteX1030" fmla="*/ 570233 w 5503467"/>
              <a:gd name="connsiteY1030" fmla="*/ 3538153 h 6857999"/>
              <a:gd name="connsiteX1031" fmla="*/ 566203 w 5503467"/>
              <a:gd name="connsiteY1031" fmla="*/ 3540050 h 6857999"/>
              <a:gd name="connsiteX1032" fmla="*/ 567782 w 5503467"/>
              <a:gd name="connsiteY1032" fmla="*/ 3543409 h 6857999"/>
              <a:gd name="connsiteX1033" fmla="*/ 573891 w 5503467"/>
              <a:gd name="connsiteY1033" fmla="*/ 3544935 h 6857999"/>
              <a:gd name="connsiteX1034" fmla="*/ 570233 w 5503467"/>
              <a:gd name="connsiteY1034" fmla="*/ 3538153 h 6857999"/>
              <a:gd name="connsiteX1035" fmla="*/ 333399 w 5503467"/>
              <a:gd name="connsiteY1035" fmla="*/ 3373869 h 6857999"/>
              <a:gd name="connsiteX1036" fmla="*/ 332593 w 5503467"/>
              <a:gd name="connsiteY1036" fmla="*/ 3376190 h 6857999"/>
              <a:gd name="connsiteX1037" fmla="*/ 334570 w 5503467"/>
              <a:gd name="connsiteY1037" fmla="*/ 3384211 h 6857999"/>
              <a:gd name="connsiteX1038" fmla="*/ 347595 w 5503467"/>
              <a:gd name="connsiteY1038" fmla="*/ 3379117 h 6857999"/>
              <a:gd name="connsiteX1039" fmla="*/ 333399 w 5503467"/>
              <a:gd name="connsiteY1039" fmla="*/ 3373869 h 6857999"/>
              <a:gd name="connsiteX1040" fmla="*/ 355661 w 5503467"/>
              <a:gd name="connsiteY1040" fmla="*/ 3365616 h 6857999"/>
              <a:gd name="connsiteX1041" fmla="*/ 351688 w 5503467"/>
              <a:gd name="connsiteY1041" fmla="*/ 3376740 h 6857999"/>
              <a:gd name="connsiteX1042" fmla="*/ 357114 w 5503467"/>
              <a:gd name="connsiteY1042" fmla="*/ 3371868 h 6857999"/>
              <a:gd name="connsiteX1043" fmla="*/ 360184 w 5503467"/>
              <a:gd name="connsiteY1043" fmla="*/ 3371540 h 6857999"/>
              <a:gd name="connsiteX1044" fmla="*/ 355907 w 5503467"/>
              <a:gd name="connsiteY1044" fmla="*/ 3365648 h 6857999"/>
              <a:gd name="connsiteX1045" fmla="*/ 513891 w 5503467"/>
              <a:gd name="connsiteY1045" fmla="*/ 3345498 h 6857999"/>
              <a:gd name="connsiteX1046" fmla="*/ 510166 w 5503467"/>
              <a:gd name="connsiteY1046" fmla="*/ 3362474 h 6857999"/>
              <a:gd name="connsiteX1047" fmla="*/ 525746 w 5503467"/>
              <a:gd name="connsiteY1047" fmla="*/ 3391915 h 6857999"/>
              <a:gd name="connsiteX1048" fmla="*/ 507275 w 5503467"/>
              <a:gd name="connsiteY1048" fmla="*/ 3382716 h 6857999"/>
              <a:gd name="connsiteX1049" fmla="*/ 506527 w 5503467"/>
              <a:gd name="connsiteY1049" fmla="*/ 3390380 h 6857999"/>
              <a:gd name="connsiteX1050" fmla="*/ 518302 w 5503467"/>
              <a:gd name="connsiteY1050" fmla="*/ 3402587 h 6857999"/>
              <a:gd name="connsiteX1051" fmla="*/ 521494 w 5503467"/>
              <a:gd name="connsiteY1051" fmla="*/ 3403245 h 6857999"/>
              <a:gd name="connsiteX1052" fmla="*/ 522733 w 5503467"/>
              <a:gd name="connsiteY1052" fmla="*/ 3407287 h 6857999"/>
              <a:gd name="connsiteX1053" fmla="*/ 523415 w 5503467"/>
              <a:gd name="connsiteY1053" fmla="*/ 3407863 h 6857999"/>
              <a:gd name="connsiteX1054" fmla="*/ 530882 w 5503467"/>
              <a:gd name="connsiteY1054" fmla="*/ 3418294 h 6857999"/>
              <a:gd name="connsiteX1055" fmla="*/ 533976 w 5503467"/>
              <a:gd name="connsiteY1055" fmla="*/ 3429370 h 6857999"/>
              <a:gd name="connsiteX1056" fmla="*/ 538531 w 5503467"/>
              <a:gd name="connsiteY1056" fmla="*/ 3438937 h 6857999"/>
              <a:gd name="connsiteX1057" fmla="*/ 540822 w 5503467"/>
              <a:gd name="connsiteY1057" fmla="*/ 3440692 h 6857999"/>
              <a:gd name="connsiteX1058" fmla="*/ 556313 w 5503467"/>
              <a:gd name="connsiteY1058" fmla="*/ 3461145 h 6857999"/>
              <a:gd name="connsiteX1059" fmla="*/ 556035 w 5503467"/>
              <a:gd name="connsiteY1059" fmla="*/ 3461352 h 6857999"/>
              <a:gd name="connsiteX1060" fmla="*/ 560932 w 5503467"/>
              <a:gd name="connsiteY1060" fmla="*/ 3466357 h 6857999"/>
              <a:gd name="connsiteX1061" fmla="*/ 558548 w 5503467"/>
              <a:gd name="connsiteY1061" fmla="*/ 3461437 h 6857999"/>
              <a:gd name="connsiteX1062" fmla="*/ 571075 w 5503467"/>
              <a:gd name="connsiteY1062" fmla="*/ 3448517 h 6857999"/>
              <a:gd name="connsiteX1063" fmla="*/ 571355 w 5503467"/>
              <a:gd name="connsiteY1063" fmla="*/ 3446372 h 6857999"/>
              <a:gd name="connsiteX1064" fmla="*/ 565100 w 5503467"/>
              <a:gd name="connsiteY1064" fmla="*/ 3434398 h 6857999"/>
              <a:gd name="connsiteX1065" fmla="*/ 566461 w 5503467"/>
              <a:gd name="connsiteY1065" fmla="*/ 3435546 h 6857999"/>
              <a:gd name="connsiteX1066" fmla="*/ 522319 w 5503467"/>
              <a:gd name="connsiteY1066" fmla="*/ 3356300 h 6857999"/>
              <a:gd name="connsiteX1067" fmla="*/ 513891 w 5503467"/>
              <a:gd name="connsiteY1067" fmla="*/ 3345498 h 6857999"/>
              <a:gd name="connsiteX1068" fmla="*/ 544832 w 5503467"/>
              <a:gd name="connsiteY1068" fmla="*/ 3340315 h 6857999"/>
              <a:gd name="connsiteX1069" fmla="*/ 542962 w 5503467"/>
              <a:gd name="connsiteY1069" fmla="*/ 3341901 h 6857999"/>
              <a:gd name="connsiteX1070" fmla="*/ 542879 w 5503467"/>
              <a:gd name="connsiteY1070" fmla="*/ 3341759 h 6857999"/>
              <a:gd name="connsiteX1071" fmla="*/ 542849 w 5503467"/>
              <a:gd name="connsiteY1071" fmla="*/ 3341996 h 6857999"/>
              <a:gd name="connsiteX1072" fmla="*/ 542962 w 5503467"/>
              <a:gd name="connsiteY1072" fmla="*/ 3341901 h 6857999"/>
              <a:gd name="connsiteX1073" fmla="*/ 545139 w 5503467"/>
              <a:gd name="connsiteY1073" fmla="*/ 3345692 h 6857999"/>
              <a:gd name="connsiteX1074" fmla="*/ 547373 w 5503467"/>
              <a:gd name="connsiteY1074" fmla="*/ 3342102 h 6857999"/>
              <a:gd name="connsiteX1075" fmla="*/ 544832 w 5503467"/>
              <a:gd name="connsiteY1075" fmla="*/ 3340315 h 6857999"/>
              <a:gd name="connsiteX1076" fmla="*/ 507696 w 5503467"/>
              <a:gd name="connsiteY1076" fmla="*/ 3331108 h 6857999"/>
              <a:gd name="connsiteX1077" fmla="*/ 505161 w 5503467"/>
              <a:gd name="connsiteY1077" fmla="*/ 3331944 h 6857999"/>
              <a:gd name="connsiteX1078" fmla="*/ 505094 w 5503467"/>
              <a:gd name="connsiteY1078" fmla="*/ 3331738 h 6857999"/>
              <a:gd name="connsiteX1079" fmla="*/ 505063 w 5503467"/>
              <a:gd name="connsiteY1079" fmla="*/ 3331977 h 6857999"/>
              <a:gd name="connsiteX1080" fmla="*/ 505161 w 5503467"/>
              <a:gd name="connsiteY1080" fmla="*/ 3331944 h 6857999"/>
              <a:gd name="connsiteX1081" fmla="*/ 507261 w 5503467"/>
              <a:gd name="connsiteY1081" fmla="*/ 3338327 h 6857999"/>
              <a:gd name="connsiteX1082" fmla="*/ 510112 w 5503467"/>
              <a:gd name="connsiteY1082" fmla="*/ 3337728 h 6857999"/>
              <a:gd name="connsiteX1083" fmla="*/ 507696 w 5503467"/>
              <a:gd name="connsiteY1083" fmla="*/ 3331108 h 6857999"/>
              <a:gd name="connsiteX1084" fmla="*/ 499086 w 5503467"/>
              <a:gd name="connsiteY1084" fmla="*/ 3315916 h 6857999"/>
              <a:gd name="connsiteX1085" fmla="*/ 497906 w 5503467"/>
              <a:gd name="connsiteY1085" fmla="*/ 3319159 h 6857999"/>
              <a:gd name="connsiteX1086" fmla="*/ 500108 w 5503467"/>
              <a:gd name="connsiteY1086" fmla="*/ 3317748 h 6857999"/>
              <a:gd name="connsiteX1087" fmla="*/ 499086 w 5503467"/>
              <a:gd name="connsiteY1087" fmla="*/ 3315916 h 6857999"/>
              <a:gd name="connsiteX1088" fmla="*/ 383622 w 5503467"/>
              <a:gd name="connsiteY1088" fmla="*/ 3216941 h 6857999"/>
              <a:gd name="connsiteX1089" fmla="*/ 380055 w 5503467"/>
              <a:gd name="connsiteY1089" fmla="*/ 3217201 h 6857999"/>
              <a:gd name="connsiteX1090" fmla="*/ 380550 w 5503467"/>
              <a:gd name="connsiteY1090" fmla="*/ 3221146 h 6857999"/>
              <a:gd name="connsiteX1091" fmla="*/ 383586 w 5503467"/>
              <a:gd name="connsiteY1091" fmla="*/ 3222999 h 6857999"/>
              <a:gd name="connsiteX1092" fmla="*/ 383622 w 5503467"/>
              <a:gd name="connsiteY1092" fmla="*/ 3216941 h 6857999"/>
              <a:gd name="connsiteX1093" fmla="*/ 461779 w 5503467"/>
              <a:gd name="connsiteY1093" fmla="*/ 3195840 h 6857999"/>
              <a:gd name="connsiteX1094" fmla="*/ 458866 w 5503467"/>
              <a:gd name="connsiteY1094" fmla="*/ 3196917 h 6857999"/>
              <a:gd name="connsiteX1095" fmla="*/ 464195 w 5503467"/>
              <a:gd name="connsiteY1095" fmla="*/ 3204404 h 6857999"/>
              <a:gd name="connsiteX1096" fmla="*/ 470457 w 5503467"/>
              <a:gd name="connsiteY1096" fmla="*/ 3202793 h 6857999"/>
              <a:gd name="connsiteX1097" fmla="*/ 461779 w 5503467"/>
              <a:gd name="connsiteY1097" fmla="*/ 3195840 h 6857999"/>
              <a:gd name="connsiteX1098" fmla="*/ 399331 w 5503467"/>
              <a:gd name="connsiteY1098" fmla="*/ 3158350 h 6857999"/>
              <a:gd name="connsiteX1099" fmla="*/ 394679 w 5503467"/>
              <a:gd name="connsiteY1099" fmla="*/ 3159200 h 6857999"/>
              <a:gd name="connsiteX1100" fmla="*/ 394677 w 5503467"/>
              <a:gd name="connsiteY1100" fmla="*/ 3166961 h 6857999"/>
              <a:gd name="connsiteX1101" fmla="*/ 399602 w 5503467"/>
              <a:gd name="connsiteY1101" fmla="*/ 3175607 h 6857999"/>
              <a:gd name="connsiteX1102" fmla="*/ 413506 w 5503467"/>
              <a:gd name="connsiteY1102" fmla="*/ 3214046 h 6857999"/>
              <a:gd name="connsiteX1103" fmla="*/ 413290 w 5503467"/>
              <a:gd name="connsiteY1103" fmla="*/ 3213773 h 6857999"/>
              <a:gd name="connsiteX1104" fmla="*/ 414931 w 5503467"/>
              <a:gd name="connsiteY1104" fmla="*/ 3216655 h 6857999"/>
              <a:gd name="connsiteX1105" fmla="*/ 418403 w 5503467"/>
              <a:gd name="connsiteY1105" fmla="*/ 3215167 h 6857999"/>
              <a:gd name="connsiteX1106" fmla="*/ 429163 w 5503467"/>
              <a:gd name="connsiteY1106" fmla="*/ 3210021 h 6857999"/>
              <a:gd name="connsiteX1107" fmla="*/ 427678 w 5503467"/>
              <a:gd name="connsiteY1107" fmla="*/ 3204006 h 6857999"/>
              <a:gd name="connsiteX1108" fmla="*/ 433967 w 5503467"/>
              <a:gd name="connsiteY1108" fmla="*/ 3207982 h 6857999"/>
              <a:gd name="connsiteX1109" fmla="*/ 439457 w 5503467"/>
              <a:gd name="connsiteY1109" fmla="*/ 3206513 h 6857999"/>
              <a:gd name="connsiteX1110" fmla="*/ 429104 w 5503467"/>
              <a:gd name="connsiteY1110" fmla="*/ 3198858 h 6857999"/>
              <a:gd name="connsiteX1111" fmla="*/ 417329 w 5503467"/>
              <a:gd name="connsiteY1111" fmla="*/ 3190532 h 6857999"/>
              <a:gd name="connsiteX1112" fmla="*/ 399331 w 5503467"/>
              <a:gd name="connsiteY1112" fmla="*/ 3158350 h 6857999"/>
              <a:gd name="connsiteX1113" fmla="*/ 430518 w 5503467"/>
              <a:gd name="connsiteY1113" fmla="*/ 3153202 h 6857999"/>
              <a:gd name="connsiteX1114" fmla="*/ 442070 w 5503467"/>
              <a:gd name="connsiteY1114" fmla="*/ 3182598 h 6857999"/>
              <a:gd name="connsiteX1115" fmla="*/ 461009 w 5503467"/>
              <a:gd name="connsiteY1115" fmla="*/ 3184342 h 6857999"/>
              <a:gd name="connsiteX1116" fmla="*/ 463026 w 5503467"/>
              <a:gd name="connsiteY1116" fmla="*/ 3180480 h 6857999"/>
              <a:gd name="connsiteX1117" fmla="*/ 430518 w 5503467"/>
              <a:gd name="connsiteY1117" fmla="*/ 3153202 h 6857999"/>
              <a:gd name="connsiteX1118" fmla="*/ 323461 w 5503467"/>
              <a:gd name="connsiteY1118" fmla="*/ 3113531 h 6857999"/>
              <a:gd name="connsiteX1119" fmla="*/ 330740 w 5503467"/>
              <a:gd name="connsiteY1119" fmla="*/ 3127334 h 6857999"/>
              <a:gd name="connsiteX1120" fmla="*/ 323461 w 5503467"/>
              <a:gd name="connsiteY1120" fmla="*/ 3113531 h 6857999"/>
              <a:gd name="connsiteX1121" fmla="*/ 417177 w 5503467"/>
              <a:gd name="connsiteY1121" fmla="*/ 3106588 h 6857999"/>
              <a:gd name="connsiteX1122" fmla="*/ 424767 w 5503467"/>
              <a:gd name="connsiteY1122" fmla="*/ 3119948 h 6857999"/>
              <a:gd name="connsiteX1123" fmla="*/ 417177 w 5503467"/>
              <a:gd name="connsiteY1123" fmla="*/ 3106588 h 6857999"/>
              <a:gd name="connsiteX1124" fmla="*/ 359554 w 5503467"/>
              <a:gd name="connsiteY1124" fmla="*/ 3092042 h 6857999"/>
              <a:gd name="connsiteX1125" fmla="*/ 355276 w 5503467"/>
              <a:gd name="connsiteY1125" fmla="*/ 3093911 h 6857999"/>
              <a:gd name="connsiteX1126" fmla="*/ 357037 w 5503467"/>
              <a:gd name="connsiteY1126" fmla="*/ 3101658 h 6857999"/>
              <a:gd name="connsiteX1127" fmla="*/ 381510 w 5503467"/>
              <a:gd name="connsiteY1127" fmla="*/ 3144142 h 6857999"/>
              <a:gd name="connsiteX1128" fmla="*/ 392918 w 5503467"/>
              <a:gd name="connsiteY1128" fmla="*/ 3147571 h 6857999"/>
              <a:gd name="connsiteX1129" fmla="*/ 359554 w 5503467"/>
              <a:gd name="connsiteY1129" fmla="*/ 3092042 h 6857999"/>
              <a:gd name="connsiteX1130" fmla="*/ 405714 w 5503467"/>
              <a:gd name="connsiteY1130" fmla="*/ 3084236 h 6857999"/>
              <a:gd name="connsiteX1131" fmla="*/ 417208 w 5503467"/>
              <a:gd name="connsiteY1131" fmla="*/ 3106351 h 6857999"/>
              <a:gd name="connsiteX1132" fmla="*/ 424092 w 5503467"/>
              <a:gd name="connsiteY1132" fmla="*/ 3098032 h 6857999"/>
              <a:gd name="connsiteX1133" fmla="*/ 424123 w 5503467"/>
              <a:gd name="connsiteY1133" fmla="*/ 3097792 h 6857999"/>
              <a:gd name="connsiteX1134" fmla="*/ 405714 w 5503467"/>
              <a:gd name="connsiteY1134" fmla="*/ 3084236 h 6857999"/>
              <a:gd name="connsiteX1135" fmla="*/ 377072 w 5503467"/>
              <a:gd name="connsiteY1135" fmla="*/ 3079530 h 6857999"/>
              <a:gd name="connsiteX1136" fmla="*/ 371055 w 5503467"/>
              <a:gd name="connsiteY1136" fmla="*/ 3090872 h 6857999"/>
              <a:gd name="connsiteX1137" fmla="*/ 390015 w 5503467"/>
              <a:gd name="connsiteY1137" fmla="*/ 3119540 h 6857999"/>
              <a:gd name="connsiteX1138" fmla="*/ 408411 w 5503467"/>
              <a:gd name="connsiteY1138" fmla="*/ 3162203 h 6857999"/>
              <a:gd name="connsiteX1139" fmla="*/ 412874 w 5503467"/>
              <a:gd name="connsiteY1139" fmla="*/ 3166664 h 6857999"/>
              <a:gd name="connsiteX1140" fmla="*/ 417898 w 5503467"/>
              <a:gd name="connsiteY1140" fmla="*/ 3162953 h 6857999"/>
              <a:gd name="connsiteX1141" fmla="*/ 415671 w 5503467"/>
              <a:gd name="connsiteY1141" fmla="*/ 3151021 h 6857999"/>
              <a:gd name="connsiteX1142" fmla="*/ 394328 w 5503467"/>
              <a:gd name="connsiteY1142" fmla="*/ 3107734 h 6857999"/>
              <a:gd name="connsiteX1143" fmla="*/ 377072 w 5503467"/>
              <a:gd name="connsiteY1143" fmla="*/ 3079530 h 6857999"/>
              <a:gd name="connsiteX1144" fmla="*/ 304173 w 5503467"/>
              <a:gd name="connsiteY1144" fmla="*/ 3050621 h 6857999"/>
              <a:gd name="connsiteX1145" fmla="*/ 302027 w 5503467"/>
              <a:gd name="connsiteY1145" fmla="*/ 3067077 h 6857999"/>
              <a:gd name="connsiteX1146" fmla="*/ 304173 w 5503467"/>
              <a:gd name="connsiteY1146" fmla="*/ 3050621 h 6857999"/>
              <a:gd name="connsiteX1147" fmla="*/ 273658 w 5503467"/>
              <a:gd name="connsiteY1147" fmla="*/ 3002256 h 6857999"/>
              <a:gd name="connsiteX1148" fmla="*/ 269038 w 5503467"/>
              <a:gd name="connsiteY1148" fmla="*/ 3002865 h 6857999"/>
              <a:gd name="connsiteX1149" fmla="*/ 270184 w 5503467"/>
              <a:gd name="connsiteY1149" fmla="*/ 3007624 h 6857999"/>
              <a:gd name="connsiteX1150" fmla="*/ 270431 w 5503467"/>
              <a:gd name="connsiteY1150" fmla="*/ 3007656 h 6857999"/>
              <a:gd name="connsiteX1151" fmla="*/ 276787 w 5503467"/>
              <a:gd name="connsiteY1151" fmla="*/ 3009213 h 6857999"/>
              <a:gd name="connsiteX1152" fmla="*/ 273658 w 5503467"/>
              <a:gd name="connsiteY1152" fmla="*/ 3002256 h 6857999"/>
              <a:gd name="connsiteX1153" fmla="*/ 313156 w 5503467"/>
              <a:gd name="connsiteY1153" fmla="*/ 2991399 h 6857999"/>
              <a:gd name="connsiteX1154" fmla="*/ 313125 w 5503467"/>
              <a:gd name="connsiteY1154" fmla="*/ 2991637 h 6857999"/>
              <a:gd name="connsiteX1155" fmla="*/ 319592 w 5503467"/>
              <a:gd name="connsiteY1155" fmla="*/ 3017463 h 6857999"/>
              <a:gd name="connsiteX1156" fmla="*/ 322848 w 5503467"/>
              <a:gd name="connsiteY1156" fmla="*/ 3015703 h 6857999"/>
              <a:gd name="connsiteX1157" fmla="*/ 313156 w 5503467"/>
              <a:gd name="connsiteY1157" fmla="*/ 2991399 h 6857999"/>
              <a:gd name="connsiteX1158" fmla="*/ 261236 w 5503467"/>
              <a:gd name="connsiteY1158" fmla="*/ 2981474 h 6857999"/>
              <a:gd name="connsiteX1159" fmla="*/ 258072 w 5503467"/>
              <a:gd name="connsiteY1159" fmla="*/ 2984458 h 6857999"/>
              <a:gd name="connsiteX1160" fmla="*/ 263868 w 5503467"/>
              <a:gd name="connsiteY1160" fmla="*/ 2990306 h 6857999"/>
              <a:gd name="connsiteX1161" fmla="*/ 266132 w 5503467"/>
              <a:gd name="connsiteY1161" fmla="*/ 2988420 h 6857999"/>
              <a:gd name="connsiteX1162" fmla="*/ 261236 w 5503467"/>
              <a:gd name="connsiteY1162" fmla="*/ 2981474 h 6857999"/>
              <a:gd name="connsiteX1163" fmla="*/ 303769 w 5503467"/>
              <a:gd name="connsiteY1163" fmla="*/ 2976347 h 6857999"/>
              <a:gd name="connsiteX1164" fmla="*/ 302596 w 5503467"/>
              <a:gd name="connsiteY1164" fmla="*/ 2983473 h 6857999"/>
              <a:gd name="connsiteX1165" fmla="*/ 302588 w 5503467"/>
              <a:gd name="connsiteY1165" fmla="*/ 2983471 h 6857999"/>
              <a:gd name="connsiteX1166" fmla="*/ 302556 w 5503467"/>
              <a:gd name="connsiteY1166" fmla="*/ 2983709 h 6857999"/>
              <a:gd name="connsiteX1167" fmla="*/ 302596 w 5503467"/>
              <a:gd name="connsiteY1167" fmla="*/ 2983473 h 6857999"/>
              <a:gd name="connsiteX1168" fmla="*/ 309905 w 5503467"/>
              <a:gd name="connsiteY1168" fmla="*/ 2985396 h 6857999"/>
              <a:gd name="connsiteX1169" fmla="*/ 312510 w 5503467"/>
              <a:gd name="connsiteY1169" fmla="*/ 2977004 h 6857999"/>
              <a:gd name="connsiteX1170" fmla="*/ 303769 w 5503467"/>
              <a:gd name="connsiteY1170" fmla="*/ 2976347 h 6857999"/>
              <a:gd name="connsiteX1171" fmla="*/ 235374 w 5503467"/>
              <a:gd name="connsiteY1171" fmla="*/ 2920619 h 6857999"/>
              <a:gd name="connsiteX1172" fmla="*/ 257121 w 5503467"/>
              <a:gd name="connsiteY1172" fmla="*/ 2958868 h 6857999"/>
              <a:gd name="connsiteX1173" fmla="*/ 235374 w 5503467"/>
              <a:gd name="connsiteY1173" fmla="*/ 2920619 h 6857999"/>
              <a:gd name="connsiteX1174" fmla="*/ 199755 w 5503467"/>
              <a:gd name="connsiteY1174" fmla="*/ 2845634 h 6857999"/>
              <a:gd name="connsiteX1175" fmla="*/ 212324 w 5503467"/>
              <a:gd name="connsiteY1175" fmla="*/ 2890448 h 6857999"/>
              <a:gd name="connsiteX1176" fmla="*/ 212603 w 5503467"/>
              <a:gd name="connsiteY1176" fmla="*/ 2890242 h 6857999"/>
              <a:gd name="connsiteX1177" fmla="*/ 228403 w 5503467"/>
              <a:gd name="connsiteY1177" fmla="*/ 2912190 h 6857999"/>
              <a:gd name="connsiteX1178" fmla="*/ 230453 w 5503467"/>
              <a:gd name="connsiteY1178" fmla="*/ 2906152 h 6857999"/>
              <a:gd name="connsiteX1179" fmla="*/ 212303 w 5503467"/>
              <a:gd name="connsiteY1179" fmla="*/ 2863522 h 6857999"/>
              <a:gd name="connsiteX1180" fmla="*/ 199755 w 5503467"/>
              <a:gd name="connsiteY1180" fmla="*/ 2845634 h 6857999"/>
              <a:gd name="connsiteX1181" fmla="*/ 185047 w 5503467"/>
              <a:gd name="connsiteY1181" fmla="*/ 2803695 h 6857999"/>
              <a:gd name="connsiteX1182" fmla="*/ 197774 w 5503467"/>
              <a:gd name="connsiteY1182" fmla="*/ 2837616 h 6857999"/>
              <a:gd name="connsiteX1183" fmla="*/ 200998 w 5503467"/>
              <a:gd name="connsiteY1183" fmla="*/ 2836096 h 6857999"/>
              <a:gd name="connsiteX1184" fmla="*/ 185047 w 5503467"/>
              <a:gd name="connsiteY1184" fmla="*/ 2803695 h 6857999"/>
              <a:gd name="connsiteX1185" fmla="*/ 174045 w 5503467"/>
              <a:gd name="connsiteY1185" fmla="*/ 2717854 h 6857999"/>
              <a:gd name="connsiteX1186" fmla="*/ 173268 w 5503467"/>
              <a:gd name="connsiteY1186" fmla="*/ 2723819 h 6857999"/>
              <a:gd name="connsiteX1187" fmla="*/ 173550 w 5503467"/>
              <a:gd name="connsiteY1187" fmla="*/ 2723611 h 6857999"/>
              <a:gd name="connsiteX1188" fmla="*/ 179530 w 5503467"/>
              <a:gd name="connsiteY1188" fmla="*/ 2726089 h 6857999"/>
              <a:gd name="connsiteX1189" fmla="*/ 181609 w 5503467"/>
              <a:gd name="connsiteY1189" fmla="*/ 2719811 h 6857999"/>
              <a:gd name="connsiteX1190" fmla="*/ 174045 w 5503467"/>
              <a:gd name="connsiteY1190" fmla="*/ 2717854 h 6857999"/>
              <a:gd name="connsiteX1191" fmla="*/ 163468 w 5503467"/>
              <a:gd name="connsiteY1191" fmla="*/ 2659720 h 6857999"/>
              <a:gd name="connsiteX1192" fmla="*/ 173377 w 5503467"/>
              <a:gd name="connsiteY1192" fmla="*/ 2684297 h 6857999"/>
              <a:gd name="connsiteX1193" fmla="*/ 163468 w 5503467"/>
              <a:gd name="connsiteY1193" fmla="*/ 2659720 h 6857999"/>
              <a:gd name="connsiteX1194" fmla="*/ 112102 w 5503467"/>
              <a:gd name="connsiteY1194" fmla="*/ 2657145 h 6857999"/>
              <a:gd name="connsiteX1195" fmla="*/ 115817 w 5503467"/>
              <a:gd name="connsiteY1195" fmla="*/ 2669271 h 6857999"/>
              <a:gd name="connsiteX1196" fmla="*/ 119600 w 5503467"/>
              <a:gd name="connsiteY1196" fmla="*/ 2667340 h 6857999"/>
              <a:gd name="connsiteX1197" fmla="*/ 112349 w 5503467"/>
              <a:gd name="connsiteY1197" fmla="*/ 2657178 h 6857999"/>
              <a:gd name="connsiteX1198" fmla="*/ 136049 w 5503467"/>
              <a:gd name="connsiteY1198" fmla="*/ 2618548 h 6857999"/>
              <a:gd name="connsiteX1199" fmla="*/ 140786 w 5503467"/>
              <a:gd name="connsiteY1199" fmla="*/ 2636389 h 6857999"/>
              <a:gd name="connsiteX1200" fmla="*/ 136049 w 5503467"/>
              <a:gd name="connsiteY1200" fmla="*/ 2618548 h 6857999"/>
              <a:gd name="connsiteX1201" fmla="*/ 168666 w 5503467"/>
              <a:gd name="connsiteY1201" fmla="*/ 2459325 h 6857999"/>
              <a:gd name="connsiteX1202" fmla="*/ 182357 w 5503467"/>
              <a:gd name="connsiteY1202" fmla="*/ 2481968 h 6857999"/>
              <a:gd name="connsiteX1203" fmla="*/ 168666 w 5503467"/>
              <a:gd name="connsiteY1203" fmla="*/ 2459325 h 6857999"/>
              <a:gd name="connsiteX1204" fmla="*/ 213326 w 5503467"/>
              <a:gd name="connsiteY1204" fmla="*/ 2410814 h 6857999"/>
              <a:gd name="connsiteX1205" fmla="*/ 219860 w 5503467"/>
              <a:gd name="connsiteY1205" fmla="*/ 2424524 h 6857999"/>
              <a:gd name="connsiteX1206" fmla="*/ 216789 w 5503467"/>
              <a:gd name="connsiteY1206" fmla="*/ 2426789 h 6857999"/>
              <a:gd name="connsiteX1207" fmla="*/ 206379 w 5503467"/>
              <a:gd name="connsiteY1207" fmla="*/ 2417672 h 6857999"/>
              <a:gd name="connsiteX1208" fmla="*/ 204168 w 5503467"/>
              <a:gd name="connsiteY1208" fmla="*/ 2419917 h 6857999"/>
              <a:gd name="connsiteX1209" fmla="*/ 204083 w 5503467"/>
              <a:gd name="connsiteY1209" fmla="*/ 2419798 h 6857999"/>
              <a:gd name="connsiteX1210" fmla="*/ 204053 w 5503467"/>
              <a:gd name="connsiteY1210" fmla="*/ 2420035 h 6857999"/>
              <a:gd name="connsiteX1211" fmla="*/ 204168 w 5503467"/>
              <a:gd name="connsiteY1211" fmla="*/ 2419917 h 6857999"/>
              <a:gd name="connsiteX1212" fmla="*/ 222608 w 5503467"/>
              <a:gd name="connsiteY1212" fmla="*/ 2445984 h 6857999"/>
              <a:gd name="connsiteX1213" fmla="*/ 224716 w 5503467"/>
              <a:gd name="connsiteY1213" fmla="*/ 2445288 h 6857999"/>
              <a:gd name="connsiteX1214" fmla="*/ 222927 w 5503467"/>
              <a:gd name="connsiteY1214" fmla="*/ 2430017 h 6857999"/>
              <a:gd name="connsiteX1215" fmla="*/ 233935 w 5503467"/>
              <a:gd name="connsiteY1215" fmla="*/ 2422961 h 6857999"/>
              <a:gd name="connsiteX1216" fmla="*/ 213326 w 5503467"/>
              <a:gd name="connsiteY1216" fmla="*/ 2410814 h 6857999"/>
              <a:gd name="connsiteX1217" fmla="*/ 271236 w 5503467"/>
              <a:gd name="connsiteY1217" fmla="*/ 2401874 h 6857999"/>
              <a:gd name="connsiteX1218" fmla="*/ 262585 w 5503467"/>
              <a:gd name="connsiteY1218" fmla="*/ 2406323 h 6857999"/>
              <a:gd name="connsiteX1219" fmla="*/ 263980 w 5503467"/>
              <a:gd name="connsiteY1219" fmla="*/ 2409173 h 6857999"/>
              <a:gd name="connsiteX1220" fmla="*/ 272815 w 5503467"/>
              <a:gd name="connsiteY1220" fmla="*/ 2405232 h 6857999"/>
              <a:gd name="connsiteX1221" fmla="*/ 271236 w 5503467"/>
              <a:gd name="connsiteY1221" fmla="*/ 2401874 h 6857999"/>
              <a:gd name="connsiteX1222" fmla="*/ 239636 w 5503467"/>
              <a:gd name="connsiteY1222" fmla="*/ 2388415 h 6857999"/>
              <a:gd name="connsiteX1223" fmla="*/ 229945 w 5503467"/>
              <a:gd name="connsiteY1223" fmla="*/ 2391639 h 6857999"/>
              <a:gd name="connsiteX1224" fmla="*/ 248483 w 5503467"/>
              <a:gd name="connsiteY1224" fmla="*/ 2394541 h 6857999"/>
              <a:gd name="connsiteX1225" fmla="*/ 239636 w 5503467"/>
              <a:gd name="connsiteY1225" fmla="*/ 2388415 h 6857999"/>
              <a:gd name="connsiteX1226" fmla="*/ 263151 w 5503467"/>
              <a:gd name="connsiteY1226" fmla="*/ 2382629 h 6857999"/>
              <a:gd name="connsiteX1227" fmla="*/ 260764 w 5503467"/>
              <a:gd name="connsiteY1227" fmla="*/ 2383530 h 6857999"/>
              <a:gd name="connsiteX1228" fmla="*/ 263953 w 5503467"/>
              <a:gd name="connsiteY1228" fmla="*/ 2395830 h 6857999"/>
              <a:gd name="connsiteX1229" fmla="*/ 268853 w 5503467"/>
              <a:gd name="connsiteY1229" fmla="*/ 2395014 h 6857999"/>
              <a:gd name="connsiteX1230" fmla="*/ 263151 w 5503467"/>
              <a:gd name="connsiteY1230" fmla="*/ 2382629 h 6857999"/>
              <a:gd name="connsiteX1231" fmla="*/ 507327 w 5503467"/>
              <a:gd name="connsiteY1231" fmla="*/ 2260446 h 6857999"/>
              <a:gd name="connsiteX1232" fmla="*/ 505311 w 5503467"/>
              <a:gd name="connsiteY1232" fmla="*/ 2262365 h 6857999"/>
              <a:gd name="connsiteX1233" fmla="*/ 505063 w 5503467"/>
              <a:gd name="connsiteY1233" fmla="*/ 2262333 h 6857999"/>
              <a:gd name="connsiteX1234" fmla="*/ 511909 w 5503467"/>
              <a:gd name="connsiteY1234" fmla="*/ 2269775 h 6857999"/>
              <a:gd name="connsiteX1235" fmla="*/ 514485 w 5503467"/>
              <a:gd name="connsiteY1235" fmla="*/ 2267443 h 6857999"/>
              <a:gd name="connsiteX1236" fmla="*/ 507327 w 5503467"/>
              <a:gd name="connsiteY1236" fmla="*/ 2260446 h 6857999"/>
              <a:gd name="connsiteX1237" fmla="*/ 1608387 w 5503467"/>
              <a:gd name="connsiteY1237" fmla="*/ 2168010 h 6857999"/>
              <a:gd name="connsiteX1238" fmla="*/ 1610371 w 5503467"/>
              <a:gd name="connsiteY1238" fmla="*/ 2172150 h 6857999"/>
              <a:gd name="connsiteX1239" fmla="*/ 1611175 w 5503467"/>
              <a:gd name="connsiteY1239" fmla="*/ 2171768 h 6857999"/>
              <a:gd name="connsiteX1240" fmla="*/ 1608387 w 5503467"/>
              <a:gd name="connsiteY1240" fmla="*/ 2168010 h 6857999"/>
              <a:gd name="connsiteX1241" fmla="*/ 1581668 w 5503467"/>
              <a:gd name="connsiteY1241" fmla="*/ 2162100 h 6857999"/>
              <a:gd name="connsiteX1242" fmla="*/ 1587369 w 5503467"/>
              <a:gd name="connsiteY1242" fmla="*/ 2168664 h 6857999"/>
              <a:gd name="connsiteX1243" fmla="*/ 1587400 w 5503467"/>
              <a:gd name="connsiteY1243" fmla="*/ 2168426 h 6857999"/>
              <a:gd name="connsiteX1244" fmla="*/ 1589387 w 5503467"/>
              <a:gd name="connsiteY1244" fmla="*/ 2164804 h 6857999"/>
              <a:gd name="connsiteX1245" fmla="*/ 1581668 w 5503467"/>
              <a:gd name="connsiteY1245" fmla="*/ 2162100 h 6857999"/>
              <a:gd name="connsiteX1246" fmla="*/ 1579822 w 5503467"/>
              <a:gd name="connsiteY1246" fmla="*/ 2129842 h 6857999"/>
              <a:gd name="connsiteX1247" fmla="*/ 1577711 w 5503467"/>
              <a:gd name="connsiteY1247" fmla="*/ 2132478 h 6857999"/>
              <a:gd name="connsiteX1248" fmla="*/ 1577958 w 5503467"/>
              <a:gd name="connsiteY1248" fmla="*/ 2132510 h 6857999"/>
              <a:gd name="connsiteX1249" fmla="*/ 1578300 w 5503467"/>
              <a:gd name="connsiteY1249" fmla="*/ 2133769 h 6857999"/>
              <a:gd name="connsiteX1250" fmla="*/ 1580347 w 5503467"/>
              <a:gd name="connsiteY1250" fmla="*/ 2133550 h 6857999"/>
              <a:gd name="connsiteX1251" fmla="*/ 1579822 w 5503467"/>
              <a:gd name="connsiteY1251" fmla="*/ 2129842 h 6857999"/>
              <a:gd name="connsiteX1252" fmla="*/ 554174 w 5503467"/>
              <a:gd name="connsiteY1252" fmla="*/ 1858588 h 6857999"/>
              <a:gd name="connsiteX1253" fmla="*/ 552810 w 5503467"/>
              <a:gd name="connsiteY1253" fmla="*/ 1859380 h 6857999"/>
              <a:gd name="connsiteX1254" fmla="*/ 556931 w 5503467"/>
              <a:gd name="connsiteY1254" fmla="*/ 1866465 h 6857999"/>
              <a:gd name="connsiteX1255" fmla="*/ 558542 w 5503467"/>
              <a:gd name="connsiteY1255" fmla="*/ 1865704 h 6857999"/>
              <a:gd name="connsiteX1256" fmla="*/ 554174 w 5503467"/>
              <a:gd name="connsiteY1256" fmla="*/ 1858588 h 6857999"/>
              <a:gd name="connsiteX1257" fmla="*/ 572513 w 5503467"/>
              <a:gd name="connsiteY1257" fmla="*/ 1844394 h 6857999"/>
              <a:gd name="connsiteX1258" fmla="*/ 563263 w 5503467"/>
              <a:gd name="connsiteY1258" fmla="*/ 1848856 h 6857999"/>
              <a:gd name="connsiteX1259" fmla="*/ 574539 w 5503467"/>
              <a:gd name="connsiteY1259" fmla="*/ 1864880 h 6857999"/>
              <a:gd name="connsiteX1260" fmla="*/ 578102 w 5503467"/>
              <a:gd name="connsiteY1260" fmla="*/ 1872379 h 6857999"/>
              <a:gd name="connsiteX1261" fmla="*/ 582652 w 5503467"/>
              <a:gd name="connsiteY1261" fmla="*/ 1891648 h 6857999"/>
              <a:gd name="connsiteX1262" fmla="*/ 617346 w 5503467"/>
              <a:gd name="connsiteY1262" fmla="*/ 1952444 h 6857999"/>
              <a:gd name="connsiteX1263" fmla="*/ 616786 w 5503467"/>
              <a:gd name="connsiteY1263" fmla="*/ 1952854 h 6857999"/>
              <a:gd name="connsiteX1264" fmla="*/ 624845 w 5503467"/>
              <a:gd name="connsiteY1264" fmla="*/ 1962637 h 6857999"/>
              <a:gd name="connsiteX1265" fmla="*/ 627603 w 5503467"/>
              <a:gd name="connsiteY1265" fmla="*/ 1960814 h 6857999"/>
              <a:gd name="connsiteX1266" fmla="*/ 619707 w 5503467"/>
              <a:gd name="connsiteY1266" fmla="*/ 1940139 h 6857999"/>
              <a:gd name="connsiteX1267" fmla="*/ 628759 w 5503467"/>
              <a:gd name="connsiteY1267" fmla="*/ 1936469 h 6857999"/>
              <a:gd name="connsiteX1268" fmla="*/ 616364 w 5503467"/>
              <a:gd name="connsiteY1268" fmla="*/ 1925150 h 6857999"/>
              <a:gd name="connsiteX1269" fmla="*/ 609361 w 5503467"/>
              <a:gd name="connsiteY1269" fmla="*/ 1920840 h 6857999"/>
              <a:gd name="connsiteX1270" fmla="*/ 592450 w 5503467"/>
              <a:gd name="connsiteY1270" fmla="*/ 1882254 h 6857999"/>
              <a:gd name="connsiteX1271" fmla="*/ 578016 w 5503467"/>
              <a:gd name="connsiteY1271" fmla="*/ 1849810 h 6857999"/>
              <a:gd name="connsiteX1272" fmla="*/ 572513 w 5503467"/>
              <a:gd name="connsiteY1272" fmla="*/ 1844394 h 6857999"/>
              <a:gd name="connsiteX1273" fmla="*/ 857602 w 5503467"/>
              <a:gd name="connsiteY1273" fmla="*/ 1782939 h 6857999"/>
              <a:gd name="connsiteX1274" fmla="*/ 854687 w 5503467"/>
              <a:gd name="connsiteY1274" fmla="*/ 1784013 h 6857999"/>
              <a:gd name="connsiteX1275" fmla="*/ 858310 w 5503467"/>
              <a:gd name="connsiteY1275" fmla="*/ 1792975 h 6857999"/>
              <a:gd name="connsiteX1276" fmla="*/ 861504 w 5503467"/>
              <a:gd name="connsiteY1276" fmla="*/ 1791693 h 6857999"/>
              <a:gd name="connsiteX1277" fmla="*/ 857602 w 5503467"/>
              <a:gd name="connsiteY1277" fmla="*/ 1782939 h 6857999"/>
              <a:gd name="connsiteX1278" fmla="*/ 1062952 w 5503467"/>
              <a:gd name="connsiteY1278" fmla="*/ 1767025 h 6857999"/>
              <a:gd name="connsiteX1279" fmla="*/ 1052286 w 5503467"/>
              <a:gd name="connsiteY1279" fmla="*/ 1769515 h 6857999"/>
              <a:gd name="connsiteX1280" fmla="*/ 1063478 w 5503467"/>
              <a:gd name="connsiteY1280" fmla="*/ 1770733 h 6857999"/>
              <a:gd name="connsiteX1281" fmla="*/ 1063169 w 5503467"/>
              <a:gd name="connsiteY1281" fmla="*/ 1767296 h 6857999"/>
              <a:gd name="connsiteX1282" fmla="*/ 1568311 w 5503467"/>
              <a:gd name="connsiteY1282" fmla="*/ 1620444 h 6857999"/>
              <a:gd name="connsiteX1283" fmla="*/ 1573171 w 5503467"/>
              <a:gd name="connsiteY1283" fmla="*/ 1633446 h 6857999"/>
              <a:gd name="connsiteX1284" fmla="*/ 1578159 w 5503467"/>
              <a:gd name="connsiteY1284" fmla="*/ 1641617 h 6857999"/>
              <a:gd name="connsiteX1285" fmla="*/ 1568558 w 5503467"/>
              <a:gd name="connsiteY1285" fmla="*/ 1620477 h 6857999"/>
              <a:gd name="connsiteX1286" fmla="*/ 1092152 w 5503467"/>
              <a:gd name="connsiteY1286" fmla="*/ 1616571 h 6857999"/>
              <a:gd name="connsiteX1287" fmla="*/ 1088135 w 5503467"/>
              <a:gd name="connsiteY1287" fmla="*/ 1618533 h 6857999"/>
              <a:gd name="connsiteX1288" fmla="*/ 1088122 w 5503467"/>
              <a:gd name="connsiteY1288" fmla="*/ 1618470 h 6857999"/>
              <a:gd name="connsiteX1289" fmla="*/ 1087843 w 5503467"/>
              <a:gd name="connsiteY1289" fmla="*/ 1618676 h 6857999"/>
              <a:gd name="connsiteX1290" fmla="*/ 1088135 w 5503467"/>
              <a:gd name="connsiteY1290" fmla="*/ 1618533 h 6857999"/>
              <a:gd name="connsiteX1291" fmla="*/ 1090388 w 5503467"/>
              <a:gd name="connsiteY1291" fmla="*/ 1628649 h 6857999"/>
              <a:gd name="connsiteX1292" fmla="*/ 1098841 w 5503467"/>
              <a:gd name="connsiteY1292" fmla="*/ 1634907 h 6857999"/>
              <a:gd name="connsiteX1293" fmla="*/ 1096271 w 5503467"/>
              <a:gd name="connsiteY1293" fmla="*/ 1625598 h 6857999"/>
              <a:gd name="connsiteX1294" fmla="*/ 1095219 w 5503467"/>
              <a:gd name="connsiteY1294" fmla="*/ 1622064 h 6857999"/>
              <a:gd name="connsiteX1295" fmla="*/ 1092152 w 5503467"/>
              <a:gd name="connsiteY1295" fmla="*/ 1616571 h 6857999"/>
              <a:gd name="connsiteX1296" fmla="*/ 1519465 w 5503467"/>
              <a:gd name="connsiteY1296" fmla="*/ 1590791 h 6857999"/>
              <a:gd name="connsiteX1297" fmla="*/ 1533531 w 5503467"/>
              <a:gd name="connsiteY1297" fmla="*/ 1616393 h 6857999"/>
              <a:gd name="connsiteX1298" fmla="*/ 1519465 w 5503467"/>
              <a:gd name="connsiteY1298" fmla="*/ 1590791 h 6857999"/>
              <a:gd name="connsiteX1299" fmla="*/ 1496097 w 5503467"/>
              <a:gd name="connsiteY1299" fmla="*/ 1576585 h 6857999"/>
              <a:gd name="connsiteX1300" fmla="*/ 1515185 w 5503467"/>
              <a:gd name="connsiteY1300" fmla="*/ 1598478 h 6857999"/>
              <a:gd name="connsiteX1301" fmla="*/ 1516377 w 5503467"/>
              <a:gd name="connsiteY1301" fmla="*/ 1597984 h 6857999"/>
              <a:gd name="connsiteX1302" fmla="*/ 1516486 w 5503467"/>
              <a:gd name="connsiteY1302" fmla="*/ 1598164 h 6857999"/>
              <a:gd name="connsiteX1303" fmla="*/ 1516517 w 5503467"/>
              <a:gd name="connsiteY1303" fmla="*/ 1597926 h 6857999"/>
              <a:gd name="connsiteX1304" fmla="*/ 1516377 w 5503467"/>
              <a:gd name="connsiteY1304" fmla="*/ 1597984 h 6857999"/>
              <a:gd name="connsiteX1305" fmla="*/ 1508339 w 5503467"/>
              <a:gd name="connsiteY1305" fmla="*/ 1584731 h 6857999"/>
              <a:gd name="connsiteX1306" fmla="*/ 1496097 w 5503467"/>
              <a:gd name="connsiteY1306" fmla="*/ 1576585 h 6857999"/>
              <a:gd name="connsiteX1307" fmla="*/ 1538324 w 5503467"/>
              <a:gd name="connsiteY1307" fmla="*/ 1562204 h 6857999"/>
              <a:gd name="connsiteX1308" fmla="*/ 1542352 w 5503467"/>
              <a:gd name="connsiteY1308" fmla="*/ 1571944 h 6857999"/>
              <a:gd name="connsiteX1309" fmla="*/ 1538324 w 5503467"/>
              <a:gd name="connsiteY1309" fmla="*/ 1562204 h 6857999"/>
              <a:gd name="connsiteX1310" fmla="*/ 1400539 w 5503467"/>
              <a:gd name="connsiteY1310" fmla="*/ 1468077 h 6857999"/>
              <a:gd name="connsiteX1311" fmla="*/ 1401374 w 5503467"/>
              <a:gd name="connsiteY1311" fmla="*/ 1471340 h 6857999"/>
              <a:gd name="connsiteX1312" fmla="*/ 1402551 w 5503467"/>
              <a:gd name="connsiteY1312" fmla="*/ 1471977 h 6857999"/>
              <a:gd name="connsiteX1313" fmla="*/ 1400539 w 5503467"/>
              <a:gd name="connsiteY1313" fmla="*/ 1468077 h 6857999"/>
              <a:gd name="connsiteX1314" fmla="*/ 1040447 w 5503467"/>
              <a:gd name="connsiteY1314" fmla="*/ 1459933 h 6857999"/>
              <a:gd name="connsiteX1315" fmla="*/ 1037748 w 5503467"/>
              <a:gd name="connsiteY1315" fmla="*/ 1461280 h 6857999"/>
              <a:gd name="connsiteX1316" fmla="*/ 1041684 w 5503467"/>
              <a:gd name="connsiteY1316" fmla="*/ 1467855 h 6857999"/>
              <a:gd name="connsiteX1317" fmla="*/ 1046300 w 5503467"/>
              <a:gd name="connsiteY1317" fmla="*/ 1473066 h 6857999"/>
              <a:gd name="connsiteX1318" fmla="*/ 1047975 w 5503467"/>
              <a:gd name="connsiteY1318" fmla="*/ 1471831 h 6857999"/>
              <a:gd name="connsiteX1319" fmla="*/ 1040447 w 5503467"/>
              <a:gd name="connsiteY1319" fmla="*/ 1459933 h 6857999"/>
              <a:gd name="connsiteX1320" fmla="*/ 1359063 w 5503467"/>
              <a:gd name="connsiteY1320" fmla="*/ 1459274 h 6857999"/>
              <a:gd name="connsiteX1321" fmla="*/ 1357699 w 5503467"/>
              <a:gd name="connsiteY1321" fmla="*/ 1460067 h 6857999"/>
              <a:gd name="connsiteX1322" fmla="*/ 1361819 w 5503467"/>
              <a:gd name="connsiteY1322" fmla="*/ 1467153 h 6857999"/>
              <a:gd name="connsiteX1323" fmla="*/ 1363182 w 5503467"/>
              <a:gd name="connsiteY1323" fmla="*/ 1466360 h 6857999"/>
              <a:gd name="connsiteX1324" fmla="*/ 1359063 w 5503467"/>
              <a:gd name="connsiteY1324" fmla="*/ 1459274 h 6857999"/>
              <a:gd name="connsiteX1325" fmla="*/ 1416261 w 5503467"/>
              <a:gd name="connsiteY1325" fmla="*/ 1455817 h 6857999"/>
              <a:gd name="connsiteX1326" fmla="*/ 1415856 w 5503467"/>
              <a:gd name="connsiteY1326" fmla="*/ 1456818 h 6857999"/>
              <a:gd name="connsiteX1327" fmla="*/ 1411115 w 5503467"/>
              <a:gd name="connsiteY1327" fmla="*/ 1462392 h 6857999"/>
              <a:gd name="connsiteX1328" fmla="*/ 1414984 w 5503467"/>
              <a:gd name="connsiteY1328" fmla="*/ 1467536 h 6857999"/>
              <a:gd name="connsiteX1329" fmla="*/ 1423384 w 5503467"/>
              <a:gd name="connsiteY1329" fmla="*/ 1470813 h 6857999"/>
              <a:gd name="connsiteX1330" fmla="*/ 1419976 w 5503467"/>
              <a:gd name="connsiteY1330" fmla="*/ 1462123 h 6857999"/>
              <a:gd name="connsiteX1331" fmla="*/ 1415515 w 5503467"/>
              <a:gd name="connsiteY1331" fmla="*/ 1457661 h 6857999"/>
              <a:gd name="connsiteX1332" fmla="*/ 1415856 w 5503467"/>
              <a:gd name="connsiteY1332" fmla="*/ 1456818 h 6857999"/>
              <a:gd name="connsiteX1333" fmla="*/ 1416477 w 5503467"/>
              <a:gd name="connsiteY1333" fmla="*/ 1456088 h 6857999"/>
              <a:gd name="connsiteX1334" fmla="*/ 1397140 w 5503467"/>
              <a:gd name="connsiteY1334" fmla="*/ 1439984 h 6857999"/>
              <a:gd name="connsiteX1335" fmla="*/ 1393326 w 5503467"/>
              <a:gd name="connsiteY1335" fmla="*/ 1440215 h 6857999"/>
              <a:gd name="connsiteX1336" fmla="*/ 1394535 w 5503467"/>
              <a:gd name="connsiteY1336" fmla="*/ 1444495 h 6857999"/>
              <a:gd name="connsiteX1337" fmla="*/ 1394504 w 5503467"/>
              <a:gd name="connsiteY1337" fmla="*/ 1444733 h 6857999"/>
              <a:gd name="connsiteX1338" fmla="*/ 1394720 w 5503467"/>
              <a:gd name="connsiteY1338" fmla="*/ 1445003 h 6857999"/>
              <a:gd name="connsiteX1339" fmla="*/ 1397728 w 5503467"/>
              <a:gd name="connsiteY1339" fmla="*/ 1443213 h 6857999"/>
              <a:gd name="connsiteX1340" fmla="*/ 1397140 w 5503467"/>
              <a:gd name="connsiteY1340" fmla="*/ 1439984 h 6857999"/>
              <a:gd name="connsiteX1341" fmla="*/ 1022211 w 5503467"/>
              <a:gd name="connsiteY1341" fmla="*/ 1412655 h 6857999"/>
              <a:gd name="connsiteX1342" fmla="*/ 1012037 w 5503467"/>
              <a:gd name="connsiteY1342" fmla="*/ 1412815 h 6857999"/>
              <a:gd name="connsiteX1343" fmla="*/ 1028020 w 5503467"/>
              <a:gd name="connsiteY1343" fmla="*/ 1444975 h 6857999"/>
              <a:gd name="connsiteX1344" fmla="*/ 1026295 w 5503467"/>
              <a:gd name="connsiteY1344" fmla="*/ 1419525 h 6857999"/>
              <a:gd name="connsiteX1345" fmla="*/ 1026544 w 5503467"/>
              <a:gd name="connsiteY1345" fmla="*/ 1419557 h 6857999"/>
              <a:gd name="connsiteX1346" fmla="*/ 1022211 w 5503467"/>
              <a:gd name="connsiteY1346" fmla="*/ 1412655 h 6857999"/>
              <a:gd name="connsiteX1347" fmla="*/ 433519 w 5503467"/>
              <a:gd name="connsiteY1347" fmla="*/ 1408691 h 6857999"/>
              <a:gd name="connsiteX1348" fmla="*/ 429489 w 5503467"/>
              <a:gd name="connsiteY1348" fmla="*/ 1410593 h 6857999"/>
              <a:gd name="connsiteX1349" fmla="*/ 435034 w 5503467"/>
              <a:gd name="connsiteY1349" fmla="*/ 1418349 h 6857999"/>
              <a:gd name="connsiteX1350" fmla="*/ 436927 w 5503467"/>
              <a:gd name="connsiteY1350" fmla="*/ 1417384 h 6857999"/>
              <a:gd name="connsiteX1351" fmla="*/ 433519 w 5503467"/>
              <a:gd name="connsiteY1351" fmla="*/ 1408691 h 6857999"/>
              <a:gd name="connsiteX1352" fmla="*/ 1404537 w 5503467"/>
              <a:gd name="connsiteY1352" fmla="*/ 1389042 h 6857999"/>
              <a:gd name="connsiteX1353" fmla="*/ 1395390 w 5503467"/>
              <a:gd name="connsiteY1353" fmla="*/ 1395369 h 6857999"/>
              <a:gd name="connsiteX1354" fmla="*/ 1395513 w 5503467"/>
              <a:gd name="connsiteY1354" fmla="*/ 1396354 h 6857999"/>
              <a:gd name="connsiteX1355" fmla="*/ 1390927 w 5503467"/>
              <a:gd name="connsiteY1355" fmla="*/ 1396727 h 6857999"/>
              <a:gd name="connsiteX1356" fmla="*/ 1389313 w 5503467"/>
              <a:gd name="connsiteY1356" fmla="*/ 1399428 h 6857999"/>
              <a:gd name="connsiteX1357" fmla="*/ 1400309 w 5503467"/>
              <a:gd name="connsiteY1357" fmla="*/ 1419536 h 6857999"/>
              <a:gd name="connsiteX1358" fmla="*/ 1405386 w 5503467"/>
              <a:gd name="connsiteY1358" fmla="*/ 1436692 h 6857999"/>
              <a:gd name="connsiteX1359" fmla="*/ 1420974 w 5503467"/>
              <a:gd name="connsiteY1359" fmla="*/ 1450611 h 6857999"/>
              <a:gd name="connsiteX1360" fmla="*/ 1421007 w 5503467"/>
              <a:gd name="connsiteY1360" fmla="*/ 1450371 h 6857999"/>
              <a:gd name="connsiteX1361" fmla="*/ 1425778 w 5503467"/>
              <a:gd name="connsiteY1361" fmla="*/ 1454390 h 6857999"/>
              <a:gd name="connsiteX1362" fmla="*/ 1436439 w 5503467"/>
              <a:gd name="connsiteY1362" fmla="*/ 1459661 h 6857999"/>
              <a:gd name="connsiteX1363" fmla="*/ 1434020 w 5503467"/>
              <a:gd name="connsiteY1363" fmla="*/ 1460800 h 6857999"/>
              <a:gd name="connsiteX1364" fmla="*/ 1446233 w 5503467"/>
              <a:gd name="connsiteY1364" fmla="*/ 1465789 h 6857999"/>
              <a:gd name="connsiteX1365" fmla="*/ 1459309 w 5503467"/>
              <a:gd name="connsiteY1365" fmla="*/ 1477680 h 6857999"/>
              <a:gd name="connsiteX1366" fmla="*/ 1405529 w 5503467"/>
              <a:gd name="connsiteY1366" fmla="*/ 1389171 h 6857999"/>
              <a:gd name="connsiteX1367" fmla="*/ 1404537 w 5503467"/>
              <a:gd name="connsiteY1367" fmla="*/ 1389042 h 6857999"/>
              <a:gd name="connsiteX1368" fmla="*/ 979968 w 5503467"/>
              <a:gd name="connsiteY1368" fmla="*/ 1376372 h 6857999"/>
              <a:gd name="connsiteX1369" fmla="*/ 986562 w 5503467"/>
              <a:gd name="connsiteY1369" fmla="*/ 1401245 h 6857999"/>
              <a:gd name="connsiteX1370" fmla="*/ 1007994 w 5503467"/>
              <a:gd name="connsiteY1370" fmla="*/ 1447698 h 6857999"/>
              <a:gd name="connsiteX1371" fmla="*/ 1010968 w 5503467"/>
              <a:gd name="connsiteY1371" fmla="*/ 1451967 h 6857999"/>
              <a:gd name="connsiteX1372" fmla="*/ 1024943 w 5503467"/>
              <a:gd name="connsiteY1372" fmla="*/ 1470524 h 6857999"/>
              <a:gd name="connsiteX1373" fmla="*/ 1064158 w 5503467"/>
              <a:gd name="connsiteY1373" fmla="*/ 1539186 h 6857999"/>
              <a:gd name="connsiteX1374" fmla="*/ 1063417 w 5503467"/>
              <a:gd name="connsiteY1374" fmla="*/ 1539090 h 6857999"/>
              <a:gd name="connsiteX1375" fmla="*/ 1076182 w 5503467"/>
              <a:gd name="connsiteY1375" fmla="*/ 1557247 h 6857999"/>
              <a:gd name="connsiteX1376" fmla="*/ 1075965 w 5503467"/>
              <a:gd name="connsiteY1376" fmla="*/ 1553095 h 6857999"/>
              <a:gd name="connsiteX1377" fmla="*/ 1065284 w 5503467"/>
              <a:gd name="connsiteY1377" fmla="*/ 1518959 h 6857999"/>
              <a:gd name="connsiteX1378" fmla="*/ 1065129 w 5503467"/>
              <a:gd name="connsiteY1378" fmla="*/ 1520151 h 6857999"/>
              <a:gd name="connsiteX1379" fmla="*/ 1060951 w 5503467"/>
              <a:gd name="connsiteY1379" fmla="*/ 1503841 h 6857999"/>
              <a:gd name="connsiteX1380" fmla="*/ 1059001 w 5503467"/>
              <a:gd name="connsiteY1380" fmla="*/ 1497524 h 6857999"/>
              <a:gd name="connsiteX1381" fmla="*/ 1044682 w 5503467"/>
              <a:gd name="connsiteY1381" fmla="*/ 1489350 h 6857999"/>
              <a:gd name="connsiteX1382" fmla="*/ 1030277 w 5503467"/>
              <a:gd name="connsiteY1382" fmla="*/ 1462487 h 6857999"/>
              <a:gd name="connsiteX1383" fmla="*/ 979968 w 5503467"/>
              <a:gd name="connsiteY1383" fmla="*/ 1376372 h 6857999"/>
              <a:gd name="connsiteX1384" fmla="*/ 647497 w 5503467"/>
              <a:gd name="connsiteY1384" fmla="*/ 1369163 h 6857999"/>
              <a:gd name="connsiteX1385" fmla="*/ 643900 w 5503467"/>
              <a:gd name="connsiteY1385" fmla="*/ 1371606 h 6857999"/>
              <a:gd name="connsiteX1386" fmla="*/ 653287 w 5503467"/>
              <a:gd name="connsiteY1386" fmla="*/ 1384713 h 6857999"/>
              <a:gd name="connsiteX1387" fmla="*/ 655211 w 5503467"/>
              <a:gd name="connsiteY1387" fmla="*/ 1383508 h 6857999"/>
              <a:gd name="connsiteX1388" fmla="*/ 647497 w 5503467"/>
              <a:gd name="connsiteY1388" fmla="*/ 1369163 h 6857999"/>
              <a:gd name="connsiteX1389" fmla="*/ 825613 w 5503467"/>
              <a:gd name="connsiteY1389" fmla="*/ 1316468 h 6857999"/>
              <a:gd name="connsiteX1390" fmla="*/ 829394 w 5503467"/>
              <a:gd name="connsiteY1390" fmla="*/ 1322298 h 6857999"/>
              <a:gd name="connsiteX1391" fmla="*/ 829826 w 5503467"/>
              <a:gd name="connsiteY1391" fmla="*/ 1322839 h 6857999"/>
              <a:gd name="connsiteX1392" fmla="*/ 825613 w 5503467"/>
              <a:gd name="connsiteY1392" fmla="*/ 1316468 h 6857999"/>
              <a:gd name="connsiteX1393" fmla="*/ 637321 w 5503467"/>
              <a:gd name="connsiteY1393" fmla="*/ 1311807 h 6857999"/>
              <a:gd name="connsiteX1394" fmla="*/ 647602 w 5503467"/>
              <a:gd name="connsiteY1394" fmla="*/ 1337403 h 6857999"/>
              <a:gd name="connsiteX1395" fmla="*/ 637321 w 5503467"/>
              <a:gd name="connsiteY1395" fmla="*/ 1311807 h 6857999"/>
              <a:gd name="connsiteX1396" fmla="*/ 3628505 w 5503467"/>
              <a:gd name="connsiteY1396" fmla="*/ 1309373 h 6857999"/>
              <a:gd name="connsiteX1397" fmla="*/ 3634265 w 5503467"/>
              <a:gd name="connsiteY1397" fmla="*/ 1317402 h 6857999"/>
              <a:gd name="connsiteX1398" fmla="*/ 3633772 w 5503467"/>
              <a:gd name="connsiteY1398" fmla="*/ 1315398 h 6857999"/>
              <a:gd name="connsiteX1399" fmla="*/ 3634019 w 5503467"/>
              <a:gd name="connsiteY1399" fmla="*/ 1315430 h 6857999"/>
              <a:gd name="connsiteX1400" fmla="*/ 3628505 w 5503467"/>
              <a:gd name="connsiteY1400" fmla="*/ 1309373 h 6857999"/>
              <a:gd name="connsiteX1401" fmla="*/ 1395478 w 5503467"/>
              <a:gd name="connsiteY1401" fmla="*/ 1181936 h 6857999"/>
              <a:gd name="connsiteX1402" fmla="*/ 1395197 w 5503467"/>
              <a:gd name="connsiteY1402" fmla="*/ 1182142 h 6857999"/>
              <a:gd name="connsiteX1403" fmla="*/ 1405048 w 5503467"/>
              <a:gd name="connsiteY1403" fmla="*/ 1197496 h 6857999"/>
              <a:gd name="connsiteX1404" fmla="*/ 1405421 w 5503467"/>
              <a:gd name="connsiteY1404" fmla="*/ 1196573 h 6857999"/>
              <a:gd name="connsiteX1405" fmla="*/ 1401118 w 5503467"/>
              <a:gd name="connsiteY1405" fmla="*/ 1185099 h 6857999"/>
              <a:gd name="connsiteX1406" fmla="*/ 1395478 w 5503467"/>
              <a:gd name="connsiteY1406" fmla="*/ 1181936 h 6857999"/>
              <a:gd name="connsiteX1407" fmla="*/ 846625 w 5503467"/>
              <a:gd name="connsiteY1407" fmla="*/ 1178529 h 6857999"/>
              <a:gd name="connsiteX1408" fmla="*/ 847429 w 5503467"/>
              <a:gd name="connsiteY1408" fmla="*/ 1180091 h 6857999"/>
              <a:gd name="connsiteX1409" fmla="*/ 848114 w 5503467"/>
              <a:gd name="connsiteY1409" fmla="*/ 1178723 h 6857999"/>
              <a:gd name="connsiteX1410" fmla="*/ 1305767 w 5503467"/>
              <a:gd name="connsiteY1410" fmla="*/ 1094322 h 6857999"/>
              <a:gd name="connsiteX1411" fmla="*/ 1298510 w 5503467"/>
              <a:gd name="connsiteY1411" fmla="*/ 1101621 h 6857999"/>
              <a:gd name="connsiteX1412" fmla="*/ 1298480 w 5503467"/>
              <a:gd name="connsiteY1412" fmla="*/ 1101862 h 6857999"/>
              <a:gd name="connsiteX1413" fmla="*/ 1303592 w 5503467"/>
              <a:gd name="connsiteY1413" fmla="*/ 1109076 h 6857999"/>
              <a:gd name="connsiteX1414" fmla="*/ 1315191 w 5503467"/>
              <a:gd name="connsiteY1414" fmla="*/ 1095552 h 6857999"/>
              <a:gd name="connsiteX1415" fmla="*/ 1305767 w 5503467"/>
              <a:gd name="connsiteY1415" fmla="*/ 1094322 h 6857999"/>
              <a:gd name="connsiteX1416" fmla="*/ 1317393 w 5503467"/>
              <a:gd name="connsiteY1416" fmla="*/ 1094140 h 6857999"/>
              <a:gd name="connsiteX1417" fmla="*/ 1315998 w 5503467"/>
              <a:gd name="connsiteY1417" fmla="*/ 1095170 h 6857999"/>
              <a:gd name="connsiteX1418" fmla="*/ 1316896 w 5503467"/>
              <a:gd name="connsiteY1418" fmla="*/ 1096015 h 6857999"/>
              <a:gd name="connsiteX1419" fmla="*/ 1317393 w 5503467"/>
              <a:gd name="connsiteY1419" fmla="*/ 1094140 h 6857999"/>
              <a:gd name="connsiteX1420" fmla="*/ 946017 w 5503467"/>
              <a:gd name="connsiteY1420" fmla="*/ 1087436 h 6857999"/>
              <a:gd name="connsiteX1421" fmla="*/ 946294 w 5503467"/>
              <a:gd name="connsiteY1421" fmla="*/ 1089170 h 6857999"/>
              <a:gd name="connsiteX1422" fmla="*/ 947660 w 5503467"/>
              <a:gd name="connsiteY1422" fmla="*/ 1088378 h 6857999"/>
              <a:gd name="connsiteX1423" fmla="*/ 946263 w 5503467"/>
              <a:gd name="connsiteY1423" fmla="*/ 1087468 h 6857999"/>
              <a:gd name="connsiteX1424" fmla="*/ 976623 w 5503467"/>
              <a:gd name="connsiteY1424" fmla="*/ 1067413 h 6857999"/>
              <a:gd name="connsiteX1425" fmla="*/ 977672 w 5503467"/>
              <a:gd name="connsiteY1425" fmla="*/ 1072887 h 6857999"/>
              <a:gd name="connsiteX1426" fmla="*/ 977891 w 5503467"/>
              <a:gd name="connsiteY1426" fmla="*/ 1073158 h 6857999"/>
              <a:gd name="connsiteX1427" fmla="*/ 984151 w 5503467"/>
              <a:gd name="connsiteY1427" fmla="*/ 1079312 h 6857999"/>
              <a:gd name="connsiteX1428" fmla="*/ 986938 w 5503467"/>
              <a:gd name="connsiteY1428" fmla="*/ 1079188 h 6857999"/>
              <a:gd name="connsiteX1429" fmla="*/ 976623 w 5503467"/>
              <a:gd name="connsiteY1429" fmla="*/ 1067413 h 6857999"/>
              <a:gd name="connsiteX1430" fmla="*/ 3951829 w 5503467"/>
              <a:gd name="connsiteY1430" fmla="*/ 253266 h 6857999"/>
              <a:gd name="connsiteX1431" fmla="*/ 3951859 w 5503467"/>
              <a:gd name="connsiteY1431" fmla="*/ 254969 h 6857999"/>
              <a:gd name="connsiteX1432" fmla="*/ 3951828 w 5503467"/>
              <a:gd name="connsiteY1432" fmla="*/ 255207 h 6857999"/>
              <a:gd name="connsiteX1433" fmla="*/ 3953315 w 5503467"/>
              <a:gd name="connsiteY1433" fmla="*/ 253460 h 6857999"/>
              <a:gd name="connsiteX1434" fmla="*/ 3951829 w 5503467"/>
              <a:gd name="connsiteY1434" fmla="*/ 253266 h 6857999"/>
              <a:gd name="connsiteX1435" fmla="*/ 4301147 w 5503467"/>
              <a:gd name="connsiteY1435" fmla="*/ 222168 h 6857999"/>
              <a:gd name="connsiteX1436" fmla="*/ 4308426 w 5503467"/>
              <a:gd name="connsiteY1436" fmla="*/ 235974 h 6857999"/>
              <a:gd name="connsiteX1437" fmla="*/ 4306039 w 5503467"/>
              <a:gd name="connsiteY1437" fmla="*/ 234934 h 6857999"/>
              <a:gd name="connsiteX1438" fmla="*/ 4314314 w 5503467"/>
              <a:gd name="connsiteY1438" fmla="*/ 243047 h 6857999"/>
              <a:gd name="connsiteX1439" fmla="*/ 4301147 w 5503467"/>
              <a:gd name="connsiteY1439" fmla="*/ 222168 h 6857999"/>
              <a:gd name="connsiteX1440" fmla="*/ 1459629 w 5503467"/>
              <a:gd name="connsiteY1440" fmla="*/ 0 h 6857999"/>
              <a:gd name="connsiteX1441" fmla="*/ 4916074 w 5503467"/>
              <a:gd name="connsiteY1441" fmla="*/ 0 h 6857999"/>
              <a:gd name="connsiteX1442" fmla="*/ 4999849 w 5503467"/>
              <a:gd name="connsiteY1442" fmla="*/ 87203 h 6857999"/>
              <a:gd name="connsiteX1443" fmla="*/ 5113879 w 5503467"/>
              <a:gd name="connsiteY1443" fmla="*/ 207591 h 6857999"/>
              <a:gd name="connsiteX1444" fmla="*/ 5005470 w 5503467"/>
              <a:gd name="connsiteY1444" fmla="*/ 0 h 6857999"/>
              <a:gd name="connsiteX1445" fmla="*/ 5503467 w 5503467"/>
              <a:gd name="connsiteY1445" fmla="*/ 0 h 6857999"/>
              <a:gd name="connsiteX1446" fmla="*/ 5502038 w 5503467"/>
              <a:gd name="connsiteY1446" fmla="*/ 6857999 h 6857999"/>
              <a:gd name="connsiteX1447" fmla="*/ 5411248 w 5503467"/>
              <a:gd name="connsiteY1447" fmla="*/ 6857999 h 6857999"/>
              <a:gd name="connsiteX1448" fmla="*/ 5409467 w 5503467"/>
              <a:gd name="connsiteY1448" fmla="*/ 6852660 h 6857999"/>
              <a:gd name="connsiteX1449" fmla="*/ 5397626 w 5503467"/>
              <a:gd name="connsiteY1449" fmla="*/ 6841930 h 6857999"/>
              <a:gd name="connsiteX1450" fmla="*/ 5394774 w 5503467"/>
              <a:gd name="connsiteY1450" fmla="*/ 6844468 h 6857999"/>
              <a:gd name="connsiteX1451" fmla="*/ 5408779 w 5503467"/>
              <a:gd name="connsiteY1451" fmla="*/ 6856967 h 6857999"/>
              <a:gd name="connsiteX1452" fmla="*/ 5409349 w 5503467"/>
              <a:gd name="connsiteY1452" fmla="*/ 6857999 h 6857999"/>
              <a:gd name="connsiteX1453" fmla="*/ 2748486 w 5503467"/>
              <a:gd name="connsiteY1453" fmla="*/ 6857999 h 6857999"/>
              <a:gd name="connsiteX1454" fmla="*/ 2748555 w 5503467"/>
              <a:gd name="connsiteY1454" fmla="*/ 6849193 h 6857999"/>
              <a:gd name="connsiteX1455" fmla="*/ 2747943 w 5503467"/>
              <a:gd name="connsiteY1455" fmla="*/ 6834560 h 6857999"/>
              <a:gd name="connsiteX1456" fmla="*/ 2743915 w 5503467"/>
              <a:gd name="connsiteY1456" fmla="*/ 6828698 h 6857999"/>
              <a:gd name="connsiteX1457" fmla="*/ 2738227 w 5503467"/>
              <a:gd name="connsiteY1457" fmla="*/ 6857999 h 6857999"/>
              <a:gd name="connsiteX1458" fmla="*/ 2598953 w 5503467"/>
              <a:gd name="connsiteY1458" fmla="*/ 6857999 h 6857999"/>
              <a:gd name="connsiteX1459" fmla="*/ 2599319 w 5503467"/>
              <a:gd name="connsiteY1459" fmla="*/ 6856413 h 6857999"/>
              <a:gd name="connsiteX1460" fmla="*/ 2598749 w 5503467"/>
              <a:gd name="connsiteY1460" fmla="*/ 6857999 h 6857999"/>
              <a:gd name="connsiteX1461" fmla="*/ 2584010 w 5503467"/>
              <a:gd name="connsiteY1461" fmla="*/ 6857999 h 6857999"/>
              <a:gd name="connsiteX1462" fmla="*/ 2591243 w 5503467"/>
              <a:gd name="connsiteY1462" fmla="*/ 6823586 h 6857999"/>
              <a:gd name="connsiteX1463" fmla="*/ 2581164 w 5503467"/>
              <a:gd name="connsiteY1463" fmla="*/ 6831248 h 6857999"/>
              <a:gd name="connsiteX1464" fmla="*/ 2588418 w 5503467"/>
              <a:gd name="connsiteY1464" fmla="*/ 6754334 h 6857999"/>
              <a:gd name="connsiteX1465" fmla="*/ 2585076 w 5503467"/>
              <a:gd name="connsiteY1465" fmla="*/ 6741285 h 6857999"/>
              <a:gd name="connsiteX1466" fmla="*/ 2590934 w 5503467"/>
              <a:gd name="connsiteY1466" fmla="*/ 6742777 h 6857999"/>
              <a:gd name="connsiteX1467" fmla="*/ 2592363 w 5503467"/>
              <a:gd name="connsiteY1467" fmla="*/ 6737629 h 6857999"/>
              <a:gd name="connsiteX1468" fmla="*/ 2575408 w 5503467"/>
              <a:gd name="connsiteY1468" fmla="*/ 6734203 h 6857999"/>
              <a:gd name="connsiteX1469" fmla="*/ 2572792 w 5503467"/>
              <a:gd name="connsiteY1469" fmla="*/ 6761997 h 6857999"/>
              <a:gd name="connsiteX1470" fmla="*/ 2572654 w 5503467"/>
              <a:gd name="connsiteY1470" fmla="*/ 6795937 h 6857999"/>
              <a:gd name="connsiteX1471" fmla="*/ 2575842 w 5503467"/>
              <a:gd name="connsiteY1471" fmla="*/ 6804359 h 6857999"/>
              <a:gd name="connsiteX1472" fmla="*/ 2578657 w 5503467"/>
              <a:gd name="connsiteY1472" fmla="*/ 6825342 h 6857999"/>
              <a:gd name="connsiteX1473" fmla="*/ 2576778 w 5503467"/>
              <a:gd name="connsiteY1473" fmla="*/ 6825343 h 6857999"/>
              <a:gd name="connsiteX1474" fmla="*/ 2577065 w 5503467"/>
              <a:gd name="connsiteY1474" fmla="*/ 6822071 h 6857999"/>
              <a:gd name="connsiteX1475" fmla="*/ 2571282 w 5503467"/>
              <a:gd name="connsiteY1475" fmla="*/ 6818073 h 6857999"/>
              <a:gd name="connsiteX1476" fmla="*/ 2571808 w 5503467"/>
              <a:gd name="connsiteY1476" fmla="*/ 6821780 h 6857999"/>
              <a:gd name="connsiteX1477" fmla="*/ 2572445 w 5503467"/>
              <a:gd name="connsiteY1477" fmla="*/ 6826112 h 6857999"/>
              <a:gd name="connsiteX1478" fmla="*/ 2569539 w 5503467"/>
              <a:gd name="connsiteY1478" fmla="*/ 6829488 h 6857999"/>
              <a:gd name="connsiteX1479" fmla="*/ 2569689 w 5503467"/>
              <a:gd name="connsiteY1479" fmla="*/ 6843818 h 6857999"/>
              <a:gd name="connsiteX1480" fmla="*/ 2569099 w 5503467"/>
              <a:gd name="connsiteY1480" fmla="*/ 6850291 h 6857999"/>
              <a:gd name="connsiteX1481" fmla="*/ 2567626 w 5503467"/>
              <a:gd name="connsiteY1481" fmla="*/ 6857999 h 6857999"/>
              <a:gd name="connsiteX1482" fmla="*/ 1677302 w 5503467"/>
              <a:gd name="connsiteY1482" fmla="*/ 6857999 h 6857999"/>
              <a:gd name="connsiteX1483" fmla="*/ 1684458 w 5503467"/>
              <a:gd name="connsiteY1483" fmla="*/ 6841909 h 6857999"/>
              <a:gd name="connsiteX1484" fmla="*/ 1679778 w 5503467"/>
              <a:gd name="connsiteY1484" fmla="*/ 6835236 h 6857999"/>
              <a:gd name="connsiteX1485" fmla="*/ 1672530 w 5503467"/>
              <a:gd name="connsiteY1485" fmla="*/ 6821191 h 6857999"/>
              <a:gd name="connsiteX1486" fmla="*/ 1673190 w 5503467"/>
              <a:gd name="connsiteY1486" fmla="*/ 6804542 h 6857999"/>
              <a:gd name="connsiteX1487" fmla="*/ 1671929 w 5503467"/>
              <a:gd name="connsiteY1487" fmla="*/ 6773573 h 6857999"/>
              <a:gd name="connsiteX1488" fmla="*/ 1670475 w 5503467"/>
              <a:gd name="connsiteY1488" fmla="*/ 6848575 h 6857999"/>
              <a:gd name="connsiteX1489" fmla="*/ 1670624 w 5503467"/>
              <a:gd name="connsiteY1489" fmla="*/ 6857999 h 6857999"/>
              <a:gd name="connsiteX1490" fmla="*/ 1649548 w 5503467"/>
              <a:gd name="connsiteY1490" fmla="*/ 6857999 h 6857999"/>
              <a:gd name="connsiteX1491" fmla="*/ 1640900 w 5503467"/>
              <a:gd name="connsiteY1491" fmla="*/ 6837230 h 6857999"/>
              <a:gd name="connsiteX1492" fmla="*/ 1636058 w 5503467"/>
              <a:gd name="connsiteY1492" fmla="*/ 6787574 h 6857999"/>
              <a:gd name="connsiteX1493" fmla="*/ 1631969 w 5503467"/>
              <a:gd name="connsiteY1493" fmla="*/ 6702876 h 6857999"/>
              <a:gd name="connsiteX1494" fmla="*/ 1628133 w 5503467"/>
              <a:gd name="connsiteY1494" fmla="*/ 6759375 h 6857999"/>
              <a:gd name="connsiteX1495" fmla="*/ 1614320 w 5503467"/>
              <a:gd name="connsiteY1495" fmla="*/ 6726042 h 6857999"/>
              <a:gd name="connsiteX1496" fmla="*/ 1598706 w 5503467"/>
              <a:gd name="connsiteY1496" fmla="*/ 6704602 h 6857999"/>
              <a:gd name="connsiteX1497" fmla="*/ 1587014 w 5503467"/>
              <a:gd name="connsiteY1497" fmla="*/ 6792335 h 6857999"/>
              <a:gd name="connsiteX1498" fmla="*/ 1585421 w 5503467"/>
              <a:gd name="connsiteY1498" fmla="*/ 6818081 h 6857999"/>
              <a:gd name="connsiteX1499" fmla="*/ 1576683 w 5503467"/>
              <a:gd name="connsiteY1499" fmla="*/ 6811606 h 6857999"/>
              <a:gd name="connsiteX1500" fmla="*/ 1576714 w 5503467"/>
              <a:gd name="connsiteY1500" fmla="*/ 6811367 h 6857999"/>
              <a:gd name="connsiteX1501" fmla="*/ 1572061 w 5503467"/>
              <a:gd name="connsiteY1501" fmla="*/ 6821919 h 6857999"/>
              <a:gd name="connsiteX1502" fmla="*/ 1562568 w 5503467"/>
              <a:gd name="connsiteY1502" fmla="*/ 6836688 h 6857999"/>
              <a:gd name="connsiteX1503" fmla="*/ 1575429 w 5503467"/>
              <a:gd name="connsiteY1503" fmla="*/ 6846368 h 6857999"/>
              <a:gd name="connsiteX1504" fmla="*/ 1576307 w 5503467"/>
              <a:gd name="connsiteY1504" fmla="*/ 6857999 h 6857999"/>
              <a:gd name="connsiteX1505" fmla="*/ 1523715 w 5503467"/>
              <a:gd name="connsiteY1505" fmla="*/ 6857999 h 6857999"/>
              <a:gd name="connsiteX1506" fmla="*/ 1523903 w 5503467"/>
              <a:gd name="connsiteY1506" fmla="*/ 6854690 h 6857999"/>
              <a:gd name="connsiteX1507" fmla="*/ 1521836 w 5503467"/>
              <a:gd name="connsiteY1507" fmla="*/ 6831863 h 6857999"/>
              <a:gd name="connsiteX1508" fmla="*/ 1522994 w 5503467"/>
              <a:gd name="connsiteY1508" fmla="*/ 6801694 h 6857999"/>
              <a:gd name="connsiteX1509" fmla="*/ 1517385 w 5503467"/>
              <a:gd name="connsiteY1509" fmla="*/ 6796356 h 6857999"/>
              <a:gd name="connsiteX1510" fmla="*/ 1515060 w 5503467"/>
              <a:gd name="connsiteY1510" fmla="*/ 6798719 h 6857999"/>
              <a:gd name="connsiteX1511" fmla="*/ 1518143 w 5503467"/>
              <a:gd name="connsiteY1511" fmla="*/ 6842780 h 6857999"/>
              <a:gd name="connsiteX1512" fmla="*/ 1509597 w 5503467"/>
              <a:gd name="connsiteY1512" fmla="*/ 6817411 h 6857999"/>
              <a:gd name="connsiteX1513" fmla="*/ 1508703 w 5503467"/>
              <a:gd name="connsiteY1513" fmla="*/ 6804926 h 6857999"/>
              <a:gd name="connsiteX1514" fmla="*/ 1505446 w 5503467"/>
              <a:gd name="connsiteY1514" fmla="*/ 6808624 h 6857999"/>
              <a:gd name="connsiteX1515" fmla="*/ 1497381 w 5503467"/>
              <a:gd name="connsiteY1515" fmla="*/ 6822126 h 6857999"/>
              <a:gd name="connsiteX1516" fmla="*/ 1498336 w 5503467"/>
              <a:gd name="connsiteY1516" fmla="*/ 6838016 h 6857999"/>
              <a:gd name="connsiteX1517" fmla="*/ 1499169 w 5503467"/>
              <a:gd name="connsiteY1517" fmla="*/ 6857999 h 6857999"/>
              <a:gd name="connsiteX1518" fmla="*/ 1479859 w 5503467"/>
              <a:gd name="connsiteY1518" fmla="*/ 6857999 h 6857999"/>
              <a:gd name="connsiteX1519" fmla="*/ 1481689 w 5503467"/>
              <a:gd name="connsiteY1519" fmla="*/ 6838027 h 6857999"/>
              <a:gd name="connsiteX1520" fmla="*/ 1478903 w 5503467"/>
              <a:gd name="connsiteY1520" fmla="*/ 6826507 h 6857999"/>
              <a:gd name="connsiteX1521" fmla="*/ 1471599 w 5503467"/>
              <a:gd name="connsiteY1521" fmla="*/ 6797420 h 6857999"/>
              <a:gd name="connsiteX1522" fmla="*/ 1469770 w 5503467"/>
              <a:gd name="connsiteY1522" fmla="*/ 6857999 h 6857999"/>
              <a:gd name="connsiteX1523" fmla="*/ 1461085 w 5503467"/>
              <a:gd name="connsiteY1523" fmla="*/ 6857999 h 6857999"/>
              <a:gd name="connsiteX1524" fmla="*/ 1456343 w 5503467"/>
              <a:gd name="connsiteY1524" fmla="*/ 6808043 h 6857999"/>
              <a:gd name="connsiteX1525" fmla="*/ 1455877 w 5503467"/>
              <a:gd name="connsiteY1525" fmla="*/ 6809680 h 6857999"/>
              <a:gd name="connsiteX1526" fmla="*/ 1443551 w 5503467"/>
              <a:gd name="connsiteY1526" fmla="*/ 6853915 h 6857999"/>
              <a:gd name="connsiteX1527" fmla="*/ 1443324 w 5503467"/>
              <a:gd name="connsiteY1527" fmla="*/ 6857999 h 6857999"/>
              <a:gd name="connsiteX1528" fmla="*/ 1423816 w 5503467"/>
              <a:gd name="connsiteY1528" fmla="*/ 6857999 h 6857999"/>
              <a:gd name="connsiteX1529" fmla="*/ 1422253 w 5503467"/>
              <a:gd name="connsiteY1529" fmla="*/ 6854776 h 6857999"/>
              <a:gd name="connsiteX1530" fmla="*/ 1422130 w 5503467"/>
              <a:gd name="connsiteY1530" fmla="*/ 6855731 h 6857999"/>
              <a:gd name="connsiteX1531" fmla="*/ 1422225 w 5503467"/>
              <a:gd name="connsiteY1531" fmla="*/ 6857999 h 6857999"/>
              <a:gd name="connsiteX1532" fmla="*/ 1403076 w 5503467"/>
              <a:gd name="connsiteY1532" fmla="*/ 6857999 h 6857999"/>
              <a:gd name="connsiteX1533" fmla="*/ 1400714 w 5503467"/>
              <a:gd name="connsiteY1533" fmla="*/ 6845902 h 6857999"/>
              <a:gd name="connsiteX1534" fmla="*/ 1397731 w 5503467"/>
              <a:gd name="connsiteY1534" fmla="*/ 6854723 h 6857999"/>
              <a:gd name="connsiteX1535" fmla="*/ 1398097 w 5503467"/>
              <a:gd name="connsiteY1535" fmla="*/ 6857999 h 6857999"/>
              <a:gd name="connsiteX1536" fmla="*/ 1387633 w 5503467"/>
              <a:gd name="connsiteY1536" fmla="*/ 6857999 h 6857999"/>
              <a:gd name="connsiteX1537" fmla="*/ 1387256 w 5503467"/>
              <a:gd name="connsiteY1537" fmla="*/ 6854336 h 6857999"/>
              <a:gd name="connsiteX1538" fmla="*/ 1373649 w 5503467"/>
              <a:gd name="connsiteY1538" fmla="*/ 6846500 h 6857999"/>
              <a:gd name="connsiteX1539" fmla="*/ 1362459 w 5503467"/>
              <a:gd name="connsiteY1539" fmla="*/ 6857999 h 6857999"/>
              <a:gd name="connsiteX1540" fmla="*/ 1342380 w 5503467"/>
              <a:gd name="connsiteY1540" fmla="*/ 6857999 h 6857999"/>
              <a:gd name="connsiteX1541" fmla="*/ 1339984 w 5503467"/>
              <a:gd name="connsiteY1541" fmla="*/ 6847444 h 6857999"/>
              <a:gd name="connsiteX1542" fmla="*/ 1349697 w 5503467"/>
              <a:gd name="connsiteY1542" fmla="*/ 6821302 h 6857999"/>
              <a:gd name="connsiteX1543" fmla="*/ 1360442 w 5503467"/>
              <a:gd name="connsiteY1543" fmla="*/ 6775648 h 6857999"/>
              <a:gd name="connsiteX1544" fmla="*/ 1362154 w 5503467"/>
              <a:gd name="connsiteY1544" fmla="*/ 6760593 h 6857999"/>
              <a:gd name="connsiteX1545" fmla="*/ 1361690 w 5503467"/>
              <a:gd name="connsiteY1545" fmla="*/ 6754467 h 6857999"/>
              <a:gd name="connsiteX1546" fmla="*/ 1357018 w 5503467"/>
              <a:gd name="connsiteY1546" fmla="*/ 6728391 h 6857999"/>
              <a:gd name="connsiteX1547" fmla="*/ 1359693 w 5503467"/>
              <a:gd name="connsiteY1547" fmla="*/ 6707881 h 6857999"/>
              <a:gd name="connsiteX1548" fmla="*/ 1358981 w 5503467"/>
              <a:gd name="connsiteY1548" fmla="*/ 6705604 h 6857999"/>
              <a:gd name="connsiteX1549" fmla="*/ 1355426 w 5503467"/>
              <a:gd name="connsiteY1549" fmla="*/ 6684525 h 6857999"/>
              <a:gd name="connsiteX1550" fmla="*/ 1347142 w 5503467"/>
              <a:gd name="connsiteY1550" fmla="*/ 6628143 h 6857999"/>
              <a:gd name="connsiteX1551" fmla="*/ 1345654 w 5503467"/>
              <a:gd name="connsiteY1551" fmla="*/ 6622127 h 6857999"/>
              <a:gd name="connsiteX1552" fmla="*/ 1345679 w 5503467"/>
              <a:gd name="connsiteY1552" fmla="*/ 6637412 h 6857999"/>
              <a:gd name="connsiteX1553" fmla="*/ 1342042 w 5503467"/>
              <a:gd name="connsiteY1553" fmla="*/ 6645973 h 6857999"/>
              <a:gd name="connsiteX1554" fmla="*/ 1337566 w 5503467"/>
              <a:gd name="connsiteY1554" fmla="*/ 6647534 h 6857999"/>
              <a:gd name="connsiteX1555" fmla="*/ 1340864 w 5503467"/>
              <a:gd name="connsiteY1555" fmla="*/ 6634934 h 6857999"/>
              <a:gd name="connsiteX1556" fmla="*/ 1336389 w 5503467"/>
              <a:gd name="connsiteY1556" fmla="*/ 6617767 h 6857999"/>
              <a:gd name="connsiteX1557" fmla="*/ 1332181 w 5503467"/>
              <a:gd name="connsiteY1557" fmla="*/ 6595874 h 6857999"/>
              <a:gd name="connsiteX1558" fmla="*/ 1328140 w 5503467"/>
              <a:gd name="connsiteY1558" fmla="*/ 6626878 h 6857999"/>
              <a:gd name="connsiteX1559" fmla="*/ 1329400 w 5503467"/>
              <a:gd name="connsiteY1559" fmla="*/ 6650084 h 6857999"/>
              <a:gd name="connsiteX1560" fmla="*/ 1332563 w 5503467"/>
              <a:gd name="connsiteY1560" fmla="*/ 6650820 h 6857999"/>
              <a:gd name="connsiteX1561" fmla="*/ 1324327 w 5503467"/>
              <a:gd name="connsiteY1561" fmla="*/ 6672313 h 6857999"/>
              <a:gd name="connsiteX1562" fmla="*/ 1328545 w 5503467"/>
              <a:gd name="connsiteY1562" fmla="*/ 6695331 h 6857999"/>
              <a:gd name="connsiteX1563" fmla="*/ 1328167 w 5503467"/>
              <a:gd name="connsiteY1563" fmla="*/ 6707893 h 6857999"/>
              <a:gd name="connsiteX1564" fmla="*/ 1323634 w 5503467"/>
              <a:gd name="connsiteY1564" fmla="*/ 6731072 h 6857999"/>
              <a:gd name="connsiteX1565" fmla="*/ 1327281 w 5503467"/>
              <a:gd name="connsiteY1565" fmla="*/ 6757257 h 6857999"/>
              <a:gd name="connsiteX1566" fmla="*/ 1332139 w 5503467"/>
              <a:gd name="connsiteY1566" fmla="*/ 6849574 h 6857999"/>
              <a:gd name="connsiteX1567" fmla="*/ 1332153 w 5503467"/>
              <a:gd name="connsiteY1567" fmla="*/ 6857999 h 6857999"/>
              <a:gd name="connsiteX1568" fmla="*/ 1325807 w 5503467"/>
              <a:gd name="connsiteY1568" fmla="*/ 6857999 h 6857999"/>
              <a:gd name="connsiteX1569" fmla="*/ 1322353 w 5503467"/>
              <a:gd name="connsiteY1569" fmla="*/ 6854272 h 6857999"/>
              <a:gd name="connsiteX1570" fmla="*/ 1318750 w 5503467"/>
              <a:gd name="connsiteY1570" fmla="*/ 6843947 h 6857999"/>
              <a:gd name="connsiteX1571" fmla="*/ 1318009 w 5503467"/>
              <a:gd name="connsiteY1571" fmla="*/ 6838030 h 6857999"/>
              <a:gd name="connsiteX1572" fmla="*/ 1312086 w 5503467"/>
              <a:gd name="connsiteY1572" fmla="*/ 6857999 h 6857999"/>
              <a:gd name="connsiteX1573" fmla="*/ 1282040 w 5503467"/>
              <a:gd name="connsiteY1573" fmla="*/ 6857999 h 6857999"/>
              <a:gd name="connsiteX1574" fmla="*/ 1281955 w 5503467"/>
              <a:gd name="connsiteY1574" fmla="*/ 6841819 h 6857999"/>
              <a:gd name="connsiteX1575" fmla="*/ 1278047 w 5503467"/>
              <a:gd name="connsiteY1575" fmla="*/ 6852922 h 6857999"/>
              <a:gd name="connsiteX1576" fmla="*/ 1277476 w 5503467"/>
              <a:gd name="connsiteY1576" fmla="*/ 6857999 h 6857999"/>
              <a:gd name="connsiteX1577" fmla="*/ 1267189 w 5503467"/>
              <a:gd name="connsiteY1577" fmla="*/ 6857999 h 6857999"/>
              <a:gd name="connsiteX1578" fmla="*/ 1270186 w 5503467"/>
              <a:gd name="connsiteY1578" fmla="*/ 6816029 h 6857999"/>
              <a:gd name="connsiteX1579" fmla="*/ 1277946 w 5503467"/>
              <a:gd name="connsiteY1579" fmla="*/ 6789392 h 6857999"/>
              <a:gd name="connsiteX1580" fmla="*/ 1279228 w 5503467"/>
              <a:gd name="connsiteY1580" fmla="*/ 6760208 h 6857999"/>
              <a:gd name="connsiteX1581" fmla="*/ 1276112 w 5503467"/>
              <a:gd name="connsiteY1581" fmla="*/ 6722206 h 6857999"/>
              <a:gd name="connsiteX1582" fmla="*/ 1285581 w 5503467"/>
              <a:gd name="connsiteY1582" fmla="*/ 6610900 h 6857999"/>
              <a:gd name="connsiteX1583" fmla="*/ 1275958 w 5503467"/>
              <a:gd name="connsiteY1583" fmla="*/ 6570593 h 6857999"/>
              <a:gd name="connsiteX1584" fmla="*/ 1271225 w 5503467"/>
              <a:gd name="connsiteY1584" fmla="*/ 6543055 h 6857999"/>
              <a:gd name="connsiteX1585" fmla="*/ 1268077 w 5503467"/>
              <a:gd name="connsiteY1585" fmla="*/ 6511111 h 6857999"/>
              <a:gd name="connsiteX1586" fmla="*/ 1265175 w 5503467"/>
              <a:gd name="connsiteY1586" fmla="*/ 6479203 h 6857999"/>
              <a:gd name="connsiteX1587" fmla="*/ 1260133 w 5503467"/>
              <a:gd name="connsiteY1587" fmla="*/ 6450166 h 6857999"/>
              <a:gd name="connsiteX1588" fmla="*/ 1255649 w 5503467"/>
              <a:gd name="connsiteY1588" fmla="*/ 6422660 h 6857999"/>
              <a:gd name="connsiteX1589" fmla="*/ 1249070 w 5503467"/>
              <a:gd name="connsiteY1589" fmla="*/ 6364802 h 6857999"/>
              <a:gd name="connsiteX1590" fmla="*/ 1249143 w 5503467"/>
              <a:gd name="connsiteY1590" fmla="*/ 6339101 h 6857999"/>
              <a:gd name="connsiteX1591" fmla="*/ 1252771 w 5503467"/>
              <a:gd name="connsiteY1591" fmla="*/ 6334480 h 6857999"/>
              <a:gd name="connsiteX1592" fmla="*/ 1251133 w 5503467"/>
              <a:gd name="connsiteY1592" fmla="*/ 6327717 h 6857999"/>
              <a:gd name="connsiteX1593" fmla="*/ 1237261 w 5503467"/>
              <a:gd name="connsiteY1593" fmla="*/ 6285161 h 6857999"/>
              <a:gd name="connsiteX1594" fmla="*/ 1240490 w 5503467"/>
              <a:gd name="connsiteY1594" fmla="*/ 6273939 h 6857999"/>
              <a:gd name="connsiteX1595" fmla="*/ 1246129 w 5503467"/>
              <a:gd name="connsiteY1595" fmla="*/ 6279042 h 6857999"/>
              <a:gd name="connsiteX1596" fmla="*/ 1246871 w 5503467"/>
              <a:gd name="connsiteY1596" fmla="*/ 6281079 h 6857999"/>
              <a:gd name="connsiteX1597" fmla="*/ 1246995 w 5503467"/>
              <a:gd name="connsiteY1597" fmla="*/ 6280125 h 6857999"/>
              <a:gd name="connsiteX1598" fmla="*/ 1245050 w 5503467"/>
              <a:gd name="connsiteY1598" fmla="*/ 6264104 h 6857999"/>
              <a:gd name="connsiteX1599" fmla="*/ 1243502 w 5503467"/>
              <a:gd name="connsiteY1599" fmla="*/ 6258567 h 6857999"/>
              <a:gd name="connsiteX1600" fmla="*/ 1243347 w 5503467"/>
              <a:gd name="connsiteY1600" fmla="*/ 6259758 h 6857999"/>
              <a:gd name="connsiteX1601" fmla="*/ 1239036 w 5503467"/>
              <a:gd name="connsiteY1601" fmla="*/ 6263806 h 6857999"/>
              <a:gd name="connsiteX1602" fmla="*/ 1232034 w 5503467"/>
              <a:gd name="connsiteY1602" fmla="*/ 6253678 h 6857999"/>
              <a:gd name="connsiteX1603" fmla="*/ 1228663 w 5503467"/>
              <a:gd name="connsiteY1603" fmla="*/ 6235046 h 6857999"/>
              <a:gd name="connsiteX1604" fmla="*/ 1227176 w 5503467"/>
              <a:gd name="connsiteY1604" fmla="*/ 6230971 h 6857999"/>
              <a:gd name="connsiteX1605" fmla="*/ 1225668 w 5503467"/>
              <a:gd name="connsiteY1605" fmla="*/ 6203851 h 6857999"/>
              <a:gd name="connsiteX1606" fmla="*/ 1216253 w 5503467"/>
              <a:gd name="connsiteY1606" fmla="*/ 6181279 h 6857999"/>
              <a:gd name="connsiteX1607" fmla="*/ 1206276 w 5503467"/>
              <a:gd name="connsiteY1607" fmla="*/ 6172703 h 6857999"/>
              <a:gd name="connsiteX1608" fmla="*/ 1176306 w 5503467"/>
              <a:gd name="connsiteY1608" fmla="*/ 6077597 h 6857999"/>
              <a:gd name="connsiteX1609" fmla="*/ 1174169 w 5503467"/>
              <a:gd name="connsiteY1609" fmla="*/ 6070769 h 6857999"/>
              <a:gd name="connsiteX1610" fmla="*/ 1152774 w 5503467"/>
              <a:gd name="connsiteY1610" fmla="*/ 6010496 h 6857999"/>
              <a:gd name="connsiteX1611" fmla="*/ 1143078 w 5503467"/>
              <a:gd name="connsiteY1611" fmla="*/ 5992010 h 6857999"/>
              <a:gd name="connsiteX1612" fmla="*/ 1125545 w 5503467"/>
              <a:gd name="connsiteY1612" fmla="*/ 5962072 h 6857999"/>
              <a:gd name="connsiteX1613" fmla="*/ 1134356 w 5503467"/>
              <a:gd name="connsiteY1613" fmla="*/ 6020220 h 6857999"/>
              <a:gd name="connsiteX1614" fmla="*/ 1142214 w 5503467"/>
              <a:gd name="connsiteY1614" fmla="*/ 6054719 h 6857999"/>
              <a:gd name="connsiteX1615" fmla="*/ 1143267 w 5503467"/>
              <a:gd name="connsiteY1615" fmla="*/ 6064070 h 6857999"/>
              <a:gd name="connsiteX1616" fmla="*/ 1159754 w 5503467"/>
              <a:gd name="connsiteY1616" fmla="*/ 6150386 h 6857999"/>
              <a:gd name="connsiteX1617" fmla="*/ 1159434 w 5503467"/>
              <a:gd name="connsiteY1617" fmla="*/ 6174112 h 6857999"/>
              <a:gd name="connsiteX1618" fmla="*/ 1171942 w 5503467"/>
              <a:gd name="connsiteY1618" fmla="*/ 6213585 h 6857999"/>
              <a:gd name="connsiteX1619" fmla="*/ 1186483 w 5503467"/>
              <a:gd name="connsiteY1619" fmla="*/ 6285817 h 6857999"/>
              <a:gd name="connsiteX1620" fmla="*/ 1190744 w 5503467"/>
              <a:gd name="connsiteY1620" fmla="*/ 6328575 h 6857999"/>
              <a:gd name="connsiteX1621" fmla="*/ 1176738 w 5503467"/>
              <a:gd name="connsiteY1621" fmla="*/ 6312196 h 6857999"/>
              <a:gd name="connsiteX1622" fmla="*/ 1175119 w 5503467"/>
              <a:gd name="connsiteY1622" fmla="*/ 6332360 h 6857999"/>
              <a:gd name="connsiteX1623" fmla="*/ 1159992 w 5503467"/>
              <a:gd name="connsiteY1623" fmla="*/ 6328446 h 6857999"/>
              <a:gd name="connsiteX1624" fmla="*/ 1166909 w 5503467"/>
              <a:gd name="connsiteY1624" fmla="*/ 6317951 h 6857999"/>
              <a:gd name="connsiteX1625" fmla="*/ 1165671 w 5503467"/>
              <a:gd name="connsiteY1625" fmla="*/ 6313909 h 6857999"/>
              <a:gd name="connsiteX1626" fmla="*/ 1141786 w 5503467"/>
              <a:gd name="connsiteY1626" fmla="*/ 6276593 h 6857999"/>
              <a:gd name="connsiteX1627" fmla="*/ 1125114 w 5503467"/>
              <a:gd name="connsiteY1627" fmla="*/ 6187830 h 6857999"/>
              <a:gd name="connsiteX1628" fmla="*/ 1131192 w 5503467"/>
              <a:gd name="connsiteY1628" fmla="*/ 6176010 h 6857999"/>
              <a:gd name="connsiteX1629" fmla="*/ 1126404 w 5503467"/>
              <a:gd name="connsiteY1629" fmla="*/ 6135365 h 6857999"/>
              <a:gd name="connsiteX1630" fmla="*/ 1115844 w 5503467"/>
              <a:gd name="connsiteY1630" fmla="*/ 6111916 h 6857999"/>
              <a:gd name="connsiteX1631" fmla="*/ 1104692 w 5503467"/>
              <a:gd name="connsiteY1631" fmla="*/ 6087177 h 6857999"/>
              <a:gd name="connsiteX1632" fmla="*/ 1106174 w 5503467"/>
              <a:gd name="connsiteY1632" fmla="*/ 6108715 h 6857999"/>
              <a:gd name="connsiteX1633" fmla="*/ 1096109 w 5503467"/>
              <a:gd name="connsiteY1633" fmla="*/ 6079508 h 6857999"/>
              <a:gd name="connsiteX1634" fmla="*/ 1101042 w 5503467"/>
              <a:gd name="connsiteY1634" fmla="*/ 6070694 h 6857999"/>
              <a:gd name="connsiteX1635" fmla="*/ 1096429 w 5503467"/>
              <a:gd name="connsiteY1635" fmla="*/ 6049961 h 6857999"/>
              <a:gd name="connsiteX1636" fmla="*/ 1093331 w 5503467"/>
              <a:gd name="connsiteY1636" fmla="*/ 6048586 h 6857999"/>
              <a:gd name="connsiteX1637" fmla="*/ 1088628 w 5503467"/>
              <a:gd name="connsiteY1637" fmla="*/ 6024688 h 6857999"/>
              <a:gd name="connsiteX1638" fmla="*/ 1091512 w 5503467"/>
              <a:gd name="connsiteY1638" fmla="*/ 6027733 h 6857999"/>
              <a:gd name="connsiteX1639" fmla="*/ 1078792 w 5503467"/>
              <a:gd name="connsiteY1639" fmla="*/ 5972469 h 6857999"/>
              <a:gd name="connsiteX1640" fmla="*/ 1051524 w 5503467"/>
              <a:gd name="connsiteY1640" fmla="*/ 5866317 h 6857999"/>
              <a:gd name="connsiteX1641" fmla="*/ 1013054 w 5503467"/>
              <a:gd name="connsiteY1641" fmla="*/ 5716497 h 6857999"/>
              <a:gd name="connsiteX1642" fmla="*/ 999891 w 5503467"/>
              <a:gd name="connsiteY1642" fmla="*/ 5685919 h 6857999"/>
              <a:gd name="connsiteX1643" fmla="*/ 994253 w 5503467"/>
              <a:gd name="connsiteY1643" fmla="*/ 5673056 h 6857999"/>
              <a:gd name="connsiteX1644" fmla="*/ 981555 w 5503467"/>
              <a:gd name="connsiteY1644" fmla="*/ 5642781 h 6857999"/>
              <a:gd name="connsiteX1645" fmla="*/ 971647 w 5503467"/>
              <a:gd name="connsiteY1645" fmla="*/ 5616264 h 6857999"/>
              <a:gd name="connsiteX1646" fmla="*/ 930471 w 5503467"/>
              <a:gd name="connsiteY1646" fmla="*/ 5479432 h 6857999"/>
              <a:gd name="connsiteX1647" fmla="*/ 915020 w 5503467"/>
              <a:gd name="connsiteY1647" fmla="*/ 5439337 h 6857999"/>
              <a:gd name="connsiteX1648" fmla="*/ 886685 w 5503467"/>
              <a:gd name="connsiteY1648" fmla="*/ 5360696 h 6857999"/>
              <a:gd name="connsiteX1649" fmla="*/ 878383 w 5503467"/>
              <a:gd name="connsiteY1649" fmla="*/ 5347001 h 6857999"/>
              <a:gd name="connsiteX1650" fmla="*/ 873888 w 5503467"/>
              <a:gd name="connsiteY1650" fmla="*/ 5352479 h 6857999"/>
              <a:gd name="connsiteX1651" fmla="*/ 871136 w 5503467"/>
              <a:gd name="connsiteY1651" fmla="*/ 5334897 h 6857999"/>
              <a:gd name="connsiteX1652" fmla="*/ 864481 w 5503467"/>
              <a:gd name="connsiteY1652" fmla="*/ 5304682 h 6857999"/>
              <a:gd name="connsiteX1653" fmla="*/ 840535 w 5503467"/>
              <a:gd name="connsiteY1653" fmla="*/ 5263963 h 6857999"/>
              <a:gd name="connsiteX1654" fmla="*/ 814678 w 5503467"/>
              <a:gd name="connsiteY1654" fmla="*/ 5197288 h 6857999"/>
              <a:gd name="connsiteX1655" fmla="*/ 784823 w 5503467"/>
              <a:gd name="connsiteY1655" fmla="*/ 5124511 h 6857999"/>
              <a:gd name="connsiteX1656" fmla="*/ 779649 w 5503467"/>
              <a:gd name="connsiteY1656" fmla="*/ 5113893 h 6857999"/>
              <a:gd name="connsiteX1657" fmla="*/ 762493 w 5503467"/>
              <a:gd name="connsiteY1657" fmla="*/ 5077212 h 6857999"/>
              <a:gd name="connsiteX1658" fmla="*/ 583998 w 5503467"/>
              <a:gd name="connsiteY1658" fmla="*/ 4912290 h 6857999"/>
              <a:gd name="connsiteX1659" fmla="*/ 570406 w 5503467"/>
              <a:gd name="connsiteY1659" fmla="*/ 4871468 h 6857999"/>
              <a:gd name="connsiteX1660" fmla="*/ 570315 w 5503467"/>
              <a:gd name="connsiteY1660" fmla="*/ 4862483 h 6857999"/>
              <a:gd name="connsiteX1661" fmla="*/ 572650 w 5503467"/>
              <a:gd name="connsiteY1661" fmla="*/ 4846535 h 6857999"/>
              <a:gd name="connsiteX1662" fmla="*/ 569550 w 5503467"/>
              <a:gd name="connsiteY1662" fmla="*/ 4841280 h 6857999"/>
              <a:gd name="connsiteX1663" fmla="*/ 570635 w 5503467"/>
              <a:gd name="connsiteY1663" fmla="*/ 4840694 h 6857999"/>
              <a:gd name="connsiteX1664" fmla="*/ 569489 w 5503467"/>
              <a:gd name="connsiteY1664" fmla="*/ 4837875 h 6857999"/>
              <a:gd name="connsiteX1665" fmla="*/ 525201 w 5503467"/>
              <a:gd name="connsiteY1665" fmla="*/ 4734597 h 6857999"/>
              <a:gd name="connsiteX1666" fmla="*/ 499992 w 5503467"/>
              <a:gd name="connsiteY1666" fmla="*/ 4672612 h 6857999"/>
              <a:gd name="connsiteX1667" fmla="*/ 462853 w 5503467"/>
              <a:gd name="connsiteY1667" fmla="*/ 4605435 h 6857999"/>
              <a:gd name="connsiteX1668" fmla="*/ 429951 w 5503467"/>
              <a:gd name="connsiteY1668" fmla="*/ 4552151 h 6857999"/>
              <a:gd name="connsiteX1669" fmla="*/ 379051 w 5503467"/>
              <a:gd name="connsiteY1669" fmla="*/ 4470565 h 6857999"/>
              <a:gd name="connsiteX1670" fmla="*/ 336025 w 5503467"/>
              <a:gd name="connsiteY1670" fmla="*/ 4390494 h 6857999"/>
              <a:gd name="connsiteX1671" fmla="*/ 314467 w 5503467"/>
              <a:gd name="connsiteY1671" fmla="*/ 4344994 h 6857999"/>
              <a:gd name="connsiteX1672" fmla="*/ 278920 w 5503467"/>
              <a:gd name="connsiteY1672" fmla="*/ 4246251 h 6857999"/>
              <a:gd name="connsiteX1673" fmla="*/ 277158 w 5503467"/>
              <a:gd name="connsiteY1673" fmla="*/ 4234621 h 6857999"/>
              <a:gd name="connsiteX1674" fmla="*/ 264815 w 5503467"/>
              <a:gd name="connsiteY1674" fmla="*/ 4164855 h 6857999"/>
              <a:gd name="connsiteX1675" fmla="*/ 255265 w 5503467"/>
              <a:gd name="connsiteY1675" fmla="*/ 4096908 h 6857999"/>
              <a:gd name="connsiteX1676" fmla="*/ 259432 w 5503467"/>
              <a:gd name="connsiteY1676" fmla="*/ 4064948 h 6857999"/>
              <a:gd name="connsiteX1677" fmla="*/ 253917 w 5503467"/>
              <a:gd name="connsiteY1677" fmla="*/ 4058896 h 6857999"/>
              <a:gd name="connsiteX1678" fmla="*/ 226214 w 5503467"/>
              <a:gd name="connsiteY1678" fmla="*/ 4031512 h 6857999"/>
              <a:gd name="connsiteX1679" fmla="*/ 189494 w 5503467"/>
              <a:gd name="connsiteY1679" fmla="*/ 3992041 h 6857999"/>
              <a:gd name="connsiteX1680" fmla="*/ 184506 w 5503467"/>
              <a:gd name="connsiteY1680" fmla="*/ 3987752 h 6857999"/>
              <a:gd name="connsiteX1681" fmla="*/ 118877 w 5503467"/>
              <a:gd name="connsiteY1681" fmla="*/ 3914675 h 6857999"/>
              <a:gd name="connsiteX1682" fmla="*/ 115501 w 5503467"/>
              <a:gd name="connsiteY1682" fmla="*/ 3907688 h 6857999"/>
              <a:gd name="connsiteX1683" fmla="*/ 127619 w 5503467"/>
              <a:gd name="connsiteY1683" fmla="*/ 3915331 h 6857999"/>
              <a:gd name="connsiteX1684" fmla="*/ 215592 w 5503467"/>
              <a:gd name="connsiteY1684" fmla="*/ 4004660 h 6857999"/>
              <a:gd name="connsiteX1685" fmla="*/ 263437 w 5503467"/>
              <a:gd name="connsiteY1685" fmla="*/ 4053587 h 6857999"/>
              <a:gd name="connsiteX1686" fmla="*/ 266232 w 5503467"/>
              <a:gd name="connsiteY1686" fmla="*/ 4036004 h 6857999"/>
              <a:gd name="connsiteX1687" fmla="*/ 255856 w 5503467"/>
              <a:gd name="connsiteY1687" fmla="*/ 4018883 h 6857999"/>
              <a:gd name="connsiteX1688" fmla="*/ 267104 w 5503467"/>
              <a:gd name="connsiteY1688" fmla="*/ 4027386 h 6857999"/>
              <a:gd name="connsiteX1689" fmla="*/ 267602 w 5503467"/>
              <a:gd name="connsiteY1689" fmla="*/ 4023570 h 6857999"/>
              <a:gd name="connsiteX1690" fmla="*/ 252726 w 5503467"/>
              <a:gd name="connsiteY1690" fmla="*/ 4009988 h 6857999"/>
              <a:gd name="connsiteX1691" fmla="*/ 256165 w 5503467"/>
              <a:gd name="connsiteY1691" fmla="*/ 4018440 h 6857999"/>
              <a:gd name="connsiteX1692" fmla="*/ 256103 w 5503467"/>
              <a:gd name="connsiteY1692" fmla="*/ 4018916 h 6857999"/>
              <a:gd name="connsiteX1693" fmla="*/ 255637 w 5503467"/>
              <a:gd name="connsiteY1693" fmla="*/ 4018613 h 6857999"/>
              <a:gd name="connsiteX1694" fmla="*/ 252479 w 5503467"/>
              <a:gd name="connsiteY1694" fmla="*/ 4009956 h 6857999"/>
              <a:gd name="connsiteX1695" fmla="*/ 252541 w 5503467"/>
              <a:gd name="connsiteY1695" fmla="*/ 4009478 h 6857999"/>
              <a:gd name="connsiteX1696" fmla="*/ 241695 w 5503467"/>
              <a:gd name="connsiteY1696" fmla="*/ 3999818 h 6857999"/>
              <a:gd name="connsiteX1697" fmla="*/ 226234 w 5503467"/>
              <a:gd name="connsiteY1697" fmla="*/ 3979124 h 6857999"/>
              <a:gd name="connsiteX1698" fmla="*/ 173557 w 5503467"/>
              <a:gd name="connsiteY1698" fmla="*/ 3926656 h 6857999"/>
              <a:gd name="connsiteX1699" fmla="*/ 150003 w 5503467"/>
              <a:gd name="connsiteY1699" fmla="*/ 3908061 h 6857999"/>
              <a:gd name="connsiteX1700" fmla="*/ 139561 w 5503467"/>
              <a:gd name="connsiteY1700" fmla="*/ 3895303 h 6857999"/>
              <a:gd name="connsiteX1701" fmla="*/ 142658 w 5503467"/>
              <a:gd name="connsiteY1701" fmla="*/ 3906378 h 6857999"/>
              <a:gd name="connsiteX1702" fmla="*/ 138757 w 5503467"/>
              <a:gd name="connsiteY1702" fmla="*/ 3895681 h 6857999"/>
              <a:gd name="connsiteX1703" fmla="*/ 124628 w 5503467"/>
              <a:gd name="connsiteY1703" fmla="*/ 3876376 h 6857999"/>
              <a:gd name="connsiteX1704" fmla="*/ 104176 w 5503467"/>
              <a:gd name="connsiteY1704" fmla="*/ 3855275 h 6857999"/>
              <a:gd name="connsiteX1705" fmla="*/ 109356 w 5503467"/>
              <a:gd name="connsiteY1705" fmla="*/ 3842610 h 6857999"/>
              <a:gd name="connsiteX1706" fmla="*/ 155067 w 5503467"/>
              <a:gd name="connsiteY1706" fmla="*/ 3878891 h 6857999"/>
              <a:gd name="connsiteX1707" fmla="*/ 224234 w 5503467"/>
              <a:gd name="connsiteY1707" fmla="*/ 3944181 h 6857999"/>
              <a:gd name="connsiteX1708" fmla="*/ 232571 w 5503467"/>
              <a:gd name="connsiteY1708" fmla="*/ 3947934 h 6857999"/>
              <a:gd name="connsiteX1709" fmla="*/ 218134 w 5503467"/>
              <a:gd name="connsiteY1709" fmla="*/ 3929074 h 6857999"/>
              <a:gd name="connsiteX1710" fmla="*/ 236297 w 5503467"/>
              <a:gd name="connsiteY1710" fmla="*/ 3932897 h 6857999"/>
              <a:gd name="connsiteX1711" fmla="*/ 236795 w 5503467"/>
              <a:gd name="connsiteY1711" fmla="*/ 3929081 h 6857999"/>
              <a:gd name="connsiteX1712" fmla="*/ 230358 w 5503467"/>
              <a:gd name="connsiteY1712" fmla="*/ 3901076 h 6857999"/>
              <a:gd name="connsiteX1713" fmla="*/ 175663 w 5503467"/>
              <a:gd name="connsiteY1713" fmla="*/ 3850530 h 6857999"/>
              <a:gd name="connsiteX1714" fmla="*/ 168226 w 5503467"/>
              <a:gd name="connsiteY1714" fmla="*/ 3847620 h 6857999"/>
              <a:gd name="connsiteX1715" fmla="*/ 185421 w 5503467"/>
              <a:gd name="connsiteY1715" fmla="*/ 3872417 h 6857999"/>
              <a:gd name="connsiteX1716" fmla="*/ 163753 w 5503467"/>
              <a:gd name="connsiteY1716" fmla="*/ 3864499 h 6857999"/>
              <a:gd name="connsiteX1717" fmla="*/ 174071 w 5503467"/>
              <a:gd name="connsiteY1717" fmla="*/ 3878213 h 6857999"/>
              <a:gd name="connsiteX1718" fmla="*/ 207446 w 5503467"/>
              <a:gd name="connsiteY1718" fmla="*/ 3910459 h 6857999"/>
              <a:gd name="connsiteX1719" fmla="*/ 218165 w 5503467"/>
              <a:gd name="connsiteY1719" fmla="*/ 3928837 h 6857999"/>
              <a:gd name="connsiteX1720" fmla="*/ 151819 w 5503467"/>
              <a:gd name="connsiteY1720" fmla="*/ 3867067 h 6857999"/>
              <a:gd name="connsiteX1721" fmla="*/ 146213 w 5503467"/>
              <a:gd name="connsiteY1721" fmla="*/ 3855905 h 6857999"/>
              <a:gd name="connsiteX1722" fmla="*/ 150057 w 5503467"/>
              <a:gd name="connsiteY1722" fmla="*/ 3855436 h 6857999"/>
              <a:gd name="connsiteX1723" fmla="*/ 162701 w 5503467"/>
              <a:gd name="connsiteY1723" fmla="*/ 3862906 h 6857999"/>
              <a:gd name="connsiteX1724" fmla="*/ 150336 w 5503467"/>
              <a:gd name="connsiteY1724" fmla="*/ 3855230 h 6857999"/>
              <a:gd name="connsiteX1725" fmla="*/ 132176 w 5503467"/>
              <a:gd name="connsiteY1725" fmla="*/ 3839764 h 6857999"/>
              <a:gd name="connsiteX1726" fmla="*/ 135180 w 5503467"/>
              <a:gd name="connsiteY1726" fmla="*/ 3847675 h 6857999"/>
              <a:gd name="connsiteX1727" fmla="*/ 89564 w 5503467"/>
              <a:gd name="connsiteY1727" fmla="*/ 3804860 h 6857999"/>
              <a:gd name="connsiteX1728" fmla="*/ 94554 w 5503467"/>
              <a:gd name="connsiteY1728" fmla="*/ 3807209 h 6857999"/>
              <a:gd name="connsiteX1729" fmla="*/ 88143 w 5503467"/>
              <a:gd name="connsiteY1729" fmla="*/ 3796429 h 6857999"/>
              <a:gd name="connsiteX1730" fmla="*/ 67782 w 5503467"/>
              <a:gd name="connsiteY1730" fmla="*/ 3778494 h 6857999"/>
              <a:gd name="connsiteX1731" fmla="*/ 39954 w 5503467"/>
              <a:gd name="connsiteY1731" fmla="*/ 3754004 h 6857999"/>
              <a:gd name="connsiteX1732" fmla="*/ 42834 w 5503467"/>
              <a:gd name="connsiteY1732" fmla="*/ 3762870 h 6857999"/>
              <a:gd name="connsiteX1733" fmla="*/ 19871 w 5503467"/>
              <a:gd name="connsiteY1733" fmla="*/ 3747505 h 6857999"/>
              <a:gd name="connsiteX1734" fmla="*/ 29325 w 5503467"/>
              <a:gd name="connsiteY1734" fmla="*/ 3746556 h 6857999"/>
              <a:gd name="connsiteX1735" fmla="*/ 18478 w 5503467"/>
              <a:gd name="connsiteY1735" fmla="*/ 3738836 h 6857999"/>
              <a:gd name="connsiteX1736" fmla="*/ 3508 w 5503467"/>
              <a:gd name="connsiteY1736" fmla="*/ 3729848 h 6857999"/>
              <a:gd name="connsiteX1737" fmla="*/ 18168 w 5503467"/>
              <a:gd name="connsiteY1737" fmla="*/ 3739280 h 6857999"/>
              <a:gd name="connsiteX1738" fmla="*/ 19126 w 5503467"/>
              <a:gd name="connsiteY1738" fmla="*/ 3747408 h 6857999"/>
              <a:gd name="connsiteX1739" fmla="*/ 3230 w 5503467"/>
              <a:gd name="connsiteY1739" fmla="*/ 3730057 h 6857999"/>
              <a:gd name="connsiteX1740" fmla="*/ 2983 w 5503467"/>
              <a:gd name="connsiteY1740" fmla="*/ 3730024 h 6857999"/>
              <a:gd name="connsiteX1741" fmla="*/ 73 w 5503467"/>
              <a:gd name="connsiteY1741" fmla="*/ 3717517 h 6857999"/>
              <a:gd name="connsiteX1742" fmla="*/ 8198 w 5503467"/>
              <a:gd name="connsiteY1742" fmla="*/ 3709360 h 6857999"/>
              <a:gd name="connsiteX1743" fmla="*/ 16785 w 5503467"/>
              <a:gd name="connsiteY1743" fmla="*/ 3711205 h 6857999"/>
              <a:gd name="connsiteX1744" fmla="*/ 24815 w 5503467"/>
              <a:gd name="connsiteY1744" fmla="*/ 3709587 h 6857999"/>
              <a:gd name="connsiteX1745" fmla="*/ 39603 w 5503467"/>
              <a:gd name="connsiteY1745" fmla="*/ 3704479 h 6857999"/>
              <a:gd name="connsiteX1746" fmla="*/ 26125 w 5503467"/>
              <a:gd name="connsiteY1746" fmla="*/ 3685986 h 6857999"/>
              <a:gd name="connsiteX1747" fmla="*/ 36883 w 5503467"/>
              <a:gd name="connsiteY1747" fmla="*/ 3686660 h 6857999"/>
              <a:gd name="connsiteX1748" fmla="*/ 47079 w 5503467"/>
              <a:gd name="connsiteY1748" fmla="*/ 3693570 h 6857999"/>
              <a:gd name="connsiteX1749" fmla="*/ 49346 w 5503467"/>
              <a:gd name="connsiteY1749" fmla="*/ 3683921 h 6857999"/>
              <a:gd name="connsiteX1750" fmla="*/ 54030 w 5503467"/>
              <a:gd name="connsiteY1750" fmla="*/ 3678952 h 6857999"/>
              <a:gd name="connsiteX1751" fmla="*/ 49161 w 5503467"/>
              <a:gd name="connsiteY1751" fmla="*/ 3675649 h 6857999"/>
              <a:gd name="connsiteX1752" fmla="*/ 51646 w 5503467"/>
              <a:gd name="connsiteY1752" fmla="*/ 3664330 h 6857999"/>
              <a:gd name="connsiteX1753" fmla="*/ 62403 w 5503467"/>
              <a:gd name="connsiteY1753" fmla="*/ 3665007 h 6857999"/>
              <a:gd name="connsiteX1754" fmla="*/ 88718 w 5503467"/>
              <a:gd name="connsiteY1754" fmla="*/ 3677897 h 6857999"/>
              <a:gd name="connsiteX1755" fmla="*/ 94670 w 5503467"/>
              <a:gd name="connsiteY1755" fmla="*/ 3674791 h 6857999"/>
              <a:gd name="connsiteX1756" fmla="*/ 92594 w 5503467"/>
              <a:gd name="connsiteY1756" fmla="*/ 3673309 h 6857999"/>
              <a:gd name="connsiteX1757" fmla="*/ 96565 w 5503467"/>
              <a:gd name="connsiteY1757" fmla="*/ 3669945 h 6857999"/>
              <a:gd name="connsiteX1758" fmla="*/ 101647 w 5503467"/>
              <a:gd name="connsiteY1758" fmla="*/ 3671578 h 6857999"/>
              <a:gd name="connsiteX1759" fmla="*/ 146910 w 5503467"/>
              <a:gd name="connsiteY1759" fmla="*/ 3660987 h 6857999"/>
              <a:gd name="connsiteX1760" fmla="*/ 151593 w 5503467"/>
              <a:gd name="connsiteY1760" fmla="*/ 3659899 h 6857999"/>
              <a:gd name="connsiteX1761" fmla="*/ 156243 w 5503467"/>
              <a:gd name="connsiteY1761" fmla="*/ 3660992 h 6857999"/>
              <a:gd name="connsiteX1762" fmla="*/ 165014 w 5503467"/>
              <a:gd name="connsiteY1762" fmla="*/ 3661407 h 6857999"/>
              <a:gd name="connsiteX1763" fmla="*/ 168207 w 5503467"/>
              <a:gd name="connsiteY1763" fmla="*/ 3660124 h 6857999"/>
              <a:gd name="connsiteX1764" fmla="*/ 182997 w 5503467"/>
              <a:gd name="connsiteY1764" fmla="*/ 3655019 h 6857999"/>
              <a:gd name="connsiteX1765" fmla="*/ 169520 w 5503467"/>
              <a:gd name="connsiteY1765" fmla="*/ 3636528 h 6857999"/>
              <a:gd name="connsiteX1766" fmla="*/ 180275 w 5503467"/>
              <a:gd name="connsiteY1766" fmla="*/ 3637202 h 6857999"/>
              <a:gd name="connsiteX1767" fmla="*/ 181918 w 5503467"/>
              <a:gd name="connsiteY1767" fmla="*/ 3638144 h 6857999"/>
              <a:gd name="connsiteX1768" fmla="*/ 180775 w 5503467"/>
              <a:gd name="connsiteY1768" fmla="*/ 3635326 h 6857999"/>
              <a:gd name="connsiteX1769" fmla="*/ 186230 w 5503467"/>
              <a:gd name="connsiteY1769" fmla="*/ 3634097 h 6857999"/>
              <a:gd name="connsiteX1770" fmla="*/ 189670 w 5503467"/>
              <a:gd name="connsiteY1770" fmla="*/ 3638668 h 6857999"/>
              <a:gd name="connsiteX1771" fmla="*/ 186414 w 5503467"/>
              <a:gd name="connsiteY1771" fmla="*/ 3640429 h 6857999"/>
              <a:gd name="connsiteX1772" fmla="*/ 184956 w 5503467"/>
              <a:gd name="connsiteY1772" fmla="*/ 3639994 h 6857999"/>
              <a:gd name="connsiteX1773" fmla="*/ 190722 w 5503467"/>
              <a:gd name="connsiteY1773" fmla="*/ 3644142 h 6857999"/>
              <a:gd name="connsiteX1774" fmla="*/ 192989 w 5503467"/>
              <a:gd name="connsiteY1774" fmla="*/ 3634494 h 6857999"/>
              <a:gd name="connsiteX1775" fmla="*/ 197672 w 5503467"/>
              <a:gd name="connsiteY1775" fmla="*/ 3629526 h 6857999"/>
              <a:gd name="connsiteX1776" fmla="*/ 192804 w 5503467"/>
              <a:gd name="connsiteY1776" fmla="*/ 3626222 h 6857999"/>
              <a:gd name="connsiteX1777" fmla="*/ 195289 w 5503467"/>
              <a:gd name="connsiteY1777" fmla="*/ 3614904 h 6857999"/>
              <a:gd name="connsiteX1778" fmla="*/ 206046 w 5503467"/>
              <a:gd name="connsiteY1778" fmla="*/ 3615578 h 6857999"/>
              <a:gd name="connsiteX1779" fmla="*/ 232361 w 5503467"/>
              <a:gd name="connsiteY1779" fmla="*/ 3628469 h 6857999"/>
              <a:gd name="connsiteX1780" fmla="*/ 292630 w 5503467"/>
              <a:gd name="connsiteY1780" fmla="*/ 3611102 h 6857999"/>
              <a:gd name="connsiteX1781" fmla="*/ 292661 w 5503467"/>
              <a:gd name="connsiteY1781" fmla="*/ 3610864 h 6857999"/>
              <a:gd name="connsiteX1782" fmla="*/ 293159 w 5503467"/>
              <a:gd name="connsiteY1782" fmla="*/ 3610929 h 6857999"/>
              <a:gd name="connsiteX1783" fmla="*/ 306735 w 5503467"/>
              <a:gd name="connsiteY1783" fmla="*/ 3611243 h 6857999"/>
              <a:gd name="connsiteX1784" fmla="*/ 292735 w 5503467"/>
              <a:gd name="connsiteY1784" fmla="*/ 3585163 h 6857999"/>
              <a:gd name="connsiteX1785" fmla="*/ 302065 w 5503467"/>
              <a:gd name="connsiteY1785" fmla="*/ 3589048 h 6857999"/>
              <a:gd name="connsiteX1786" fmla="*/ 319880 w 5503467"/>
              <a:gd name="connsiteY1786" fmla="*/ 3612957 h 6857999"/>
              <a:gd name="connsiteX1787" fmla="*/ 339715 w 5503467"/>
              <a:gd name="connsiteY1787" fmla="*/ 3621364 h 6857999"/>
              <a:gd name="connsiteX1788" fmla="*/ 348084 w 5503467"/>
              <a:gd name="connsiteY1788" fmla="*/ 3624882 h 6857999"/>
              <a:gd name="connsiteX1789" fmla="*/ 348270 w 5503467"/>
              <a:gd name="connsiteY1789" fmla="*/ 3623450 h 6857999"/>
              <a:gd name="connsiteX1790" fmla="*/ 370107 w 5503467"/>
              <a:gd name="connsiteY1790" fmla="*/ 3593311 h 6857999"/>
              <a:gd name="connsiteX1791" fmla="*/ 395207 w 5503467"/>
              <a:gd name="connsiteY1791" fmla="*/ 3617444 h 6857999"/>
              <a:gd name="connsiteX1792" fmla="*/ 402894 w 5503467"/>
              <a:gd name="connsiteY1792" fmla="*/ 3620387 h 6857999"/>
              <a:gd name="connsiteX1793" fmla="*/ 414366 w 5503467"/>
              <a:gd name="connsiteY1793" fmla="*/ 3615576 h 6857999"/>
              <a:gd name="connsiteX1794" fmla="*/ 416717 w 5503467"/>
              <a:gd name="connsiteY1794" fmla="*/ 3626554 h 6857999"/>
              <a:gd name="connsiteX1795" fmla="*/ 420531 w 5503467"/>
              <a:gd name="connsiteY1795" fmla="*/ 3626322 h 6857999"/>
              <a:gd name="connsiteX1796" fmla="*/ 424934 w 5503467"/>
              <a:gd name="connsiteY1796" fmla="*/ 3621562 h 6857999"/>
              <a:gd name="connsiteX1797" fmla="*/ 438021 w 5503467"/>
              <a:gd name="connsiteY1797" fmla="*/ 3608231 h 6857999"/>
              <a:gd name="connsiteX1798" fmla="*/ 451200 w 5503467"/>
              <a:gd name="connsiteY1798" fmla="*/ 3600003 h 6857999"/>
              <a:gd name="connsiteX1799" fmla="*/ 435934 w 5503467"/>
              <a:gd name="connsiteY1799" fmla="*/ 3560420 h 6857999"/>
              <a:gd name="connsiteX1800" fmla="*/ 452414 w 5503467"/>
              <a:gd name="connsiteY1800" fmla="*/ 3584883 h 6857999"/>
              <a:gd name="connsiteX1801" fmla="*/ 456444 w 5503467"/>
              <a:gd name="connsiteY1801" fmla="*/ 3584922 h 6857999"/>
              <a:gd name="connsiteX1802" fmla="*/ 481575 w 5503467"/>
              <a:gd name="connsiteY1802" fmla="*/ 3612695 h 6857999"/>
              <a:gd name="connsiteX1803" fmla="*/ 498554 w 5503467"/>
              <a:gd name="connsiteY1803" fmla="*/ 3633343 h 6857999"/>
              <a:gd name="connsiteX1804" fmla="*/ 507112 w 5503467"/>
              <a:gd name="connsiteY1804" fmla="*/ 3627668 h 6857999"/>
              <a:gd name="connsiteX1805" fmla="*/ 505377 w 5503467"/>
              <a:gd name="connsiteY1805" fmla="*/ 3625502 h 6857999"/>
              <a:gd name="connsiteX1806" fmla="*/ 469406 w 5503467"/>
              <a:gd name="connsiteY1806" fmla="*/ 3576427 h 6857999"/>
              <a:gd name="connsiteX1807" fmla="*/ 465410 w 5503467"/>
              <a:gd name="connsiteY1807" fmla="*/ 3568386 h 6857999"/>
              <a:gd name="connsiteX1808" fmla="*/ 466464 w 5503467"/>
              <a:gd name="connsiteY1808" fmla="*/ 3571918 h 6857999"/>
              <a:gd name="connsiteX1809" fmla="*/ 459271 w 5503467"/>
              <a:gd name="connsiteY1809" fmla="*/ 3570980 h 6857999"/>
              <a:gd name="connsiteX1810" fmla="*/ 436222 w 5503467"/>
              <a:gd name="connsiteY1810" fmla="*/ 3534988 h 6857999"/>
              <a:gd name="connsiteX1811" fmla="*/ 445552 w 5503467"/>
              <a:gd name="connsiteY1811" fmla="*/ 3538873 h 6857999"/>
              <a:gd name="connsiteX1812" fmla="*/ 463554 w 5503467"/>
              <a:gd name="connsiteY1812" fmla="*/ 3563293 h 6857999"/>
              <a:gd name="connsiteX1813" fmla="*/ 473130 w 5503467"/>
              <a:gd name="connsiteY1813" fmla="*/ 3569150 h 6857999"/>
              <a:gd name="connsiteX1814" fmla="*/ 499250 w 5503467"/>
              <a:gd name="connsiteY1814" fmla="*/ 3600934 h 6857999"/>
              <a:gd name="connsiteX1815" fmla="*/ 513347 w 5503467"/>
              <a:gd name="connsiteY1815" fmla="*/ 3618537 h 6857999"/>
              <a:gd name="connsiteX1816" fmla="*/ 514432 w 5503467"/>
              <a:gd name="connsiteY1816" fmla="*/ 3617950 h 6857999"/>
              <a:gd name="connsiteX1817" fmla="*/ 515828 w 5503467"/>
              <a:gd name="connsiteY1817" fmla="*/ 3618860 h 6857999"/>
              <a:gd name="connsiteX1818" fmla="*/ 514461 w 5503467"/>
              <a:gd name="connsiteY1818" fmla="*/ 3619652 h 6857999"/>
              <a:gd name="connsiteX1819" fmla="*/ 516043 w 5503467"/>
              <a:gd name="connsiteY1819" fmla="*/ 3621071 h 6857999"/>
              <a:gd name="connsiteX1820" fmla="*/ 527424 w 5503467"/>
              <a:gd name="connsiteY1820" fmla="*/ 3611157 h 6857999"/>
              <a:gd name="connsiteX1821" fmla="*/ 523342 w 5503467"/>
              <a:gd name="connsiteY1821" fmla="*/ 3592191 h 6857999"/>
              <a:gd name="connsiteX1822" fmla="*/ 517919 w 5503467"/>
              <a:gd name="connsiteY1822" fmla="*/ 3583477 h 6857999"/>
              <a:gd name="connsiteX1823" fmla="*/ 508092 w 5503467"/>
              <a:gd name="connsiteY1823" fmla="*/ 3585350 h 6857999"/>
              <a:gd name="connsiteX1824" fmla="*/ 507595 w 5503467"/>
              <a:gd name="connsiteY1824" fmla="*/ 3585286 h 6857999"/>
              <a:gd name="connsiteX1825" fmla="*/ 506694 w 5503467"/>
              <a:gd name="connsiteY1825" fmla="*/ 3586380 h 6857999"/>
              <a:gd name="connsiteX1826" fmla="*/ 506293 w 5503467"/>
              <a:gd name="connsiteY1826" fmla="*/ 3585600 h 6857999"/>
              <a:gd name="connsiteX1827" fmla="*/ 491543 w 5503467"/>
              <a:gd name="connsiteY1827" fmla="*/ 3573006 h 6857999"/>
              <a:gd name="connsiteX1828" fmla="*/ 492289 w 5503467"/>
              <a:gd name="connsiteY1828" fmla="*/ 3567281 h 6857999"/>
              <a:gd name="connsiteX1829" fmla="*/ 486463 w 5503467"/>
              <a:gd name="connsiteY1829" fmla="*/ 3559730 h 6857999"/>
              <a:gd name="connsiteX1830" fmla="*/ 459756 w 5503467"/>
              <a:gd name="connsiteY1830" fmla="*/ 3522777 h 6857999"/>
              <a:gd name="connsiteX1831" fmla="*/ 448050 w 5503467"/>
              <a:gd name="connsiteY1831" fmla="*/ 3496509 h 6857999"/>
              <a:gd name="connsiteX1832" fmla="*/ 477705 w 5503467"/>
              <a:gd name="connsiteY1832" fmla="*/ 3520508 h 6857999"/>
              <a:gd name="connsiteX1833" fmla="*/ 489290 w 5503467"/>
              <a:gd name="connsiteY1833" fmla="*/ 3545788 h 6857999"/>
              <a:gd name="connsiteX1834" fmla="*/ 494431 w 5503467"/>
              <a:gd name="connsiteY1834" fmla="*/ 3554706 h 6857999"/>
              <a:gd name="connsiteX1835" fmla="*/ 496198 w 5503467"/>
              <a:gd name="connsiteY1835" fmla="*/ 3556635 h 6857999"/>
              <a:gd name="connsiteX1836" fmla="*/ 513099 w 5503467"/>
              <a:gd name="connsiteY1836" fmla="*/ 3543071 h 6857999"/>
              <a:gd name="connsiteX1837" fmla="*/ 532499 w 5503467"/>
              <a:gd name="connsiteY1837" fmla="*/ 3560640 h 6857999"/>
              <a:gd name="connsiteX1838" fmla="*/ 535975 w 5503467"/>
              <a:gd name="connsiteY1838" fmla="*/ 3549450 h 6857999"/>
              <a:gd name="connsiteX1839" fmla="*/ 517257 w 5503467"/>
              <a:gd name="connsiteY1839" fmla="*/ 3528577 h 6857999"/>
              <a:gd name="connsiteX1840" fmla="*/ 521886 w 5503467"/>
              <a:gd name="connsiteY1840" fmla="*/ 3510504 h 6857999"/>
              <a:gd name="connsiteX1841" fmla="*/ 528053 w 5503467"/>
              <a:gd name="connsiteY1841" fmla="*/ 3511550 h 6857999"/>
              <a:gd name="connsiteX1842" fmla="*/ 544975 w 5503467"/>
              <a:gd name="connsiteY1842" fmla="*/ 3526853 h 6857999"/>
              <a:gd name="connsiteX1843" fmla="*/ 536241 w 5503467"/>
              <a:gd name="connsiteY1843" fmla="*/ 3502915 h 6857999"/>
              <a:gd name="connsiteX1844" fmla="*/ 554590 w 5503467"/>
              <a:gd name="connsiteY1844" fmla="*/ 3509190 h 6857999"/>
              <a:gd name="connsiteX1845" fmla="*/ 548426 w 5503467"/>
              <a:gd name="connsiteY1845" fmla="*/ 3496501 h 6857999"/>
              <a:gd name="connsiteX1846" fmla="*/ 555804 w 5503467"/>
              <a:gd name="connsiteY1846" fmla="*/ 3499887 h 6857999"/>
              <a:gd name="connsiteX1847" fmla="*/ 539073 w 5503467"/>
              <a:gd name="connsiteY1847" fmla="*/ 3475391 h 6857999"/>
              <a:gd name="connsiteX1848" fmla="*/ 534550 w 5503467"/>
              <a:gd name="connsiteY1848" fmla="*/ 3469466 h 6857999"/>
              <a:gd name="connsiteX1849" fmla="*/ 531796 w 5503467"/>
              <a:gd name="connsiteY1849" fmla="*/ 3457707 h 6857999"/>
              <a:gd name="connsiteX1850" fmla="*/ 530247 w 5503467"/>
              <a:gd name="connsiteY1850" fmla="*/ 3456049 h 6857999"/>
              <a:gd name="connsiteX1851" fmla="*/ 520824 w 5503467"/>
              <a:gd name="connsiteY1851" fmla="*/ 3450939 h 6857999"/>
              <a:gd name="connsiteX1852" fmla="*/ 497955 w 5503467"/>
              <a:gd name="connsiteY1852" fmla="*/ 3429039 h 6857999"/>
              <a:gd name="connsiteX1853" fmla="*/ 497522 w 5503467"/>
              <a:gd name="connsiteY1853" fmla="*/ 3424617 h 6857999"/>
              <a:gd name="connsiteX1854" fmla="*/ 497215 w 5503467"/>
              <a:gd name="connsiteY1854" fmla="*/ 3421182 h 6857999"/>
              <a:gd name="connsiteX1855" fmla="*/ 476169 w 5503467"/>
              <a:gd name="connsiteY1855" fmla="*/ 3414315 h 6857999"/>
              <a:gd name="connsiteX1856" fmla="*/ 493426 w 5503467"/>
              <a:gd name="connsiteY1856" fmla="*/ 3436695 h 6857999"/>
              <a:gd name="connsiteX1857" fmla="*/ 507894 w 5503467"/>
              <a:gd name="connsiteY1857" fmla="*/ 3457260 h 6857999"/>
              <a:gd name="connsiteX1858" fmla="*/ 498747 w 5503467"/>
              <a:gd name="connsiteY1858" fmla="*/ 3461644 h 6857999"/>
              <a:gd name="connsiteX1859" fmla="*/ 443553 w 5503467"/>
              <a:gd name="connsiteY1859" fmla="*/ 3420735 h 6857999"/>
              <a:gd name="connsiteX1860" fmla="*/ 445201 w 5503467"/>
              <a:gd name="connsiteY1860" fmla="*/ 3411973 h 6857999"/>
              <a:gd name="connsiteX1861" fmla="*/ 427166 w 5503467"/>
              <a:gd name="connsiteY1861" fmla="*/ 3395555 h 6857999"/>
              <a:gd name="connsiteX1862" fmla="*/ 418547 w 5503467"/>
              <a:gd name="connsiteY1862" fmla="*/ 3397826 h 6857999"/>
              <a:gd name="connsiteX1863" fmla="*/ 431158 w 5503467"/>
              <a:gd name="connsiteY1863" fmla="*/ 3407476 h 6857999"/>
              <a:gd name="connsiteX1864" fmla="*/ 433171 w 5503467"/>
              <a:gd name="connsiteY1864" fmla="*/ 3413315 h 6857999"/>
              <a:gd name="connsiteX1865" fmla="*/ 422319 w 5503467"/>
              <a:gd name="connsiteY1865" fmla="*/ 3419178 h 6857999"/>
              <a:gd name="connsiteX1866" fmla="*/ 391790 w 5503467"/>
              <a:gd name="connsiteY1866" fmla="*/ 3405737 h 6857999"/>
              <a:gd name="connsiteX1867" fmla="*/ 359335 w 5503467"/>
              <a:gd name="connsiteY1867" fmla="*/ 3403204 h 6857999"/>
              <a:gd name="connsiteX1868" fmla="*/ 353255 w 5503467"/>
              <a:gd name="connsiteY1868" fmla="*/ 3409204 h 6857999"/>
              <a:gd name="connsiteX1869" fmla="*/ 329797 w 5503467"/>
              <a:gd name="connsiteY1869" fmla="*/ 3386013 h 6857999"/>
              <a:gd name="connsiteX1870" fmla="*/ 328061 w 5503467"/>
              <a:gd name="connsiteY1870" fmla="*/ 3385785 h 6857999"/>
              <a:gd name="connsiteX1871" fmla="*/ 326074 w 5503467"/>
              <a:gd name="connsiteY1871" fmla="*/ 3397169 h 6857999"/>
              <a:gd name="connsiteX1872" fmla="*/ 321765 w 5503467"/>
              <a:gd name="connsiteY1872" fmla="*/ 3397336 h 6857999"/>
              <a:gd name="connsiteX1873" fmla="*/ 316123 w 5503467"/>
              <a:gd name="connsiteY1873" fmla="*/ 3392233 h 6857999"/>
              <a:gd name="connsiteX1874" fmla="*/ 313361 w 5503467"/>
              <a:gd name="connsiteY1874" fmla="*/ 3397938 h 6857999"/>
              <a:gd name="connsiteX1875" fmla="*/ 307106 w 5503467"/>
              <a:gd name="connsiteY1875" fmla="*/ 3384023 h 6857999"/>
              <a:gd name="connsiteX1876" fmla="*/ 309153 w 5503467"/>
              <a:gd name="connsiteY1876" fmla="*/ 3381866 h 6857999"/>
              <a:gd name="connsiteX1877" fmla="*/ 271729 w 5503467"/>
              <a:gd name="connsiteY1877" fmla="*/ 3326537 h 6857999"/>
              <a:gd name="connsiteX1878" fmla="*/ 259899 w 5503467"/>
              <a:gd name="connsiteY1878" fmla="*/ 3299282 h 6857999"/>
              <a:gd name="connsiteX1879" fmla="*/ 254480 w 5503467"/>
              <a:gd name="connsiteY1879" fmla="*/ 3280870 h 6857999"/>
              <a:gd name="connsiteX1880" fmla="*/ 274327 w 5503467"/>
              <a:gd name="connsiteY1880" fmla="*/ 3262114 h 6857999"/>
              <a:gd name="connsiteX1881" fmla="*/ 307934 w 5503467"/>
              <a:gd name="connsiteY1881" fmla="*/ 3253883 h 6857999"/>
              <a:gd name="connsiteX1882" fmla="*/ 328519 w 5503467"/>
              <a:gd name="connsiteY1882" fmla="*/ 3250746 h 6857999"/>
              <a:gd name="connsiteX1883" fmla="*/ 328656 w 5503467"/>
              <a:gd name="connsiteY1883" fmla="*/ 3218747 h 6857999"/>
              <a:gd name="connsiteX1884" fmla="*/ 336810 w 5503467"/>
              <a:gd name="connsiteY1884" fmla="*/ 3216172 h 6857999"/>
              <a:gd name="connsiteX1885" fmla="*/ 342701 w 5503467"/>
              <a:gd name="connsiteY1885" fmla="*/ 3217426 h 6857999"/>
              <a:gd name="connsiteX1886" fmla="*/ 331081 w 5503467"/>
              <a:gd name="connsiteY1886" fmla="*/ 3204024 h 6857999"/>
              <a:gd name="connsiteX1887" fmla="*/ 321044 w 5503467"/>
              <a:gd name="connsiteY1887" fmla="*/ 3184282 h 6857999"/>
              <a:gd name="connsiteX1888" fmla="*/ 323898 w 5503467"/>
              <a:gd name="connsiteY1888" fmla="*/ 3181743 h 6857999"/>
              <a:gd name="connsiteX1889" fmla="*/ 341193 w 5503467"/>
              <a:gd name="connsiteY1889" fmla="*/ 3188366 h 6857999"/>
              <a:gd name="connsiteX1890" fmla="*/ 324681 w 5503467"/>
              <a:gd name="connsiteY1890" fmla="*/ 3162199 h 6857999"/>
              <a:gd name="connsiteX1891" fmla="*/ 300105 w 5503467"/>
              <a:gd name="connsiteY1891" fmla="*/ 3143714 h 6857999"/>
              <a:gd name="connsiteX1892" fmla="*/ 310038 w 5503467"/>
              <a:gd name="connsiteY1892" fmla="*/ 3115902 h 6857999"/>
              <a:gd name="connsiteX1893" fmla="*/ 300836 w 5503467"/>
              <a:gd name="connsiteY1893" fmla="*/ 3101362 h 6857999"/>
              <a:gd name="connsiteX1894" fmla="*/ 321517 w 5503467"/>
              <a:gd name="connsiteY1894" fmla="*/ 3087810 h 6857999"/>
              <a:gd name="connsiteX1895" fmla="*/ 300228 w 5503467"/>
              <a:gd name="connsiteY1895" fmla="*/ 3071210 h 6857999"/>
              <a:gd name="connsiteX1896" fmla="*/ 292321 w 5503467"/>
              <a:gd name="connsiteY1896" fmla="*/ 3073814 h 6857999"/>
              <a:gd name="connsiteX1897" fmla="*/ 291766 w 5503467"/>
              <a:gd name="connsiteY1897" fmla="*/ 3070348 h 6857999"/>
              <a:gd name="connsiteX1898" fmla="*/ 256977 w 5503467"/>
              <a:gd name="connsiteY1898" fmla="*/ 3008329 h 6857999"/>
              <a:gd name="connsiteX1899" fmla="*/ 255366 w 5503467"/>
              <a:gd name="connsiteY1899" fmla="*/ 3005208 h 6857999"/>
              <a:gd name="connsiteX1900" fmla="*/ 243902 w 5503467"/>
              <a:gd name="connsiteY1900" fmla="*/ 2992554 h 6857999"/>
              <a:gd name="connsiteX1901" fmla="*/ 250855 w 5503467"/>
              <a:gd name="connsiteY1901" fmla="*/ 2970177 h 6857999"/>
              <a:gd name="connsiteX1902" fmla="*/ 233402 w 5503467"/>
              <a:gd name="connsiteY1902" fmla="*/ 2970570 h 6857999"/>
              <a:gd name="connsiteX1903" fmla="*/ 211255 w 5503467"/>
              <a:gd name="connsiteY1903" fmla="*/ 2925721 h 6857999"/>
              <a:gd name="connsiteX1904" fmla="*/ 213922 w 5503467"/>
              <a:gd name="connsiteY1904" fmla="*/ 2924613 h 6857999"/>
              <a:gd name="connsiteX1905" fmla="*/ 224892 w 5503467"/>
              <a:gd name="connsiteY1905" fmla="*/ 2935260 h 6857999"/>
              <a:gd name="connsiteX1906" fmla="*/ 227063 w 5503467"/>
              <a:gd name="connsiteY1906" fmla="*/ 2934088 h 6857999"/>
              <a:gd name="connsiteX1907" fmla="*/ 209252 w 5503467"/>
              <a:gd name="connsiteY1907" fmla="*/ 2894656 h 6857999"/>
              <a:gd name="connsiteX1908" fmla="*/ 200727 w 5503467"/>
              <a:gd name="connsiteY1908" fmla="*/ 2896214 h 6857999"/>
              <a:gd name="connsiteX1909" fmla="*/ 199333 w 5503467"/>
              <a:gd name="connsiteY1909" fmla="*/ 2893363 h 6857999"/>
              <a:gd name="connsiteX1910" fmla="*/ 211021 w 5503467"/>
              <a:gd name="connsiteY1910" fmla="*/ 2888823 h 6857999"/>
              <a:gd name="connsiteX1911" fmla="*/ 193204 w 5503467"/>
              <a:gd name="connsiteY1911" fmla="*/ 2866853 h 6857999"/>
              <a:gd name="connsiteX1912" fmla="*/ 191007 w 5503467"/>
              <a:gd name="connsiteY1912" fmla="*/ 2862443 h 6857999"/>
              <a:gd name="connsiteX1913" fmla="*/ 186490 w 5503467"/>
              <a:gd name="connsiteY1913" fmla="*/ 2840996 h 6857999"/>
              <a:gd name="connsiteX1914" fmla="*/ 172515 w 5503467"/>
              <a:gd name="connsiteY1914" fmla="*/ 2822437 h 6857999"/>
              <a:gd name="connsiteX1915" fmla="*/ 158826 w 5503467"/>
              <a:gd name="connsiteY1915" fmla="*/ 2793972 h 6857999"/>
              <a:gd name="connsiteX1916" fmla="*/ 169920 w 5503467"/>
              <a:gd name="connsiteY1916" fmla="*/ 2805604 h 6857999"/>
              <a:gd name="connsiteX1917" fmla="*/ 168747 w 5503467"/>
              <a:gd name="connsiteY1917" fmla="*/ 2787504 h 6857999"/>
              <a:gd name="connsiteX1918" fmla="*/ 178978 w 5503467"/>
              <a:gd name="connsiteY1918" fmla="*/ 2786411 h 6857999"/>
              <a:gd name="connsiteX1919" fmla="*/ 167243 w 5503467"/>
              <a:gd name="connsiteY1919" fmla="*/ 2756503 h 6857999"/>
              <a:gd name="connsiteX1920" fmla="*/ 174682 w 5503467"/>
              <a:gd name="connsiteY1920" fmla="*/ 2751652 h 6857999"/>
              <a:gd name="connsiteX1921" fmla="*/ 173166 w 5503467"/>
              <a:gd name="connsiteY1921" fmla="*/ 2747816 h 6857999"/>
              <a:gd name="connsiteX1922" fmla="*/ 153463 w 5503467"/>
              <a:gd name="connsiteY1922" fmla="*/ 2717111 h 6857999"/>
              <a:gd name="connsiteX1923" fmla="*/ 139186 w 5503467"/>
              <a:gd name="connsiteY1923" fmla="*/ 2681537 h 6857999"/>
              <a:gd name="connsiteX1924" fmla="*/ 127374 w 5503467"/>
              <a:gd name="connsiteY1924" fmla="*/ 2681209 h 6857999"/>
              <a:gd name="connsiteX1925" fmla="*/ 116774 w 5503467"/>
              <a:gd name="connsiteY1925" fmla="*/ 2677400 h 6857999"/>
              <a:gd name="connsiteX1926" fmla="*/ 107543 w 5503467"/>
              <a:gd name="connsiteY1926" fmla="*/ 2665040 h 6857999"/>
              <a:gd name="connsiteX1927" fmla="*/ 92467 w 5503467"/>
              <a:gd name="connsiteY1927" fmla="*/ 2612382 h 6857999"/>
              <a:gd name="connsiteX1928" fmla="*/ 100582 w 5503467"/>
              <a:gd name="connsiteY1928" fmla="*/ 2629447 h 6857999"/>
              <a:gd name="connsiteX1929" fmla="*/ 115117 w 5503467"/>
              <a:gd name="connsiteY1929" fmla="*/ 2639832 h 6857999"/>
              <a:gd name="connsiteX1930" fmla="*/ 124037 w 5503467"/>
              <a:gd name="connsiteY1930" fmla="*/ 2656519 h 6857999"/>
              <a:gd name="connsiteX1931" fmla="*/ 109056 w 5503467"/>
              <a:gd name="connsiteY1931" fmla="*/ 2601205 h 6857999"/>
              <a:gd name="connsiteX1932" fmla="*/ 88526 w 5503467"/>
              <a:gd name="connsiteY1932" fmla="*/ 2543955 h 6857999"/>
              <a:gd name="connsiteX1933" fmla="*/ 75963 w 5503467"/>
              <a:gd name="connsiteY1933" fmla="*/ 2487499 h 6857999"/>
              <a:gd name="connsiteX1934" fmla="*/ 92101 w 5503467"/>
              <a:gd name="connsiteY1934" fmla="*/ 2522348 h 6857999"/>
              <a:gd name="connsiteX1935" fmla="*/ 116885 w 5503467"/>
              <a:gd name="connsiteY1935" fmla="*/ 2562448 h 6857999"/>
              <a:gd name="connsiteX1936" fmla="*/ 97749 w 5503467"/>
              <a:gd name="connsiteY1936" fmla="*/ 2508045 h 6857999"/>
              <a:gd name="connsiteX1937" fmla="*/ 105934 w 5503467"/>
              <a:gd name="connsiteY1937" fmla="*/ 2503291 h 6857999"/>
              <a:gd name="connsiteX1938" fmla="*/ 102594 w 5503467"/>
              <a:gd name="connsiteY1938" fmla="*/ 2482482 h 6857999"/>
              <a:gd name="connsiteX1939" fmla="*/ 114126 w 5503467"/>
              <a:gd name="connsiteY1939" fmla="*/ 2481075 h 6857999"/>
              <a:gd name="connsiteX1940" fmla="*/ 104010 w 5503467"/>
              <a:gd name="connsiteY1940" fmla="*/ 2427124 h 6857999"/>
              <a:gd name="connsiteX1941" fmla="*/ 123498 w 5503467"/>
              <a:gd name="connsiteY1941" fmla="*/ 2455618 h 6857999"/>
              <a:gd name="connsiteX1942" fmla="*/ 144592 w 5503467"/>
              <a:gd name="connsiteY1942" fmla="*/ 2423441 h 6857999"/>
              <a:gd name="connsiteX1943" fmla="*/ 148181 w 5503467"/>
              <a:gd name="connsiteY1943" fmla="*/ 2440402 h 6857999"/>
              <a:gd name="connsiteX1944" fmla="*/ 155696 w 5503467"/>
              <a:gd name="connsiteY1944" fmla="*/ 2411790 h 6857999"/>
              <a:gd name="connsiteX1945" fmla="*/ 139058 w 5503467"/>
              <a:gd name="connsiteY1945" fmla="*/ 2382699 h 6857999"/>
              <a:gd name="connsiteX1946" fmla="*/ 167509 w 5503467"/>
              <a:gd name="connsiteY1946" fmla="*/ 2402416 h 6857999"/>
              <a:gd name="connsiteX1947" fmla="*/ 156483 w 5503467"/>
              <a:gd name="connsiteY1947" fmla="*/ 2378664 h 6857999"/>
              <a:gd name="connsiteX1948" fmla="*/ 171140 w 5503467"/>
              <a:gd name="connsiteY1948" fmla="*/ 2393916 h 6857999"/>
              <a:gd name="connsiteX1949" fmla="*/ 179113 w 5503467"/>
              <a:gd name="connsiteY1949" fmla="*/ 2379191 h 6857999"/>
              <a:gd name="connsiteX1950" fmla="*/ 200646 w 5503467"/>
              <a:gd name="connsiteY1950" fmla="*/ 2405525 h 6857999"/>
              <a:gd name="connsiteX1951" fmla="*/ 215438 w 5503467"/>
              <a:gd name="connsiteY1951" fmla="*/ 2396539 h 6857999"/>
              <a:gd name="connsiteX1952" fmla="*/ 194369 w 5503467"/>
              <a:gd name="connsiteY1952" fmla="*/ 2370507 h 6857999"/>
              <a:gd name="connsiteX1953" fmla="*/ 213000 w 5503467"/>
              <a:gd name="connsiteY1953" fmla="*/ 2368811 h 6857999"/>
              <a:gd name="connsiteX1954" fmla="*/ 226170 w 5503467"/>
              <a:gd name="connsiteY1954" fmla="*/ 2379989 h 6857999"/>
              <a:gd name="connsiteX1955" fmla="*/ 225684 w 5503467"/>
              <a:gd name="connsiteY1955" fmla="*/ 2356640 h 6857999"/>
              <a:gd name="connsiteX1956" fmla="*/ 237678 w 5503467"/>
              <a:gd name="connsiteY1956" fmla="*/ 2361357 h 6857999"/>
              <a:gd name="connsiteX1957" fmla="*/ 240379 w 5503467"/>
              <a:gd name="connsiteY1957" fmla="*/ 2352251 h 6857999"/>
              <a:gd name="connsiteX1958" fmla="*/ 264363 w 5503467"/>
              <a:gd name="connsiteY1958" fmla="*/ 2377207 h 6857999"/>
              <a:gd name="connsiteX1959" fmla="*/ 288292 w 5503467"/>
              <a:gd name="connsiteY1959" fmla="*/ 2383237 h 6857999"/>
              <a:gd name="connsiteX1960" fmla="*/ 266487 w 5503467"/>
              <a:gd name="connsiteY1960" fmla="*/ 2343527 h 6857999"/>
              <a:gd name="connsiteX1961" fmla="*/ 245174 w 5503467"/>
              <a:gd name="connsiteY1961" fmla="*/ 2305821 h 6857999"/>
              <a:gd name="connsiteX1962" fmla="*/ 243905 w 5503467"/>
              <a:gd name="connsiteY1962" fmla="*/ 2296196 h 6857999"/>
              <a:gd name="connsiteX1963" fmla="*/ 253076 w 5503467"/>
              <a:gd name="connsiteY1963" fmla="*/ 2309034 h 6857999"/>
              <a:gd name="connsiteX1964" fmla="*/ 257107 w 5503467"/>
              <a:gd name="connsiteY1964" fmla="*/ 2307134 h 6857999"/>
              <a:gd name="connsiteX1965" fmla="*/ 249085 w 5503467"/>
              <a:gd name="connsiteY1965" fmla="*/ 2287413 h 6857999"/>
              <a:gd name="connsiteX1966" fmla="*/ 290385 w 5503467"/>
              <a:gd name="connsiteY1966" fmla="*/ 2345915 h 6857999"/>
              <a:gd name="connsiteX1967" fmla="*/ 320265 w 5503467"/>
              <a:gd name="connsiteY1967" fmla="*/ 2356602 h 6857999"/>
              <a:gd name="connsiteX1968" fmla="*/ 338990 w 5503467"/>
              <a:gd name="connsiteY1968" fmla="*/ 2350312 h 6857999"/>
              <a:gd name="connsiteX1969" fmla="*/ 352170 w 5503467"/>
              <a:gd name="connsiteY1969" fmla="*/ 2340145 h 6857999"/>
              <a:gd name="connsiteX1970" fmla="*/ 349210 w 5503467"/>
              <a:gd name="connsiteY1970" fmla="*/ 2299012 h 6857999"/>
              <a:gd name="connsiteX1971" fmla="*/ 360366 w 5503467"/>
              <a:gd name="connsiteY1971" fmla="*/ 2310169 h 6857999"/>
              <a:gd name="connsiteX1972" fmla="*/ 335126 w 5503467"/>
              <a:gd name="connsiteY1972" fmla="*/ 2248424 h 6857999"/>
              <a:gd name="connsiteX1973" fmla="*/ 355482 w 5503467"/>
              <a:gd name="connsiteY1973" fmla="*/ 2274121 h 6857999"/>
              <a:gd name="connsiteX1974" fmla="*/ 378473 w 5503467"/>
              <a:gd name="connsiteY1974" fmla="*/ 2302827 h 6857999"/>
              <a:gd name="connsiteX1975" fmla="*/ 364382 w 5503467"/>
              <a:gd name="connsiteY1975" fmla="*/ 2267761 h 6857999"/>
              <a:gd name="connsiteX1976" fmla="*/ 349764 w 5503467"/>
              <a:gd name="connsiteY1976" fmla="*/ 2234809 h 6857999"/>
              <a:gd name="connsiteX1977" fmla="*/ 396366 w 5503467"/>
              <a:gd name="connsiteY1977" fmla="*/ 2287455 h 6857999"/>
              <a:gd name="connsiteX1978" fmla="*/ 416145 w 5503467"/>
              <a:gd name="connsiteY1978" fmla="*/ 2286637 h 6857999"/>
              <a:gd name="connsiteX1979" fmla="*/ 411437 w 5503467"/>
              <a:gd name="connsiteY1979" fmla="*/ 2274380 h 6857999"/>
              <a:gd name="connsiteX1980" fmla="*/ 428516 w 5503467"/>
              <a:gd name="connsiteY1980" fmla="*/ 2278793 h 6857999"/>
              <a:gd name="connsiteX1981" fmla="*/ 403209 w 5503467"/>
              <a:gd name="connsiteY1981" fmla="*/ 2233045 h 6857999"/>
              <a:gd name="connsiteX1982" fmla="*/ 405410 w 5503467"/>
              <a:gd name="connsiteY1982" fmla="*/ 2231634 h 6857999"/>
              <a:gd name="connsiteX1983" fmla="*/ 426420 w 5503467"/>
              <a:gd name="connsiteY1983" fmla="*/ 2250383 h 6857999"/>
              <a:gd name="connsiteX1984" fmla="*/ 427202 w 5503467"/>
              <a:gd name="connsiteY1984" fmla="*/ 2234717 h 6857999"/>
              <a:gd name="connsiteX1985" fmla="*/ 456886 w 5503467"/>
              <a:gd name="connsiteY1985" fmla="*/ 2270121 h 6857999"/>
              <a:gd name="connsiteX1986" fmla="*/ 458847 w 5503467"/>
              <a:gd name="connsiteY1986" fmla="*/ 2253154 h 6857999"/>
              <a:gd name="connsiteX1987" fmla="*/ 469319 w 5503467"/>
              <a:gd name="connsiteY1987" fmla="*/ 2261799 h 6857999"/>
              <a:gd name="connsiteX1988" fmla="*/ 491647 w 5503467"/>
              <a:gd name="connsiteY1988" fmla="*/ 2239485 h 6857999"/>
              <a:gd name="connsiteX1989" fmla="*/ 500820 w 5503467"/>
              <a:gd name="connsiteY1989" fmla="*/ 2252322 h 6857999"/>
              <a:gd name="connsiteX1990" fmla="*/ 502711 w 5503467"/>
              <a:gd name="connsiteY1990" fmla="*/ 2251355 h 6857999"/>
              <a:gd name="connsiteX1991" fmla="*/ 496022 w 5503467"/>
              <a:gd name="connsiteY1991" fmla="*/ 2233019 h 6857999"/>
              <a:gd name="connsiteX1992" fmla="*/ 499495 w 5503467"/>
              <a:gd name="connsiteY1992" fmla="*/ 2231531 h 6857999"/>
              <a:gd name="connsiteX1993" fmla="*/ 527843 w 5503467"/>
              <a:gd name="connsiteY1993" fmla="*/ 2271370 h 6857999"/>
              <a:gd name="connsiteX1994" fmla="*/ 519439 w 5503467"/>
              <a:gd name="connsiteY1994" fmla="*/ 2279731 h 6857999"/>
              <a:gd name="connsiteX1995" fmla="*/ 538006 w 5503467"/>
              <a:gd name="connsiteY1995" fmla="*/ 2284337 h 6857999"/>
              <a:gd name="connsiteX1996" fmla="*/ 571635 w 5503467"/>
              <a:gd name="connsiteY1996" fmla="*/ 2299149 h 6857999"/>
              <a:gd name="connsiteX1997" fmla="*/ 589252 w 5503467"/>
              <a:gd name="connsiteY1997" fmla="*/ 2278161 h 6857999"/>
              <a:gd name="connsiteX1998" fmla="*/ 618226 w 5503467"/>
              <a:gd name="connsiteY1998" fmla="*/ 2307408 h 6857999"/>
              <a:gd name="connsiteX1999" fmla="*/ 621356 w 5503467"/>
              <a:gd name="connsiteY1999" fmla="*/ 2306602 h 6857999"/>
              <a:gd name="connsiteX2000" fmla="*/ 619160 w 5503467"/>
              <a:gd name="connsiteY2000" fmla="*/ 2294432 h 6857999"/>
              <a:gd name="connsiteX2001" fmla="*/ 587160 w 5503467"/>
              <a:gd name="connsiteY2001" fmla="*/ 2234230 h 6857999"/>
              <a:gd name="connsiteX2002" fmla="*/ 584344 w 5503467"/>
              <a:gd name="connsiteY2002" fmla="*/ 2222949 h 6857999"/>
              <a:gd name="connsiteX2003" fmla="*/ 583698 w 5503467"/>
              <a:gd name="connsiteY2003" fmla="*/ 2216315 h 6857999"/>
              <a:gd name="connsiteX2004" fmla="*/ 565919 w 5503467"/>
              <a:gd name="connsiteY2004" fmla="*/ 2172765 h 6857999"/>
              <a:gd name="connsiteX2005" fmla="*/ 595629 w 5503467"/>
              <a:gd name="connsiteY2005" fmla="*/ 1989391 h 6857999"/>
              <a:gd name="connsiteX2006" fmla="*/ 590032 w 5503467"/>
              <a:gd name="connsiteY2006" fmla="*/ 1956886 h 6857999"/>
              <a:gd name="connsiteX2007" fmla="*/ 587001 w 5503467"/>
              <a:gd name="connsiteY2007" fmla="*/ 1943395 h 6857999"/>
              <a:gd name="connsiteX2008" fmla="*/ 584777 w 5503467"/>
              <a:gd name="connsiteY2008" fmla="*/ 1921760 h 6857999"/>
              <a:gd name="connsiteX2009" fmla="*/ 575919 w 5503467"/>
              <a:gd name="connsiteY2009" fmla="*/ 1900714 h 6857999"/>
              <a:gd name="connsiteX2010" fmla="*/ 558318 w 5503467"/>
              <a:gd name="connsiteY2010" fmla="*/ 1882897 h 6857999"/>
              <a:gd name="connsiteX2011" fmla="*/ 549517 w 5503467"/>
              <a:gd name="connsiteY2011" fmla="*/ 1874957 h 6857999"/>
              <a:gd name="connsiteX2012" fmla="*/ 537842 w 5503467"/>
              <a:gd name="connsiteY2012" fmla="*/ 1850393 h 6857999"/>
              <a:gd name="connsiteX2013" fmla="*/ 548042 w 5503467"/>
              <a:gd name="connsiteY2013" fmla="*/ 1843719 h 6857999"/>
              <a:gd name="connsiteX2014" fmla="*/ 526042 w 5503467"/>
              <a:gd name="connsiteY2014" fmla="*/ 1822903 h 6857999"/>
              <a:gd name="connsiteX2015" fmla="*/ 518578 w 5503467"/>
              <a:gd name="connsiteY2015" fmla="*/ 1804708 h 6857999"/>
              <a:gd name="connsiteX2016" fmla="*/ 510033 w 5503467"/>
              <a:gd name="connsiteY2016" fmla="*/ 1777399 h 6857999"/>
              <a:gd name="connsiteX2017" fmla="*/ 511809 w 5503467"/>
              <a:gd name="connsiteY2017" fmla="*/ 1752163 h 6857999"/>
              <a:gd name="connsiteX2018" fmla="*/ 501051 w 5503467"/>
              <a:gd name="connsiteY2018" fmla="*/ 1759248 h 6857999"/>
              <a:gd name="connsiteX2019" fmla="*/ 472867 w 5503467"/>
              <a:gd name="connsiteY2019" fmla="*/ 1692997 h 6857999"/>
              <a:gd name="connsiteX2020" fmla="*/ 473736 w 5503467"/>
              <a:gd name="connsiteY2020" fmla="*/ 1692139 h 6857999"/>
              <a:gd name="connsiteX2021" fmla="*/ 483279 w 5503467"/>
              <a:gd name="connsiteY2021" fmla="*/ 1704056 h 6857999"/>
              <a:gd name="connsiteX2022" fmla="*/ 468973 w 5503467"/>
              <a:gd name="connsiteY2022" fmla="*/ 1662897 h 6857999"/>
              <a:gd name="connsiteX2023" fmla="*/ 465722 w 5503467"/>
              <a:gd name="connsiteY2023" fmla="*/ 1658834 h 6857999"/>
              <a:gd name="connsiteX2024" fmla="*/ 451099 w 5503467"/>
              <a:gd name="connsiteY2024" fmla="*/ 1633645 h 6857999"/>
              <a:gd name="connsiteX2025" fmla="*/ 441654 w 5503467"/>
              <a:gd name="connsiteY2025" fmla="*/ 1611311 h 6857999"/>
              <a:gd name="connsiteX2026" fmla="*/ 451295 w 5503467"/>
              <a:gd name="connsiteY2026" fmla="*/ 1608929 h 6857999"/>
              <a:gd name="connsiteX2027" fmla="*/ 437383 w 5503467"/>
              <a:gd name="connsiteY2027" fmla="*/ 1587953 h 6857999"/>
              <a:gd name="connsiteX2028" fmla="*/ 427102 w 5503467"/>
              <a:gd name="connsiteY2028" fmla="*/ 1562358 h 6857999"/>
              <a:gd name="connsiteX2029" fmla="*/ 440086 w 5503467"/>
              <a:gd name="connsiteY2029" fmla="*/ 1576908 h 6857999"/>
              <a:gd name="connsiteX2030" fmla="*/ 428266 w 5503467"/>
              <a:gd name="connsiteY2030" fmla="*/ 1522490 h 6857999"/>
              <a:gd name="connsiteX2031" fmla="*/ 438706 w 5503467"/>
              <a:gd name="connsiteY2031" fmla="*/ 1537191 h 6857999"/>
              <a:gd name="connsiteX2032" fmla="*/ 441590 w 5503467"/>
              <a:gd name="connsiteY2032" fmla="*/ 1532475 h 6857999"/>
              <a:gd name="connsiteX2033" fmla="*/ 421528 w 5503467"/>
              <a:gd name="connsiteY2033" fmla="*/ 1473587 h 6857999"/>
              <a:gd name="connsiteX2034" fmla="*/ 396695 w 5503467"/>
              <a:gd name="connsiteY2034" fmla="*/ 1397099 h 6857999"/>
              <a:gd name="connsiteX2035" fmla="*/ 398029 w 5503467"/>
              <a:gd name="connsiteY2035" fmla="*/ 1394604 h 6857999"/>
              <a:gd name="connsiteX2036" fmla="*/ 421200 w 5503467"/>
              <a:gd name="connsiteY2036" fmla="*/ 1443224 h 6857999"/>
              <a:gd name="connsiteX2037" fmla="*/ 427094 w 5503467"/>
              <a:gd name="connsiteY2037" fmla="*/ 1427015 h 6857999"/>
              <a:gd name="connsiteX2038" fmla="*/ 412887 w 5503467"/>
              <a:gd name="connsiteY2038" fmla="*/ 1377382 h 6857999"/>
              <a:gd name="connsiteX2039" fmla="*/ 412644 w 5503467"/>
              <a:gd name="connsiteY2039" fmla="*/ 1363767 h 6857999"/>
              <a:gd name="connsiteX2040" fmla="*/ 437242 w 5503467"/>
              <a:gd name="connsiteY2040" fmla="*/ 1401415 h 6857999"/>
              <a:gd name="connsiteX2041" fmla="*/ 440802 w 5503467"/>
              <a:gd name="connsiteY2041" fmla="*/ 1408913 h 6857999"/>
              <a:gd name="connsiteX2042" fmla="*/ 444493 w 5503467"/>
              <a:gd name="connsiteY2042" fmla="*/ 1407698 h 6857999"/>
              <a:gd name="connsiteX2043" fmla="*/ 423067 w 5503467"/>
              <a:gd name="connsiteY2043" fmla="*/ 1341841 h 6857999"/>
              <a:gd name="connsiteX2044" fmla="*/ 437769 w 5503467"/>
              <a:gd name="connsiteY2044" fmla="*/ 1321928 h 6857999"/>
              <a:gd name="connsiteX2045" fmla="*/ 430949 w 5503467"/>
              <a:gd name="connsiteY2045" fmla="*/ 1325889 h 6857999"/>
              <a:gd name="connsiteX2046" fmla="*/ 420439 w 5503467"/>
              <a:gd name="connsiteY2046" fmla="*/ 1329128 h 6857999"/>
              <a:gd name="connsiteX2047" fmla="*/ 415175 w 5503467"/>
              <a:gd name="connsiteY2047" fmla="*/ 1319223 h 6857999"/>
              <a:gd name="connsiteX2048" fmla="*/ 410099 w 5503467"/>
              <a:gd name="connsiteY2048" fmla="*/ 1292366 h 6857999"/>
              <a:gd name="connsiteX2049" fmla="*/ 400998 w 5503467"/>
              <a:gd name="connsiteY2049" fmla="*/ 1265470 h 6857999"/>
              <a:gd name="connsiteX2050" fmla="*/ 394621 w 5503467"/>
              <a:gd name="connsiteY2050" fmla="*/ 1240868 h 6857999"/>
              <a:gd name="connsiteX2051" fmla="*/ 405653 w 5503467"/>
              <a:gd name="connsiteY2051" fmla="*/ 1249098 h 6857999"/>
              <a:gd name="connsiteX2052" fmla="*/ 370540 w 5503467"/>
              <a:gd name="connsiteY2052" fmla="*/ 1150897 h 6857999"/>
              <a:gd name="connsiteX2053" fmla="*/ 385886 w 5503467"/>
              <a:gd name="connsiteY2053" fmla="*/ 1149259 h 6857999"/>
              <a:gd name="connsiteX2054" fmla="*/ 387496 w 5503467"/>
              <a:gd name="connsiteY2054" fmla="*/ 1152380 h 6857999"/>
              <a:gd name="connsiteX2055" fmla="*/ 386094 w 5503467"/>
              <a:gd name="connsiteY2055" fmla="*/ 1166991 h 6857999"/>
              <a:gd name="connsiteX2056" fmla="*/ 405264 w 5503467"/>
              <a:gd name="connsiteY2056" fmla="*/ 1217275 h 6857999"/>
              <a:gd name="connsiteX2057" fmla="*/ 407957 w 5503467"/>
              <a:gd name="connsiteY2057" fmla="*/ 1227570 h 6857999"/>
              <a:gd name="connsiteX2058" fmla="*/ 427687 w 5503467"/>
              <a:gd name="connsiteY2058" fmla="*/ 1265798 h 6857999"/>
              <a:gd name="connsiteX2059" fmla="*/ 428094 w 5503467"/>
              <a:gd name="connsiteY2059" fmla="*/ 1254934 h 6857999"/>
              <a:gd name="connsiteX2060" fmla="*/ 419057 w 5503467"/>
              <a:gd name="connsiteY2060" fmla="*/ 1221740 h 6857999"/>
              <a:gd name="connsiteX2061" fmla="*/ 423028 w 5503467"/>
              <a:gd name="connsiteY2061" fmla="*/ 1210615 h 6857999"/>
              <a:gd name="connsiteX2062" fmla="*/ 435680 w 5503467"/>
              <a:gd name="connsiteY2062" fmla="*/ 1200622 h 6857999"/>
              <a:gd name="connsiteX2063" fmla="*/ 458581 w 5503467"/>
              <a:gd name="connsiteY2063" fmla="*/ 1222286 h 6857999"/>
              <a:gd name="connsiteX2064" fmla="*/ 443756 w 5503467"/>
              <a:gd name="connsiteY2064" fmla="*/ 1237331 h 6857999"/>
              <a:gd name="connsiteX2065" fmla="*/ 459185 w 5503467"/>
              <a:gd name="connsiteY2065" fmla="*/ 1258263 h 6857999"/>
              <a:gd name="connsiteX2066" fmla="*/ 473536 w 5503467"/>
              <a:gd name="connsiteY2066" fmla="*/ 1268137 h 6857999"/>
              <a:gd name="connsiteX2067" fmla="*/ 473251 w 5503467"/>
              <a:gd name="connsiteY2067" fmla="*/ 1279984 h 6857999"/>
              <a:gd name="connsiteX2068" fmla="*/ 492099 w 5503467"/>
              <a:gd name="connsiteY2068" fmla="*/ 1276621 h 6857999"/>
              <a:gd name="connsiteX2069" fmla="*/ 489355 w 5503467"/>
              <a:gd name="connsiteY2069" fmla="*/ 1245458 h 6857999"/>
              <a:gd name="connsiteX2070" fmla="*/ 497194 w 5503467"/>
              <a:gd name="connsiteY2070" fmla="*/ 1253030 h 6857999"/>
              <a:gd name="connsiteX2071" fmla="*/ 520774 w 5503467"/>
              <a:gd name="connsiteY2071" fmla="*/ 1279147 h 6857999"/>
              <a:gd name="connsiteX2072" fmla="*/ 531835 w 5503467"/>
              <a:gd name="connsiteY2072" fmla="*/ 1294901 h 6857999"/>
              <a:gd name="connsiteX2073" fmla="*/ 577387 w 5503467"/>
              <a:gd name="connsiteY2073" fmla="*/ 1340132 h 6857999"/>
              <a:gd name="connsiteX2074" fmla="*/ 568529 w 5503467"/>
              <a:gd name="connsiteY2074" fmla="*/ 1317149 h 6857999"/>
              <a:gd name="connsiteX2075" fmla="*/ 549970 w 5503467"/>
              <a:gd name="connsiteY2075" fmla="*/ 1298961 h 6857999"/>
              <a:gd name="connsiteX2076" fmla="*/ 547901 w 5503467"/>
              <a:gd name="connsiteY2076" fmla="*/ 1276136 h 6857999"/>
              <a:gd name="connsiteX2077" fmla="*/ 520669 w 5503467"/>
              <a:gd name="connsiteY2077" fmla="*/ 1233534 h 6857999"/>
              <a:gd name="connsiteX2078" fmla="*/ 511367 w 5503467"/>
              <a:gd name="connsiteY2078" fmla="*/ 1241054 h 6857999"/>
              <a:gd name="connsiteX2079" fmla="*/ 514843 w 5503467"/>
              <a:gd name="connsiteY2079" fmla="*/ 1229864 h 6857999"/>
              <a:gd name="connsiteX2080" fmla="*/ 528575 w 5503467"/>
              <a:gd name="connsiteY2080" fmla="*/ 1228986 h 6857999"/>
              <a:gd name="connsiteX2081" fmla="*/ 515143 w 5503467"/>
              <a:gd name="connsiteY2081" fmla="*/ 1179211 h 6857999"/>
              <a:gd name="connsiteX2082" fmla="*/ 520222 w 5503467"/>
              <a:gd name="connsiteY2082" fmla="*/ 1186665 h 6857999"/>
              <a:gd name="connsiteX2083" fmla="*/ 530071 w 5503467"/>
              <a:gd name="connsiteY2083" fmla="*/ 1209777 h 6857999"/>
              <a:gd name="connsiteX2084" fmla="*/ 555636 w 5503467"/>
              <a:gd name="connsiteY2084" fmla="*/ 1236153 h 6857999"/>
              <a:gd name="connsiteX2085" fmla="*/ 570944 w 5503467"/>
              <a:gd name="connsiteY2085" fmla="*/ 1254156 h 6857999"/>
              <a:gd name="connsiteX2086" fmla="*/ 559904 w 5503467"/>
              <a:gd name="connsiteY2086" fmla="*/ 1259509 h 6857999"/>
              <a:gd name="connsiteX2087" fmla="*/ 574316 w 5503467"/>
              <a:gd name="connsiteY2087" fmla="*/ 1268907 h 6857999"/>
              <a:gd name="connsiteX2088" fmla="*/ 599476 w 5503467"/>
              <a:gd name="connsiteY2088" fmla="*/ 1296442 h 6857999"/>
              <a:gd name="connsiteX2089" fmla="*/ 605144 w 5503467"/>
              <a:gd name="connsiteY2089" fmla="*/ 1307126 h 6857999"/>
              <a:gd name="connsiteX2090" fmla="*/ 613351 w 5503467"/>
              <a:gd name="connsiteY2090" fmla="*/ 1333179 h 6857999"/>
              <a:gd name="connsiteX2091" fmla="*/ 631448 w 5503467"/>
              <a:gd name="connsiteY2091" fmla="*/ 1349121 h 6857999"/>
              <a:gd name="connsiteX2092" fmla="*/ 635012 w 5503467"/>
              <a:gd name="connsiteY2092" fmla="*/ 1346917 h 6857999"/>
              <a:gd name="connsiteX2093" fmla="*/ 623925 w 5503467"/>
              <a:gd name="connsiteY2093" fmla="*/ 1321703 h 6857999"/>
              <a:gd name="connsiteX2094" fmla="*/ 618845 w 5503467"/>
              <a:gd name="connsiteY2094" fmla="*/ 1314250 h 6857999"/>
              <a:gd name="connsiteX2095" fmla="*/ 613312 w 5503467"/>
              <a:gd name="connsiteY2095" fmla="*/ 1271567 h 6857999"/>
              <a:gd name="connsiteX2096" fmla="*/ 594004 w 5503467"/>
              <a:gd name="connsiteY2096" fmla="*/ 1262984 h 6857999"/>
              <a:gd name="connsiteX2097" fmla="*/ 591688 w 5503467"/>
              <a:gd name="connsiteY2097" fmla="*/ 1242066 h 6857999"/>
              <a:gd name="connsiteX2098" fmla="*/ 609974 w 5503467"/>
              <a:gd name="connsiteY2098" fmla="*/ 1250758 h 6857999"/>
              <a:gd name="connsiteX2099" fmla="*/ 586377 w 5503467"/>
              <a:gd name="connsiteY2099" fmla="*/ 1189953 h 6857999"/>
              <a:gd name="connsiteX2100" fmla="*/ 589880 w 5503467"/>
              <a:gd name="connsiteY2100" fmla="*/ 1188228 h 6857999"/>
              <a:gd name="connsiteX2101" fmla="*/ 612617 w 5503467"/>
              <a:gd name="connsiteY2101" fmla="*/ 1226604 h 6857999"/>
              <a:gd name="connsiteX2102" fmla="*/ 636967 w 5503467"/>
              <a:gd name="connsiteY2102" fmla="*/ 1264221 h 6857999"/>
              <a:gd name="connsiteX2103" fmla="*/ 617237 w 5503467"/>
              <a:gd name="connsiteY2103" fmla="*/ 1222113 h 6857999"/>
              <a:gd name="connsiteX2104" fmla="*/ 618883 w 5503467"/>
              <a:gd name="connsiteY2104" fmla="*/ 1221116 h 6857999"/>
              <a:gd name="connsiteX2105" fmla="*/ 631646 w 5503467"/>
              <a:gd name="connsiteY2105" fmla="*/ 1239273 h 6857999"/>
              <a:gd name="connsiteX2106" fmla="*/ 645095 w 5503467"/>
              <a:gd name="connsiteY2106" fmla="*/ 1258003 h 6857999"/>
              <a:gd name="connsiteX2107" fmla="*/ 611924 w 5503467"/>
              <a:gd name="connsiteY2107" fmla="*/ 1181643 h 6857999"/>
              <a:gd name="connsiteX2108" fmla="*/ 615147 w 5503467"/>
              <a:gd name="connsiteY2108" fmla="*/ 1178182 h 6857999"/>
              <a:gd name="connsiteX2109" fmla="*/ 621686 w 5503467"/>
              <a:gd name="connsiteY2109" fmla="*/ 1186068 h 6857999"/>
              <a:gd name="connsiteX2110" fmla="*/ 646190 w 5503467"/>
              <a:gd name="connsiteY2110" fmla="*/ 1228315 h 6857999"/>
              <a:gd name="connsiteX2111" fmla="*/ 650774 w 5503467"/>
              <a:gd name="connsiteY2111" fmla="*/ 1235704 h 6857999"/>
              <a:gd name="connsiteX2112" fmla="*/ 664869 w 5503467"/>
              <a:gd name="connsiteY2112" fmla="*/ 1263009 h 6857999"/>
              <a:gd name="connsiteX2113" fmla="*/ 660184 w 5503467"/>
              <a:gd name="connsiteY2113" fmla="*/ 1271858 h 6857999"/>
              <a:gd name="connsiteX2114" fmla="*/ 670969 w 5503467"/>
              <a:gd name="connsiteY2114" fmla="*/ 1280056 h 6857999"/>
              <a:gd name="connsiteX2115" fmla="*/ 694863 w 5503467"/>
              <a:gd name="connsiteY2115" fmla="*/ 1301846 h 6857999"/>
              <a:gd name="connsiteX2116" fmla="*/ 696340 w 5503467"/>
              <a:gd name="connsiteY2116" fmla="*/ 1319502 h 6857999"/>
              <a:gd name="connsiteX2117" fmla="*/ 726156 w 5503467"/>
              <a:gd name="connsiteY2117" fmla="*/ 1340368 h 6857999"/>
              <a:gd name="connsiteX2118" fmla="*/ 733838 w 5503467"/>
              <a:gd name="connsiteY2118" fmla="*/ 1354951 h 6857999"/>
              <a:gd name="connsiteX2119" fmla="*/ 746384 w 5503467"/>
              <a:gd name="connsiteY2119" fmla="*/ 1378660 h 6857999"/>
              <a:gd name="connsiteX2120" fmla="*/ 755747 w 5503467"/>
              <a:gd name="connsiteY2120" fmla="*/ 1372606 h 6857999"/>
              <a:gd name="connsiteX2121" fmla="*/ 778175 w 5503467"/>
              <a:gd name="connsiteY2121" fmla="*/ 1413368 h 6857999"/>
              <a:gd name="connsiteX2122" fmla="*/ 789835 w 5503467"/>
              <a:gd name="connsiteY2122" fmla="*/ 1403246 h 6857999"/>
              <a:gd name="connsiteX2123" fmla="*/ 773100 w 5503467"/>
              <a:gd name="connsiteY2123" fmla="*/ 1390392 h 6857999"/>
              <a:gd name="connsiteX2124" fmla="*/ 785003 w 5503467"/>
              <a:gd name="connsiteY2124" fmla="*/ 1390004 h 6857999"/>
              <a:gd name="connsiteX2125" fmla="*/ 777973 w 5503467"/>
              <a:gd name="connsiteY2125" fmla="*/ 1374290 h 6857999"/>
              <a:gd name="connsiteX2126" fmla="*/ 774166 w 5503467"/>
              <a:gd name="connsiteY2126" fmla="*/ 1360938 h 6857999"/>
              <a:gd name="connsiteX2127" fmla="*/ 757627 w 5503467"/>
              <a:gd name="connsiteY2127" fmla="*/ 1321431 h 6857999"/>
              <a:gd name="connsiteX2128" fmla="*/ 751560 w 5503467"/>
              <a:gd name="connsiteY2128" fmla="*/ 1302206 h 6857999"/>
              <a:gd name="connsiteX2129" fmla="*/ 745720 w 5503467"/>
              <a:gd name="connsiteY2129" fmla="*/ 1254147 h 6857999"/>
              <a:gd name="connsiteX2130" fmla="*/ 745443 w 5503467"/>
              <a:gd name="connsiteY2130" fmla="*/ 1248532 h 6857999"/>
              <a:gd name="connsiteX2131" fmla="*/ 757527 w 5503467"/>
              <a:gd name="connsiteY2131" fmla="*/ 1264176 h 6857999"/>
              <a:gd name="connsiteX2132" fmla="*/ 762828 w 5503467"/>
              <a:gd name="connsiteY2132" fmla="*/ 1268020 h 6857999"/>
              <a:gd name="connsiteX2133" fmla="*/ 783620 w 5503467"/>
              <a:gd name="connsiteY2133" fmla="*/ 1284555 h 6857999"/>
              <a:gd name="connsiteX2134" fmla="*/ 795359 w 5503467"/>
              <a:gd name="connsiteY2134" fmla="*/ 1310583 h 6857999"/>
              <a:gd name="connsiteX2135" fmla="*/ 814446 w 5503467"/>
              <a:gd name="connsiteY2135" fmla="*/ 1336356 h 6857999"/>
              <a:gd name="connsiteX2136" fmla="*/ 815344 w 5503467"/>
              <a:gd name="connsiteY2136" fmla="*/ 1337202 h 6857999"/>
              <a:gd name="connsiteX2137" fmla="*/ 807583 w 5503467"/>
              <a:gd name="connsiteY2137" fmla="*/ 1288409 h 6857999"/>
              <a:gd name="connsiteX2138" fmla="*/ 801540 w 5503467"/>
              <a:gd name="connsiteY2138" fmla="*/ 1278646 h 6857999"/>
              <a:gd name="connsiteX2139" fmla="*/ 777223 w 5503467"/>
              <a:gd name="connsiteY2139" fmla="*/ 1236910 h 6857999"/>
              <a:gd name="connsiteX2140" fmla="*/ 762843 w 5503467"/>
              <a:gd name="connsiteY2140" fmla="*/ 1229213 h 6857999"/>
              <a:gd name="connsiteX2141" fmla="*/ 760211 w 5503467"/>
              <a:gd name="connsiteY2141" fmla="*/ 1220380 h 6857999"/>
              <a:gd name="connsiteX2142" fmla="*/ 770134 w 5503467"/>
              <a:gd name="connsiteY2142" fmla="*/ 1213913 h 6857999"/>
              <a:gd name="connsiteX2143" fmla="*/ 791666 w 5503467"/>
              <a:gd name="connsiteY2143" fmla="*/ 1244128 h 6857999"/>
              <a:gd name="connsiteX2144" fmla="*/ 794484 w 5503467"/>
              <a:gd name="connsiteY2144" fmla="*/ 1251531 h 6857999"/>
              <a:gd name="connsiteX2145" fmla="*/ 804367 w 5503467"/>
              <a:gd name="connsiteY2145" fmla="*/ 1264703 h 6857999"/>
              <a:gd name="connsiteX2146" fmla="*/ 800782 w 5503467"/>
              <a:gd name="connsiteY2146" fmla="*/ 1241922 h 6857999"/>
              <a:gd name="connsiteX2147" fmla="*/ 793562 w 5503467"/>
              <a:gd name="connsiteY2147" fmla="*/ 1233461 h 6857999"/>
              <a:gd name="connsiteX2148" fmla="*/ 798863 w 5503467"/>
              <a:gd name="connsiteY2148" fmla="*/ 1229543 h 6857999"/>
              <a:gd name="connsiteX2149" fmla="*/ 805410 w 5503467"/>
              <a:gd name="connsiteY2149" fmla="*/ 1212208 h 6857999"/>
              <a:gd name="connsiteX2150" fmla="*/ 812937 w 5503467"/>
              <a:gd name="connsiteY2150" fmla="*/ 1229924 h 6857999"/>
              <a:gd name="connsiteX2151" fmla="*/ 814550 w 5503467"/>
              <a:gd name="connsiteY2151" fmla="*/ 1231105 h 6857999"/>
              <a:gd name="connsiteX2152" fmla="*/ 814177 w 5503467"/>
              <a:gd name="connsiteY2152" fmla="*/ 1233966 h 6857999"/>
              <a:gd name="connsiteX2153" fmla="*/ 822415 w 5503467"/>
              <a:gd name="connsiteY2153" fmla="*/ 1250078 h 6857999"/>
              <a:gd name="connsiteX2154" fmla="*/ 820023 w 5503467"/>
              <a:gd name="connsiteY2154" fmla="*/ 1264563 h 6857999"/>
              <a:gd name="connsiteX2155" fmla="*/ 820890 w 5503467"/>
              <a:gd name="connsiteY2155" fmla="*/ 1265646 h 6857999"/>
              <a:gd name="connsiteX2156" fmla="*/ 843296 w 5503467"/>
              <a:gd name="connsiteY2156" fmla="*/ 1281422 h 6857999"/>
              <a:gd name="connsiteX2157" fmla="*/ 846926 w 5503467"/>
              <a:gd name="connsiteY2157" fmla="*/ 1276802 h 6857999"/>
              <a:gd name="connsiteX2158" fmla="*/ 817961 w 5503467"/>
              <a:gd name="connsiteY2158" fmla="*/ 1224272 h 6857999"/>
              <a:gd name="connsiteX2159" fmla="*/ 830762 w 5503467"/>
              <a:gd name="connsiteY2159" fmla="*/ 1234431 h 6857999"/>
              <a:gd name="connsiteX2160" fmla="*/ 850717 w 5503467"/>
              <a:gd name="connsiteY2160" fmla="*/ 1253526 h 6857999"/>
              <a:gd name="connsiteX2161" fmla="*/ 843170 w 5503467"/>
              <a:gd name="connsiteY2161" fmla="*/ 1216644 h 6857999"/>
              <a:gd name="connsiteX2162" fmla="*/ 835723 w 5503467"/>
              <a:gd name="connsiteY2162" fmla="*/ 1157704 h 6857999"/>
              <a:gd name="connsiteX2163" fmla="*/ 831051 w 5503467"/>
              <a:gd name="connsiteY2163" fmla="*/ 1133568 h 6857999"/>
              <a:gd name="connsiteX2164" fmla="*/ 824286 w 5503467"/>
              <a:gd name="connsiteY2164" fmla="*/ 1075202 h 6857999"/>
              <a:gd name="connsiteX2165" fmla="*/ 837817 w 5503467"/>
              <a:gd name="connsiteY2165" fmla="*/ 1108741 h 6857999"/>
              <a:gd name="connsiteX2166" fmla="*/ 852455 w 5503467"/>
              <a:gd name="connsiteY2166" fmla="*/ 1176378 h 6857999"/>
              <a:gd name="connsiteX2167" fmla="*/ 857805 w 5503467"/>
              <a:gd name="connsiteY2167" fmla="*/ 1203029 h 6857999"/>
              <a:gd name="connsiteX2168" fmla="*/ 863245 w 5503467"/>
              <a:gd name="connsiteY2168" fmla="*/ 1244487 h 6857999"/>
              <a:gd name="connsiteX2169" fmla="*/ 868356 w 5503467"/>
              <a:gd name="connsiteY2169" fmla="*/ 1255584 h 6857999"/>
              <a:gd name="connsiteX2170" fmla="*/ 875134 w 5503467"/>
              <a:gd name="connsiteY2170" fmla="*/ 1279024 h 6857999"/>
              <a:gd name="connsiteX2171" fmla="*/ 880432 w 5503467"/>
              <a:gd name="connsiteY2171" fmla="*/ 1288689 h 6857999"/>
              <a:gd name="connsiteX2172" fmla="*/ 897873 w 5503467"/>
              <a:gd name="connsiteY2172" fmla="*/ 1313522 h 6857999"/>
              <a:gd name="connsiteX2173" fmla="*/ 893978 w 5503467"/>
              <a:gd name="connsiteY2173" fmla="*/ 1289243 h 6857999"/>
              <a:gd name="connsiteX2174" fmla="*/ 944597 w 5503467"/>
              <a:gd name="connsiteY2174" fmla="*/ 1372975 h 6857999"/>
              <a:gd name="connsiteX2175" fmla="*/ 948103 w 5503467"/>
              <a:gd name="connsiteY2175" fmla="*/ 1371247 h 6857999"/>
              <a:gd name="connsiteX2176" fmla="*/ 901669 w 5503467"/>
              <a:gd name="connsiteY2176" fmla="*/ 1282483 h 6857999"/>
              <a:gd name="connsiteX2177" fmla="*/ 925348 w 5503467"/>
              <a:gd name="connsiteY2177" fmla="*/ 1298184 h 6857999"/>
              <a:gd name="connsiteX2178" fmla="*/ 968377 w 5503467"/>
              <a:gd name="connsiteY2178" fmla="*/ 1368555 h 6857999"/>
              <a:gd name="connsiteX2179" fmla="*/ 979658 w 5503467"/>
              <a:gd name="connsiteY2179" fmla="*/ 1374878 h 6857999"/>
              <a:gd name="connsiteX2180" fmla="*/ 953637 w 5503467"/>
              <a:gd name="connsiteY2180" fmla="*/ 1326856 h 6857999"/>
              <a:gd name="connsiteX2181" fmla="*/ 970719 w 5503467"/>
              <a:gd name="connsiteY2181" fmla="*/ 1329325 h 6857999"/>
              <a:gd name="connsiteX2182" fmla="*/ 952682 w 5503467"/>
              <a:gd name="connsiteY2182" fmla="*/ 1314847 h 6857999"/>
              <a:gd name="connsiteX2183" fmla="*/ 956166 w 5503467"/>
              <a:gd name="connsiteY2183" fmla="*/ 1288136 h 6857999"/>
              <a:gd name="connsiteX2184" fmla="*/ 990275 w 5503467"/>
              <a:gd name="connsiteY2184" fmla="*/ 1341819 h 6857999"/>
              <a:gd name="connsiteX2185" fmla="*/ 973406 w 5503467"/>
              <a:gd name="connsiteY2185" fmla="*/ 1351261 h 6857999"/>
              <a:gd name="connsiteX2186" fmla="*/ 993248 w 5503467"/>
              <a:gd name="connsiteY2186" fmla="*/ 1349968 h 6857999"/>
              <a:gd name="connsiteX2187" fmla="*/ 1015459 w 5503467"/>
              <a:gd name="connsiteY2187" fmla="*/ 1388520 h 6857999"/>
              <a:gd name="connsiteX2188" fmla="*/ 1018400 w 5503467"/>
              <a:gd name="connsiteY2188" fmla="*/ 1394966 h 6857999"/>
              <a:gd name="connsiteX2189" fmla="*/ 1037176 w 5503467"/>
              <a:gd name="connsiteY2189" fmla="*/ 1423125 h 6857999"/>
              <a:gd name="connsiteX2190" fmla="*/ 1030085 w 5503467"/>
              <a:gd name="connsiteY2190" fmla="*/ 1398187 h 6857999"/>
              <a:gd name="connsiteX2191" fmla="*/ 1024418 w 5503467"/>
              <a:gd name="connsiteY2191" fmla="*/ 1385564 h 6857999"/>
              <a:gd name="connsiteX2192" fmla="*/ 1020297 w 5503467"/>
              <a:gd name="connsiteY2192" fmla="*/ 1378478 h 6857999"/>
              <a:gd name="connsiteX2193" fmla="*/ 1018841 w 5503467"/>
              <a:gd name="connsiteY2193" fmla="*/ 1376106 h 6857999"/>
              <a:gd name="connsiteX2194" fmla="*/ 990836 w 5503467"/>
              <a:gd name="connsiteY2194" fmla="*/ 1327825 h 6857999"/>
              <a:gd name="connsiteX2195" fmla="*/ 983963 w 5503467"/>
              <a:gd name="connsiteY2195" fmla="*/ 1312860 h 6857999"/>
              <a:gd name="connsiteX2196" fmla="*/ 998434 w 5503467"/>
              <a:gd name="connsiteY2196" fmla="*/ 1321782 h 6857999"/>
              <a:gd name="connsiteX2197" fmla="*/ 996487 w 5503467"/>
              <a:gd name="connsiteY2197" fmla="*/ 1311582 h 6857999"/>
              <a:gd name="connsiteX2198" fmla="*/ 983825 w 5503467"/>
              <a:gd name="connsiteY2198" fmla="*/ 1269428 h 6857999"/>
              <a:gd name="connsiteX2199" fmla="*/ 980729 w 5503467"/>
              <a:gd name="connsiteY2199" fmla="*/ 1260292 h 6857999"/>
              <a:gd name="connsiteX2200" fmla="*/ 968034 w 5503467"/>
              <a:gd name="connsiteY2200" fmla="*/ 1220313 h 6857999"/>
              <a:gd name="connsiteX2201" fmla="*/ 954256 w 5503467"/>
              <a:gd name="connsiteY2201" fmla="*/ 1175099 h 6857999"/>
              <a:gd name="connsiteX2202" fmla="*/ 952743 w 5503467"/>
              <a:gd name="connsiteY2202" fmla="*/ 1165444 h 6857999"/>
              <a:gd name="connsiteX2203" fmla="*/ 936093 w 5503467"/>
              <a:gd name="connsiteY2203" fmla="*/ 1095844 h 6857999"/>
              <a:gd name="connsiteX2204" fmla="*/ 937125 w 5503467"/>
              <a:gd name="connsiteY2204" fmla="*/ 1076332 h 6857999"/>
              <a:gd name="connsiteX2205" fmla="*/ 955339 w 5503467"/>
              <a:gd name="connsiteY2205" fmla="*/ 1027528 h 6857999"/>
              <a:gd name="connsiteX2206" fmla="*/ 957667 w 5503467"/>
              <a:gd name="connsiteY2206" fmla="*/ 1027104 h 6857999"/>
              <a:gd name="connsiteX2207" fmla="*/ 961633 w 5503467"/>
              <a:gd name="connsiteY2207" fmla="*/ 1029561 h 6857999"/>
              <a:gd name="connsiteX2208" fmla="*/ 975569 w 5503467"/>
              <a:gd name="connsiteY2208" fmla="*/ 1063881 h 6857999"/>
              <a:gd name="connsiteX2209" fmla="*/ 970991 w 5503467"/>
              <a:gd name="connsiteY2209" fmla="*/ 1037088 h 6857999"/>
              <a:gd name="connsiteX2210" fmla="*/ 966873 w 5503467"/>
              <a:gd name="connsiteY2210" fmla="*/ 1028063 h 6857999"/>
              <a:gd name="connsiteX2211" fmla="*/ 959103 w 5503467"/>
              <a:gd name="connsiteY2211" fmla="*/ 1000612 h 6857999"/>
              <a:gd name="connsiteX2212" fmla="*/ 953006 w 5503467"/>
              <a:gd name="connsiteY2212" fmla="*/ 973863 h 6857999"/>
              <a:gd name="connsiteX2213" fmla="*/ 968870 w 5503467"/>
              <a:gd name="connsiteY2213" fmla="*/ 993396 h 6857999"/>
              <a:gd name="connsiteX2214" fmla="*/ 986778 w 5503467"/>
              <a:gd name="connsiteY2214" fmla="*/ 1016591 h 6857999"/>
              <a:gd name="connsiteX2215" fmla="*/ 988745 w 5503467"/>
              <a:gd name="connsiteY2215" fmla="*/ 986042 h 6857999"/>
              <a:gd name="connsiteX2216" fmla="*/ 998752 w 5503467"/>
              <a:gd name="connsiteY2216" fmla="*/ 1000202 h 6857999"/>
              <a:gd name="connsiteX2217" fmla="*/ 1021746 w 5503467"/>
              <a:gd name="connsiteY2217" fmla="*/ 1017270 h 6857999"/>
              <a:gd name="connsiteX2218" fmla="*/ 1040267 w 5503467"/>
              <a:gd name="connsiteY2218" fmla="*/ 1060916 h 6857999"/>
              <a:gd name="connsiteX2219" fmla="*/ 1043185 w 5503467"/>
              <a:gd name="connsiteY2219" fmla="*/ 1048201 h 6857999"/>
              <a:gd name="connsiteX2220" fmla="*/ 1072805 w 5503467"/>
              <a:gd name="connsiteY2220" fmla="*/ 1089900 h 6857999"/>
              <a:gd name="connsiteX2221" fmla="*/ 1077271 w 5503467"/>
              <a:gd name="connsiteY2221" fmla="*/ 1082721 h 6857999"/>
              <a:gd name="connsiteX2222" fmla="*/ 1070053 w 5503467"/>
              <a:gd name="connsiteY2222" fmla="*/ 1072320 h 6857999"/>
              <a:gd name="connsiteX2223" fmla="*/ 1054876 w 5503467"/>
              <a:gd name="connsiteY2223" fmla="*/ 1041719 h 6857999"/>
              <a:gd name="connsiteX2224" fmla="*/ 1075541 w 5503467"/>
              <a:gd name="connsiteY2224" fmla="*/ 1070853 h 6857999"/>
              <a:gd name="connsiteX2225" fmla="*/ 1076070 w 5503467"/>
              <a:gd name="connsiteY2225" fmla="*/ 1064856 h 6857999"/>
              <a:gd name="connsiteX2226" fmla="*/ 1086237 w 5503467"/>
              <a:gd name="connsiteY2226" fmla="*/ 1066182 h 6857999"/>
              <a:gd name="connsiteX2227" fmla="*/ 1076387 w 5503467"/>
              <a:gd name="connsiteY2227" fmla="*/ 1052771 h 6857999"/>
              <a:gd name="connsiteX2228" fmla="*/ 1062476 w 5503467"/>
              <a:gd name="connsiteY2228" fmla="*/ 1029855 h 6857999"/>
              <a:gd name="connsiteX2229" fmla="*/ 1045097 w 5503467"/>
              <a:gd name="connsiteY2229" fmla="*/ 996785 h 6857999"/>
              <a:gd name="connsiteX2230" fmla="*/ 1046683 w 5503467"/>
              <a:gd name="connsiteY2230" fmla="*/ 984624 h 6857999"/>
              <a:gd name="connsiteX2231" fmla="*/ 1059323 w 5503467"/>
              <a:gd name="connsiteY2231" fmla="*/ 1007616 h 6857999"/>
              <a:gd name="connsiteX2232" fmla="*/ 1075898 w 5503467"/>
              <a:gd name="connsiteY2232" fmla="*/ 1033304 h 6857999"/>
              <a:gd name="connsiteX2233" fmla="*/ 1081536 w 5503467"/>
              <a:gd name="connsiteY2233" fmla="*/ 1044224 h 6857999"/>
              <a:gd name="connsiteX2234" fmla="*/ 1097490 w 5503467"/>
              <a:gd name="connsiteY2234" fmla="*/ 1064983 h 6857999"/>
              <a:gd name="connsiteX2235" fmla="*/ 1107849 w 5503467"/>
              <a:gd name="connsiteY2235" fmla="*/ 1059056 h 6857999"/>
              <a:gd name="connsiteX2236" fmla="*/ 1126878 w 5503467"/>
              <a:gd name="connsiteY2236" fmla="*/ 1063964 h 6857999"/>
              <a:gd name="connsiteX2237" fmla="*/ 1133636 w 5503467"/>
              <a:gd name="connsiteY2237" fmla="*/ 1070180 h 6857999"/>
              <a:gd name="connsiteX2238" fmla="*/ 1124362 w 5503467"/>
              <a:gd name="connsiteY2238" fmla="*/ 1077461 h 6857999"/>
              <a:gd name="connsiteX2239" fmla="*/ 1124171 w 5503467"/>
              <a:gd name="connsiteY2239" fmla="*/ 1096353 h 6857999"/>
              <a:gd name="connsiteX2240" fmla="*/ 1108613 w 5503467"/>
              <a:gd name="connsiteY2240" fmla="*/ 1084139 h 6857999"/>
              <a:gd name="connsiteX2241" fmla="*/ 1105571 w 5503467"/>
              <a:gd name="connsiteY2241" fmla="*/ 1090047 h 6857999"/>
              <a:gd name="connsiteX2242" fmla="*/ 1119359 w 5503467"/>
              <a:gd name="connsiteY2242" fmla="*/ 1108097 h 6857999"/>
              <a:gd name="connsiteX2243" fmla="*/ 1133805 w 5503467"/>
              <a:gd name="connsiteY2243" fmla="*/ 1105616 h 6857999"/>
              <a:gd name="connsiteX2244" fmla="*/ 1132966 w 5503467"/>
              <a:gd name="connsiteY2244" fmla="*/ 1112054 h 6857999"/>
              <a:gd name="connsiteX2245" fmla="*/ 1136871 w 5503467"/>
              <a:gd name="connsiteY2245" fmla="*/ 1116930 h 6857999"/>
              <a:gd name="connsiteX2246" fmla="*/ 1141741 w 5503467"/>
              <a:gd name="connsiteY2246" fmla="*/ 1106650 h 6857999"/>
              <a:gd name="connsiteX2247" fmla="*/ 1138151 w 5503467"/>
              <a:gd name="connsiteY2247" fmla="*/ 1093570 h 6857999"/>
              <a:gd name="connsiteX2248" fmla="*/ 1179844 w 5503467"/>
              <a:gd name="connsiteY2248" fmla="*/ 1102643 h 6857999"/>
              <a:gd name="connsiteX2249" fmla="*/ 1179533 w 5503467"/>
              <a:gd name="connsiteY2249" fmla="*/ 1101147 h 6857999"/>
              <a:gd name="connsiteX2250" fmla="*/ 1167943 w 5503467"/>
              <a:gd name="connsiteY2250" fmla="*/ 1089448 h 6857999"/>
              <a:gd name="connsiteX2251" fmla="*/ 1172285 w 5503467"/>
              <a:gd name="connsiteY2251" fmla="*/ 1087103 h 6857999"/>
              <a:gd name="connsiteX2252" fmla="*/ 1186636 w 5503467"/>
              <a:gd name="connsiteY2252" fmla="*/ 1091159 h 6857999"/>
              <a:gd name="connsiteX2253" fmla="*/ 1189089 w 5503467"/>
              <a:gd name="connsiteY2253" fmla="*/ 1082020 h 6857999"/>
              <a:gd name="connsiteX2254" fmla="*/ 1207665 w 5503467"/>
              <a:gd name="connsiteY2254" fmla="*/ 1063339 h 6857999"/>
              <a:gd name="connsiteX2255" fmla="*/ 1236187 w 5503467"/>
              <a:gd name="connsiteY2255" fmla="*/ 1136670 h 6857999"/>
              <a:gd name="connsiteX2256" fmla="*/ 1243199 w 5503467"/>
              <a:gd name="connsiteY2256" fmla="*/ 1121575 h 6857999"/>
              <a:gd name="connsiteX2257" fmla="*/ 1250485 w 5503467"/>
              <a:gd name="connsiteY2257" fmla="*/ 1115979 h 6857999"/>
              <a:gd name="connsiteX2258" fmla="*/ 1271108 w 5503467"/>
              <a:gd name="connsiteY2258" fmla="*/ 1100959 h 6857999"/>
              <a:gd name="connsiteX2259" fmla="*/ 1274583 w 5503467"/>
              <a:gd name="connsiteY2259" fmla="*/ 1091710 h 6857999"/>
              <a:gd name="connsiteX2260" fmla="*/ 1294273 w 5503467"/>
              <a:gd name="connsiteY2260" fmla="*/ 1078028 h 6857999"/>
              <a:gd name="connsiteX2261" fmla="*/ 1317680 w 5503467"/>
              <a:gd name="connsiteY2261" fmla="*/ 1076471 h 6857999"/>
              <a:gd name="connsiteX2262" fmla="*/ 1319859 w 5503467"/>
              <a:gd name="connsiteY2262" fmla="*/ 1048134 h 6857999"/>
              <a:gd name="connsiteX2263" fmla="*/ 1339389 w 5503467"/>
              <a:gd name="connsiteY2263" fmla="*/ 1051166 h 6857999"/>
              <a:gd name="connsiteX2264" fmla="*/ 1352200 w 5503467"/>
              <a:gd name="connsiteY2264" fmla="*/ 1034161 h 6857999"/>
              <a:gd name="connsiteX2265" fmla="*/ 1364578 w 5503467"/>
              <a:gd name="connsiteY2265" fmla="*/ 1010792 h 6857999"/>
              <a:gd name="connsiteX2266" fmla="*/ 1370655 w 5503467"/>
              <a:gd name="connsiteY2266" fmla="*/ 1004793 h 6857999"/>
              <a:gd name="connsiteX2267" fmla="*/ 1389977 w 5503467"/>
              <a:gd name="connsiteY2267" fmla="*/ 982328 h 6857999"/>
              <a:gd name="connsiteX2268" fmla="*/ 1393080 w 5503467"/>
              <a:gd name="connsiteY2268" fmla="*/ 974002 h 6857999"/>
              <a:gd name="connsiteX2269" fmla="*/ 1392929 w 5503467"/>
              <a:gd name="connsiteY2269" fmla="*/ 965492 h 6857999"/>
              <a:gd name="connsiteX2270" fmla="*/ 1372646 w 5503467"/>
              <a:gd name="connsiteY2270" fmla="*/ 916036 h 6857999"/>
              <a:gd name="connsiteX2271" fmla="*/ 1369515 w 5503467"/>
              <a:gd name="connsiteY2271" fmla="*/ 912959 h 6857999"/>
              <a:gd name="connsiteX2272" fmla="*/ 1362980 w 5503467"/>
              <a:gd name="connsiteY2272" fmla="*/ 899252 h 6857999"/>
              <a:gd name="connsiteX2273" fmla="*/ 1350089 w 5503467"/>
              <a:gd name="connsiteY2273" fmla="*/ 887869 h 6857999"/>
              <a:gd name="connsiteX2274" fmla="*/ 1341437 w 5503467"/>
              <a:gd name="connsiteY2274" fmla="*/ 890381 h 6857999"/>
              <a:gd name="connsiteX2275" fmla="*/ 1333131 w 5503467"/>
              <a:gd name="connsiteY2275" fmla="*/ 888327 h 6857999"/>
              <a:gd name="connsiteX2276" fmla="*/ 1309274 w 5503467"/>
              <a:gd name="connsiteY2276" fmla="*/ 856595 h 6857999"/>
              <a:gd name="connsiteX2277" fmla="*/ 1299605 w 5503467"/>
              <a:gd name="connsiteY2277" fmla="*/ 847573 h 6857999"/>
              <a:gd name="connsiteX2278" fmla="*/ 1293106 w 5503467"/>
              <a:gd name="connsiteY2278" fmla="*/ 820045 h 6857999"/>
              <a:gd name="connsiteX2279" fmla="*/ 1301916 w 5503467"/>
              <a:gd name="connsiteY2279" fmla="*/ 810522 h 6857999"/>
              <a:gd name="connsiteX2280" fmla="*/ 1314659 w 5503467"/>
              <a:gd name="connsiteY2280" fmla="*/ 805634 h 6857999"/>
              <a:gd name="connsiteX2281" fmla="*/ 1330156 w 5503467"/>
              <a:gd name="connsiteY2281" fmla="*/ 810566 h 6857999"/>
              <a:gd name="connsiteX2282" fmla="*/ 1341995 w 5503467"/>
              <a:gd name="connsiteY2282" fmla="*/ 814536 h 6857999"/>
              <a:gd name="connsiteX2283" fmla="*/ 1359172 w 5503467"/>
              <a:gd name="connsiteY2283" fmla="*/ 808528 h 6857999"/>
              <a:gd name="connsiteX2284" fmla="*/ 1373778 w 5503467"/>
              <a:gd name="connsiteY2284" fmla="*/ 799032 h 6857999"/>
              <a:gd name="connsiteX2285" fmla="*/ 1376017 w 5503467"/>
              <a:gd name="connsiteY2285" fmla="*/ 777979 h 6857999"/>
              <a:gd name="connsiteX2286" fmla="*/ 1380987 w 5503467"/>
              <a:gd name="connsiteY2286" fmla="*/ 753403 h 6857999"/>
              <a:gd name="connsiteX2287" fmla="*/ 1400222 w 5503467"/>
              <a:gd name="connsiteY2287" fmla="*/ 720013 h 6857999"/>
              <a:gd name="connsiteX2288" fmla="*/ 1397775 w 5503467"/>
              <a:gd name="connsiteY2288" fmla="*/ 711690 h 6857999"/>
              <a:gd name="connsiteX2289" fmla="*/ 1402247 w 5503467"/>
              <a:gd name="connsiteY2289" fmla="*/ 696750 h 6857999"/>
              <a:gd name="connsiteX2290" fmla="*/ 1406465 w 5503467"/>
              <a:gd name="connsiteY2290" fmla="*/ 685657 h 6857999"/>
              <a:gd name="connsiteX2291" fmla="*/ 1404300 w 5503467"/>
              <a:gd name="connsiteY2291" fmla="*/ 677131 h 6857999"/>
              <a:gd name="connsiteX2292" fmla="*/ 1405854 w 5503467"/>
              <a:gd name="connsiteY2292" fmla="*/ 669085 h 6857999"/>
              <a:gd name="connsiteX2293" fmla="*/ 1421051 w 5503467"/>
              <a:gd name="connsiteY2293" fmla="*/ 653119 h 6857999"/>
              <a:gd name="connsiteX2294" fmla="*/ 1427750 w 5503467"/>
              <a:gd name="connsiteY2294" fmla="*/ 638469 h 6857999"/>
              <a:gd name="connsiteX2295" fmla="*/ 1429679 w 5503467"/>
              <a:gd name="connsiteY2295" fmla="*/ 625622 h 6857999"/>
              <a:gd name="connsiteX2296" fmla="*/ 1437869 w 5503467"/>
              <a:gd name="connsiteY2296" fmla="*/ 607286 h 6857999"/>
              <a:gd name="connsiteX2297" fmla="*/ 1458149 w 5503467"/>
              <a:gd name="connsiteY2297" fmla="*/ 591012 h 6857999"/>
              <a:gd name="connsiteX2298" fmla="*/ 1469592 w 5503467"/>
              <a:gd name="connsiteY2298" fmla="*/ 584499 h 6857999"/>
              <a:gd name="connsiteX2299" fmla="*/ 1487518 w 5503467"/>
              <a:gd name="connsiteY2299" fmla="*/ 565008 h 6857999"/>
              <a:gd name="connsiteX2300" fmla="*/ 1552068 w 5503467"/>
              <a:gd name="connsiteY2300" fmla="*/ 619265 h 6857999"/>
              <a:gd name="connsiteX2301" fmla="*/ 1573310 w 5503467"/>
              <a:gd name="connsiteY2301" fmla="*/ 603359 h 6857999"/>
              <a:gd name="connsiteX2302" fmla="*/ 1586056 w 5503467"/>
              <a:gd name="connsiteY2302" fmla="*/ 590711 h 6857999"/>
              <a:gd name="connsiteX2303" fmla="*/ 1573730 w 5503467"/>
              <a:gd name="connsiteY2303" fmla="*/ 561454 h 6857999"/>
              <a:gd name="connsiteX2304" fmla="*/ 1567414 w 5503467"/>
              <a:gd name="connsiteY2304" fmla="*/ 544136 h 6857999"/>
              <a:gd name="connsiteX2305" fmla="*/ 1566180 w 5503467"/>
              <a:gd name="connsiteY2305" fmla="*/ 526513 h 6857999"/>
              <a:gd name="connsiteX2306" fmla="*/ 1564204 w 5503467"/>
              <a:gd name="connsiteY2306" fmla="*/ 508791 h 6857999"/>
              <a:gd name="connsiteX2307" fmla="*/ 1563434 w 5503467"/>
              <a:gd name="connsiteY2307" fmla="*/ 493410 h 6857999"/>
              <a:gd name="connsiteX2308" fmla="*/ 1568555 w 5503467"/>
              <a:gd name="connsiteY2308" fmla="*/ 477342 h 6857999"/>
              <a:gd name="connsiteX2309" fmla="*/ 1580246 w 5503467"/>
              <a:gd name="connsiteY2309" fmla="*/ 466980 h 6857999"/>
              <a:gd name="connsiteX2310" fmla="*/ 1589923 w 5503467"/>
              <a:gd name="connsiteY2310" fmla="*/ 458539 h 6857999"/>
              <a:gd name="connsiteX2311" fmla="*/ 1581128 w 5503467"/>
              <a:gd name="connsiteY2311" fmla="*/ 435078 h 6857999"/>
              <a:gd name="connsiteX2312" fmla="*/ 1581880 w 5503467"/>
              <a:gd name="connsiteY2312" fmla="*/ 417713 h 6857999"/>
              <a:gd name="connsiteX2313" fmla="*/ 1567377 w 5503467"/>
              <a:gd name="connsiteY2313" fmla="*/ 401268 h 6857999"/>
              <a:gd name="connsiteX2314" fmla="*/ 1553102 w 5503467"/>
              <a:gd name="connsiteY2314" fmla="*/ 363754 h 6857999"/>
              <a:gd name="connsiteX2315" fmla="*/ 1547218 w 5503467"/>
              <a:gd name="connsiteY2315" fmla="*/ 346978 h 6857999"/>
              <a:gd name="connsiteX2316" fmla="*/ 1524266 w 5503467"/>
              <a:gd name="connsiteY2316" fmla="*/ 304448 h 6857999"/>
              <a:gd name="connsiteX2317" fmla="*/ 1518474 w 5503467"/>
              <a:gd name="connsiteY2317" fmla="*/ 292779 h 6857999"/>
              <a:gd name="connsiteX2318" fmla="*/ 1482303 w 5503467"/>
              <a:gd name="connsiteY2318" fmla="*/ 196864 h 6857999"/>
              <a:gd name="connsiteX2319" fmla="*/ 1481689 w 5503467"/>
              <a:gd name="connsiteY2319" fmla="*/ 184172 h 6857999"/>
              <a:gd name="connsiteX2320" fmla="*/ 1474039 w 5503467"/>
              <a:gd name="connsiteY2320" fmla="*/ 165470 h 6857999"/>
              <a:gd name="connsiteX2321" fmla="*/ 1467907 w 5503467"/>
              <a:gd name="connsiteY2321" fmla="*/ 154481 h 6857999"/>
              <a:gd name="connsiteX2322" fmla="*/ 1469088 w 5503467"/>
              <a:gd name="connsiteY2322" fmla="*/ 141539 h 6857999"/>
              <a:gd name="connsiteX2323" fmla="*/ 1440106 w 5503467"/>
              <a:gd name="connsiteY2323" fmla="*/ 62085 h 6857999"/>
              <a:gd name="connsiteX2324" fmla="*/ 1470752 w 5503467"/>
              <a:gd name="connsiteY2324" fmla="*/ 1466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</a:cxnLst>
            <a:rect l="l" t="t" r="r" b="b"/>
            <a:pathLst>
              <a:path w="5503467" h="6857999">
                <a:moveTo>
                  <a:pt x="1417233" y="6852665"/>
                </a:moveTo>
                <a:cubicBezTo>
                  <a:pt x="1416614" y="6853555"/>
                  <a:pt x="1415776" y="6854174"/>
                  <a:pt x="1415683" y="6854890"/>
                </a:cubicBezTo>
                <a:cubicBezTo>
                  <a:pt x="1415621" y="6855366"/>
                  <a:pt x="1416273" y="6856179"/>
                  <a:pt x="1416458" y="6856687"/>
                </a:cubicBezTo>
                <a:cubicBezTo>
                  <a:pt x="1416767" y="6856244"/>
                  <a:pt x="1417451" y="6854876"/>
                  <a:pt x="1417451" y="6854876"/>
                </a:cubicBezTo>
                <a:cubicBezTo>
                  <a:pt x="1417544" y="6854163"/>
                  <a:pt x="1417140" y="6853381"/>
                  <a:pt x="1417233" y="6852665"/>
                </a:cubicBezTo>
                <a:close/>
                <a:moveTo>
                  <a:pt x="1582717" y="6840771"/>
                </a:moveTo>
                <a:lnTo>
                  <a:pt x="1582665" y="6857999"/>
                </a:lnTo>
                <a:lnTo>
                  <a:pt x="1578126" y="6857999"/>
                </a:lnTo>
                <a:close/>
                <a:moveTo>
                  <a:pt x="1439623" y="6833756"/>
                </a:moveTo>
                <a:cubicBezTo>
                  <a:pt x="1439345" y="6833962"/>
                  <a:pt x="1439283" y="6834438"/>
                  <a:pt x="1439252" y="6834678"/>
                </a:cubicBezTo>
                <a:cubicBezTo>
                  <a:pt x="1438971" y="6834883"/>
                  <a:pt x="1439405" y="6835425"/>
                  <a:pt x="1439405" y="6835425"/>
                </a:cubicBezTo>
                <a:cubicBezTo>
                  <a:pt x="1439467" y="6834949"/>
                  <a:pt x="1439562" y="6834232"/>
                  <a:pt x="1439623" y="6833756"/>
                </a:cubicBezTo>
                <a:close/>
                <a:moveTo>
                  <a:pt x="2505466" y="6827683"/>
                </a:moveTo>
                <a:cubicBezTo>
                  <a:pt x="2504627" y="6828302"/>
                  <a:pt x="2503573" y="6828648"/>
                  <a:pt x="2502735" y="6829268"/>
                </a:cubicBezTo>
                <a:cubicBezTo>
                  <a:pt x="2500936" y="6833398"/>
                  <a:pt x="2499817" y="6838105"/>
                  <a:pt x="2498980" y="6842603"/>
                </a:cubicBezTo>
                <a:cubicBezTo>
                  <a:pt x="2498421" y="6844956"/>
                  <a:pt x="2498604" y="6847408"/>
                  <a:pt x="2499038" y="6849889"/>
                </a:cubicBezTo>
                <a:cubicBezTo>
                  <a:pt x="2499286" y="6849920"/>
                  <a:pt x="2499783" y="6849986"/>
                  <a:pt x="2499783" y="6849986"/>
                </a:cubicBezTo>
                <a:lnTo>
                  <a:pt x="2499752" y="6850223"/>
                </a:lnTo>
                <a:cubicBezTo>
                  <a:pt x="2504745" y="6842871"/>
                  <a:pt x="2505709" y="6835476"/>
                  <a:pt x="2505466" y="6827683"/>
                </a:cubicBezTo>
                <a:close/>
                <a:moveTo>
                  <a:pt x="1428869" y="6827259"/>
                </a:moveTo>
                <a:cubicBezTo>
                  <a:pt x="1427752" y="6828084"/>
                  <a:pt x="1426853" y="6829181"/>
                  <a:pt x="1425737" y="6830005"/>
                </a:cubicBezTo>
                <a:cubicBezTo>
                  <a:pt x="1425766" y="6833646"/>
                  <a:pt x="1425516" y="6837494"/>
                  <a:pt x="1425516" y="6841374"/>
                </a:cubicBezTo>
                <a:lnTo>
                  <a:pt x="1425762" y="6841407"/>
                </a:lnTo>
                <a:cubicBezTo>
                  <a:pt x="1427098" y="6836974"/>
                  <a:pt x="1428215" y="6832269"/>
                  <a:pt x="1428869" y="6827259"/>
                </a:cubicBezTo>
                <a:close/>
                <a:moveTo>
                  <a:pt x="2576778" y="6825343"/>
                </a:moveTo>
                <a:lnTo>
                  <a:pt x="2576547" y="6827977"/>
                </a:lnTo>
                <a:cubicBezTo>
                  <a:pt x="2575060" y="6827783"/>
                  <a:pt x="2573572" y="6827589"/>
                  <a:pt x="2572609" y="6827223"/>
                </a:cubicBezTo>
                <a:lnTo>
                  <a:pt x="2572445" y="6826112"/>
                </a:lnTo>
                <a:lnTo>
                  <a:pt x="2573107" y="6825344"/>
                </a:lnTo>
                <a:close/>
                <a:moveTo>
                  <a:pt x="1851279" y="6815879"/>
                </a:moveTo>
                <a:cubicBezTo>
                  <a:pt x="1846472" y="6821801"/>
                  <a:pt x="1848390" y="6828357"/>
                  <a:pt x="1849285" y="6835023"/>
                </a:cubicBezTo>
                <a:cubicBezTo>
                  <a:pt x="1850000" y="6831477"/>
                  <a:pt x="1850964" y="6827964"/>
                  <a:pt x="1851709" y="6824180"/>
                </a:cubicBezTo>
                <a:cubicBezTo>
                  <a:pt x="1851586" y="6823194"/>
                  <a:pt x="1851337" y="6821221"/>
                  <a:pt x="1851337" y="6821221"/>
                </a:cubicBezTo>
                <a:lnTo>
                  <a:pt x="1851587" y="6821253"/>
                </a:lnTo>
                <a:cubicBezTo>
                  <a:pt x="1851308" y="6819521"/>
                  <a:pt x="1851308" y="6817581"/>
                  <a:pt x="1851279" y="6815879"/>
                </a:cubicBezTo>
                <a:close/>
                <a:moveTo>
                  <a:pt x="1366939" y="6808998"/>
                </a:moveTo>
                <a:cubicBezTo>
                  <a:pt x="1366908" y="6809235"/>
                  <a:pt x="1366815" y="6809953"/>
                  <a:pt x="1366753" y="6810428"/>
                </a:cubicBezTo>
                <a:cubicBezTo>
                  <a:pt x="1367000" y="6810460"/>
                  <a:pt x="1367993" y="6810589"/>
                  <a:pt x="1367993" y="6810589"/>
                </a:cubicBezTo>
                <a:cubicBezTo>
                  <a:pt x="1368055" y="6810114"/>
                  <a:pt x="1368116" y="6809635"/>
                  <a:pt x="1368178" y="6809160"/>
                </a:cubicBezTo>
                <a:cubicBezTo>
                  <a:pt x="1367931" y="6809128"/>
                  <a:pt x="1366939" y="6808998"/>
                  <a:pt x="1366939" y="6808998"/>
                </a:cubicBezTo>
                <a:close/>
                <a:moveTo>
                  <a:pt x="1543425" y="6801691"/>
                </a:moveTo>
                <a:lnTo>
                  <a:pt x="1543981" y="6805159"/>
                </a:lnTo>
                <a:lnTo>
                  <a:pt x="1545625" y="6802221"/>
                </a:lnTo>
                <a:lnTo>
                  <a:pt x="1545656" y="6801983"/>
                </a:lnTo>
                <a:close/>
                <a:moveTo>
                  <a:pt x="1371130" y="6790383"/>
                </a:moveTo>
                <a:lnTo>
                  <a:pt x="1370974" y="6791575"/>
                </a:lnTo>
                <a:lnTo>
                  <a:pt x="1372557" y="6791056"/>
                </a:lnTo>
                <a:cubicBezTo>
                  <a:pt x="1372557" y="6791056"/>
                  <a:pt x="1371130" y="6790383"/>
                  <a:pt x="1371130" y="6790383"/>
                </a:cubicBezTo>
                <a:close/>
                <a:moveTo>
                  <a:pt x="2602947" y="6784122"/>
                </a:moveTo>
                <a:cubicBezTo>
                  <a:pt x="2602634" y="6788448"/>
                  <a:pt x="2602322" y="6792772"/>
                  <a:pt x="2602010" y="6797099"/>
                </a:cubicBezTo>
                <a:cubicBezTo>
                  <a:pt x="2602973" y="6793585"/>
                  <a:pt x="2603472" y="6789770"/>
                  <a:pt x="2603968" y="6785953"/>
                </a:cubicBezTo>
                <a:cubicBezTo>
                  <a:pt x="2603533" y="6785410"/>
                  <a:pt x="2603379" y="6784665"/>
                  <a:pt x="2602947" y="6784122"/>
                </a:cubicBezTo>
                <a:close/>
                <a:moveTo>
                  <a:pt x="1581293" y="6758846"/>
                </a:moveTo>
                <a:cubicBezTo>
                  <a:pt x="1579462" y="6761274"/>
                  <a:pt x="1577727" y="6762989"/>
                  <a:pt x="1577509" y="6764659"/>
                </a:cubicBezTo>
                <a:cubicBezTo>
                  <a:pt x="1577447" y="6765135"/>
                  <a:pt x="1577384" y="6765614"/>
                  <a:pt x="1577322" y="6766090"/>
                </a:cubicBezTo>
                <a:cubicBezTo>
                  <a:pt x="1579985" y="6770804"/>
                  <a:pt x="1581873" y="6775659"/>
                  <a:pt x="1583050" y="6780177"/>
                </a:cubicBezTo>
                <a:cubicBezTo>
                  <a:pt x="1583456" y="6775137"/>
                  <a:pt x="1583861" y="6770097"/>
                  <a:pt x="1584265" y="6765055"/>
                </a:cubicBezTo>
                <a:cubicBezTo>
                  <a:pt x="1584482" y="6763387"/>
                  <a:pt x="1582685" y="6761696"/>
                  <a:pt x="1581293" y="6758846"/>
                </a:cubicBezTo>
                <a:close/>
                <a:moveTo>
                  <a:pt x="1381219" y="6757500"/>
                </a:moveTo>
                <a:cubicBezTo>
                  <a:pt x="1380660" y="6761791"/>
                  <a:pt x="1380100" y="6766086"/>
                  <a:pt x="1379540" y="6770376"/>
                </a:cubicBezTo>
                <a:lnTo>
                  <a:pt x="1379292" y="6770344"/>
                </a:lnTo>
                <a:cubicBezTo>
                  <a:pt x="1379169" y="6771299"/>
                  <a:pt x="1380812" y="6772241"/>
                  <a:pt x="1381460" y="6773054"/>
                </a:cubicBezTo>
                <a:cubicBezTo>
                  <a:pt x="1381772" y="6772609"/>
                  <a:pt x="1382113" y="6771927"/>
                  <a:pt x="1382422" y="6771481"/>
                </a:cubicBezTo>
                <a:cubicBezTo>
                  <a:pt x="1382022" y="6766820"/>
                  <a:pt x="1381620" y="6762160"/>
                  <a:pt x="1381219" y="6757500"/>
                </a:cubicBezTo>
                <a:close/>
                <a:moveTo>
                  <a:pt x="1410584" y="6735375"/>
                </a:moveTo>
                <a:cubicBezTo>
                  <a:pt x="1410491" y="6736091"/>
                  <a:pt x="1410397" y="6736808"/>
                  <a:pt x="1410304" y="6737521"/>
                </a:cubicBezTo>
                <a:lnTo>
                  <a:pt x="1412307" y="6739767"/>
                </a:lnTo>
                <a:lnTo>
                  <a:pt x="1412259" y="6739958"/>
                </a:lnTo>
                <a:lnTo>
                  <a:pt x="1412506" y="6739990"/>
                </a:lnTo>
                <a:lnTo>
                  <a:pt x="1412307" y="6739767"/>
                </a:lnTo>
                <a:lnTo>
                  <a:pt x="1412785" y="6737844"/>
                </a:lnTo>
                <a:cubicBezTo>
                  <a:pt x="1412380" y="6737066"/>
                  <a:pt x="1411236" y="6736187"/>
                  <a:pt x="1410584" y="6735375"/>
                </a:cubicBezTo>
                <a:close/>
                <a:moveTo>
                  <a:pt x="1827105" y="6724681"/>
                </a:moveTo>
                <a:cubicBezTo>
                  <a:pt x="1826827" y="6724886"/>
                  <a:pt x="1826794" y="6725126"/>
                  <a:pt x="1826794" y="6725126"/>
                </a:cubicBezTo>
                <a:lnTo>
                  <a:pt x="1826980" y="6725637"/>
                </a:lnTo>
                <a:lnTo>
                  <a:pt x="1826918" y="6726113"/>
                </a:lnTo>
                <a:lnTo>
                  <a:pt x="1827165" y="6726144"/>
                </a:lnTo>
                <a:lnTo>
                  <a:pt x="1826980" y="6725637"/>
                </a:lnTo>
                <a:close/>
                <a:moveTo>
                  <a:pt x="1416359" y="6712358"/>
                </a:moveTo>
                <a:lnTo>
                  <a:pt x="1416328" y="6712597"/>
                </a:lnTo>
                <a:cubicBezTo>
                  <a:pt x="1417842" y="6726135"/>
                  <a:pt x="1419107" y="6739639"/>
                  <a:pt x="1420623" y="6753177"/>
                </a:cubicBezTo>
                <a:cubicBezTo>
                  <a:pt x="1421615" y="6749426"/>
                  <a:pt x="1423104" y="6745739"/>
                  <a:pt x="1424594" y="6742053"/>
                </a:cubicBezTo>
                <a:cubicBezTo>
                  <a:pt x="1426392" y="6737923"/>
                  <a:pt x="1427698" y="6733725"/>
                  <a:pt x="1428257" y="6729434"/>
                </a:cubicBezTo>
                <a:cubicBezTo>
                  <a:pt x="1424664" y="6724111"/>
                  <a:pt x="1420821" y="6718763"/>
                  <a:pt x="1416359" y="6712358"/>
                </a:cubicBezTo>
                <a:close/>
                <a:moveTo>
                  <a:pt x="1496280" y="6708711"/>
                </a:moveTo>
                <a:cubicBezTo>
                  <a:pt x="1494762" y="6710695"/>
                  <a:pt x="1493301" y="6712203"/>
                  <a:pt x="1491504" y="6714396"/>
                </a:cubicBezTo>
                <a:cubicBezTo>
                  <a:pt x="1494665" y="6719172"/>
                  <a:pt x="1495157" y="6725058"/>
                  <a:pt x="1496917" y="6738628"/>
                </a:cubicBezTo>
                <a:cubicBezTo>
                  <a:pt x="1498618" y="6752675"/>
                  <a:pt x="1493776" y="6762716"/>
                  <a:pt x="1481621" y="6770832"/>
                </a:cubicBezTo>
                <a:cubicBezTo>
                  <a:pt x="1484348" y="6777010"/>
                  <a:pt x="1487570" y="6783250"/>
                  <a:pt x="1490326" y="6789189"/>
                </a:cubicBezTo>
                <a:cubicBezTo>
                  <a:pt x="1492251" y="6784103"/>
                  <a:pt x="1494175" y="6779019"/>
                  <a:pt x="1496780" y="6774507"/>
                </a:cubicBezTo>
                <a:cubicBezTo>
                  <a:pt x="1498084" y="6772251"/>
                  <a:pt x="1499138" y="6769964"/>
                  <a:pt x="1500192" y="6767675"/>
                </a:cubicBezTo>
                <a:cubicBezTo>
                  <a:pt x="1500596" y="6764574"/>
                  <a:pt x="1500969" y="6761713"/>
                  <a:pt x="1501343" y="6758850"/>
                </a:cubicBezTo>
                <a:cubicBezTo>
                  <a:pt x="1501716" y="6759870"/>
                  <a:pt x="1502458" y="6761907"/>
                  <a:pt x="1502458" y="6761907"/>
                </a:cubicBezTo>
                <a:lnTo>
                  <a:pt x="1502396" y="6762386"/>
                </a:lnTo>
                <a:cubicBezTo>
                  <a:pt x="1504475" y="6756107"/>
                  <a:pt x="1505812" y="6749732"/>
                  <a:pt x="1506652" y="6743291"/>
                </a:cubicBezTo>
                <a:cubicBezTo>
                  <a:pt x="1506125" y="6737646"/>
                  <a:pt x="1506067" y="6732301"/>
                  <a:pt x="1506285" y="6726751"/>
                </a:cubicBezTo>
                <a:cubicBezTo>
                  <a:pt x="1506629" y="6718309"/>
                  <a:pt x="1502973" y="6713465"/>
                  <a:pt x="1496280" y="6708711"/>
                </a:cubicBezTo>
                <a:close/>
                <a:moveTo>
                  <a:pt x="1391254" y="6703749"/>
                </a:moveTo>
                <a:cubicBezTo>
                  <a:pt x="1393228" y="6731171"/>
                  <a:pt x="1394796" y="6755873"/>
                  <a:pt x="1396369" y="6780577"/>
                </a:cubicBezTo>
                <a:cubicBezTo>
                  <a:pt x="1398044" y="6775458"/>
                  <a:pt x="1398759" y="6769975"/>
                  <a:pt x="1399722" y="6764521"/>
                </a:cubicBezTo>
                <a:cubicBezTo>
                  <a:pt x="1399169" y="6753290"/>
                  <a:pt x="1398337" y="6742268"/>
                  <a:pt x="1397505" y="6731246"/>
                </a:cubicBezTo>
                <a:cubicBezTo>
                  <a:pt x="1397443" y="6731721"/>
                  <a:pt x="1396884" y="6732134"/>
                  <a:pt x="1396821" y="6732610"/>
                </a:cubicBezTo>
                <a:cubicBezTo>
                  <a:pt x="1394748" y="6725306"/>
                  <a:pt x="1395000" y="6719518"/>
                  <a:pt x="1396459" y="6714128"/>
                </a:cubicBezTo>
                <a:cubicBezTo>
                  <a:pt x="1396396" y="6712667"/>
                  <a:pt x="1396304" y="6711441"/>
                  <a:pt x="1396242" y="6709978"/>
                </a:cubicBezTo>
                <a:cubicBezTo>
                  <a:pt x="1396151" y="6708754"/>
                  <a:pt x="1394538" y="6707574"/>
                  <a:pt x="1391752" y="6703814"/>
                </a:cubicBezTo>
                <a:close/>
                <a:moveTo>
                  <a:pt x="1541326" y="6701731"/>
                </a:moveTo>
                <a:lnTo>
                  <a:pt x="1538937" y="6702630"/>
                </a:lnTo>
                <a:cubicBezTo>
                  <a:pt x="1538937" y="6702630"/>
                  <a:pt x="1541047" y="6703876"/>
                  <a:pt x="1541047" y="6703876"/>
                </a:cubicBezTo>
                <a:close/>
                <a:moveTo>
                  <a:pt x="2580938" y="6701454"/>
                </a:moveTo>
                <a:cubicBezTo>
                  <a:pt x="2580938" y="6705335"/>
                  <a:pt x="2580967" y="6708977"/>
                  <a:pt x="2580747" y="6712587"/>
                </a:cubicBezTo>
                <a:cubicBezTo>
                  <a:pt x="2582080" y="6713974"/>
                  <a:pt x="2584435" y="6715251"/>
                  <a:pt x="2588062" y="6716450"/>
                </a:cubicBezTo>
                <a:cubicBezTo>
                  <a:pt x="2585986" y="6711086"/>
                  <a:pt x="2588716" y="6705621"/>
                  <a:pt x="2580938" y="6701454"/>
                </a:cubicBezTo>
                <a:close/>
                <a:moveTo>
                  <a:pt x="1418256" y="6697809"/>
                </a:moveTo>
                <a:cubicBezTo>
                  <a:pt x="1417481" y="6697952"/>
                  <a:pt x="1415963" y="6697997"/>
                  <a:pt x="1415963" y="6697997"/>
                </a:cubicBezTo>
                <a:cubicBezTo>
                  <a:pt x="1416396" y="6698537"/>
                  <a:pt x="1416863" y="6698840"/>
                  <a:pt x="1417295" y="6699382"/>
                </a:cubicBezTo>
                <a:cubicBezTo>
                  <a:pt x="1417607" y="6698937"/>
                  <a:pt x="1417947" y="6698255"/>
                  <a:pt x="1418256" y="6697809"/>
                </a:cubicBezTo>
                <a:close/>
                <a:moveTo>
                  <a:pt x="1612538" y="6685548"/>
                </a:moveTo>
                <a:lnTo>
                  <a:pt x="1612261" y="6685753"/>
                </a:lnTo>
                <a:cubicBezTo>
                  <a:pt x="1611082" y="6687054"/>
                  <a:pt x="1609687" y="6688086"/>
                  <a:pt x="1609250" y="6689484"/>
                </a:cubicBezTo>
                <a:cubicBezTo>
                  <a:pt x="1609157" y="6690200"/>
                  <a:pt x="1610522" y="6691348"/>
                  <a:pt x="1611142" y="6692399"/>
                </a:cubicBezTo>
                <a:cubicBezTo>
                  <a:pt x="1611792" y="6691271"/>
                  <a:pt x="1612195" y="6690110"/>
                  <a:pt x="1612816" y="6689220"/>
                </a:cubicBezTo>
                <a:cubicBezTo>
                  <a:pt x="1612726" y="6687996"/>
                  <a:pt x="1612538" y="6685548"/>
                  <a:pt x="1612538" y="6685548"/>
                </a:cubicBezTo>
                <a:close/>
                <a:moveTo>
                  <a:pt x="1565518" y="6670928"/>
                </a:moveTo>
                <a:cubicBezTo>
                  <a:pt x="1564056" y="6684077"/>
                  <a:pt x="1561353" y="6697064"/>
                  <a:pt x="1562373" y="6710537"/>
                </a:cubicBezTo>
                <a:cubicBezTo>
                  <a:pt x="1562773" y="6711317"/>
                  <a:pt x="1563176" y="6712099"/>
                  <a:pt x="1563610" y="6712639"/>
                </a:cubicBezTo>
                <a:cubicBezTo>
                  <a:pt x="1563391" y="6714309"/>
                  <a:pt x="1563206" y="6715739"/>
                  <a:pt x="1563019" y="6717171"/>
                </a:cubicBezTo>
                <a:cubicBezTo>
                  <a:pt x="1563079" y="6718635"/>
                  <a:pt x="1563421" y="6719892"/>
                  <a:pt x="1563729" y="6721386"/>
                </a:cubicBezTo>
                <a:cubicBezTo>
                  <a:pt x="1565155" y="6727880"/>
                  <a:pt x="1565986" y="6735020"/>
                  <a:pt x="1567382" y="6741753"/>
                </a:cubicBezTo>
                <a:cubicBezTo>
                  <a:pt x="1568029" y="6742563"/>
                  <a:pt x="1568154" y="6743552"/>
                  <a:pt x="1568556" y="6744329"/>
                </a:cubicBezTo>
                <a:cubicBezTo>
                  <a:pt x="1573333" y="6738648"/>
                  <a:pt x="1575569" y="6733118"/>
                  <a:pt x="1574330" y="6725195"/>
                </a:cubicBezTo>
                <a:lnTo>
                  <a:pt x="1574611" y="6724988"/>
                </a:lnTo>
                <a:cubicBezTo>
                  <a:pt x="1572972" y="6714346"/>
                  <a:pt x="1574898" y="6703438"/>
                  <a:pt x="1574778" y="6692751"/>
                </a:cubicBezTo>
                <a:cubicBezTo>
                  <a:pt x="1574563" y="6688599"/>
                  <a:pt x="1572830" y="6684493"/>
                  <a:pt x="1571869" y="6680245"/>
                </a:cubicBezTo>
                <a:cubicBezTo>
                  <a:pt x="1569763" y="6677060"/>
                  <a:pt x="1567624" y="6674113"/>
                  <a:pt x="1565518" y="6670928"/>
                </a:cubicBezTo>
                <a:close/>
                <a:moveTo>
                  <a:pt x="1822601" y="6666368"/>
                </a:moveTo>
                <a:cubicBezTo>
                  <a:pt x="1820835" y="6666379"/>
                  <a:pt x="1819037" y="6666629"/>
                  <a:pt x="1817301" y="6666403"/>
                </a:cubicBezTo>
                <a:cubicBezTo>
                  <a:pt x="1817673" y="6667422"/>
                  <a:pt x="1818323" y="6668235"/>
                  <a:pt x="1818230" y="6668951"/>
                </a:cubicBezTo>
                <a:cubicBezTo>
                  <a:pt x="1819905" y="6669653"/>
                  <a:pt x="1821576" y="6670357"/>
                  <a:pt x="1822725" y="6671235"/>
                </a:cubicBezTo>
                <a:cubicBezTo>
                  <a:pt x="1822445" y="6669500"/>
                  <a:pt x="1822663" y="6667830"/>
                  <a:pt x="1822601" y="6666368"/>
                </a:cubicBezTo>
                <a:close/>
                <a:moveTo>
                  <a:pt x="1304474" y="6655566"/>
                </a:moveTo>
                <a:cubicBezTo>
                  <a:pt x="1303978" y="6657442"/>
                  <a:pt x="1303479" y="6659317"/>
                  <a:pt x="1303261" y="6660986"/>
                </a:cubicBezTo>
                <a:lnTo>
                  <a:pt x="1305742" y="6661310"/>
                </a:lnTo>
                <a:cubicBezTo>
                  <a:pt x="1305247" y="6659306"/>
                  <a:pt x="1304970" y="6657571"/>
                  <a:pt x="1304474" y="6655566"/>
                </a:cubicBezTo>
                <a:close/>
                <a:moveTo>
                  <a:pt x="1573863" y="6655279"/>
                </a:moveTo>
                <a:cubicBezTo>
                  <a:pt x="1574110" y="6659194"/>
                  <a:pt x="1573953" y="6662326"/>
                  <a:pt x="1574045" y="6665490"/>
                </a:cubicBezTo>
                <a:cubicBezTo>
                  <a:pt x="1575937" y="6662583"/>
                  <a:pt x="1578326" y="6659742"/>
                  <a:pt x="1573863" y="6655279"/>
                </a:cubicBezTo>
                <a:close/>
                <a:moveTo>
                  <a:pt x="1304538" y="6649269"/>
                </a:moveTo>
                <a:cubicBezTo>
                  <a:pt x="1304568" y="6650969"/>
                  <a:pt x="1304878" y="6652466"/>
                  <a:pt x="1304661" y="6654137"/>
                </a:cubicBezTo>
                <a:cubicBezTo>
                  <a:pt x="1304907" y="6654169"/>
                  <a:pt x="1305155" y="6654200"/>
                  <a:pt x="1305155" y="6654200"/>
                </a:cubicBezTo>
                <a:lnTo>
                  <a:pt x="1305187" y="6653960"/>
                </a:lnTo>
                <a:cubicBezTo>
                  <a:pt x="1304878" y="6652466"/>
                  <a:pt x="1304599" y="6650732"/>
                  <a:pt x="1304538" y="6649269"/>
                </a:cubicBezTo>
                <a:close/>
                <a:moveTo>
                  <a:pt x="1337566" y="6647534"/>
                </a:moveTo>
                <a:lnTo>
                  <a:pt x="1336529" y="6651500"/>
                </a:lnTo>
                <a:lnTo>
                  <a:pt x="1336498" y="6651738"/>
                </a:lnTo>
                <a:lnTo>
                  <a:pt x="1332563" y="6650820"/>
                </a:lnTo>
                <a:lnTo>
                  <a:pt x="1332592" y="6650742"/>
                </a:lnTo>
                <a:cubicBezTo>
                  <a:pt x="1332655" y="6650266"/>
                  <a:pt x="1332995" y="6649583"/>
                  <a:pt x="1333057" y="6649107"/>
                </a:cubicBezTo>
                <a:close/>
                <a:moveTo>
                  <a:pt x="1386817" y="6641078"/>
                </a:moveTo>
                <a:lnTo>
                  <a:pt x="1386568" y="6642985"/>
                </a:lnTo>
                <a:lnTo>
                  <a:pt x="1388116" y="6642704"/>
                </a:lnTo>
                <a:lnTo>
                  <a:pt x="1387063" y="6641110"/>
                </a:lnTo>
                <a:close/>
                <a:moveTo>
                  <a:pt x="1635250" y="6635148"/>
                </a:moveTo>
                <a:lnTo>
                  <a:pt x="1634726" y="6635322"/>
                </a:lnTo>
                <a:lnTo>
                  <a:pt x="1635248" y="6636690"/>
                </a:lnTo>
                <a:lnTo>
                  <a:pt x="1635240" y="6642242"/>
                </a:lnTo>
                <a:cubicBezTo>
                  <a:pt x="1635665" y="6644540"/>
                  <a:pt x="1636765" y="6646744"/>
                  <a:pt x="1639276" y="6648769"/>
                </a:cubicBezTo>
                <a:cubicBezTo>
                  <a:pt x="1639307" y="6648532"/>
                  <a:pt x="1639802" y="6648596"/>
                  <a:pt x="1639802" y="6648596"/>
                </a:cubicBezTo>
                <a:lnTo>
                  <a:pt x="1635248" y="6636690"/>
                </a:lnTo>
                <a:close/>
                <a:moveTo>
                  <a:pt x="2587912" y="6630568"/>
                </a:moveTo>
                <a:cubicBezTo>
                  <a:pt x="2586641" y="6630645"/>
                  <a:pt x="2585587" y="6630994"/>
                  <a:pt x="2584313" y="6631070"/>
                </a:cubicBezTo>
                <a:cubicBezTo>
                  <a:pt x="2581892" y="6645790"/>
                  <a:pt x="2583502" y="6648911"/>
                  <a:pt x="2593422" y="6650205"/>
                </a:cubicBezTo>
                <a:cubicBezTo>
                  <a:pt x="2591532" y="6643411"/>
                  <a:pt x="2589581" y="6637092"/>
                  <a:pt x="2587912" y="6630568"/>
                </a:cubicBezTo>
                <a:close/>
                <a:moveTo>
                  <a:pt x="1305169" y="6621216"/>
                </a:moveTo>
                <a:lnTo>
                  <a:pt x="1305138" y="6621453"/>
                </a:lnTo>
                <a:lnTo>
                  <a:pt x="1305165" y="6621485"/>
                </a:lnTo>
                <a:lnTo>
                  <a:pt x="1304916" y="6636706"/>
                </a:lnTo>
                <a:cubicBezTo>
                  <a:pt x="1307148" y="6635057"/>
                  <a:pt x="1309165" y="6633135"/>
                  <a:pt x="1311179" y="6631215"/>
                </a:cubicBezTo>
                <a:cubicBezTo>
                  <a:pt x="1310993" y="6630707"/>
                  <a:pt x="1311025" y="6630468"/>
                  <a:pt x="1311087" y="6629992"/>
                </a:cubicBezTo>
                <a:cubicBezTo>
                  <a:pt x="1310716" y="6628973"/>
                  <a:pt x="1310375" y="6627716"/>
                  <a:pt x="1309723" y="6626903"/>
                </a:cubicBezTo>
                <a:lnTo>
                  <a:pt x="1305165" y="6621485"/>
                </a:lnTo>
                <a:close/>
                <a:moveTo>
                  <a:pt x="1422009" y="6620682"/>
                </a:moveTo>
                <a:cubicBezTo>
                  <a:pt x="1420888" y="6635089"/>
                  <a:pt x="1416510" y="6649316"/>
                  <a:pt x="1419726" y="6665259"/>
                </a:cubicBezTo>
                <a:cubicBezTo>
                  <a:pt x="1426429" y="6650610"/>
                  <a:pt x="1426837" y="6639747"/>
                  <a:pt x="1422009" y="6620682"/>
                </a:cubicBezTo>
                <a:close/>
                <a:moveTo>
                  <a:pt x="1505059" y="6616232"/>
                </a:moveTo>
                <a:lnTo>
                  <a:pt x="1506620" y="6621675"/>
                </a:lnTo>
                <a:lnTo>
                  <a:pt x="1506514" y="6622485"/>
                </a:lnTo>
                <a:lnTo>
                  <a:pt x="1506792" y="6622280"/>
                </a:lnTo>
                <a:lnTo>
                  <a:pt x="1506620" y="6621675"/>
                </a:lnTo>
                <a:lnTo>
                  <a:pt x="1506918" y="6619386"/>
                </a:lnTo>
                <a:cubicBezTo>
                  <a:pt x="1507012" y="6618670"/>
                  <a:pt x="1507105" y="6617954"/>
                  <a:pt x="1507198" y="6617238"/>
                </a:cubicBezTo>
                <a:cubicBezTo>
                  <a:pt x="1507013" y="6616730"/>
                  <a:pt x="1507044" y="6616492"/>
                  <a:pt x="1507075" y="6616252"/>
                </a:cubicBezTo>
                <a:cubicBezTo>
                  <a:pt x="1506547" y="6616426"/>
                  <a:pt x="1505802" y="6616330"/>
                  <a:pt x="1505059" y="6616232"/>
                </a:cubicBezTo>
                <a:close/>
                <a:moveTo>
                  <a:pt x="1599239" y="6609593"/>
                </a:moveTo>
                <a:cubicBezTo>
                  <a:pt x="1597535" y="6611069"/>
                  <a:pt x="1594867" y="6612175"/>
                  <a:pt x="1591673" y="6613457"/>
                </a:cubicBezTo>
                <a:cubicBezTo>
                  <a:pt x="1588935" y="6640265"/>
                  <a:pt x="1585978" y="6666803"/>
                  <a:pt x="1583240" y="6693612"/>
                </a:cubicBezTo>
                <a:cubicBezTo>
                  <a:pt x="1589598" y="6685467"/>
                  <a:pt x="1590037" y="6676307"/>
                  <a:pt x="1591962" y="6667342"/>
                </a:cubicBezTo>
                <a:cubicBezTo>
                  <a:pt x="1593392" y="6660250"/>
                  <a:pt x="1592187" y="6652090"/>
                  <a:pt x="1597550" y="6645756"/>
                </a:cubicBezTo>
                <a:lnTo>
                  <a:pt x="1597613" y="6645277"/>
                </a:lnTo>
                <a:cubicBezTo>
                  <a:pt x="1596905" y="6633301"/>
                  <a:pt x="1596940" y="6621421"/>
                  <a:pt x="1599239" y="6609593"/>
                </a:cubicBezTo>
                <a:close/>
                <a:moveTo>
                  <a:pt x="1448238" y="6609066"/>
                </a:moveTo>
                <a:cubicBezTo>
                  <a:pt x="1447898" y="6609750"/>
                  <a:pt x="1447589" y="6610194"/>
                  <a:pt x="1447494" y="6610909"/>
                </a:cubicBezTo>
                <a:cubicBezTo>
                  <a:pt x="1447463" y="6611148"/>
                  <a:pt x="1447432" y="6611385"/>
                  <a:pt x="1447432" y="6611385"/>
                </a:cubicBezTo>
                <a:cubicBezTo>
                  <a:pt x="1447927" y="6611450"/>
                  <a:pt x="1448425" y="6611515"/>
                  <a:pt x="1448919" y="6611579"/>
                </a:cubicBezTo>
                <a:cubicBezTo>
                  <a:pt x="1448765" y="6610834"/>
                  <a:pt x="1448457" y="6609337"/>
                  <a:pt x="1448457" y="6609337"/>
                </a:cubicBezTo>
                <a:close/>
                <a:moveTo>
                  <a:pt x="1578469" y="6608341"/>
                </a:moveTo>
                <a:cubicBezTo>
                  <a:pt x="1577820" y="6609469"/>
                  <a:pt x="1577197" y="6610357"/>
                  <a:pt x="1576795" y="6611517"/>
                </a:cubicBezTo>
                <a:cubicBezTo>
                  <a:pt x="1576795" y="6611517"/>
                  <a:pt x="1577940" y="6612395"/>
                  <a:pt x="1578190" y="6612427"/>
                </a:cubicBezTo>
                <a:cubicBezTo>
                  <a:pt x="1578994" y="6612045"/>
                  <a:pt x="1580111" y="6611221"/>
                  <a:pt x="1580949" y="6610604"/>
                </a:cubicBezTo>
                <a:cubicBezTo>
                  <a:pt x="1580298" y="6609791"/>
                  <a:pt x="1578469" y="6608341"/>
                  <a:pt x="1578469" y="6608341"/>
                </a:cubicBezTo>
                <a:close/>
                <a:moveTo>
                  <a:pt x="1455653" y="6596691"/>
                </a:moveTo>
                <a:cubicBezTo>
                  <a:pt x="1455281" y="6597614"/>
                  <a:pt x="1454350" y="6598949"/>
                  <a:pt x="1454350" y="6598949"/>
                </a:cubicBezTo>
                <a:cubicBezTo>
                  <a:pt x="1454504" y="6599694"/>
                  <a:pt x="1454661" y="6600444"/>
                  <a:pt x="1454567" y="6601159"/>
                </a:cubicBezTo>
                <a:cubicBezTo>
                  <a:pt x="1455465" y="6600062"/>
                  <a:pt x="1455435" y="6598362"/>
                  <a:pt x="1455653" y="6596691"/>
                </a:cubicBezTo>
                <a:close/>
                <a:moveTo>
                  <a:pt x="1448864" y="6594594"/>
                </a:moveTo>
                <a:cubicBezTo>
                  <a:pt x="1448772" y="6595310"/>
                  <a:pt x="1448431" y="6595992"/>
                  <a:pt x="1448616" y="6596502"/>
                </a:cubicBezTo>
                <a:cubicBezTo>
                  <a:pt x="1449236" y="6597554"/>
                  <a:pt x="1450443" y="6599894"/>
                  <a:pt x="1450443" y="6599894"/>
                </a:cubicBezTo>
                <a:lnTo>
                  <a:pt x="1450692" y="6599927"/>
                </a:lnTo>
                <a:cubicBezTo>
                  <a:pt x="1451096" y="6598766"/>
                  <a:pt x="1451282" y="6597335"/>
                  <a:pt x="1451438" y="6596143"/>
                </a:cubicBezTo>
                <a:cubicBezTo>
                  <a:pt x="1451034" y="6595361"/>
                  <a:pt x="1449548" y="6595168"/>
                  <a:pt x="1448864" y="6594594"/>
                </a:cubicBezTo>
                <a:close/>
                <a:moveTo>
                  <a:pt x="2583403" y="6583895"/>
                </a:moveTo>
                <a:cubicBezTo>
                  <a:pt x="2583928" y="6593423"/>
                  <a:pt x="2584234" y="6602681"/>
                  <a:pt x="2584756" y="6612207"/>
                </a:cubicBezTo>
                <a:cubicBezTo>
                  <a:pt x="2586402" y="6605389"/>
                  <a:pt x="2590311" y="6598623"/>
                  <a:pt x="2590467" y="6591607"/>
                </a:cubicBezTo>
                <a:cubicBezTo>
                  <a:pt x="2588796" y="6588965"/>
                  <a:pt x="2587341" y="6586594"/>
                  <a:pt x="2585667" y="6583949"/>
                </a:cubicBezTo>
                <a:cubicBezTo>
                  <a:pt x="2584893" y="6584090"/>
                  <a:pt x="2584148" y="6583992"/>
                  <a:pt x="2583403" y="6583895"/>
                </a:cubicBezTo>
                <a:close/>
                <a:moveTo>
                  <a:pt x="1404107" y="6580027"/>
                </a:moveTo>
                <a:cubicBezTo>
                  <a:pt x="1402926" y="6585208"/>
                  <a:pt x="1402087" y="6589708"/>
                  <a:pt x="1401528" y="6594002"/>
                </a:cubicBezTo>
                <a:cubicBezTo>
                  <a:pt x="1401497" y="6594239"/>
                  <a:pt x="1401466" y="6594478"/>
                  <a:pt x="1401466" y="6594478"/>
                </a:cubicBezTo>
                <a:cubicBezTo>
                  <a:pt x="1401589" y="6595464"/>
                  <a:pt x="1401218" y="6596386"/>
                  <a:pt x="1401092" y="6597340"/>
                </a:cubicBezTo>
                <a:cubicBezTo>
                  <a:pt x="1400627" y="6600918"/>
                  <a:pt x="1400160" y="6604497"/>
                  <a:pt x="1399724" y="6607832"/>
                </a:cubicBezTo>
                <a:cubicBezTo>
                  <a:pt x="1398822" y="6616689"/>
                  <a:pt x="1397921" y="6625548"/>
                  <a:pt x="1396770" y="6634372"/>
                </a:cubicBezTo>
                <a:cubicBezTo>
                  <a:pt x="1398225" y="6638684"/>
                  <a:pt x="1398408" y="6643075"/>
                  <a:pt x="1396267" y="6647889"/>
                </a:cubicBezTo>
                <a:lnTo>
                  <a:pt x="1395989" y="6648094"/>
                </a:lnTo>
                <a:lnTo>
                  <a:pt x="1395867" y="6648498"/>
                </a:lnTo>
                <a:lnTo>
                  <a:pt x="1395277" y="6647760"/>
                </a:lnTo>
                <a:cubicBezTo>
                  <a:pt x="1395058" y="6649429"/>
                  <a:pt x="1394872" y="6650860"/>
                  <a:pt x="1394654" y="6652530"/>
                </a:cubicBezTo>
                <a:lnTo>
                  <a:pt x="1395867" y="6648498"/>
                </a:lnTo>
                <a:lnTo>
                  <a:pt x="1395927" y="6648573"/>
                </a:lnTo>
                <a:cubicBezTo>
                  <a:pt x="1395927" y="6648573"/>
                  <a:pt x="1395958" y="6648335"/>
                  <a:pt x="1395989" y="6648094"/>
                </a:cubicBezTo>
                <a:cubicBezTo>
                  <a:pt x="1398187" y="6656385"/>
                  <a:pt x="1400104" y="6664882"/>
                  <a:pt x="1402055" y="6673141"/>
                </a:cubicBezTo>
                <a:cubicBezTo>
                  <a:pt x="1402926" y="6666462"/>
                  <a:pt x="1402805" y="6659655"/>
                  <a:pt x="1401162" y="6652892"/>
                </a:cubicBezTo>
                <a:cubicBezTo>
                  <a:pt x="1401009" y="6652146"/>
                  <a:pt x="1401349" y="6651463"/>
                  <a:pt x="1401693" y="6650778"/>
                </a:cubicBezTo>
                <a:cubicBezTo>
                  <a:pt x="1411867" y="6634642"/>
                  <a:pt x="1411627" y="6615207"/>
                  <a:pt x="1418887" y="6598206"/>
                </a:cubicBezTo>
                <a:cubicBezTo>
                  <a:pt x="1416284" y="6594953"/>
                  <a:pt x="1413928" y="6591738"/>
                  <a:pt x="1410863" y="6588183"/>
                </a:cubicBezTo>
                <a:cubicBezTo>
                  <a:pt x="1410830" y="6590363"/>
                  <a:pt x="1410828" y="6592305"/>
                  <a:pt x="1410796" y="6594482"/>
                </a:cubicBezTo>
                <a:cubicBezTo>
                  <a:pt x="1410366" y="6592000"/>
                  <a:pt x="1409962" y="6589280"/>
                  <a:pt x="1409529" y="6586798"/>
                </a:cubicBezTo>
                <a:cubicBezTo>
                  <a:pt x="1407794" y="6584631"/>
                  <a:pt x="1406059" y="6582464"/>
                  <a:pt x="1404107" y="6580027"/>
                </a:cubicBezTo>
                <a:close/>
                <a:moveTo>
                  <a:pt x="1565589" y="6571734"/>
                </a:moveTo>
                <a:lnTo>
                  <a:pt x="1565723" y="6572634"/>
                </a:lnTo>
                <a:lnTo>
                  <a:pt x="1563846" y="6587029"/>
                </a:lnTo>
                <a:cubicBezTo>
                  <a:pt x="1564248" y="6595570"/>
                  <a:pt x="1564677" y="6603873"/>
                  <a:pt x="1565077" y="6612417"/>
                </a:cubicBezTo>
                <a:cubicBezTo>
                  <a:pt x="1567544" y="6606067"/>
                  <a:pt x="1568809" y="6600229"/>
                  <a:pt x="1568890" y="6593811"/>
                </a:cubicBezTo>
                <a:lnTo>
                  <a:pt x="1565723" y="6572634"/>
                </a:lnTo>
                <a:lnTo>
                  <a:pt x="1565837" y="6571767"/>
                </a:lnTo>
                <a:close/>
                <a:moveTo>
                  <a:pt x="1509109" y="6569705"/>
                </a:moveTo>
                <a:cubicBezTo>
                  <a:pt x="1508829" y="6571851"/>
                  <a:pt x="1508549" y="6573999"/>
                  <a:pt x="1508269" y="6576145"/>
                </a:cubicBezTo>
                <a:cubicBezTo>
                  <a:pt x="1508516" y="6576177"/>
                  <a:pt x="1508516" y="6576177"/>
                  <a:pt x="1508516" y="6576177"/>
                </a:cubicBezTo>
                <a:lnTo>
                  <a:pt x="1508733" y="6576446"/>
                </a:lnTo>
                <a:cubicBezTo>
                  <a:pt x="1508797" y="6574032"/>
                  <a:pt x="1508829" y="6571851"/>
                  <a:pt x="1509109" y="6569705"/>
                </a:cubicBezTo>
                <a:close/>
                <a:moveTo>
                  <a:pt x="1710611" y="6558141"/>
                </a:moveTo>
                <a:cubicBezTo>
                  <a:pt x="1710146" y="6561718"/>
                  <a:pt x="1711694" y="6565315"/>
                  <a:pt x="1711258" y="6568655"/>
                </a:cubicBezTo>
                <a:cubicBezTo>
                  <a:pt x="1711009" y="6572504"/>
                  <a:pt x="1709488" y="6576428"/>
                  <a:pt x="1708496" y="6580179"/>
                </a:cubicBezTo>
                <a:cubicBezTo>
                  <a:pt x="1709951" y="6580611"/>
                  <a:pt x="1711409" y="6581046"/>
                  <a:pt x="1712896" y="6581239"/>
                </a:cubicBezTo>
                <a:cubicBezTo>
                  <a:pt x="1716682" y="6573485"/>
                  <a:pt x="1713150" y="6565749"/>
                  <a:pt x="1710611" y="6558141"/>
                </a:cubicBezTo>
                <a:close/>
                <a:moveTo>
                  <a:pt x="1595852" y="6552392"/>
                </a:moveTo>
                <a:cubicBezTo>
                  <a:pt x="1595573" y="6552601"/>
                  <a:pt x="1595542" y="6552839"/>
                  <a:pt x="1595542" y="6552839"/>
                </a:cubicBezTo>
                <a:cubicBezTo>
                  <a:pt x="1594393" y="6555842"/>
                  <a:pt x="1593216" y="6559085"/>
                  <a:pt x="1591820" y="6562056"/>
                </a:cubicBezTo>
                <a:cubicBezTo>
                  <a:pt x="1590142" y="6565234"/>
                  <a:pt x="1587755" y="6568075"/>
                  <a:pt x="1586825" y="6571349"/>
                </a:cubicBezTo>
                <a:lnTo>
                  <a:pt x="1587320" y="6571412"/>
                </a:lnTo>
                <a:cubicBezTo>
                  <a:pt x="1585831" y="6577040"/>
                  <a:pt x="1589859" y="6579022"/>
                  <a:pt x="1596059" y="6579831"/>
                </a:cubicBezTo>
                <a:cubicBezTo>
                  <a:pt x="1595778" y="6581975"/>
                  <a:pt x="1595498" y="6584123"/>
                  <a:pt x="1595218" y="6586270"/>
                </a:cubicBezTo>
                <a:cubicBezTo>
                  <a:pt x="1596180" y="6586638"/>
                  <a:pt x="1597078" y="6587482"/>
                  <a:pt x="1597730" y="6588293"/>
                </a:cubicBezTo>
                <a:cubicBezTo>
                  <a:pt x="1599866" y="6591240"/>
                  <a:pt x="1601695" y="6594631"/>
                  <a:pt x="1602994" y="6598198"/>
                </a:cubicBezTo>
                <a:cubicBezTo>
                  <a:pt x="1604610" y="6591616"/>
                  <a:pt x="1602845" y="6583867"/>
                  <a:pt x="1601206" y="6577104"/>
                </a:cubicBezTo>
                <a:cubicBezTo>
                  <a:pt x="1599009" y="6568814"/>
                  <a:pt x="1597307" y="6560588"/>
                  <a:pt x="1595852" y="6552392"/>
                </a:cubicBezTo>
                <a:close/>
                <a:moveTo>
                  <a:pt x="1286475" y="6547954"/>
                </a:moveTo>
                <a:cubicBezTo>
                  <a:pt x="1285669" y="6548333"/>
                  <a:pt x="1283872" y="6548585"/>
                  <a:pt x="1283872" y="6548585"/>
                </a:cubicBezTo>
                <a:lnTo>
                  <a:pt x="1283622" y="6548553"/>
                </a:lnTo>
                <a:cubicBezTo>
                  <a:pt x="1283158" y="6550188"/>
                  <a:pt x="1283406" y="6552160"/>
                  <a:pt x="1283157" y="6554068"/>
                </a:cubicBezTo>
                <a:cubicBezTo>
                  <a:pt x="1284459" y="6553754"/>
                  <a:pt x="1285729" y="6553676"/>
                  <a:pt x="1285729" y="6553676"/>
                </a:cubicBezTo>
                <a:cubicBezTo>
                  <a:pt x="1285978" y="6551770"/>
                  <a:pt x="1286226" y="6549862"/>
                  <a:pt x="1286475" y="6547954"/>
                </a:cubicBezTo>
                <a:close/>
                <a:moveTo>
                  <a:pt x="1561257" y="6546915"/>
                </a:moveTo>
                <a:cubicBezTo>
                  <a:pt x="1561322" y="6548377"/>
                  <a:pt x="1561413" y="6549601"/>
                  <a:pt x="1561473" y="6551066"/>
                </a:cubicBezTo>
                <a:cubicBezTo>
                  <a:pt x="1561846" y="6550144"/>
                  <a:pt x="1562436" y="6549493"/>
                  <a:pt x="1562561" y="6548539"/>
                </a:cubicBezTo>
                <a:cubicBezTo>
                  <a:pt x="1562126" y="6547995"/>
                  <a:pt x="1561693" y="6547455"/>
                  <a:pt x="1561257" y="6546915"/>
                </a:cubicBezTo>
                <a:close/>
                <a:moveTo>
                  <a:pt x="1475605" y="6546175"/>
                </a:moveTo>
                <a:cubicBezTo>
                  <a:pt x="1474113" y="6557622"/>
                  <a:pt x="1472096" y="6567306"/>
                  <a:pt x="1471563" y="6577180"/>
                </a:cubicBezTo>
                <a:cubicBezTo>
                  <a:pt x="1471065" y="6584876"/>
                  <a:pt x="1471556" y="6592703"/>
                  <a:pt x="1472826" y="6600388"/>
                </a:cubicBezTo>
                <a:lnTo>
                  <a:pt x="1472858" y="6600148"/>
                </a:lnTo>
                <a:cubicBezTo>
                  <a:pt x="1473446" y="6603379"/>
                  <a:pt x="1477009" y="6603116"/>
                  <a:pt x="1479956" y="6601800"/>
                </a:cubicBezTo>
                <a:cubicBezTo>
                  <a:pt x="1484424" y="6590742"/>
                  <a:pt x="1487094" y="6579930"/>
                  <a:pt x="1479813" y="6568067"/>
                </a:cubicBezTo>
                <a:cubicBezTo>
                  <a:pt x="1476497" y="6562542"/>
                  <a:pt x="1477030" y="6554608"/>
                  <a:pt x="1475605" y="6546175"/>
                </a:cubicBezTo>
                <a:close/>
                <a:moveTo>
                  <a:pt x="1386883" y="6545765"/>
                </a:moveTo>
                <a:cubicBezTo>
                  <a:pt x="1384932" y="6549147"/>
                  <a:pt x="1384435" y="6551025"/>
                  <a:pt x="1384835" y="6553743"/>
                </a:cubicBezTo>
                <a:lnTo>
                  <a:pt x="1385116" y="6553538"/>
                </a:lnTo>
                <a:cubicBezTo>
                  <a:pt x="1386138" y="6553430"/>
                  <a:pt x="1387162" y="6553321"/>
                  <a:pt x="1388185" y="6553209"/>
                </a:cubicBezTo>
                <a:cubicBezTo>
                  <a:pt x="1388152" y="6551510"/>
                  <a:pt x="1388339" y="6550077"/>
                  <a:pt x="1388557" y="6548408"/>
                </a:cubicBezTo>
                <a:cubicBezTo>
                  <a:pt x="1388187" y="6547389"/>
                  <a:pt x="1387535" y="6546578"/>
                  <a:pt x="1386883" y="6545765"/>
                </a:cubicBezTo>
                <a:close/>
                <a:moveTo>
                  <a:pt x="1592723" y="6545438"/>
                </a:moveTo>
                <a:cubicBezTo>
                  <a:pt x="1592631" y="6546154"/>
                  <a:pt x="1592290" y="6546836"/>
                  <a:pt x="1592475" y="6547346"/>
                </a:cubicBezTo>
                <a:cubicBezTo>
                  <a:pt x="1593280" y="6548904"/>
                  <a:pt x="1594336" y="6550499"/>
                  <a:pt x="1595141" y="6552059"/>
                </a:cubicBezTo>
                <a:cubicBezTo>
                  <a:pt x="1595234" y="6551345"/>
                  <a:pt x="1595328" y="6550629"/>
                  <a:pt x="1595421" y="6549913"/>
                </a:cubicBezTo>
                <a:cubicBezTo>
                  <a:pt x="1595327" y="6548689"/>
                  <a:pt x="1594956" y="6547670"/>
                  <a:pt x="1594864" y="6546446"/>
                </a:cubicBezTo>
                <a:cubicBezTo>
                  <a:pt x="1594151" y="6546108"/>
                  <a:pt x="1593437" y="6545773"/>
                  <a:pt x="1592723" y="6545438"/>
                </a:cubicBezTo>
                <a:close/>
                <a:moveTo>
                  <a:pt x="1310072" y="6531382"/>
                </a:moveTo>
                <a:lnTo>
                  <a:pt x="1310041" y="6531623"/>
                </a:lnTo>
                <a:lnTo>
                  <a:pt x="1310103" y="6531631"/>
                </a:lnTo>
                <a:lnTo>
                  <a:pt x="1310692" y="6536314"/>
                </a:lnTo>
                <a:cubicBezTo>
                  <a:pt x="1310630" y="6532911"/>
                  <a:pt x="1310724" y="6532195"/>
                  <a:pt x="1310785" y="6531721"/>
                </a:cubicBezTo>
                <a:lnTo>
                  <a:pt x="1310103" y="6531631"/>
                </a:lnTo>
                <a:close/>
                <a:moveTo>
                  <a:pt x="1582907" y="6524027"/>
                </a:moveTo>
                <a:cubicBezTo>
                  <a:pt x="1582285" y="6524916"/>
                  <a:pt x="1581913" y="6525837"/>
                  <a:pt x="1581294" y="6526727"/>
                </a:cubicBezTo>
                <a:cubicBezTo>
                  <a:pt x="1582255" y="6527096"/>
                  <a:pt x="1584455" y="6527625"/>
                  <a:pt x="1584455" y="6527625"/>
                </a:cubicBezTo>
                <a:cubicBezTo>
                  <a:pt x="1584455" y="6527625"/>
                  <a:pt x="1585136" y="6526258"/>
                  <a:pt x="1585136" y="6526258"/>
                </a:cubicBezTo>
                <a:cubicBezTo>
                  <a:pt x="1584488" y="6525444"/>
                  <a:pt x="1583805" y="6524871"/>
                  <a:pt x="1582907" y="6524027"/>
                </a:cubicBezTo>
                <a:close/>
                <a:moveTo>
                  <a:pt x="1454631" y="6517488"/>
                </a:moveTo>
                <a:cubicBezTo>
                  <a:pt x="1451309" y="6533305"/>
                  <a:pt x="1449629" y="6548125"/>
                  <a:pt x="1448786" y="6562326"/>
                </a:cubicBezTo>
                <a:cubicBezTo>
                  <a:pt x="1449157" y="6565285"/>
                  <a:pt x="1449464" y="6568718"/>
                  <a:pt x="1449958" y="6572664"/>
                </a:cubicBezTo>
                <a:lnTo>
                  <a:pt x="1453577" y="6569781"/>
                </a:lnTo>
                <a:lnTo>
                  <a:pt x="1453558" y="6570223"/>
                </a:lnTo>
                <a:lnTo>
                  <a:pt x="1453620" y="6569747"/>
                </a:lnTo>
                <a:lnTo>
                  <a:pt x="1453577" y="6569781"/>
                </a:lnTo>
                <a:lnTo>
                  <a:pt x="1455121" y="6535016"/>
                </a:lnTo>
                <a:cubicBezTo>
                  <a:pt x="1455431" y="6530689"/>
                  <a:pt x="1454968" y="6526507"/>
                  <a:pt x="1454631" y="6517488"/>
                </a:cubicBezTo>
                <a:close/>
                <a:moveTo>
                  <a:pt x="1661957" y="6517356"/>
                </a:moveTo>
                <a:lnTo>
                  <a:pt x="1661926" y="6517594"/>
                </a:lnTo>
                <a:cubicBezTo>
                  <a:pt x="1660129" y="6519786"/>
                  <a:pt x="1658113" y="6521706"/>
                  <a:pt x="1655850" y="6523593"/>
                </a:cubicBezTo>
                <a:cubicBezTo>
                  <a:pt x="1657645" y="6527221"/>
                  <a:pt x="1661054" y="6530093"/>
                  <a:pt x="1664248" y="6532692"/>
                </a:cubicBezTo>
                <a:cubicBezTo>
                  <a:pt x="1663627" y="6527759"/>
                  <a:pt x="1663010" y="6522829"/>
                  <a:pt x="1661896" y="6517832"/>
                </a:cubicBezTo>
                <a:cubicBezTo>
                  <a:pt x="1661926" y="6517594"/>
                  <a:pt x="1661957" y="6517356"/>
                  <a:pt x="1661957" y="6517356"/>
                </a:cubicBezTo>
                <a:close/>
                <a:moveTo>
                  <a:pt x="1726257" y="6507789"/>
                </a:moveTo>
                <a:cubicBezTo>
                  <a:pt x="1725479" y="6513751"/>
                  <a:pt x="1724733" y="6519475"/>
                  <a:pt x="1723955" y="6525440"/>
                </a:cubicBezTo>
                <a:cubicBezTo>
                  <a:pt x="1724818" y="6536225"/>
                  <a:pt x="1726179" y="6547074"/>
                  <a:pt x="1723228" y="6558086"/>
                </a:cubicBezTo>
                <a:cubicBezTo>
                  <a:pt x="1722856" y="6559009"/>
                  <a:pt x="1722979" y="6559995"/>
                  <a:pt x="1723105" y="6560982"/>
                </a:cubicBezTo>
                <a:cubicBezTo>
                  <a:pt x="1726544" y="6561674"/>
                  <a:pt x="1726669" y="6564601"/>
                  <a:pt x="1726884" y="6566812"/>
                </a:cubicBezTo>
                <a:cubicBezTo>
                  <a:pt x="1728181" y="6580077"/>
                  <a:pt x="1729229" y="6593312"/>
                  <a:pt x="1730526" y="6606577"/>
                </a:cubicBezTo>
                <a:cubicBezTo>
                  <a:pt x="1731301" y="6606438"/>
                  <a:pt x="1731826" y="6606264"/>
                  <a:pt x="1732324" y="6606328"/>
                </a:cubicBezTo>
                <a:cubicBezTo>
                  <a:pt x="1733315" y="6604517"/>
                  <a:pt x="1734339" y="6602469"/>
                  <a:pt x="1735086" y="6600626"/>
                </a:cubicBezTo>
                <a:cubicBezTo>
                  <a:pt x="1734063" y="6596854"/>
                  <a:pt x="1735057" y="6593103"/>
                  <a:pt x="1736610" y="6588939"/>
                </a:cubicBezTo>
                <a:cubicBezTo>
                  <a:pt x="1735340" y="6579316"/>
                  <a:pt x="1734291" y="6569959"/>
                  <a:pt x="1732992" y="6560575"/>
                </a:cubicBezTo>
                <a:cubicBezTo>
                  <a:pt x="1729648" y="6553347"/>
                  <a:pt x="1731418" y="6545572"/>
                  <a:pt x="1729745" y="6539049"/>
                </a:cubicBezTo>
                <a:lnTo>
                  <a:pt x="1729964" y="6539319"/>
                </a:lnTo>
                <a:cubicBezTo>
                  <a:pt x="1730274" y="6538874"/>
                  <a:pt x="1730274" y="6538874"/>
                  <a:pt x="1730274" y="6538874"/>
                </a:cubicBezTo>
                <a:cubicBezTo>
                  <a:pt x="1728851" y="6528502"/>
                  <a:pt x="1727679" y="6518164"/>
                  <a:pt x="1726257" y="6507789"/>
                </a:cubicBezTo>
                <a:close/>
                <a:moveTo>
                  <a:pt x="1496891" y="6502867"/>
                </a:moveTo>
                <a:cubicBezTo>
                  <a:pt x="1494936" y="6504311"/>
                  <a:pt x="1492673" y="6506198"/>
                  <a:pt x="1490408" y="6508084"/>
                </a:cubicBezTo>
                <a:cubicBezTo>
                  <a:pt x="1490097" y="6510471"/>
                  <a:pt x="1489724" y="6513333"/>
                  <a:pt x="1489320" y="6516432"/>
                </a:cubicBezTo>
                <a:cubicBezTo>
                  <a:pt x="1489814" y="6522318"/>
                  <a:pt x="1490526" y="6528474"/>
                  <a:pt x="1491484" y="6534662"/>
                </a:cubicBezTo>
                <a:cubicBezTo>
                  <a:pt x="1494390" y="6552992"/>
                  <a:pt x="1492678" y="6571930"/>
                  <a:pt x="1493041" y="6590411"/>
                </a:cubicBezTo>
                <a:cubicBezTo>
                  <a:pt x="1493225" y="6598680"/>
                  <a:pt x="1487611" y="6601101"/>
                  <a:pt x="1480419" y="6602103"/>
                </a:cubicBezTo>
                <a:cubicBezTo>
                  <a:pt x="1480109" y="6602550"/>
                  <a:pt x="1480017" y="6603263"/>
                  <a:pt x="1479954" y="6603741"/>
                </a:cubicBezTo>
                <a:cubicBezTo>
                  <a:pt x="1477657" y="6607809"/>
                  <a:pt x="1475642" y="6611670"/>
                  <a:pt x="1474122" y="6615594"/>
                </a:cubicBezTo>
                <a:cubicBezTo>
                  <a:pt x="1492497" y="6635211"/>
                  <a:pt x="1488893" y="6655116"/>
                  <a:pt x="1478312" y="6678232"/>
                </a:cubicBezTo>
                <a:cubicBezTo>
                  <a:pt x="1475895" y="6675489"/>
                  <a:pt x="1474502" y="6672643"/>
                  <a:pt x="1473355" y="6669824"/>
                </a:cubicBezTo>
                <a:lnTo>
                  <a:pt x="1473759" y="6670605"/>
                </a:lnTo>
                <a:cubicBezTo>
                  <a:pt x="1469317" y="6691128"/>
                  <a:pt x="1468379" y="6711865"/>
                  <a:pt x="1466944" y="6732538"/>
                </a:cubicBezTo>
                <a:cubicBezTo>
                  <a:pt x="1468462" y="6736372"/>
                  <a:pt x="1470940" y="6740575"/>
                  <a:pt x="1473015" y="6745942"/>
                </a:cubicBezTo>
                <a:cubicBezTo>
                  <a:pt x="1488986" y="6731772"/>
                  <a:pt x="1473614" y="6716187"/>
                  <a:pt x="1479512" y="6703855"/>
                </a:cubicBezTo>
                <a:cubicBezTo>
                  <a:pt x="1485523" y="6708037"/>
                  <a:pt x="1488963" y="6710667"/>
                  <a:pt x="1491349" y="6713647"/>
                </a:cubicBezTo>
                <a:cubicBezTo>
                  <a:pt x="1490947" y="6710926"/>
                  <a:pt x="1490482" y="6708683"/>
                  <a:pt x="1490515" y="6706505"/>
                </a:cubicBezTo>
                <a:cubicBezTo>
                  <a:pt x="1490299" y="6702352"/>
                  <a:pt x="1492409" y="6699717"/>
                  <a:pt x="1496378" y="6698293"/>
                </a:cubicBezTo>
                <a:cubicBezTo>
                  <a:pt x="1498486" y="6697598"/>
                  <a:pt x="1500344" y="6696870"/>
                  <a:pt x="1502237" y="6695905"/>
                </a:cubicBezTo>
                <a:cubicBezTo>
                  <a:pt x="1501836" y="6691244"/>
                  <a:pt x="1503201" y="6686573"/>
                  <a:pt x="1504287" y="6682105"/>
                </a:cubicBezTo>
                <a:cubicBezTo>
                  <a:pt x="1504380" y="6681389"/>
                  <a:pt x="1504506" y="6680435"/>
                  <a:pt x="1504598" y="6679719"/>
                </a:cubicBezTo>
                <a:cubicBezTo>
                  <a:pt x="1505035" y="6674442"/>
                  <a:pt x="1505472" y="6669162"/>
                  <a:pt x="1504855" y="6664229"/>
                </a:cubicBezTo>
                <a:cubicBezTo>
                  <a:pt x="1503149" y="6659885"/>
                  <a:pt x="1501852" y="6656319"/>
                  <a:pt x="1500982" y="6653294"/>
                </a:cubicBezTo>
                <a:cubicBezTo>
                  <a:pt x="1499713" y="6651434"/>
                  <a:pt x="1498194" y="6649536"/>
                  <a:pt x="1496397" y="6647846"/>
                </a:cubicBezTo>
                <a:cubicBezTo>
                  <a:pt x="1497362" y="6638514"/>
                  <a:pt x="1497116" y="6628780"/>
                  <a:pt x="1506236" y="6622691"/>
                </a:cubicBezTo>
                <a:cubicBezTo>
                  <a:pt x="1496874" y="6615166"/>
                  <a:pt x="1493034" y="6605933"/>
                  <a:pt x="1496326" y="6594233"/>
                </a:cubicBezTo>
                <a:cubicBezTo>
                  <a:pt x="1496946" y="6591404"/>
                  <a:pt x="1497351" y="6588304"/>
                  <a:pt x="1496950" y="6585583"/>
                </a:cubicBezTo>
                <a:cubicBezTo>
                  <a:pt x="1494541" y="6565381"/>
                  <a:pt x="1499322" y="6546114"/>
                  <a:pt x="1504570" y="6527153"/>
                </a:cubicBezTo>
                <a:cubicBezTo>
                  <a:pt x="1504134" y="6526609"/>
                  <a:pt x="1503702" y="6526069"/>
                  <a:pt x="1503020" y="6525494"/>
                </a:cubicBezTo>
                <a:cubicBezTo>
                  <a:pt x="1498091" y="6520728"/>
                  <a:pt x="1498624" y="6510854"/>
                  <a:pt x="1496828" y="6503343"/>
                </a:cubicBezTo>
                <a:cubicBezTo>
                  <a:pt x="1496859" y="6503105"/>
                  <a:pt x="1496891" y="6502867"/>
                  <a:pt x="1496891" y="6502867"/>
                </a:cubicBezTo>
                <a:close/>
                <a:moveTo>
                  <a:pt x="1655302" y="6500721"/>
                </a:moveTo>
                <a:cubicBezTo>
                  <a:pt x="1654587" y="6502326"/>
                  <a:pt x="1653843" y="6504170"/>
                  <a:pt x="1653594" y="6506077"/>
                </a:cubicBezTo>
                <a:cubicBezTo>
                  <a:pt x="1653501" y="6506793"/>
                  <a:pt x="1653408" y="6507509"/>
                  <a:pt x="1653346" y="6507985"/>
                </a:cubicBezTo>
                <a:cubicBezTo>
                  <a:pt x="1654087" y="6511963"/>
                  <a:pt x="1654582" y="6515907"/>
                  <a:pt x="1655323" y="6519886"/>
                </a:cubicBezTo>
                <a:cubicBezTo>
                  <a:pt x="1655419" y="6513348"/>
                  <a:pt x="1655234" y="6507019"/>
                  <a:pt x="1655302" y="6500721"/>
                </a:cubicBezTo>
                <a:close/>
                <a:moveTo>
                  <a:pt x="1429654" y="6498223"/>
                </a:moveTo>
                <a:cubicBezTo>
                  <a:pt x="1428847" y="6498604"/>
                  <a:pt x="1427111" y="6498377"/>
                  <a:pt x="1427049" y="6498853"/>
                </a:cubicBezTo>
                <a:cubicBezTo>
                  <a:pt x="1427018" y="6499091"/>
                  <a:pt x="1426955" y="6499569"/>
                  <a:pt x="1426955" y="6499569"/>
                </a:cubicBezTo>
                <a:cubicBezTo>
                  <a:pt x="1428102" y="6500447"/>
                  <a:pt x="1429000" y="6501290"/>
                  <a:pt x="1429373" y="6502309"/>
                </a:cubicBezTo>
                <a:cubicBezTo>
                  <a:pt x="1429560" y="6500880"/>
                  <a:pt x="1429715" y="6499685"/>
                  <a:pt x="1429902" y="6498255"/>
                </a:cubicBezTo>
                <a:close/>
                <a:moveTo>
                  <a:pt x="1672729" y="6485046"/>
                </a:moveTo>
                <a:cubicBezTo>
                  <a:pt x="1670892" y="6502998"/>
                  <a:pt x="1671287" y="6521241"/>
                  <a:pt x="1671436" y="6539450"/>
                </a:cubicBezTo>
                <a:cubicBezTo>
                  <a:pt x="1671653" y="6539720"/>
                  <a:pt x="1671838" y="6540230"/>
                  <a:pt x="1671838" y="6540230"/>
                </a:cubicBezTo>
                <a:cubicBezTo>
                  <a:pt x="1676516" y="6548844"/>
                  <a:pt x="1675549" y="6560118"/>
                  <a:pt x="1675979" y="6570364"/>
                </a:cubicBezTo>
                <a:cubicBezTo>
                  <a:pt x="1677180" y="6595987"/>
                  <a:pt x="1675929" y="6621048"/>
                  <a:pt x="1671361" y="6646403"/>
                </a:cubicBezTo>
                <a:cubicBezTo>
                  <a:pt x="1671329" y="6646644"/>
                  <a:pt x="1671267" y="6647120"/>
                  <a:pt x="1671236" y="6647357"/>
                </a:cubicBezTo>
                <a:cubicBezTo>
                  <a:pt x="1671362" y="6648345"/>
                  <a:pt x="1671485" y="6649330"/>
                  <a:pt x="1671361" y="6650284"/>
                </a:cubicBezTo>
                <a:cubicBezTo>
                  <a:pt x="1670702" y="6668877"/>
                  <a:pt x="1670041" y="6687467"/>
                  <a:pt x="1668889" y="6705992"/>
                </a:cubicBezTo>
                <a:cubicBezTo>
                  <a:pt x="1668827" y="6706470"/>
                  <a:pt x="1668734" y="6707184"/>
                  <a:pt x="1668671" y="6707662"/>
                </a:cubicBezTo>
                <a:cubicBezTo>
                  <a:pt x="1670154" y="6717557"/>
                  <a:pt x="1672382" y="6727550"/>
                  <a:pt x="1676130" y="6737499"/>
                </a:cubicBezTo>
                <a:cubicBezTo>
                  <a:pt x="1676750" y="6738549"/>
                  <a:pt x="1677058" y="6740044"/>
                  <a:pt x="1677400" y="6741300"/>
                </a:cubicBezTo>
                <a:cubicBezTo>
                  <a:pt x="1683079" y="6724821"/>
                  <a:pt x="1684604" y="6707313"/>
                  <a:pt x="1689787" y="6690769"/>
                </a:cubicBezTo>
                <a:cubicBezTo>
                  <a:pt x="1689602" y="6690258"/>
                  <a:pt x="1689510" y="6689035"/>
                  <a:pt x="1689510" y="6689035"/>
                </a:cubicBezTo>
                <a:lnTo>
                  <a:pt x="1689912" y="6689816"/>
                </a:lnTo>
                <a:cubicBezTo>
                  <a:pt x="1687008" y="6665665"/>
                  <a:pt x="1694210" y="6641380"/>
                  <a:pt x="1682688" y="6617563"/>
                </a:cubicBezTo>
                <a:cubicBezTo>
                  <a:pt x="1680458" y="6613391"/>
                  <a:pt x="1681763" y="6607256"/>
                  <a:pt x="1682880" y="6602550"/>
                </a:cubicBezTo>
                <a:cubicBezTo>
                  <a:pt x="1690767" y="6571077"/>
                  <a:pt x="1687059" y="6539547"/>
                  <a:pt x="1681060" y="6506264"/>
                </a:cubicBezTo>
                <a:cubicBezTo>
                  <a:pt x="1677684" y="6499274"/>
                  <a:pt x="1675081" y="6492143"/>
                  <a:pt x="1672729" y="6485046"/>
                </a:cubicBezTo>
                <a:close/>
                <a:moveTo>
                  <a:pt x="1453965" y="6481989"/>
                </a:moveTo>
                <a:cubicBezTo>
                  <a:pt x="1454119" y="6482736"/>
                  <a:pt x="1454025" y="6483453"/>
                  <a:pt x="1454582" y="6486920"/>
                </a:cubicBezTo>
                <a:lnTo>
                  <a:pt x="1454614" y="6486683"/>
                </a:lnTo>
                <a:cubicBezTo>
                  <a:pt x="1454552" y="6483277"/>
                  <a:pt x="1454645" y="6482564"/>
                  <a:pt x="1454707" y="6482085"/>
                </a:cubicBezTo>
                <a:cubicBezTo>
                  <a:pt x="1454707" y="6482085"/>
                  <a:pt x="1454212" y="6482020"/>
                  <a:pt x="1453965" y="6481989"/>
                </a:cubicBezTo>
                <a:close/>
                <a:moveTo>
                  <a:pt x="1316977" y="6480378"/>
                </a:moveTo>
                <a:cubicBezTo>
                  <a:pt x="1318766" y="6495649"/>
                  <a:pt x="1320807" y="6510954"/>
                  <a:pt x="1322629" y="6525987"/>
                </a:cubicBezTo>
                <a:cubicBezTo>
                  <a:pt x="1322294" y="6516969"/>
                  <a:pt x="1322484" y="6507776"/>
                  <a:pt x="1321370" y="6498898"/>
                </a:cubicBezTo>
                <a:cubicBezTo>
                  <a:pt x="1320813" y="6495431"/>
                  <a:pt x="1320225" y="6492200"/>
                  <a:pt x="1319638" y="6488972"/>
                </a:cubicBezTo>
                <a:cubicBezTo>
                  <a:pt x="1319018" y="6485980"/>
                  <a:pt x="1318122" y="6483197"/>
                  <a:pt x="1316977" y="6480378"/>
                </a:cubicBezTo>
                <a:close/>
                <a:moveTo>
                  <a:pt x="5319939" y="6462883"/>
                </a:moveTo>
                <a:cubicBezTo>
                  <a:pt x="5318853" y="6463470"/>
                  <a:pt x="5317800" y="6463816"/>
                  <a:pt x="5316745" y="6464165"/>
                </a:cubicBezTo>
                <a:cubicBezTo>
                  <a:pt x="5318140" y="6467013"/>
                  <a:pt x="5319255" y="6470069"/>
                  <a:pt x="5320648" y="6472919"/>
                </a:cubicBezTo>
                <a:cubicBezTo>
                  <a:pt x="5321702" y="6472573"/>
                  <a:pt x="5323562" y="6471846"/>
                  <a:pt x="5323562" y="6471846"/>
                </a:cubicBezTo>
                <a:cubicBezTo>
                  <a:pt x="5322449" y="6468790"/>
                  <a:pt x="5321055" y="6465939"/>
                  <a:pt x="5319939" y="6462883"/>
                </a:cubicBezTo>
                <a:close/>
                <a:moveTo>
                  <a:pt x="1466062" y="6462706"/>
                </a:moveTo>
                <a:cubicBezTo>
                  <a:pt x="1465967" y="6465362"/>
                  <a:pt x="1466091" y="6468288"/>
                  <a:pt x="1465749" y="6470912"/>
                </a:cubicBezTo>
                <a:lnTo>
                  <a:pt x="1466270" y="6474449"/>
                </a:lnTo>
                <a:lnTo>
                  <a:pt x="1466303" y="6476322"/>
                </a:lnTo>
                <a:lnTo>
                  <a:pt x="1466550" y="6476354"/>
                </a:lnTo>
                <a:lnTo>
                  <a:pt x="1466270" y="6474449"/>
                </a:lnTo>
                <a:close/>
                <a:moveTo>
                  <a:pt x="1493932" y="6461733"/>
                </a:moveTo>
                <a:cubicBezTo>
                  <a:pt x="1491700" y="6463382"/>
                  <a:pt x="1489714" y="6465063"/>
                  <a:pt x="1487046" y="6466172"/>
                </a:cubicBezTo>
                <a:lnTo>
                  <a:pt x="1487575" y="6465996"/>
                </a:lnTo>
                <a:cubicBezTo>
                  <a:pt x="1487667" y="6471101"/>
                  <a:pt x="1487786" y="6475967"/>
                  <a:pt x="1487877" y="6481075"/>
                </a:cubicBezTo>
                <a:cubicBezTo>
                  <a:pt x="1489646" y="6479121"/>
                  <a:pt x="1492126" y="6477504"/>
                  <a:pt x="1494143" y="6475585"/>
                </a:cubicBezTo>
                <a:cubicBezTo>
                  <a:pt x="1494359" y="6475855"/>
                  <a:pt x="1494576" y="6476127"/>
                  <a:pt x="1494823" y="6476160"/>
                </a:cubicBezTo>
                <a:cubicBezTo>
                  <a:pt x="1494453" y="6471260"/>
                  <a:pt x="1494301" y="6466631"/>
                  <a:pt x="1493932" y="6461733"/>
                </a:cubicBezTo>
                <a:close/>
                <a:moveTo>
                  <a:pt x="1390271" y="6452097"/>
                </a:moveTo>
                <a:cubicBezTo>
                  <a:pt x="1389929" y="6452778"/>
                  <a:pt x="1389835" y="6453497"/>
                  <a:pt x="1389774" y="6453973"/>
                </a:cubicBezTo>
                <a:cubicBezTo>
                  <a:pt x="1390146" y="6454992"/>
                  <a:pt x="1391446" y="6456615"/>
                  <a:pt x="1391446" y="6456615"/>
                </a:cubicBezTo>
                <a:lnTo>
                  <a:pt x="1391696" y="6456648"/>
                </a:lnTo>
                <a:cubicBezTo>
                  <a:pt x="1391789" y="6455933"/>
                  <a:pt x="1391851" y="6455456"/>
                  <a:pt x="1391946" y="6454740"/>
                </a:cubicBezTo>
                <a:cubicBezTo>
                  <a:pt x="1391541" y="6453962"/>
                  <a:pt x="1390921" y="6452908"/>
                  <a:pt x="1390271" y="6452097"/>
                </a:cubicBezTo>
                <a:close/>
                <a:moveTo>
                  <a:pt x="1339287" y="6427259"/>
                </a:moveTo>
                <a:cubicBezTo>
                  <a:pt x="1338166" y="6435844"/>
                  <a:pt x="1339062" y="6444450"/>
                  <a:pt x="1340484" y="6452880"/>
                </a:cubicBezTo>
                <a:cubicBezTo>
                  <a:pt x="1343484" y="6472434"/>
                  <a:pt x="1346482" y="6491988"/>
                  <a:pt x="1349482" y="6511541"/>
                </a:cubicBezTo>
                <a:cubicBezTo>
                  <a:pt x="1351892" y="6527861"/>
                  <a:pt x="1353004" y="6544500"/>
                  <a:pt x="1357708" y="6560637"/>
                </a:cubicBezTo>
                <a:cubicBezTo>
                  <a:pt x="1361020" y="6571982"/>
                  <a:pt x="1360426" y="6584275"/>
                  <a:pt x="1361415" y="6596048"/>
                </a:cubicBezTo>
                <a:lnTo>
                  <a:pt x="1361134" y="6596252"/>
                </a:lnTo>
                <a:cubicBezTo>
                  <a:pt x="1362216" y="6607310"/>
                  <a:pt x="1363079" y="6618095"/>
                  <a:pt x="1364161" y="6629149"/>
                </a:cubicBezTo>
                <a:cubicBezTo>
                  <a:pt x="1364566" y="6620228"/>
                  <a:pt x="1364941" y="6611546"/>
                  <a:pt x="1365347" y="6602625"/>
                </a:cubicBezTo>
                <a:cubicBezTo>
                  <a:pt x="1364050" y="6593237"/>
                  <a:pt x="1362751" y="6583850"/>
                  <a:pt x="1364832" y="6573694"/>
                </a:cubicBezTo>
                <a:cubicBezTo>
                  <a:pt x="1365515" y="6574267"/>
                  <a:pt x="1365916" y="6575047"/>
                  <a:pt x="1366568" y="6575861"/>
                </a:cubicBezTo>
                <a:cubicBezTo>
                  <a:pt x="1366819" y="6570072"/>
                  <a:pt x="1367038" y="6564522"/>
                  <a:pt x="1367289" y="6558733"/>
                </a:cubicBezTo>
                <a:cubicBezTo>
                  <a:pt x="1367446" y="6551720"/>
                  <a:pt x="1369835" y="6544996"/>
                  <a:pt x="1369218" y="6538124"/>
                </a:cubicBezTo>
                <a:cubicBezTo>
                  <a:pt x="1368538" y="6531730"/>
                  <a:pt x="1365038" y="6525695"/>
                  <a:pt x="1363584" y="6519442"/>
                </a:cubicBezTo>
                <a:cubicBezTo>
                  <a:pt x="1362439" y="6514684"/>
                  <a:pt x="1362597" y="6509611"/>
                  <a:pt x="1362505" y="6504506"/>
                </a:cubicBezTo>
                <a:cubicBezTo>
                  <a:pt x="1362323" y="6492354"/>
                  <a:pt x="1362422" y="6479996"/>
                  <a:pt x="1362241" y="6467846"/>
                </a:cubicBezTo>
                <a:cubicBezTo>
                  <a:pt x="1360815" y="6467174"/>
                  <a:pt x="1359389" y="6466504"/>
                  <a:pt x="1357963" y="6465832"/>
                </a:cubicBezTo>
                <a:cubicBezTo>
                  <a:pt x="1350950" y="6480927"/>
                  <a:pt x="1358323" y="6494016"/>
                  <a:pt x="1361916" y="6507096"/>
                </a:cubicBezTo>
                <a:cubicBezTo>
                  <a:pt x="1355247" y="6509865"/>
                  <a:pt x="1353823" y="6505315"/>
                  <a:pt x="1353268" y="6501845"/>
                </a:cubicBezTo>
                <a:cubicBezTo>
                  <a:pt x="1351011" y="6486270"/>
                  <a:pt x="1349281" y="6470521"/>
                  <a:pt x="1346778" y="6454916"/>
                </a:cubicBezTo>
                <a:cubicBezTo>
                  <a:pt x="1345231" y="6445497"/>
                  <a:pt x="1342630" y="6436426"/>
                  <a:pt x="1339287" y="6427259"/>
                </a:cubicBezTo>
                <a:close/>
                <a:moveTo>
                  <a:pt x="1295610" y="6417924"/>
                </a:moveTo>
                <a:cubicBezTo>
                  <a:pt x="1294214" y="6424778"/>
                  <a:pt x="1290583" y="6431338"/>
                  <a:pt x="1296937" y="6440653"/>
                </a:cubicBezTo>
                <a:cubicBezTo>
                  <a:pt x="1304750" y="6431003"/>
                  <a:pt x="1295484" y="6424699"/>
                  <a:pt x="1295610" y="6417924"/>
                </a:cubicBezTo>
                <a:close/>
                <a:moveTo>
                  <a:pt x="1491350" y="6402214"/>
                </a:moveTo>
                <a:cubicBezTo>
                  <a:pt x="1487130" y="6411366"/>
                  <a:pt x="1485670" y="6420636"/>
                  <a:pt x="1486626" y="6430704"/>
                </a:cubicBezTo>
                <a:cubicBezTo>
                  <a:pt x="1486753" y="6431690"/>
                  <a:pt x="1486627" y="6432644"/>
                  <a:pt x="1486253" y="6433566"/>
                </a:cubicBezTo>
                <a:cubicBezTo>
                  <a:pt x="1486223" y="6435744"/>
                  <a:pt x="1486438" y="6437955"/>
                  <a:pt x="1486406" y="6440136"/>
                </a:cubicBezTo>
                <a:cubicBezTo>
                  <a:pt x="1486498" y="6443301"/>
                  <a:pt x="1486558" y="6446702"/>
                  <a:pt x="1486619" y="6450107"/>
                </a:cubicBezTo>
                <a:cubicBezTo>
                  <a:pt x="1487271" y="6448980"/>
                  <a:pt x="1488170" y="6447882"/>
                  <a:pt x="1488823" y="6446755"/>
                </a:cubicBezTo>
                <a:cubicBezTo>
                  <a:pt x="1493598" y="6439133"/>
                  <a:pt x="1495617" y="6431390"/>
                  <a:pt x="1493513" y="6422383"/>
                </a:cubicBezTo>
                <a:cubicBezTo>
                  <a:pt x="1491843" y="6415861"/>
                  <a:pt x="1491969" y="6409086"/>
                  <a:pt x="1491350" y="6402214"/>
                </a:cubicBezTo>
                <a:close/>
                <a:moveTo>
                  <a:pt x="1505427" y="6394832"/>
                </a:moveTo>
                <a:lnTo>
                  <a:pt x="1504902" y="6395005"/>
                </a:lnTo>
                <a:lnTo>
                  <a:pt x="1505303" y="6395783"/>
                </a:lnTo>
                <a:lnTo>
                  <a:pt x="1503312" y="6411049"/>
                </a:lnTo>
                <a:cubicBezTo>
                  <a:pt x="1503219" y="6411765"/>
                  <a:pt x="1503095" y="6412719"/>
                  <a:pt x="1503001" y="6413435"/>
                </a:cubicBezTo>
                <a:cubicBezTo>
                  <a:pt x="1502939" y="6413911"/>
                  <a:pt x="1502877" y="6414389"/>
                  <a:pt x="1502815" y="6414865"/>
                </a:cubicBezTo>
                <a:cubicBezTo>
                  <a:pt x="1502161" y="6423756"/>
                  <a:pt x="1501724" y="6432915"/>
                  <a:pt x="1501535" y="6442108"/>
                </a:cubicBezTo>
                <a:cubicBezTo>
                  <a:pt x="1503425" y="6443080"/>
                  <a:pt x="1504663" y="6445182"/>
                  <a:pt x="1505842" y="6447763"/>
                </a:cubicBezTo>
                <a:cubicBezTo>
                  <a:pt x="1506242" y="6448543"/>
                  <a:pt x="1506428" y="6449051"/>
                  <a:pt x="1506616" y="6449562"/>
                </a:cubicBezTo>
                <a:cubicBezTo>
                  <a:pt x="1506621" y="6432099"/>
                  <a:pt x="1506349" y="6414842"/>
                  <a:pt x="1506107" y="6397347"/>
                </a:cubicBezTo>
                <a:lnTo>
                  <a:pt x="1505303" y="6395783"/>
                </a:lnTo>
                <a:close/>
                <a:moveTo>
                  <a:pt x="1645523" y="6382294"/>
                </a:moveTo>
                <a:cubicBezTo>
                  <a:pt x="1645644" y="6385222"/>
                  <a:pt x="1645487" y="6388354"/>
                  <a:pt x="1645611" y="6391281"/>
                </a:cubicBezTo>
                <a:cubicBezTo>
                  <a:pt x="1646356" y="6391378"/>
                  <a:pt x="1646850" y="6391442"/>
                  <a:pt x="1647596" y="6391539"/>
                </a:cubicBezTo>
                <a:cubicBezTo>
                  <a:pt x="1647441" y="6390792"/>
                  <a:pt x="1647566" y="6389838"/>
                  <a:pt x="1647566" y="6389838"/>
                </a:cubicBezTo>
                <a:lnTo>
                  <a:pt x="1647347" y="6389568"/>
                </a:lnTo>
                <a:cubicBezTo>
                  <a:pt x="1646916" y="6387084"/>
                  <a:pt x="1646234" y="6384571"/>
                  <a:pt x="1645523" y="6382294"/>
                </a:cubicBezTo>
                <a:close/>
                <a:moveTo>
                  <a:pt x="1289864" y="6369151"/>
                </a:moveTo>
                <a:cubicBezTo>
                  <a:pt x="1290947" y="6378266"/>
                  <a:pt x="1292152" y="6386427"/>
                  <a:pt x="1293078" y="6394796"/>
                </a:cubicBezTo>
                <a:lnTo>
                  <a:pt x="1293357" y="6394590"/>
                </a:lnTo>
                <a:cubicBezTo>
                  <a:pt x="1294102" y="6394687"/>
                  <a:pt x="1295094" y="6394816"/>
                  <a:pt x="1295838" y="6394913"/>
                </a:cubicBezTo>
                <a:cubicBezTo>
                  <a:pt x="1295963" y="6393959"/>
                  <a:pt x="1296056" y="6393243"/>
                  <a:pt x="1296613" y="6392832"/>
                </a:cubicBezTo>
                <a:cubicBezTo>
                  <a:pt x="1297172" y="6392418"/>
                  <a:pt x="1297977" y="6392038"/>
                  <a:pt x="1298784" y="6391658"/>
                </a:cubicBezTo>
                <a:cubicBezTo>
                  <a:pt x="1299186" y="6390499"/>
                  <a:pt x="1299560" y="6389578"/>
                  <a:pt x="1299716" y="6388384"/>
                </a:cubicBezTo>
                <a:cubicBezTo>
                  <a:pt x="1298850" y="6383419"/>
                  <a:pt x="1297734" y="6378423"/>
                  <a:pt x="1296870" y="6373459"/>
                </a:cubicBezTo>
                <a:cubicBezTo>
                  <a:pt x="1296372" y="6373394"/>
                  <a:pt x="1295630" y="6373298"/>
                  <a:pt x="1294639" y="6373168"/>
                </a:cubicBezTo>
                <a:cubicBezTo>
                  <a:pt x="1292373" y="6373118"/>
                  <a:pt x="1293057" y="6367869"/>
                  <a:pt x="1289864" y="6369151"/>
                </a:cubicBezTo>
                <a:close/>
                <a:moveTo>
                  <a:pt x="1439533" y="6368293"/>
                </a:moveTo>
                <a:lnTo>
                  <a:pt x="1437563" y="6375855"/>
                </a:lnTo>
                <a:lnTo>
                  <a:pt x="1437546" y="6375795"/>
                </a:lnTo>
                <a:lnTo>
                  <a:pt x="1437515" y="6376033"/>
                </a:lnTo>
                <a:lnTo>
                  <a:pt x="1437563" y="6375855"/>
                </a:lnTo>
                <a:lnTo>
                  <a:pt x="1441229" y="6390099"/>
                </a:lnTo>
                <a:cubicBezTo>
                  <a:pt x="1447961" y="6381034"/>
                  <a:pt x="1439405" y="6375067"/>
                  <a:pt x="1439533" y="6368293"/>
                </a:cubicBezTo>
                <a:close/>
                <a:moveTo>
                  <a:pt x="1420998" y="6363449"/>
                </a:moveTo>
                <a:cubicBezTo>
                  <a:pt x="1420529" y="6368967"/>
                  <a:pt x="1419815" y="6374453"/>
                  <a:pt x="1419594" y="6380003"/>
                </a:cubicBezTo>
                <a:lnTo>
                  <a:pt x="1423991" y="6382236"/>
                </a:lnTo>
                <a:lnTo>
                  <a:pt x="1424027" y="6382764"/>
                </a:lnTo>
                <a:lnTo>
                  <a:pt x="1424088" y="6382285"/>
                </a:lnTo>
                <a:lnTo>
                  <a:pt x="1423991" y="6382236"/>
                </a:lnTo>
                <a:lnTo>
                  <a:pt x="1422732" y="6363675"/>
                </a:lnTo>
                <a:cubicBezTo>
                  <a:pt x="1421990" y="6363578"/>
                  <a:pt x="1421493" y="6363513"/>
                  <a:pt x="1420998" y="6363449"/>
                </a:cubicBezTo>
                <a:close/>
                <a:moveTo>
                  <a:pt x="1611153" y="6359623"/>
                </a:moveTo>
                <a:cubicBezTo>
                  <a:pt x="1610400" y="6380869"/>
                  <a:pt x="1609554" y="6402831"/>
                  <a:pt x="1608427" y="6424999"/>
                </a:cubicBezTo>
                <a:cubicBezTo>
                  <a:pt x="1608553" y="6425983"/>
                  <a:pt x="1607900" y="6427113"/>
                  <a:pt x="1607157" y="6428957"/>
                </a:cubicBezTo>
                <a:cubicBezTo>
                  <a:pt x="1608424" y="6436641"/>
                  <a:pt x="1610684" y="6444452"/>
                  <a:pt x="1614215" y="6452191"/>
                </a:cubicBezTo>
                <a:cubicBezTo>
                  <a:pt x="1615175" y="6454498"/>
                  <a:pt x="1614274" y="6457533"/>
                  <a:pt x="1613716" y="6459888"/>
                </a:cubicBezTo>
                <a:cubicBezTo>
                  <a:pt x="1608219" y="6482697"/>
                  <a:pt x="1612797" y="6505609"/>
                  <a:pt x="1615579" y="6528773"/>
                </a:cubicBezTo>
                <a:cubicBezTo>
                  <a:pt x="1617866" y="6547988"/>
                  <a:pt x="1617361" y="6567326"/>
                  <a:pt x="1617136" y="6586459"/>
                </a:cubicBezTo>
                <a:cubicBezTo>
                  <a:pt x="1617222" y="6603205"/>
                  <a:pt x="1619728" y="6618814"/>
                  <a:pt x="1633949" y="6631583"/>
                </a:cubicBezTo>
                <a:cubicBezTo>
                  <a:pt x="1633362" y="6628353"/>
                  <a:pt x="1632342" y="6624581"/>
                  <a:pt x="1633209" y="6621784"/>
                </a:cubicBezTo>
                <a:cubicBezTo>
                  <a:pt x="1643422" y="6591826"/>
                  <a:pt x="1634816" y="6561112"/>
                  <a:pt x="1630983" y="6530537"/>
                </a:cubicBezTo>
                <a:cubicBezTo>
                  <a:pt x="1628637" y="6511796"/>
                  <a:pt x="1627280" y="6493186"/>
                  <a:pt x="1625923" y="6474576"/>
                </a:cubicBezTo>
                <a:cubicBezTo>
                  <a:pt x="1625675" y="6474543"/>
                  <a:pt x="1625428" y="6474511"/>
                  <a:pt x="1625428" y="6474511"/>
                </a:cubicBezTo>
                <a:cubicBezTo>
                  <a:pt x="1624899" y="6474687"/>
                  <a:pt x="1622887" y="6472725"/>
                  <a:pt x="1622763" y="6471739"/>
                </a:cubicBezTo>
                <a:cubicBezTo>
                  <a:pt x="1621649" y="6462862"/>
                  <a:pt x="1621776" y="6454147"/>
                  <a:pt x="1623887" y="6445691"/>
                </a:cubicBezTo>
                <a:cubicBezTo>
                  <a:pt x="1623270" y="6440759"/>
                  <a:pt x="1622499" y="6435078"/>
                  <a:pt x="1624576" y="6430741"/>
                </a:cubicBezTo>
                <a:cubicBezTo>
                  <a:pt x="1626689" y="6426165"/>
                  <a:pt x="1628302" y="6421525"/>
                  <a:pt x="1628893" y="6416995"/>
                </a:cubicBezTo>
                <a:cubicBezTo>
                  <a:pt x="1627310" y="6417515"/>
                  <a:pt x="1625761" y="6417799"/>
                  <a:pt x="1623777" y="6417541"/>
                </a:cubicBezTo>
                <a:cubicBezTo>
                  <a:pt x="1623160" y="6410668"/>
                  <a:pt x="1626572" y="6405776"/>
                  <a:pt x="1629704" y="6401092"/>
                </a:cubicBezTo>
                <a:cubicBezTo>
                  <a:pt x="1629364" y="6395954"/>
                  <a:pt x="1628500" y="6390990"/>
                  <a:pt x="1627632" y="6386026"/>
                </a:cubicBezTo>
                <a:cubicBezTo>
                  <a:pt x="1626577" y="6386372"/>
                  <a:pt x="1625246" y="6386927"/>
                  <a:pt x="1623261" y="6386669"/>
                </a:cubicBezTo>
                <a:lnTo>
                  <a:pt x="1622768" y="6386604"/>
                </a:lnTo>
                <a:cubicBezTo>
                  <a:pt x="1622178" y="6381434"/>
                  <a:pt x="1622677" y="6375678"/>
                  <a:pt x="1620539" y="6370790"/>
                </a:cubicBezTo>
                <a:cubicBezTo>
                  <a:pt x="1618620" y="6366177"/>
                  <a:pt x="1614034" y="6362667"/>
                  <a:pt x="1611153" y="6359623"/>
                </a:cubicBezTo>
                <a:close/>
                <a:moveTo>
                  <a:pt x="1419271" y="6339938"/>
                </a:moveTo>
                <a:cubicBezTo>
                  <a:pt x="1418680" y="6340590"/>
                  <a:pt x="1417876" y="6340972"/>
                  <a:pt x="1417286" y="6341620"/>
                </a:cubicBezTo>
                <a:cubicBezTo>
                  <a:pt x="1417254" y="6341860"/>
                  <a:pt x="1417905" y="6342673"/>
                  <a:pt x="1418339" y="6343214"/>
                </a:cubicBezTo>
                <a:cubicBezTo>
                  <a:pt x="1418651" y="6342771"/>
                  <a:pt x="1419517" y="6341912"/>
                  <a:pt x="1419517" y="6341912"/>
                </a:cubicBezTo>
                <a:cubicBezTo>
                  <a:pt x="1419579" y="6341436"/>
                  <a:pt x="1419178" y="6340654"/>
                  <a:pt x="1419271" y="6339938"/>
                </a:cubicBezTo>
                <a:close/>
                <a:moveTo>
                  <a:pt x="1355071" y="6337147"/>
                </a:moveTo>
                <a:cubicBezTo>
                  <a:pt x="1350140" y="6342083"/>
                  <a:pt x="1351161" y="6345856"/>
                  <a:pt x="1356025" y="6349156"/>
                </a:cubicBezTo>
                <a:cubicBezTo>
                  <a:pt x="1355751" y="6345483"/>
                  <a:pt x="1355442" y="6342046"/>
                  <a:pt x="1355071" y="6337147"/>
                </a:cubicBezTo>
                <a:close/>
                <a:moveTo>
                  <a:pt x="1618137" y="6337004"/>
                </a:moveTo>
                <a:cubicBezTo>
                  <a:pt x="1617825" y="6339391"/>
                  <a:pt x="1617577" y="6341298"/>
                  <a:pt x="1617298" y="6343444"/>
                </a:cubicBezTo>
                <a:cubicBezTo>
                  <a:pt x="1616862" y="6346785"/>
                  <a:pt x="1617481" y="6349775"/>
                  <a:pt x="1620517" y="6351626"/>
                </a:cubicBezTo>
                <a:lnTo>
                  <a:pt x="1620765" y="6351658"/>
                </a:lnTo>
                <a:cubicBezTo>
                  <a:pt x="1619900" y="6346694"/>
                  <a:pt x="1619002" y="6341970"/>
                  <a:pt x="1618137" y="6337004"/>
                </a:cubicBezTo>
                <a:close/>
                <a:moveTo>
                  <a:pt x="1288704" y="6327765"/>
                </a:moveTo>
                <a:cubicBezTo>
                  <a:pt x="1288395" y="6328212"/>
                  <a:pt x="1287557" y="6328831"/>
                  <a:pt x="1287557" y="6328831"/>
                </a:cubicBezTo>
                <a:cubicBezTo>
                  <a:pt x="1280641" y="6335446"/>
                  <a:pt x="1282809" y="6340096"/>
                  <a:pt x="1292261" y="6346907"/>
                </a:cubicBezTo>
                <a:cubicBezTo>
                  <a:pt x="1291054" y="6340684"/>
                  <a:pt x="1289879" y="6334227"/>
                  <a:pt x="1288704" y="6327765"/>
                </a:cubicBezTo>
                <a:close/>
                <a:moveTo>
                  <a:pt x="1433538" y="6319484"/>
                </a:moveTo>
                <a:lnTo>
                  <a:pt x="1433802" y="6319630"/>
                </a:lnTo>
                <a:lnTo>
                  <a:pt x="1437000" y="6345163"/>
                </a:lnTo>
                <a:cubicBezTo>
                  <a:pt x="1438490" y="6345358"/>
                  <a:pt x="1439975" y="6345551"/>
                  <a:pt x="1441464" y="6345746"/>
                </a:cubicBezTo>
                <a:cubicBezTo>
                  <a:pt x="1442828" y="6341071"/>
                  <a:pt x="1444412" y="6336670"/>
                  <a:pt x="1445284" y="6331930"/>
                </a:cubicBezTo>
                <a:cubicBezTo>
                  <a:pt x="1445315" y="6331692"/>
                  <a:pt x="1445377" y="6331216"/>
                  <a:pt x="1445377" y="6331216"/>
                </a:cubicBezTo>
                <a:cubicBezTo>
                  <a:pt x="1445066" y="6329720"/>
                  <a:pt x="1444974" y="6328495"/>
                  <a:pt x="1444914" y="6327033"/>
                </a:cubicBezTo>
                <a:cubicBezTo>
                  <a:pt x="1443920" y="6324963"/>
                  <a:pt x="1441813" y="6323719"/>
                  <a:pt x="1438312" y="6323504"/>
                </a:cubicBezTo>
                <a:cubicBezTo>
                  <a:pt x="1437180" y="6323477"/>
                  <a:pt x="1436785" y="6322153"/>
                  <a:pt x="1436273" y="6320995"/>
                </a:cubicBezTo>
                <a:lnTo>
                  <a:pt x="1433802" y="6319630"/>
                </a:lnTo>
                <a:lnTo>
                  <a:pt x="1433787" y="6319517"/>
                </a:lnTo>
                <a:close/>
                <a:moveTo>
                  <a:pt x="1441510" y="6308640"/>
                </a:moveTo>
                <a:cubicBezTo>
                  <a:pt x="1441200" y="6309085"/>
                  <a:pt x="1440764" y="6310483"/>
                  <a:pt x="1440764" y="6310483"/>
                </a:cubicBezTo>
                <a:lnTo>
                  <a:pt x="1440733" y="6310721"/>
                </a:lnTo>
                <a:cubicBezTo>
                  <a:pt x="1441262" y="6310547"/>
                  <a:pt x="1441572" y="6310103"/>
                  <a:pt x="1442068" y="6310169"/>
                </a:cubicBezTo>
                <a:cubicBezTo>
                  <a:pt x="1441881" y="6309658"/>
                  <a:pt x="1441695" y="6309150"/>
                  <a:pt x="1441510" y="6308640"/>
                </a:cubicBezTo>
                <a:close/>
                <a:moveTo>
                  <a:pt x="1178107" y="6297822"/>
                </a:moveTo>
                <a:lnTo>
                  <a:pt x="1178634" y="6299590"/>
                </a:lnTo>
                <a:lnTo>
                  <a:pt x="1179597" y="6298016"/>
                </a:lnTo>
                <a:close/>
                <a:moveTo>
                  <a:pt x="1267793" y="6290840"/>
                </a:moveTo>
                <a:lnTo>
                  <a:pt x="1267762" y="6291077"/>
                </a:lnTo>
                <a:cubicBezTo>
                  <a:pt x="1268692" y="6293626"/>
                  <a:pt x="1269342" y="6296379"/>
                  <a:pt x="1270270" y="6298925"/>
                </a:cubicBezTo>
                <a:cubicBezTo>
                  <a:pt x="1270148" y="6297939"/>
                  <a:pt x="1269991" y="6297189"/>
                  <a:pt x="1270116" y="6296236"/>
                </a:cubicBezTo>
                <a:cubicBezTo>
                  <a:pt x="1270211" y="6293581"/>
                  <a:pt x="1269436" y="6291783"/>
                  <a:pt x="1267793" y="6290840"/>
                </a:cubicBezTo>
                <a:close/>
                <a:moveTo>
                  <a:pt x="1433309" y="6276765"/>
                </a:moveTo>
                <a:cubicBezTo>
                  <a:pt x="1432440" y="6277623"/>
                  <a:pt x="1431849" y="6278274"/>
                  <a:pt x="1430983" y="6279131"/>
                </a:cubicBezTo>
                <a:cubicBezTo>
                  <a:pt x="1423818" y="6285717"/>
                  <a:pt x="1426234" y="6290396"/>
                  <a:pt x="1435903" y="6297479"/>
                </a:cubicBezTo>
                <a:lnTo>
                  <a:pt x="1436182" y="6297273"/>
                </a:lnTo>
                <a:cubicBezTo>
                  <a:pt x="1436866" y="6295908"/>
                  <a:pt x="1437331" y="6294270"/>
                  <a:pt x="1438263" y="6292935"/>
                </a:cubicBezTo>
                <a:cubicBezTo>
                  <a:pt x="1436188" y="6287571"/>
                  <a:pt x="1434608" y="6282273"/>
                  <a:pt x="1433309" y="6276765"/>
                </a:cubicBezTo>
                <a:close/>
                <a:moveTo>
                  <a:pt x="1587411" y="6270909"/>
                </a:moveTo>
                <a:cubicBezTo>
                  <a:pt x="1587688" y="6274580"/>
                  <a:pt x="1587687" y="6278461"/>
                  <a:pt x="1587716" y="6282103"/>
                </a:cubicBezTo>
                <a:cubicBezTo>
                  <a:pt x="1588182" y="6282406"/>
                  <a:pt x="1588367" y="6282917"/>
                  <a:pt x="1588615" y="6282949"/>
                </a:cubicBezTo>
                <a:cubicBezTo>
                  <a:pt x="1588276" y="6279753"/>
                  <a:pt x="1587905" y="6276793"/>
                  <a:pt x="1587811" y="6273626"/>
                </a:cubicBezTo>
                <a:lnTo>
                  <a:pt x="1587565" y="6273593"/>
                </a:lnTo>
                <a:cubicBezTo>
                  <a:pt x="1587658" y="6272880"/>
                  <a:pt x="1587288" y="6271862"/>
                  <a:pt x="1587411" y="6270909"/>
                </a:cubicBezTo>
                <a:close/>
                <a:moveTo>
                  <a:pt x="1267559" y="6257824"/>
                </a:moveTo>
                <a:cubicBezTo>
                  <a:pt x="1263467" y="6258260"/>
                  <a:pt x="1260645" y="6260560"/>
                  <a:pt x="1265044" y="6265499"/>
                </a:cubicBezTo>
                <a:cubicBezTo>
                  <a:pt x="1268456" y="6264490"/>
                  <a:pt x="1271834" y="6263717"/>
                  <a:pt x="1276298" y="6262360"/>
                </a:cubicBezTo>
                <a:cubicBezTo>
                  <a:pt x="1276176" y="6261371"/>
                  <a:pt x="1275803" y="6260355"/>
                  <a:pt x="1275680" y="6259368"/>
                </a:cubicBezTo>
                <a:cubicBezTo>
                  <a:pt x="1275680" y="6259368"/>
                  <a:pt x="1275742" y="6258890"/>
                  <a:pt x="1275742" y="6258890"/>
                </a:cubicBezTo>
                <a:cubicBezTo>
                  <a:pt x="1272550" y="6258232"/>
                  <a:pt x="1270100" y="6257670"/>
                  <a:pt x="1267807" y="6257855"/>
                </a:cubicBezTo>
                <a:close/>
                <a:moveTo>
                  <a:pt x="1341219" y="6246082"/>
                </a:moveTo>
                <a:cubicBezTo>
                  <a:pt x="1341493" y="6259459"/>
                  <a:pt x="1341798" y="6272596"/>
                  <a:pt x="1342320" y="6286005"/>
                </a:cubicBezTo>
                <a:cubicBezTo>
                  <a:pt x="1342566" y="6287977"/>
                  <a:pt x="1342596" y="6289679"/>
                  <a:pt x="1342597" y="6291619"/>
                </a:cubicBezTo>
                <a:cubicBezTo>
                  <a:pt x="1343554" y="6297808"/>
                  <a:pt x="1344514" y="6303996"/>
                  <a:pt x="1345471" y="6310186"/>
                </a:cubicBezTo>
                <a:lnTo>
                  <a:pt x="1345256" y="6309914"/>
                </a:lnTo>
                <a:cubicBezTo>
                  <a:pt x="1346370" y="6312971"/>
                  <a:pt x="1347702" y="6316299"/>
                  <a:pt x="1349560" y="6319449"/>
                </a:cubicBezTo>
                <a:cubicBezTo>
                  <a:pt x="1351424" y="6310963"/>
                  <a:pt x="1352727" y="6304826"/>
                  <a:pt x="1352017" y="6298669"/>
                </a:cubicBezTo>
                <a:cubicBezTo>
                  <a:pt x="1350874" y="6288089"/>
                  <a:pt x="1350478" y="6277608"/>
                  <a:pt x="1348093" y="6266869"/>
                </a:cubicBezTo>
                <a:cubicBezTo>
                  <a:pt x="1346639" y="6260616"/>
                  <a:pt x="1346206" y="6254253"/>
                  <a:pt x="1346053" y="6247683"/>
                </a:cubicBezTo>
                <a:cubicBezTo>
                  <a:pt x="1344721" y="6248238"/>
                  <a:pt x="1343015" y="6247773"/>
                  <a:pt x="1341219" y="6246082"/>
                </a:cubicBezTo>
                <a:close/>
                <a:moveTo>
                  <a:pt x="1493715" y="6231284"/>
                </a:moveTo>
                <a:cubicBezTo>
                  <a:pt x="1491079" y="6232152"/>
                  <a:pt x="1488444" y="6233021"/>
                  <a:pt x="1485560" y="6233857"/>
                </a:cubicBezTo>
                <a:cubicBezTo>
                  <a:pt x="1485715" y="6234605"/>
                  <a:pt x="1485745" y="6236308"/>
                  <a:pt x="1485745" y="6236308"/>
                </a:cubicBezTo>
                <a:lnTo>
                  <a:pt x="1485497" y="6236275"/>
                </a:lnTo>
                <a:cubicBezTo>
                  <a:pt x="1485897" y="6246756"/>
                  <a:pt x="1485767" y="6257410"/>
                  <a:pt x="1492986" y="6269752"/>
                </a:cubicBezTo>
                <a:cubicBezTo>
                  <a:pt x="1494849" y="6261264"/>
                  <a:pt x="1496154" y="6255129"/>
                  <a:pt x="1495444" y="6248973"/>
                </a:cubicBezTo>
                <a:cubicBezTo>
                  <a:pt x="1494701" y="6243052"/>
                  <a:pt x="1494456" y="6237198"/>
                  <a:pt x="1493715" y="6231284"/>
                </a:cubicBezTo>
                <a:close/>
                <a:moveTo>
                  <a:pt x="1573665" y="6225457"/>
                </a:moveTo>
                <a:lnTo>
                  <a:pt x="1573666" y="6225457"/>
                </a:lnTo>
                <a:lnTo>
                  <a:pt x="1573634" y="6225695"/>
                </a:lnTo>
                <a:cubicBezTo>
                  <a:pt x="1573387" y="6225662"/>
                  <a:pt x="1573387" y="6225662"/>
                  <a:pt x="1573387" y="6225662"/>
                </a:cubicBezTo>
                <a:cubicBezTo>
                  <a:pt x="1573665" y="6225457"/>
                  <a:pt x="1573665" y="6225457"/>
                  <a:pt x="1573665" y="6225457"/>
                </a:cubicBezTo>
                <a:close/>
                <a:moveTo>
                  <a:pt x="1573697" y="6225216"/>
                </a:moveTo>
                <a:lnTo>
                  <a:pt x="1573707" y="6225322"/>
                </a:lnTo>
                <a:lnTo>
                  <a:pt x="1573666" y="6225457"/>
                </a:lnTo>
                <a:close/>
                <a:moveTo>
                  <a:pt x="1472795" y="6221520"/>
                </a:moveTo>
                <a:cubicBezTo>
                  <a:pt x="1472914" y="6226386"/>
                  <a:pt x="1473315" y="6231048"/>
                  <a:pt x="1473469" y="6235677"/>
                </a:cubicBezTo>
                <a:cubicBezTo>
                  <a:pt x="1474990" y="6235631"/>
                  <a:pt x="1476507" y="6235587"/>
                  <a:pt x="1478059" y="6235305"/>
                </a:cubicBezTo>
                <a:cubicBezTo>
                  <a:pt x="1477932" y="6234319"/>
                  <a:pt x="1478088" y="6233124"/>
                  <a:pt x="1478213" y="6232171"/>
                </a:cubicBezTo>
                <a:cubicBezTo>
                  <a:pt x="1476138" y="6228748"/>
                  <a:pt x="1474559" y="6225389"/>
                  <a:pt x="1473010" y="6221793"/>
                </a:cubicBezTo>
                <a:close/>
                <a:moveTo>
                  <a:pt x="1411017" y="6207886"/>
                </a:moveTo>
                <a:cubicBezTo>
                  <a:pt x="1406925" y="6208323"/>
                  <a:pt x="1404102" y="6210622"/>
                  <a:pt x="1408501" y="6215564"/>
                </a:cubicBezTo>
                <a:lnTo>
                  <a:pt x="1408781" y="6215356"/>
                </a:lnTo>
                <a:cubicBezTo>
                  <a:pt x="1413493" y="6214032"/>
                  <a:pt x="1418205" y="6212704"/>
                  <a:pt x="1426827" y="6210433"/>
                </a:cubicBezTo>
                <a:cubicBezTo>
                  <a:pt x="1419200" y="6208953"/>
                  <a:pt x="1415079" y="6207689"/>
                  <a:pt x="1411017" y="6207886"/>
                </a:cubicBezTo>
                <a:close/>
                <a:moveTo>
                  <a:pt x="1489819" y="6207005"/>
                </a:moveTo>
                <a:cubicBezTo>
                  <a:pt x="1489538" y="6207210"/>
                  <a:pt x="1488980" y="6207624"/>
                  <a:pt x="1488702" y="6207830"/>
                </a:cubicBezTo>
                <a:lnTo>
                  <a:pt x="1489966" y="6208965"/>
                </a:lnTo>
                <a:lnTo>
                  <a:pt x="1490003" y="6209453"/>
                </a:lnTo>
                <a:lnTo>
                  <a:pt x="1490281" y="6209248"/>
                </a:lnTo>
                <a:lnTo>
                  <a:pt x="1489966" y="6208965"/>
                </a:lnTo>
                <a:close/>
                <a:moveTo>
                  <a:pt x="1340126" y="6190638"/>
                </a:moveTo>
                <a:cubicBezTo>
                  <a:pt x="1340187" y="6194044"/>
                  <a:pt x="1340031" y="6197177"/>
                  <a:pt x="1340122" y="6200340"/>
                </a:cubicBezTo>
                <a:cubicBezTo>
                  <a:pt x="1340338" y="6204493"/>
                  <a:pt x="1340337" y="6208372"/>
                  <a:pt x="1340550" y="6212525"/>
                </a:cubicBezTo>
                <a:cubicBezTo>
                  <a:pt x="1343308" y="6220402"/>
                  <a:pt x="1345287" y="6228422"/>
                  <a:pt x="1346183" y="6237028"/>
                </a:cubicBezTo>
                <a:cubicBezTo>
                  <a:pt x="1346369" y="6237538"/>
                  <a:pt x="1346338" y="6237777"/>
                  <a:pt x="1346307" y="6238014"/>
                </a:cubicBezTo>
                <a:cubicBezTo>
                  <a:pt x="1346402" y="6233418"/>
                  <a:pt x="1346464" y="6229062"/>
                  <a:pt x="1346561" y="6224464"/>
                </a:cubicBezTo>
                <a:cubicBezTo>
                  <a:pt x="1346815" y="6212855"/>
                  <a:pt x="1345485" y="6201768"/>
                  <a:pt x="1340126" y="6190638"/>
                </a:cubicBezTo>
                <a:close/>
                <a:moveTo>
                  <a:pt x="1490711" y="6144058"/>
                </a:moveTo>
                <a:cubicBezTo>
                  <a:pt x="1490805" y="6145282"/>
                  <a:pt x="1490898" y="6146507"/>
                  <a:pt x="1490742" y="6147702"/>
                </a:cubicBezTo>
                <a:cubicBezTo>
                  <a:pt x="1490584" y="6150834"/>
                  <a:pt x="1490894" y="6154268"/>
                  <a:pt x="1491481" y="6157499"/>
                </a:cubicBezTo>
                <a:cubicBezTo>
                  <a:pt x="1492007" y="6157323"/>
                  <a:pt x="1492288" y="6157119"/>
                  <a:pt x="1492783" y="6157183"/>
                </a:cubicBezTo>
                <a:cubicBezTo>
                  <a:pt x="1494861" y="6156726"/>
                  <a:pt x="1496814" y="6155284"/>
                  <a:pt x="1499078" y="6153395"/>
                </a:cubicBezTo>
                <a:cubicBezTo>
                  <a:pt x="1496444" y="6150386"/>
                  <a:pt x="1493811" y="6147373"/>
                  <a:pt x="1490711" y="6144058"/>
                </a:cubicBezTo>
                <a:close/>
                <a:moveTo>
                  <a:pt x="1483336" y="6140670"/>
                </a:moveTo>
                <a:cubicBezTo>
                  <a:pt x="1483395" y="6144074"/>
                  <a:pt x="1483239" y="6147206"/>
                  <a:pt x="1483331" y="6150374"/>
                </a:cubicBezTo>
                <a:cubicBezTo>
                  <a:pt x="1483422" y="6153538"/>
                  <a:pt x="1483515" y="6156703"/>
                  <a:pt x="1483606" y="6159866"/>
                </a:cubicBezTo>
                <a:cubicBezTo>
                  <a:pt x="1483824" y="6160137"/>
                  <a:pt x="1484319" y="6160202"/>
                  <a:pt x="1484319" y="6160202"/>
                </a:cubicBezTo>
                <a:cubicBezTo>
                  <a:pt x="1485714" y="6159171"/>
                  <a:pt x="1487296" y="6158649"/>
                  <a:pt x="1488876" y="6158130"/>
                </a:cubicBezTo>
                <a:cubicBezTo>
                  <a:pt x="1487889" y="6152180"/>
                  <a:pt x="1486123" y="6146370"/>
                  <a:pt x="1483336" y="6140670"/>
                </a:cubicBezTo>
                <a:close/>
                <a:moveTo>
                  <a:pt x="1490623" y="6133132"/>
                </a:moveTo>
                <a:cubicBezTo>
                  <a:pt x="1490623" y="6133132"/>
                  <a:pt x="1490561" y="6133608"/>
                  <a:pt x="1490561" y="6133608"/>
                </a:cubicBezTo>
                <a:lnTo>
                  <a:pt x="1491221" y="6133694"/>
                </a:lnTo>
                <a:lnTo>
                  <a:pt x="1491522" y="6133978"/>
                </a:lnTo>
                <a:lnTo>
                  <a:pt x="1491553" y="6133738"/>
                </a:lnTo>
                <a:lnTo>
                  <a:pt x="1491221" y="6133694"/>
                </a:lnTo>
                <a:close/>
                <a:moveTo>
                  <a:pt x="1487319" y="6102384"/>
                </a:moveTo>
                <a:cubicBezTo>
                  <a:pt x="1487782" y="6104627"/>
                  <a:pt x="1488215" y="6107107"/>
                  <a:pt x="1488433" y="6109321"/>
                </a:cubicBezTo>
                <a:lnTo>
                  <a:pt x="1488680" y="6109353"/>
                </a:lnTo>
                <a:cubicBezTo>
                  <a:pt x="1488215" y="6107107"/>
                  <a:pt x="1487782" y="6104627"/>
                  <a:pt x="1487319" y="6102384"/>
                </a:cubicBezTo>
                <a:close/>
                <a:moveTo>
                  <a:pt x="1329822" y="6072388"/>
                </a:moveTo>
                <a:cubicBezTo>
                  <a:pt x="1329262" y="6072799"/>
                  <a:pt x="1328704" y="6073213"/>
                  <a:pt x="1328146" y="6073623"/>
                </a:cubicBezTo>
                <a:cubicBezTo>
                  <a:pt x="1328764" y="6076615"/>
                  <a:pt x="1329353" y="6079844"/>
                  <a:pt x="1329723" y="6082803"/>
                </a:cubicBezTo>
                <a:cubicBezTo>
                  <a:pt x="1330189" y="6079228"/>
                  <a:pt x="1330128" y="6075823"/>
                  <a:pt x="1330068" y="6072420"/>
                </a:cubicBezTo>
                <a:close/>
                <a:moveTo>
                  <a:pt x="1512720" y="6068100"/>
                </a:moveTo>
                <a:cubicBezTo>
                  <a:pt x="1512194" y="6068273"/>
                  <a:pt x="1511667" y="6068446"/>
                  <a:pt x="1511141" y="6068620"/>
                </a:cubicBezTo>
                <a:cubicBezTo>
                  <a:pt x="1509558" y="6069141"/>
                  <a:pt x="1508473" y="6069729"/>
                  <a:pt x="1507607" y="6070585"/>
                </a:cubicBezTo>
                <a:cubicBezTo>
                  <a:pt x="1508100" y="6076471"/>
                  <a:pt x="1507849" y="6084200"/>
                  <a:pt x="1507720" y="6094856"/>
                </a:cubicBezTo>
                <a:cubicBezTo>
                  <a:pt x="1504837" y="6095692"/>
                  <a:pt x="1501426" y="6096700"/>
                  <a:pt x="1498017" y="6097714"/>
                </a:cubicBezTo>
                <a:cubicBezTo>
                  <a:pt x="1496185" y="6104023"/>
                  <a:pt x="1496862" y="6110420"/>
                  <a:pt x="1499278" y="6117040"/>
                </a:cubicBezTo>
                <a:cubicBezTo>
                  <a:pt x="1501259" y="6123119"/>
                  <a:pt x="1502528" y="6128864"/>
                  <a:pt x="1498061" y="6134102"/>
                </a:cubicBezTo>
                <a:cubicBezTo>
                  <a:pt x="1499304" y="6134264"/>
                  <a:pt x="1500296" y="6134394"/>
                  <a:pt x="1501287" y="6134523"/>
                </a:cubicBezTo>
                <a:cubicBezTo>
                  <a:pt x="1502219" y="6129307"/>
                  <a:pt x="1503429" y="6123885"/>
                  <a:pt x="1504425" y="6118193"/>
                </a:cubicBezTo>
                <a:cubicBezTo>
                  <a:pt x="1507462" y="6120046"/>
                  <a:pt x="1511831" y="6121344"/>
                  <a:pt x="1511895" y="6122807"/>
                </a:cubicBezTo>
                <a:cubicBezTo>
                  <a:pt x="1513098" y="6132907"/>
                  <a:pt x="1514304" y="6143012"/>
                  <a:pt x="1515507" y="6153112"/>
                </a:cubicBezTo>
                <a:cubicBezTo>
                  <a:pt x="1515167" y="6149916"/>
                  <a:pt x="1514798" y="6146955"/>
                  <a:pt x="1514459" y="6143758"/>
                </a:cubicBezTo>
                <a:cubicBezTo>
                  <a:pt x="1514273" y="6143250"/>
                  <a:pt x="1515109" y="6142630"/>
                  <a:pt x="1515202" y="6141914"/>
                </a:cubicBezTo>
                <a:cubicBezTo>
                  <a:pt x="1520960" y="6159645"/>
                  <a:pt x="1521487" y="6165292"/>
                  <a:pt x="1519465" y="6178853"/>
                </a:cubicBezTo>
                <a:cubicBezTo>
                  <a:pt x="1519248" y="6178581"/>
                  <a:pt x="1518785" y="6178278"/>
                  <a:pt x="1518566" y="6178007"/>
                </a:cubicBezTo>
                <a:cubicBezTo>
                  <a:pt x="1519741" y="6188350"/>
                  <a:pt x="1521133" y="6198959"/>
                  <a:pt x="1522305" y="6209301"/>
                </a:cubicBezTo>
                <a:cubicBezTo>
                  <a:pt x="1523669" y="6206567"/>
                  <a:pt x="1525873" y="6203216"/>
                  <a:pt x="1529564" y="6198117"/>
                </a:cubicBezTo>
                <a:cubicBezTo>
                  <a:pt x="1534675" y="6211154"/>
                  <a:pt x="1534728" y="6224261"/>
                  <a:pt x="1536118" y="6236812"/>
                </a:cubicBezTo>
                <a:cubicBezTo>
                  <a:pt x="1536368" y="6238783"/>
                  <a:pt x="1535994" y="6241645"/>
                  <a:pt x="1534569" y="6242916"/>
                </a:cubicBezTo>
                <a:cubicBezTo>
                  <a:pt x="1526691" y="6251103"/>
                  <a:pt x="1528793" y="6260113"/>
                  <a:pt x="1532418" y="6269073"/>
                </a:cubicBezTo>
                <a:cubicBezTo>
                  <a:pt x="1537002" y="6280342"/>
                  <a:pt x="1534485" y="6291899"/>
                  <a:pt x="1534264" y="6303270"/>
                </a:cubicBezTo>
                <a:cubicBezTo>
                  <a:pt x="1534076" y="6304702"/>
                  <a:pt x="1533891" y="6306132"/>
                  <a:pt x="1533704" y="6307564"/>
                </a:cubicBezTo>
                <a:cubicBezTo>
                  <a:pt x="1533890" y="6310013"/>
                  <a:pt x="1534321" y="6312496"/>
                  <a:pt x="1534508" y="6314944"/>
                </a:cubicBezTo>
                <a:cubicBezTo>
                  <a:pt x="1536855" y="6335624"/>
                  <a:pt x="1539234" y="6356067"/>
                  <a:pt x="1541613" y="6376508"/>
                </a:cubicBezTo>
                <a:cubicBezTo>
                  <a:pt x="1542667" y="6376160"/>
                  <a:pt x="1543474" y="6375778"/>
                  <a:pt x="1544215" y="6375876"/>
                </a:cubicBezTo>
                <a:cubicBezTo>
                  <a:pt x="1544835" y="6376929"/>
                  <a:pt x="1546200" y="6378077"/>
                  <a:pt x="1546076" y="6379032"/>
                </a:cubicBezTo>
                <a:cubicBezTo>
                  <a:pt x="1545174" y="6385946"/>
                  <a:pt x="1544304" y="6392625"/>
                  <a:pt x="1544206" y="6399162"/>
                </a:cubicBezTo>
                <a:cubicBezTo>
                  <a:pt x="1545287" y="6410217"/>
                  <a:pt x="1546648" y="6421067"/>
                  <a:pt x="1547759" y="6431884"/>
                </a:cubicBezTo>
                <a:cubicBezTo>
                  <a:pt x="1548285" y="6433651"/>
                  <a:pt x="1548844" y="6435178"/>
                  <a:pt x="1549368" y="6436944"/>
                </a:cubicBezTo>
                <a:cubicBezTo>
                  <a:pt x="1552278" y="6445569"/>
                  <a:pt x="1551748" y="6455446"/>
                  <a:pt x="1551558" y="6464638"/>
                </a:cubicBezTo>
                <a:cubicBezTo>
                  <a:pt x="1551401" y="6471650"/>
                  <a:pt x="1551244" y="6478666"/>
                  <a:pt x="1550836" y="6485646"/>
                </a:cubicBezTo>
                <a:cubicBezTo>
                  <a:pt x="1554801" y="6495864"/>
                  <a:pt x="1558114" y="6505270"/>
                  <a:pt x="1558886" y="6514831"/>
                </a:cubicBezTo>
                <a:cubicBezTo>
                  <a:pt x="1559409" y="6520478"/>
                  <a:pt x="1559718" y="6525853"/>
                  <a:pt x="1560273" y="6531263"/>
                </a:cubicBezTo>
                <a:cubicBezTo>
                  <a:pt x="1561421" y="6532139"/>
                  <a:pt x="1563093" y="6532842"/>
                  <a:pt x="1565390" y="6532656"/>
                </a:cubicBezTo>
                <a:cubicBezTo>
                  <a:pt x="1566131" y="6532753"/>
                  <a:pt x="1568269" y="6537640"/>
                  <a:pt x="1567927" y="6540265"/>
                </a:cubicBezTo>
                <a:cubicBezTo>
                  <a:pt x="1567643" y="6550172"/>
                  <a:pt x="1566584" y="6560222"/>
                  <a:pt x="1565807" y="6570064"/>
                </a:cubicBezTo>
                <a:cubicBezTo>
                  <a:pt x="1569123" y="6569769"/>
                  <a:pt x="1572472" y="6569235"/>
                  <a:pt x="1576813" y="6568830"/>
                </a:cubicBezTo>
                <a:cubicBezTo>
                  <a:pt x="1575883" y="6564345"/>
                  <a:pt x="1575481" y="6561624"/>
                  <a:pt x="1574800" y="6559108"/>
                </a:cubicBezTo>
                <a:cubicBezTo>
                  <a:pt x="1570715" y="6544022"/>
                  <a:pt x="1571094" y="6529519"/>
                  <a:pt x="1580429" y="6515941"/>
                </a:cubicBezTo>
                <a:cubicBezTo>
                  <a:pt x="1582321" y="6513036"/>
                  <a:pt x="1584275" y="6509651"/>
                  <a:pt x="1585207" y="6506378"/>
                </a:cubicBezTo>
                <a:cubicBezTo>
                  <a:pt x="1586699" y="6500752"/>
                  <a:pt x="1583629" y="6497197"/>
                  <a:pt x="1574550" y="6493347"/>
                </a:cubicBezTo>
                <a:cubicBezTo>
                  <a:pt x="1569959" y="6499539"/>
                  <a:pt x="1573301" y="6508707"/>
                  <a:pt x="1566820" y="6515866"/>
                </a:cubicBezTo>
                <a:cubicBezTo>
                  <a:pt x="1565396" y="6513254"/>
                  <a:pt x="1563351" y="6511532"/>
                  <a:pt x="1563568" y="6509862"/>
                </a:cubicBezTo>
                <a:cubicBezTo>
                  <a:pt x="1564567" y="6490588"/>
                  <a:pt x="1565816" y="6471348"/>
                  <a:pt x="1567311" y="6452138"/>
                </a:cubicBezTo>
                <a:cubicBezTo>
                  <a:pt x="1567404" y="6451422"/>
                  <a:pt x="1569513" y="6450728"/>
                  <a:pt x="1570907" y="6449696"/>
                </a:cubicBezTo>
                <a:cubicBezTo>
                  <a:pt x="1576921" y="6453877"/>
                  <a:pt x="1571494" y="6458747"/>
                  <a:pt x="1571926" y="6463171"/>
                </a:cubicBezTo>
                <a:cubicBezTo>
                  <a:pt x="1572295" y="6468070"/>
                  <a:pt x="1572140" y="6473142"/>
                  <a:pt x="1572353" y="6477296"/>
                </a:cubicBezTo>
                <a:cubicBezTo>
                  <a:pt x="1577776" y="6482125"/>
                  <a:pt x="1581959" y="6486793"/>
                  <a:pt x="1587013" y="6490604"/>
                </a:cubicBezTo>
                <a:cubicBezTo>
                  <a:pt x="1588622" y="6491785"/>
                  <a:pt x="1589709" y="6493138"/>
                  <a:pt x="1590264" y="6494668"/>
                </a:cubicBezTo>
                <a:cubicBezTo>
                  <a:pt x="1590019" y="6488814"/>
                  <a:pt x="1590022" y="6482994"/>
                  <a:pt x="1590025" y="6477173"/>
                </a:cubicBezTo>
                <a:cubicBezTo>
                  <a:pt x="1590128" y="6453173"/>
                  <a:pt x="1592091" y="6428446"/>
                  <a:pt x="1582860" y="6404443"/>
                </a:cubicBezTo>
                <a:cubicBezTo>
                  <a:pt x="1581531" y="6401117"/>
                  <a:pt x="1582338" y="6396856"/>
                  <a:pt x="1582836" y="6393040"/>
                </a:cubicBezTo>
                <a:cubicBezTo>
                  <a:pt x="1583179" y="6388478"/>
                  <a:pt x="1591644" y="6385456"/>
                  <a:pt x="1595980" y="6388932"/>
                </a:cubicBezTo>
                <a:cubicBezTo>
                  <a:pt x="1597129" y="6389811"/>
                  <a:pt x="1598491" y="6390958"/>
                  <a:pt x="1599856" y="6392107"/>
                </a:cubicBezTo>
                <a:cubicBezTo>
                  <a:pt x="1599980" y="6391152"/>
                  <a:pt x="1600073" y="6390437"/>
                  <a:pt x="1600198" y="6389482"/>
                </a:cubicBezTo>
                <a:cubicBezTo>
                  <a:pt x="1601596" y="6376810"/>
                  <a:pt x="1599029" y="6363622"/>
                  <a:pt x="1597670" y="6350832"/>
                </a:cubicBezTo>
                <a:cubicBezTo>
                  <a:pt x="1596404" y="6339265"/>
                  <a:pt x="1594579" y="6328114"/>
                  <a:pt x="1593034" y="6316754"/>
                </a:cubicBezTo>
                <a:cubicBezTo>
                  <a:pt x="1593034" y="6316754"/>
                  <a:pt x="1592972" y="6317232"/>
                  <a:pt x="1592972" y="6317232"/>
                </a:cubicBezTo>
                <a:cubicBezTo>
                  <a:pt x="1583398" y="6309434"/>
                  <a:pt x="1581817" y="6308014"/>
                  <a:pt x="1583001" y="6291190"/>
                </a:cubicBezTo>
                <a:cubicBezTo>
                  <a:pt x="1580958" y="6284618"/>
                  <a:pt x="1579309" y="6276944"/>
                  <a:pt x="1577833" y="6266505"/>
                </a:cubicBezTo>
                <a:lnTo>
                  <a:pt x="1573707" y="6225322"/>
                </a:lnTo>
                <a:lnTo>
                  <a:pt x="1575404" y="6219862"/>
                </a:lnTo>
                <a:cubicBezTo>
                  <a:pt x="1573733" y="6209456"/>
                  <a:pt x="1573087" y="6198942"/>
                  <a:pt x="1572688" y="6188461"/>
                </a:cubicBezTo>
                <a:cubicBezTo>
                  <a:pt x="1572099" y="6185230"/>
                  <a:pt x="1571512" y="6182001"/>
                  <a:pt x="1570956" y="6178531"/>
                </a:cubicBezTo>
                <a:cubicBezTo>
                  <a:pt x="1568786" y="6181646"/>
                  <a:pt x="1567515" y="6183663"/>
                  <a:pt x="1565373" y="6186538"/>
                </a:cubicBezTo>
                <a:cubicBezTo>
                  <a:pt x="1561934" y="6181964"/>
                  <a:pt x="1559178" y="6177968"/>
                  <a:pt x="1556202" y="6173700"/>
                </a:cubicBezTo>
                <a:cubicBezTo>
                  <a:pt x="1550124" y="6175815"/>
                  <a:pt x="1553502" y="6180865"/>
                  <a:pt x="1552231" y="6184824"/>
                </a:cubicBezTo>
                <a:cubicBezTo>
                  <a:pt x="1551580" y="6184011"/>
                  <a:pt x="1550152" y="6183341"/>
                  <a:pt x="1550246" y="6182623"/>
                </a:cubicBezTo>
                <a:cubicBezTo>
                  <a:pt x="1548145" y="6169739"/>
                  <a:pt x="1545018" y="6156960"/>
                  <a:pt x="1543906" y="6144203"/>
                </a:cubicBezTo>
                <a:cubicBezTo>
                  <a:pt x="1542890" y="6132670"/>
                  <a:pt x="1540570" y="6121453"/>
                  <a:pt x="1538000" y="6110205"/>
                </a:cubicBezTo>
                <a:cubicBezTo>
                  <a:pt x="1528447" y="6123511"/>
                  <a:pt x="1530517" y="6138577"/>
                  <a:pt x="1532341" y="6153609"/>
                </a:cubicBezTo>
                <a:cubicBezTo>
                  <a:pt x="1533544" y="6163712"/>
                  <a:pt x="1533794" y="6163745"/>
                  <a:pt x="1528521" y="6173243"/>
                </a:cubicBezTo>
                <a:cubicBezTo>
                  <a:pt x="1520590" y="6158627"/>
                  <a:pt x="1517400" y="6148267"/>
                  <a:pt x="1516815" y="6137276"/>
                </a:cubicBezTo>
                <a:cubicBezTo>
                  <a:pt x="1515709" y="6118695"/>
                  <a:pt x="1514879" y="6099911"/>
                  <a:pt x="1513522" y="6081301"/>
                </a:cubicBezTo>
                <a:lnTo>
                  <a:pt x="1514360" y="6080682"/>
                </a:lnTo>
                <a:cubicBezTo>
                  <a:pt x="1513897" y="6076498"/>
                  <a:pt x="1513434" y="6072316"/>
                  <a:pt x="1512720" y="6068100"/>
                </a:cubicBezTo>
                <a:close/>
                <a:moveTo>
                  <a:pt x="1287895" y="6028356"/>
                </a:moveTo>
                <a:lnTo>
                  <a:pt x="1288667" y="6030155"/>
                </a:lnTo>
                <a:cubicBezTo>
                  <a:pt x="1288667" y="6030155"/>
                  <a:pt x="1289383" y="6028550"/>
                  <a:pt x="1289383" y="6028550"/>
                </a:cubicBezTo>
                <a:close/>
                <a:moveTo>
                  <a:pt x="1338320" y="5983994"/>
                </a:moveTo>
                <a:cubicBezTo>
                  <a:pt x="1337420" y="5985089"/>
                  <a:pt x="1336581" y="5985710"/>
                  <a:pt x="1336489" y="5986423"/>
                </a:cubicBezTo>
                <a:cubicBezTo>
                  <a:pt x="1337747" y="6017392"/>
                  <a:pt x="1338757" y="6048328"/>
                  <a:pt x="1340791" y="6079154"/>
                </a:cubicBezTo>
                <a:cubicBezTo>
                  <a:pt x="1342025" y="6096778"/>
                  <a:pt x="1343784" y="6114229"/>
                  <a:pt x="1340986" y="6131814"/>
                </a:cubicBezTo>
                <a:cubicBezTo>
                  <a:pt x="1341452" y="6132116"/>
                  <a:pt x="1341669" y="6132387"/>
                  <a:pt x="1341915" y="6132419"/>
                </a:cubicBezTo>
                <a:cubicBezTo>
                  <a:pt x="1341669" y="6132387"/>
                  <a:pt x="1341174" y="6132322"/>
                  <a:pt x="1340924" y="6132290"/>
                </a:cubicBezTo>
                <a:cubicBezTo>
                  <a:pt x="1340831" y="6133006"/>
                  <a:pt x="1340737" y="6133720"/>
                  <a:pt x="1340644" y="6134435"/>
                </a:cubicBezTo>
                <a:cubicBezTo>
                  <a:pt x="1340302" y="6137059"/>
                  <a:pt x="1340643" y="6140256"/>
                  <a:pt x="1341571" y="6142804"/>
                </a:cubicBezTo>
                <a:cubicBezTo>
                  <a:pt x="1342502" y="6145349"/>
                  <a:pt x="1343151" y="6148104"/>
                  <a:pt x="1343800" y="6150857"/>
                </a:cubicBezTo>
                <a:cubicBezTo>
                  <a:pt x="1347892" y="6148479"/>
                  <a:pt x="1350124" y="6150711"/>
                  <a:pt x="1350836" y="6152986"/>
                </a:cubicBezTo>
                <a:cubicBezTo>
                  <a:pt x="1352013" y="6157506"/>
                  <a:pt x="1351917" y="6162101"/>
                  <a:pt x="1352596" y="6166556"/>
                </a:cubicBezTo>
                <a:cubicBezTo>
                  <a:pt x="1351574" y="6166665"/>
                  <a:pt x="1350770" y="6167044"/>
                  <a:pt x="1349746" y="6167154"/>
                </a:cubicBezTo>
                <a:cubicBezTo>
                  <a:pt x="1348010" y="6163047"/>
                  <a:pt x="1346061" y="6158667"/>
                  <a:pt x="1344327" y="6154561"/>
                </a:cubicBezTo>
                <a:cubicBezTo>
                  <a:pt x="1347016" y="6168740"/>
                  <a:pt x="1347166" y="6183068"/>
                  <a:pt x="1347037" y="6197603"/>
                </a:cubicBezTo>
                <a:cubicBezTo>
                  <a:pt x="1346973" y="6203903"/>
                  <a:pt x="1347899" y="6212271"/>
                  <a:pt x="1351989" y="6215713"/>
                </a:cubicBezTo>
                <a:cubicBezTo>
                  <a:pt x="1357412" y="6220545"/>
                  <a:pt x="1359580" y="6225192"/>
                  <a:pt x="1361778" y="6231545"/>
                </a:cubicBezTo>
                <a:cubicBezTo>
                  <a:pt x="1364162" y="6238403"/>
                  <a:pt x="1366671" y="6244309"/>
                  <a:pt x="1364467" y="6251541"/>
                </a:cubicBezTo>
                <a:cubicBezTo>
                  <a:pt x="1363568" y="6254576"/>
                  <a:pt x="1364248" y="6259029"/>
                  <a:pt x="1365890" y="6261912"/>
                </a:cubicBezTo>
                <a:cubicBezTo>
                  <a:pt x="1371063" y="6270590"/>
                  <a:pt x="1369850" y="6279892"/>
                  <a:pt x="1370404" y="6289183"/>
                </a:cubicBezTo>
                <a:cubicBezTo>
                  <a:pt x="1371329" y="6301430"/>
                  <a:pt x="1373278" y="6313568"/>
                  <a:pt x="1374914" y="6326152"/>
                </a:cubicBezTo>
                <a:cubicBezTo>
                  <a:pt x="1378580" y="6309652"/>
                  <a:pt x="1375704" y="6293026"/>
                  <a:pt x="1375307" y="6276723"/>
                </a:cubicBezTo>
                <a:cubicBezTo>
                  <a:pt x="1375187" y="6264095"/>
                  <a:pt x="1374971" y="6263824"/>
                  <a:pt x="1384618" y="6249801"/>
                </a:cubicBezTo>
                <a:cubicBezTo>
                  <a:pt x="1384093" y="6246095"/>
                  <a:pt x="1383599" y="6242150"/>
                  <a:pt x="1384128" y="6238095"/>
                </a:cubicBezTo>
                <a:cubicBezTo>
                  <a:pt x="1384563" y="6234758"/>
                  <a:pt x="1385959" y="6231784"/>
                  <a:pt x="1387357" y="6226874"/>
                </a:cubicBezTo>
                <a:cubicBezTo>
                  <a:pt x="1390299" y="6229440"/>
                  <a:pt x="1392438" y="6230447"/>
                  <a:pt x="1392995" y="6231977"/>
                </a:cubicBezTo>
                <a:cubicBezTo>
                  <a:pt x="1396927" y="6242433"/>
                  <a:pt x="1393512" y="6255083"/>
                  <a:pt x="1403182" y="6264106"/>
                </a:cubicBezTo>
                <a:cubicBezTo>
                  <a:pt x="1404296" y="6265222"/>
                  <a:pt x="1403397" y="6268259"/>
                  <a:pt x="1403117" y="6270406"/>
                </a:cubicBezTo>
                <a:cubicBezTo>
                  <a:pt x="1402495" y="6275175"/>
                  <a:pt x="1401874" y="6279946"/>
                  <a:pt x="1401221" y="6284952"/>
                </a:cubicBezTo>
                <a:cubicBezTo>
                  <a:pt x="1396728" y="6278788"/>
                  <a:pt x="1392731" y="6272690"/>
                  <a:pt x="1389788" y="6266242"/>
                </a:cubicBezTo>
                <a:cubicBezTo>
                  <a:pt x="1390623" y="6273384"/>
                  <a:pt x="1391238" y="6280257"/>
                  <a:pt x="1391857" y="6287129"/>
                </a:cubicBezTo>
                <a:cubicBezTo>
                  <a:pt x="1392103" y="6289101"/>
                  <a:pt x="1391730" y="6291963"/>
                  <a:pt x="1390305" y="6293232"/>
                </a:cubicBezTo>
                <a:cubicBezTo>
                  <a:pt x="1382426" y="6301422"/>
                  <a:pt x="1384532" y="6310428"/>
                  <a:pt x="1388154" y="6319388"/>
                </a:cubicBezTo>
                <a:cubicBezTo>
                  <a:pt x="1392737" y="6330657"/>
                  <a:pt x="1390222" y="6342217"/>
                  <a:pt x="1390002" y="6353586"/>
                </a:cubicBezTo>
                <a:cubicBezTo>
                  <a:pt x="1389843" y="6358661"/>
                  <a:pt x="1388446" y="6363572"/>
                  <a:pt x="1389065" y="6368503"/>
                </a:cubicBezTo>
                <a:cubicBezTo>
                  <a:pt x="1391601" y="6387754"/>
                  <a:pt x="1394907" y="6406861"/>
                  <a:pt x="1389290" y="6424804"/>
                </a:cubicBezTo>
                <a:lnTo>
                  <a:pt x="1389568" y="6424598"/>
                </a:lnTo>
                <a:cubicBezTo>
                  <a:pt x="1393844" y="6430491"/>
                  <a:pt x="1396978" y="6425806"/>
                  <a:pt x="1400264" y="6425748"/>
                </a:cubicBezTo>
                <a:cubicBezTo>
                  <a:pt x="1400884" y="6426799"/>
                  <a:pt x="1402245" y="6427947"/>
                  <a:pt x="1402122" y="6428902"/>
                </a:cubicBezTo>
                <a:cubicBezTo>
                  <a:pt x="1399324" y="6448427"/>
                  <a:pt x="1398883" y="6467287"/>
                  <a:pt x="1405446" y="6486579"/>
                </a:cubicBezTo>
                <a:cubicBezTo>
                  <a:pt x="1408358" y="6495204"/>
                  <a:pt x="1407827" y="6505080"/>
                  <a:pt x="1407636" y="6514272"/>
                </a:cubicBezTo>
                <a:cubicBezTo>
                  <a:pt x="1407320" y="6532178"/>
                  <a:pt x="1406011" y="6549958"/>
                  <a:pt x="1405103" y="6568514"/>
                </a:cubicBezTo>
                <a:cubicBezTo>
                  <a:pt x="1406095" y="6568643"/>
                  <a:pt x="1406808" y="6568979"/>
                  <a:pt x="1407522" y="6569314"/>
                </a:cubicBezTo>
                <a:cubicBezTo>
                  <a:pt x="1406505" y="6553903"/>
                  <a:pt x="1407006" y="6538444"/>
                  <a:pt x="1410764" y="6523166"/>
                </a:cubicBezTo>
                <a:cubicBezTo>
                  <a:pt x="1410849" y="6539916"/>
                  <a:pt x="1410718" y="6556392"/>
                  <a:pt x="1410838" y="6572901"/>
                </a:cubicBezTo>
                <a:cubicBezTo>
                  <a:pt x="1412076" y="6575002"/>
                  <a:pt x="1413004" y="6577549"/>
                  <a:pt x="1414771" y="6579477"/>
                </a:cubicBezTo>
                <a:cubicBezTo>
                  <a:pt x="1415176" y="6578318"/>
                  <a:pt x="1415610" y="6576918"/>
                  <a:pt x="1415765" y="6575726"/>
                </a:cubicBezTo>
                <a:cubicBezTo>
                  <a:pt x="1418151" y="6578706"/>
                  <a:pt x="1419700" y="6580361"/>
                  <a:pt x="1420473" y="6582161"/>
                </a:cubicBezTo>
                <a:cubicBezTo>
                  <a:pt x="1420723" y="6582194"/>
                  <a:pt x="1421217" y="6582258"/>
                  <a:pt x="1421465" y="6582290"/>
                </a:cubicBezTo>
                <a:cubicBezTo>
                  <a:pt x="1422210" y="6582387"/>
                  <a:pt x="1424348" y="6587275"/>
                  <a:pt x="1424005" y="6589896"/>
                </a:cubicBezTo>
                <a:cubicBezTo>
                  <a:pt x="1424252" y="6591869"/>
                  <a:pt x="1424033" y="6593539"/>
                  <a:pt x="1423815" y="6595210"/>
                </a:cubicBezTo>
                <a:cubicBezTo>
                  <a:pt x="1424313" y="6595274"/>
                  <a:pt x="1424499" y="6595783"/>
                  <a:pt x="1424499" y="6595783"/>
                </a:cubicBezTo>
                <a:cubicBezTo>
                  <a:pt x="1424405" y="6596499"/>
                  <a:pt x="1423817" y="6597151"/>
                  <a:pt x="1423724" y="6597866"/>
                </a:cubicBezTo>
                <a:cubicBezTo>
                  <a:pt x="1423286" y="6605085"/>
                  <a:pt x="1422569" y="6612510"/>
                  <a:pt x="1422133" y="6619729"/>
                </a:cubicBezTo>
                <a:cubicBezTo>
                  <a:pt x="1423902" y="6619717"/>
                  <a:pt x="1425697" y="6619468"/>
                  <a:pt x="1427743" y="6619247"/>
                </a:cubicBezTo>
                <a:cubicBezTo>
                  <a:pt x="1428336" y="6612776"/>
                  <a:pt x="1428897" y="6606544"/>
                  <a:pt x="1429457" y="6600309"/>
                </a:cubicBezTo>
                <a:cubicBezTo>
                  <a:pt x="1428281" y="6591911"/>
                  <a:pt x="1428597" y="6583704"/>
                  <a:pt x="1431638" y="6575855"/>
                </a:cubicBezTo>
                <a:cubicBezTo>
                  <a:pt x="1431916" y="6571768"/>
                  <a:pt x="1432166" y="6567920"/>
                  <a:pt x="1432695" y="6563865"/>
                </a:cubicBezTo>
                <a:cubicBezTo>
                  <a:pt x="1430744" y="6557547"/>
                  <a:pt x="1431429" y="6550361"/>
                  <a:pt x="1431309" y="6543554"/>
                </a:cubicBezTo>
                <a:cubicBezTo>
                  <a:pt x="1426718" y="6549747"/>
                  <a:pt x="1430063" y="6558915"/>
                  <a:pt x="1423580" y="6566073"/>
                </a:cubicBezTo>
                <a:cubicBezTo>
                  <a:pt x="1422157" y="6563460"/>
                  <a:pt x="1420109" y="6561738"/>
                  <a:pt x="1420327" y="6560069"/>
                </a:cubicBezTo>
                <a:cubicBezTo>
                  <a:pt x="1421014" y="6547061"/>
                  <a:pt x="1421733" y="6533816"/>
                  <a:pt x="1422669" y="6520839"/>
                </a:cubicBezTo>
                <a:cubicBezTo>
                  <a:pt x="1421215" y="6512645"/>
                  <a:pt x="1419513" y="6504420"/>
                  <a:pt x="1418555" y="6496291"/>
                </a:cubicBezTo>
                <a:cubicBezTo>
                  <a:pt x="1417166" y="6485680"/>
                  <a:pt x="1417324" y="6474786"/>
                  <a:pt x="1415407" y="6464348"/>
                </a:cubicBezTo>
                <a:cubicBezTo>
                  <a:pt x="1413521" y="6453673"/>
                  <a:pt x="1411044" y="6443648"/>
                  <a:pt x="1412506" y="6432440"/>
                </a:cubicBezTo>
                <a:cubicBezTo>
                  <a:pt x="1413718" y="6423138"/>
                  <a:pt x="1410002" y="6412951"/>
                  <a:pt x="1407464" y="6403402"/>
                </a:cubicBezTo>
                <a:cubicBezTo>
                  <a:pt x="1404865" y="6394332"/>
                  <a:pt x="1403504" y="6385423"/>
                  <a:pt x="1402979" y="6375896"/>
                </a:cubicBezTo>
                <a:cubicBezTo>
                  <a:pt x="1402520" y="6363949"/>
                  <a:pt x="1402029" y="6352244"/>
                  <a:pt x="1400545" y="6340411"/>
                </a:cubicBezTo>
                <a:cubicBezTo>
                  <a:pt x="1399678" y="6339325"/>
                  <a:pt x="1398811" y="6338241"/>
                  <a:pt x="1397943" y="6337158"/>
                </a:cubicBezTo>
                <a:cubicBezTo>
                  <a:pt x="1398780" y="6336542"/>
                  <a:pt x="1399339" y="6336127"/>
                  <a:pt x="1399897" y="6335716"/>
                </a:cubicBezTo>
                <a:cubicBezTo>
                  <a:pt x="1398906" y="6329766"/>
                  <a:pt x="1397918" y="6323817"/>
                  <a:pt x="1396400" y="6318039"/>
                </a:cubicBezTo>
                <a:cubicBezTo>
                  <a:pt x="1394173" y="6309987"/>
                  <a:pt x="1395852" y="6300988"/>
                  <a:pt x="1396474" y="6292337"/>
                </a:cubicBezTo>
                <a:cubicBezTo>
                  <a:pt x="1396754" y="6290191"/>
                  <a:pt x="1399793" y="6288164"/>
                  <a:pt x="1401810" y="6286241"/>
                </a:cubicBezTo>
                <a:cubicBezTo>
                  <a:pt x="1405371" y="6291802"/>
                  <a:pt x="1406887" y="6297576"/>
                  <a:pt x="1406514" y="6304318"/>
                </a:cubicBezTo>
                <a:cubicBezTo>
                  <a:pt x="1406170" y="6308882"/>
                  <a:pt x="1408555" y="6313803"/>
                  <a:pt x="1410756" y="6318213"/>
                </a:cubicBezTo>
                <a:cubicBezTo>
                  <a:pt x="1411529" y="6320012"/>
                  <a:pt x="1415498" y="6320529"/>
                  <a:pt x="1420052" y="6322335"/>
                </a:cubicBezTo>
                <a:cubicBezTo>
                  <a:pt x="1418725" y="6311248"/>
                  <a:pt x="1418946" y="6301817"/>
                  <a:pt x="1416036" y="6293192"/>
                </a:cubicBezTo>
                <a:cubicBezTo>
                  <a:pt x="1411638" y="6280489"/>
                  <a:pt x="1409473" y="6268081"/>
                  <a:pt x="1412670" y="6255157"/>
                </a:cubicBezTo>
                <a:cubicBezTo>
                  <a:pt x="1413262" y="6252566"/>
                  <a:pt x="1413138" y="6249639"/>
                  <a:pt x="1413016" y="6246712"/>
                </a:cubicBezTo>
                <a:cubicBezTo>
                  <a:pt x="1412802" y="6240621"/>
                  <a:pt x="1409206" y="6239182"/>
                  <a:pt x="1399565" y="6241564"/>
                </a:cubicBezTo>
                <a:cubicBezTo>
                  <a:pt x="1396778" y="6228102"/>
                  <a:pt x="1394212" y="6214913"/>
                  <a:pt x="1390932" y="6197505"/>
                </a:cubicBezTo>
                <a:cubicBezTo>
                  <a:pt x="1391023" y="6202613"/>
                  <a:pt x="1391115" y="6203836"/>
                  <a:pt x="1390990" y="6204791"/>
                </a:cubicBezTo>
                <a:cubicBezTo>
                  <a:pt x="1390617" y="6207653"/>
                  <a:pt x="1390741" y="6210579"/>
                  <a:pt x="1389655" y="6213107"/>
                </a:cubicBezTo>
                <a:cubicBezTo>
                  <a:pt x="1389345" y="6213550"/>
                  <a:pt x="1389036" y="6213996"/>
                  <a:pt x="1388723" y="6214438"/>
                </a:cubicBezTo>
                <a:cubicBezTo>
                  <a:pt x="1388197" y="6216553"/>
                  <a:pt x="1386862" y="6219048"/>
                  <a:pt x="1384535" y="6223353"/>
                </a:cubicBezTo>
                <a:cubicBezTo>
                  <a:pt x="1382523" y="6219452"/>
                  <a:pt x="1380696" y="6216062"/>
                  <a:pt x="1379364" y="6212735"/>
                </a:cubicBezTo>
                <a:cubicBezTo>
                  <a:pt x="1379147" y="6212463"/>
                  <a:pt x="1378712" y="6211922"/>
                  <a:pt x="1378775" y="6211444"/>
                </a:cubicBezTo>
                <a:cubicBezTo>
                  <a:pt x="1374903" y="6202451"/>
                  <a:pt x="1373358" y="6194971"/>
                  <a:pt x="1372863" y="6187146"/>
                </a:cubicBezTo>
                <a:cubicBezTo>
                  <a:pt x="1372216" y="6176631"/>
                  <a:pt x="1371786" y="6166389"/>
                  <a:pt x="1371108" y="6156112"/>
                </a:cubicBezTo>
                <a:cubicBezTo>
                  <a:pt x="1364541" y="6148465"/>
                  <a:pt x="1363429" y="6139589"/>
                  <a:pt x="1361510" y="6131093"/>
                </a:cubicBezTo>
                <a:cubicBezTo>
                  <a:pt x="1358292" y="6117090"/>
                  <a:pt x="1357151" y="6102630"/>
                  <a:pt x="1354706" y="6088488"/>
                </a:cubicBezTo>
                <a:cubicBezTo>
                  <a:pt x="1354737" y="6088250"/>
                  <a:pt x="1354737" y="6088250"/>
                  <a:pt x="1354737" y="6088250"/>
                </a:cubicBezTo>
                <a:cubicBezTo>
                  <a:pt x="1354180" y="6088661"/>
                  <a:pt x="1352350" y="6089151"/>
                  <a:pt x="1350489" y="6089878"/>
                </a:cubicBezTo>
                <a:cubicBezTo>
                  <a:pt x="1350089" y="6087157"/>
                  <a:pt x="1349407" y="6084644"/>
                  <a:pt x="1349469" y="6082226"/>
                </a:cubicBezTo>
                <a:cubicBezTo>
                  <a:pt x="1349315" y="6081476"/>
                  <a:pt x="1351639" y="6081054"/>
                  <a:pt x="1352975" y="6080500"/>
                </a:cubicBezTo>
                <a:cubicBezTo>
                  <a:pt x="1353345" y="6081519"/>
                  <a:pt x="1353718" y="6082537"/>
                  <a:pt x="1354088" y="6083555"/>
                </a:cubicBezTo>
                <a:cubicBezTo>
                  <a:pt x="1350285" y="6062444"/>
                  <a:pt x="1346232" y="6041296"/>
                  <a:pt x="1342427" y="6020184"/>
                </a:cubicBezTo>
                <a:cubicBezTo>
                  <a:pt x="1340850" y="6011006"/>
                  <a:pt x="1339551" y="6001618"/>
                  <a:pt x="1338750" y="5992297"/>
                </a:cubicBezTo>
                <a:cubicBezTo>
                  <a:pt x="1338597" y="5989609"/>
                  <a:pt x="1338720" y="5986714"/>
                  <a:pt x="1338320" y="5983994"/>
                </a:cubicBezTo>
                <a:close/>
                <a:moveTo>
                  <a:pt x="1270225" y="5802178"/>
                </a:moveTo>
                <a:cubicBezTo>
                  <a:pt x="1271394" y="5820280"/>
                  <a:pt x="1272566" y="5838380"/>
                  <a:pt x="1274014" y="5856277"/>
                </a:cubicBezTo>
                <a:cubicBezTo>
                  <a:pt x="1276646" y="5865107"/>
                  <a:pt x="1279000" y="5874147"/>
                  <a:pt x="1276483" y="5883762"/>
                </a:cubicBezTo>
                <a:cubicBezTo>
                  <a:pt x="1276451" y="5884002"/>
                  <a:pt x="1276389" y="5884478"/>
                  <a:pt x="1276358" y="5884716"/>
                </a:cubicBezTo>
                <a:cubicBezTo>
                  <a:pt x="1276546" y="5885227"/>
                  <a:pt x="1276484" y="5885703"/>
                  <a:pt x="1276422" y="5886180"/>
                </a:cubicBezTo>
                <a:cubicBezTo>
                  <a:pt x="1289182" y="5910159"/>
                  <a:pt x="1278725" y="5938143"/>
                  <a:pt x="1290432" y="5962471"/>
                </a:cubicBezTo>
                <a:cubicBezTo>
                  <a:pt x="1293190" y="5968407"/>
                  <a:pt x="1294673" y="5976362"/>
                  <a:pt x="1290022" y="5983034"/>
                </a:cubicBezTo>
                <a:cubicBezTo>
                  <a:pt x="1286828" y="5982375"/>
                  <a:pt x="1284721" y="5981129"/>
                  <a:pt x="1283452" y="5979267"/>
                </a:cubicBezTo>
                <a:cubicBezTo>
                  <a:pt x="1283357" y="5981922"/>
                  <a:pt x="1283231" y="5984817"/>
                  <a:pt x="1283137" y="5987470"/>
                </a:cubicBezTo>
                <a:cubicBezTo>
                  <a:pt x="1283166" y="5993054"/>
                  <a:pt x="1282949" y="5998605"/>
                  <a:pt x="1282727" y="6004155"/>
                </a:cubicBezTo>
                <a:cubicBezTo>
                  <a:pt x="1283875" y="6006971"/>
                  <a:pt x="1285267" y="6009821"/>
                  <a:pt x="1287190" y="6012499"/>
                </a:cubicBezTo>
                <a:cubicBezTo>
                  <a:pt x="1289670" y="6010882"/>
                  <a:pt x="1292150" y="6009265"/>
                  <a:pt x="1294880" y="6007679"/>
                </a:cubicBezTo>
                <a:cubicBezTo>
                  <a:pt x="1295809" y="6008286"/>
                  <a:pt x="1297762" y="6008782"/>
                  <a:pt x="1298133" y="6009800"/>
                </a:cubicBezTo>
                <a:cubicBezTo>
                  <a:pt x="1302406" y="6021515"/>
                  <a:pt x="1301904" y="6035033"/>
                  <a:pt x="1314426" y="6043456"/>
                </a:cubicBezTo>
                <a:cubicBezTo>
                  <a:pt x="1317215" y="6045275"/>
                  <a:pt x="1318017" y="6050717"/>
                  <a:pt x="1318544" y="6054424"/>
                </a:cubicBezTo>
                <a:cubicBezTo>
                  <a:pt x="1319780" y="6062346"/>
                  <a:pt x="1321018" y="6070271"/>
                  <a:pt x="1321014" y="6078031"/>
                </a:cubicBezTo>
                <a:cubicBezTo>
                  <a:pt x="1321346" y="6100631"/>
                  <a:pt x="1324962" y="6123175"/>
                  <a:pt x="1323498" y="6146025"/>
                </a:cubicBezTo>
                <a:lnTo>
                  <a:pt x="1323560" y="6145549"/>
                </a:lnTo>
                <a:cubicBezTo>
                  <a:pt x="1322718" y="6155868"/>
                  <a:pt x="1324575" y="6166784"/>
                  <a:pt x="1327546" y="6176873"/>
                </a:cubicBezTo>
                <a:cubicBezTo>
                  <a:pt x="1327423" y="6175887"/>
                  <a:pt x="1327579" y="6174692"/>
                  <a:pt x="1327703" y="6173739"/>
                </a:cubicBezTo>
                <a:cubicBezTo>
                  <a:pt x="1328297" y="6161448"/>
                  <a:pt x="1320055" y="6149214"/>
                  <a:pt x="1326726" y="6136746"/>
                </a:cubicBezTo>
                <a:cubicBezTo>
                  <a:pt x="1325153" y="6113982"/>
                  <a:pt x="1323365" y="6090950"/>
                  <a:pt x="1322040" y="6068218"/>
                </a:cubicBezTo>
                <a:cubicBezTo>
                  <a:pt x="1321917" y="6067232"/>
                  <a:pt x="1323777" y="6066505"/>
                  <a:pt x="1326041" y="6064618"/>
                </a:cubicBezTo>
                <a:cubicBezTo>
                  <a:pt x="1326537" y="6066623"/>
                  <a:pt x="1327062" y="6068390"/>
                  <a:pt x="1327588" y="6070157"/>
                </a:cubicBezTo>
                <a:cubicBezTo>
                  <a:pt x="1328086" y="6070222"/>
                  <a:pt x="1328333" y="6070254"/>
                  <a:pt x="1328828" y="6070318"/>
                </a:cubicBezTo>
                <a:cubicBezTo>
                  <a:pt x="1329294" y="6070622"/>
                  <a:pt x="1329758" y="6070923"/>
                  <a:pt x="1329976" y="6071194"/>
                </a:cubicBezTo>
                <a:cubicBezTo>
                  <a:pt x="1329518" y="6053428"/>
                  <a:pt x="1324999" y="6035862"/>
                  <a:pt x="1326586" y="6017877"/>
                </a:cubicBezTo>
                <a:cubicBezTo>
                  <a:pt x="1324200" y="6018778"/>
                  <a:pt x="1322091" y="6019474"/>
                  <a:pt x="1319458" y="6020343"/>
                </a:cubicBezTo>
                <a:cubicBezTo>
                  <a:pt x="1319056" y="6011802"/>
                  <a:pt x="1318378" y="6003466"/>
                  <a:pt x="1317948" y="5995165"/>
                </a:cubicBezTo>
                <a:cubicBezTo>
                  <a:pt x="1317484" y="5987098"/>
                  <a:pt x="1317241" y="5979305"/>
                  <a:pt x="1316749" y="5971479"/>
                </a:cubicBezTo>
                <a:cubicBezTo>
                  <a:pt x="1316380" y="5962700"/>
                  <a:pt x="1315732" y="5954127"/>
                  <a:pt x="1315086" y="5945553"/>
                </a:cubicBezTo>
                <a:cubicBezTo>
                  <a:pt x="1314438" y="5936979"/>
                  <a:pt x="1313295" y="5928340"/>
                  <a:pt x="1312399" y="5919736"/>
                </a:cubicBezTo>
                <a:cubicBezTo>
                  <a:pt x="1311410" y="5911845"/>
                  <a:pt x="1311445" y="5903844"/>
                  <a:pt x="1309151" y="5896269"/>
                </a:cubicBezTo>
                <a:cubicBezTo>
                  <a:pt x="1306862" y="5888693"/>
                  <a:pt x="1312413" y="5878989"/>
                  <a:pt x="1302249" y="5871843"/>
                </a:cubicBezTo>
                <a:cubicBezTo>
                  <a:pt x="1301318" y="5875116"/>
                  <a:pt x="1300326" y="5876927"/>
                  <a:pt x="1300355" y="5878629"/>
                </a:cubicBezTo>
                <a:cubicBezTo>
                  <a:pt x="1303162" y="5915135"/>
                  <a:pt x="1306217" y="5951672"/>
                  <a:pt x="1309519" y="5988244"/>
                </a:cubicBezTo>
                <a:cubicBezTo>
                  <a:pt x="1310444" y="6000492"/>
                  <a:pt x="1312143" y="6012597"/>
                  <a:pt x="1313069" y="6024846"/>
                </a:cubicBezTo>
                <a:cubicBezTo>
                  <a:pt x="1313253" y="6027294"/>
                  <a:pt x="1311455" y="6029487"/>
                  <a:pt x="1309469" y="6035048"/>
                </a:cubicBezTo>
                <a:cubicBezTo>
                  <a:pt x="1306650" y="6029586"/>
                  <a:pt x="1304667" y="6027390"/>
                  <a:pt x="1304481" y="6024938"/>
                </a:cubicBezTo>
                <a:cubicBezTo>
                  <a:pt x="1302689" y="6011609"/>
                  <a:pt x="1301207" y="5997831"/>
                  <a:pt x="1299941" y="5984327"/>
                </a:cubicBezTo>
                <a:cubicBezTo>
                  <a:pt x="1298519" y="5970072"/>
                  <a:pt x="1298652" y="5955537"/>
                  <a:pt x="1296704" y="5941458"/>
                </a:cubicBezTo>
                <a:cubicBezTo>
                  <a:pt x="1292622" y="5912789"/>
                  <a:pt x="1290031" y="5884316"/>
                  <a:pt x="1291281" y="5855374"/>
                </a:cubicBezTo>
                <a:cubicBezTo>
                  <a:pt x="1291750" y="5844034"/>
                  <a:pt x="1289989" y="5832406"/>
                  <a:pt x="1288691" y="5821080"/>
                </a:cubicBezTo>
                <a:cubicBezTo>
                  <a:pt x="1288475" y="5820809"/>
                  <a:pt x="1288537" y="5820330"/>
                  <a:pt x="1288568" y="5820093"/>
                </a:cubicBezTo>
                <a:cubicBezTo>
                  <a:pt x="1288104" y="5819790"/>
                  <a:pt x="1287669" y="5819247"/>
                  <a:pt x="1287175" y="5819183"/>
                </a:cubicBezTo>
                <a:cubicBezTo>
                  <a:pt x="1285779" y="5818275"/>
                  <a:pt x="1284386" y="5817366"/>
                  <a:pt x="1283299" y="5816011"/>
                </a:cubicBezTo>
                <a:cubicBezTo>
                  <a:pt x="1282526" y="5816152"/>
                  <a:pt x="1281720" y="5816531"/>
                  <a:pt x="1280665" y="5816880"/>
                </a:cubicBezTo>
                <a:cubicBezTo>
                  <a:pt x="1279765" y="5821855"/>
                  <a:pt x="1278583" y="5827039"/>
                  <a:pt x="1277930" y="5832046"/>
                </a:cubicBezTo>
                <a:cubicBezTo>
                  <a:pt x="1277186" y="5831949"/>
                  <a:pt x="1276444" y="5831852"/>
                  <a:pt x="1275699" y="5831755"/>
                </a:cubicBezTo>
                <a:cubicBezTo>
                  <a:pt x="1273720" y="5821795"/>
                  <a:pt x="1271957" y="5812106"/>
                  <a:pt x="1270225" y="5802178"/>
                </a:cubicBezTo>
                <a:close/>
                <a:moveTo>
                  <a:pt x="1263045" y="5772136"/>
                </a:moveTo>
                <a:cubicBezTo>
                  <a:pt x="1265584" y="5777804"/>
                  <a:pt x="1266574" y="5783755"/>
                  <a:pt x="1268991" y="5784553"/>
                </a:cubicBezTo>
                <a:cubicBezTo>
                  <a:pt x="1275315" y="5786348"/>
                  <a:pt x="1277948" y="5789361"/>
                  <a:pt x="1277171" y="5795322"/>
                </a:cubicBezTo>
                <a:cubicBezTo>
                  <a:pt x="1276984" y="5796754"/>
                  <a:pt x="1276518" y="5798390"/>
                  <a:pt x="1277138" y="5799440"/>
                </a:cubicBezTo>
                <a:cubicBezTo>
                  <a:pt x="1278005" y="5800524"/>
                  <a:pt x="1279709" y="5802931"/>
                  <a:pt x="1279709" y="5802931"/>
                </a:cubicBezTo>
                <a:cubicBezTo>
                  <a:pt x="1280083" y="5800068"/>
                  <a:pt x="1280984" y="5797031"/>
                  <a:pt x="1282161" y="5793790"/>
                </a:cubicBezTo>
                <a:cubicBezTo>
                  <a:pt x="1283648" y="5797864"/>
                  <a:pt x="1284980" y="5801192"/>
                  <a:pt x="1285877" y="5803977"/>
                </a:cubicBezTo>
                <a:cubicBezTo>
                  <a:pt x="1286809" y="5802642"/>
                  <a:pt x="1287057" y="5800734"/>
                  <a:pt x="1286530" y="5798969"/>
                </a:cubicBezTo>
                <a:cubicBezTo>
                  <a:pt x="1284768" y="5791220"/>
                  <a:pt x="1282726" y="5783675"/>
                  <a:pt x="1280432" y="5776101"/>
                </a:cubicBezTo>
                <a:cubicBezTo>
                  <a:pt x="1280062" y="5775084"/>
                  <a:pt x="1278666" y="5774174"/>
                  <a:pt x="1277987" y="5773600"/>
                </a:cubicBezTo>
                <a:cubicBezTo>
                  <a:pt x="1273987" y="5773321"/>
                  <a:pt x="1270236" y="5773073"/>
                  <a:pt x="1263045" y="5772136"/>
                </a:cubicBezTo>
                <a:close/>
                <a:moveTo>
                  <a:pt x="1253940" y="5745240"/>
                </a:moveTo>
                <a:cubicBezTo>
                  <a:pt x="1251552" y="5751961"/>
                  <a:pt x="1251054" y="5753838"/>
                  <a:pt x="1250310" y="5755680"/>
                </a:cubicBezTo>
                <a:cubicBezTo>
                  <a:pt x="1249380" y="5755073"/>
                  <a:pt x="1247675" y="5754609"/>
                  <a:pt x="1247675" y="5754609"/>
                </a:cubicBezTo>
                <a:lnTo>
                  <a:pt x="1247428" y="5754576"/>
                </a:lnTo>
                <a:cubicBezTo>
                  <a:pt x="1248292" y="5759540"/>
                  <a:pt x="1249160" y="5764504"/>
                  <a:pt x="1250024" y="5769468"/>
                </a:cubicBezTo>
                <a:cubicBezTo>
                  <a:pt x="1252226" y="5768057"/>
                  <a:pt x="1253528" y="5765803"/>
                  <a:pt x="1254089" y="5763450"/>
                </a:cubicBezTo>
                <a:cubicBezTo>
                  <a:pt x="1255392" y="5759254"/>
                  <a:pt x="1254248" y="5754495"/>
                  <a:pt x="1253940" y="5745240"/>
                </a:cubicBezTo>
                <a:close/>
                <a:moveTo>
                  <a:pt x="364059" y="4365044"/>
                </a:moveTo>
                <a:cubicBezTo>
                  <a:pt x="364059" y="4365044"/>
                  <a:pt x="363376" y="4366409"/>
                  <a:pt x="363376" y="4366409"/>
                </a:cubicBezTo>
                <a:lnTo>
                  <a:pt x="364616" y="4366570"/>
                </a:lnTo>
                <a:close/>
                <a:moveTo>
                  <a:pt x="317482" y="4248369"/>
                </a:moveTo>
                <a:cubicBezTo>
                  <a:pt x="323047" y="4283050"/>
                  <a:pt x="344077" y="4334545"/>
                  <a:pt x="360095" y="4352884"/>
                </a:cubicBezTo>
                <a:cubicBezTo>
                  <a:pt x="345540" y="4317514"/>
                  <a:pt x="337865" y="4283527"/>
                  <a:pt x="317482" y="4248369"/>
                </a:cubicBezTo>
                <a:close/>
                <a:moveTo>
                  <a:pt x="311290" y="4226216"/>
                </a:moveTo>
                <a:cubicBezTo>
                  <a:pt x="311693" y="4228935"/>
                  <a:pt x="309212" y="4232492"/>
                  <a:pt x="313706" y="4234776"/>
                </a:cubicBezTo>
                <a:cubicBezTo>
                  <a:pt x="312621" y="4231482"/>
                  <a:pt x="311941" y="4228967"/>
                  <a:pt x="311290" y="4226216"/>
                </a:cubicBezTo>
                <a:close/>
                <a:moveTo>
                  <a:pt x="306519" y="4222196"/>
                </a:moveTo>
                <a:cubicBezTo>
                  <a:pt x="306704" y="4222708"/>
                  <a:pt x="307077" y="4223726"/>
                  <a:pt x="307077" y="4223726"/>
                </a:cubicBezTo>
                <a:cubicBezTo>
                  <a:pt x="308038" y="4224094"/>
                  <a:pt x="309215" y="4224731"/>
                  <a:pt x="310176" y="4225101"/>
                </a:cubicBezTo>
                <a:cubicBezTo>
                  <a:pt x="308813" y="4223953"/>
                  <a:pt x="307665" y="4223075"/>
                  <a:pt x="306519" y="4222196"/>
                </a:cubicBezTo>
                <a:close/>
                <a:moveTo>
                  <a:pt x="304592" y="4000983"/>
                </a:moveTo>
                <a:lnTo>
                  <a:pt x="303704" y="4002608"/>
                </a:lnTo>
                <a:lnTo>
                  <a:pt x="303633" y="4002557"/>
                </a:lnTo>
                <a:lnTo>
                  <a:pt x="303601" y="4002794"/>
                </a:lnTo>
                <a:lnTo>
                  <a:pt x="303704" y="4002608"/>
                </a:lnTo>
                <a:lnTo>
                  <a:pt x="311008" y="4007886"/>
                </a:lnTo>
                <a:cubicBezTo>
                  <a:pt x="311380" y="4006964"/>
                  <a:pt x="311970" y="4006312"/>
                  <a:pt x="312590" y="4005422"/>
                </a:cubicBezTo>
                <a:cubicBezTo>
                  <a:pt x="309985" y="4004113"/>
                  <a:pt x="307165" y="4002533"/>
                  <a:pt x="304592" y="4000983"/>
                </a:cubicBezTo>
                <a:close/>
                <a:moveTo>
                  <a:pt x="238219" y="3937514"/>
                </a:moveTo>
                <a:cubicBezTo>
                  <a:pt x="239361" y="3946153"/>
                  <a:pt x="241373" y="3953932"/>
                  <a:pt x="253151" y="3954497"/>
                </a:cubicBezTo>
                <a:cubicBezTo>
                  <a:pt x="255169" y="3954519"/>
                  <a:pt x="257522" y="3957736"/>
                  <a:pt x="258484" y="3960043"/>
                </a:cubicBezTo>
                <a:lnTo>
                  <a:pt x="258452" y="3960283"/>
                </a:lnTo>
                <a:cubicBezTo>
                  <a:pt x="262416" y="3968563"/>
                  <a:pt x="271184" y="3980621"/>
                  <a:pt x="278251" y="3986392"/>
                </a:cubicBezTo>
                <a:cubicBezTo>
                  <a:pt x="281384" y="3979768"/>
                  <a:pt x="278625" y="3973829"/>
                  <a:pt x="275592" y="3968096"/>
                </a:cubicBezTo>
                <a:cubicBezTo>
                  <a:pt x="268869" y="3955822"/>
                  <a:pt x="257682" y="3946843"/>
                  <a:pt x="238219" y="3937514"/>
                </a:cubicBezTo>
                <a:close/>
                <a:moveTo>
                  <a:pt x="275295" y="3862063"/>
                </a:moveTo>
                <a:lnTo>
                  <a:pt x="276316" y="3863895"/>
                </a:lnTo>
                <a:cubicBezTo>
                  <a:pt x="276316" y="3863895"/>
                  <a:pt x="276781" y="3862258"/>
                  <a:pt x="276781" y="3862258"/>
                </a:cubicBezTo>
                <a:close/>
                <a:moveTo>
                  <a:pt x="276109" y="3836461"/>
                </a:moveTo>
                <a:cubicBezTo>
                  <a:pt x="275612" y="3836396"/>
                  <a:pt x="275550" y="3836872"/>
                  <a:pt x="275550" y="3836872"/>
                </a:cubicBezTo>
                <a:cubicBezTo>
                  <a:pt x="275240" y="3837318"/>
                  <a:pt x="275363" y="3838304"/>
                  <a:pt x="275551" y="3838813"/>
                </a:cubicBezTo>
                <a:lnTo>
                  <a:pt x="279388" y="3841315"/>
                </a:lnTo>
                <a:lnTo>
                  <a:pt x="279702" y="3841781"/>
                </a:lnTo>
                <a:lnTo>
                  <a:pt x="279734" y="3841541"/>
                </a:lnTo>
                <a:lnTo>
                  <a:pt x="279388" y="3841315"/>
                </a:lnTo>
                <a:close/>
                <a:moveTo>
                  <a:pt x="151986" y="3834830"/>
                </a:moveTo>
                <a:cubicBezTo>
                  <a:pt x="153753" y="3836757"/>
                  <a:pt x="155550" y="3838448"/>
                  <a:pt x="157348" y="3840136"/>
                </a:cubicBezTo>
                <a:lnTo>
                  <a:pt x="157626" y="3839930"/>
                </a:lnTo>
                <a:cubicBezTo>
                  <a:pt x="157905" y="3839724"/>
                  <a:pt x="158217" y="3839280"/>
                  <a:pt x="158495" y="3839073"/>
                </a:cubicBezTo>
                <a:cubicBezTo>
                  <a:pt x="157597" y="3838228"/>
                  <a:pt x="157038" y="3836702"/>
                  <a:pt x="155861" y="3836061"/>
                </a:cubicBezTo>
                <a:cubicBezTo>
                  <a:pt x="154716" y="3835187"/>
                  <a:pt x="153225" y="3834992"/>
                  <a:pt x="151986" y="3834830"/>
                </a:cubicBezTo>
                <a:close/>
                <a:moveTo>
                  <a:pt x="267589" y="3828313"/>
                </a:moveTo>
                <a:cubicBezTo>
                  <a:pt x="267589" y="3828313"/>
                  <a:pt x="266935" y="3829443"/>
                  <a:pt x="266935" y="3829443"/>
                </a:cubicBezTo>
                <a:lnTo>
                  <a:pt x="268425" y="3829638"/>
                </a:lnTo>
                <a:lnTo>
                  <a:pt x="267804" y="3828586"/>
                </a:lnTo>
                <a:cubicBezTo>
                  <a:pt x="267589" y="3828313"/>
                  <a:pt x="267589" y="3828313"/>
                  <a:pt x="267589" y="3828313"/>
                </a:cubicBezTo>
                <a:close/>
                <a:moveTo>
                  <a:pt x="116279" y="3824352"/>
                </a:moveTo>
                <a:cubicBezTo>
                  <a:pt x="121330" y="3830105"/>
                  <a:pt x="126350" y="3836094"/>
                  <a:pt x="131399" y="3841847"/>
                </a:cubicBezTo>
                <a:cubicBezTo>
                  <a:pt x="130286" y="3832971"/>
                  <a:pt x="121609" y="3829899"/>
                  <a:pt x="116279" y="3824352"/>
                </a:cubicBezTo>
                <a:close/>
                <a:moveTo>
                  <a:pt x="409959" y="3778963"/>
                </a:moveTo>
                <a:cubicBezTo>
                  <a:pt x="409959" y="3778963"/>
                  <a:pt x="409865" y="3779680"/>
                  <a:pt x="409865" y="3779680"/>
                </a:cubicBezTo>
                <a:lnTo>
                  <a:pt x="410363" y="3779744"/>
                </a:lnTo>
                <a:cubicBezTo>
                  <a:pt x="410394" y="3779506"/>
                  <a:pt x="410455" y="3779028"/>
                  <a:pt x="410455" y="3779028"/>
                </a:cubicBezTo>
                <a:close/>
                <a:moveTo>
                  <a:pt x="67100" y="3777918"/>
                </a:moveTo>
                <a:lnTo>
                  <a:pt x="67782" y="3778494"/>
                </a:lnTo>
                <a:cubicBezTo>
                  <a:pt x="67504" y="3778699"/>
                  <a:pt x="67253" y="3778667"/>
                  <a:pt x="67253" y="3778667"/>
                </a:cubicBezTo>
                <a:cubicBezTo>
                  <a:pt x="67037" y="3778397"/>
                  <a:pt x="67100" y="3777918"/>
                  <a:pt x="67100" y="3777918"/>
                </a:cubicBezTo>
                <a:close/>
                <a:moveTo>
                  <a:pt x="398187" y="3758995"/>
                </a:moveTo>
                <a:lnTo>
                  <a:pt x="398776" y="3760286"/>
                </a:lnTo>
                <a:cubicBezTo>
                  <a:pt x="398776" y="3760286"/>
                  <a:pt x="399427" y="3759157"/>
                  <a:pt x="399427" y="3759157"/>
                </a:cubicBezTo>
                <a:close/>
                <a:moveTo>
                  <a:pt x="181037" y="3751300"/>
                </a:moveTo>
                <a:cubicBezTo>
                  <a:pt x="181098" y="3752762"/>
                  <a:pt x="180323" y="3754843"/>
                  <a:pt x="181002" y="3755419"/>
                </a:cubicBezTo>
                <a:cubicBezTo>
                  <a:pt x="196064" y="3769509"/>
                  <a:pt x="211125" y="3783601"/>
                  <a:pt x="226496" y="3797247"/>
                </a:cubicBezTo>
                <a:lnTo>
                  <a:pt x="226279" y="3796978"/>
                </a:lnTo>
                <a:cubicBezTo>
                  <a:pt x="230585" y="3800691"/>
                  <a:pt x="235793" y="3803310"/>
                  <a:pt x="240223" y="3806071"/>
                </a:cubicBezTo>
                <a:cubicBezTo>
                  <a:pt x="245992" y="3802458"/>
                  <a:pt x="246582" y="3797926"/>
                  <a:pt x="244320" y="3793992"/>
                </a:cubicBezTo>
                <a:cubicBezTo>
                  <a:pt x="237907" y="3783212"/>
                  <a:pt x="229046" y="3773808"/>
                  <a:pt x="217021" y="3769330"/>
                </a:cubicBezTo>
                <a:cubicBezTo>
                  <a:pt x="213640" y="3768164"/>
                  <a:pt x="210326" y="3766517"/>
                  <a:pt x="207258" y="3764904"/>
                </a:cubicBezTo>
                <a:cubicBezTo>
                  <a:pt x="209735" y="3767168"/>
                  <a:pt x="212215" y="3769432"/>
                  <a:pt x="214694" y="3771695"/>
                </a:cubicBezTo>
                <a:cubicBezTo>
                  <a:pt x="213825" y="3772553"/>
                  <a:pt x="212987" y="3773171"/>
                  <a:pt x="212368" y="3774061"/>
                </a:cubicBezTo>
                <a:cubicBezTo>
                  <a:pt x="208774" y="3770681"/>
                  <a:pt x="204900" y="3767508"/>
                  <a:pt x="201306" y="3764128"/>
                </a:cubicBezTo>
                <a:cubicBezTo>
                  <a:pt x="201863" y="3763717"/>
                  <a:pt x="202203" y="3763033"/>
                  <a:pt x="202762" y="3762621"/>
                </a:cubicBezTo>
                <a:cubicBezTo>
                  <a:pt x="199974" y="3760802"/>
                  <a:pt x="196968" y="3758712"/>
                  <a:pt x="194241" y="3756416"/>
                </a:cubicBezTo>
                <a:cubicBezTo>
                  <a:pt x="190585" y="3753514"/>
                  <a:pt x="187176" y="3748703"/>
                  <a:pt x="181037" y="3751300"/>
                </a:cubicBezTo>
                <a:close/>
                <a:moveTo>
                  <a:pt x="324213" y="3701568"/>
                </a:moveTo>
                <a:cubicBezTo>
                  <a:pt x="324277" y="3703033"/>
                  <a:pt x="323500" y="3705114"/>
                  <a:pt x="324182" y="3705687"/>
                </a:cubicBezTo>
                <a:cubicBezTo>
                  <a:pt x="329139" y="3710214"/>
                  <a:pt x="333851" y="3714708"/>
                  <a:pt x="338808" y="3719236"/>
                </a:cubicBezTo>
                <a:cubicBezTo>
                  <a:pt x="337663" y="3716420"/>
                  <a:pt x="336485" y="3713839"/>
                  <a:pt x="335337" y="3711022"/>
                </a:cubicBezTo>
                <a:cubicBezTo>
                  <a:pt x="340267" y="3713850"/>
                  <a:pt x="341041" y="3717586"/>
                  <a:pt x="341288" y="3721500"/>
                </a:cubicBezTo>
                <a:cubicBezTo>
                  <a:pt x="350769" y="3730013"/>
                  <a:pt x="360221" y="3738766"/>
                  <a:pt x="369702" y="3747278"/>
                </a:cubicBezTo>
                <a:lnTo>
                  <a:pt x="369424" y="3747483"/>
                </a:lnTo>
                <a:cubicBezTo>
                  <a:pt x="373732" y="3751200"/>
                  <a:pt x="378937" y="3753819"/>
                  <a:pt x="383370" y="3756579"/>
                </a:cubicBezTo>
                <a:cubicBezTo>
                  <a:pt x="389137" y="3752964"/>
                  <a:pt x="389728" y="3748434"/>
                  <a:pt x="387468" y="3744501"/>
                </a:cubicBezTo>
                <a:cubicBezTo>
                  <a:pt x="381892" y="3735042"/>
                  <a:pt x="374392" y="3726786"/>
                  <a:pt x="364691" y="3721885"/>
                </a:cubicBezTo>
                <a:cubicBezTo>
                  <a:pt x="364412" y="3722090"/>
                  <a:pt x="364412" y="3722090"/>
                  <a:pt x="364412" y="3722090"/>
                </a:cubicBezTo>
                <a:cubicBezTo>
                  <a:pt x="364197" y="3721820"/>
                  <a:pt x="363978" y="3721548"/>
                  <a:pt x="363978" y="3721548"/>
                </a:cubicBezTo>
                <a:cubicBezTo>
                  <a:pt x="362554" y="3720878"/>
                  <a:pt x="361376" y="3720238"/>
                  <a:pt x="360166" y="3719839"/>
                </a:cubicBezTo>
                <a:cubicBezTo>
                  <a:pt x="351518" y="3716528"/>
                  <a:pt x="344268" y="3712187"/>
                  <a:pt x="337417" y="3706686"/>
                </a:cubicBezTo>
                <a:cubicBezTo>
                  <a:pt x="333761" y="3703783"/>
                  <a:pt x="330352" y="3698974"/>
                  <a:pt x="324213" y="3701568"/>
                </a:cubicBezTo>
                <a:close/>
                <a:moveTo>
                  <a:pt x="57095" y="3682505"/>
                </a:moveTo>
                <a:cubicBezTo>
                  <a:pt x="62923" y="3684234"/>
                  <a:pt x="65370" y="3692560"/>
                  <a:pt x="74669" y="3692802"/>
                </a:cubicBezTo>
                <a:cubicBezTo>
                  <a:pt x="69372" y="3685075"/>
                  <a:pt x="63978" y="3681948"/>
                  <a:pt x="57095" y="3682505"/>
                </a:cubicBezTo>
                <a:close/>
                <a:moveTo>
                  <a:pt x="534852" y="3639291"/>
                </a:moveTo>
                <a:cubicBezTo>
                  <a:pt x="533366" y="3639097"/>
                  <a:pt x="530884" y="3640710"/>
                  <a:pt x="529674" y="3642251"/>
                </a:cubicBezTo>
                <a:cubicBezTo>
                  <a:pt x="530448" y="3644051"/>
                  <a:pt x="530882" y="3646535"/>
                  <a:pt x="531685" y="3650033"/>
                </a:cubicBezTo>
                <a:cubicBezTo>
                  <a:pt x="530540" y="3649155"/>
                  <a:pt x="529393" y="3648281"/>
                  <a:pt x="528217" y="3647641"/>
                </a:cubicBezTo>
                <a:lnTo>
                  <a:pt x="527966" y="3647609"/>
                </a:lnTo>
                <a:cubicBezTo>
                  <a:pt x="526909" y="3655715"/>
                  <a:pt x="529108" y="3664009"/>
                  <a:pt x="534871" y="3673976"/>
                </a:cubicBezTo>
                <a:cubicBezTo>
                  <a:pt x="539025" y="3669183"/>
                  <a:pt x="543367" y="3664898"/>
                  <a:pt x="545726" y="3660355"/>
                </a:cubicBezTo>
                <a:cubicBezTo>
                  <a:pt x="545230" y="3658350"/>
                  <a:pt x="544734" y="3656345"/>
                  <a:pt x="544239" y="3654339"/>
                </a:cubicBezTo>
                <a:cubicBezTo>
                  <a:pt x="542784" y="3650027"/>
                  <a:pt x="541888" y="3645301"/>
                  <a:pt x="540433" y="3640989"/>
                </a:cubicBezTo>
                <a:cubicBezTo>
                  <a:pt x="540216" y="3640716"/>
                  <a:pt x="540216" y="3640716"/>
                  <a:pt x="540216" y="3640716"/>
                </a:cubicBezTo>
                <a:cubicBezTo>
                  <a:pt x="538542" y="3640013"/>
                  <a:pt x="536589" y="3639517"/>
                  <a:pt x="534852" y="3639291"/>
                </a:cubicBezTo>
                <a:close/>
                <a:moveTo>
                  <a:pt x="428152" y="3637505"/>
                </a:moveTo>
                <a:lnTo>
                  <a:pt x="428802" y="3638317"/>
                </a:lnTo>
                <a:cubicBezTo>
                  <a:pt x="428802" y="3638317"/>
                  <a:pt x="428896" y="3637602"/>
                  <a:pt x="428896" y="3637602"/>
                </a:cubicBezTo>
                <a:close/>
                <a:moveTo>
                  <a:pt x="200275" y="3632775"/>
                </a:moveTo>
                <a:cubicBezTo>
                  <a:pt x="206102" y="3634505"/>
                  <a:pt x="208546" y="3642827"/>
                  <a:pt x="217845" y="3643070"/>
                </a:cubicBezTo>
                <a:cubicBezTo>
                  <a:pt x="212548" y="3635346"/>
                  <a:pt x="207154" y="3632217"/>
                  <a:pt x="200275" y="3632775"/>
                </a:cubicBezTo>
                <a:close/>
                <a:moveTo>
                  <a:pt x="536938" y="3543997"/>
                </a:moveTo>
                <a:lnTo>
                  <a:pt x="536907" y="3544235"/>
                </a:lnTo>
                <a:cubicBezTo>
                  <a:pt x="537246" y="3545493"/>
                  <a:pt x="537588" y="3546750"/>
                  <a:pt x="538177" y="3548040"/>
                </a:cubicBezTo>
                <a:cubicBezTo>
                  <a:pt x="538549" y="3547117"/>
                  <a:pt x="539137" y="3546466"/>
                  <a:pt x="539727" y="3545817"/>
                </a:cubicBezTo>
                <a:cubicBezTo>
                  <a:pt x="538798" y="3545210"/>
                  <a:pt x="536938" y="3543997"/>
                  <a:pt x="536938" y="3543997"/>
                </a:cubicBezTo>
                <a:close/>
                <a:moveTo>
                  <a:pt x="548875" y="3539490"/>
                </a:moveTo>
                <a:cubicBezTo>
                  <a:pt x="549091" y="3539760"/>
                  <a:pt x="549309" y="3540030"/>
                  <a:pt x="549309" y="3540030"/>
                </a:cubicBezTo>
                <a:cubicBezTo>
                  <a:pt x="549834" y="3539857"/>
                  <a:pt x="550113" y="3539651"/>
                  <a:pt x="550610" y="3539716"/>
                </a:cubicBezTo>
                <a:cubicBezTo>
                  <a:pt x="550113" y="3539651"/>
                  <a:pt x="548875" y="3539490"/>
                  <a:pt x="548875" y="3539490"/>
                </a:cubicBezTo>
                <a:close/>
                <a:moveTo>
                  <a:pt x="570233" y="3538153"/>
                </a:moveTo>
                <a:cubicBezTo>
                  <a:pt x="568901" y="3538705"/>
                  <a:pt x="567537" y="3539496"/>
                  <a:pt x="566203" y="3540050"/>
                </a:cubicBezTo>
                <a:cubicBezTo>
                  <a:pt x="566823" y="3541102"/>
                  <a:pt x="567782" y="3543409"/>
                  <a:pt x="567782" y="3543409"/>
                </a:cubicBezTo>
                <a:cubicBezTo>
                  <a:pt x="569953" y="3544179"/>
                  <a:pt x="571905" y="3544676"/>
                  <a:pt x="573891" y="3544935"/>
                </a:cubicBezTo>
                <a:cubicBezTo>
                  <a:pt x="572681" y="3542594"/>
                  <a:pt x="571442" y="3540493"/>
                  <a:pt x="570233" y="3538153"/>
                </a:cubicBezTo>
                <a:close/>
                <a:moveTo>
                  <a:pt x="333399" y="3373869"/>
                </a:moveTo>
                <a:cubicBezTo>
                  <a:pt x="333336" y="3374347"/>
                  <a:pt x="332593" y="3376190"/>
                  <a:pt x="332593" y="3376190"/>
                </a:cubicBezTo>
                <a:cubicBezTo>
                  <a:pt x="333242" y="3378941"/>
                  <a:pt x="333924" y="3381457"/>
                  <a:pt x="334570" y="3384211"/>
                </a:cubicBezTo>
                <a:cubicBezTo>
                  <a:pt x="338821" y="3382580"/>
                  <a:pt x="343533" y="3381253"/>
                  <a:pt x="347595" y="3379117"/>
                </a:cubicBezTo>
                <a:cubicBezTo>
                  <a:pt x="342543" y="3377244"/>
                  <a:pt x="338203" y="3375707"/>
                  <a:pt x="333399" y="3373869"/>
                </a:cubicBezTo>
                <a:close/>
                <a:moveTo>
                  <a:pt x="355661" y="3365616"/>
                </a:moveTo>
                <a:cubicBezTo>
                  <a:pt x="354139" y="3369540"/>
                  <a:pt x="352928" y="3373020"/>
                  <a:pt x="351688" y="3376740"/>
                </a:cubicBezTo>
                <a:cubicBezTo>
                  <a:pt x="353641" y="3375296"/>
                  <a:pt x="355594" y="3373853"/>
                  <a:pt x="357114" y="3371868"/>
                </a:cubicBezTo>
                <a:cubicBezTo>
                  <a:pt x="358137" y="3371759"/>
                  <a:pt x="359191" y="3371411"/>
                  <a:pt x="360184" y="3371540"/>
                </a:cubicBezTo>
                <a:cubicBezTo>
                  <a:pt x="358914" y="3369675"/>
                  <a:pt x="357395" y="3367782"/>
                  <a:pt x="355907" y="3365648"/>
                </a:cubicBezTo>
                <a:close/>
                <a:moveTo>
                  <a:pt x="513891" y="3345498"/>
                </a:moveTo>
                <a:cubicBezTo>
                  <a:pt x="515685" y="3354948"/>
                  <a:pt x="515405" y="3360975"/>
                  <a:pt x="510166" y="3362474"/>
                </a:cubicBezTo>
                <a:cubicBezTo>
                  <a:pt x="517353" y="3371175"/>
                  <a:pt x="522899" y="3380872"/>
                  <a:pt x="525746" y="3391915"/>
                </a:cubicBezTo>
                <a:cubicBezTo>
                  <a:pt x="519579" y="3388929"/>
                  <a:pt x="513194" y="3385669"/>
                  <a:pt x="507275" y="3382716"/>
                </a:cubicBezTo>
                <a:cubicBezTo>
                  <a:pt x="503366" y="3385600"/>
                  <a:pt x="504545" y="3388180"/>
                  <a:pt x="506527" y="3390380"/>
                </a:cubicBezTo>
                <a:cubicBezTo>
                  <a:pt x="510524" y="3394539"/>
                  <a:pt x="514274" y="3398665"/>
                  <a:pt x="518302" y="3402587"/>
                </a:cubicBezTo>
                <a:cubicBezTo>
                  <a:pt x="519263" y="3402955"/>
                  <a:pt x="520255" y="3403083"/>
                  <a:pt x="521494" y="3403245"/>
                </a:cubicBezTo>
                <a:cubicBezTo>
                  <a:pt x="522051" y="3404774"/>
                  <a:pt x="522394" y="3406031"/>
                  <a:pt x="522733" y="3407287"/>
                </a:cubicBezTo>
                <a:cubicBezTo>
                  <a:pt x="522980" y="3407319"/>
                  <a:pt x="523415" y="3407863"/>
                  <a:pt x="523415" y="3407863"/>
                </a:cubicBezTo>
                <a:cubicBezTo>
                  <a:pt x="526296" y="3410905"/>
                  <a:pt x="528311" y="3414806"/>
                  <a:pt x="530882" y="3418294"/>
                </a:cubicBezTo>
                <a:cubicBezTo>
                  <a:pt x="533235" y="3421512"/>
                  <a:pt x="533235" y="3425392"/>
                  <a:pt x="533976" y="3429370"/>
                </a:cubicBezTo>
                <a:cubicBezTo>
                  <a:pt x="536549" y="3432860"/>
                  <a:pt x="538657" y="3436045"/>
                  <a:pt x="538531" y="3438937"/>
                </a:cubicBezTo>
                <a:cubicBezTo>
                  <a:pt x="539213" y="3439513"/>
                  <a:pt x="539892" y="3440087"/>
                  <a:pt x="540822" y="3440692"/>
                </a:cubicBezTo>
                <a:cubicBezTo>
                  <a:pt x="547580" y="3444970"/>
                  <a:pt x="550583" y="3454819"/>
                  <a:pt x="556313" y="3461145"/>
                </a:cubicBezTo>
                <a:lnTo>
                  <a:pt x="556035" y="3461352"/>
                </a:lnTo>
                <a:cubicBezTo>
                  <a:pt x="557554" y="3463249"/>
                  <a:pt x="559136" y="3464666"/>
                  <a:pt x="560932" y="3466357"/>
                </a:cubicBezTo>
                <a:cubicBezTo>
                  <a:pt x="560128" y="3464795"/>
                  <a:pt x="559353" y="3462998"/>
                  <a:pt x="558548" y="3461437"/>
                </a:cubicBezTo>
                <a:cubicBezTo>
                  <a:pt x="562610" y="3457358"/>
                  <a:pt x="566392" y="3453487"/>
                  <a:pt x="571075" y="3448517"/>
                </a:cubicBezTo>
                <a:cubicBezTo>
                  <a:pt x="571168" y="3447801"/>
                  <a:pt x="571261" y="3447088"/>
                  <a:pt x="571355" y="3446372"/>
                </a:cubicBezTo>
                <a:cubicBezTo>
                  <a:pt x="569497" y="3443219"/>
                  <a:pt x="567701" y="3439588"/>
                  <a:pt x="565100" y="3434398"/>
                </a:cubicBezTo>
                <a:cubicBezTo>
                  <a:pt x="565564" y="3434703"/>
                  <a:pt x="565999" y="3435243"/>
                  <a:pt x="566461" y="3435546"/>
                </a:cubicBezTo>
                <a:cubicBezTo>
                  <a:pt x="551500" y="3409099"/>
                  <a:pt x="540289" y="3380957"/>
                  <a:pt x="522319" y="3356300"/>
                </a:cubicBezTo>
                <a:cubicBezTo>
                  <a:pt x="520399" y="3353623"/>
                  <a:pt x="518198" y="3351153"/>
                  <a:pt x="513891" y="3345498"/>
                </a:cubicBezTo>
                <a:close/>
                <a:moveTo>
                  <a:pt x="544832" y="3340315"/>
                </a:moveTo>
                <a:lnTo>
                  <a:pt x="542962" y="3341901"/>
                </a:lnTo>
                <a:lnTo>
                  <a:pt x="542879" y="3341759"/>
                </a:lnTo>
                <a:lnTo>
                  <a:pt x="542849" y="3341996"/>
                </a:lnTo>
                <a:lnTo>
                  <a:pt x="542962" y="3341901"/>
                </a:lnTo>
                <a:lnTo>
                  <a:pt x="545139" y="3345692"/>
                </a:lnTo>
                <a:cubicBezTo>
                  <a:pt x="545792" y="3344562"/>
                  <a:pt x="546473" y="3343197"/>
                  <a:pt x="547373" y="3342102"/>
                </a:cubicBezTo>
                <a:cubicBezTo>
                  <a:pt x="546690" y="3341527"/>
                  <a:pt x="545761" y="3340922"/>
                  <a:pt x="544832" y="3340315"/>
                </a:cubicBezTo>
                <a:close/>
                <a:moveTo>
                  <a:pt x="507696" y="3331108"/>
                </a:moveTo>
                <a:lnTo>
                  <a:pt x="505161" y="3331944"/>
                </a:lnTo>
                <a:lnTo>
                  <a:pt x="505094" y="3331738"/>
                </a:lnTo>
                <a:lnTo>
                  <a:pt x="505063" y="3331977"/>
                </a:lnTo>
                <a:lnTo>
                  <a:pt x="505161" y="3331944"/>
                </a:lnTo>
                <a:lnTo>
                  <a:pt x="507261" y="3338327"/>
                </a:lnTo>
                <a:cubicBezTo>
                  <a:pt x="507230" y="3338564"/>
                  <a:pt x="509061" y="3338075"/>
                  <a:pt x="510112" y="3337728"/>
                </a:cubicBezTo>
                <a:cubicBezTo>
                  <a:pt x="509371" y="3335691"/>
                  <a:pt x="508409" y="3333383"/>
                  <a:pt x="507696" y="3331108"/>
                </a:cubicBezTo>
                <a:close/>
                <a:moveTo>
                  <a:pt x="499086" y="3315916"/>
                </a:moveTo>
                <a:cubicBezTo>
                  <a:pt x="498684" y="3317076"/>
                  <a:pt x="498031" y="3318206"/>
                  <a:pt x="497906" y="3319159"/>
                </a:cubicBezTo>
                <a:cubicBezTo>
                  <a:pt x="498713" y="3318779"/>
                  <a:pt x="499301" y="3318127"/>
                  <a:pt x="500108" y="3317748"/>
                </a:cubicBezTo>
                <a:cubicBezTo>
                  <a:pt x="499707" y="3316967"/>
                  <a:pt x="499086" y="3315916"/>
                  <a:pt x="499086" y="3315916"/>
                </a:cubicBezTo>
                <a:close/>
                <a:moveTo>
                  <a:pt x="383622" y="3216941"/>
                </a:moveTo>
                <a:cubicBezTo>
                  <a:pt x="382348" y="3217016"/>
                  <a:pt x="381326" y="3217125"/>
                  <a:pt x="380055" y="3217201"/>
                </a:cubicBezTo>
                <a:cubicBezTo>
                  <a:pt x="380147" y="3218427"/>
                  <a:pt x="380458" y="3219922"/>
                  <a:pt x="380550" y="3221146"/>
                </a:cubicBezTo>
                <a:cubicBezTo>
                  <a:pt x="381478" y="3221754"/>
                  <a:pt x="382656" y="3222391"/>
                  <a:pt x="383586" y="3222999"/>
                </a:cubicBezTo>
                <a:cubicBezTo>
                  <a:pt x="383587" y="3221058"/>
                  <a:pt x="383620" y="3218880"/>
                  <a:pt x="383622" y="3216941"/>
                </a:cubicBezTo>
                <a:close/>
                <a:moveTo>
                  <a:pt x="461779" y="3195840"/>
                </a:moveTo>
                <a:cubicBezTo>
                  <a:pt x="461222" y="3196254"/>
                  <a:pt x="460446" y="3196395"/>
                  <a:pt x="458866" y="3196917"/>
                </a:cubicBezTo>
                <a:cubicBezTo>
                  <a:pt x="460571" y="3199321"/>
                  <a:pt x="462275" y="3201726"/>
                  <a:pt x="464195" y="3204404"/>
                </a:cubicBezTo>
                <a:cubicBezTo>
                  <a:pt x="466056" y="3203676"/>
                  <a:pt x="468380" y="3203251"/>
                  <a:pt x="470457" y="3202793"/>
                </a:cubicBezTo>
                <a:cubicBezTo>
                  <a:pt x="470272" y="3198404"/>
                  <a:pt x="462305" y="3199547"/>
                  <a:pt x="461779" y="3195840"/>
                </a:cubicBezTo>
                <a:close/>
                <a:moveTo>
                  <a:pt x="399331" y="3158350"/>
                </a:moveTo>
                <a:cubicBezTo>
                  <a:pt x="397779" y="3158634"/>
                  <a:pt x="396231" y="3158917"/>
                  <a:pt x="394679" y="3159200"/>
                </a:cubicBezTo>
                <a:cubicBezTo>
                  <a:pt x="394585" y="3161854"/>
                  <a:pt x="393965" y="3164684"/>
                  <a:pt x="394677" y="3166961"/>
                </a:cubicBezTo>
                <a:cubicBezTo>
                  <a:pt x="395792" y="3170017"/>
                  <a:pt x="400129" y="3173494"/>
                  <a:pt x="399602" y="3175607"/>
                </a:cubicBezTo>
                <a:cubicBezTo>
                  <a:pt x="395009" y="3191501"/>
                  <a:pt x="407527" y="3201866"/>
                  <a:pt x="413506" y="3214046"/>
                </a:cubicBezTo>
                <a:lnTo>
                  <a:pt x="413290" y="3213773"/>
                </a:lnTo>
                <a:cubicBezTo>
                  <a:pt x="413907" y="3214823"/>
                  <a:pt x="414311" y="3215605"/>
                  <a:pt x="414931" y="3216655"/>
                </a:cubicBezTo>
                <a:cubicBezTo>
                  <a:pt x="416264" y="3216101"/>
                  <a:pt x="417318" y="3215754"/>
                  <a:pt x="418403" y="3215167"/>
                </a:cubicBezTo>
                <a:cubicBezTo>
                  <a:pt x="421875" y="3213681"/>
                  <a:pt x="425410" y="3211716"/>
                  <a:pt x="429163" y="3210021"/>
                </a:cubicBezTo>
                <a:cubicBezTo>
                  <a:pt x="428914" y="3208049"/>
                  <a:pt x="428171" y="3206012"/>
                  <a:pt x="427678" y="3204006"/>
                </a:cubicBezTo>
                <a:cubicBezTo>
                  <a:pt x="430248" y="3205557"/>
                  <a:pt x="432357" y="3206799"/>
                  <a:pt x="433967" y="3207982"/>
                </a:cubicBezTo>
                <a:cubicBezTo>
                  <a:pt x="435581" y="3207220"/>
                  <a:pt x="437657" y="3206764"/>
                  <a:pt x="439457" y="3206513"/>
                </a:cubicBezTo>
                <a:cubicBezTo>
                  <a:pt x="436078" y="3203405"/>
                  <a:pt x="432423" y="3198562"/>
                  <a:pt x="429104" y="3198858"/>
                </a:cubicBezTo>
                <a:cubicBezTo>
                  <a:pt x="421448" y="3199559"/>
                  <a:pt x="419930" y="3195721"/>
                  <a:pt x="417329" y="3190532"/>
                </a:cubicBezTo>
                <a:cubicBezTo>
                  <a:pt x="411689" y="3179607"/>
                  <a:pt x="405494" y="3169097"/>
                  <a:pt x="399331" y="3158350"/>
                </a:cubicBezTo>
                <a:close/>
                <a:moveTo>
                  <a:pt x="430518" y="3153202"/>
                </a:moveTo>
                <a:cubicBezTo>
                  <a:pt x="434698" y="3163690"/>
                  <a:pt x="438322" y="3172651"/>
                  <a:pt x="442070" y="3182598"/>
                </a:cubicBezTo>
                <a:cubicBezTo>
                  <a:pt x="448051" y="3183136"/>
                  <a:pt x="454530" y="3183739"/>
                  <a:pt x="461009" y="3184342"/>
                </a:cubicBezTo>
                <a:cubicBezTo>
                  <a:pt x="461691" y="3182974"/>
                  <a:pt x="462344" y="3181848"/>
                  <a:pt x="463026" y="3180480"/>
                </a:cubicBezTo>
                <a:cubicBezTo>
                  <a:pt x="448487" y="3175918"/>
                  <a:pt x="452931" y="3153454"/>
                  <a:pt x="430518" y="3153202"/>
                </a:cubicBezTo>
                <a:close/>
                <a:moveTo>
                  <a:pt x="323461" y="3113531"/>
                </a:moveTo>
                <a:cubicBezTo>
                  <a:pt x="322465" y="3119222"/>
                  <a:pt x="319861" y="3125673"/>
                  <a:pt x="330740" y="3127334"/>
                </a:cubicBezTo>
                <a:cubicBezTo>
                  <a:pt x="327890" y="3122112"/>
                  <a:pt x="325690" y="3117702"/>
                  <a:pt x="323461" y="3113531"/>
                </a:cubicBezTo>
                <a:close/>
                <a:moveTo>
                  <a:pt x="417177" y="3106588"/>
                </a:moveTo>
                <a:cubicBezTo>
                  <a:pt x="419406" y="3110759"/>
                  <a:pt x="421915" y="3114725"/>
                  <a:pt x="424767" y="3119948"/>
                </a:cubicBezTo>
                <a:cubicBezTo>
                  <a:pt x="428335" y="3109983"/>
                  <a:pt x="428335" y="3109983"/>
                  <a:pt x="417177" y="3106588"/>
                </a:cubicBezTo>
                <a:close/>
                <a:moveTo>
                  <a:pt x="359554" y="3092042"/>
                </a:moveTo>
                <a:cubicBezTo>
                  <a:pt x="358219" y="3092596"/>
                  <a:pt x="356608" y="3093355"/>
                  <a:pt x="355276" y="3093911"/>
                </a:cubicBezTo>
                <a:cubicBezTo>
                  <a:pt x="355707" y="3096391"/>
                  <a:pt x="355830" y="3099317"/>
                  <a:pt x="357037" y="3101658"/>
                </a:cubicBezTo>
                <a:cubicBezTo>
                  <a:pt x="365030" y="3115798"/>
                  <a:pt x="372991" y="3130177"/>
                  <a:pt x="381510" y="3144142"/>
                </a:cubicBezTo>
                <a:cubicBezTo>
                  <a:pt x="382563" y="3145734"/>
                  <a:pt x="386346" y="3145743"/>
                  <a:pt x="392918" y="3147571"/>
                </a:cubicBezTo>
                <a:cubicBezTo>
                  <a:pt x="382107" y="3126028"/>
                  <a:pt x="371232" y="3108845"/>
                  <a:pt x="359554" y="3092042"/>
                </a:cubicBezTo>
                <a:close/>
                <a:moveTo>
                  <a:pt x="405714" y="3084236"/>
                </a:moveTo>
                <a:cubicBezTo>
                  <a:pt x="404502" y="3095478"/>
                  <a:pt x="412745" y="3099947"/>
                  <a:pt x="417208" y="3106351"/>
                </a:cubicBezTo>
                <a:cubicBezTo>
                  <a:pt x="419285" y="3103953"/>
                  <a:pt x="421394" y="3101317"/>
                  <a:pt x="424092" y="3098032"/>
                </a:cubicBezTo>
                <a:lnTo>
                  <a:pt x="424123" y="3097792"/>
                </a:lnTo>
                <a:cubicBezTo>
                  <a:pt x="417895" y="3093343"/>
                  <a:pt x="412627" y="3089260"/>
                  <a:pt x="405714" y="3084236"/>
                </a:cubicBezTo>
                <a:close/>
                <a:moveTo>
                  <a:pt x="377072" y="3079530"/>
                </a:moveTo>
                <a:cubicBezTo>
                  <a:pt x="369785" y="3087071"/>
                  <a:pt x="369197" y="3087720"/>
                  <a:pt x="371055" y="3090872"/>
                </a:cubicBezTo>
                <a:cubicBezTo>
                  <a:pt x="377095" y="3100637"/>
                  <a:pt x="383695" y="3109983"/>
                  <a:pt x="390015" y="3119540"/>
                </a:cubicBezTo>
                <a:cubicBezTo>
                  <a:pt x="398629" y="3132791"/>
                  <a:pt x="411519" y="3144175"/>
                  <a:pt x="408411" y="3162203"/>
                </a:cubicBezTo>
                <a:cubicBezTo>
                  <a:pt x="408256" y="3163394"/>
                  <a:pt x="411136" y="3166438"/>
                  <a:pt x="412874" y="3166664"/>
                </a:cubicBezTo>
                <a:cubicBezTo>
                  <a:pt x="414610" y="3166892"/>
                  <a:pt x="417711" y="3164385"/>
                  <a:pt x="417898" y="3162953"/>
                </a:cubicBezTo>
                <a:cubicBezTo>
                  <a:pt x="417929" y="3158835"/>
                  <a:pt x="417466" y="3154652"/>
                  <a:pt x="415671" y="3151021"/>
                </a:cubicBezTo>
                <a:cubicBezTo>
                  <a:pt x="408732" y="3136533"/>
                  <a:pt x="399437" y="3122708"/>
                  <a:pt x="394328" y="3107734"/>
                </a:cubicBezTo>
                <a:cubicBezTo>
                  <a:pt x="390490" y="3096562"/>
                  <a:pt x="384542" y="3088021"/>
                  <a:pt x="377072" y="3079530"/>
                </a:cubicBezTo>
                <a:close/>
                <a:moveTo>
                  <a:pt x="304173" y="3050621"/>
                </a:moveTo>
                <a:cubicBezTo>
                  <a:pt x="295058" y="3054767"/>
                  <a:pt x="294342" y="3060253"/>
                  <a:pt x="302027" y="3067077"/>
                </a:cubicBezTo>
                <a:cubicBezTo>
                  <a:pt x="302805" y="3061115"/>
                  <a:pt x="303427" y="3056345"/>
                  <a:pt x="304173" y="3050621"/>
                </a:cubicBezTo>
                <a:close/>
                <a:moveTo>
                  <a:pt x="273658" y="3002256"/>
                </a:moveTo>
                <a:cubicBezTo>
                  <a:pt x="272975" y="3001683"/>
                  <a:pt x="270589" y="3002584"/>
                  <a:pt x="269038" y="3002865"/>
                </a:cubicBezTo>
                <a:cubicBezTo>
                  <a:pt x="269348" y="3004362"/>
                  <a:pt x="270184" y="3007624"/>
                  <a:pt x="270184" y="3007624"/>
                </a:cubicBezTo>
                <a:lnTo>
                  <a:pt x="270431" y="3007656"/>
                </a:lnTo>
                <a:cubicBezTo>
                  <a:pt x="271082" y="3008469"/>
                  <a:pt x="273344" y="3008522"/>
                  <a:pt x="276787" y="3009213"/>
                </a:cubicBezTo>
                <a:cubicBezTo>
                  <a:pt x="275207" y="3005854"/>
                  <a:pt x="274989" y="3003641"/>
                  <a:pt x="273658" y="3002256"/>
                </a:cubicBezTo>
                <a:close/>
                <a:moveTo>
                  <a:pt x="313156" y="2991399"/>
                </a:moveTo>
                <a:lnTo>
                  <a:pt x="313125" y="2991637"/>
                </a:lnTo>
                <a:cubicBezTo>
                  <a:pt x="308408" y="3002663"/>
                  <a:pt x="315319" y="3009628"/>
                  <a:pt x="319592" y="3017463"/>
                </a:cubicBezTo>
                <a:cubicBezTo>
                  <a:pt x="320678" y="3016876"/>
                  <a:pt x="321763" y="3016289"/>
                  <a:pt x="322848" y="3015703"/>
                </a:cubicBezTo>
                <a:cubicBezTo>
                  <a:pt x="319628" y="3007521"/>
                  <a:pt x="316377" y="2999580"/>
                  <a:pt x="313156" y="2991399"/>
                </a:cubicBezTo>
                <a:close/>
                <a:moveTo>
                  <a:pt x="261236" y="2981474"/>
                </a:moveTo>
                <a:cubicBezTo>
                  <a:pt x="260088" y="2982540"/>
                  <a:pt x="258072" y="2984458"/>
                  <a:pt x="258072" y="2984458"/>
                </a:cubicBezTo>
                <a:cubicBezTo>
                  <a:pt x="260086" y="2986419"/>
                  <a:pt x="261851" y="2988346"/>
                  <a:pt x="263868" y="2990306"/>
                </a:cubicBezTo>
                <a:cubicBezTo>
                  <a:pt x="264704" y="2989688"/>
                  <a:pt x="265294" y="2989040"/>
                  <a:pt x="266132" y="2988420"/>
                </a:cubicBezTo>
                <a:cubicBezTo>
                  <a:pt x="264675" y="2986048"/>
                  <a:pt x="262940" y="2983881"/>
                  <a:pt x="261236" y="2981474"/>
                </a:cubicBezTo>
                <a:close/>
                <a:moveTo>
                  <a:pt x="303769" y="2976347"/>
                </a:moveTo>
                <a:lnTo>
                  <a:pt x="302596" y="2983473"/>
                </a:lnTo>
                <a:lnTo>
                  <a:pt x="302588" y="2983471"/>
                </a:lnTo>
                <a:lnTo>
                  <a:pt x="302556" y="2983709"/>
                </a:lnTo>
                <a:lnTo>
                  <a:pt x="302596" y="2983473"/>
                </a:lnTo>
                <a:lnTo>
                  <a:pt x="309905" y="2985396"/>
                </a:lnTo>
                <a:cubicBezTo>
                  <a:pt x="311515" y="2984636"/>
                  <a:pt x="311485" y="2980992"/>
                  <a:pt x="312510" y="2977004"/>
                </a:cubicBezTo>
                <a:cubicBezTo>
                  <a:pt x="308512" y="2976724"/>
                  <a:pt x="304669" y="2975253"/>
                  <a:pt x="303769" y="2976347"/>
                </a:cubicBezTo>
                <a:close/>
                <a:moveTo>
                  <a:pt x="235374" y="2920619"/>
                </a:moveTo>
                <a:cubicBezTo>
                  <a:pt x="237285" y="2948520"/>
                  <a:pt x="244318" y="2958409"/>
                  <a:pt x="257121" y="2958868"/>
                </a:cubicBezTo>
                <a:cubicBezTo>
                  <a:pt x="250151" y="2946558"/>
                  <a:pt x="242746" y="2933709"/>
                  <a:pt x="235374" y="2920619"/>
                </a:cubicBezTo>
                <a:close/>
                <a:moveTo>
                  <a:pt x="199755" y="2845634"/>
                </a:moveTo>
                <a:cubicBezTo>
                  <a:pt x="204214" y="2861738"/>
                  <a:pt x="208392" y="2876110"/>
                  <a:pt x="212324" y="2890448"/>
                </a:cubicBezTo>
                <a:lnTo>
                  <a:pt x="212603" y="2890242"/>
                </a:lnTo>
                <a:cubicBezTo>
                  <a:pt x="217529" y="2896947"/>
                  <a:pt x="222641" y="2904164"/>
                  <a:pt x="228403" y="2912190"/>
                </a:cubicBezTo>
                <a:cubicBezTo>
                  <a:pt x="229551" y="2909187"/>
                  <a:pt x="230792" y="2907408"/>
                  <a:pt x="230453" y="2906152"/>
                </a:cubicBezTo>
                <a:cubicBezTo>
                  <a:pt x="224505" y="2891793"/>
                  <a:pt x="218807" y="2877469"/>
                  <a:pt x="212303" y="2863522"/>
                </a:cubicBezTo>
                <a:cubicBezTo>
                  <a:pt x="209298" y="2857553"/>
                  <a:pt x="204434" y="2852309"/>
                  <a:pt x="199755" y="2845634"/>
                </a:cubicBezTo>
                <a:close/>
                <a:moveTo>
                  <a:pt x="185047" y="2803695"/>
                </a:moveTo>
                <a:cubicBezTo>
                  <a:pt x="181601" y="2818528"/>
                  <a:pt x="189966" y="2827867"/>
                  <a:pt x="197774" y="2837616"/>
                </a:cubicBezTo>
                <a:cubicBezTo>
                  <a:pt x="198828" y="2837268"/>
                  <a:pt x="199913" y="2836679"/>
                  <a:pt x="200998" y="2836096"/>
                </a:cubicBezTo>
                <a:cubicBezTo>
                  <a:pt x="195858" y="2825238"/>
                  <a:pt x="190437" y="2814587"/>
                  <a:pt x="185047" y="2803695"/>
                </a:cubicBezTo>
                <a:close/>
                <a:moveTo>
                  <a:pt x="174045" y="2717854"/>
                </a:moveTo>
                <a:cubicBezTo>
                  <a:pt x="173766" y="2720003"/>
                  <a:pt x="173268" y="2723819"/>
                  <a:pt x="173268" y="2723819"/>
                </a:cubicBezTo>
                <a:lnTo>
                  <a:pt x="173550" y="2723611"/>
                </a:lnTo>
                <a:cubicBezTo>
                  <a:pt x="174601" y="2725204"/>
                  <a:pt x="177361" y="2725322"/>
                  <a:pt x="179530" y="2726089"/>
                </a:cubicBezTo>
                <a:cubicBezTo>
                  <a:pt x="180027" y="2724213"/>
                  <a:pt x="180772" y="2722371"/>
                  <a:pt x="181609" y="2719811"/>
                </a:cubicBezTo>
                <a:cubicBezTo>
                  <a:pt x="178417" y="2719153"/>
                  <a:pt x="176249" y="2718387"/>
                  <a:pt x="174045" y="2717854"/>
                </a:cubicBezTo>
                <a:close/>
                <a:moveTo>
                  <a:pt x="163468" y="2659720"/>
                </a:moveTo>
                <a:cubicBezTo>
                  <a:pt x="167091" y="2668682"/>
                  <a:pt x="169757" y="2675334"/>
                  <a:pt x="173377" y="2684297"/>
                </a:cubicBezTo>
                <a:cubicBezTo>
                  <a:pt x="177298" y="2674935"/>
                  <a:pt x="173977" y="2666740"/>
                  <a:pt x="163468" y="2659720"/>
                </a:cubicBezTo>
                <a:close/>
                <a:moveTo>
                  <a:pt x="112102" y="2657145"/>
                </a:moveTo>
                <a:cubicBezTo>
                  <a:pt x="114021" y="2663703"/>
                  <a:pt x="114919" y="2666486"/>
                  <a:pt x="115817" y="2669271"/>
                </a:cubicBezTo>
                <a:cubicBezTo>
                  <a:pt x="117182" y="2668480"/>
                  <a:pt x="118266" y="2667892"/>
                  <a:pt x="119600" y="2667340"/>
                </a:cubicBezTo>
                <a:cubicBezTo>
                  <a:pt x="117865" y="2665172"/>
                  <a:pt x="116408" y="2662800"/>
                  <a:pt x="112349" y="2657178"/>
                </a:cubicBezTo>
                <a:close/>
                <a:moveTo>
                  <a:pt x="136049" y="2618548"/>
                </a:moveTo>
                <a:cubicBezTo>
                  <a:pt x="137813" y="2624358"/>
                  <a:pt x="139301" y="2630373"/>
                  <a:pt x="140786" y="2636389"/>
                </a:cubicBezTo>
                <a:cubicBezTo>
                  <a:pt x="147641" y="2628308"/>
                  <a:pt x="149533" y="2621519"/>
                  <a:pt x="136049" y="2618548"/>
                </a:cubicBezTo>
                <a:close/>
                <a:moveTo>
                  <a:pt x="168666" y="2459325"/>
                </a:moveTo>
                <a:cubicBezTo>
                  <a:pt x="166986" y="2470261"/>
                  <a:pt x="172191" y="2476761"/>
                  <a:pt x="182357" y="2481968"/>
                </a:cubicBezTo>
                <a:cubicBezTo>
                  <a:pt x="181928" y="2469786"/>
                  <a:pt x="177363" y="2462228"/>
                  <a:pt x="168666" y="2459325"/>
                </a:cubicBezTo>
                <a:close/>
                <a:moveTo>
                  <a:pt x="213326" y="2410814"/>
                </a:moveTo>
                <a:cubicBezTo>
                  <a:pt x="215523" y="2415226"/>
                  <a:pt x="217691" y="2419874"/>
                  <a:pt x="219860" y="2424524"/>
                </a:cubicBezTo>
                <a:cubicBezTo>
                  <a:pt x="218743" y="2425348"/>
                  <a:pt x="217905" y="2425967"/>
                  <a:pt x="216789" y="2426789"/>
                </a:cubicBezTo>
                <a:cubicBezTo>
                  <a:pt x="213380" y="2423921"/>
                  <a:pt x="209753" y="2420779"/>
                  <a:pt x="206379" y="2417672"/>
                </a:cubicBezTo>
                <a:lnTo>
                  <a:pt x="204168" y="2419917"/>
                </a:lnTo>
                <a:lnTo>
                  <a:pt x="204083" y="2419798"/>
                </a:lnTo>
                <a:lnTo>
                  <a:pt x="204053" y="2420035"/>
                </a:lnTo>
                <a:lnTo>
                  <a:pt x="204168" y="2419917"/>
                </a:lnTo>
                <a:lnTo>
                  <a:pt x="222608" y="2445984"/>
                </a:lnTo>
                <a:cubicBezTo>
                  <a:pt x="223137" y="2445808"/>
                  <a:pt x="223944" y="2445430"/>
                  <a:pt x="224716" y="2445288"/>
                </a:cubicBezTo>
                <a:cubicBezTo>
                  <a:pt x="224099" y="2440358"/>
                  <a:pt x="223513" y="2435186"/>
                  <a:pt x="222927" y="2430017"/>
                </a:cubicBezTo>
                <a:cubicBezTo>
                  <a:pt x="227299" y="2427434"/>
                  <a:pt x="230895" y="2424992"/>
                  <a:pt x="233935" y="2422961"/>
                </a:cubicBezTo>
                <a:cubicBezTo>
                  <a:pt x="226682" y="2418622"/>
                  <a:pt x="219861" y="2414821"/>
                  <a:pt x="213326" y="2410814"/>
                </a:cubicBezTo>
                <a:close/>
                <a:moveTo>
                  <a:pt x="271236" y="2401874"/>
                </a:moveTo>
                <a:cubicBezTo>
                  <a:pt x="268258" y="2403426"/>
                  <a:pt x="265562" y="2404770"/>
                  <a:pt x="262585" y="2406323"/>
                </a:cubicBezTo>
                <a:cubicBezTo>
                  <a:pt x="262955" y="2407342"/>
                  <a:pt x="263606" y="2408155"/>
                  <a:pt x="263980" y="2409173"/>
                </a:cubicBezTo>
                <a:cubicBezTo>
                  <a:pt x="266924" y="2407859"/>
                  <a:pt x="269869" y="2406546"/>
                  <a:pt x="272815" y="2405232"/>
                </a:cubicBezTo>
                <a:cubicBezTo>
                  <a:pt x="272226" y="2403944"/>
                  <a:pt x="271853" y="2402925"/>
                  <a:pt x="271236" y="2401874"/>
                </a:cubicBezTo>
                <a:close/>
                <a:moveTo>
                  <a:pt x="239636" y="2388415"/>
                </a:moveTo>
                <a:cubicBezTo>
                  <a:pt x="236547" y="2387934"/>
                  <a:pt x="233316" y="2389011"/>
                  <a:pt x="229945" y="2391639"/>
                </a:cubicBezTo>
                <a:cubicBezTo>
                  <a:pt x="237853" y="2392912"/>
                  <a:pt x="242531" y="2393765"/>
                  <a:pt x="248483" y="2394541"/>
                </a:cubicBezTo>
                <a:cubicBezTo>
                  <a:pt x="245675" y="2390936"/>
                  <a:pt x="242726" y="2388897"/>
                  <a:pt x="239636" y="2388415"/>
                </a:cubicBezTo>
                <a:close/>
                <a:moveTo>
                  <a:pt x="263151" y="2382629"/>
                </a:moveTo>
                <a:cubicBezTo>
                  <a:pt x="262347" y="2383007"/>
                  <a:pt x="260764" y="2383530"/>
                  <a:pt x="260764" y="2383530"/>
                </a:cubicBezTo>
                <a:cubicBezTo>
                  <a:pt x="261756" y="2387539"/>
                  <a:pt x="262961" y="2391819"/>
                  <a:pt x="263953" y="2395830"/>
                </a:cubicBezTo>
                <a:cubicBezTo>
                  <a:pt x="265501" y="2395548"/>
                  <a:pt x="267300" y="2395295"/>
                  <a:pt x="268853" y="2395014"/>
                </a:cubicBezTo>
                <a:cubicBezTo>
                  <a:pt x="267115" y="2390906"/>
                  <a:pt x="265135" y="2386767"/>
                  <a:pt x="263151" y="2382629"/>
                </a:cubicBezTo>
                <a:close/>
                <a:moveTo>
                  <a:pt x="507327" y="2260446"/>
                </a:moveTo>
                <a:cubicBezTo>
                  <a:pt x="506736" y="2261097"/>
                  <a:pt x="505311" y="2262365"/>
                  <a:pt x="505311" y="2262365"/>
                </a:cubicBezTo>
                <a:lnTo>
                  <a:pt x="505063" y="2262333"/>
                </a:lnTo>
                <a:cubicBezTo>
                  <a:pt x="507262" y="2264804"/>
                  <a:pt x="509710" y="2267306"/>
                  <a:pt x="511909" y="2269775"/>
                </a:cubicBezTo>
                <a:cubicBezTo>
                  <a:pt x="512778" y="2268919"/>
                  <a:pt x="513616" y="2268300"/>
                  <a:pt x="514485" y="2267443"/>
                </a:cubicBezTo>
                <a:cubicBezTo>
                  <a:pt x="512253" y="2265211"/>
                  <a:pt x="509804" y="2262709"/>
                  <a:pt x="507327" y="2260446"/>
                </a:cubicBezTo>
                <a:close/>
                <a:moveTo>
                  <a:pt x="1608387" y="2168010"/>
                </a:moveTo>
                <a:cubicBezTo>
                  <a:pt x="1608976" y="2169299"/>
                  <a:pt x="1609782" y="2170861"/>
                  <a:pt x="1610371" y="2172150"/>
                </a:cubicBezTo>
                <a:cubicBezTo>
                  <a:pt x="1610650" y="2171941"/>
                  <a:pt x="1611175" y="2171768"/>
                  <a:pt x="1611175" y="2171768"/>
                </a:cubicBezTo>
                <a:cubicBezTo>
                  <a:pt x="1610339" y="2170446"/>
                  <a:pt x="1608387" y="2168010"/>
                  <a:pt x="1608387" y="2168010"/>
                </a:cubicBezTo>
                <a:close/>
                <a:moveTo>
                  <a:pt x="1581668" y="2162100"/>
                </a:moveTo>
                <a:cubicBezTo>
                  <a:pt x="1583651" y="2164299"/>
                  <a:pt x="1585633" y="2166498"/>
                  <a:pt x="1587369" y="2168664"/>
                </a:cubicBezTo>
                <a:lnTo>
                  <a:pt x="1587400" y="2168426"/>
                </a:lnTo>
                <a:cubicBezTo>
                  <a:pt x="1587897" y="2168491"/>
                  <a:pt x="1588702" y="2166171"/>
                  <a:pt x="1589387" y="2164804"/>
                </a:cubicBezTo>
                <a:cubicBezTo>
                  <a:pt x="1586967" y="2164005"/>
                  <a:pt x="1584303" y="2163172"/>
                  <a:pt x="1581668" y="2162100"/>
                </a:cubicBezTo>
                <a:close/>
                <a:moveTo>
                  <a:pt x="1579822" y="2129842"/>
                </a:moveTo>
                <a:cubicBezTo>
                  <a:pt x="1578952" y="2130699"/>
                  <a:pt x="1577711" y="2132478"/>
                  <a:pt x="1577711" y="2132478"/>
                </a:cubicBezTo>
                <a:lnTo>
                  <a:pt x="1577958" y="2132510"/>
                </a:lnTo>
                <a:cubicBezTo>
                  <a:pt x="1578146" y="2133021"/>
                  <a:pt x="1578363" y="2133291"/>
                  <a:pt x="1578300" y="2133769"/>
                </a:cubicBezTo>
                <a:cubicBezTo>
                  <a:pt x="1578300" y="2133769"/>
                  <a:pt x="1579602" y="2133453"/>
                  <a:pt x="1580347" y="2133550"/>
                </a:cubicBezTo>
                <a:cubicBezTo>
                  <a:pt x="1580005" y="2132293"/>
                  <a:pt x="1579913" y="2131069"/>
                  <a:pt x="1579822" y="2129842"/>
                </a:cubicBezTo>
                <a:close/>
                <a:moveTo>
                  <a:pt x="554174" y="1858588"/>
                </a:moveTo>
                <a:cubicBezTo>
                  <a:pt x="553617" y="1858999"/>
                  <a:pt x="552810" y="1859380"/>
                  <a:pt x="552810" y="1859380"/>
                </a:cubicBezTo>
                <a:cubicBezTo>
                  <a:pt x="554267" y="1861753"/>
                  <a:pt x="555474" y="1864092"/>
                  <a:pt x="556931" y="1866465"/>
                </a:cubicBezTo>
                <a:cubicBezTo>
                  <a:pt x="557457" y="1866291"/>
                  <a:pt x="558016" y="1865880"/>
                  <a:pt x="558542" y="1865704"/>
                </a:cubicBezTo>
                <a:cubicBezTo>
                  <a:pt x="557087" y="1863332"/>
                  <a:pt x="555631" y="1860959"/>
                  <a:pt x="554174" y="1858588"/>
                </a:cubicBezTo>
                <a:close/>
                <a:moveTo>
                  <a:pt x="572513" y="1844394"/>
                </a:moveTo>
                <a:cubicBezTo>
                  <a:pt x="570138" y="1843993"/>
                  <a:pt x="567139" y="1845239"/>
                  <a:pt x="563263" y="1848856"/>
                </a:cubicBezTo>
                <a:cubicBezTo>
                  <a:pt x="567322" y="1854481"/>
                  <a:pt x="570945" y="1859559"/>
                  <a:pt x="574539" y="1864880"/>
                </a:cubicBezTo>
                <a:cubicBezTo>
                  <a:pt x="575996" y="1867251"/>
                  <a:pt x="578846" y="1870536"/>
                  <a:pt x="578102" y="1872379"/>
                </a:cubicBezTo>
                <a:cubicBezTo>
                  <a:pt x="575618" y="1879817"/>
                  <a:pt x="579399" y="1885645"/>
                  <a:pt x="582652" y="1891648"/>
                </a:cubicBezTo>
                <a:cubicBezTo>
                  <a:pt x="594113" y="1912060"/>
                  <a:pt x="605606" y="1932238"/>
                  <a:pt x="617346" y="1952444"/>
                </a:cubicBezTo>
                <a:lnTo>
                  <a:pt x="616786" y="1952854"/>
                </a:lnTo>
                <a:cubicBezTo>
                  <a:pt x="618832" y="1956518"/>
                  <a:pt x="622241" y="1959387"/>
                  <a:pt x="624845" y="1962637"/>
                </a:cubicBezTo>
                <a:cubicBezTo>
                  <a:pt x="625680" y="1962020"/>
                  <a:pt x="626766" y="1961433"/>
                  <a:pt x="627603" y="1960814"/>
                </a:cubicBezTo>
                <a:cubicBezTo>
                  <a:pt x="624973" y="1953921"/>
                  <a:pt x="622338" y="1947031"/>
                  <a:pt x="619707" y="1940139"/>
                </a:cubicBezTo>
                <a:cubicBezTo>
                  <a:pt x="623179" y="1938651"/>
                  <a:pt x="625566" y="1937750"/>
                  <a:pt x="628759" y="1936469"/>
                </a:cubicBezTo>
                <a:cubicBezTo>
                  <a:pt x="625973" y="1930768"/>
                  <a:pt x="624704" y="1925026"/>
                  <a:pt x="616364" y="1925150"/>
                </a:cubicBezTo>
                <a:cubicBezTo>
                  <a:pt x="614101" y="1925097"/>
                  <a:pt x="610351" y="1922910"/>
                  <a:pt x="609361" y="1920840"/>
                </a:cubicBezTo>
                <a:cubicBezTo>
                  <a:pt x="603443" y="1908184"/>
                  <a:pt x="598086" y="1895115"/>
                  <a:pt x="592450" y="1882254"/>
                </a:cubicBezTo>
                <a:cubicBezTo>
                  <a:pt x="587804" y="1871460"/>
                  <a:pt x="583190" y="1860431"/>
                  <a:pt x="578016" y="1849810"/>
                </a:cubicBezTo>
                <a:cubicBezTo>
                  <a:pt x="576639" y="1846842"/>
                  <a:pt x="574888" y="1844795"/>
                  <a:pt x="572513" y="1844394"/>
                </a:cubicBezTo>
                <a:close/>
                <a:moveTo>
                  <a:pt x="857602" y="1782939"/>
                </a:moveTo>
                <a:cubicBezTo>
                  <a:pt x="856547" y="1783286"/>
                  <a:pt x="854687" y="1784013"/>
                  <a:pt x="854687" y="1784013"/>
                </a:cubicBezTo>
                <a:cubicBezTo>
                  <a:pt x="855802" y="1787069"/>
                  <a:pt x="857197" y="1789920"/>
                  <a:pt x="858310" y="1792975"/>
                </a:cubicBezTo>
                <a:cubicBezTo>
                  <a:pt x="859395" y="1792388"/>
                  <a:pt x="860449" y="1792042"/>
                  <a:pt x="861504" y="1791693"/>
                </a:cubicBezTo>
                <a:cubicBezTo>
                  <a:pt x="860109" y="1788845"/>
                  <a:pt x="858995" y="1785790"/>
                  <a:pt x="857602" y="1782939"/>
                </a:cubicBezTo>
                <a:close/>
                <a:moveTo>
                  <a:pt x="1062952" y="1767025"/>
                </a:moveTo>
                <a:cubicBezTo>
                  <a:pt x="1060874" y="1767483"/>
                  <a:pt x="1058798" y="1767938"/>
                  <a:pt x="1052286" y="1769515"/>
                </a:cubicBezTo>
                <a:cubicBezTo>
                  <a:pt x="1059013" y="1770151"/>
                  <a:pt x="1061244" y="1770442"/>
                  <a:pt x="1063478" y="1770733"/>
                </a:cubicBezTo>
                <a:cubicBezTo>
                  <a:pt x="1063352" y="1769744"/>
                  <a:pt x="1063169" y="1767296"/>
                  <a:pt x="1063169" y="1767296"/>
                </a:cubicBezTo>
                <a:close/>
                <a:moveTo>
                  <a:pt x="1568311" y="1620444"/>
                </a:moveTo>
                <a:cubicBezTo>
                  <a:pt x="1570013" y="1624789"/>
                  <a:pt x="1571469" y="1629102"/>
                  <a:pt x="1573171" y="1633446"/>
                </a:cubicBezTo>
                <a:cubicBezTo>
                  <a:pt x="1574534" y="1636537"/>
                  <a:pt x="1576207" y="1639179"/>
                  <a:pt x="1578159" y="1641617"/>
                </a:cubicBezTo>
                <a:cubicBezTo>
                  <a:pt x="1577699" y="1633553"/>
                  <a:pt x="1574351" y="1626325"/>
                  <a:pt x="1568558" y="1620477"/>
                </a:cubicBezTo>
                <a:close/>
                <a:moveTo>
                  <a:pt x="1092152" y="1616571"/>
                </a:moveTo>
                <a:lnTo>
                  <a:pt x="1088135" y="1618533"/>
                </a:lnTo>
                <a:lnTo>
                  <a:pt x="1088122" y="1618470"/>
                </a:lnTo>
                <a:lnTo>
                  <a:pt x="1087843" y="1618676"/>
                </a:lnTo>
                <a:lnTo>
                  <a:pt x="1088135" y="1618533"/>
                </a:lnTo>
                <a:lnTo>
                  <a:pt x="1090388" y="1628649"/>
                </a:lnTo>
                <a:cubicBezTo>
                  <a:pt x="1092449" y="1631223"/>
                  <a:pt x="1095541" y="1633142"/>
                  <a:pt x="1098841" y="1634907"/>
                </a:cubicBezTo>
                <a:cubicBezTo>
                  <a:pt x="1098006" y="1631645"/>
                  <a:pt x="1097140" y="1628619"/>
                  <a:pt x="1096271" y="1625598"/>
                </a:cubicBezTo>
                <a:cubicBezTo>
                  <a:pt x="1095901" y="1624580"/>
                  <a:pt x="1095559" y="1623320"/>
                  <a:pt x="1095219" y="1622064"/>
                </a:cubicBezTo>
                <a:cubicBezTo>
                  <a:pt x="1094198" y="1620233"/>
                  <a:pt x="1093174" y="1618403"/>
                  <a:pt x="1092152" y="1616571"/>
                </a:cubicBezTo>
                <a:close/>
                <a:moveTo>
                  <a:pt x="1519465" y="1590791"/>
                </a:moveTo>
                <a:cubicBezTo>
                  <a:pt x="1520608" y="1601370"/>
                  <a:pt x="1527207" y="1608778"/>
                  <a:pt x="1533531" y="1616393"/>
                </a:cubicBezTo>
                <a:cubicBezTo>
                  <a:pt x="1529378" y="1607606"/>
                  <a:pt x="1524671" y="1599231"/>
                  <a:pt x="1519465" y="1590791"/>
                </a:cubicBezTo>
                <a:close/>
                <a:moveTo>
                  <a:pt x="1496097" y="1576585"/>
                </a:moveTo>
                <a:cubicBezTo>
                  <a:pt x="1502853" y="1582803"/>
                  <a:pt x="1501143" y="1595922"/>
                  <a:pt x="1515185" y="1598478"/>
                </a:cubicBezTo>
                <a:lnTo>
                  <a:pt x="1516377" y="1597984"/>
                </a:lnTo>
                <a:lnTo>
                  <a:pt x="1516486" y="1598164"/>
                </a:lnTo>
                <a:lnTo>
                  <a:pt x="1516517" y="1597926"/>
                </a:lnTo>
                <a:lnTo>
                  <a:pt x="1516377" y="1597984"/>
                </a:lnTo>
                <a:lnTo>
                  <a:pt x="1508339" y="1584731"/>
                </a:lnTo>
                <a:cubicBezTo>
                  <a:pt x="1505232" y="1580990"/>
                  <a:pt x="1501444" y="1578132"/>
                  <a:pt x="1496097" y="1576585"/>
                </a:cubicBezTo>
                <a:close/>
                <a:moveTo>
                  <a:pt x="1538324" y="1562204"/>
                </a:moveTo>
                <a:cubicBezTo>
                  <a:pt x="1539657" y="1565529"/>
                  <a:pt x="1541019" y="1568618"/>
                  <a:pt x="1542352" y="1571944"/>
                </a:cubicBezTo>
                <a:cubicBezTo>
                  <a:pt x="1547253" y="1565308"/>
                  <a:pt x="1542448" y="1563470"/>
                  <a:pt x="1538324" y="1562204"/>
                </a:cubicBezTo>
                <a:close/>
                <a:moveTo>
                  <a:pt x="1400539" y="1468077"/>
                </a:moveTo>
                <a:cubicBezTo>
                  <a:pt x="1400662" y="1469062"/>
                  <a:pt x="1401000" y="1470322"/>
                  <a:pt x="1401374" y="1471340"/>
                </a:cubicBezTo>
                <a:cubicBezTo>
                  <a:pt x="1401837" y="1471643"/>
                  <a:pt x="1402551" y="1471977"/>
                  <a:pt x="1402551" y="1471977"/>
                </a:cubicBezTo>
                <a:cubicBezTo>
                  <a:pt x="1401715" y="1470656"/>
                  <a:pt x="1401126" y="1469367"/>
                  <a:pt x="1400539" y="1468077"/>
                </a:cubicBezTo>
                <a:close/>
                <a:moveTo>
                  <a:pt x="1040447" y="1459933"/>
                </a:moveTo>
                <a:cubicBezTo>
                  <a:pt x="1039393" y="1460282"/>
                  <a:pt x="1038555" y="1460901"/>
                  <a:pt x="1037748" y="1461280"/>
                </a:cubicBezTo>
                <a:cubicBezTo>
                  <a:pt x="1038989" y="1463382"/>
                  <a:pt x="1040196" y="1465721"/>
                  <a:pt x="1041684" y="1467855"/>
                </a:cubicBezTo>
                <a:cubicBezTo>
                  <a:pt x="1042953" y="1469720"/>
                  <a:pt x="1044749" y="1471411"/>
                  <a:pt x="1046300" y="1473066"/>
                </a:cubicBezTo>
                <a:cubicBezTo>
                  <a:pt x="1046859" y="1472657"/>
                  <a:pt x="1047416" y="1472242"/>
                  <a:pt x="1047975" y="1471831"/>
                </a:cubicBezTo>
                <a:cubicBezTo>
                  <a:pt x="1045466" y="1467865"/>
                  <a:pt x="1042956" y="1463899"/>
                  <a:pt x="1040447" y="1459933"/>
                </a:cubicBezTo>
                <a:close/>
                <a:moveTo>
                  <a:pt x="1359063" y="1459274"/>
                </a:moveTo>
                <a:cubicBezTo>
                  <a:pt x="1358785" y="1459480"/>
                  <a:pt x="1357699" y="1460067"/>
                  <a:pt x="1357699" y="1460067"/>
                </a:cubicBezTo>
                <a:cubicBezTo>
                  <a:pt x="1359155" y="1462438"/>
                  <a:pt x="1360362" y="1464779"/>
                  <a:pt x="1361819" y="1467153"/>
                </a:cubicBezTo>
                <a:cubicBezTo>
                  <a:pt x="1362097" y="1466945"/>
                  <a:pt x="1362657" y="1466534"/>
                  <a:pt x="1363182" y="1466360"/>
                </a:cubicBezTo>
                <a:cubicBezTo>
                  <a:pt x="1361729" y="1463986"/>
                  <a:pt x="1360519" y="1461646"/>
                  <a:pt x="1359063" y="1459274"/>
                </a:cubicBezTo>
                <a:close/>
                <a:moveTo>
                  <a:pt x="1416261" y="1455817"/>
                </a:moveTo>
                <a:lnTo>
                  <a:pt x="1415856" y="1456818"/>
                </a:lnTo>
                <a:lnTo>
                  <a:pt x="1411115" y="1462392"/>
                </a:lnTo>
                <a:cubicBezTo>
                  <a:pt x="1411374" y="1464275"/>
                  <a:pt x="1413172" y="1465965"/>
                  <a:pt x="1414984" y="1467536"/>
                </a:cubicBezTo>
                <a:cubicBezTo>
                  <a:pt x="1416566" y="1468954"/>
                  <a:pt x="1419076" y="1469039"/>
                  <a:pt x="1423384" y="1470813"/>
                </a:cubicBezTo>
                <a:cubicBezTo>
                  <a:pt x="1422052" y="1467487"/>
                  <a:pt x="1420905" y="1464668"/>
                  <a:pt x="1419976" y="1462123"/>
                </a:cubicBezTo>
                <a:cubicBezTo>
                  <a:pt x="1418333" y="1461181"/>
                  <a:pt x="1416756" y="1459763"/>
                  <a:pt x="1415515" y="1457661"/>
                </a:cubicBezTo>
                <a:lnTo>
                  <a:pt x="1415856" y="1456818"/>
                </a:lnTo>
                <a:lnTo>
                  <a:pt x="1416477" y="1456088"/>
                </a:lnTo>
                <a:close/>
                <a:moveTo>
                  <a:pt x="1397140" y="1439984"/>
                </a:moveTo>
                <a:cubicBezTo>
                  <a:pt x="1395868" y="1440060"/>
                  <a:pt x="1394597" y="1440136"/>
                  <a:pt x="1393326" y="1440215"/>
                </a:cubicBezTo>
                <a:cubicBezTo>
                  <a:pt x="1393666" y="1441471"/>
                  <a:pt x="1394224" y="1442998"/>
                  <a:pt x="1394535" y="1444495"/>
                </a:cubicBezTo>
                <a:lnTo>
                  <a:pt x="1394504" y="1444733"/>
                </a:lnTo>
                <a:cubicBezTo>
                  <a:pt x="1394720" y="1445003"/>
                  <a:pt x="1394720" y="1445003"/>
                  <a:pt x="1394720" y="1445003"/>
                </a:cubicBezTo>
                <a:cubicBezTo>
                  <a:pt x="1395805" y="1444419"/>
                  <a:pt x="1396643" y="1443800"/>
                  <a:pt x="1397728" y="1443213"/>
                </a:cubicBezTo>
                <a:cubicBezTo>
                  <a:pt x="1397602" y="1442226"/>
                  <a:pt x="1397232" y="1441208"/>
                  <a:pt x="1397140" y="1439984"/>
                </a:cubicBezTo>
                <a:close/>
                <a:moveTo>
                  <a:pt x="1022211" y="1412655"/>
                </a:moveTo>
                <a:cubicBezTo>
                  <a:pt x="1019867" y="1411288"/>
                  <a:pt x="1016549" y="1411098"/>
                  <a:pt x="1012037" y="1412815"/>
                </a:cubicBezTo>
                <a:cubicBezTo>
                  <a:pt x="1017242" y="1423195"/>
                  <a:pt x="1022229" y="1433302"/>
                  <a:pt x="1028020" y="1444975"/>
                </a:cubicBezTo>
                <a:cubicBezTo>
                  <a:pt x="1040705" y="1434742"/>
                  <a:pt x="1028028" y="1427512"/>
                  <a:pt x="1026295" y="1419525"/>
                </a:cubicBezTo>
                <a:lnTo>
                  <a:pt x="1026544" y="1419557"/>
                </a:lnTo>
                <a:cubicBezTo>
                  <a:pt x="1025925" y="1416565"/>
                  <a:pt x="1024555" y="1414022"/>
                  <a:pt x="1022211" y="1412655"/>
                </a:cubicBezTo>
                <a:close/>
                <a:moveTo>
                  <a:pt x="433519" y="1408691"/>
                </a:moveTo>
                <a:cubicBezTo>
                  <a:pt x="432186" y="1409246"/>
                  <a:pt x="429489" y="1410593"/>
                  <a:pt x="429489" y="1410593"/>
                </a:cubicBezTo>
                <a:cubicBezTo>
                  <a:pt x="431410" y="1413268"/>
                  <a:pt x="433114" y="1415672"/>
                  <a:pt x="435034" y="1418349"/>
                </a:cubicBezTo>
                <a:cubicBezTo>
                  <a:pt x="435594" y="1417935"/>
                  <a:pt x="436367" y="1417795"/>
                  <a:pt x="436927" y="1417384"/>
                </a:cubicBezTo>
                <a:cubicBezTo>
                  <a:pt x="435810" y="1414327"/>
                  <a:pt x="434665" y="1411509"/>
                  <a:pt x="433519" y="1408691"/>
                </a:cubicBezTo>
                <a:close/>
                <a:moveTo>
                  <a:pt x="1404537" y="1389042"/>
                </a:moveTo>
                <a:cubicBezTo>
                  <a:pt x="1404070" y="1396500"/>
                  <a:pt x="1399420" y="1395410"/>
                  <a:pt x="1395390" y="1395369"/>
                </a:cubicBezTo>
                <a:cubicBezTo>
                  <a:pt x="1395575" y="1395878"/>
                  <a:pt x="1395543" y="1396117"/>
                  <a:pt x="1395513" y="1396354"/>
                </a:cubicBezTo>
                <a:cubicBezTo>
                  <a:pt x="1394212" y="1396672"/>
                  <a:pt x="1392693" y="1396715"/>
                  <a:pt x="1390927" y="1396727"/>
                </a:cubicBezTo>
                <a:cubicBezTo>
                  <a:pt x="1390336" y="1397378"/>
                  <a:pt x="1389501" y="1397998"/>
                  <a:pt x="1389313" y="1399428"/>
                </a:cubicBezTo>
                <a:cubicBezTo>
                  <a:pt x="1388566" y="1407091"/>
                  <a:pt x="1394825" y="1413244"/>
                  <a:pt x="1400309" y="1419536"/>
                </a:cubicBezTo>
                <a:cubicBezTo>
                  <a:pt x="1404679" y="1424715"/>
                  <a:pt x="1406969" y="1430351"/>
                  <a:pt x="1405386" y="1436692"/>
                </a:cubicBezTo>
                <a:cubicBezTo>
                  <a:pt x="1406841" y="1444887"/>
                  <a:pt x="1415520" y="1446019"/>
                  <a:pt x="1420974" y="1450611"/>
                </a:cubicBezTo>
                <a:lnTo>
                  <a:pt x="1421007" y="1450371"/>
                </a:lnTo>
                <a:cubicBezTo>
                  <a:pt x="1422615" y="1451551"/>
                  <a:pt x="1424197" y="1452971"/>
                  <a:pt x="1425778" y="1454390"/>
                </a:cubicBezTo>
                <a:cubicBezTo>
                  <a:pt x="1429343" y="1456067"/>
                  <a:pt x="1432874" y="1457984"/>
                  <a:pt x="1436439" y="1459661"/>
                </a:cubicBezTo>
                <a:cubicBezTo>
                  <a:pt x="1435632" y="1460040"/>
                  <a:pt x="1434827" y="1460421"/>
                  <a:pt x="1434020" y="1460800"/>
                </a:cubicBezTo>
                <a:cubicBezTo>
                  <a:pt x="1437740" y="1463225"/>
                  <a:pt x="1441521" y="1465175"/>
                  <a:pt x="1446233" y="1465789"/>
                </a:cubicBezTo>
                <a:cubicBezTo>
                  <a:pt x="1447284" y="1473201"/>
                  <a:pt x="1453700" y="1474283"/>
                  <a:pt x="1459309" y="1477680"/>
                </a:cubicBezTo>
                <a:cubicBezTo>
                  <a:pt x="1443822" y="1447524"/>
                  <a:pt x="1425358" y="1418922"/>
                  <a:pt x="1405529" y="1389171"/>
                </a:cubicBezTo>
                <a:cubicBezTo>
                  <a:pt x="1405281" y="1389139"/>
                  <a:pt x="1404787" y="1389075"/>
                  <a:pt x="1404537" y="1389042"/>
                </a:cubicBezTo>
                <a:close/>
                <a:moveTo>
                  <a:pt x="979968" y="1376372"/>
                </a:moveTo>
                <a:cubicBezTo>
                  <a:pt x="982134" y="1384903"/>
                  <a:pt x="983277" y="1393541"/>
                  <a:pt x="986562" y="1401245"/>
                </a:cubicBezTo>
                <a:cubicBezTo>
                  <a:pt x="993095" y="1416892"/>
                  <a:pt x="1007104" y="1429390"/>
                  <a:pt x="1007994" y="1447698"/>
                </a:cubicBezTo>
                <a:cubicBezTo>
                  <a:pt x="1008056" y="1449163"/>
                  <a:pt x="1009883" y="1450613"/>
                  <a:pt x="1010968" y="1451967"/>
                </a:cubicBezTo>
                <a:cubicBezTo>
                  <a:pt x="1015709" y="1458164"/>
                  <a:pt x="1021008" y="1463947"/>
                  <a:pt x="1024943" y="1470524"/>
                </a:cubicBezTo>
                <a:cubicBezTo>
                  <a:pt x="1038387" y="1493138"/>
                  <a:pt x="1050993" y="1516368"/>
                  <a:pt x="1064158" y="1539186"/>
                </a:cubicBezTo>
                <a:lnTo>
                  <a:pt x="1063417" y="1539090"/>
                </a:lnTo>
                <a:cubicBezTo>
                  <a:pt x="1067101" y="1545634"/>
                  <a:pt x="1071906" y="1551353"/>
                  <a:pt x="1076182" y="1557247"/>
                </a:cubicBezTo>
                <a:cubicBezTo>
                  <a:pt x="1076369" y="1555815"/>
                  <a:pt x="1076057" y="1554320"/>
                  <a:pt x="1075965" y="1553095"/>
                </a:cubicBezTo>
                <a:cubicBezTo>
                  <a:pt x="1072405" y="1541716"/>
                  <a:pt x="1068845" y="1530338"/>
                  <a:pt x="1065284" y="1518959"/>
                </a:cubicBezTo>
                <a:cubicBezTo>
                  <a:pt x="1065253" y="1519197"/>
                  <a:pt x="1065191" y="1519675"/>
                  <a:pt x="1065129" y="1520151"/>
                </a:cubicBezTo>
                <a:cubicBezTo>
                  <a:pt x="1058467" y="1515159"/>
                  <a:pt x="1059708" y="1509500"/>
                  <a:pt x="1060951" y="1503841"/>
                </a:cubicBezTo>
                <a:cubicBezTo>
                  <a:pt x="1060207" y="1501803"/>
                  <a:pt x="1059743" y="1499561"/>
                  <a:pt x="1059001" y="1497524"/>
                </a:cubicBezTo>
                <a:cubicBezTo>
                  <a:pt x="1051776" y="1498764"/>
                  <a:pt x="1047778" y="1494604"/>
                  <a:pt x="1044682" y="1489350"/>
                </a:cubicBezTo>
                <a:cubicBezTo>
                  <a:pt x="1039757" y="1480703"/>
                  <a:pt x="1035418" y="1471406"/>
                  <a:pt x="1030277" y="1462487"/>
                </a:cubicBezTo>
                <a:cubicBezTo>
                  <a:pt x="1013859" y="1433668"/>
                  <a:pt x="999364" y="1403642"/>
                  <a:pt x="979968" y="1376372"/>
                </a:cubicBezTo>
                <a:close/>
                <a:moveTo>
                  <a:pt x="647497" y="1369163"/>
                </a:moveTo>
                <a:cubicBezTo>
                  <a:pt x="646380" y="1369989"/>
                  <a:pt x="643900" y="1371606"/>
                  <a:pt x="643900" y="1371606"/>
                </a:cubicBezTo>
                <a:cubicBezTo>
                  <a:pt x="647123" y="1375907"/>
                  <a:pt x="650065" y="1380412"/>
                  <a:pt x="653287" y="1384713"/>
                </a:cubicBezTo>
                <a:cubicBezTo>
                  <a:pt x="653847" y="1384301"/>
                  <a:pt x="654652" y="1383922"/>
                  <a:pt x="655211" y="1383508"/>
                </a:cubicBezTo>
                <a:cubicBezTo>
                  <a:pt x="652794" y="1378828"/>
                  <a:pt x="650163" y="1373876"/>
                  <a:pt x="647497" y="1369163"/>
                </a:cubicBezTo>
                <a:close/>
                <a:moveTo>
                  <a:pt x="825613" y="1316468"/>
                </a:moveTo>
                <a:cubicBezTo>
                  <a:pt x="826356" y="1318505"/>
                  <a:pt x="827596" y="1320607"/>
                  <a:pt x="829394" y="1322298"/>
                </a:cubicBezTo>
                <a:cubicBezTo>
                  <a:pt x="829609" y="1322569"/>
                  <a:pt x="829826" y="1322839"/>
                  <a:pt x="829826" y="1322839"/>
                </a:cubicBezTo>
                <a:cubicBezTo>
                  <a:pt x="828339" y="1320704"/>
                  <a:pt x="827100" y="1318602"/>
                  <a:pt x="825613" y="1316468"/>
                </a:cubicBezTo>
                <a:close/>
                <a:moveTo>
                  <a:pt x="637321" y="1311807"/>
                </a:moveTo>
                <a:cubicBezTo>
                  <a:pt x="629319" y="1324830"/>
                  <a:pt x="641498" y="1330058"/>
                  <a:pt x="647602" y="1337403"/>
                </a:cubicBezTo>
                <a:cubicBezTo>
                  <a:pt x="643856" y="1329395"/>
                  <a:pt x="651643" y="1316099"/>
                  <a:pt x="637321" y="1311807"/>
                </a:cubicBezTo>
                <a:close/>
                <a:moveTo>
                  <a:pt x="3628505" y="1309373"/>
                </a:moveTo>
                <a:cubicBezTo>
                  <a:pt x="3630425" y="1312050"/>
                  <a:pt x="3632346" y="1314725"/>
                  <a:pt x="3634265" y="1317402"/>
                </a:cubicBezTo>
                <a:cubicBezTo>
                  <a:pt x="3634112" y="1316654"/>
                  <a:pt x="3633772" y="1315398"/>
                  <a:pt x="3633772" y="1315398"/>
                </a:cubicBezTo>
                <a:lnTo>
                  <a:pt x="3634019" y="1315430"/>
                </a:lnTo>
                <a:cubicBezTo>
                  <a:pt x="3632006" y="1313468"/>
                  <a:pt x="3630271" y="1311302"/>
                  <a:pt x="3628505" y="1309373"/>
                </a:cubicBezTo>
                <a:close/>
                <a:moveTo>
                  <a:pt x="1395478" y="1181936"/>
                </a:moveTo>
                <a:lnTo>
                  <a:pt x="1395197" y="1182142"/>
                </a:lnTo>
                <a:cubicBezTo>
                  <a:pt x="1398761" y="1187702"/>
                  <a:pt x="1402139" y="1192749"/>
                  <a:pt x="1405048" y="1197496"/>
                </a:cubicBezTo>
                <a:cubicBezTo>
                  <a:pt x="1405327" y="1197290"/>
                  <a:pt x="1405390" y="1196812"/>
                  <a:pt x="1405421" y="1196573"/>
                </a:cubicBezTo>
                <a:cubicBezTo>
                  <a:pt x="1407161" y="1192919"/>
                  <a:pt x="1404619" y="1187251"/>
                  <a:pt x="1401118" y="1185099"/>
                </a:cubicBezTo>
                <a:cubicBezTo>
                  <a:pt x="1399259" y="1183886"/>
                  <a:pt x="1397369" y="1182911"/>
                  <a:pt x="1395478" y="1181936"/>
                </a:cubicBezTo>
                <a:close/>
                <a:moveTo>
                  <a:pt x="846625" y="1178529"/>
                </a:moveTo>
                <a:lnTo>
                  <a:pt x="847429" y="1180091"/>
                </a:lnTo>
                <a:cubicBezTo>
                  <a:pt x="847429" y="1180091"/>
                  <a:pt x="848114" y="1178723"/>
                  <a:pt x="848114" y="1178723"/>
                </a:cubicBezTo>
                <a:close/>
                <a:moveTo>
                  <a:pt x="1305767" y="1094322"/>
                </a:moveTo>
                <a:cubicBezTo>
                  <a:pt x="1301210" y="1094456"/>
                  <a:pt x="1297861" y="1096930"/>
                  <a:pt x="1298510" y="1101621"/>
                </a:cubicBezTo>
                <a:lnTo>
                  <a:pt x="1298480" y="1101862"/>
                </a:lnTo>
                <a:cubicBezTo>
                  <a:pt x="1298697" y="1104073"/>
                  <a:pt x="1301455" y="1106130"/>
                  <a:pt x="1303592" y="1109076"/>
                </a:cubicBezTo>
                <a:cubicBezTo>
                  <a:pt x="1308337" y="1103631"/>
                  <a:pt x="1311904" y="1099487"/>
                  <a:pt x="1315191" y="1095552"/>
                </a:cubicBezTo>
                <a:cubicBezTo>
                  <a:pt x="1311968" y="1095130"/>
                  <a:pt x="1308805" y="1094232"/>
                  <a:pt x="1305767" y="1094322"/>
                </a:cubicBezTo>
                <a:close/>
                <a:moveTo>
                  <a:pt x="1317393" y="1094140"/>
                </a:moveTo>
                <a:cubicBezTo>
                  <a:pt x="1317084" y="1094583"/>
                  <a:pt x="1316555" y="1094759"/>
                  <a:pt x="1315998" y="1095170"/>
                </a:cubicBezTo>
                <a:cubicBezTo>
                  <a:pt x="1316215" y="1095443"/>
                  <a:pt x="1316677" y="1095744"/>
                  <a:pt x="1316896" y="1096015"/>
                </a:cubicBezTo>
                <a:cubicBezTo>
                  <a:pt x="1317206" y="1095572"/>
                  <a:pt x="1317393" y="1094140"/>
                  <a:pt x="1317393" y="1094140"/>
                </a:cubicBezTo>
                <a:close/>
                <a:moveTo>
                  <a:pt x="946017" y="1087436"/>
                </a:moveTo>
                <a:lnTo>
                  <a:pt x="946294" y="1089170"/>
                </a:lnTo>
                <a:lnTo>
                  <a:pt x="947660" y="1088378"/>
                </a:lnTo>
                <a:lnTo>
                  <a:pt x="946263" y="1087468"/>
                </a:lnTo>
                <a:close/>
                <a:moveTo>
                  <a:pt x="976623" y="1067413"/>
                </a:moveTo>
                <a:cubicBezTo>
                  <a:pt x="976868" y="1069385"/>
                  <a:pt x="976526" y="1072009"/>
                  <a:pt x="977672" y="1072887"/>
                </a:cubicBezTo>
                <a:lnTo>
                  <a:pt x="977891" y="1073158"/>
                </a:lnTo>
                <a:cubicBezTo>
                  <a:pt x="980184" y="1074911"/>
                  <a:pt x="982165" y="1077112"/>
                  <a:pt x="984151" y="1079312"/>
                </a:cubicBezTo>
                <a:cubicBezTo>
                  <a:pt x="985174" y="1079201"/>
                  <a:pt x="985947" y="1079059"/>
                  <a:pt x="986938" y="1079188"/>
                </a:cubicBezTo>
                <a:cubicBezTo>
                  <a:pt x="986788" y="1070679"/>
                  <a:pt x="986079" y="1064524"/>
                  <a:pt x="976623" y="1067413"/>
                </a:cubicBezTo>
                <a:close/>
                <a:moveTo>
                  <a:pt x="3951829" y="253266"/>
                </a:moveTo>
                <a:cubicBezTo>
                  <a:pt x="3952013" y="253777"/>
                  <a:pt x="3951859" y="254969"/>
                  <a:pt x="3951859" y="254969"/>
                </a:cubicBezTo>
                <a:lnTo>
                  <a:pt x="3951828" y="255207"/>
                </a:lnTo>
                <a:cubicBezTo>
                  <a:pt x="3952414" y="254558"/>
                  <a:pt x="3952727" y="254112"/>
                  <a:pt x="3953315" y="253460"/>
                </a:cubicBezTo>
                <a:cubicBezTo>
                  <a:pt x="3952820" y="253396"/>
                  <a:pt x="3952322" y="253331"/>
                  <a:pt x="3951829" y="253266"/>
                </a:cubicBezTo>
                <a:close/>
                <a:moveTo>
                  <a:pt x="4301147" y="222168"/>
                </a:moveTo>
                <a:cubicBezTo>
                  <a:pt x="4303594" y="226612"/>
                  <a:pt x="4306010" y="231292"/>
                  <a:pt x="4308426" y="235974"/>
                </a:cubicBezTo>
                <a:cubicBezTo>
                  <a:pt x="4307713" y="235636"/>
                  <a:pt x="4306752" y="235270"/>
                  <a:pt x="4306039" y="234934"/>
                </a:cubicBezTo>
                <a:cubicBezTo>
                  <a:pt x="4308705" y="237706"/>
                  <a:pt x="4311649" y="240275"/>
                  <a:pt x="4314314" y="243047"/>
                </a:cubicBezTo>
                <a:cubicBezTo>
                  <a:pt x="4309913" y="236168"/>
                  <a:pt x="4305824" y="228844"/>
                  <a:pt x="4301147" y="222168"/>
                </a:cubicBezTo>
                <a:close/>
                <a:moveTo>
                  <a:pt x="1459629" y="0"/>
                </a:moveTo>
                <a:lnTo>
                  <a:pt x="4916074" y="0"/>
                </a:lnTo>
                <a:lnTo>
                  <a:pt x="4999849" y="87203"/>
                </a:lnTo>
                <a:cubicBezTo>
                  <a:pt x="5043496" y="132896"/>
                  <a:pt x="5083559" y="175138"/>
                  <a:pt x="5113879" y="207591"/>
                </a:cubicBezTo>
                <a:lnTo>
                  <a:pt x="5005470" y="0"/>
                </a:lnTo>
                <a:lnTo>
                  <a:pt x="5503467" y="0"/>
                </a:lnTo>
                <a:lnTo>
                  <a:pt x="5502038" y="6857999"/>
                </a:lnTo>
                <a:lnTo>
                  <a:pt x="5411248" y="6857999"/>
                </a:lnTo>
                <a:lnTo>
                  <a:pt x="5409467" y="6852660"/>
                </a:lnTo>
                <a:cubicBezTo>
                  <a:pt x="5406978" y="6848060"/>
                  <a:pt x="5403376" y="6844255"/>
                  <a:pt x="5397626" y="6841930"/>
                </a:cubicBezTo>
                <a:cubicBezTo>
                  <a:pt x="5396510" y="6842754"/>
                  <a:pt x="5395642" y="6843611"/>
                  <a:pt x="5394774" y="6844468"/>
                </a:cubicBezTo>
                <a:cubicBezTo>
                  <a:pt x="5399515" y="6848725"/>
                  <a:pt x="5403977" y="6853188"/>
                  <a:pt x="5408779" y="6856967"/>
                </a:cubicBezTo>
                <a:lnTo>
                  <a:pt x="5409349" y="6857999"/>
                </a:lnTo>
                <a:lnTo>
                  <a:pt x="2748486" y="6857999"/>
                </a:lnTo>
                <a:lnTo>
                  <a:pt x="2748555" y="6849193"/>
                </a:lnTo>
                <a:cubicBezTo>
                  <a:pt x="2748435" y="6844327"/>
                  <a:pt x="2748314" y="6839459"/>
                  <a:pt x="2747943" y="6834560"/>
                </a:cubicBezTo>
                <a:cubicBezTo>
                  <a:pt x="2746672" y="6832696"/>
                  <a:pt x="2745187" y="6830562"/>
                  <a:pt x="2743915" y="6828698"/>
                </a:cubicBezTo>
                <a:lnTo>
                  <a:pt x="2738227" y="6857999"/>
                </a:lnTo>
                <a:lnTo>
                  <a:pt x="2598953" y="6857999"/>
                </a:lnTo>
                <a:lnTo>
                  <a:pt x="2599319" y="6856413"/>
                </a:lnTo>
                <a:lnTo>
                  <a:pt x="2598749" y="6857999"/>
                </a:lnTo>
                <a:lnTo>
                  <a:pt x="2584010" y="6857999"/>
                </a:lnTo>
                <a:lnTo>
                  <a:pt x="2591243" y="6823586"/>
                </a:lnTo>
                <a:cubicBezTo>
                  <a:pt x="2588854" y="6826429"/>
                  <a:pt x="2585753" y="6828935"/>
                  <a:pt x="2581164" y="6831248"/>
                </a:cubicBezTo>
                <a:cubicBezTo>
                  <a:pt x="2583872" y="6804678"/>
                  <a:pt x="2583914" y="6779216"/>
                  <a:pt x="2588418" y="6754334"/>
                </a:cubicBezTo>
                <a:cubicBezTo>
                  <a:pt x="2586158" y="6750403"/>
                  <a:pt x="2584205" y="6746023"/>
                  <a:pt x="2585076" y="6741285"/>
                </a:cubicBezTo>
                <a:cubicBezTo>
                  <a:pt x="2586006" y="6739953"/>
                  <a:pt x="2588548" y="6741737"/>
                  <a:pt x="2590934" y="6742777"/>
                </a:cubicBezTo>
                <a:cubicBezTo>
                  <a:pt x="2591432" y="6740903"/>
                  <a:pt x="2591897" y="6739264"/>
                  <a:pt x="2592363" y="6737629"/>
                </a:cubicBezTo>
                <a:cubicBezTo>
                  <a:pt x="2586689" y="6736645"/>
                  <a:pt x="2581050" y="6735425"/>
                  <a:pt x="2575408" y="6734203"/>
                </a:cubicBezTo>
                <a:cubicBezTo>
                  <a:pt x="2574720" y="6743332"/>
                  <a:pt x="2574005" y="6752697"/>
                  <a:pt x="2572792" y="6761997"/>
                </a:cubicBezTo>
                <a:cubicBezTo>
                  <a:pt x="2574832" y="6773423"/>
                  <a:pt x="2575635" y="6784685"/>
                  <a:pt x="2572654" y="6795937"/>
                </a:cubicBezTo>
                <a:cubicBezTo>
                  <a:pt x="2572095" y="6798291"/>
                  <a:pt x="2573891" y="6801923"/>
                  <a:pt x="2575842" y="6804359"/>
                </a:cubicBezTo>
                <a:cubicBezTo>
                  <a:pt x="2581761" y="6811194"/>
                  <a:pt x="2577047" y="6818340"/>
                  <a:pt x="2578657" y="6825342"/>
                </a:cubicBezTo>
                <a:lnTo>
                  <a:pt x="2576778" y="6825343"/>
                </a:lnTo>
                <a:lnTo>
                  <a:pt x="2577065" y="6822071"/>
                </a:lnTo>
                <a:cubicBezTo>
                  <a:pt x="2576931" y="6820204"/>
                  <a:pt x="2575746" y="6818655"/>
                  <a:pt x="2571282" y="6818073"/>
                </a:cubicBezTo>
                <a:cubicBezTo>
                  <a:pt x="2571374" y="6819299"/>
                  <a:pt x="2571466" y="6820523"/>
                  <a:pt x="2571808" y="6821780"/>
                </a:cubicBezTo>
                <a:lnTo>
                  <a:pt x="2572445" y="6826112"/>
                </a:lnTo>
                <a:lnTo>
                  <a:pt x="2569539" y="6829488"/>
                </a:lnTo>
                <a:cubicBezTo>
                  <a:pt x="2569910" y="6834387"/>
                  <a:pt x="2570063" y="6839017"/>
                  <a:pt x="2569689" y="6843818"/>
                </a:cubicBezTo>
                <a:cubicBezTo>
                  <a:pt x="2570123" y="6846301"/>
                  <a:pt x="2570090" y="6848480"/>
                  <a:pt x="2569099" y="6850291"/>
                </a:cubicBezTo>
                <a:lnTo>
                  <a:pt x="2567626" y="6857999"/>
                </a:lnTo>
                <a:lnTo>
                  <a:pt x="1677302" y="6857999"/>
                </a:lnTo>
                <a:lnTo>
                  <a:pt x="1684458" y="6841909"/>
                </a:lnTo>
                <a:cubicBezTo>
                  <a:pt x="1683187" y="6840045"/>
                  <a:pt x="1682105" y="6836751"/>
                  <a:pt x="1679778" y="6835236"/>
                </a:cubicBezTo>
                <a:cubicBezTo>
                  <a:pt x="1674697" y="6831663"/>
                  <a:pt x="1672249" y="6827221"/>
                  <a:pt x="1672530" y="6821191"/>
                </a:cubicBezTo>
                <a:cubicBezTo>
                  <a:pt x="1672997" y="6815676"/>
                  <a:pt x="1671976" y="6809963"/>
                  <a:pt x="1673190" y="6804542"/>
                </a:cubicBezTo>
                <a:cubicBezTo>
                  <a:pt x="1675581" y="6793941"/>
                  <a:pt x="1675150" y="6783695"/>
                  <a:pt x="1671929" y="6773573"/>
                </a:cubicBezTo>
                <a:cubicBezTo>
                  <a:pt x="1669193" y="6798442"/>
                  <a:pt x="1669460" y="6823460"/>
                  <a:pt x="1670475" y="6848575"/>
                </a:cubicBezTo>
                <a:lnTo>
                  <a:pt x="1670624" y="6857999"/>
                </a:lnTo>
                <a:lnTo>
                  <a:pt x="1649548" y="6857999"/>
                </a:lnTo>
                <a:lnTo>
                  <a:pt x="1640900" y="6837230"/>
                </a:lnTo>
                <a:cubicBezTo>
                  <a:pt x="1636059" y="6821409"/>
                  <a:pt x="1633647" y="6805086"/>
                  <a:pt x="1636058" y="6787574"/>
                </a:cubicBezTo>
                <a:cubicBezTo>
                  <a:pt x="1639882" y="6760179"/>
                  <a:pt x="1636824" y="6731403"/>
                  <a:pt x="1631969" y="6702876"/>
                </a:cubicBezTo>
                <a:cubicBezTo>
                  <a:pt x="1630629" y="6720894"/>
                  <a:pt x="1629537" y="6738940"/>
                  <a:pt x="1628133" y="6759375"/>
                </a:cubicBezTo>
                <a:cubicBezTo>
                  <a:pt x="1614404" y="6748609"/>
                  <a:pt x="1624021" y="6732886"/>
                  <a:pt x="1614320" y="6726042"/>
                </a:cubicBezTo>
                <a:cubicBezTo>
                  <a:pt x="1605332" y="6719535"/>
                  <a:pt x="1600964" y="6712416"/>
                  <a:pt x="1598706" y="6704602"/>
                </a:cubicBezTo>
                <a:cubicBezTo>
                  <a:pt x="1594633" y="6733906"/>
                  <a:pt x="1590839" y="6763000"/>
                  <a:pt x="1587014" y="6792335"/>
                </a:cubicBezTo>
                <a:cubicBezTo>
                  <a:pt x="1585895" y="6800922"/>
                  <a:pt x="1586046" y="6809431"/>
                  <a:pt x="1585421" y="6818081"/>
                </a:cubicBezTo>
                <a:cubicBezTo>
                  <a:pt x="1579377" y="6819963"/>
                  <a:pt x="1577147" y="6815790"/>
                  <a:pt x="1576683" y="6811606"/>
                </a:cubicBezTo>
                <a:cubicBezTo>
                  <a:pt x="1576714" y="6811367"/>
                  <a:pt x="1576714" y="6811367"/>
                  <a:pt x="1576714" y="6811367"/>
                </a:cubicBezTo>
                <a:cubicBezTo>
                  <a:pt x="1575503" y="6814848"/>
                  <a:pt x="1573797" y="6818264"/>
                  <a:pt x="1572061" y="6821919"/>
                </a:cubicBezTo>
                <a:cubicBezTo>
                  <a:pt x="1569981" y="6826255"/>
                  <a:pt x="1566942" y="6830225"/>
                  <a:pt x="1562568" y="6836688"/>
                </a:cubicBezTo>
                <a:cubicBezTo>
                  <a:pt x="1567402" y="6840229"/>
                  <a:pt x="1575307" y="6843441"/>
                  <a:pt x="1575429" y="6846368"/>
                </a:cubicBezTo>
                <a:lnTo>
                  <a:pt x="1576307" y="6857999"/>
                </a:lnTo>
                <a:lnTo>
                  <a:pt x="1523715" y="6857999"/>
                </a:lnTo>
                <a:lnTo>
                  <a:pt x="1523903" y="6854690"/>
                </a:lnTo>
                <a:cubicBezTo>
                  <a:pt x="1526075" y="6847695"/>
                  <a:pt x="1524685" y="6839026"/>
                  <a:pt x="1521836" y="6831863"/>
                </a:cubicBezTo>
                <a:cubicBezTo>
                  <a:pt x="1517437" y="6821102"/>
                  <a:pt x="1522743" y="6811364"/>
                  <a:pt x="1522994" y="6801694"/>
                </a:cubicBezTo>
                <a:cubicBezTo>
                  <a:pt x="1520918" y="6800212"/>
                  <a:pt x="1519121" y="6798522"/>
                  <a:pt x="1517385" y="6796356"/>
                </a:cubicBezTo>
                <a:cubicBezTo>
                  <a:pt x="1516516" y="6797213"/>
                  <a:pt x="1515898" y="6798103"/>
                  <a:pt x="1515060" y="6798719"/>
                </a:cubicBezTo>
                <a:cubicBezTo>
                  <a:pt x="1516048" y="6812431"/>
                  <a:pt x="1516972" y="6826620"/>
                  <a:pt x="1518143" y="6842780"/>
                </a:cubicBezTo>
                <a:cubicBezTo>
                  <a:pt x="1509869" y="6832727"/>
                  <a:pt x="1510184" y="6824523"/>
                  <a:pt x="1509597" y="6817411"/>
                </a:cubicBezTo>
                <a:cubicBezTo>
                  <a:pt x="1509380" y="6813259"/>
                  <a:pt x="1508916" y="6809077"/>
                  <a:pt x="1508703" y="6804926"/>
                </a:cubicBezTo>
                <a:cubicBezTo>
                  <a:pt x="1507556" y="6805988"/>
                  <a:pt x="1506377" y="6807289"/>
                  <a:pt x="1505446" y="6808624"/>
                </a:cubicBezTo>
                <a:cubicBezTo>
                  <a:pt x="1502406" y="6812592"/>
                  <a:pt x="1500018" y="6817377"/>
                  <a:pt x="1497381" y="6822126"/>
                </a:cubicBezTo>
                <a:cubicBezTo>
                  <a:pt x="1497968" y="6827295"/>
                  <a:pt x="1498028" y="6832640"/>
                  <a:pt x="1498336" y="6838016"/>
                </a:cubicBezTo>
                <a:lnTo>
                  <a:pt x="1499169" y="6857999"/>
                </a:lnTo>
                <a:lnTo>
                  <a:pt x="1479859" y="6857999"/>
                </a:lnTo>
                <a:lnTo>
                  <a:pt x="1481689" y="6838027"/>
                </a:lnTo>
                <a:cubicBezTo>
                  <a:pt x="1480946" y="6834049"/>
                  <a:pt x="1479923" y="6830279"/>
                  <a:pt x="1478903" y="6826507"/>
                </a:cubicBezTo>
                <a:cubicBezTo>
                  <a:pt x="1476086" y="6817167"/>
                  <a:pt x="1477145" y="6807116"/>
                  <a:pt x="1471599" y="6797420"/>
                </a:cubicBezTo>
                <a:lnTo>
                  <a:pt x="1469770" y="6857999"/>
                </a:lnTo>
                <a:lnTo>
                  <a:pt x="1461085" y="6857999"/>
                </a:lnTo>
                <a:lnTo>
                  <a:pt x="1456343" y="6808043"/>
                </a:lnTo>
                <a:cubicBezTo>
                  <a:pt x="1456033" y="6808488"/>
                  <a:pt x="1455939" y="6809203"/>
                  <a:pt x="1455877" y="6809680"/>
                </a:cubicBezTo>
                <a:cubicBezTo>
                  <a:pt x="1451437" y="6824380"/>
                  <a:pt x="1447494" y="6839148"/>
                  <a:pt x="1443551" y="6853915"/>
                </a:cubicBezTo>
                <a:lnTo>
                  <a:pt x="1443324" y="6857999"/>
                </a:lnTo>
                <a:lnTo>
                  <a:pt x="1423816" y="6857999"/>
                </a:lnTo>
                <a:lnTo>
                  <a:pt x="1422253" y="6854776"/>
                </a:lnTo>
                <a:cubicBezTo>
                  <a:pt x="1422191" y="6855252"/>
                  <a:pt x="1422160" y="6855490"/>
                  <a:pt x="1422130" y="6855731"/>
                </a:cubicBezTo>
                <a:lnTo>
                  <a:pt x="1422225" y="6857999"/>
                </a:lnTo>
                <a:lnTo>
                  <a:pt x="1403076" y="6857999"/>
                </a:lnTo>
                <a:lnTo>
                  <a:pt x="1400714" y="6845902"/>
                </a:lnTo>
                <a:cubicBezTo>
                  <a:pt x="1398512" y="6848768"/>
                  <a:pt x="1397792" y="6851752"/>
                  <a:pt x="1397731" y="6854723"/>
                </a:cubicBezTo>
                <a:lnTo>
                  <a:pt x="1398097" y="6857999"/>
                </a:lnTo>
                <a:lnTo>
                  <a:pt x="1387633" y="6857999"/>
                </a:lnTo>
                <a:lnTo>
                  <a:pt x="1387256" y="6854336"/>
                </a:lnTo>
                <a:cubicBezTo>
                  <a:pt x="1381738" y="6854101"/>
                  <a:pt x="1377336" y="6851103"/>
                  <a:pt x="1373649" y="6846500"/>
                </a:cubicBezTo>
                <a:lnTo>
                  <a:pt x="1362459" y="6857999"/>
                </a:lnTo>
                <a:lnTo>
                  <a:pt x="1342380" y="6857999"/>
                </a:lnTo>
                <a:lnTo>
                  <a:pt x="1339984" y="6847444"/>
                </a:lnTo>
                <a:cubicBezTo>
                  <a:pt x="1342158" y="6838512"/>
                  <a:pt x="1345107" y="6829437"/>
                  <a:pt x="1349697" y="6821302"/>
                </a:cubicBezTo>
                <a:cubicBezTo>
                  <a:pt x="1357639" y="6806815"/>
                  <a:pt x="1360374" y="6791649"/>
                  <a:pt x="1360442" y="6775648"/>
                </a:cubicBezTo>
                <a:cubicBezTo>
                  <a:pt x="1360848" y="6770609"/>
                  <a:pt x="1361501" y="6765600"/>
                  <a:pt x="1362154" y="6760593"/>
                </a:cubicBezTo>
                <a:cubicBezTo>
                  <a:pt x="1362434" y="6758444"/>
                  <a:pt x="1362838" y="6755345"/>
                  <a:pt x="1361690" y="6754467"/>
                </a:cubicBezTo>
                <a:cubicBezTo>
                  <a:pt x="1351836" y="6746877"/>
                  <a:pt x="1354908" y="6736847"/>
                  <a:pt x="1357018" y="6728391"/>
                </a:cubicBezTo>
                <a:cubicBezTo>
                  <a:pt x="1358418" y="6721539"/>
                  <a:pt x="1359320" y="6714625"/>
                  <a:pt x="1359693" y="6707881"/>
                </a:cubicBezTo>
                <a:cubicBezTo>
                  <a:pt x="1359539" y="6707133"/>
                  <a:pt x="1359139" y="6706352"/>
                  <a:pt x="1358981" y="6705604"/>
                </a:cubicBezTo>
                <a:cubicBezTo>
                  <a:pt x="1356567" y="6698983"/>
                  <a:pt x="1356507" y="6691701"/>
                  <a:pt x="1355426" y="6684525"/>
                </a:cubicBezTo>
                <a:cubicBezTo>
                  <a:pt x="1352582" y="6665720"/>
                  <a:pt x="1350761" y="6646807"/>
                  <a:pt x="1347142" y="6628143"/>
                </a:cubicBezTo>
                <a:cubicBezTo>
                  <a:pt x="1346893" y="6626170"/>
                  <a:pt x="1346398" y="6624165"/>
                  <a:pt x="1345654" y="6622127"/>
                </a:cubicBezTo>
                <a:cubicBezTo>
                  <a:pt x="1345746" y="6627233"/>
                  <a:pt x="1345590" y="6632308"/>
                  <a:pt x="1345679" y="6637412"/>
                </a:cubicBezTo>
                <a:cubicBezTo>
                  <a:pt x="1345771" y="6641548"/>
                  <a:pt x="1344352" y="6644212"/>
                  <a:pt x="1342042" y="6645973"/>
                </a:cubicBezTo>
                <a:lnTo>
                  <a:pt x="1337566" y="6647534"/>
                </a:lnTo>
                <a:lnTo>
                  <a:pt x="1340864" y="6634934"/>
                </a:lnTo>
                <a:cubicBezTo>
                  <a:pt x="1341181" y="6629367"/>
                  <a:pt x="1340028" y="6623699"/>
                  <a:pt x="1336389" y="6617767"/>
                </a:cubicBezTo>
                <a:cubicBezTo>
                  <a:pt x="1333075" y="6612242"/>
                  <a:pt x="1333603" y="6604304"/>
                  <a:pt x="1332181" y="6595874"/>
                </a:cubicBezTo>
                <a:cubicBezTo>
                  <a:pt x="1330689" y="6607321"/>
                  <a:pt x="1328669" y="6617002"/>
                  <a:pt x="1328140" y="6626878"/>
                </a:cubicBezTo>
                <a:cubicBezTo>
                  <a:pt x="1327639" y="6634574"/>
                  <a:pt x="1328133" y="6642399"/>
                  <a:pt x="1329400" y="6650084"/>
                </a:cubicBezTo>
                <a:lnTo>
                  <a:pt x="1332563" y="6650820"/>
                </a:lnTo>
                <a:lnTo>
                  <a:pt x="1324327" y="6672313"/>
                </a:lnTo>
                <a:cubicBezTo>
                  <a:pt x="1323273" y="6679665"/>
                  <a:pt x="1324301" y="6687257"/>
                  <a:pt x="1328545" y="6695331"/>
                </a:cubicBezTo>
                <a:cubicBezTo>
                  <a:pt x="1330124" y="6698690"/>
                  <a:pt x="1329193" y="6703904"/>
                  <a:pt x="1328167" y="6707893"/>
                </a:cubicBezTo>
                <a:cubicBezTo>
                  <a:pt x="1326149" y="6715634"/>
                  <a:pt x="1324660" y="6723201"/>
                  <a:pt x="1323634" y="6731072"/>
                </a:cubicBezTo>
                <a:cubicBezTo>
                  <a:pt x="1325270" y="6739774"/>
                  <a:pt x="1326664" y="6748445"/>
                  <a:pt x="1327281" y="6757257"/>
                </a:cubicBezTo>
                <a:cubicBezTo>
                  <a:pt x="1329840" y="6787909"/>
                  <a:pt x="1330603" y="6818813"/>
                  <a:pt x="1332139" y="6849574"/>
                </a:cubicBezTo>
                <a:lnTo>
                  <a:pt x="1332153" y="6857999"/>
                </a:lnTo>
                <a:lnTo>
                  <a:pt x="1325807" y="6857999"/>
                </a:lnTo>
                <a:lnTo>
                  <a:pt x="1322353" y="6854272"/>
                </a:lnTo>
                <a:cubicBezTo>
                  <a:pt x="1320235" y="6850934"/>
                  <a:pt x="1319151" y="6847639"/>
                  <a:pt x="1318750" y="6843947"/>
                </a:cubicBezTo>
                <a:cubicBezTo>
                  <a:pt x="1318504" y="6841975"/>
                  <a:pt x="1318255" y="6840002"/>
                  <a:pt x="1318009" y="6838030"/>
                </a:cubicBezTo>
                <a:lnTo>
                  <a:pt x="1312086" y="6857999"/>
                </a:lnTo>
                <a:lnTo>
                  <a:pt x="1282040" y="6857999"/>
                </a:lnTo>
                <a:lnTo>
                  <a:pt x="1281955" y="6841819"/>
                </a:lnTo>
                <a:cubicBezTo>
                  <a:pt x="1279318" y="6845599"/>
                  <a:pt x="1278456" y="6849306"/>
                  <a:pt x="1278047" y="6852922"/>
                </a:cubicBezTo>
                <a:lnTo>
                  <a:pt x="1277476" y="6857999"/>
                </a:lnTo>
                <a:lnTo>
                  <a:pt x="1267189" y="6857999"/>
                </a:lnTo>
                <a:lnTo>
                  <a:pt x="1270186" y="6816029"/>
                </a:lnTo>
                <a:cubicBezTo>
                  <a:pt x="1271367" y="6806967"/>
                  <a:pt x="1274564" y="6797924"/>
                  <a:pt x="1277946" y="6789392"/>
                </a:cubicBezTo>
                <a:cubicBezTo>
                  <a:pt x="1281981" y="6779729"/>
                  <a:pt x="1283813" y="6769538"/>
                  <a:pt x="1279228" y="6760208"/>
                </a:cubicBezTo>
                <a:cubicBezTo>
                  <a:pt x="1272816" y="6747487"/>
                  <a:pt x="1274960" y="6734913"/>
                  <a:pt x="1276112" y="6722206"/>
                </a:cubicBezTo>
                <a:cubicBezTo>
                  <a:pt x="1279197" y="6685015"/>
                  <a:pt x="1282250" y="6648059"/>
                  <a:pt x="1285581" y="6610900"/>
                </a:cubicBezTo>
                <a:cubicBezTo>
                  <a:pt x="1281527" y="6597514"/>
                  <a:pt x="1289096" y="6582009"/>
                  <a:pt x="1275958" y="6570593"/>
                </a:cubicBezTo>
                <a:cubicBezTo>
                  <a:pt x="1274381" y="6561414"/>
                  <a:pt x="1272277" y="6552408"/>
                  <a:pt x="1271225" y="6543055"/>
                </a:cubicBezTo>
                <a:cubicBezTo>
                  <a:pt x="1269836" y="6532444"/>
                  <a:pt x="1269993" y="6521550"/>
                  <a:pt x="1268077" y="6511111"/>
                </a:cubicBezTo>
                <a:cubicBezTo>
                  <a:pt x="1265943" y="6500403"/>
                  <a:pt x="1263713" y="6490411"/>
                  <a:pt x="1265175" y="6479203"/>
                </a:cubicBezTo>
                <a:cubicBezTo>
                  <a:pt x="1266387" y="6469902"/>
                  <a:pt x="1262671" y="6459716"/>
                  <a:pt x="1260133" y="6450166"/>
                </a:cubicBezTo>
                <a:cubicBezTo>
                  <a:pt x="1257535" y="6441095"/>
                  <a:pt x="1256173" y="6432186"/>
                  <a:pt x="1255649" y="6422660"/>
                </a:cubicBezTo>
                <a:cubicBezTo>
                  <a:pt x="1254635" y="6403366"/>
                  <a:pt x="1254147" y="6383898"/>
                  <a:pt x="1249070" y="6364802"/>
                </a:cubicBezTo>
                <a:cubicBezTo>
                  <a:pt x="1246842" y="6356751"/>
                  <a:pt x="1248521" y="6347752"/>
                  <a:pt x="1249143" y="6339101"/>
                </a:cubicBezTo>
                <a:cubicBezTo>
                  <a:pt x="1249361" y="6337430"/>
                  <a:pt x="1251068" y="6335957"/>
                  <a:pt x="1252771" y="6334480"/>
                </a:cubicBezTo>
                <a:cubicBezTo>
                  <a:pt x="1252306" y="6332238"/>
                  <a:pt x="1251595" y="6329964"/>
                  <a:pt x="1251133" y="6327717"/>
                </a:cubicBezTo>
                <a:cubicBezTo>
                  <a:pt x="1242455" y="6314945"/>
                  <a:pt x="1236169" y="6301269"/>
                  <a:pt x="1237261" y="6285161"/>
                </a:cubicBezTo>
                <a:cubicBezTo>
                  <a:pt x="1237696" y="6281823"/>
                  <a:pt x="1239092" y="6278852"/>
                  <a:pt x="1240490" y="6273939"/>
                </a:cubicBezTo>
                <a:cubicBezTo>
                  <a:pt x="1243433" y="6276508"/>
                  <a:pt x="1245573" y="6277514"/>
                  <a:pt x="1246129" y="6279042"/>
                </a:cubicBezTo>
                <a:cubicBezTo>
                  <a:pt x="1246564" y="6279583"/>
                  <a:pt x="1246717" y="6280331"/>
                  <a:pt x="1246871" y="6281079"/>
                </a:cubicBezTo>
                <a:cubicBezTo>
                  <a:pt x="1246902" y="6280841"/>
                  <a:pt x="1246966" y="6280363"/>
                  <a:pt x="1246995" y="6280125"/>
                </a:cubicBezTo>
                <a:cubicBezTo>
                  <a:pt x="1248146" y="6275182"/>
                  <a:pt x="1246381" y="6269372"/>
                  <a:pt x="1245050" y="6264104"/>
                </a:cubicBezTo>
                <a:cubicBezTo>
                  <a:pt x="1244804" y="6262133"/>
                  <a:pt x="1244029" y="6260334"/>
                  <a:pt x="1243502" y="6258567"/>
                </a:cubicBezTo>
                <a:cubicBezTo>
                  <a:pt x="1243471" y="6258805"/>
                  <a:pt x="1243409" y="6259283"/>
                  <a:pt x="1243347" y="6259758"/>
                </a:cubicBezTo>
                <a:cubicBezTo>
                  <a:pt x="1242882" y="6261397"/>
                  <a:pt x="1240464" y="6262538"/>
                  <a:pt x="1239036" y="6263806"/>
                </a:cubicBezTo>
                <a:cubicBezTo>
                  <a:pt x="1233458" y="6262108"/>
                  <a:pt x="1231941" y="6258272"/>
                  <a:pt x="1232034" y="6253678"/>
                </a:cubicBezTo>
                <a:cubicBezTo>
                  <a:pt x="1232348" y="6247411"/>
                  <a:pt x="1232969" y="6240700"/>
                  <a:pt x="1228663" y="6235046"/>
                </a:cubicBezTo>
                <a:cubicBezTo>
                  <a:pt x="1227795" y="6233962"/>
                  <a:pt x="1227487" y="6232465"/>
                  <a:pt x="1227176" y="6230971"/>
                </a:cubicBezTo>
                <a:cubicBezTo>
                  <a:pt x="1225073" y="6221965"/>
                  <a:pt x="1232952" y="6211834"/>
                  <a:pt x="1225668" y="6203851"/>
                </a:cubicBezTo>
                <a:cubicBezTo>
                  <a:pt x="1219502" y="6196984"/>
                  <a:pt x="1218018" y="6189029"/>
                  <a:pt x="1216253" y="6181279"/>
                </a:cubicBezTo>
                <a:cubicBezTo>
                  <a:pt x="1213310" y="6178714"/>
                  <a:pt x="1209901" y="6175842"/>
                  <a:pt x="1206276" y="6172703"/>
                </a:cubicBezTo>
                <a:cubicBezTo>
                  <a:pt x="1197173" y="6143865"/>
                  <a:pt x="1186864" y="6110746"/>
                  <a:pt x="1176306" y="6077597"/>
                </a:cubicBezTo>
                <a:cubicBezTo>
                  <a:pt x="1175594" y="6075319"/>
                  <a:pt x="1175441" y="6072633"/>
                  <a:pt x="1174169" y="6070769"/>
                </a:cubicBezTo>
                <a:cubicBezTo>
                  <a:pt x="1161158" y="6052578"/>
                  <a:pt x="1158406" y="6031117"/>
                  <a:pt x="1152774" y="6010496"/>
                </a:cubicBezTo>
                <a:cubicBezTo>
                  <a:pt x="1150884" y="6003700"/>
                  <a:pt x="1148376" y="5997793"/>
                  <a:pt x="1143078" y="5992010"/>
                </a:cubicBezTo>
                <a:cubicBezTo>
                  <a:pt x="1136510" y="5984363"/>
                  <a:pt x="1132763" y="5974413"/>
                  <a:pt x="1125545" y="5962072"/>
                </a:cubicBezTo>
                <a:cubicBezTo>
                  <a:pt x="1124884" y="5984544"/>
                  <a:pt x="1126767" y="6002979"/>
                  <a:pt x="1134356" y="6020220"/>
                </a:cubicBezTo>
                <a:cubicBezTo>
                  <a:pt x="1139468" y="6031317"/>
                  <a:pt x="1142005" y="6042804"/>
                  <a:pt x="1142214" y="6054719"/>
                </a:cubicBezTo>
                <a:cubicBezTo>
                  <a:pt x="1142308" y="6057882"/>
                  <a:pt x="1142679" y="6060842"/>
                  <a:pt x="1143267" y="6064070"/>
                </a:cubicBezTo>
                <a:cubicBezTo>
                  <a:pt x="1148834" y="6092932"/>
                  <a:pt x="1154681" y="6121589"/>
                  <a:pt x="1159754" y="6150386"/>
                </a:cubicBezTo>
                <a:cubicBezTo>
                  <a:pt x="1160898" y="6157084"/>
                  <a:pt x="1159718" y="6164207"/>
                  <a:pt x="1159434" y="6174112"/>
                </a:cubicBezTo>
                <a:cubicBezTo>
                  <a:pt x="1166715" y="6184038"/>
                  <a:pt x="1169623" y="6198484"/>
                  <a:pt x="1171942" y="6213585"/>
                </a:cubicBezTo>
                <a:cubicBezTo>
                  <a:pt x="1175591" y="6237828"/>
                  <a:pt x="1181285" y="6261855"/>
                  <a:pt x="1186483" y="6285817"/>
                </a:cubicBezTo>
                <a:cubicBezTo>
                  <a:pt x="1189331" y="6298802"/>
                  <a:pt x="1191682" y="6311721"/>
                  <a:pt x="1190744" y="6328575"/>
                </a:cubicBezTo>
                <a:cubicBezTo>
                  <a:pt x="1185292" y="6322044"/>
                  <a:pt x="1182006" y="6318222"/>
                  <a:pt x="1176738" y="6312196"/>
                </a:cubicBezTo>
                <a:cubicBezTo>
                  <a:pt x="1176176" y="6320371"/>
                  <a:pt x="1175772" y="6325411"/>
                  <a:pt x="1175119" y="6332360"/>
                </a:cubicBezTo>
                <a:cubicBezTo>
                  <a:pt x="1170716" y="6331301"/>
                  <a:pt x="1166316" y="6330241"/>
                  <a:pt x="1159992" y="6328446"/>
                </a:cubicBezTo>
                <a:cubicBezTo>
                  <a:pt x="1162847" y="6323968"/>
                  <a:pt x="1165015" y="6320856"/>
                  <a:pt x="1166909" y="6317951"/>
                </a:cubicBezTo>
                <a:cubicBezTo>
                  <a:pt x="1166568" y="6316692"/>
                  <a:pt x="1166599" y="6314513"/>
                  <a:pt x="1165671" y="6313909"/>
                </a:cubicBezTo>
                <a:cubicBezTo>
                  <a:pt x="1152003" y="6304606"/>
                  <a:pt x="1144849" y="6291790"/>
                  <a:pt x="1141786" y="6276593"/>
                </a:cubicBezTo>
                <a:cubicBezTo>
                  <a:pt x="1136030" y="6247223"/>
                  <a:pt x="1130587" y="6217407"/>
                  <a:pt x="1125114" y="6187830"/>
                </a:cubicBezTo>
                <a:cubicBezTo>
                  <a:pt x="1124060" y="6182357"/>
                  <a:pt x="1122638" y="6175865"/>
                  <a:pt x="1131192" y="6176010"/>
                </a:cubicBezTo>
                <a:cubicBezTo>
                  <a:pt x="1129526" y="6161726"/>
                  <a:pt x="1129002" y="6148316"/>
                  <a:pt x="1126404" y="6135365"/>
                </a:cubicBezTo>
                <a:cubicBezTo>
                  <a:pt x="1124702" y="6127138"/>
                  <a:pt x="1121358" y="6117971"/>
                  <a:pt x="1115844" y="6111916"/>
                </a:cubicBezTo>
                <a:cubicBezTo>
                  <a:pt x="1108995" y="6104473"/>
                  <a:pt x="1106798" y="6096183"/>
                  <a:pt x="1104692" y="6087177"/>
                </a:cubicBezTo>
                <a:cubicBezTo>
                  <a:pt x="1104535" y="6094190"/>
                  <a:pt x="1103664" y="6100870"/>
                  <a:pt x="1106174" y="6108715"/>
                </a:cubicBezTo>
                <a:cubicBezTo>
                  <a:pt x="1097434" y="6096419"/>
                  <a:pt x="1095608" y="6091086"/>
                  <a:pt x="1096109" y="6079508"/>
                </a:cubicBezTo>
                <a:cubicBezTo>
                  <a:pt x="1096142" y="6077330"/>
                  <a:pt x="1098437" y="6075202"/>
                  <a:pt x="1101042" y="6070694"/>
                </a:cubicBezTo>
                <a:cubicBezTo>
                  <a:pt x="1099432" y="6063693"/>
                  <a:pt x="1098041" y="6056962"/>
                  <a:pt x="1096429" y="6049961"/>
                </a:cubicBezTo>
                <a:cubicBezTo>
                  <a:pt x="1094974" y="6049529"/>
                  <a:pt x="1093485" y="6049335"/>
                  <a:pt x="1093331" y="6048586"/>
                </a:cubicBezTo>
                <a:cubicBezTo>
                  <a:pt x="1090762" y="6041218"/>
                  <a:pt x="1085152" y="6033937"/>
                  <a:pt x="1088628" y="6024688"/>
                </a:cubicBezTo>
                <a:cubicBezTo>
                  <a:pt x="1089745" y="6025804"/>
                  <a:pt x="1090614" y="6026887"/>
                  <a:pt x="1091512" y="6027733"/>
                </a:cubicBezTo>
                <a:cubicBezTo>
                  <a:pt x="1087365" y="6009243"/>
                  <a:pt x="1083218" y="5990754"/>
                  <a:pt x="1078792" y="5972469"/>
                </a:cubicBezTo>
                <a:cubicBezTo>
                  <a:pt x="1070065" y="5936891"/>
                  <a:pt x="1060532" y="5901690"/>
                  <a:pt x="1051524" y="5866317"/>
                </a:cubicBezTo>
                <a:cubicBezTo>
                  <a:pt x="1038618" y="5816366"/>
                  <a:pt x="1025712" y="5766416"/>
                  <a:pt x="1013054" y="5716497"/>
                </a:cubicBezTo>
                <a:cubicBezTo>
                  <a:pt x="1010172" y="5705694"/>
                  <a:pt x="1007263" y="5695126"/>
                  <a:pt x="999891" y="5685919"/>
                </a:cubicBezTo>
                <a:cubicBezTo>
                  <a:pt x="997070" y="5682397"/>
                  <a:pt x="995428" y="5677576"/>
                  <a:pt x="994253" y="5673056"/>
                </a:cubicBezTo>
                <a:cubicBezTo>
                  <a:pt x="991590" y="5662523"/>
                  <a:pt x="989148" y="5652258"/>
                  <a:pt x="981555" y="5642781"/>
                </a:cubicBezTo>
                <a:cubicBezTo>
                  <a:pt x="975915" y="5635738"/>
                  <a:pt x="974496" y="5625368"/>
                  <a:pt x="971647" y="5616264"/>
                </a:cubicBezTo>
                <a:cubicBezTo>
                  <a:pt x="957900" y="5570812"/>
                  <a:pt x="944466" y="5524915"/>
                  <a:pt x="930471" y="5479432"/>
                </a:cubicBezTo>
                <a:cubicBezTo>
                  <a:pt x="926199" y="5465779"/>
                  <a:pt x="919818" y="5452818"/>
                  <a:pt x="915020" y="5439337"/>
                </a:cubicBezTo>
                <a:cubicBezTo>
                  <a:pt x="905328" y="5413091"/>
                  <a:pt x="896130" y="5386908"/>
                  <a:pt x="886685" y="5360696"/>
                </a:cubicBezTo>
                <a:cubicBezTo>
                  <a:pt x="884827" y="5355603"/>
                  <a:pt x="884335" y="5349717"/>
                  <a:pt x="878383" y="5347001"/>
                </a:cubicBezTo>
                <a:cubicBezTo>
                  <a:pt x="876894" y="5348747"/>
                  <a:pt x="875406" y="5350494"/>
                  <a:pt x="873888" y="5352479"/>
                </a:cubicBezTo>
                <a:cubicBezTo>
                  <a:pt x="871346" y="5346809"/>
                  <a:pt x="867258" y="5341425"/>
                  <a:pt x="871136" y="5334897"/>
                </a:cubicBezTo>
                <a:cubicBezTo>
                  <a:pt x="878207" y="5323207"/>
                  <a:pt x="872199" y="5311265"/>
                  <a:pt x="864481" y="5304682"/>
                </a:cubicBezTo>
                <a:cubicBezTo>
                  <a:pt x="851093" y="5293234"/>
                  <a:pt x="846760" y="5278117"/>
                  <a:pt x="840535" y="5263963"/>
                </a:cubicBezTo>
                <a:cubicBezTo>
                  <a:pt x="831028" y="5242108"/>
                  <a:pt x="823379" y="5219524"/>
                  <a:pt x="814678" y="5197288"/>
                </a:cubicBezTo>
                <a:cubicBezTo>
                  <a:pt x="804984" y="5172981"/>
                  <a:pt x="794764" y="5148850"/>
                  <a:pt x="784823" y="5124511"/>
                </a:cubicBezTo>
                <a:cubicBezTo>
                  <a:pt x="783275" y="5120912"/>
                  <a:pt x="781448" y="5117521"/>
                  <a:pt x="779649" y="5113893"/>
                </a:cubicBezTo>
                <a:cubicBezTo>
                  <a:pt x="773920" y="5101745"/>
                  <a:pt x="766638" y="5089882"/>
                  <a:pt x="762493" y="5077212"/>
                </a:cubicBezTo>
                <a:cubicBezTo>
                  <a:pt x="750323" y="5040940"/>
                  <a:pt x="599082" y="4947486"/>
                  <a:pt x="583998" y="4912290"/>
                </a:cubicBezTo>
                <a:cubicBezTo>
                  <a:pt x="578423" y="4898951"/>
                  <a:pt x="574680" y="4885122"/>
                  <a:pt x="570406" y="4871468"/>
                </a:cubicBezTo>
                <a:cubicBezTo>
                  <a:pt x="569507" y="4868682"/>
                  <a:pt x="568797" y="4864467"/>
                  <a:pt x="570315" y="4862483"/>
                </a:cubicBezTo>
                <a:cubicBezTo>
                  <a:pt x="574070" y="4856907"/>
                  <a:pt x="573980" y="4851802"/>
                  <a:pt x="572650" y="4846535"/>
                </a:cubicBezTo>
                <a:cubicBezTo>
                  <a:pt x="571315" y="4845150"/>
                  <a:pt x="570294" y="4843318"/>
                  <a:pt x="569550" y="4841280"/>
                </a:cubicBezTo>
                <a:cubicBezTo>
                  <a:pt x="570076" y="4841107"/>
                  <a:pt x="570357" y="4840899"/>
                  <a:pt x="570635" y="4840694"/>
                </a:cubicBezTo>
                <a:cubicBezTo>
                  <a:pt x="570263" y="4839675"/>
                  <a:pt x="569863" y="4838894"/>
                  <a:pt x="569489" y="4837875"/>
                </a:cubicBezTo>
                <a:cubicBezTo>
                  <a:pt x="554809" y="4803461"/>
                  <a:pt x="539882" y="4769012"/>
                  <a:pt x="525201" y="4734597"/>
                </a:cubicBezTo>
                <a:cubicBezTo>
                  <a:pt x="516531" y="4714062"/>
                  <a:pt x="508386" y="4693355"/>
                  <a:pt x="499992" y="4672612"/>
                </a:cubicBezTo>
                <a:cubicBezTo>
                  <a:pt x="490237" y="4648784"/>
                  <a:pt x="477753" y="4626540"/>
                  <a:pt x="462853" y="4605435"/>
                </a:cubicBezTo>
                <a:cubicBezTo>
                  <a:pt x="450705" y="4588328"/>
                  <a:pt x="441009" y="4569842"/>
                  <a:pt x="429951" y="4552151"/>
                </a:cubicBezTo>
                <a:cubicBezTo>
                  <a:pt x="413067" y="4524966"/>
                  <a:pt x="396741" y="4497371"/>
                  <a:pt x="379051" y="4470565"/>
                </a:cubicBezTo>
                <a:cubicBezTo>
                  <a:pt x="362197" y="4445083"/>
                  <a:pt x="347483" y="4418667"/>
                  <a:pt x="336025" y="4390494"/>
                </a:cubicBezTo>
                <a:cubicBezTo>
                  <a:pt x="329708" y="4375118"/>
                  <a:pt x="322117" y="4359817"/>
                  <a:pt x="314467" y="4344994"/>
                </a:cubicBezTo>
                <a:cubicBezTo>
                  <a:pt x="298144" y="4313516"/>
                  <a:pt x="287617" y="4280126"/>
                  <a:pt x="278920" y="4246251"/>
                </a:cubicBezTo>
                <a:cubicBezTo>
                  <a:pt x="277897" y="4242479"/>
                  <a:pt x="276661" y="4238436"/>
                  <a:pt x="277158" y="4234621"/>
                </a:cubicBezTo>
                <a:cubicBezTo>
                  <a:pt x="280855" y="4210120"/>
                  <a:pt x="269364" y="4188005"/>
                  <a:pt x="264815" y="4164855"/>
                </a:cubicBezTo>
                <a:cubicBezTo>
                  <a:pt x="260176" y="4142421"/>
                  <a:pt x="255534" y="4119985"/>
                  <a:pt x="255265" y="4096908"/>
                </a:cubicBezTo>
                <a:cubicBezTo>
                  <a:pt x="255177" y="4085983"/>
                  <a:pt x="256295" y="4075456"/>
                  <a:pt x="259432" y="4064948"/>
                </a:cubicBezTo>
                <a:cubicBezTo>
                  <a:pt x="257419" y="4062990"/>
                  <a:pt x="255652" y="4061061"/>
                  <a:pt x="253917" y="4058896"/>
                </a:cubicBezTo>
                <a:cubicBezTo>
                  <a:pt x="245954" y="4048397"/>
                  <a:pt x="236780" y="4039439"/>
                  <a:pt x="226214" y="4031512"/>
                </a:cubicBezTo>
                <a:cubicBezTo>
                  <a:pt x="216922" y="4015747"/>
                  <a:pt x="201084" y="4005679"/>
                  <a:pt x="189494" y="3992041"/>
                </a:cubicBezTo>
                <a:cubicBezTo>
                  <a:pt x="187946" y="3990383"/>
                  <a:pt x="185805" y="3989375"/>
                  <a:pt x="184506" y="3987752"/>
                </a:cubicBezTo>
                <a:cubicBezTo>
                  <a:pt x="165296" y="3960993"/>
                  <a:pt x="140660" y="3939105"/>
                  <a:pt x="118877" y="3914675"/>
                </a:cubicBezTo>
                <a:cubicBezTo>
                  <a:pt x="117329" y="3913020"/>
                  <a:pt x="116710" y="3910028"/>
                  <a:pt x="115501" y="3907688"/>
                </a:cubicBezTo>
                <a:cubicBezTo>
                  <a:pt x="121330" y="3907478"/>
                  <a:pt x="124272" y="3911985"/>
                  <a:pt x="127619" y="3915331"/>
                </a:cubicBezTo>
                <a:cubicBezTo>
                  <a:pt x="157025" y="3945119"/>
                  <a:pt x="186186" y="3974872"/>
                  <a:pt x="215592" y="4004660"/>
                </a:cubicBezTo>
                <a:cubicBezTo>
                  <a:pt x="231395" y="4020789"/>
                  <a:pt x="247417" y="4037188"/>
                  <a:pt x="263437" y="4053587"/>
                </a:cubicBezTo>
                <a:cubicBezTo>
                  <a:pt x="265175" y="4047992"/>
                  <a:pt x="265702" y="4041998"/>
                  <a:pt x="266232" y="4036004"/>
                </a:cubicBezTo>
                <a:cubicBezTo>
                  <a:pt x="259879" y="4032507"/>
                  <a:pt x="255509" y="4027329"/>
                  <a:pt x="255856" y="4018883"/>
                </a:cubicBezTo>
                <a:cubicBezTo>
                  <a:pt x="259760" y="4021819"/>
                  <a:pt x="263448" y="4024483"/>
                  <a:pt x="267104" y="4027386"/>
                </a:cubicBezTo>
                <a:cubicBezTo>
                  <a:pt x="267291" y="4025953"/>
                  <a:pt x="267446" y="4024761"/>
                  <a:pt x="267602" y="4023570"/>
                </a:cubicBezTo>
                <a:cubicBezTo>
                  <a:pt x="264350" y="4017566"/>
                  <a:pt x="260227" y="4012421"/>
                  <a:pt x="252726" y="4009988"/>
                </a:cubicBezTo>
                <a:cubicBezTo>
                  <a:pt x="253874" y="4012803"/>
                  <a:pt x="255018" y="4015621"/>
                  <a:pt x="256165" y="4018440"/>
                </a:cubicBezTo>
                <a:cubicBezTo>
                  <a:pt x="256134" y="4018678"/>
                  <a:pt x="256103" y="4018916"/>
                  <a:pt x="256103" y="4018916"/>
                </a:cubicBezTo>
                <a:cubicBezTo>
                  <a:pt x="255886" y="4018645"/>
                  <a:pt x="255637" y="4018613"/>
                  <a:pt x="255637" y="4018613"/>
                </a:cubicBezTo>
                <a:cubicBezTo>
                  <a:pt x="254492" y="4015795"/>
                  <a:pt x="253376" y="4012739"/>
                  <a:pt x="252479" y="4009956"/>
                </a:cubicBezTo>
                <a:lnTo>
                  <a:pt x="252541" y="4009478"/>
                </a:lnTo>
                <a:cubicBezTo>
                  <a:pt x="246589" y="4008700"/>
                  <a:pt x="243089" y="4004606"/>
                  <a:pt x="241695" y="3999818"/>
                </a:cubicBezTo>
                <a:cubicBezTo>
                  <a:pt x="239063" y="3990985"/>
                  <a:pt x="232216" y="3985483"/>
                  <a:pt x="226234" y="3979124"/>
                </a:cubicBezTo>
                <a:cubicBezTo>
                  <a:pt x="209440" y="3960926"/>
                  <a:pt x="189481" y="3945713"/>
                  <a:pt x="173557" y="3926656"/>
                </a:cubicBezTo>
                <a:cubicBezTo>
                  <a:pt x="167452" y="3919313"/>
                  <a:pt x="161968" y="3909137"/>
                  <a:pt x="150003" y="3908061"/>
                </a:cubicBezTo>
                <a:cubicBezTo>
                  <a:pt x="150719" y="3900638"/>
                  <a:pt x="144738" y="3898160"/>
                  <a:pt x="139561" y="3895303"/>
                </a:cubicBezTo>
                <a:cubicBezTo>
                  <a:pt x="140614" y="3898834"/>
                  <a:pt x="141635" y="3902606"/>
                  <a:pt x="142658" y="3906378"/>
                </a:cubicBezTo>
                <a:cubicBezTo>
                  <a:pt x="141357" y="3902811"/>
                  <a:pt x="140055" y="3899247"/>
                  <a:pt x="138757" y="3895681"/>
                </a:cubicBezTo>
                <a:cubicBezTo>
                  <a:pt x="135689" y="3888248"/>
                  <a:pt x="130701" y="3882018"/>
                  <a:pt x="124628" y="3876376"/>
                </a:cubicBezTo>
                <a:cubicBezTo>
                  <a:pt x="117654" y="3869888"/>
                  <a:pt x="111273" y="3862749"/>
                  <a:pt x="104176" y="3855275"/>
                </a:cubicBezTo>
                <a:cubicBezTo>
                  <a:pt x="105728" y="3851112"/>
                  <a:pt x="107496" y="3847217"/>
                  <a:pt x="109356" y="3842610"/>
                </a:cubicBezTo>
                <a:cubicBezTo>
                  <a:pt x="127769" y="3852288"/>
                  <a:pt x="141124" y="3865915"/>
                  <a:pt x="155067" y="3878891"/>
                </a:cubicBezTo>
                <a:cubicBezTo>
                  <a:pt x="178497" y="3900379"/>
                  <a:pt x="201086" y="3922484"/>
                  <a:pt x="224234" y="3944181"/>
                </a:cubicBezTo>
                <a:cubicBezTo>
                  <a:pt x="225597" y="3945329"/>
                  <a:pt x="227797" y="3945857"/>
                  <a:pt x="232571" y="3947934"/>
                </a:cubicBezTo>
                <a:cubicBezTo>
                  <a:pt x="228483" y="3938669"/>
                  <a:pt x="223836" y="3933698"/>
                  <a:pt x="218134" y="3929074"/>
                </a:cubicBezTo>
                <a:cubicBezTo>
                  <a:pt x="224271" y="3930358"/>
                  <a:pt x="230160" y="3931613"/>
                  <a:pt x="236297" y="3932897"/>
                </a:cubicBezTo>
                <a:cubicBezTo>
                  <a:pt x="236484" y="3931467"/>
                  <a:pt x="236144" y="3930210"/>
                  <a:pt x="236795" y="3929081"/>
                </a:cubicBezTo>
                <a:cubicBezTo>
                  <a:pt x="242503" y="3918182"/>
                  <a:pt x="240090" y="3909621"/>
                  <a:pt x="230358" y="3901076"/>
                </a:cubicBezTo>
                <a:cubicBezTo>
                  <a:pt x="211578" y="3884560"/>
                  <a:pt x="193917" y="3867218"/>
                  <a:pt x="175663" y="3850530"/>
                </a:cubicBezTo>
                <a:cubicBezTo>
                  <a:pt x="174301" y="3849381"/>
                  <a:pt x="172070" y="3849090"/>
                  <a:pt x="168226" y="3847620"/>
                </a:cubicBezTo>
                <a:cubicBezTo>
                  <a:pt x="171290" y="3858932"/>
                  <a:pt x="184527" y="3861870"/>
                  <a:pt x="185421" y="3872417"/>
                </a:cubicBezTo>
                <a:cubicBezTo>
                  <a:pt x="177249" y="3871835"/>
                  <a:pt x="170028" y="3869198"/>
                  <a:pt x="163753" y="3864499"/>
                </a:cubicBezTo>
                <a:cubicBezTo>
                  <a:pt x="167193" y="3869071"/>
                  <a:pt x="170074" y="3874056"/>
                  <a:pt x="174071" y="3878213"/>
                </a:cubicBezTo>
                <a:cubicBezTo>
                  <a:pt x="184980" y="3889338"/>
                  <a:pt x="196228" y="3899780"/>
                  <a:pt x="207446" y="3910459"/>
                </a:cubicBezTo>
                <a:cubicBezTo>
                  <a:pt x="212839" y="3915529"/>
                  <a:pt x="217950" y="3920801"/>
                  <a:pt x="218165" y="3928837"/>
                </a:cubicBezTo>
                <a:cubicBezTo>
                  <a:pt x="196131" y="3908255"/>
                  <a:pt x="173819" y="3887883"/>
                  <a:pt x="151819" y="3867067"/>
                </a:cubicBezTo>
                <a:cubicBezTo>
                  <a:pt x="148907" y="3864260"/>
                  <a:pt x="147977" y="3859775"/>
                  <a:pt x="146213" y="3855905"/>
                </a:cubicBezTo>
                <a:cubicBezTo>
                  <a:pt x="147483" y="3855828"/>
                  <a:pt x="148784" y="3855512"/>
                  <a:pt x="150057" y="3855436"/>
                </a:cubicBezTo>
                <a:cubicBezTo>
                  <a:pt x="152689" y="3860388"/>
                  <a:pt x="157244" y="3862194"/>
                  <a:pt x="162701" y="3862906"/>
                </a:cubicBezTo>
                <a:cubicBezTo>
                  <a:pt x="159137" y="3859289"/>
                  <a:pt x="155852" y="3855463"/>
                  <a:pt x="150336" y="3855230"/>
                </a:cubicBezTo>
                <a:cubicBezTo>
                  <a:pt x="147983" y="3846191"/>
                  <a:pt x="143274" y="3839757"/>
                  <a:pt x="132176" y="3839764"/>
                </a:cubicBezTo>
                <a:cubicBezTo>
                  <a:pt x="133104" y="3842312"/>
                  <a:pt x="134249" y="3845129"/>
                  <a:pt x="135180" y="3847675"/>
                </a:cubicBezTo>
                <a:cubicBezTo>
                  <a:pt x="115839" y="3837392"/>
                  <a:pt x="100809" y="3823062"/>
                  <a:pt x="89564" y="3804860"/>
                </a:cubicBezTo>
                <a:cubicBezTo>
                  <a:pt x="91208" y="3805803"/>
                  <a:pt x="92882" y="3806505"/>
                  <a:pt x="94554" y="3807209"/>
                </a:cubicBezTo>
                <a:cubicBezTo>
                  <a:pt x="92511" y="3803545"/>
                  <a:pt x="91056" y="3799234"/>
                  <a:pt x="88143" y="3796429"/>
                </a:cubicBezTo>
                <a:cubicBezTo>
                  <a:pt x="81665" y="3790005"/>
                  <a:pt x="74570" y="3784472"/>
                  <a:pt x="67782" y="3778494"/>
                </a:cubicBezTo>
                <a:cubicBezTo>
                  <a:pt x="58517" y="3770252"/>
                  <a:pt x="49222" y="3762248"/>
                  <a:pt x="39954" y="3754004"/>
                </a:cubicBezTo>
                <a:cubicBezTo>
                  <a:pt x="40916" y="3756315"/>
                  <a:pt x="41596" y="3758828"/>
                  <a:pt x="42834" y="3762870"/>
                </a:cubicBezTo>
                <a:cubicBezTo>
                  <a:pt x="30589" y="3762002"/>
                  <a:pt x="25880" y="3753626"/>
                  <a:pt x="19871" y="3747505"/>
                </a:cubicBezTo>
                <a:cubicBezTo>
                  <a:pt x="22939" y="3747179"/>
                  <a:pt x="26256" y="3746884"/>
                  <a:pt x="29325" y="3746556"/>
                </a:cubicBezTo>
                <a:cubicBezTo>
                  <a:pt x="25637" y="3743892"/>
                  <a:pt x="22165" y="3741499"/>
                  <a:pt x="18478" y="3738836"/>
                </a:cubicBezTo>
                <a:cubicBezTo>
                  <a:pt x="13429" y="3729202"/>
                  <a:pt x="12715" y="3728866"/>
                  <a:pt x="3508" y="3729848"/>
                </a:cubicBezTo>
                <a:cubicBezTo>
                  <a:pt x="7163" y="3734693"/>
                  <a:pt x="11718" y="3738438"/>
                  <a:pt x="18168" y="3739280"/>
                </a:cubicBezTo>
                <a:cubicBezTo>
                  <a:pt x="18570" y="3742001"/>
                  <a:pt x="18723" y="3744689"/>
                  <a:pt x="19126" y="3747408"/>
                </a:cubicBezTo>
                <a:cubicBezTo>
                  <a:pt x="11873" y="3743068"/>
                  <a:pt x="6573" y="3737285"/>
                  <a:pt x="3230" y="3730057"/>
                </a:cubicBezTo>
                <a:cubicBezTo>
                  <a:pt x="2983" y="3730024"/>
                  <a:pt x="2983" y="3730024"/>
                  <a:pt x="2983" y="3730024"/>
                </a:cubicBezTo>
                <a:cubicBezTo>
                  <a:pt x="2023" y="3725774"/>
                  <a:pt x="784" y="3721731"/>
                  <a:pt x="73" y="3717517"/>
                </a:cubicBezTo>
                <a:cubicBezTo>
                  <a:pt x="-576" y="3712823"/>
                  <a:pt x="3206" y="3708951"/>
                  <a:pt x="8198" y="3709360"/>
                </a:cubicBezTo>
                <a:cubicBezTo>
                  <a:pt x="10925" y="3709715"/>
                  <a:pt x="14025" y="3711090"/>
                  <a:pt x="16785" y="3711205"/>
                </a:cubicBezTo>
                <a:cubicBezTo>
                  <a:pt x="19575" y="3711086"/>
                  <a:pt x="24690" y="3710540"/>
                  <a:pt x="24815" y="3709587"/>
                </a:cubicBezTo>
                <a:cubicBezTo>
                  <a:pt x="26462" y="3698884"/>
                  <a:pt x="34672" y="3707475"/>
                  <a:pt x="39603" y="3704479"/>
                </a:cubicBezTo>
                <a:cubicBezTo>
                  <a:pt x="35761" y="3699126"/>
                  <a:pt x="31920" y="3693775"/>
                  <a:pt x="26125" y="3685986"/>
                </a:cubicBezTo>
                <a:cubicBezTo>
                  <a:pt x="31642" y="3686221"/>
                  <a:pt x="34742" y="3685655"/>
                  <a:pt x="36883" y="3686660"/>
                </a:cubicBezTo>
                <a:cubicBezTo>
                  <a:pt x="40665" y="3688610"/>
                  <a:pt x="43824" y="3691446"/>
                  <a:pt x="47079" y="3693570"/>
                </a:cubicBezTo>
                <a:cubicBezTo>
                  <a:pt x="53279" y="3690496"/>
                  <a:pt x="48942" y="3687021"/>
                  <a:pt x="49346" y="3683921"/>
                </a:cubicBezTo>
                <a:cubicBezTo>
                  <a:pt x="49500" y="3680788"/>
                  <a:pt x="50992" y="3679042"/>
                  <a:pt x="54030" y="3678952"/>
                </a:cubicBezTo>
                <a:cubicBezTo>
                  <a:pt x="52386" y="3678010"/>
                  <a:pt x="50495" y="3677037"/>
                  <a:pt x="49161" y="3675649"/>
                </a:cubicBezTo>
                <a:cubicBezTo>
                  <a:pt x="44699" y="3671186"/>
                  <a:pt x="45974" y="3665289"/>
                  <a:pt x="51646" y="3664330"/>
                </a:cubicBezTo>
                <a:cubicBezTo>
                  <a:pt x="55213" y="3664070"/>
                  <a:pt x="59305" y="3663633"/>
                  <a:pt x="62403" y="3665007"/>
                </a:cubicBezTo>
                <a:cubicBezTo>
                  <a:pt x="71236" y="3668825"/>
                  <a:pt x="79697" y="3673567"/>
                  <a:pt x="88718" y="3677897"/>
                </a:cubicBezTo>
                <a:cubicBezTo>
                  <a:pt x="90610" y="3676930"/>
                  <a:pt x="92531" y="3675727"/>
                  <a:pt x="94670" y="3674791"/>
                </a:cubicBezTo>
                <a:cubicBezTo>
                  <a:pt x="93990" y="3674219"/>
                  <a:pt x="93276" y="3673884"/>
                  <a:pt x="92594" y="3673309"/>
                </a:cubicBezTo>
                <a:cubicBezTo>
                  <a:pt x="93989" y="3672278"/>
                  <a:pt x="95044" y="3669989"/>
                  <a:pt x="96565" y="3669945"/>
                </a:cubicBezTo>
                <a:cubicBezTo>
                  <a:pt x="98083" y="3669901"/>
                  <a:pt x="100533" y="3670463"/>
                  <a:pt x="101647" y="3671578"/>
                </a:cubicBezTo>
                <a:cubicBezTo>
                  <a:pt x="116064" y="3665454"/>
                  <a:pt x="131194" y="3661606"/>
                  <a:pt x="146910" y="3660987"/>
                </a:cubicBezTo>
                <a:cubicBezTo>
                  <a:pt x="148277" y="3660195"/>
                  <a:pt x="149857" y="3659672"/>
                  <a:pt x="151593" y="3659899"/>
                </a:cubicBezTo>
                <a:cubicBezTo>
                  <a:pt x="153080" y="3660092"/>
                  <a:pt x="154753" y="3660798"/>
                  <a:pt x="156243" y="3660992"/>
                </a:cubicBezTo>
                <a:cubicBezTo>
                  <a:pt x="159250" y="3661141"/>
                  <a:pt x="162038" y="3661019"/>
                  <a:pt x="165014" y="3661407"/>
                </a:cubicBezTo>
                <a:cubicBezTo>
                  <a:pt x="166565" y="3661125"/>
                  <a:pt x="168145" y="3660603"/>
                  <a:pt x="168207" y="3660124"/>
                </a:cubicBezTo>
                <a:cubicBezTo>
                  <a:pt x="169857" y="3649426"/>
                  <a:pt x="178068" y="3658016"/>
                  <a:pt x="182997" y="3655019"/>
                </a:cubicBezTo>
                <a:cubicBezTo>
                  <a:pt x="179156" y="3649668"/>
                  <a:pt x="175313" y="3644316"/>
                  <a:pt x="169520" y="3636528"/>
                </a:cubicBezTo>
                <a:cubicBezTo>
                  <a:pt x="175037" y="3636760"/>
                  <a:pt x="178138" y="3636195"/>
                  <a:pt x="180275" y="3637202"/>
                </a:cubicBezTo>
                <a:cubicBezTo>
                  <a:pt x="180989" y="3637536"/>
                  <a:pt x="181424" y="3638080"/>
                  <a:pt x="181918" y="3638144"/>
                </a:cubicBezTo>
                <a:cubicBezTo>
                  <a:pt x="181517" y="3637363"/>
                  <a:pt x="181176" y="3636106"/>
                  <a:pt x="180775" y="3635326"/>
                </a:cubicBezTo>
                <a:cubicBezTo>
                  <a:pt x="182602" y="3634836"/>
                  <a:pt x="184802" y="3633428"/>
                  <a:pt x="186230" y="3634097"/>
                </a:cubicBezTo>
                <a:cubicBezTo>
                  <a:pt x="187654" y="3634769"/>
                  <a:pt x="188616" y="3637077"/>
                  <a:pt x="189670" y="3638668"/>
                </a:cubicBezTo>
                <a:cubicBezTo>
                  <a:pt x="188585" y="3639255"/>
                  <a:pt x="187499" y="3639841"/>
                  <a:pt x="186414" y="3640429"/>
                </a:cubicBezTo>
                <a:cubicBezTo>
                  <a:pt x="185948" y="3640123"/>
                  <a:pt x="185452" y="3640059"/>
                  <a:pt x="184956" y="3639994"/>
                </a:cubicBezTo>
                <a:cubicBezTo>
                  <a:pt x="187034" y="3641479"/>
                  <a:pt x="188863" y="3642931"/>
                  <a:pt x="190722" y="3644142"/>
                </a:cubicBezTo>
                <a:cubicBezTo>
                  <a:pt x="196921" y="3641070"/>
                  <a:pt x="192585" y="3637594"/>
                  <a:pt x="192989" y="3634494"/>
                </a:cubicBezTo>
                <a:cubicBezTo>
                  <a:pt x="193144" y="3631360"/>
                  <a:pt x="194631" y="3629613"/>
                  <a:pt x="197672" y="3629526"/>
                </a:cubicBezTo>
                <a:cubicBezTo>
                  <a:pt x="196029" y="3628583"/>
                  <a:pt x="194138" y="3627608"/>
                  <a:pt x="192804" y="3626222"/>
                </a:cubicBezTo>
                <a:cubicBezTo>
                  <a:pt x="188343" y="3621760"/>
                  <a:pt x="189617" y="3615863"/>
                  <a:pt x="195289" y="3614904"/>
                </a:cubicBezTo>
                <a:cubicBezTo>
                  <a:pt x="198855" y="3614640"/>
                  <a:pt x="202947" y="3614203"/>
                  <a:pt x="206046" y="3615578"/>
                </a:cubicBezTo>
                <a:cubicBezTo>
                  <a:pt x="214879" y="3619398"/>
                  <a:pt x="223340" y="3624141"/>
                  <a:pt x="232361" y="3628469"/>
                </a:cubicBezTo>
                <a:cubicBezTo>
                  <a:pt x="250902" y="3617790"/>
                  <a:pt x="271116" y="3611694"/>
                  <a:pt x="292630" y="3611102"/>
                </a:cubicBezTo>
                <a:cubicBezTo>
                  <a:pt x="292661" y="3610864"/>
                  <a:pt x="292661" y="3610864"/>
                  <a:pt x="292661" y="3610864"/>
                </a:cubicBezTo>
                <a:cubicBezTo>
                  <a:pt x="292911" y="3610897"/>
                  <a:pt x="293159" y="3610929"/>
                  <a:pt x="293159" y="3610929"/>
                </a:cubicBezTo>
                <a:cubicBezTo>
                  <a:pt x="297714" y="3610795"/>
                  <a:pt x="302241" y="3610898"/>
                  <a:pt x="306735" y="3611243"/>
                </a:cubicBezTo>
                <a:cubicBezTo>
                  <a:pt x="301005" y="3602979"/>
                  <a:pt x="297134" y="3593984"/>
                  <a:pt x="292735" y="3585163"/>
                </a:cubicBezTo>
                <a:cubicBezTo>
                  <a:pt x="296114" y="3586331"/>
                  <a:pt x="300329" y="3586881"/>
                  <a:pt x="302065" y="3589048"/>
                </a:cubicBezTo>
                <a:cubicBezTo>
                  <a:pt x="308353" y="3596901"/>
                  <a:pt x="315480" y="3604138"/>
                  <a:pt x="319880" y="3612957"/>
                </a:cubicBezTo>
                <a:cubicBezTo>
                  <a:pt x="326731" y="3614579"/>
                  <a:pt x="333456" y="3617154"/>
                  <a:pt x="339715" y="3621364"/>
                </a:cubicBezTo>
                <a:cubicBezTo>
                  <a:pt x="342256" y="3623152"/>
                  <a:pt x="345170" y="3624016"/>
                  <a:pt x="348084" y="3624882"/>
                </a:cubicBezTo>
                <a:cubicBezTo>
                  <a:pt x="348146" y="3624404"/>
                  <a:pt x="348208" y="3623928"/>
                  <a:pt x="348270" y="3623450"/>
                </a:cubicBezTo>
                <a:cubicBezTo>
                  <a:pt x="349082" y="3609490"/>
                  <a:pt x="355970" y="3599229"/>
                  <a:pt x="370107" y="3593311"/>
                </a:cubicBezTo>
                <a:cubicBezTo>
                  <a:pt x="380521" y="3598549"/>
                  <a:pt x="387306" y="3608411"/>
                  <a:pt x="395207" y="3617444"/>
                </a:cubicBezTo>
                <a:cubicBezTo>
                  <a:pt x="397871" y="3618276"/>
                  <a:pt x="400506" y="3619347"/>
                  <a:pt x="402894" y="3620387"/>
                </a:cubicBezTo>
                <a:cubicBezTo>
                  <a:pt x="406613" y="3618931"/>
                  <a:pt x="410367" y="3617239"/>
                  <a:pt x="414366" y="3615576"/>
                </a:cubicBezTo>
                <a:cubicBezTo>
                  <a:pt x="415324" y="3619826"/>
                  <a:pt x="415881" y="3623291"/>
                  <a:pt x="416717" y="3626554"/>
                </a:cubicBezTo>
                <a:cubicBezTo>
                  <a:pt x="417989" y="3626478"/>
                  <a:pt x="419693" y="3626941"/>
                  <a:pt x="420531" y="3626322"/>
                </a:cubicBezTo>
                <a:cubicBezTo>
                  <a:pt x="422203" y="3625086"/>
                  <a:pt x="423941" y="3623372"/>
                  <a:pt x="424934" y="3621562"/>
                </a:cubicBezTo>
                <a:cubicBezTo>
                  <a:pt x="427728" y="3615622"/>
                  <a:pt x="430643" y="3610664"/>
                  <a:pt x="438021" y="3608231"/>
                </a:cubicBezTo>
                <a:cubicBezTo>
                  <a:pt x="442764" y="3606665"/>
                  <a:pt x="446982" y="3603334"/>
                  <a:pt x="451200" y="3600003"/>
                </a:cubicBezTo>
                <a:cubicBezTo>
                  <a:pt x="444263" y="3587456"/>
                  <a:pt x="436268" y="3575257"/>
                  <a:pt x="435934" y="3560420"/>
                </a:cubicBezTo>
                <a:cubicBezTo>
                  <a:pt x="441697" y="3568447"/>
                  <a:pt x="447211" y="3576443"/>
                  <a:pt x="452414" y="3584883"/>
                </a:cubicBezTo>
                <a:cubicBezTo>
                  <a:pt x="454214" y="3584630"/>
                  <a:pt x="456011" y="3584382"/>
                  <a:pt x="456444" y="3584922"/>
                </a:cubicBezTo>
                <a:cubicBezTo>
                  <a:pt x="465090" y="3594053"/>
                  <a:pt x="473458" y="3603391"/>
                  <a:pt x="481575" y="3612695"/>
                </a:cubicBezTo>
                <a:cubicBezTo>
                  <a:pt x="487276" y="3619260"/>
                  <a:pt x="493441" y="3626131"/>
                  <a:pt x="498554" y="3633343"/>
                </a:cubicBezTo>
                <a:cubicBezTo>
                  <a:pt x="501314" y="3631522"/>
                  <a:pt x="504320" y="3629731"/>
                  <a:pt x="507112" y="3627668"/>
                </a:cubicBezTo>
                <a:cubicBezTo>
                  <a:pt x="506461" y="3626857"/>
                  <a:pt x="506028" y="3626315"/>
                  <a:pt x="505377" y="3625502"/>
                </a:cubicBezTo>
                <a:cubicBezTo>
                  <a:pt x="493108" y="3609349"/>
                  <a:pt x="481150" y="3592753"/>
                  <a:pt x="469406" y="3576427"/>
                </a:cubicBezTo>
                <a:cubicBezTo>
                  <a:pt x="467888" y="3574529"/>
                  <a:pt x="466928" y="3572223"/>
                  <a:pt x="465410" y="3568386"/>
                </a:cubicBezTo>
                <a:cubicBezTo>
                  <a:pt x="465783" y="3569404"/>
                  <a:pt x="466123" y="3570661"/>
                  <a:pt x="466464" y="3571918"/>
                </a:cubicBezTo>
                <a:cubicBezTo>
                  <a:pt x="463733" y="3575442"/>
                  <a:pt x="461315" y="3572703"/>
                  <a:pt x="459271" y="3570980"/>
                </a:cubicBezTo>
                <a:cubicBezTo>
                  <a:pt x="447683" y="3561223"/>
                  <a:pt x="442634" y="3547709"/>
                  <a:pt x="436222" y="3534988"/>
                </a:cubicBezTo>
                <a:cubicBezTo>
                  <a:pt x="439600" y="3536156"/>
                  <a:pt x="443818" y="3536706"/>
                  <a:pt x="445552" y="3538873"/>
                </a:cubicBezTo>
                <a:cubicBezTo>
                  <a:pt x="451843" y="3546726"/>
                  <a:pt x="459186" y="3554233"/>
                  <a:pt x="463554" y="3563293"/>
                </a:cubicBezTo>
                <a:cubicBezTo>
                  <a:pt x="469163" y="3566693"/>
                  <a:pt x="471579" y="3567492"/>
                  <a:pt x="473130" y="3569150"/>
                </a:cubicBezTo>
                <a:cubicBezTo>
                  <a:pt x="482674" y="3579127"/>
                  <a:pt x="492000" y="3588829"/>
                  <a:pt x="499250" y="3600934"/>
                </a:cubicBezTo>
                <a:cubicBezTo>
                  <a:pt x="503216" y="3607272"/>
                  <a:pt x="508017" y="3612990"/>
                  <a:pt x="513347" y="3618537"/>
                </a:cubicBezTo>
                <a:cubicBezTo>
                  <a:pt x="513625" y="3618331"/>
                  <a:pt x="513937" y="3617886"/>
                  <a:pt x="514432" y="3617950"/>
                </a:cubicBezTo>
                <a:cubicBezTo>
                  <a:pt x="514929" y="3618015"/>
                  <a:pt x="515361" y="3618558"/>
                  <a:pt x="515828" y="3618860"/>
                </a:cubicBezTo>
                <a:cubicBezTo>
                  <a:pt x="515547" y="3619066"/>
                  <a:pt x="515021" y="3619242"/>
                  <a:pt x="514461" y="3619652"/>
                </a:cubicBezTo>
                <a:cubicBezTo>
                  <a:pt x="515176" y="3619988"/>
                  <a:pt x="515610" y="3620531"/>
                  <a:pt x="516043" y="3621071"/>
                </a:cubicBezTo>
                <a:cubicBezTo>
                  <a:pt x="519983" y="3617948"/>
                  <a:pt x="523703" y="3614553"/>
                  <a:pt x="527424" y="3611157"/>
                </a:cubicBezTo>
                <a:cubicBezTo>
                  <a:pt x="525163" y="3605282"/>
                  <a:pt x="523989" y="3598821"/>
                  <a:pt x="523342" y="3592191"/>
                </a:cubicBezTo>
                <a:cubicBezTo>
                  <a:pt x="523217" y="3589264"/>
                  <a:pt x="520430" y="3585503"/>
                  <a:pt x="517919" y="3583477"/>
                </a:cubicBezTo>
                <a:cubicBezTo>
                  <a:pt x="514509" y="3580608"/>
                  <a:pt x="511533" y="3584101"/>
                  <a:pt x="508092" y="3585350"/>
                </a:cubicBezTo>
                <a:cubicBezTo>
                  <a:pt x="507842" y="3585318"/>
                  <a:pt x="507595" y="3585286"/>
                  <a:pt x="507595" y="3585286"/>
                </a:cubicBezTo>
                <a:lnTo>
                  <a:pt x="506694" y="3586380"/>
                </a:lnTo>
                <a:lnTo>
                  <a:pt x="506293" y="3585600"/>
                </a:lnTo>
                <a:cubicBezTo>
                  <a:pt x="496308" y="3588666"/>
                  <a:pt x="490886" y="3583833"/>
                  <a:pt x="491543" y="3573006"/>
                </a:cubicBezTo>
                <a:cubicBezTo>
                  <a:pt x="491792" y="3571097"/>
                  <a:pt x="492040" y="3569190"/>
                  <a:pt x="492289" y="3567281"/>
                </a:cubicBezTo>
                <a:cubicBezTo>
                  <a:pt x="490057" y="3565051"/>
                  <a:pt x="488137" y="3562373"/>
                  <a:pt x="486463" y="3559730"/>
                </a:cubicBezTo>
                <a:cubicBezTo>
                  <a:pt x="478283" y="3547021"/>
                  <a:pt x="470942" y="3533693"/>
                  <a:pt x="459756" y="3522777"/>
                </a:cubicBezTo>
                <a:cubicBezTo>
                  <a:pt x="453279" y="3516354"/>
                  <a:pt x="448604" y="3507740"/>
                  <a:pt x="448050" y="3496509"/>
                </a:cubicBezTo>
                <a:cubicBezTo>
                  <a:pt x="463764" y="3499770"/>
                  <a:pt x="471697" y="3510507"/>
                  <a:pt x="477705" y="3520508"/>
                </a:cubicBezTo>
                <a:cubicBezTo>
                  <a:pt x="482260" y="3528137"/>
                  <a:pt x="489357" y="3535610"/>
                  <a:pt x="489290" y="3545788"/>
                </a:cubicBezTo>
                <a:cubicBezTo>
                  <a:pt x="489165" y="3548683"/>
                  <a:pt x="491983" y="3552204"/>
                  <a:pt x="494431" y="3554706"/>
                </a:cubicBezTo>
                <a:cubicBezTo>
                  <a:pt x="495083" y="3555520"/>
                  <a:pt x="495515" y="3556060"/>
                  <a:pt x="496198" y="3556635"/>
                </a:cubicBezTo>
                <a:cubicBezTo>
                  <a:pt x="499735" y="3550788"/>
                  <a:pt x="505347" y="3546427"/>
                  <a:pt x="513099" y="3543071"/>
                </a:cubicBezTo>
                <a:cubicBezTo>
                  <a:pt x="520877" y="3547241"/>
                  <a:pt x="526828" y="3553838"/>
                  <a:pt x="532499" y="3560640"/>
                </a:cubicBezTo>
                <a:cubicBezTo>
                  <a:pt x="533738" y="3556920"/>
                  <a:pt x="534733" y="3553169"/>
                  <a:pt x="535975" y="3549450"/>
                </a:cubicBezTo>
                <a:cubicBezTo>
                  <a:pt x="529994" y="3543091"/>
                  <a:pt x="524076" y="3536256"/>
                  <a:pt x="517257" y="3528577"/>
                </a:cubicBezTo>
                <a:cubicBezTo>
                  <a:pt x="525815" y="3524841"/>
                  <a:pt x="533288" y="3521693"/>
                  <a:pt x="521886" y="3510504"/>
                </a:cubicBezTo>
                <a:cubicBezTo>
                  <a:pt x="523839" y="3511001"/>
                  <a:pt x="526070" y="3511292"/>
                  <a:pt x="528053" y="3511550"/>
                </a:cubicBezTo>
                <a:cubicBezTo>
                  <a:pt x="533476" y="3516380"/>
                  <a:pt x="538683" y="3520940"/>
                  <a:pt x="544975" y="3526853"/>
                </a:cubicBezTo>
                <a:cubicBezTo>
                  <a:pt x="541845" y="3517958"/>
                  <a:pt x="539029" y="3510555"/>
                  <a:pt x="536241" y="3502915"/>
                </a:cubicBezTo>
                <a:cubicBezTo>
                  <a:pt x="544832" y="3497000"/>
                  <a:pt x="548206" y="3505930"/>
                  <a:pt x="554590" y="3509190"/>
                </a:cubicBezTo>
                <a:cubicBezTo>
                  <a:pt x="552360" y="3505018"/>
                  <a:pt x="550409" y="3500641"/>
                  <a:pt x="548426" y="3496501"/>
                </a:cubicBezTo>
                <a:cubicBezTo>
                  <a:pt x="551340" y="3497365"/>
                  <a:pt x="553728" y="3498404"/>
                  <a:pt x="555804" y="3499887"/>
                </a:cubicBezTo>
                <a:cubicBezTo>
                  <a:pt x="553327" y="3489862"/>
                  <a:pt x="547813" y="3481868"/>
                  <a:pt x="539073" y="3475391"/>
                </a:cubicBezTo>
                <a:cubicBezTo>
                  <a:pt x="537245" y="3473941"/>
                  <a:pt x="534765" y="3471677"/>
                  <a:pt x="534550" y="3469466"/>
                </a:cubicBezTo>
                <a:cubicBezTo>
                  <a:pt x="534087" y="3465281"/>
                  <a:pt x="533064" y="3461512"/>
                  <a:pt x="531796" y="3457707"/>
                </a:cubicBezTo>
                <a:cubicBezTo>
                  <a:pt x="531362" y="3457165"/>
                  <a:pt x="530679" y="3456592"/>
                  <a:pt x="530247" y="3456049"/>
                </a:cubicBezTo>
                <a:cubicBezTo>
                  <a:pt x="527767" y="3453785"/>
                  <a:pt x="524232" y="3451869"/>
                  <a:pt x="520824" y="3450939"/>
                </a:cubicBezTo>
                <a:cubicBezTo>
                  <a:pt x="508611" y="3447892"/>
                  <a:pt x="503563" y="3438260"/>
                  <a:pt x="497955" y="3429039"/>
                </a:cubicBezTo>
                <a:cubicBezTo>
                  <a:pt x="497086" y="3427957"/>
                  <a:pt x="497304" y="3426287"/>
                  <a:pt x="497522" y="3424617"/>
                </a:cubicBezTo>
                <a:cubicBezTo>
                  <a:pt x="497399" y="3423630"/>
                  <a:pt x="497060" y="3422374"/>
                  <a:pt x="497215" y="3421182"/>
                </a:cubicBezTo>
                <a:cubicBezTo>
                  <a:pt x="491139" y="3417479"/>
                  <a:pt x="485343" y="3415511"/>
                  <a:pt x="476169" y="3414315"/>
                </a:cubicBezTo>
                <a:cubicBezTo>
                  <a:pt x="483294" y="3423490"/>
                  <a:pt x="488500" y="3429989"/>
                  <a:pt x="493426" y="3436695"/>
                </a:cubicBezTo>
                <a:cubicBezTo>
                  <a:pt x="498134" y="3443129"/>
                  <a:pt x="502565" y="3449773"/>
                  <a:pt x="507894" y="3457260"/>
                </a:cubicBezTo>
                <a:cubicBezTo>
                  <a:pt x="504142" y="3458953"/>
                  <a:pt x="501725" y="3460091"/>
                  <a:pt x="498747" y="3461644"/>
                </a:cubicBezTo>
                <a:cubicBezTo>
                  <a:pt x="481892" y="3445863"/>
                  <a:pt x="468878" y="3425733"/>
                  <a:pt x="443553" y="3420735"/>
                </a:cubicBezTo>
                <a:cubicBezTo>
                  <a:pt x="444300" y="3416951"/>
                  <a:pt x="444890" y="3414360"/>
                  <a:pt x="445201" y="3411973"/>
                </a:cubicBezTo>
                <a:cubicBezTo>
                  <a:pt x="439342" y="3406603"/>
                  <a:pt x="433487" y="3401230"/>
                  <a:pt x="427166" y="3395555"/>
                </a:cubicBezTo>
                <a:cubicBezTo>
                  <a:pt x="424809" y="3396218"/>
                  <a:pt x="421925" y="3397054"/>
                  <a:pt x="418547" y="3397826"/>
                </a:cubicBezTo>
                <a:cubicBezTo>
                  <a:pt x="422946" y="3400826"/>
                  <a:pt x="427626" y="3403619"/>
                  <a:pt x="431158" y="3407476"/>
                </a:cubicBezTo>
                <a:cubicBezTo>
                  <a:pt x="432492" y="3408862"/>
                  <a:pt x="432429" y="3411278"/>
                  <a:pt x="433171" y="3413315"/>
                </a:cubicBezTo>
                <a:cubicBezTo>
                  <a:pt x="429390" y="3415249"/>
                  <a:pt x="425854" y="3417212"/>
                  <a:pt x="422319" y="3419178"/>
                </a:cubicBezTo>
                <a:cubicBezTo>
                  <a:pt x="411131" y="3416020"/>
                  <a:pt x="404158" y="3405652"/>
                  <a:pt x="391790" y="3405737"/>
                </a:cubicBezTo>
                <a:cubicBezTo>
                  <a:pt x="381436" y="3405844"/>
                  <a:pt x="371050" y="3404245"/>
                  <a:pt x="359335" y="3403204"/>
                </a:cubicBezTo>
                <a:cubicBezTo>
                  <a:pt x="358187" y="3404267"/>
                  <a:pt x="355580" y="3406837"/>
                  <a:pt x="353255" y="3409204"/>
                </a:cubicBezTo>
                <a:cubicBezTo>
                  <a:pt x="348046" y="3410464"/>
                  <a:pt x="337759" y="3400391"/>
                  <a:pt x="329797" y="3386013"/>
                </a:cubicBezTo>
                <a:cubicBezTo>
                  <a:pt x="329303" y="3385948"/>
                  <a:pt x="328806" y="3385882"/>
                  <a:pt x="328061" y="3385785"/>
                </a:cubicBezTo>
                <a:cubicBezTo>
                  <a:pt x="327316" y="3389570"/>
                  <a:pt x="326572" y="3393353"/>
                  <a:pt x="326074" y="3397169"/>
                </a:cubicBezTo>
                <a:cubicBezTo>
                  <a:pt x="324554" y="3397213"/>
                  <a:pt x="322446" y="3397909"/>
                  <a:pt x="321765" y="3397336"/>
                </a:cubicBezTo>
                <a:cubicBezTo>
                  <a:pt x="319968" y="3395644"/>
                  <a:pt x="317921" y="3393923"/>
                  <a:pt x="316123" y="3392233"/>
                </a:cubicBezTo>
                <a:cubicBezTo>
                  <a:pt x="315133" y="3394044"/>
                  <a:pt x="314355" y="3396127"/>
                  <a:pt x="313361" y="3397938"/>
                </a:cubicBezTo>
                <a:cubicBezTo>
                  <a:pt x="306142" y="3391418"/>
                  <a:pt x="304160" y="3387279"/>
                  <a:pt x="307106" y="3384023"/>
                </a:cubicBezTo>
                <a:cubicBezTo>
                  <a:pt x="307697" y="3383372"/>
                  <a:pt x="308566" y="3382516"/>
                  <a:pt x="309153" y="3381866"/>
                </a:cubicBezTo>
                <a:cubicBezTo>
                  <a:pt x="298622" y="3362059"/>
                  <a:pt x="283655" y="3345311"/>
                  <a:pt x="271729" y="3326537"/>
                </a:cubicBezTo>
                <a:cubicBezTo>
                  <a:pt x="266059" y="3317790"/>
                  <a:pt x="260264" y="3310003"/>
                  <a:pt x="259899" y="3299282"/>
                </a:cubicBezTo>
                <a:cubicBezTo>
                  <a:pt x="259684" y="3293191"/>
                  <a:pt x="256463" y="3286950"/>
                  <a:pt x="254480" y="3280870"/>
                </a:cubicBezTo>
                <a:cubicBezTo>
                  <a:pt x="256406" y="3269963"/>
                  <a:pt x="266515" y="3265945"/>
                  <a:pt x="274327" y="3262114"/>
                </a:cubicBezTo>
                <a:cubicBezTo>
                  <a:pt x="284280" y="3257348"/>
                  <a:pt x="294730" y="3250704"/>
                  <a:pt x="307934" y="3253883"/>
                </a:cubicBezTo>
                <a:cubicBezTo>
                  <a:pt x="313823" y="3255134"/>
                  <a:pt x="320801" y="3251922"/>
                  <a:pt x="328519" y="3250746"/>
                </a:cubicBezTo>
                <a:cubicBezTo>
                  <a:pt x="331345" y="3240684"/>
                  <a:pt x="326699" y="3229892"/>
                  <a:pt x="328656" y="3218747"/>
                </a:cubicBezTo>
                <a:cubicBezTo>
                  <a:pt x="331324" y="3217639"/>
                  <a:pt x="334332" y="3215848"/>
                  <a:pt x="336810" y="3216172"/>
                </a:cubicBezTo>
                <a:cubicBezTo>
                  <a:pt x="338732" y="3216909"/>
                  <a:pt x="340715" y="3217167"/>
                  <a:pt x="342701" y="3217426"/>
                </a:cubicBezTo>
                <a:cubicBezTo>
                  <a:pt x="338454" y="3213233"/>
                  <a:pt x="334489" y="3208835"/>
                  <a:pt x="331081" y="3204024"/>
                </a:cubicBezTo>
                <a:cubicBezTo>
                  <a:pt x="326806" y="3198132"/>
                  <a:pt x="324454" y="3191034"/>
                  <a:pt x="321044" y="3184282"/>
                </a:cubicBezTo>
                <a:cubicBezTo>
                  <a:pt x="322160" y="3183457"/>
                  <a:pt x="323029" y="3182601"/>
                  <a:pt x="323898" y="3181743"/>
                </a:cubicBezTo>
                <a:cubicBezTo>
                  <a:pt x="329663" y="3183952"/>
                  <a:pt x="335428" y="3186157"/>
                  <a:pt x="341193" y="3188366"/>
                </a:cubicBezTo>
                <a:cubicBezTo>
                  <a:pt x="336080" y="3179209"/>
                  <a:pt x="335248" y="3168187"/>
                  <a:pt x="324681" y="3162199"/>
                </a:cubicBezTo>
                <a:cubicBezTo>
                  <a:pt x="315973" y="3157425"/>
                  <a:pt x="308598" y="3150158"/>
                  <a:pt x="300105" y="3143714"/>
                </a:cubicBezTo>
                <a:cubicBezTo>
                  <a:pt x="318864" y="3135246"/>
                  <a:pt x="320106" y="3131528"/>
                  <a:pt x="310038" y="3115902"/>
                </a:cubicBezTo>
                <a:cubicBezTo>
                  <a:pt x="306908" y="3110888"/>
                  <a:pt x="303778" y="3105871"/>
                  <a:pt x="300836" y="3101362"/>
                </a:cubicBezTo>
                <a:cubicBezTo>
                  <a:pt x="307751" y="3096687"/>
                  <a:pt x="314076" y="3092661"/>
                  <a:pt x="321517" y="3087810"/>
                </a:cubicBezTo>
                <a:cubicBezTo>
                  <a:pt x="313955" y="3081974"/>
                  <a:pt x="307757" y="3077284"/>
                  <a:pt x="300228" y="3071210"/>
                </a:cubicBezTo>
                <a:cubicBezTo>
                  <a:pt x="298648" y="3071729"/>
                  <a:pt x="295485" y="3072773"/>
                  <a:pt x="292321" y="3073814"/>
                </a:cubicBezTo>
                <a:cubicBezTo>
                  <a:pt x="292228" y="3072590"/>
                  <a:pt x="292383" y="3071399"/>
                  <a:pt x="291766" y="3070348"/>
                </a:cubicBezTo>
                <a:cubicBezTo>
                  <a:pt x="280335" y="3049696"/>
                  <a:pt x="268656" y="3029011"/>
                  <a:pt x="256977" y="3008329"/>
                </a:cubicBezTo>
                <a:cubicBezTo>
                  <a:pt x="256606" y="3007310"/>
                  <a:pt x="256265" y="3006051"/>
                  <a:pt x="255366" y="3005208"/>
                </a:cubicBezTo>
                <a:cubicBezTo>
                  <a:pt x="251398" y="3000809"/>
                  <a:pt x="243870" y="2996673"/>
                  <a:pt x="243902" y="2992554"/>
                </a:cubicBezTo>
                <a:cubicBezTo>
                  <a:pt x="243874" y="2985032"/>
                  <a:pt x="248373" y="2977615"/>
                  <a:pt x="250855" y="2970177"/>
                </a:cubicBezTo>
                <a:cubicBezTo>
                  <a:pt x="246546" y="2970343"/>
                  <a:pt x="240996" y="2970348"/>
                  <a:pt x="233402" y="2970570"/>
                </a:cubicBezTo>
                <a:cubicBezTo>
                  <a:pt x="226216" y="2956050"/>
                  <a:pt x="218627" y="2940748"/>
                  <a:pt x="211255" y="2925721"/>
                </a:cubicBezTo>
                <a:cubicBezTo>
                  <a:pt x="212309" y="2925373"/>
                  <a:pt x="213115" y="2924994"/>
                  <a:pt x="213922" y="2924613"/>
                </a:cubicBezTo>
                <a:cubicBezTo>
                  <a:pt x="217484" y="2928230"/>
                  <a:pt x="221328" y="2931642"/>
                  <a:pt x="224892" y="2935260"/>
                </a:cubicBezTo>
                <a:cubicBezTo>
                  <a:pt x="225449" y="2934847"/>
                  <a:pt x="226255" y="2934469"/>
                  <a:pt x="227063" y="2934088"/>
                </a:cubicBezTo>
                <a:cubicBezTo>
                  <a:pt x="221425" y="2921224"/>
                  <a:pt x="215540" y="2908330"/>
                  <a:pt x="209252" y="2894656"/>
                </a:cubicBezTo>
                <a:cubicBezTo>
                  <a:pt x="207207" y="2894873"/>
                  <a:pt x="204076" y="2895679"/>
                  <a:pt x="200727" y="2896214"/>
                </a:cubicBezTo>
                <a:cubicBezTo>
                  <a:pt x="200323" y="2895432"/>
                  <a:pt x="199706" y="2894381"/>
                  <a:pt x="199333" y="2893363"/>
                </a:cubicBezTo>
                <a:cubicBezTo>
                  <a:pt x="203055" y="2891907"/>
                  <a:pt x="207052" y="2890246"/>
                  <a:pt x="211021" y="2888823"/>
                </a:cubicBezTo>
                <a:cubicBezTo>
                  <a:pt x="204049" y="2882335"/>
                  <a:pt x="202691" y="2871486"/>
                  <a:pt x="193204" y="2866853"/>
                </a:cubicBezTo>
                <a:cubicBezTo>
                  <a:pt x="192027" y="2866215"/>
                  <a:pt x="190386" y="2863333"/>
                  <a:pt x="191007" y="2862443"/>
                </a:cubicBezTo>
                <a:cubicBezTo>
                  <a:pt x="196157" y="2853899"/>
                  <a:pt x="190176" y="2847539"/>
                  <a:pt x="186490" y="2840996"/>
                </a:cubicBezTo>
                <a:cubicBezTo>
                  <a:pt x="182804" y="2834449"/>
                  <a:pt x="180914" y="2827656"/>
                  <a:pt x="172515" y="2822437"/>
                </a:cubicBezTo>
                <a:cubicBezTo>
                  <a:pt x="164334" y="2817489"/>
                  <a:pt x="161147" y="2805189"/>
                  <a:pt x="158826" y="2793972"/>
                </a:cubicBezTo>
                <a:cubicBezTo>
                  <a:pt x="162172" y="2797318"/>
                  <a:pt x="165239" y="2800872"/>
                  <a:pt x="169920" y="2805604"/>
                </a:cubicBezTo>
                <a:cubicBezTo>
                  <a:pt x="169549" y="2798765"/>
                  <a:pt x="169025" y="2793117"/>
                  <a:pt x="168747" y="2787504"/>
                </a:cubicBezTo>
                <a:cubicBezTo>
                  <a:pt x="172593" y="2787036"/>
                  <a:pt x="175414" y="2786675"/>
                  <a:pt x="178978" y="2786411"/>
                </a:cubicBezTo>
                <a:cubicBezTo>
                  <a:pt x="174800" y="2775922"/>
                  <a:pt x="171021" y="2766214"/>
                  <a:pt x="167243" y="2756503"/>
                </a:cubicBezTo>
                <a:cubicBezTo>
                  <a:pt x="170279" y="2754475"/>
                  <a:pt x="172480" y="2753064"/>
                  <a:pt x="174682" y="2751652"/>
                </a:cubicBezTo>
                <a:cubicBezTo>
                  <a:pt x="174158" y="2749886"/>
                  <a:pt x="173911" y="2747912"/>
                  <a:pt x="173166" y="2747816"/>
                </a:cubicBezTo>
                <a:cubicBezTo>
                  <a:pt x="156304" y="2743677"/>
                  <a:pt x="158326" y="2728175"/>
                  <a:pt x="153463" y="2717111"/>
                </a:cubicBezTo>
                <a:cubicBezTo>
                  <a:pt x="148166" y="2705505"/>
                  <a:pt x="144731" y="2693174"/>
                  <a:pt x="139186" y="2681537"/>
                </a:cubicBezTo>
                <a:cubicBezTo>
                  <a:pt x="136832" y="2676378"/>
                  <a:pt x="132214" y="2676989"/>
                  <a:pt x="127374" y="2681209"/>
                </a:cubicBezTo>
                <a:cubicBezTo>
                  <a:pt x="123963" y="2684159"/>
                  <a:pt x="118661" y="2686135"/>
                  <a:pt x="116774" y="2677400"/>
                </a:cubicBezTo>
                <a:cubicBezTo>
                  <a:pt x="115600" y="2672883"/>
                  <a:pt x="109215" y="2669623"/>
                  <a:pt x="107543" y="2665040"/>
                </a:cubicBezTo>
                <a:cubicBezTo>
                  <a:pt x="101194" y="2647962"/>
                  <a:pt x="95620" y="2630741"/>
                  <a:pt x="92467" y="2612382"/>
                </a:cubicBezTo>
                <a:cubicBezTo>
                  <a:pt x="95253" y="2618081"/>
                  <a:pt x="98568" y="2623606"/>
                  <a:pt x="100582" y="2629447"/>
                </a:cubicBezTo>
                <a:cubicBezTo>
                  <a:pt x="102934" y="2636546"/>
                  <a:pt x="113446" y="2631366"/>
                  <a:pt x="115117" y="2639832"/>
                </a:cubicBezTo>
                <a:cubicBezTo>
                  <a:pt x="116107" y="2645783"/>
                  <a:pt x="119916" y="2651373"/>
                  <a:pt x="124037" y="2656519"/>
                </a:cubicBezTo>
                <a:cubicBezTo>
                  <a:pt x="125099" y="2636767"/>
                  <a:pt x="115529" y="2619270"/>
                  <a:pt x="109056" y="2601205"/>
                </a:cubicBezTo>
                <a:cubicBezTo>
                  <a:pt x="102214" y="2582121"/>
                  <a:pt x="91773" y="2563537"/>
                  <a:pt x="88526" y="2543955"/>
                </a:cubicBezTo>
                <a:cubicBezTo>
                  <a:pt x="85435" y="2525118"/>
                  <a:pt x="71367" y="2509214"/>
                  <a:pt x="75963" y="2487499"/>
                </a:cubicBezTo>
                <a:cubicBezTo>
                  <a:pt x="81662" y="2499885"/>
                  <a:pt x="87269" y="2511046"/>
                  <a:pt x="92101" y="2522348"/>
                </a:cubicBezTo>
                <a:cubicBezTo>
                  <a:pt x="98078" y="2536469"/>
                  <a:pt x="103496" y="2551000"/>
                  <a:pt x="116885" y="2562448"/>
                </a:cubicBezTo>
                <a:cubicBezTo>
                  <a:pt x="110289" y="2543395"/>
                  <a:pt x="104002" y="2525841"/>
                  <a:pt x="97749" y="2508045"/>
                </a:cubicBezTo>
                <a:cubicBezTo>
                  <a:pt x="101314" y="2505844"/>
                  <a:pt x="103763" y="2504465"/>
                  <a:pt x="105934" y="2503291"/>
                </a:cubicBezTo>
                <a:cubicBezTo>
                  <a:pt x="104820" y="2496355"/>
                  <a:pt x="103707" y="2489418"/>
                  <a:pt x="102594" y="2482482"/>
                </a:cubicBezTo>
                <a:cubicBezTo>
                  <a:pt x="107710" y="2481936"/>
                  <a:pt x="111057" y="2481403"/>
                  <a:pt x="114126" y="2481075"/>
                </a:cubicBezTo>
                <a:cubicBezTo>
                  <a:pt x="115903" y="2461660"/>
                  <a:pt x="112375" y="2444223"/>
                  <a:pt x="104010" y="2427124"/>
                </a:cubicBezTo>
                <a:cubicBezTo>
                  <a:pt x="118363" y="2431177"/>
                  <a:pt x="118451" y="2444046"/>
                  <a:pt x="123498" y="2455618"/>
                </a:cubicBezTo>
                <a:cubicBezTo>
                  <a:pt x="131067" y="2443992"/>
                  <a:pt x="137645" y="2434178"/>
                  <a:pt x="144592" y="2423441"/>
                </a:cubicBezTo>
                <a:cubicBezTo>
                  <a:pt x="153549" y="2426307"/>
                  <a:pt x="141176" y="2436092"/>
                  <a:pt x="148181" y="2440402"/>
                </a:cubicBezTo>
                <a:cubicBezTo>
                  <a:pt x="160801" y="2432588"/>
                  <a:pt x="162943" y="2423893"/>
                  <a:pt x="155696" y="2411790"/>
                </a:cubicBezTo>
                <a:cubicBezTo>
                  <a:pt x="150304" y="2402842"/>
                  <a:pt x="145193" y="2393685"/>
                  <a:pt x="139058" y="2382699"/>
                </a:cubicBezTo>
                <a:cubicBezTo>
                  <a:pt x="158187" y="2381068"/>
                  <a:pt x="156538" y="2397591"/>
                  <a:pt x="167509" y="2402416"/>
                </a:cubicBezTo>
                <a:cubicBezTo>
                  <a:pt x="164164" y="2395189"/>
                  <a:pt x="160820" y="2387961"/>
                  <a:pt x="156483" y="2378664"/>
                </a:cubicBezTo>
                <a:cubicBezTo>
                  <a:pt x="161781" y="2384447"/>
                  <a:pt x="165811" y="2388369"/>
                  <a:pt x="171140" y="2393916"/>
                </a:cubicBezTo>
                <a:cubicBezTo>
                  <a:pt x="174180" y="2388005"/>
                  <a:pt x="176786" y="2383493"/>
                  <a:pt x="179113" y="2379191"/>
                </a:cubicBezTo>
                <a:cubicBezTo>
                  <a:pt x="192192" y="2383320"/>
                  <a:pt x="179567" y="2406657"/>
                  <a:pt x="200646" y="2405525"/>
                </a:cubicBezTo>
                <a:cubicBezTo>
                  <a:pt x="198824" y="2392432"/>
                  <a:pt x="213821" y="2405061"/>
                  <a:pt x="215438" y="2396539"/>
                </a:cubicBezTo>
                <a:cubicBezTo>
                  <a:pt x="208466" y="2388110"/>
                  <a:pt x="201310" y="2379173"/>
                  <a:pt x="194369" y="2370507"/>
                </a:cubicBezTo>
                <a:cubicBezTo>
                  <a:pt x="201068" y="2361680"/>
                  <a:pt x="207326" y="2369770"/>
                  <a:pt x="213000" y="2368811"/>
                </a:cubicBezTo>
                <a:cubicBezTo>
                  <a:pt x="223572" y="2367037"/>
                  <a:pt x="215134" y="2381461"/>
                  <a:pt x="226170" y="2379989"/>
                </a:cubicBezTo>
                <a:cubicBezTo>
                  <a:pt x="236589" y="2373586"/>
                  <a:pt x="222271" y="2365414"/>
                  <a:pt x="225684" y="2356640"/>
                </a:cubicBezTo>
                <a:cubicBezTo>
                  <a:pt x="229280" y="2358080"/>
                  <a:pt x="232874" y="2359518"/>
                  <a:pt x="237678" y="2361357"/>
                </a:cubicBezTo>
                <a:cubicBezTo>
                  <a:pt x="238579" y="2358322"/>
                  <a:pt x="239478" y="2355286"/>
                  <a:pt x="240379" y="2352251"/>
                </a:cubicBezTo>
                <a:cubicBezTo>
                  <a:pt x="248807" y="2361112"/>
                  <a:pt x="257668" y="2370513"/>
                  <a:pt x="264363" y="2377207"/>
                </a:cubicBezTo>
                <a:cubicBezTo>
                  <a:pt x="273383" y="2379595"/>
                  <a:pt x="279739" y="2381152"/>
                  <a:pt x="288292" y="2383237"/>
                </a:cubicBezTo>
                <a:cubicBezTo>
                  <a:pt x="280518" y="2369369"/>
                  <a:pt x="273640" y="2356344"/>
                  <a:pt x="266487" y="2343527"/>
                </a:cubicBezTo>
                <a:cubicBezTo>
                  <a:pt x="259298" y="2330947"/>
                  <a:pt x="251833" y="2318573"/>
                  <a:pt x="245174" y="2305821"/>
                </a:cubicBezTo>
                <a:cubicBezTo>
                  <a:pt x="243747" y="2303210"/>
                  <a:pt x="244245" y="2299395"/>
                  <a:pt x="243905" y="2296196"/>
                </a:cubicBezTo>
                <a:cubicBezTo>
                  <a:pt x="246881" y="2300464"/>
                  <a:pt x="250101" y="2304764"/>
                  <a:pt x="253076" y="2309034"/>
                </a:cubicBezTo>
                <a:cubicBezTo>
                  <a:pt x="254408" y="2308482"/>
                  <a:pt x="255772" y="2307690"/>
                  <a:pt x="257107" y="2307134"/>
                </a:cubicBezTo>
                <a:cubicBezTo>
                  <a:pt x="254443" y="2300480"/>
                  <a:pt x="251750" y="2294066"/>
                  <a:pt x="249085" y="2287413"/>
                </a:cubicBezTo>
                <a:cubicBezTo>
                  <a:pt x="269073" y="2304328"/>
                  <a:pt x="276443" y="2329060"/>
                  <a:pt x="290385" y="2345915"/>
                </a:cubicBezTo>
                <a:cubicBezTo>
                  <a:pt x="302195" y="2350122"/>
                  <a:pt x="311835" y="2353562"/>
                  <a:pt x="320265" y="2356602"/>
                </a:cubicBezTo>
                <a:cubicBezTo>
                  <a:pt x="326621" y="2354278"/>
                  <a:pt x="332758" y="2351684"/>
                  <a:pt x="338990" y="2350312"/>
                </a:cubicBezTo>
                <a:cubicBezTo>
                  <a:pt x="345719" y="2349007"/>
                  <a:pt x="340858" y="2334061"/>
                  <a:pt x="352170" y="2340145"/>
                </a:cubicBezTo>
                <a:cubicBezTo>
                  <a:pt x="361319" y="2326058"/>
                  <a:pt x="348770" y="2313993"/>
                  <a:pt x="349210" y="2299012"/>
                </a:cubicBezTo>
                <a:cubicBezTo>
                  <a:pt x="353457" y="2303204"/>
                  <a:pt x="357021" y="2306822"/>
                  <a:pt x="360366" y="2310169"/>
                </a:cubicBezTo>
                <a:cubicBezTo>
                  <a:pt x="355385" y="2288417"/>
                  <a:pt x="339115" y="2271987"/>
                  <a:pt x="335126" y="2248424"/>
                </a:cubicBezTo>
                <a:cubicBezTo>
                  <a:pt x="350717" y="2252638"/>
                  <a:pt x="349813" y="2265375"/>
                  <a:pt x="355482" y="2274121"/>
                </a:cubicBezTo>
                <a:cubicBezTo>
                  <a:pt x="361338" y="2283371"/>
                  <a:pt x="369114" y="2291421"/>
                  <a:pt x="378473" y="2302827"/>
                </a:cubicBezTo>
                <a:cubicBezTo>
                  <a:pt x="380248" y="2285353"/>
                  <a:pt x="370145" y="2277728"/>
                  <a:pt x="364382" y="2267761"/>
                </a:cubicBezTo>
                <a:cubicBezTo>
                  <a:pt x="358837" y="2258064"/>
                  <a:pt x="355430" y="2247433"/>
                  <a:pt x="349764" y="2234809"/>
                </a:cubicBezTo>
                <a:cubicBezTo>
                  <a:pt x="374526" y="2247982"/>
                  <a:pt x="384099" y="2269362"/>
                  <a:pt x="396366" y="2287455"/>
                </a:cubicBezTo>
                <a:cubicBezTo>
                  <a:pt x="403465" y="2287169"/>
                  <a:pt x="409541" y="2286990"/>
                  <a:pt x="416145" y="2286637"/>
                </a:cubicBezTo>
                <a:cubicBezTo>
                  <a:pt x="415029" y="2283581"/>
                  <a:pt x="413481" y="2279985"/>
                  <a:pt x="411437" y="2274380"/>
                </a:cubicBezTo>
                <a:cubicBezTo>
                  <a:pt x="417545" y="2275906"/>
                  <a:pt x="421944" y="2276965"/>
                  <a:pt x="428516" y="2278793"/>
                </a:cubicBezTo>
                <a:cubicBezTo>
                  <a:pt x="419534" y="2262582"/>
                  <a:pt x="411386" y="2247694"/>
                  <a:pt x="403209" y="2233045"/>
                </a:cubicBezTo>
                <a:cubicBezTo>
                  <a:pt x="404016" y="2232665"/>
                  <a:pt x="404850" y="2232048"/>
                  <a:pt x="405410" y="2231634"/>
                </a:cubicBezTo>
                <a:cubicBezTo>
                  <a:pt x="411732" y="2237309"/>
                  <a:pt x="418301" y="2243017"/>
                  <a:pt x="426420" y="2250383"/>
                </a:cubicBezTo>
                <a:cubicBezTo>
                  <a:pt x="426609" y="2245070"/>
                  <a:pt x="426888" y="2240984"/>
                  <a:pt x="427202" y="2234717"/>
                </a:cubicBezTo>
                <a:cubicBezTo>
                  <a:pt x="437240" y="2246699"/>
                  <a:pt x="445761" y="2256785"/>
                  <a:pt x="456886" y="2270121"/>
                </a:cubicBezTo>
                <a:cubicBezTo>
                  <a:pt x="457726" y="2261741"/>
                  <a:pt x="458194" y="2258162"/>
                  <a:pt x="458847" y="2253154"/>
                </a:cubicBezTo>
                <a:cubicBezTo>
                  <a:pt x="462472" y="2256297"/>
                  <a:pt x="465230" y="2258354"/>
                  <a:pt x="469319" y="2261799"/>
                </a:cubicBezTo>
                <a:cubicBezTo>
                  <a:pt x="467932" y="2245366"/>
                  <a:pt x="488327" y="2253360"/>
                  <a:pt x="491647" y="2239485"/>
                </a:cubicBezTo>
                <a:cubicBezTo>
                  <a:pt x="495274" y="2244564"/>
                  <a:pt x="498062" y="2248324"/>
                  <a:pt x="500820" y="2252322"/>
                </a:cubicBezTo>
                <a:cubicBezTo>
                  <a:pt x="501348" y="2252146"/>
                  <a:pt x="502151" y="2251767"/>
                  <a:pt x="502711" y="2251355"/>
                </a:cubicBezTo>
                <a:cubicBezTo>
                  <a:pt x="500482" y="2245243"/>
                  <a:pt x="498253" y="2239131"/>
                  <a:pt x="496022" y="2233019"/>
                </a:cubicBezTo>
                <a:cubicBezTo>
                  <a:pt x="497077" y="2232672"/>
                  <a:pt x="498410" y="2232118"/>
                  <a:pt x="499495" y="2231531"/>
                </a:cubicBezTo>
                <a:cubicBezTo>
                  <a:pt x="508666" y="2244369"/>
                  <a:pt x="517803" y="2257448"/>
                  <a:pt x="527843" y="2271370"/>
                </a:cubicBezTo>
                <a:cubicBezTo>
                  <a:pt x="525767" y="2273765"/>
                  <a:pt x="522352" y="2276716"/>
                  <a:pt x="519439" y="2279731"/>
                </a:cubicBezTo>
                <a:cubicBezTo>
                  <a:pt x="523496" y="2291176"/>
                  <a:pt x="531435" y="2280568"/>
                  <a:pt x="538006" y="2284337"/>
                </a:cubicBezTo>
                <a:cubicBezTo>
                  <a:pt x="542805" y="2299757"/>
                  <a:pt x="558059" y="2296895"/>
                  <a:pt x="571635" y="2299149"/>
                </a:cubicBezTo>
                <a:cubicBezTo>
                  <a:pt x="576754" y="2292783"/>
                  <a:pt x="582396" y="2286243"/>
                  <a:pt x="589252" y="2278161"/>
                </a:cubicBezTo>
                <a:cubicBezTo>
                  <a:pt x="599726" y="2288745"/>
                  <a:pt x="608835" y="2298179"/>
                  <a:pt x="618226" y="2307408"/>
                </a:cubicBezTo>
                <a:cubicBezTo>
                  <a:pt x="619278" y="2307059"/>
                  <a:pt x="620303" y="2306952"/>
                  <a:pt x="621356" y="2306602"/>
                </a:cubicBezTo>
                <a:cubicBezTo>
                  <a:pt x="620613" y="2302625"/>
                  <a:pt x="620956" y="2298062"/>
                  <a:pt x="619160" y="2294432"/>
                </a:cubicBezTo>
                <a:cubicBezTo>
                  <a:pt x="608691" y="2274150"/>
                  <a:pt x="597662" y="2254277"/>
                  <a:pt x="587160" y="2234230"/>
                </a:cubicBezTo>
                <a:cubicBezTo>
                  <a:pt x="585334" y="2230839"/>
                  <a:pt x="585117" y="2226689"/>
                  <a:pt x="584344" y="2222949"/>
                </a:cubicBezTo>
                <a:cubicBezTo>
                  <a:pt x="583880" y="2220705"/>
                  <a:pt x="584844" y="2217193"/>
                  <a:pt x="583698" y="2216315"/>
                </a:cubicBezTo>
                <a:cubicBezTo>
                  <a:pt x="569566" y="2204770"/>
                  <a:pt x="570564" y="2187436"/>
                  <a:pt x="565919" y="2172765"/>
                </a:cubicBezTo>
                <a:cubicBezTo>
                  <a:pt x="556849" y="2143689"/>
                  <a:pt x="609260" y="2016392"/>
                  <a:pt x="595629" y="1989391"/>
                </a:cubicBezTo>
                <a:cubicBezTo>
                  <a:pt x="591449" y="1980841"/>
                  <a:pt x="582589" y="1969498"/>
                  <a:pt x="590032" y="1956886"/>
                </a:cubicBezTo>
                <a:cubicBezTo>
                  <a:pt x="591709" y="1953710"/>
                  <a:pt x="589882" y="1946436"/>
                  <a:pt x="587001" y="1943395"/>
                </a:cubicBezTo>
                <a:cubicBezTo>
                  <a:pt x="579224" y="1935344"/>
                  <a:pt x="581241" y="1927604"/>
                  <a:pt x="584777" y="1921760"/>
                </a:cubicBezTo>
                <a:cubicBezTo>
                  <a:pt x="581340" y="1913306"/>
                  <a:pt x="578086" y="1907305"/>
                  <a:pt x="575919" y="1900714"/>
                </a:cubicBezTo>
                <a:cubicBezTo>
                  <a:pt x="573009" y="1892090"/>
                  <a:pt x="573138" y="1881434"/>
                  <a:pt x="558318" y="1882897"/>
                </a:cubicBezTo>
                <a:cubicBezTo>
                  <a:pt x="555746" y="1883290"/>
                  <a:pt x="551347" y="1878349"/>
                  <a:pt x="549517" y="1874957"/>
                </a:cubicBezTo>
                <a:cubicBezTo>
                  <a:pt x="544964" y="1867330"/>
                  <a:pt x="541774" y="1858912"/>
                  <a:pt x="537842" y="1850393"/>
                </a:cubicBezTo>
                <a:cubicBezTo>
                  <a:pt x="541406" y="1848191"/>
                  <a:pt x="543918" y="1846333"/>
                  <a:pt x="548042" y="1843719"/>
                </a:cubicBezTo>
                <a:cubicBezTo>
                  <a:pt x="538404" y="1838340"/>
                  <a:pt x="538469" y="1826220"/>
                  <a:pt x="526042" y="1822903"/>
                </a:cubicBezTo>
                <a:cubicBezTo>
                  <a:pt x="521887" y="1821875"/>
                  <a:pt x="516530" y="1808805"/>
                  <a:pt x="518578" y="1804708"/>
                </a:cubicBezTo>
                <a:cubicBezTo>
                  <a:pt x="525651" y="1791077"/>
                  <a:pt x="518058" y="1783538"/>
                  <a:pt x="510033" y="1777399"/>
                </a:cubicBezTo>
                <a:cubicBezTo>
                  <a:pt x="510624" y="1768986"/>
                  <a:pt x="511032" y="1762006"/>
                  <a:pt x="511809" y="1752163"/>
                </a:cubicBezTo>
                <a:cubicBezTo>
                  <a:pt x="507097" y="1755430"/>
                  <a:pt x="504926" y="1756600"/>
                  <a:pt x="501051" y="1759248"/>
                </a:cubicBezTo>
                <a:cubicBezTo>
                  <a:pt x="491603" y="1736916"/>
                  <a:pt x="482127" y="1714820"/>
                  <a:pt x="472867" y="1692997"/>
                </a:cubicBezTo>
                <a:cubicBezTo>
                  <a:pt x="473146" y="1692789"/>
                  <a:pt x="473705" y="1692378"/>
                  <a:pt x="473736" y="1692139"/>
                </a:cubicBezTo>
                <a:cubicBezTo>
                  <a:pt x="476586" y="1695422"/>
                  <a:pt x="479157" y="1698910"/>
                  <a:pt x="483279" y="1704056"/>
                </a:cubicBezTo>
                <a:cubicBezTo>
                  <a:pt x="481859" y="1687861"/>
                  <a:pt x="481956" y="1673566"/>
                  <a:pt x="468973" y="1662897"/>
                </a:cubicBezTo>
                <a:cubicBezTo>
                  <a:pt x="467611" y="1661749"/>
                  <a:pt x="465597" y="1659790"/>
                  <a:pt x="465722" y="1658834"/>
                </a:cubicBezTo>
                <a:cubicBezTo>
                  <a:pt x="470531" y="1645152"/>
                  <a:pt x="458751" y="1640705"/>
                  <a:pt x="451099" y="1633645"/>
                </a:cubicBezTo>
                <a:cubicBezTo>
                  <a:pt x="445056" y="1627761"/>
                  <a:pt x="440997" y="1620200"/>
                  <a:pt x="441654" y="1611311"/>
                </a:cubicBezTo>
                <a:cubicBezTo>
                  <a:pt x="445310" y="1610332"/>
                  <a:pt x="448164" y="1609733"/>
                  <a:pt x="451295" y="1608929"/>
                </a:cubicBezTo>
                <a:cubicBezTo>
                  <a:pt x="449716" y="1599749"/>
                  <a:pt x="447580" y="1592921"/>
                  <a:pt x="437383" y="1587953"/>
                </a:cubicBezTo>
                <a:cubicBezTo>
                  <a:pt x="429326" y="1583992"/>
                  <a:pt x="424555" y="1574155"/>
                  <a:pt x="427102" y="1562358"/>
                </a:cubicBezTo>
                <a:cubicBezTo>
                  <a:pt x="430821" y="1566724"/>
                  <a:pt x="433920" y="1570038"/>
                  <a:pt x="440086" y="1576908"/>
                </a:cubicBezTo>
                <a:cubicBezTo>
                  <a:pt x="435815" y="1557431"/>
                  <a:pt x="432537" y="1541964"/>
                  <a:pt x="428266" y="1522490"/>
                </a:cubicBezTo>
                <a:cubicBezTo>
                  <a:pt x="432943" y="1529162"/>
                  <a:pt x="435483" y="1532890"/>
                  <a:pt x="438706" y="1537191"/>
                </a:cubicBezTo>
                <a:cubicBezTo>
                  <a:pt x="439978" y="1535175"/>
                  <a:pt x="441964" y="1533494"/>
                  <a:pt x="441590" y="1532475"/>
                </a:cubicBezTo>
                <a:cubicBezTo>
                  <a:pt x="435058" y="1512945"/>
                  <a:pt x="428030" y="1493353"/>
                  <a:pt x="421528" y="1473587"/>
                </a:cubicBezTo>
                <a:cubicBezTo>
                  <a:pt x="413228" y="1448251"/>
                  <a:pt x="404963" y="1422673"/>
                  <a:pt x="396695" y="1397099"/>
                </a:cubicBezTo>
                <a:cubicBezTo>
                  <a:pt x="396541" y="1396351"/>
                  <a:pt x="397410" y="1395493"/>
                  <a:pt x="398029" y="1394604"/>
                </a:cubicBezTo>
                <a:cubicBezTo>
                  <a:pt x="405742" y="1410891"/>
                  <a:pt x="413486" y="1426940"/>
                  <a:pt x="421200" y="1443224"/>
                </a:cubicBezTo>
                <a:cubicBezTo>
                  <a:pt x="426781" y="1439101"/>
                  <a:pt x="429635" y="1434622"/>
                  <a:pt x="427094" y="1427015"/>
                </a:cubicBezTo>
                <a:cubicBezTo>
                  <a:pt x="421925" y="1410576"/>
                  <a:pt x="417281" y="1393962"/>
                  <a:pt x="412887" y="1377382"/>
                </a:cubicBezTo>
                <a:cubicBezTo>
                  <a:pt x="411926" y="1373131"/>
                  <a:pt x="412798" y="1368393"/>
                  <a:pt x="412644" y="1363767"/>
                </a:cubicBezTo>
                <a:cubicBezTo>
                  <a:pt x="427428" y="1372241"/>
                  <a:pt x="430676" y="1387947"/>
                  <a:pt x="437242" y="1401415"/>
                </a:cubicBezTo>
                <a:cubicBezTo>
                  <a:pt x="438420" y="1403996"/>
                  <a:pt x="439627" y="1406335"/>
                  <a:pt x="440802" y="1408913"/>
                </a:cubicBezTo>
                <a:cubicBezTo>
                  <a:pt x="442107" y="1408599"/>
                  <a:pt x="443192" y="1408012"/>
                  <a:pt x="444493" y="1407698"/>
                </a:cubicBezTo>
                <a:cubicBezTo>
                  <a:pt x="437280" y="1385655"/>
                  <a:pt x="430065" y="1363612"/>
                  <a:pt x="423067" y="1341841"/>
                </a:cubicBezTo>
                <a:cubicBezTo>
                  <a:pt x="429303" y="1336589"/>
                  <a:pt x="437735" y="1333807"/>
                  <a:pt x="437769" y="1321928"/>
                </a:cubicBezTo>
                <a:cubicBezTo>
                  <a:pt x="434205" y="1324132"/>
                  <a:pt x="432810" y="1325162"/>
                  <a:pt x="430949" y="1325889"/>
                </a:cubicBezTo>
                <a:cubicBezTo>
                  <a:pt x="427477" y="1327377"/>
                  <a:pt x="422795" y="1330406"/>
                  <a:pt x="420439" y="1329128"/>
                </a:cubicBezTo>
                <a:cubicBezTo>
                  <a:pt x="417618" y="1327548"/>
                  <a:pt x="414335" y="1321782"/>
                  <a:pt x="415175" y="1319223"/>
                </a:cubicBezTo>
                <a:cubicBezTo>
                  <a:pt x="419021" y="1309053"/>
                  <a:pt x="410407" y="1301625"/>
                  <a:pt x="410099" y="1292366"/>
                </a:cubicBezTo>
                <a:cubicBezTo>
                  <a:pt x="409763" y="1283349"/>
                  <a:pt x="404372" y="1274400"/>
                  <a:pt x="400998" y="1265470"/>
                </a:cubicBezTo>
                <a:cubicBezTo>
                  <a:pt x="398211" y="1257830"/>
                  <a:pt x="394927" y="1250126"/>
                  <a:pt x="394621" y="1240868"/>
                </a:cubicBezTo>
                <a:cubicBezTo>
                  <a:pt x="397595" y="1243196"/>
                  <a:pt x="400604" y="1245287"/>
                  <a:pt x="405653" y="1249098"/>
                </a:cubicBezTo>
                <a:cubicBezTo>
                  <a:pt x="403871" y="1212484"/>
                  <a:pt x="378957" y="1184981"/>
                  <a:pt x="370540" y="1150897"/>
                </a:cubicBezTo>
                <a:cubicBezTo>
                  <a:pt x="376678" y="1150241"/>
                  <a:pt x="381296" y="1149631"/>
                  <a:pt x="385886" y="1149259"/>
                </a:cubicBezTo>
                <a:cubicBezTo>
                  <a:pt x="386723" y="1150580"/>
                  <a:pt x="387496" y="1152380"/>
                  <a:pt x="387496" y="1152380"/>
                </a:cubicBezTo>
                <a:cubicBezTo>
                  <a:pt x="382379" y="1156805"/>
                  <a:pt x="384238" y="1161899"/>
                  <a:pt x="386094" y="1166991"/>
                </a:cubicBezTo>
                <a:cubicBezTo>
                  <a:pt x="392475" y="1183833"/>
                  <a:pt x="398884" y="1200434"/>
                  <a:pt x="405264" y="1217275"/>
                </a:cubicBezTo>
                <a:cubicBezTo>
                  <a:pt x="406347" y="1220569"/>
                  <a:pt x="407896" y="1224165"/>
                  <a:pt x="407957" y="1227570"/>
                </a:cubicBezTo>
                <a:cubicBezTo>
                  <a:pt x="408322" y="1242171"/>
                  <a:pt x="417587" y="1252352"/>
                  <a:pt x="427687" y="1265798"/>
                </a:cubicBezTo>
                <a:cubicBezTo>
                  <a:pt x="427873" y="1260486"/>
                  <a:pt x="428775" y="1257451"/>
                  <a:pt x="428094" y="1254934"/>
                </a:cubicBezTo>
                <a:cubicBezTo>
                  <a:pt x="425248" y="1243892"/>
                  <a:pt x="421378" y="1232959"/>
                  <a:pt x="419057" y="1221740"/>
                </a:cubicBezTo>
                <a:cubicBezTo>
                  <a:pt x="418500" y="1218272"/>
                  <a:pt x="420639" y="1213458"/>
                  <a:pt x="423028" y="1210615"/>
                </a:cubicBezTo>
                <a:cubicBezTo>
                  <a:pt x="426316" y="1206679"/>
                  <a:pt x="430936" y="1204129"/>
                  <a:pt x="435680" y="1200622"/>
                </a:cubicBezTo>
                <a:cubicBezTo>
                  <a:pt x="440171" y="1210669"/>
                  <a:pt x="438958" y="1223851"/>
                  <a:pt x="458581" y="1222286"/>
                </a:cubicBezTo>
                <a:cubicBezTo>
                  <a:pt x="451634" y="1229142"/>
                  <a:pt x="448099" y="1233046"/>
                  <a:pt x="443756" y="1237331"/>
                </a:cubicBezTo>
                <a:cubicBezTo>
                  <a:pt x="448867" y="1244547"/>
                  <a:pt x="459066" y="1247575"/>
                  <a:pt x="459185" y="1258263"/>
                </a:cubicBezTo>
                <a:cubicBezTo>
                  <a:pt x="459278" y="1261428"/>
                  <a:pt x="468174" y="1264770"/>
                  <a:pt x="473536" y="1268137"/>
                </a:cubicBezTo>
                <a:cubicBezTo>
                  <a:pt x="473410" y="1271031"/>
                  <a:pt x="473347" y="1275389"/>
                  <a:pt x="473251" y="1279984"/>
                </a:cubicBezTo>
                <a:cubicBezTo>
                  <a:pt x="478676" y="1278994"/>
                  <a:pt x="484351" y="1278038"/>
                  <a:pt x="492099" y="1276621"/>
                </a:cubicBezTo>
                <a:cubicBezTo>
                  <a:pt x="479394" y="1265749"/>
                  <a:pt x="489071" y="1257308"/>
                  <a:pt x="489355" y="1245458"/>
                </a:cubicBezTo>
                <a:cubicBezTo>
                  <a:pt x="493382" y="1249381"/>
                  <a:pt x="495956" y="1250928"/>
                  <a:pt x="497194" y="1253030"/>
                </a:cubicBezTo>
                <a:cubicBezTo>
                  <a:pt x="502862" y="1263714"/>
                  <a:pt x="507851" y="1273824"/>
                  <a:pt x="520774" y="1279147"/>
                </a:cubicBezTo>
                <a:cubicBezTo>
                  <a:pt x="525795" y="1281256"/>
                  <a:pt x="528798" y="1289167"/>
                  <a:pt x="531835" y="1294901"/>
                </a:cubicBezTo>
                <a:cubicBezTo>
                  <a:pt x="542212" y="1313960"/>
                  <a:pt x="557150" y="1329003"/>
                  <a:pt x="577387" y="1340132"/>
                </a:cubicBezTo>
                <a:cubicBezTo>
                  <a:pt x="574599" y="1332494"/>
                  <a:pt x="571039" y="1324993"/>
                  <a:pt x="568529" y="1317149"/>
                </a:cubicBezTo>
                <a:cubicBezTo>
                  <a:pt x="565588" y="1308759"/>
                  <a:pt x="564012" y="1299580"/>
                  <a:pt x="549970" y="1298961"/>
                </a:cubicBezTo>
                <a:cubicBezTo>
                  <a:pt x="555614" y="1290482"/>
                  <a:pt x="552517" y="1283286"/>
                  <a:pt x="547901" y="1276136"/>
                </a:cubicBezTo>
                <a:cubicBezTo>
                  <a:pt x="539103" y="1262375"/>
                  <a:pt x="530303" y="1248616"/>
                  <a:pt x="520669" y="1233534"/>
                </a:cubicBezTo>
                <a:cubicBezTo>
                  <a:pt x="517568" y="1236041"/>
                  <a:pt x="514469" y="1238547"/>
                  <a:pt x="511367" y="1241054"/>
                </a:cubicBezTo>
                <a:cubicBezTo>
                  <a:pt x="503648" y="1234468"/>
                  <a:pt x="510564" y="1231731"/>
                  <a:pt x="514843" y="1229864"/>
                </a:cubicBezTo>
                <a:cubicBezTo>
                  <a:pt x="518315" y="1228377"/>
                  <a:pt x="522996" y="1229230"/>
                  <a:pt x="528575" y="1228986"/>
                </a:cubicBezTo>
                <a:cubicBezTo>
                  <a:pt x="522073" y="1213102"/>
                  <a:pt x="512159" y="1198226"/>
                  <a:pt x="515143" y="1179211"/>
                </a:cubicBezTo>
                <a:cubicBezTo>
                  <a:pt x="516847" y="1181616"/>
                  <a:pt x="519046" y="1184085"/>
                  <a:pt x="520222" y="1186665"/>
                </a:cubicBezTo>
                <a:cubicBezTo>
                  <a:pt x="523754" y="1194401"/>
                  <a:pt x="525982" y="1202453"/>
                  <a:pt x="530071" y="1209777"/>
                </a:cubicBezTo>
                <a:cubicBezTo>
                  <a:pt x="536237" y="1220526"/>
                  <a:pt x="544696" y="1229148"/>
                  <a:pt x="555636" y="1236153"/>
                </a:cubicBezTo>
                <a:cubicBezTo>
                  <a:pt x="561712" y="1239856"/>
                  <a:pt x="565519" y="1247386"/>
                  <a:pt x="570944" y="1254156"/>
                </a:cubicBezTo>
                <a:cubicBezTo>
                  <a:pt x="565549" y="1256850"/>
                  <a:pt x="562602" y="1258165"/>
                  <a:pt x="559904" y="1259509"/>
                </a:cubicBezTo>
                <a:cubicBezTo>
                  <a:pt x="561948" y="1268993"/>
                  <a:pt x="569170" y="1269693"/>
                  <a:pt x="574316" y="1268907"/>
                </a:cubicBezTo>
                <a:cubicBezTo>
                  <a:pt x="583580" y="1279089"/>
                  <a:pt x="591793" y="1287679"/>
                  <a:pt x="599476" y="1296442"/>
                </a:cubicBezTo>
                <a:cubicBezTo>
                  <a:pt x="602109" y="1299454"/>
                  <a:pt x="605795" y="1304058"/>
                  <a:pt x="605144" y="1307126"/>
                </a:cubicBezTo>
                <a:cubicBezTo>
                  <a:pt x="603034" y="1317522"/>
                  <a:pt x="606718" y="1326009"/>
                  <a:pt x="613351" y="1333179"/>
                </a:cubicBezTo>
                <a:cubicBezTo>
                  <a:pt x="618648" y="1338962"/>
                  <a:pt x="625343" y="1343716"/>
                  <a:pt x="631448" y="1349121"/>
                </a:cubicBezTo>
                <a:cubicBezTo>
                  <a:pt x="632532" y="1348534"/>
                  <a:pt x="633897" y="1347743"/>
                  <a:pt x="635012" y="1346917"/>
                </a:cubicBezTo>
                <a:cubicBezTo>
                  <a:pt x="631327" y="1338434"/>
                  <a:pt x="627890" y="1329982"/>
                  <a:pt x="623925" y="1321703"/>
                </a:cubicBezTo>
                <a:cubicBezTo>
                  <a:pt x="622748" y="1319123"/>
                  <a:pt x="620549" y="1316653"/>
                  <a:pt x="618845" y="1314250"/>
                </a:cubicBezTo>
                <a:cubicBezTo>
                  <a:pt x="609303" y="1300392"/>
                  <a:pt x="603634" y="1285829"/>
                  <a:pt x="613312" y="1271567"/>
                </a:cubicBezTo>
                <a:cubicBezTo>
                  <a:pt x="607921" y="1262617"/>
                  <a:pt x="596603" y="1272055"/>
                  <a:pt x="594004" y="1262984"/>
                </a:cubicBezTo>
                <a:cubicBezTo>
                  <a:pt x="592053" y="1256667"/>
                  <a:pt x="592488" y="1249448"/>
                  <a:pt x="591688" y="1242066"/>
                </a:cubicBezTo>
                <a:cubicBezTo>
                  <a:pt x="597391" y="1244751"/>
                  <a:pt x="601914" y="1246796"/>
                  <a:pt x="609974" y="1250758"/>
                </a:cubicBezTo>
                <a:cubicBezTo>
                  <a:pt x="600900" y="1227502"/>
                  <a:pt x="593745" y="1208864"/>
                  <a:pt x="586377" y="1189953"/>
                </a:cubicBezTo>
                <a:cubicBezTo>
                  <a:pt x="587462" y="1189366"/>
                  <a:pt x="588795" y="1188815"/>
                  <a:pt x="589880" y="1188228"/>
                </a:cubicBezTo>
                <a:cubicBezTo>
                  <a:pt x="601686" y="1198257"/>
                  <a:pt x="604128" y="1214340"/>
                  <a:pt x="612617" y="1226604"/>
                </a:cubicBezTo>
                <a:cubicBezTo>
                  <a:pt x="621136" y="1238631"/>
                  <a:pt x="626899" y="1252478"/>
                  <a:pt x="636967" y="1264221"/>
                </a:cubicBezTo>
                <a:cubicBezTo>
                  <a:pt x="630216" y="1250242"/>
                  <a:pt x="623744" y="1236061"/>
                  <a:pt x="617237" y="1222113"/>
                </a:cubicBezTo>
                <a:cubicBezTo>
                  <a:pt x="617797" y="1221702"/>
                  <a:pt x="618323" y="1221527"/>
                  <a:pt x="618883" y="1221116"/>
                </a:cubicBezTo>
                <a:cubicBezTo>
                  <a:pt x="623127" y="1227248"/>
                  <a:pt x="627681" y="1232935"/>
                  <a:pt x="631646" y="1239273"/>
                </a:cubicBezTo>
                <a:cubicBezTo>
                  <a:pt x="635829" y="1245881"/>
                  <a:pt x="639267" y="1252393"/>
                  <a:pt x="645095" y="1258003"/>
                </a:cubicBezTo>
                <a:cubicBezTo>
                  <a:pt x="634036" y="1232551"/>
                  <a:pt x="622979" y="1207096"/>
                  <a:pt x="611924" y="1181643"/>
                </a:cubicBezTo>
                <a:cubicBezTo>
                  <a:pt x="611738" y="1181134"/>
                  <a:pt x="613411" y="1179896"/>
                  <a:pt x="615147" y="1178182"/>
                </a:cubicBezTo>
                <a:cubicBezTo>
                  <a:pt x="617564" y="1180923"/>
                  <a:pt x="620045" y="1183187"/>
                  <a:pt x="621686" y="1186068"/>
                </a:cubicBezTo>
                <a:cubicBezTo>
                  <a:pt x="629957" y="1200003"/>
                  <a:pt x="638197" y="1214174"/>
                  <a:pt x="646190" y="1228315"/>
                </a:cubicBezTo>
                <a:cubicBezTo>
                  <a:pt x="647616" y="1230925"/>
                  <a:pt x="648790" y="1235446"/>
                  <a:pt x="650774" y="1235704"/>
                </a:cubicBezTo>
                <a:cubicBezTo>
                  <a:pt x="668536" y="1238746"/>
                  <a:pt x="659975" y="1254122"/>
                  <a:pt x="664869" y="1263009"/>
                </a:cubicBezTo>
                <a:cubicBezTo>
                  <a:pt x="666511" y="1265892"/>
                  <a:pt x="654202" y="1265499"/>
                  <a:pt x="660184" y="1271858"/>
                </a:cubicBezTo>
                <a:cubicBezTo>
                  <a:pt x="663283" y="1275173"/>
                  <a:pt x="669886" y="1276759"/>
                  <a:pt x="670969" y="1280056"/>
                </a:cubicBezTo>
                <a:cubicBezTo>
                  <a:pt x="674467" y="1291910"/>
                  <a:pt x="687702" y="1292909"/>
                  <a:pt x="694863" y="1301846"/>
                </a:cubicBezTo>
                <a:cubicBezTo>
                  <a:pt x="701398" y="1309732"/>
                  <a:pt x="697584" y="1313843"/>
                  <a:pt x="696340" y="1319502"/>
                </a:cubicBezTo>
                <a:cubicBezTo>
                  <a:pt x="706506" y="1326649"/>
                  <a:pt x="716764" y="1333080"/>
                  <a:pt x="726156" y="1340368"/>
                </a:cubicBezTo>
                <a:cubicBezTo>
                  <a:pt x="730493" y="1343843"/>
                  <a:pt x="734833" y="1347320"/>
                  <a:pt x="733838" y="1354951"/>
                </a:cubicBezTo>
                <a:cubicBezTo>
                  <a:pt x="732809" y="1364764"/>
                  <a:pt x="737766" y="1373172"/>
                  <a:pt x="746384" y="1378660"/>
                </a:cubicBezTo>
                <a:cubicBezTo>
                  <a:pt x="749389" y="1376870"/>
                  <a:pt x="751622" y="1375221"/>
                  <a:pt x="755747" y="1372606"/>
                </a:cubicBezTo>
                <a:cubicBezTo>
                  <a:pt x="762933" y="1387126"/>
                  <a:pt x="761158" y="1406540"/>
                  <a:pt x="778175" y="1413368"/>
                </a:cubicBezTo>
                <a:cubicBezTo>
                  <a:pt x="782176" y="1409764"/>
                  <a:pt x="785832" y="1406847"/>
                  <a:pt x="789835" y="1403246"/>
                </a:cubicBezTo>
                <a:cubicBezTo>
                  <a:pt x="788909" y="1394878"/>
                  <a:pt x="770831" y="1403920"/>
                  <a:pt x="773100" y="1390392"/>
                </a:cubicBezTo>
                <a:cubicBezTo>
                  <a:pt x="776634" y="1390366"/>
                  <a:pt x="779919" y="1390310"/>
                  <a:pt x="785003" y="1390004"/>
                </a:cubicBezTo>
                <a:cubicBezTo>
                  <a:pt x="782279" y="1383827"/>
                  <a:pt x="779863" y="1379144"/>
                  <a:pt x="777973" y="1374290"/>
                </a:cubicBezTo>
                <a:cubicBezTo>
                  <a:pt x="776517" y="1369977"/>
                  <a:pt x="774567" y="1365599"/>
                  <a:pt x="774166" y="1360938"/>
                </a:cubicBezTo>
                <a:cubicBezTo>
                  <a:pt x="773087" y="1346003"/>
                  <a:pt x="769063" y="1332380"/>
                  <a:pt x="757627" y="1321431"/>
                </a:cubicBezTo>
                <a:cubicBezTo>
                  <a:pt x="752019" y="1316090"/>
                  <a:pt x="749324" y="1309675"/>
                  <a:pt x="751560" y="1302206"/>
                </a:cubicBezTo>
                <a:cubicBezTo>
                  <a:pt x="756838" y="1283003"/>
                  <a:pt x="755603" y="1271201"/>
                  <a:pt x="745720" y="1254147"/>
                </a:cubicBezTo>
                <a:cubicBezTo>
                  <a:pt x="745070" y="1253334"/>
                  <a:pt x="745503" y="1251936"/>
                  <a:pt x="745443" y="1248532"/>
                </a:cubicBezTo>
                <a:cubicBezTo>
                  <a:pt x="751330" y="1253666"/>
                  <a:pt x="760414" y="1253636"/>
                  <a:pt x="757527" y="1264176"/>
                </a:cubicBezTo>
                <a:cubicBezTo>
                  <a:pt x="757403" y="1265130"/>
                  <a:pt x="761059" y="1268031"/>
                  <a:pt x="762828" y="1268020"/>
                </a:cubicBezTo>
                <a:cubicBezTo>
                  <a:pt x="774730" y="1267631"/>
                  <a:pt x="779098" y="1276691"/>
                  <a:pt x="783620" y="1284555"/>
                </a:cubicBezTo>
                <a:cubicBezTo>
                  <a:pt x="788329" y="1292931"/>
                  <a:pt x="790621" y="1302448"/>
                  <a:pt x="795359" y="1310583"/>
                </a:cubicBezTo>
                <a:cubicBezTo>
                  <a:pt x="800719" y="1319771"/>
                  <a:pt x="807411" y="1328406"/>
                  <a:pt x="814446" y="1336356"/>
                </a:cubicBezTo>
                <a:cubicBezTo>
                  <a:pt x="814662" y="1336629"/>
                  <a:pt x="815125" y="1336931"/>
                  <a:pt x="815344" y="1337202"/>
                </a:cubicBezTo>
                <a:cubicBezTo>
                  <a:pt x="812654" y="1321086"/>
                  <a:pt x="809993" y="1304729"/>
                  <a:pt x="807583" y="1288409"/>
                </a:cubicBezTo>
                <a:cubicBezTo>
                  <a:pt x="805474" y="1285223"/>
                  <a:pt x="803617" y="1282069"/>
                  <a:pt x="801540" y="1278646"/>
                </a:cubicBezTo>
                <a:cubicBezTo>
                  <a:pt x="792990" y="1264919"/>
                  <a:pt x="786052" y="1250432"/>
                  <a:pt x="777223" y="1236910"/>
                </a:cubicBezTo>
                <a:cubicBezTo>
                  <a:pt x="774930" y="1233214"/>
                  <a:pt x="768762" y="1232168"/>
                  <a:pt x="762843" y="1229213"/>
                </a:cubicBezTo>
                <a:cubicBezTo>
                  <a:pt x="762316" y="1227447"/>
                  <a:pt x="761231" y="1224153"/>
                  <a:pt x="760211" y="1220380"/>
                </a:cubicBezTo>
                <a:cubicBezTo>
                  <a:pt x="763777" y="1218177"/>
                  <a:pt x="767095" y="1215943"/>
                  <a:pt x="770134" y="1213913"/>
                </a:cubicBezTo>
                <a:cubicBezTo>
                  <a:pt x="777632" y="1224108"/>
                  <a:pt x="784665" y="1233999"/>
                  <a:pt x="791666" y="1244128"/>
                </a:cubicBezTo>
                <a:cubicBezTo>
                  <a:pt x="793153" y="1246263"/>
                  <a:pt x="794795" y="1249145"/>
                  <a:pt x="794484" y="1251531"/>
                </a:cubicBezTo>
                <a:cubicBezTo>
                  <a:pt x="793674" y="1259671"/>
                  <a:pt x="797921" y="1263863"/>
                  <a:pt x="804367" y="1264703"/>
                </a:cubicBezTo>
                <a:cubicBezTo>
                  <a:pt x="803100" y="1257019"/>
                  <a:pt x="802049" y="1249607"/>
                  <a:pt x="800782" y="1241922"/>
                </a:cubicBezTo>
                <a:cubicBezTo>
                  <a:pt x="798364" y="1239180"/>
                  <a:pt x="795978" y="1236203"/>
                  <a:pt x="793562" y="1233461"/>
                </a:cubicBezTo>
                <a:cubicBezTo>
                  <a:pt x="795267" y="1231985"/>
                  <a:pt x="796974" y="1230512"/>
                  <a:pt x="798863" y="1229543"/>
                </a:cubicBezTo>
                <a:cubicBezTo>
                  <a:pt x="797969" y="1222879"/>
                  <a:pt x="798311" y="1216374"/>
                  <a:pt x="805410" y="1212208"/>
                </a:cubicBezTo>
                <a:cubicBezTo>
                  <a:pt x="808975" y="1217765"/>
                  <a:pt x="810955" y="1223844"/>
                  <a:pt x="812937" y="1229924"/>
                </a:cubicBezTo>
                <a:cubicBezTo>
                  <a:pt x="813403" y="1230227"/>
                  <a:pt x="814086" y="1230803"/>
                  <a:pt x="814550" y="1231105"/>
                </a:cubicBezTo>
                <a:cubicBezTo>
                  <a:pt x="814424" y="1232058"/>
                  <a:pt x="814301" y="1233013"/>
                  <a:pt x="814177" y="1233966"/>
                </a:cubicBezTo>
                <a:cubicBezTo>
                  <a:pt x="815939" y="1239776"/>
                  <a:pt x="818264" y="1245172"/>
                  <a:pt x="822415" y="1250078"/>
                </a:cubicBezTo>
                <a:cubicBezTo>
                  <a:pt x="824369" y="1252517"/>
                  <a:pt x="820986" y="1259110"/>
                  <a:pt x="820023" y="1264563"/>
                </a:cubicBezTo>
                <a:cubicBezTo>
                  <a:pt x="820240" y="1264834"/>
                  <a:pt x="820674" y="1265373"/>
                  <a:pt x="820890" y="1265646"/>
                </a:cubicBezTo>
                <a:cubicBezTo>
                  <a:pt x="829786" y="1267048"/>
                  <a:pt x="837875" y="1270771"/>
                  <a:pt x="843296" y="1281422"/>
                </a:cubicBezTo>
                <a:cubicBezTo>
                  <a:pt x="844506" y="1279881"/>
                  <a:pt x="845716" y="1278340"/>
                  <a:pt x="846926" y="1276802"/>
                </a:cubicBezTo>
                <a:cubicBezTo>
                  <a:pt x="837571" y="1259573"/>
                  <a:pt x="827968" y="1242314"/>
                  <a:pt x="817961" y="1224272"/>
                </a:cubicBezTo>
                <a:cubicBezTo>
                  <a:pt x="827232" y="1222814"/>
                  <a:pt x="829337" y="1229880"/>
                  <a:pt x="830762" y="1234431"/>
                </a:cubicBezTo>
                <a:cubicBezTo>
                  <a:pt x="834166" y="1245063"/>
                  <a:pt x="840676" y="1251247"/>
                  <a:pt x="850717" y="1253526"/>
                </a:cubicBezTo>
                <a:cubicBezTo>
                  <a:pt x="848553" y="1241117"/>
                  <a:pt x="845582" y="1229087"/>
                  <a:pt x="843170" y="1216644"/>
                </a:cubicBezTo>
                <a:cubicBezTo>
                  <a:pt x="839393" y="1197235"/>
                  <a:pt x="838225" y="1177192"/>
                  <a:pt x="835723" y="1157704"/>
                </a:cubicBezTo>
                <a:cubicBezTo>
                  <a:pt x="834515" y="1149543"/>
                  <a:pt x="832008" y="1141696"/>
                  <a:pt x="831051" y="1133568"/>
                </a:cubicBezTo>
                <a:cubicBezTo>
                  <a:pt x="828670" y="1115066"/>
                  <a:pt x="826571" y="1096358"/>
                  <a:pt x="824286" y="1075202"/>
                </a:cubicBezTo>
                <a:cubicBezTo>
                  <a:pt x="835314" y="1093134"/>
                  <a:pt x="836241" y="1095679"/>
                  <a:pt x="837817" y="1108741"/>
                </a:cubicBezTo>
                <a:cubicBezTo>
                  <a:pt x="840630" y="1131664"/>
                  <a:pt x="844990" y="1154306"/>
                  <a:pt x="852455" y="1176378"/>
                </a:cubicBezTo>
                <a:cubicBezTo>
                  <a:pt x="855366" y="1185006"/>
                  <a:pt x="856446" y="1194121"/>
                  <a:pt x="857805" y="1203029"/>
                </a:cubicBezTo>
                <a:cubicBezTo>
                  <a:pt x="859784" y="1216870"/>
                  <a:pt x="861018" y="1230614"/>
                  <a:pt x="863245" y="1244487"/>
                </a:cubicBezTo>
                <a:cubicBezTo>
                  <a:pt x="864017" y="1248226"/>
                  <a:pt x="867086" y="1251779"/>
                  <a:pt x="868356" y="1255584"/>
                </a:cubicBezTo>
                <a:cubicBezTo>
                  <a:pt x="870894" y="1263190"/>
                  <a:pt x="874889" y="1271231"/>
                  <a:pt x="875134" y="1279024"/>
                </a:cubicBezTo>
                <a:cubicBezTo>
                  <a:pt x="876745" y="1282145"/>
                  <a:pt x="878575" y="1285536"/>
                  <a:pt x="880432" y="1288689"/>
                </a:cubicBezTo>
                <a:cubicBezTo>
                  <a:pt x="884769" y="1296046"/>
                  <a:pt x="890439" y="1302851"/>
                  <a:pt x="897873" y="1313522"/>
                </a:cubicBezTo>
                <a:cubicBezTo>
                  <a:pt x="896329" y="1304102"/>
                  <a:pt x="895524" y="1298662"/>
                  <a:pt x="893978" y="1289243"/>
                </a:cubicBezTo>
                <a:cubicBezTo>
                  <a:pt x="912224" y="1319515"/>
                  <a:pt x="928427" y="1346125"/>
                  <a:pt x="944597" y="1372975"/>
                </a:cubicBezTo>
                <a:cubicBezTo>
                  <a:pt x="945683" y="1372388"/>
                  <a:pt x="947017" y="1371834"/>
                  <a:pt x="948103" y="1371247"/>
                </a:cubicBezTo>
                <a:cubicBezTo>
                  <a:pt x="933172" y="1342621"/>
                  <a:pt x="918211" y="1314233"/>
                  <a:pt x="901669" y="1282483"/>
                </a:cubicBezTo>
                <a:cubicBezTo>
                  <a:pt x="913789" y="1286247"/>
                  <a:pt x="920793" y="1290557"/>
                  <a:pt x="925348" y="1298184"/>
                </a:cubicBezTo>
                <a:cubicBezTo>
                  <a:pt x="939691" y="1321640"/>
                  <a:pt x="953755" y="1345304"/>
                  <a:pt x="968377" y="1368555"/>
                </a:cubicBezTo>
                <a:cubicBezTo>
                  <a:pt x="970484" y="1371741"/>
                  <a:pt x="975629" y="1372896"/>
                  <a:pt x="979658" y="1374878"/>
                </a:cubicBezTo>
                <a:cubicBezTo>
                  <a:pt x="971326" y="1359480"/>
                  <a:pt x="962747" y="1344050"/>
                  <a:pt x="953637" y="1326856"/>
                </a:cubicBezTo>
                <a:cubicBezTo>
                  <a:pt x="961047" y="1328064"/>
                  <a:pt x="965263" y="1328614"/>
                  <a:pt x="970719" y="1329325"/>
                </a:cubicBezTo>
                <a:cubicBezTo>
                  <a:pt x="969576" y="1316805"/>
                  <a:pt x="961704" y="1315295"/>
                  <a:pt x="952682" y="1314847"/>
                </a:cubicBezTo>
                <a:cubicBezTo>
                  <a:pt x="953677" y="1307215"/>
                  <a:pt x="954672" y="1299583"/>
                  <a:pt x="956166" y="1288136"/>
                </a:cubicBezTo>
                <a:cubicBezTo>
                  <a:pt x="968277" y="1307420"/>
                  <a:pt x="978966" y="1324095"/>
                  <a:pt x="990275" y="1341819"/>
                </a:cubicBezTo>
                <a:cubicBezTo>
                  <a:pt x="984011" y="1345370"/>
                  <a:pt x="979110" y="1348124"/>
                  <a:pt x="973406" y="1351261"/>
                </a:cubicBezTo>
                <a:cubicBezTo>
                  <a:pt x="983200" y="1355449"/>
                  <a:pt x="986519" y="1355156"/>
                  <a:pt x="993248" y="1349968"/>
                </a:cubicBezTo>
                <a:cubicBezTo>
                  <a:pt x="1000621" y="1363058"/>
                  <a:pt x="1008055" y="1375669"/>
                  <a:pt x="1015459" y="1388520"/>
                </a:cubicBezTo>
                <a:cubicBezTo>
                  <a:pt x="1016697" y="1390621"/>
                  <a:pt x="1016821" y="1393548"/>
                  <a:pt x="1018400" y="1394966"/>
                </a:cubicBezTo>
                <a:cubicBezTo>
                  <a:pt x="1027448" y="1402936"/>
                  <a:pt x="1032469" y="1412809"/>
                  <a:pt x="1037176" y="1423125"/>
                </a:cubicBezTo>
                <a:cubicBezTo>
                  <a:pt x="1034977" y="1414835"/>
                  <a:pt x="1032533" y="1406511"/>
                  <a:pt x="1030085" y="1398187"/>
                </a:cubicBezTo>
                <a:cubicBezTo>
                  <a:pt x="1028879" y="1393908"/>
                  <a:pt x="1026649" y="1389736"/>
                  <a:pt x="1024418" y="1385564"/>
                </a:cubicBezTo>
                <a:cubicBezTo>
                  <a:pt x="1022961" y="1383193"/>
                  <a:pt x="1021754" y="1380850"/>
                  <a:pt x="1020297" y="1378478"/>
                </a:cubicBezTo>
                <a:cubicBezTo>
                  <a:pt x="1019399" y="1377632"/>
                  <a:pt x="1018747" y="1376822"/>
                  <a:pt x="1018841" y="1376106"/>
                </a:cubicBezTo>
                <a:cubicBezTo>
                  <a:pt x="1009579" y="1360103"/>
                  <a:pt x="1000102" y="1343828"/>
                  <a:pt x="990836" y="1327825"/>
                </a:cubicBezTo>
                <a:cubicBezTo>
                  <a:pt x="988173" y="1323111"/>
                  <a:pt x="985757" y="1318431"/>
                  <a:pt x="983963" y="1312860"/>
                </a:cubicBezTo>
                <a:cubicBezTo>
                  <a:pt x="988889" y="1315687"/>
                  <a:pt x="994095" y="1318306"/>
                  <a:pt x="998434" y="1321782"/>
                </a:cubicBezTo>
                <a:cubicBezTo>
                  <a:pt x="997631" y="1318281"/>
                  <a:pt x="996298" y="1314954"/>
                  <a:pt x="996487" y="1311582"/>
                </a:cubicBezTo>
                <a:cubicBezTo>
                  <a:pt x="996987" y="1296125"/>
                  <a:pt x="992746" y="1282233"/>
                  <a:pt x="983825" y="1269428"/>
                </a:cubicBezTo>
                <a:cubicBezTo>
                  <a:pt x="982152" y="1266782"/>
                  <a:pt x="980356" y="1263154"/>
                  <a:pt x="980729" y="1260292"/>
                </a:cubicBezTo>
                <a:cubicBezTo>
                  <a:pt x="981665" y="1245374"/>
                  <a:pt x="974200" y="1233001"/>
                  <a:pt x="968034" y="1220313"/>
                </a:cubicBezTo>
                <a:cubicBezTo>
                  <a:pt x="960848" y="1205793"/>
                  <a:pt x="956485" y="1190913"/>
                  <a:pt x="954256" y="1175099"/>
                </a:cubicBezTo>
                <a:cubicBezTo>
                  <a:pt x="953919" y="1171903"/>
                  <a:pt x="954136" y="1168292"/>
                  <a:pt x="952743" y="1165444"/>
                </a:cubicBezTo>
                <a:cubicBezTo>
                  <a:pt x="940693" y="1143741"/>
                  <a:pt x="940858" y="1119266"/>
                  <a:pt x="936093" y="1095844"/>
                </a:cubicBezTo>
                <a:cubicBezTo>
                  <a:pt x="934886" y="1089623"/>
                  <a:pt x="935325" y="1082402"/>
                  <a:pt x="937125" y="1076332"/>
                </a:cubicBezTo>
                <a:cubicBezTo>
                  <a:pt x="942308" y="1059786"/>
                  <a:pt x="947987" y="1043305"/>
                  <a:pt x="955339" y="1027528"/>
                </a:cubicBezTo>
                <a:cubicBezTo>
                  <a:pt x="955401" y="1027053"/>
                  <a:pt x="956922" y="1027006"/>
                  <a:pt x="957667" y="1027104"/>
                </a:cubicBezTo>
                <a:cubicBezTo>
                  <a:pt x="959091" y="1027776"/>
                  <a:pt x="961044" y="1028272"/>
                  <a:pt x="961633" y="1029561"/>
                </a:cubicBezTo>
                <a:cubicBezTo>
                  <a:pt x="966465" y="1040863"/>
                  <a:pt x="971017" y="1052374"/>
                  <a:pt x="975569" y="1063881"/>
                </a:cubicBezTo>
                <a:cubicBezTo>
                  <a:pt x="980441" y="1053603"/>
                  <a:pt x="979793" y="1045028"/>
                  <a:pt x="970991" y="1037088"/>
                </a:cubicBezTo>
                <a:cubicBezTo>
                  <a:pt x="968730" y="1035096"/>
                  <a:pt x="965849" y="1030111"/>
                  <a:pt x="966873" y="1028063"/>
                </a:cubicBezTo>
                <a:cubicBezTo>
                  <a:pt x="972673" y="1016448"/>
                  <a:pt x="965702" y="1008022"/>
                  <a:pt x="959103" y="1000612"/>
                </a:cubicBezTo>
                <a:cubicBezTo>
                  <a:pt x="951850" y="992389"/>
                  <a:pt x="950646" y="984227"/>
                  <a:pt x="953006" y="973863"/>
                </a:cubicBezTo>
                <a:cubicBezTo>
                  <a:pt x="962986" y="976621"/>
                  <a:pt x="963386" y="987101"/>
                  <a:pt x="968870" y="993396"/>
                </a:cubicBezTo>
                <a:cubicBezTo>
                  <a:pt x="975005" y="1000503"/>
                  <a:pt x="974226" y="1012286"/>
                  <a:pt x="986778" y="1016591"/>
                </a:cubicBezTo>
                <a:cubicBezTo>
                  <a:pt x="987309" y="1006714"/>
                  <a:pt x="988028" y="997350"/>
                  <a:pt x="988745" y="986042"/>
                </a:cubicBezTo>
                <a:cubicBezTo>
                  <a:pt x="992803" y="991664"/>
                  <a:pt x="996583" y="995554"/>
                  <a:pt x="998752" y="1000202"/>
                </a:cubicBezTo>
                <a:cubicBezTo>
                  <a:pt x="1003306" y="1009769"/>
                  <a:pt x="1007671" y="1018829"/>
                  <a:pt x="1021746" y="1017270"/>
                </a:cubicBezTo>
                <a:cubicBezTo>
                  <a:pt x="1016115" y="1024297"/>
                  <a:pt x="1022287" y="1038852"/>
                  <a:pt x="1040267" y="1060916"/>
                </a:cubicBezTo>
                <a:cubicBezTo>
                  <a:pt x="1041445" y="1055736"/>
                  <a:pt x="1042440" y="1051984"/>
                  <a:pt x="1043185" y="1048201"/>
                </a:cubicBezTo>
                <a:cubicBezTo>
                  <a:pt x="1052759" y="1061817"/>
                  <a:pt x="1062581" y="1075468"/>
                  <a:pt x="1072805" y="1089900"/>
                </a:cubicBezTo>
                <a:cubicBezTo>
                  <a:pt x="1075100" y="1087773"/>
                  <a:pt x="1076929" y="1085343"/>
                  <a:pt x="1077271" y="1082721"/>
                </a:cubicBezTo>
                <a:cubicBezTo>
                  <a:pt x="1074699" y="1079231"/>
                  <a:pt x="1071602" y="1075916"/>
                  <a:pt x="1070053" y="1072320"/>
                </a:cubicBezTo>
                <a:cubicBezTo>
                  <a:pt x="1066491" y="1062882"/>
                  <a:pt x="1061102" y="1053931"/>
                  <a:pt x="1054876" y="1041719"/>
                </a:cubicBezTo>
                <a:cubicBezTo>
                  <a:pt x="1062094" y="1052120"/>
                  <a:pt x="1068940" y="1061502"/>
                  <a:pt x="1075541" y="1070853"/>
                </a:cubicBezTo>
                <a:cubicBezTo>
                  <a:pt x="1075511" y="1069151"/>
                  <a:pt x="1075759" y="1067243"/>
                  <a:pt x="1076070" y="1064856"/>
                </a:cubicBezTo>
                <a:cubicBezTo>
                  <a:pt x="1079541" y="1065309"/>
                  <a:pt x="1083014" y="1065762"/>
                  <a:pt x="1086237" y="1066182"/>
                </a:cubicBezTo>
                <a:cubicBezTo>
                  <a:pt x="1084100" y="1061297"/>
                  <a:pt x="1081189" y="1056550"/>
                  <a:pt x="1076387" y="1052771"/>
                </a:cubicBezTo>
                <a:cubicBezTo>
                  <a:pt x="1069473" y="1047747"/>
                  <a:pt x="1066750" y="1037688"/>
                  <a:pt x="1062476" y="1029855"/>
                </a:cubicBezTo>
                <a:cubicBezTo>
                  <a:pt x="1056591" y="1018902"/>
                  <a:pt x="1050457" y="1007914"/>
                  <a:pt x="1045097" y="996785"/>
                </a:cubicBezTo>
                <a:cubicBezTo>
                  <a:pt x="1043767" y="993459"/>
                  <a:pt x="1044045" y="989372"/>
                  <a:pt x="1046683" y="984624"/>
                </a:cubicBezTo>
                <a:cubicBezTo>
                  <a:pt x="1050741" y="992185"/>
                  <a:pt x="1054768" y="999986"/>
                  <a:pt x="1059323" y="1007616"/>
                </a:cubicBezTo>
                <a:cubicBezTo>
                  <a:pt x="1064743" y="1016326"/>
                  <a:pt x="1070444" y="1024831"/>
                  <a:pt x="1075898" y="1033304"/>
                </a:cubicBezTo>
                <a:cubicBezTo>
                  <a:pt x="1078219" y="1036759"/>
                  <a:pt x="1081971" y="1040887"/>
                  <a:pt x="1081536" y="1044224"/>
                </a:cubicBezTo>
                <a:cubicBezTo>
                  <a:pt x="1079886" y="1056867"/>
                  <a:pt x="1088160" y="1061098"/>
                  <a:pt x="1097490" y="1064983"/>
                </a:cubicBezTo>
                <a:cubicBezTo>
                  <a:pt x="1100715" y="1063463"/>
                  <a:pt x="1104064" y="1060989"/>
                  <a:pt x="1107849" y="1059056"/>
                </a:cubicBezTo>
                <a:cubicBezTo>
                  <a:pt x="1113707" y="1060548"/>
                  <a:pt x="1120619" y="1061692"/>
                  <a:pt x="1126878" y="1063964"/>
                </a:cubicBezTo>
                <a:cubicBezTo>
                  <a:pt x="1129793" y="1064828"/>
                  <a:pt x="1133202" y="1067699"/>
                  <a:pt x="1133636" y="1070180"/>
                </a:cubicBezTo>
                <a:cubicBezTo>
                  <a:pt x="1134904" y="1075924"/>
                  <a:pt x="1129323" y="1076167"/>
                  <a:pt x="1124362" y="1077461"/>
                </a:cubicBezTo>
                <a:cubicBezTo>
                  <a:pt x="1124422" y="1082803"/>
                  <a:pt x="1124235" y="1088116"/>
                  <a:pt x="1124171" y="1096353"/>
                </a:cubicBezTo>
                <a:cubicBezTo>
                  <a:pt x="1117972" y="1091664"/>
                  <a:pt x="1113880" y="1088221"/>
                  <a:pt x="1108613" y="1084139"/>
                </a:cubicBezTo>
                <a:cubicBezTo>
                  <a:pt x="1107060" y="1086361"/>
                  <a:pt x="1106070" y="1088172"/>
                  <a:pt x="1105571" y="1090047"/>
                </a:cubicBezTo>
                <a:cubicBezTo>
                  <a:pt x="1109474" y="1096864"/>
                  <a:pt x="1112572" y="1104059"/>
                  <a:pt x="1119359" y="1108097"/>
                </a:cubicBezTo>
                <a:cubicBezTo>
                  <a:pt x="1123114" y="1104463"/>
                  <a:pt x="1126834" y="1101067"/>
                  <a:pt x="1133805" y="1105616"/>
                </a:cubicBezTo>
                <a:cubicBezTo>
                  <a:pt x="1133525" y="1107762"/>
                  <a:pt x="1133246" y="1109907"/>
                  <a:pt x="1132966" y="1112054"/>
                </a:cubicBezTo>
                <a:cubicBezTo>
                  <a:pt x="1134331" y="1113201"/>
                  <a:pt x="1135568" y="1115303"/>
                  <a:pt x="1136871" y="1116930"/>
                </a:cubicBezTo>
                <a:cubicBezTo>
                  <a:pt x="1138824" y="1113545"/>
                  <a:pt x="1141275" y="1110226"/>
                  <a:pt x="1141741" y="1106650"/>
                </a:cubicBezTo>
                <a:cubicBezTo>
                  <a:pt x="1141991" y="1102802"/>
                  <a:pt x="1139729" y="1098869"/>
                  <a:pt x="1138151" y="1093570"/>
                </a:cubicBezTo>
                <a:cubicBezTo>
                  <a:pt x="1153590" y="1091215"/>
                  <a:pt x="1166266" y="1100388"/>
                  <a:pt x="1179844" y="1102643"/>
                </a:cubicBezTo>
                <a:cubicBezTo>
                  <a:pt x="1179655" y="1102134"/>
                  <a:pt x="1179471" y="1101623"/>
                  <a:pt x="1179533" y="1101147"/>
                </a:cubicBezTo>
                <a:cubicBezTo>
                  <a:pt x="1178823" y="1096933"/>
                  <a:pt x="1171974" y="1093371"/>
                  <a:pt x="1167943" y="1089448"/>
                </a:cubicBezTo>
                <a:cubicBezTo>
                  <a:pt x="1169308" y="1088656"/>
                  <a:pt x="1170798" y="1086910"/>
                  <a:pt x="1172285" y="1087103"/>
                </a:cubicBezTo>
                <a:cubicBezTo>
                  <a:pt x="1176562" y="1087177"/>
                  <a:pt x="1181647" y="1088811"/>
                  <a:pt x="1186636" y="1091159"/>
                </a:cubicBezTo>
                <a:cubicBezTo>
                  <a:pt x="1186296" y="1087961"/>
                  <a:pt x="1186701" y="1084861"/>
                  <a:pt x="1189089" y="1082020"/>
                </a:cubicBezTo>
                <a:cubicBezTo>
                  <a:pt x="1194517" y="1075207"/>
                  <a:pt x="1201090" y="1069273"/>
                  <a:pt x="1207665" y="1063339"/>
                </a:cubicBezTo>
                <a:cubicBezTo>
                  <a:pt x="1208813" y="1062276"/>
                  <a:pt x="1232219" y="1136153"/>
                  <a:pt x="1236187" y="1136670"/>
                </a:cubicBezTo>
                <a:cubicBezTo>
                  <a:pt x="1238358" y="1131616"/>
                  <a:pt x="1240315" y="1126294"/>
                  <a:pt x="1243199" y="1121575"/>
                </a:cubicBezTo>
                <a:cubicBezTo>
                  <a:pt x="1244780" y="1119115"/>
                  <a:pt x="1248254" y="1115688"/>
                  <a:pt x="1250485" y="1115979"/>
                </a:cubicBezTo>
                <a:cubicBezTo>
                  <a:pt x="1262885" y="1117595"/>
                  <a:pt x="1266330" y="1108584"/>
                  <a:pt x="1271108" y="1100959"/>
                </a:cubicBezTo>
                <a:cubicBezTo>
                  <a:pt x="1272720" y="1098259"/>
                  <a:pt x="1272939" y="1094651"/>
                  <a:pt x="1274583" y="1091710"/>
                </a:cubicBezTo>
                <a:cubicBezTo>
                  <a:pt x="1278833" y="1084260"/>
                  <a:pt x="1285067" y="1079011"/>
                  <a:pt x="1294273" y="1078028"/>
                </a:cubicBezTo>
                <a:cubicBezTo>
                  <a:pt x="1301930" y="1077328"/>
                  <a:pt x="1309525" y="1077107"/>
                  <a:pt x="1317680" y="1076471"/>
                </a:cubicBezTo>
                <a:cubicBezTo>
                  <a:pt x="1325649" y="1069507"/>
                  <a:pt x="1326086" y="1060346"/>
                  <a:pt x="1319859" y="1048134"/>
                </a:cubicBezTo>
                <a:cubicBezTo>
                  <a:pt x="1327763" y="1049409"/>
                  <a:pt x="1333685" y="1050422"/>
                  <a:pt x="1339389" y="1051166"/>
                </a:cubicBezTo>
                <a:cubicBezTo>
                  <a:pt x="1342957" y="1045082"/>
                  <a:pt x="1346988" y="1039302"/>
                  <a:pt x="1352200" y="1034161"/>
                </a:cubicBezTo>
                <a:cubicBezTo>
                  <a:pt x="1358277" y="1028162"/>
                  <a:pt x="1360297" y="1018479"/>
                  <a:pt x="1364578" y="1010792"/>
                </a:cubicBezTo>
                <a:cubicBezTo>
                  <a:pt x="1365911" y="1008297"/>
                  <a:pt x="1368300" y="1005456"/>
                  <a:pt x="1370655" y="1004793"/>
                </a:cubicBezTo>
                <a:cubicBezTo>
                  <a:pt x="1382685" y="1001510"/>
                  <a:pt x="1386656" y="992326"/>
                  <a:pt x="1389977" y="982328"/>
                </a:cubicBezTo>
                <a:cubicBezTo>
                  <a:pt x="1390847" y="979532"/>
                  <a:pt x="1392707" y="976864"/>
                  <a:pt x="1393080" y="974002"/>
                </a:cubicBezTo>
                <a:cubicBezTo>
                  <a:pt x="1393453" y="971140"/>
                  <a:pt x="1393857" y="968040"/>
                  <a:pt x="1392929" y="965492"/>
                </a:cubicBezTo>
                <a:cubicBezTo>
                  <a:pt x="1386521" y="948892"/>
                  <a:pt x="1379583" y="932464"/>
                  <a:pt x="1372646" y="916036"/>
                </a:cubicBezTo>
                <a:cubicBezTo>
                  <a:pt x="1372057" y="914747"/>
                  <a:pt x="1370692" y="913599"/>
                  <a:pt x="1369515" y="912959"/>
                </a:cubicBezTo>
                <a:cubicBezTo>
                  <a:pt x="1363595" y="910005"/>
                  <a:pt x="1361549" y="906342"/>
                  <a:pt x="1362980" y="899252"/>
                </a:cubicBezTo>
                <a:cubicBezTo>
                  <a:pt x="1364969" y="889810"/>
                  <a:pt x="1359234" y="885423"/>
                  <a:pt x="1350089" y="887869"/>
                </a:cubicBezTo>
                <a:cubicBezTo>
                  <a:pt x="1347205" y="888705"/>
                  <a:pt x="1344475" y="890290"/>
                  <a:pt x="1341437" y="890381"/>
                </a:cubicBezTo>
                <a:cubicBezTo>
                  <a:pt x="1338399" y="890469"/>
                  <a:pt x="1333470" y="889583"/>
                  <a:pt x="1333131" y="888327"/>
                </a:cubicBezTo>
                <a:cubicBezTo>
                  <a:pt x="1329354" y="874735"/>
                  <a:pt x="1314198" y="869124"/>
                  <a:pt x="1309274" y="856595"/>
                </a:cubicBezTo>
                <a:cubicBezTo>
                  <a:pt x="1307602" y="852012"/>
                  <a:pt x="1302983" y="850682"/>
                  <a:pt x="1299605" y="847573"/>
                </a:cubicBezTo>
                <a:cubicBezTo>
                  <a:pt x="1289907" y="838791"/>
                  <a:pt x="1288143" y="831041"/>
                  <a:pt x="1293106" y="820045"/>
                </a:cubicBezTo>
                <a:cubicBezTo>
                  <a:pt x="1294908" y="815914"/>
                  <a:pt x="1296923" y="812054"/>
                  <a:pt x="1301916" y="810522"/>
                </a:cubicBezTo>
                <a:cubicBezTo>
                  <a:pt x="1306131" y="809131"/>
                  <a:pt x="1310410" y="807263"/>
                  <a:pt x="1314659" y="805634"/>
                </a:cubicBezTo>
                <a:cubicBezTo>
                  <a:pt x="1320982" y="803549"/>
                  <a:pt x="1326127" y="804703"/>
                  <a:pt x="1330156" y="810566"/>
                </a:cubicBezTo>
                <a:cubicBezTo>
                  <a:pt x="1332913" y="814564"/>
                  <a:pt x="1336972" y="816305"/>
                  <a:pt x="1341995" y="814536"/>
                </a:cubicBezTo>
                <a:cubicBezTo>
                  <a:pt x="1347575" y="812353"/>
                  <a:pt x="1353375" y="810441"/>
                  <a:pt x="1359172" y="808528"/>
                </a:cubicBezTo>
                <a:cubicBezTo>
                  <a:pt x="1364971" y="806616"/>
                  <a:pt x="1370986" y="804975"/>
                  <a:pt x="1373778" y="799032"/>
                </a:cubicBezTo>
                <a:cubicBezTo>
                  <a:pt x="1376942" y="792169"/>
                  <a:pt x="1379827" y="785512"/>
                  <a:pt x="1376017" y="777979"/>
                </a:cubicBezTo>
                <a:cubicBezTo>
                  <a:pt x="1371432" y="768650"/>
                  <a:pt x="1375963" y="760995"/>
                  <a:pt x="1380987" y="753403"/>
                </a:cubicBezTo>
                <a:cubicBezTo>
                  <a:pt x="1395498" y="746562"/>
                  <a:pt x="1395379" y="731994"/>
                  <a:pt x="1400222" y="720013"/>
                </a:cubicBezTo>
                <a:cubicBezTo>
                  <a:pt x="1400997" y="717931"/>
                  <a:pt x="1398923" y="714509"/>
                  <a:pt x="1397775" y="711690"/>
                </a:cubicBezTo>
                <a:cubicBezTo>
                  <a:pt x="1395299" y="705546"/>
                  <a:pt x="1395952" y="700538"/>
                  <a:pt x="1402247" y="696750"/>
                </a:cubicBezTo>
                <a:cubicBezTo>
                  <a:pt x="1406337" y="694373"/>
                  <a:pt x="1408107" y="690481"/>
                  <a:pt x="1406465" y="685657"/>
                </a:cubicBezTo>
                <a:cubicBezTo>
                  <a:pt x="1405815" y="682904"/>
                  <a:pt x="1404423" y="680057"/>
                  <a:pt x="1404300" y="677131"/>
                </a:cubicBezTo>
                <a:cubicBezTo>
                  <a:pt x="1404146" y="674442"/>
                  <a:pt x="1404240" y="669845"/>
                  <a:pt x="1405854" y="669085"/>
                </a:cubicBezTo>
                <a:cubicBezTo>
                  <a:pt x="1412891" y="665393"/>
                  <a:pt x="1415406" y="657718"/>
                  <a:pt x="1421051" y="653119"/>
                </a:cubicBezTo>
                <a:cubicBezTo>
                  <a:pt x="1426351" y="649201"/>
                  <a:pt x="1428400" y="645101"/>
                  <a:pt x="1427750" y="638469"/>
                </a:cubicBezTo>
                <a:cubicBezTo>
                  <a:pt x="1427287" y="634283"/>
                  <a:pt x="1430143" y="629805"/>
                  <a:pt x="1429679" y="625622"/>
                </a:cubicBezTo>
                <a:cubicBezTo>
                  <a:pt x="1428938" y="617764"/>
                  <a:pt x="1429809" y="611086"/>
                  <a:pt x="1437869" y="607286"/>
                </a:cubicBezTo>
                <a:cubicBezTo>
                  <a:pt x="1441995" y="598850"/>
                  <a:pt x="1448943" y="593935"/>
                  <a:pt x="1458149" y="591012"/>
                </a:cubicBezTo>
                <a:cubicBezTo>
                  <a:pt x="1462334" y="589860"/>
                  <a:pt x="1466428" y="587482"/>
                  <a:pt x="1469592" y="584499"/>
                </a:cubicBezTo>
                <a:cubicBezTo>
                  <a:pt x="1476199" y="578327"/>
                  <a:pt x="1482554" y="572122"/>
                  <a:pt x="1487518" y="565008"/>
                </a:cubicBezTo>
                <a:cubicBezTo>
                  <a:pt x="1492139" y="558577"/>
                  <a:pt x="1547975" y="625523"/>
                  <a:pt x="1552068" y="619265"/>
                </a:cubicBezTo>
                <a:cubicBezTo>
                  <a:pt x="1557403" y="611229"/>
                  <a:pt x="1565218" y="607397"/>
                  <a:pt x="1573310" y="603359"/>
                </a:cubicBezTo>
                <a:cubicBezTo>
                  <a:pt x="1576318" y="597688"/>
                  <a:pt x="1580877" y="593674"/>
                  <a:pt x="1586056" y="590711"/>
                </a:cubicBezTo>
                <a:cubicBezTo>
                  <a:pt x="1581532" y="580905"/>
                  <a:pt x="1577754" y="571194"/>
                  <a:pt x="1573730" y="561454"/>
                </a:cubicBezTo>
                <a:cubicBezTo>
                  <a:pt x="1571190" y="555785"/>
                  <a:pt x="1568402" y="550087"/>
                  <a:pt x="1567414" y="544136"/>
                </a:cubicBezTo>
                <a:cubicBezTo>
                  <a:pt x="1566640" y="538456"/>
                  <a:pt x="1568441" y="532384"/>
                  <a:pt x="1566180" y="526513"/>
                </a:cubicBezTo>
                <a:cubicBezTo>
                  <a:pt x="1568508" y="520267"/>
                  <a:pt x="1566743" y="514457"/>
                  <a:pt x="1564204" y="508791"/>
                </a:cubicBezTo>
                <a:cubicBezTo>
                  <a:pt x="1561602" y="503600"/>
                  <a:pt x="1565540" y="498535"/>
                  <a:pt x="1563434" y="493410"/>
                </a:cubicBezTo>
                <a:cubicBezTo>
                  <a:pt x="1560989" y="487027"/>
                  <a:pt x="1563471" y="481530"/>
                  <a:pt x="1568555" y="477342"/>
                </a:cubicBezTo>
                <a:cubicBezTo>
                  <a:pt x="1572773" y="474011"/>
                  <a:pt x="1574512" y="468417"/>
                  <a:pt x="1580246" y="466980"/>
                </a:cubicBezTo>
                <a:cubicBezTo>
                  <a:pt x="1584929" y="465894"/>
                  <a:pt x="1585922" y="460203"/>
                  <a:pt x="1589923" y="458539"/>
                </a:cubicBezTo>
                <a:cubicBezTo>
                  <a:pt x="1586919" y="450629"/>
                  <a:pt x="1584163" y="442752"/>
                  <a:pt x="1581128" y="435078"/>
                </a:cubicBezTo>
                <a:cubicBezTo>
                  <a:pt x="1578898" y="428966"/>
                  <a:pt x="1580637" y="423372"/>
                  <a:pt x="1581880" y="417713"/>
                </a:cubicBezTo>
                <a:cubicBezTo>
                  <a:pt x="1575372" y="413469"/>
                  <a:pt x="1569949" y="408640"/>
                  <a:pt x="1567377" y="401268"/>
                </a:cubicBezTo>
                <a:cubicBezTo>
                  <a:pt x="1562980" y="388569"/>
                  <a:pt x="1557778" y="376249"/>
                  <a:pt x="1553102" y="363754"/>
                </a:cubicBezTo>
                <a:cubicBezTo>
                  <a:pt x="1551058" y="358150"/>
                  <a:pt x="1550069" y="352200"/>
                  <a:pt x="1547218" y="346978"/>
                </a:cubicBezTo>
                <a:cubicBezTo>
                  <a:pt x="1540001" y="332696"/>
                  <a:pt x="1539824" y="314726"/>
                  <a:pt x="1524266" y="304448"/>
                </a:cubicBezTo>
                <a:cubicBezTo>
                  <a:pt x="1521009" y="302328"/>
                  <a:pt x="1519960" y="296854"/>
                  <a:pt x="1518474" y="292779"/>
                </a:cubicBezTo>
                <a:cubicBezTo>
                  <a:pt x="1506240" y="260867"/>
                  <a:pt x="1494008" y="228954"/>
                  <a:pt x="1482303" y="196864"/>
                </a:cubicBezTo>
                <a:cubicBezTo>
                  <a:pt x="1480785" y="193028"/>
                  <a:pt x="1480666" y="188161"/>
                  <a:pt x="1481689" y="184172"/>
                </a:cubicBezTo>
                <a:cubicBezTo>
                  <a:pt x="1483769" y="175954"/>
                  <a:pt x="1481540" y="169842"/>
                  <a:pt x="1474039" y="165470"/>
                </a:cubicBezTo>
                <a:cubicBezTo>
                  <a:pt x="1469329" y="162915"/>
                  <a:pt x="1467842" y="158840"/>
                  <a:pt x="1467907" y="154481"/>
                </a:cubicBezTo>
                <a:cubicBezTo>
                  <a:pt x="1467969" y="150125"/>
                  <a:pt x="1470359" y="145343"/>
                  <a:pt x="1469088" y="141539"/>
                </a:cubicBezTo>
                <a:cubicBezTo>
                  <a:pt x="1459956" y="114882"/>
                  <a:pt x="1449767" y="88569"/>
                  <a:pt x="1440106" y="62085"/>
                </a:cubicBezTo>
                <a:cubicBezTo>
                  <a:pt x="1438930" y="59504"/>
                  <a:pt x="1472829" y="16143"/>
                  <a:pt x="1470752" y="1466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808000" anchor="t" anchorCtr="1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F4AF091-3932-3969-B09A-529E801005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68000" y="6508800"/>
            <a:ext cx="694800" cy="193336"/>
          </a:xfrm>
          <a:prstGeom prst="rect">
            <a:avLst/>
          </a:prstGeom>
        </p:spPr>
      </p:pic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CA9617E4-D55C-8014-3832-00B85A5007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1" y="1918800"/>
            <a:ext cx="5625500" cy="42689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AAE246C-7338-E2EA-114E-F24EBB4DDA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3" y="1382400"/>
            <a:ext cx="5625500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144000" indent="0">
              <a:buNone/>
              <a:defRPr sz="2000">
                <a:solidFill>
                  <a:schemeClr val="bg1"/>
                </a:solidFill>
              </a:defRPr>
            </a:lvl2pPr>
            <a:lvl3pPr marL="324000" indent="0">
              <a:buNone/>
              <a:defRPr sz="1800">
                <a:solidFill>
                  <a:schemeClr val="bg1"/>
                </a:solidFill>
              </a:defRPr>
            </a:lvl3pPr>
            <a:lvl4pPr marL="486000" indent="0">
              <a:buNone/>
              <a:defRPr sz="1600">
                <a:solidFill>
                  <a:schemeClr val="bg1"/>
                </a:solidFill>
              </a:defRPr>
            </a:lvl4pPr>
            <a:lvl5pPr marL="6660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4553D-CCD1-1E92-D1DF-878EBD7B2E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26400"/>
            <a:ext cx="5625500" cy="66308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E639F-78C4-93BD-0759-3C653CE3A1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D401706-BCC9-0C17-47BE-A85326166FB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F2C9457-AC55-33D9-98D5-9058876CDF5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2212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green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BFE54EC7-B638-8C46-DCF7-40659267CE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8135400" cy="42689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4A4E22A-0556-987A-A265-9E76897332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8135400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144000" indent="0">
              <a:buNone/>
              <a:defRPr sz="2000">
                <a:solidFill>
                  <a:schemeClr val="bg1"/>
                </a:solidFill>
              </a:defRPr>
            </a:lvl2pPr>
            <a:lvl3pPr marL="324000" indent="0">
              <a:buNone/>
              <a:defRPr sz="1800">
                <a:solidFill>
                  <a:schemeClr val="bg1"/>
                </a:solidFill>
              </a:defRPr>
            </a:lvl3pPr>
            <a:lvl4pPr marL="486000" indent="0">
              <a:buNone/>
              <a:defRPr sz="1600">
                <a:solidFill>
                  <a:schemeClr val="bg1"/>
                </a:solidFill>
              </a:defRPr>
            </a:lvl4pPr>
            <a:lvl5pPr marL="666000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D75CAC2-0AF4-57C4-C851-6D61247F2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0B398E92-BF22-D556-BED0-44EC81E532A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36E8ADCC-72ED-956F-6010-5593922276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6AC37C6-7BDE-ECE1-E869-C85D12B1D67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74DC958-164E-7EA7-4807-4119C42931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252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A492F6-4F91-4A8E-12B0-ED33F72FC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0D95472-2CF4-CA3B-E9EF-6EAB87FFC7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7B4A80-7613-C6E0-D9C8-D098F0C62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763EF-91B1-44C4-4312-F2530A2F2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937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8CE747F-D084-9075-DEFB-BEB56BDC8F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8135400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CA47D82-B3A3-226F-BC74-F444732548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800" y="1918800"/>
            <a:ext cx="8135400" cy="426891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B8D554B-2BDE-22EE-E4D1-E023A6E99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7215006C-DC92-C2EF-C4EC-D1ED8C8122C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7179F98-A441-D748-77D8-4246747B223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41A9579-94C8-437E-669A-7F6DAFCD48B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085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Team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8595056-B152-C5F7-9AA5-D321457C8CF5}"/>
              </a:ext>
            </a:extLst>
          </p:cNvPr>
          <p:cNvSpPr/>
          <p:nvPr userDrawn="1"/>
        </p:nvSpPr>
        <p:spPr>
          <a:xfrm>
            <a:off x="0" y="680801"/>
            <a:ext cx="12192000" cy="2184163"/>
          </a:xfrm>
          <a:custGeom>
            <a:avLst/>
            <a:gdLst>
              <a:gd name="connsiteX0" fmla="*/ 0 w 12192000"/>
              <a:gd name="connsiteY0" fmla="*/ 0 h 2184163"/>
              <a:gd name="connsiteX1" fmla="*/ 12192000 w 12192000"/>
              <a:gd name="connsiteY1" fmla="*/ 0 h 2184163"/>
              <a:gd name="connsiteX2" fmla="*/ 12192000 w 12192000"/>
              <a:gd name="connsiteY2" fmla="*/ 234338 h 2184163"/>
              <a:gd name="connsiteX3" fmla="*/ 12166000 w 12192000"/>
              <a:gd name="connsiteY3" fmla="*/ 234338 h 2184163"/>
              <a:gd name="connsiteX4" fmla="*/ 12149477 w 12192000"/>
              <a:gd name="connsiteY4" fmla="*/ 247696 h 2184163"/>
              <a:gd name="connsiteX5" fmla="*/ 12153607 w 12192000"/>
              <a:gd name="connsiteY5" fmla="*/ 267732 h 2184163"/>
              <a:gd name="connsiteX6" fmla="*/ 12186663 w 12192000"/>
              <a:gd name="connsiteY6" fmla="*/ 297788 h 2184163"/>
              <a:gd name="connsiteX7" fmla="*/ 12192000 w 12192000"/>
              <a:gd name="connsiteY7" fmla="*/ 304338 h 2184163"/>
              <a:gd name="connsiteX8" fmla="*/ 12192000 w 12192000"/>
              <a:gd name="connsiteY8" fmla="*/ 344979 h 2184163"/>
              <a:gd name="connsiteX9" fmla="*/ 12189762 w 12192000"/>
              <a:gd name="connsiteY9" fmla="*/ 348294 h 2184163"/>
              <a:gd name="connsiteX10" fmla="*/ 12174264 w 12192000"/>
              <a:gd name="connsiteY10" fmla="*/ 354556 h 2184163"/>
              <a:gd name="connsiteX11" fmla="*/ 12137078 w 12192000"/>
              <a:gd name="connsiteY11" fmla="*/ 354556 h 2184163"/>
              <a:gd name="connsiteX12" fmla="*/ 12042043 w 12192000"/>
              <a:gd name="connsiteY12" fmla="*/ 374593 h 2184163"/>
              <a:gd name="connsiteX13" fmla="*/ 12033779 w 12192000"/>
              <a:gd name="connsiteY13" fmla="*/ 414665 h 2184163"/>
              <a:gd name="connsiteX14" fmla="*/ 12095757 w 12192000"/>
              <a:gd name="connsiteY14" fmla="*/ 444718 h 2184163"/>
              <a:gd name="connsiteX15" fmla="*/ 12141208 w 12192000"/>
              <a:gd name="connsiteY15" fmla="*/ 454738 h 2184163"/>
              <a:gd name="connsiteX16" fmla="*/ 12190793 w 12192000"/>
              <a:gd name="connsiteY16" fmla="*/ 454738 h 2184163"/>
              <a:gd name="connsiteX17" fmla="*/ 12192000 w 12192000"/>
              <a:gd name="connsiteY17" fmla="*/ 455028 h 2184163"/>
              <a:gd name="connsiteX18" fmla="*/ 12192000 w 12192000"/>
              <a:gd name="connsiteY18" fmla="*/ 1450945 h 2184163"/>
              <a:gd name="connsiteX19" fmla="*/ 12149477 w 12192000"/>
              <a:gd name="connsiteY19" fmla="*/ 1463218 h 2184163"/>
              <a:gd name="connsiteX20" fmla="*/ 12070965 w 12192000"/>
              <a:gd name="connsiteY20" fmla="*/ 1493275 h 2184163"/>
              <a:gd name="connsiteX21" fmla="*/ 12025515 w 12192000"/>
              <a:gd name="connsiteY21" fmla="*/ 1503290 h 2184163"/>
              <a:gd name="connsiteX22" fmla="*/ 11814781 w 12192000"/>
              <a:gd name="connsiteY22" fmla="*/ 1503290 h 2184163"/>
              <a:gd name="connsiteX23" fmla="*/ 11504878 w 12192000"/>
              <a:gd name="connsiteY23" fmla="*/ 1503290 h 2184163"/>
              <a:gd name="connsiteX24" fmla="*/ 11451164 w 12192000"/>
              <a:gd name="connsiteY24" fmla="*/ 1550042 h 2184163"/>
              <a:gd name="connsiteX25" fmla="*/ 11455293 w 12192000"/>
              <a:gd name="connsiteY25" fmla="*/ 1570078 h 2184163"/>
              <a:gd name="connsiteX26" fmla="*/ 11504878 w 12192000"/>
              <a:gd name="connsiteY26" fmla="*/ 1596794 h 2184163"/>
              <a:gd name="connsiteX27" fmla="*/ 11537935 w 12192000"/>
              <a:gd name="connsiteY27" fmla="*/ 1606813 h 2184163"/>
              <a:gd name="connsiteX28" fmla="*/ 11587520 w 12192000"/>
              <a:gd name="connsiteY28" fmla="*/ 1610151 h 2184163"/>
              <a:gd name="connsiteX29" fmla="*/ 11595784 w 12192000"/>
              <a:gd name="connsiteY29" fmla="*/ 1616830 h 2184163"/>
              <a:gd name="connsiteX30" fmla="*/ 11587520 w 12192000"/>
              <a:gd name="connsiteY30" fmla="*/ 1623508 h 2184163"/>
              <a:gd name="connsiteX31" fmla="*/ 11451164 w 12192000"/>
              <a:gd name="connsiteY31" fmla="*/ 1626850 h 2184163"/>
              <a:gd name="connsiteX32" fmla="*/ 11409843 w 12192000"/>
              <a:gd name="connsiteY32" fmla="*/ 1646882 h 2184163"/>
              <a:gd name="connsiteX33" fmla="*/ 11405709 w 12192000"/>
              <a:gd name="connsiteY33" fmla="*/ 1656903 h 2184163"/>
              <a:gd name="connsiteX34" fmla="*/ 11422237 w 12192000"/>
              <a:gd name="connsiteY34" fmla="*/ 1666919 h 2184163"/>
              <a:gd name="connsiteX35" fmla="*/ 11459428 w 12192000"/>
              <a:gd name="connsiteY35" fmla="*/ 1670260 h 2184163"/>
              <a:gd name="connsiteX36" fmla="*/ 11467692 w 12192000"/>
              <a:gd name="connsiteY36" fmla="*/ 1676939 h 2184163"/>
              <a:gd name="connsiteX37" fmla="*/ 11463558 w 12192000"/>
              <a:gd name="connsiteY37" fmla="*/ 1686955 h 2184163"/>
              <a:gd name="connsiteX38" fmla="*/ 11409843 w 12192000"/>
              <a:gd name="connsiteY38" fmla="*/ 1710333 h 2184163"/>
              <a:gd name="connsiteX39" fmla="*/ 11364393 w 12192000"/>
              <a:gd name="connsiteY39" fmla="*/ 1727028 h 2184163"/>
              <a:gd name="connsiteX40" fmla="*/ 11318937 w 12192000"/>
              <a:gd name="connsiteY40" fmla="*/ 1773779 h 2184163"/>
              <a:gd name="connsiteX41" fmla="*/ 11290015 w 12192000"/>
              <a:gd name="connsiteY41" fmla="*/ 1790474 h 2184163"/>
              <a:gd name="connsiteX42" fmla="*/ 11190846 w 12192000"/>
              <a:gd name="connsiteY42" fmla="*/ 1790474 h 2184163"/>
              <a:gd name="connsiteX43" fmla="*/ 11132997 w 12192000"/>
              <a:gd name="connsiteY43" fmla="*/ 1777121 h 2184163"/>
              <a:gd name="connsiteX44" fmla="*/ 11083412 w 12192000"/>
              <a:gd name="connsiteY44" fmla="*/ 1777121 h 2184163"/>
              <a:gd name="connsiteX45" fmla="*/ 11013169 w 12192000"/>
              <a:gd name="connsiteY45" fmla="*/ 1790474 h 2184163"/>
              <a:gd name="connsiteX46" fmla="*/ 10880943 w 12192000"/>
              <a:gd name="connsiteY46" fmla="*/ 1773779 h 2184163"/>
              <a:gd name="connsiteX47" fmla="*/ 10657816 w 12192000"/>
              <a:gd name="connsiteY47" fmla="*/ 1773779 h 2184163"/>
              <a:gd name="connsiteX48" fmla="*/ 10645417 w 12192000"/>
              <a:gd name="connsiteY48" fmla="*/ 1777121 h 2184163"/>
              <a:gd name="connsiteX49" fmla="*/ 10624759 w 12192000"/>
              <a:gd name="connsiteY49" fmla="*/ 1780458 h 2184163"/>
              <a:gd name="connsiteX50" fmla="*/ 10566910 w 12192000"/>
              <a:gd name="connsiteY50" fmla="*/ 1767100 h 2184163"/>
              <a:gd name="connsiteX51" fmla="*/ 10430554 w 12192000"/>
              <a:gd name="connsiteY51" fmla="*/ 1770438 h 2184163"/>
              <a:gd name="connsiteX52" fmla="*/ 10397497 w 12192000"/>
              <a:gd name="connsiteY52" fmla="*/ 1780458 h 2184163"/>
              <a:gd name="connsiteX53" fmla="*/ 10339648 w 12192000"/>
              <a:gd name="connsiteY53" fmla="*/ 1777121 h 2184163"/>
              <a:gd name="connsiteX54" fmla="*/ 10318990 w 12192000"/>
              <a:gd name="connsiteY54" fmla="*/ 1780458 h 2184163"/>
              <a:gd name="connsiteX55" fmla="*/ 10273535 w 12192000"/>
              <a:gd name="connsiteY55" fmla="*/ 1783795 h 2184163"/>
              <a:gd name="connsiteX56" fmla="*/ 10170236 w 12192000"/>
              <a:gd name="connsiteY56" fmla="*/ 1783795 h 2184163"/>
              <a:gd name="connsiteX57" fmla="*/ 10149578 w 12192000"/>
              <a:gd name="connsiteY57" fmla="*/ 1783795 h 2184163"/>
              <a:gd name="connsiteX58" fmla="*/ 10071071 w 12192000"/>
              <a:gd name="connsiteY58" fmla="*/ 1783795 h 2184163"/>
              <a:gd name="connsiteX59" fmla="*/ 10050408 w 12192000"/>
              <a:gd name="connsiteY59" fmla="*/ 1797153 h 2184163"/>
              <a:gd name="connsiteX60" fmla="*/ 10009087 w 12192000"/>
              <a:gd name="connsiteY60" fmla="*/ 1797153 h 2184163"/>
              <a:gd name="connsiteX61" fmla="*/ 9976031 w 12192000"/>
              <a:gd name="connsiteY61" fmla="*/ 1800494 h 2184163"/>
              <a:gd name="connsiteX62" fmla="*/ 9955368 w 12192000"/>
              <a:gd name="connsiteY62" fmla="*/ 1803832 h 2184163"/>
              <a:gd name="connsiteX63" fmla="*/ 9810748 w 12192000"/>
              <a:gd name="connsiteY63" fmla="*/ 1797153 h 2184163"/>
              <a:gd name="connsiteX64" fmla="*/ 9798354 w 12192000"/>
              <a:gd name="connsiteY64" fmla="*/ 1800494 h 2184163"/>
              <a:gd name="connsiteX65" fmla="*/ 9777691 w 12192000"/>
              <a:gd name="connsiteY65" fmla="*/ 1800494 h 2184163"/>
              <a:gd name="connsiteX66" fmla="*/ 9757033 w 12192000"/>
              <a:gd name="connsiteY66" fmla="*/ 1790474 h 2184163"/>
              <a:gd name="connsiteX67" fmla="*/ 9707448 w 12192000"/>
              <a:gd name="connsiteY67" fmla="*/ 1790474 h 2184163"/>
              <a:gd name="connsiteX68" fmla="*/ 9645470 w 12192000"/>
              <a:gd name="connsiteY68" fmla="*/ 1790474 h 2184163"/>
              <a:gd name="connsiteX69" fmla="*/ 9591750 w 12192000"/>
              <a:gd name="connsiteY69" fmla="*/ 1810511 h 2184163"/>
              <a:gd name="connsiteX70" fmla="*/ 9583486 w 12192000"/>
              <a:gd name="connsiteY70" fmla="*/ 1817189 h 2184163"/>
              <a:gd name="connsiteX71" fmla="*/ 9591750 w 12192000"/>
              <a:gd name="connsiteY71" fmla="*/ 1823868 h 2184163"/>
              <a:gd name="connsiteX72" fmla="*/ 9633071 w 12192000"/>
              <a:gd name="connsiteY72" fmla="*/ 1857262 h 2184163"/>
              <a:gd name="connsiteX73" fmla="*/ 9666128 w 12192000"/>
              <a:gd name="connsiteY73" fmla="*/ 1863941 h 2184163"/>
              <a:gd name="connsiteX74" fmla="*/ 9686791 w 12192000"/>
              <a:gd name="connsiteY74" fmla="*/ 1853925 h 2184163"/>
              <a:gd name="connsiteX75" fmla="*/ 9736375 w 12192000"/>
              <a:gd name="connsiteY75" fmla="*/ 1847246 h 2184163"/>
              <a:gd name="connsiteX76" fmla="*/ 9819012 w 12192000"/>
              <a:gd name="connsiteY76" fmla="*/ 1890656 h 2184163"/>
              <a:gd name="connsiteX77" fmla="*/ 9827276 w 12192000"/>
              <a:gd name="connsiteY77" fmla="*/ 1897335 h 2184163"/>
              <a:gd name="connsiteX78" fmla="*/ 9806618 w 12192000"/>
              <a:gd name="connsiteY78" fmla="*/ 1907355 h 2184163"/>
              <a:gd name="connsiteX79" fmla="*/ 9769427 w 12192000"/>
              <a:gd name="connsiteY79" fmla="*/ 1910692 h 2184163"/>
              <a:gd name="connsiteX80" fmla="*/ 9732241 w 12192000"/>
              <a:gd name="connsiteY80" fmla="*/ 1917371 h 2184163"/>
              <a:gd name="connsiteX81" fmla="*/ 9649604 w 12192000"/>
              <a:gd name="connsiteY81" fmla="*/ 1917371 h 2184163"/>
              <a:gd name="connsiteX82" fmla="*/ 9554564 w 12192000"/>
              <a:gd name="connsiteY82" fmla="*/ 1917371 h 2184163"/>
              <a:gd name="connsiteX83" fmla="*/ 9496715 w 12192000"/>
              <a:gd name="connsiteY83" fmla="*/ 1914030 h 2184163"/>
              <a:gd name="connsiteX84" fmla="*/ 9463658 w 12192000"/>
              <a:gd name="connsiteY84" fmla="*/ 1910692 h 2184163"/>
              <a:gd name="connsiteX85" fmla="*/ 9397545 w 12192000"/>
              <a:gd name="connsiteY85" fmla="*/ 1914030 h 2184163"/>
              <a:gd name="connsiteX86" fmla="*/ 9385152 w 12192000"/>
              <a:gd name="connsiteY86" fmla="*/ 1910692 h 2184163"/>
              <a:gd name="connsiteX87" fmla="*/ 9199211 w 12192000"/>
              <a:gd name="connsiteY87" fmla="*/ 1910692 h 2184163"/>
              <a:gd name="connsiteX88" fmla="*/ 9166154 w 12192000"/>
              <a:gd name="connsiteY88" fmla="*/ 1924050 h 2184163"/>
              <a:gd name="connsiteX89" fmla="*/ 9133098 w 12192000"/>
              <a:gd name="connsiteY89" fmla="*/ 1910692 h 2184163"/>
              <a:gd name="connsiteX90" fmla="*/ 8732294 w 12192000"/>
              <a:gd name="connsiteY90" fmla="*/ 1910692 h 2184163"/>
              <a:gd name="connsiteX91" fmla="*/ 8699237 w 12192000"/>
              <a:gd name="connsiteY91" fmla="*/ 1920709 h 2184163"/>
              <a:gd name="connsiteX92" fmla="*/ 8678574 w 12192000"/>
              <a:gd name="connsiteY92" fmla="*/ 1917371 h 2184163"/>
              <a:gd name="connsiteX93" fmla="*/ 8645523 w 12192000"/>
              <a:gd name="connsiteY93" fmla="*/ 1907355 h 2184163"/>
              <a:gd name="connsiteX94" fmla="*/ 8558747 w 12192000"/>
              <a:gd name="connsiteY94" fmla="*/ 1904014 h 2184163"/>
              <a:gd name="connsiteX95" fmla="*/ 8513296 w 12192000"/>
              <a:gd name="connsiteY95" fmla="*/ 1890656 h 2184163"/>
              <a:gd name="connsiteX96" fmla="*/ 8480240 w 12192000"/>
              <a:gd name="connsiteY96" fmla="*/ 1900676 h 2184163"/>
              <a:gd name="connsiteX97" fmla="*/ 8397598 w 12192000"/>
              <a:gd name="connsiteY97" fmla="*/ 1887319 h 2184163"/>
              <a:gd name="connsiteX98" fmla="*/ 8348013 w 12192000"/>
              <a:gd name="connsiteY98" fmla="*/ 1883978 h 2184163"/>
              <a:gd name="connsiteX99" fmla="*/ 8281900 w 12192000"/>
              <a:gd name="connsiteY99" fmla="*/ 1910692 h 2184163"/>
              <a:gd name="connsiteX100" fmla="*/ 8252978 w 12192000"/>
              <a:gd name="connsiteY100" fmla="*/ 1950765 h 2184163"/>
              <a:gd name="connsiteX101" fmla="*/ 8252978 w 12192000"/>
              <a:gd name="connsiteY101" fmla="*/ 1980817 h 2184163"/>
              <a:gd name="connsiteX102" fmla="*/ 8203393 w 12192000"/>
              <a:gd name="connsiteY102" fmla="*/ 2020890 h 2184163"/>
              <a:gd name="connsiteX103" fmla="*/ 8079437 w 12192000"/>
              <a:gd name="connsiteY103" fmla="*/ 2020890 h 2184163"/>
              <a:gd name="connsiteX104" fmla="*/ 8058774 w 12192000"/>
              <a:gd name="connsiteY104" fmla="*/ 2027569 h 2184163"/>
              <a:gd name="connsiteX105" fmla="*/ 8013319 w 12192000"/>
              <a:gd name="connsiteY105" fmla="*/ 2064301 h 2184163"/>
              <a:gd name="connsiteX106" fmla="*/ 7967869 w 12192000"/>
              <a:gd name="connsiteY106" fmla="*/ 2077662 h 2184163"/>
              <a:gd name="connsiteX107" fmla="*/ 7794326 w 12192000"/>
              <a:gd name="connsiteY107" fmla="*/ 2081000 h 2184163"/>
              <a:gd name="connsiteX108" fmla="*/ 7748871 w 12192000"/>
              <a:gd name="connsiteY108" fmla="*/ 2094357 h 2184163"/>
              <a:gd name="connsiteX109" fmla="*/ 7711685 w 12192000"/>
              <a:gd name="connsiteY109" fmla="*/ 2101036 h 2184163"/>
              <a:gd name="connsiteX110" fmla="*/ 7662099 w 12192000"/>
              <a:gd name="connsiteY110" fmla="*/ 2104373 h 2184163"/>
              <a:gd name="connsiteX111" fmla="*/ 7517480 w 12192000"/>
              <a:gd name="connsiteY111" fmla="*/ 2114393 h 2184163"/>
              <a:gd name="connsiteX112" fmla="*/ 7496817 w 12192000"/>
              <a:gd name="connsiteY112" fmla="*/ 2104373 h 2184163"/>
              <a:gd name="connsiteX113" fmla="*/ 7472025 w 12192000"/>
              <a:gd name="connsiteY113" fmla="*/ 2101036 h 2184163"/>
              <a:gd name="connsiteX114" fmla="*/ 7339803 w 12192000"/>
              <a:gd name="connsiteY114" fmla="*/ 2117731 h 2184163"/>
              <a:gd name="connsiteX115" fmla="*/ 7294353 w 12192000"/>
              <a:gd name="connsiteY115" fmla="*/ 2131088 h 2184163"/>
              <a:gd name="connsiteX116" fmla="*/ 7253031 w 12192000"/>
              <a:gd name="connsiteY116" fmla="*/ 2111052 h 2184163"/>
              <a:gd name="connsiteX117" fmla="*/ 7236498 w 12192000"/>
              <a:gd name="connsiteY117" fmla="*/ 2104373 h 2184163"/>
              <a:gd name="connsiteX118" fmla="*/ 7178655 w 12192000"/>
              <a:gd name="connsiteY118" fmla="*/ 2117731 h 2184163"/>
              <a:gd name="connsiteX119" fmla="*/ 7071220 w 12192000"/>
              <a:gd name="connsiteY119" fmla="*/ 2137767 h 2184163"/>
              <a:gd name="connsiteX120" fmla="*/ 7050557 w 12192000"/>
              <a:gd name="connsiteY120" fmla="*/ 2147787 h 2184163"/>
              <a:gd name="connsiteX121" fmla="*/ 6972051 w 12192000"/>
              <a:gd name="connsiteY121" fmla="*/ 2141108 h 2184163"/>
              <a:gd name="connsiteX122" fmla="*/ 6914202 w 12192000"/>
              <a:gd name="connsiteY122" fmla="*/ 2137767 h 2184163"/>
              <a:gd name="connsiteX123" fmla="*/ 6885279 w 12192000"/>
              <a:gd name="connsiteY123" fmla="*/ 2157803 h 2184163"/>
              <a:gd name="connsiteX124" fmla="*/ 6839829 w 12192000"/>
              <a:gd name="connsiteY124" fmla="*/ 2174502 h 2184163"/>
              <a:gd name="connsiteX125" fmla="*/ 6653888 w 12192000"/>
              <a:gd name="connsiteY125" fmla="*/ 2174502 h 2184163"/>
              <a:gd name="connsiteX126" fmla="*/ 6591905 w 12192000"/>
              <a:gd name="connsiteY126" fmla="*/ 2177839 h 2184163"/>
              <a:gd name="connsiteX127" fmla="*/ 6538190 w 12192000"/>
              <a:gd name="connsiteY127" fmla="*/ 2177839 h 2184163"/>
              <a:gd name="connsiteX128" fmla="*/ 6492735 w 12192000"/>
              <a:gd name="connsiteY128" fmla="*/ 2161145 h 2184163"/>
              <a:gd name="connsiteX129" fmla="*/ 6422492 w 12192000"/>
              <a:gd name="connsiteY129" fmla="*/ 2164482 h 2184163"/>
              <a:gd name="connsiteX130" fmla="*/ 6352249 w 12192000"/>
              <a:gd name="connsiteY130" fmla="*/ 2164482 h 2184163"/>
              <a:gd name="connsiteX131" fmla="*/ 6319193 w 12192000"/>
              <a:gd name="connsiteY131" fmla="*/ 2154466 h 2184163"/>
              <a:gd name="connsiteX132" fmla="*/ 6224157 w 12192000"/>
              <a:gd name="connsiteY132" fmla="*/ 2124409 h 2184163"/>
              <a:gd name="connsiteX133" fmla="*/ 6203494 w 12192000"/>
              <a:gd name="connsiteY133" fmla="*/ 2124409 h 2184163"/>
              <a:gd name="connsiteX134" fmla="*/ 6166308 w 12192000"/>
              <a:gd name="connsiteY134" fmla="*/ 2151125 h 2184163"/>
              <a:gd name="connsiteX135" fmla="*/ 6133252 w 12192000"/>
              <a:gd name="connsiteY135" fmla="*/ 2147787 h 2184163"/>
              <a:gd name="connsiteX136" fmla="*/ 6104331 w 12192000"/>
              <a:gd name="connsiteY136" fmla="*/ 2127751 h 2184163"/>
              <a:gd name="connsiteX137" fmla="*/ 6071269 w 12192000"/>
              <a:gd name="connsiteY137" fmla="*/ 2114393 h 2184163"/>
              <a:gd name="connsiteX138" fmla="*/ 5984498 w 12192000"/>
              <a:gd name="connsiteY138" fmla="*/ 2114393 h 2184163"/>
              <a:gd name="connsiteX139" fmla="*/ 5951440 w 12192000"/>
              <a:gd name="connsiteY139" fmla="*/ 2124409 h 2184163"/>
              <a:gd name="connsiteX140" fmla="*/ 5872934 w 12192000"/>
              <a:gd name="connsiteY140" fmla="*/ 2121072 h 2184163"/>
              <a:gd name="connsiteX141" fmla="*/ 5802692 w 12192000"/>
              <a:gd name="connsiteY141" fmla="*/ 2124409 h 2184163"/>
              <a:gd name="connsiteX142" fmla="*/ 5786163 w 12192000"/>
              <a:gd name="connsiteY142" fmla="*/ 2137767 h 2184163"/>
              <a:gd name="connsiteX143" fmla="*/ 5744844 w 12192000"/>
              <a:gd name="connsiteY143" fmla="*/ 2154466 h 2184163"/>
              <a:gd name="connsiteX144" fmla="*/ 5682863 w 12192000"/>
              <a:gd name="connsiteY144" fmla="*/ 2151125 h 2184163"/>
              <a:gd name="connsiteX145" fmla="*/ 5587828 w 12192000"/>
              <a:gd name="connsiteY145" fmla="*/ 2134430 h 2184163"/>
              <a:gd name="connsiteX146" fmla="*/ 5488659 w 12192000"/>
              <a:gd name="connsiteY146" fmla="*/ 2134430 h 2184163"/>
              <a:gd name="connsiteX147" fmla="*/ 5418411 w 12192000"/>
              <a:gd name="connsiteY147" fmla="*/ 2117731 h 2184163"/>
              <a:gd name="connsiteX148" fmla="*/ 5360568 w 12192000"/>
              <a:gd name="connsiteY148" fmla="*/ 2124409 h 2184163"/>
              <a:gd name="connsiteX149" fmla="*/ 5282055 w 12192000"/>
              <a:gd name="connsiteY149" fmla="*/ 2121072 h 2184163"/>
              <a:gd name="connsiteX150" fmla="*/ 5244869 w 12192000"/>
              <a:gd name="connsiteY150" fmla="*/ 2114393 h 2184163"/>
              <a:gd name="connsiteX151" fmla="*/ 4996946 w 12192000"/>
              <a:gd name="connsiteY151" fmla="*/ 2114393 h 2184163"/>
              <a:gd name="connsiteX152" fmla="*/ 4947365 w 12192000"/>
              <a:gd name="connsiteY152" fmla="*/ 2111052 h 2184163"/>
              <a:gd name="connsiteX153" fmla="*/ 4914303 w 12192000"/>
              <a:gd name="connsiteY153" fmla="*/ 2084336 h 2184163"/>
              <a:gd name="connsiteX154" fmla="*/ 4926704 w 12192000"/>
              <a:gd name="connsiteY154" fmla="*/ 2067641 h 2184163"/>
              <a:gd name="connsiteX155" fmla="*/ 4872983 w 12192000"/>
              <a:gd name="connsiteY155" fmla="*/ 2034248 h 2184163"/>
              <a:gd name="connsiteX156" fmla="*/ 4835796 w 12192000"/>
              <a:gd name="connsiteY156" fmla="*/ 2040927 h 2184163"/>
              <a:gd name="connsiteX157" fmla="*/ 4740763 w 12192000"/>
              <a:gd name="connsiteY157" fmla="*/ 2047605 h 2184163"/>
              <a:gd name="connsiteX158" fmla="*/ 4658120 w 12192000"/>
              <a:gd name="connsiteY158" fmla="*/ 2030910 h 2184163"/>
              <a:gd name="connsiteX159" fmla="*/ 4563083 w 12192000"/>
              <a:gd name="connsiteY159" fmla="*/ 2010875 h 2184163"/>
              <a:gd name="connsiteX160" fmla="*/ 4480443 w 12192000"/>
              <a:gd name="connsiteY160" fmla="*/ 1990838 h 2184163"/>
              <a:gd name="connsiteX161" fmla="*/ 4418465 w 12192000"/>
              <a:gd name="connsiteY161" fmla="*/ 1987496 h 2184163"/>
              <a:gd name="connsiteX162" fmla="*/ 4385408 w 12192000"/>
              <a:gd name="connsiteY162" fmla="*/ 1977480 h 2184163"/>
              <a:gd name="connsiteX163" fmla="*/ 4277975 w 12192000"/>
              <a:gd name="connsiteY163" fmla="*/ 1990838 h 2184163"/>
              <a:gd name="connsiteX164" fmla="*/ 4178803 w 12192000"/>
              <a:gd name="connsiteY164" fmla="*/ 1990838 h 2184163"/>
              <a:gd name="connsiteX165" fmla="*/ 4108560 w 12192000"/>
              <a:gd name="connsiteY165" fmla="*/ 1974139 h 2184163"/>
              <a:gd name="connsiteX166" fmla="*/ 4034183 w 12192000"/>
              <a:gd name="connsiteY166" fmla="*/ 1974139 h 2184163"/>
              <a:gd name="connsiteX167" fmla="*/ 3959811 w 12192000"/>
              <a:gd name="connsiteY167" fmla="*/ 1974139 h 2184163"/>
              <a:gd name="connsiteX168" fmla="*/ 3881299 w 12192000"/>
              <a:gd name="connsiteY168" fmla="*/ 1944086 h 2184163"/>
              <a:gd name="connsiteX169" fmla="*/ 3852377 w 12192000"/>
              <a:gd name="connsiteY169" fmla="*/ 1900676 h 2184163"/>
              <a:gd name="connsiteX170" fmla="*/ 3844113 w 12192000"/>
              <a:gd name="connsiteY170" fmla="*/ 1893997 h 2184163"/>
              <a:gd name="connsiteX171" fmla="*/ 3831719 w 12192000"/>
              <a:gd name="connsiteY171" fmla="*/ 1897335 h 2184163"/>
              <a:gd name="connsiteX172" fmla="*/ 3798658 w 12192000"/>
              <a:gd name="connsiteY172" fmla="*/ 1910692 h 2184163"/>
              <a:gd name="connsiteX173" fmla="*/ 3724285 w 12192000"/>
              <a:gd name="connsiteY173" fmla="*/ 1910692 h 2184163"/>
              <a:gd name="connsiteX174" fmla="*/ 3616851 w 12192000"/>
              <a:gd name="connsiteY174" fmla="*/ 1924050 h 2184163"/>
              <a:gd name="connsiteX175" fmla="*/ 3592059 w 12192000"/>
              <a:gd name="connsiteY175" fmla="*/ 1927391 h 2184163"/>
              <a:gd name="connsiteX176" fmla="*/ 3232575 w 12192000"/>
              <a:gd name="connsiteY176" fmla="*/ 1967460 h 2184163"/>
              <a:gd name="connsiteX177" fmla="*/ 3162328 w 12192000"/>
              <a:gd name="connsiteY177" fmla="*/ 1950765 h 2184163"/>
              <a:gd name="connsiteX178" fmla="*/ 3038365 w 12192000"/>
              <a:gd name="connsiteY178" fmla="*/ 1950765 h 2184163"/>
              <a:gd name="connsiteX179" fmla="*/ 2963993 w 12192000"/>
              <a:gd name="connsiteY179" fmla="*/ 1950765 h 2184163"/>
              <a:gd name="connsiteX180" fmla="*/ 2939201 w 12192000"/>
              <a:gd name="connsiteY180" fmla="*/ 1944086 h 2184163"/>
              <a:gd name="connsiteX181" fmla="*/ 2868953 w 12192000"/>
              <a:gd name="connsiteY181" fmla="*/ 1930729 h 2184163"/>
              <a:gd name="connsiteX182" fmla="*/ 2683012 w 12192000"/>
              <a:gd name="connsiteY182" fmla="*/ 1930729 h 2184163"/>
              <a:gd name="connsiteX183" fmla="*/ 2625168 w 12192000"/>
              <a:gd name="connsiteY183" fmla="*/ 1917371 h 2184163"/>
              <a:gd name="connsiteX184" fmla="*/ 2530128 w 12192000"/>
              <a:gd name="connsiteY184" fmla="*/ 1920709 h 2184163"/>
              <a:gd name="connsiteX185" fmla="*/ 2509470 w 12192000"/>
              <a:gd name="connsiteY185" fmla="*/ 1920709 h 2184163"/>
              <a:gd name="connsiteX186" fmla="*/ 2476413 w 12192000"/>
              <a:gd name="connsiteY186" fmla="*/ 1910692 h 2184163"/>
              <a:gd name="connsiteX187" fmla="*/ 2240888 w 12192000"/>
              <a:gd name="connsiteY187" fmla="*/ 1907355 h 2184163"/>
              <a:gd name="connsiteX188" fmla="*/ 2145852 w 12192000"/>
              <a:gd name="connsiteY188" fmla="*/ 1890656 h 2184163"/>
              <a:gd name="connsiteX189" fmla="*/ 2121060 w 12192000"/>
              <a:gd name="connsiteY189" fmla="*/ 1890656 h 2184163"/>
              <a:gd name="connsiteX190" fmla="*/ 2063211 w 12192000"/>
              <a:gd name="connsiteY190" fmla="*/ 1907355 h 2184163"/>
              <a:gd name="connsiteX191" fmla="*/ 2005362 w 12192000"/>
              <a:gd name="connsiteY191" fmla="*/ 1893997 h 2184163"/>
              <a:gd name="connsiteX192" fmla="*/ 1939249 w 12192000"/>
              <a:gd name="connsiteY192" fmla="*/ 1867283 h 2184163"/>
              <a:gd name="connsiteX193" fmla="*/ 1889664 w 12192000"/>
              <a:gd name="connsiteY193" fmla="*/ 1870620 h 2184163"/>
              <a:gd name="connsiteX194" fmla="*/ 1844213 w 12192000"/>
              <a:gd name="connsiteY194" fmla="*/ 1883978 h 2184163"/>
              <a:gd name="connsiteX195" fmla="*/ 1720251 w 12192000"/>
              <a:gd name="connsiteY195" fmla="*/ 1883978 h 2184163"/>
              <a:gd name="connsiteX196" fmla="*/ 1674801 w 12192000"/>
              <a:gd name="connsiteY196" fmla="*/ 1897335 h 2184163"/>
              <a:gd name="connsiteX197" fmla="*/ 1616952 w 12192000"/>
              <a:gd name="connsiteY197" fmla="*/ 1910692 h 2184163"/>
              <a:gd name="connsiteX198" fmla="*/ 1575631 w 12192000"/>
              <a:gd name="connsiteY198" fmla="*/ 1907355 h 2184163"/>
              <a:gd name="connsiteX199" fmla="*/ 1546709 w 12192000"/>
              <a:gd name="connsiteY199" fmla="*/ 1887319 h 2184163"/>
              <a:gd name="connsiteX200" fmla="*/ 1521917 w 12192000"/>
              <a:gd name="connsiteY200" fmla="*/ 1887319 h 2184163"/>
              <a:gd name="connsiteX201" fmla="*/ 1451669 w 12192000"/>
              <a:gd name="connsiteY201" fmla="*/ 1904014 h 2184163"/>
              <a:gd name="connsiteX202" fmla="*/ 1414483 w 12192000"/>
              <a:gd name="connsiteY202" fmla="*/ 1910692 h 2184163"/>
              <a:gd name="connsiteX203" fmla="*/ 1344240 w 12192000"/>
              <a:gd name="connsiteY203" fmla="*/ 1924050 h 2184163"/>
              <a:gd name="connsiteX204" fmla="*/ 1298784 w 12192000"/>
              <a:gd name="connsiteY204" fmla="*/ 1910692 h 2184163"/>
              <a:gd name="connsiteX205" fmla="*/ 1273992 w 12192000"/>
              <a:gd name="connsiteY205" fmla="*/ 1890656 h 2184163"/>
              <a:gd name="connsiteX206" fmla="*/ 1240941 w 12192000"/>
              <a:gd name="connsiteY206" fmla="*/ 1890656 h 2184163"/>
              <a:gd name="connsiteX207" fmla="*/ 1203749 w 12192000"/>
              <a:gd name="connsiteY207" fmla="*/ 1940745 h 2184163"/>
              <a:gd name="connsiteX208" fmla="*/ 1203749 w 12192000"/>
              <a:gd name="connsiteY208" fmla="*/ 1970802 h 2184163"/>
              <a:gd name="connsiteX209" fmla="*/ 1191356 w 12192000"/>
              <a:gd name="connsiteY209" fmla="*/ 1987496 h 2184163"/>
              <a:gd name="connsiteX210" fmla="*/ 1137636 w 12192000"/>
              <a:gd name="connsiteY210" fmla="*/ 2010875 h 2184163"/>
              <a:gd name="connsiteX211" fmla="*/ 1096315 w 12192000"/>
              <a:gd name="connsiteY211" fmla="*/ 2014211 h 2184163"/>
              <a:gd name="connsiteX212" fmla="*/ 1071523 w 12192000"/>
              <a:gd name="connsiteY212" fmla="*/ 2007533 h 2184163"/>
              <a:gd name="connsiteX213" fmla="*/ 1021943 w 12192000"/>
              <a:gd name="connsiteY213" fmla="*/ 2004195 h 2184163"/>
              <a:gd name="connsiteX214" fmla="*/ 935167 w 12192000"/>
              <a:gd name="connsiteY214" fmla="*/ 1997516 h 2184163"/>
              <a:gd name="connsiteX215" fmla="*/ 881453 w 12192000"/>
              <a:gd name="connsiteY215" fmla="*/ 1957444 h 2184163"/>
              <a:gd name="connsiteX216" fmla="*/ 790547 w 12192000"/>
              <a:gd name="connsiteY216" fmla="*/ 1863941 h 2184163"/>
              <a:gd name="connsiteX217" fmla="*/ 740962 w 12192000"/>
              <a:gd name="connsiteY217" fmla="*/ 1820531 h 2184163"/>
              <a:gd name="connsiteX218" fmla="*/ 732698 w 12192000"/>
              <a:gd name="connsiteY218" fmla="*/ 1803832 h 2184163"/>
              <a:gd name="connsiteX219" fmla="*/ 691377 w 12192000"/>
              <a:gd name="connsiteY219" fmla="*/ 1747064 h 2184163"/>
              <a:gd name="connsiteX220" fmla="*/ 670719 w 12192000"/>
              <a:gd name="connsiteY220" fmla="*/ 1733706 h 2184163"/>
              <a:gd name="connsiteX221" fmla="*/ 650056 w 12192000"/>
              <a:gd name="connsiteY221" fmla="*/ 1727028 h 2184163"/>
              <a:gd name="connsiteX222" fmla="*/ 501307 w 12192000"/>
              <a:gd name="connsiteY222" fmla="*/ 1727028 h 2184163"/>
              <a:gd name="connsiteX223" fmla="*/ 488908 w 12192000"/>
              <a:gd name="connsiteY223" fmla="*/ 1730369 h 2184163"/>
              <a:gd name="connsiteX224" fmla="*/ 447592 w 12192000"/>
              <a:gd name="connsiteY224" fmla="*/ 1733706 h 2184163"/>
              <a:gd name="connsiteX225" fmla="*/ 406272 w 12192000"/>
              <a:gd name="connsiteY225" fmla="*/ 1750401 h 2184163"/>
              <a:gd name="connsiteX226" fmla="*/ 406272 w 12192000"/>
              <a:gd name="connsiteY226" fmla="*/ 1770438 h 2184163"/>
              <a:gd name="connsiteX227" fmla="*/ 393873 w 12192000"/>
              <a:gd name="connsiteY227" fmla="*/ 1787137 h 2184163"/>
              <a:gd name="connsiteX228" fmla="*/ 286444 w 12192000"/>
              <a:gd name="connsiteY228" fmla="*/ 1810511 h 2184163"/>
              <a:gd name="connsiteX229" fmla="*/ 253382 w 12192000"/>
              <a:gd name="connsiteY229" fmla="*/ 1823868 h 2184163"/>
              <a:gd name="connsiteX230" fmla="*/ 174875 w 12192000"/>
              <a:gd name="connsiteY230" fmla="*/ 1813852 h 2184163"/>
              <a:gd name="connsiteX231" fmla="*/ 158347 w 12192000"/>
              <a:gd name="connsiteY231" fmla="*/ 1787137 h 2184163"/>
              <a:gd name="connsiteX232" fmla="*/ 158347 w 12192000"/>
              <a:gd name="connsiteY232" fmla="*/ 1757085 h 2184163"/>
              <a:gd name="connsiteX233" fmla="*/ 187274 w 12192000"/>
              <a:gd name="connsiteY233" fmla="*/ 1730369 h 2184163"/>
              <a:gd name="connsiteX234" fmla="*/ 207932 w 12192000"/>
              <a:gd name="connsiteY234" fmla="*/ 1710333 h 2184163"/>
              <a:gd name="connsiteX235" fmla="*/ 207932 w 12192000"/>
              <a:gd name="connsiteY235" fmla="*/ 1670260 h 2184163"/>
              <a:gd name="connsiteX236" fmla="*/ 195538 w 12192000"/>
              <a:gd name="connsiteY236" fmla="*/ 1633525 h 2184163"/>
              <a:gd name="connsiteX237" fmla="*/ 141819 w 12192000"/>
              <a:gd name="connsiteY237" fmla="*/ 1610151 h 2184163"/>
              <a:gd name="connsiteX238" fmla="*/ 83975 w 12192000"/>
              <a:gd name="connsiteY238" fmla="*/ 1580095 h 2184163"/>
              <a:gd name="connsiteX239" fmla="*/ 13727 w 12192000"/>
              <a:gd name="connsiteY239" fmla="*/ 1513311 h 2184163"/>
              <a:gd name="connsiteX240" fmla="*/ 0 w 12192000"/>
              <a:gd name="connsiteY240" fmla="*/ 1511461 h 2184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2192000" h="2184163">
                <a:moveTo>
                  <a:pt x="0" y="0"/>
                </a:moveTo>
                <a:lnTo>
                  <a:pt x="12192000" y="0"/>
                </a:lnTo>
                <a:lnTo>
                  <a:pt x="12192000" y="234338"/>
                </a:lnTo>
                <a:lnTo>
                  <a:pt x="12166000" y="234338"/>
                </a:lnTo>
                <a:cubicBezTo>
                  <a:pt x="12161871" y="234338"/>
                  <a:pt x="12153607" y="241017"/>
                  <a:pt x="12149477" y="247696"/>
                </a:cubicBezTo>
                <a:cubicBezTo>
                  <a:pt x="12149477" y="254374"/>
                  <a:pt x="12149477" y="264395"/>
                  <a:pt x="12153607" y="267732"/>
                </a:cubicBezTo>
                <a:cubicBezTo>
                  <a:pt x="12161871" y="277752"/>
                  <a:pt x="12174264" y="287769"/>
                  <a:pt x="12186663" y="297788"/>
                </a:cubicBezTo>
                <a:lnTo>
                  <a:pt x="12192000" y="304338"/>
                </a:lnTo>
                <a:lnTo>
                  <a:pt x="12192000" y="344979"/>
                </a:lnTo>
                <a:lnTo>
                  <a:pt x="12189762" y="348294"/>
                </a:lnTo>
                <a:cubicBezTo>
                  <a:pt x="12185629" y="352051"/>
                  <a:pt x="12180464" y="354556"/>
                  <a:pt x="12174264" y="354556"/>
                </a:cubicBezTo>
                <a:cubicBezTo>
                  <a:pt x="12161871" y="354556"/>
                  <a:pt x="12149477" y="357898"/>
                  <a:pt x="12137078" y="354556"/>
                </a:cubicBezTo>
                <a:cubicBezTo>
                  <a:pt x="12099892" y="347877"/>
                  <a:pt x="12070965" y="364572"/>
                  <a:pt x="12042043" y="374593"/>
                </a:cubicBezTo>
                <a:cubicBezTo>
                  <a:pt x="12025515" y="381271"/>
                  <a:pt x="12017251" y="397966"/>
                  <a:pt x="12033779" y="414665"/>
                </a:cubicBezTo>
                <a:cubicBezTo>
                  <a:pt x="12050307" y="431361"/>
                  <a:pt x="12075100" y="434701"/>
                  <a:pt x="12095757" y="444718"/>
                </a:cubicBezTo>
                <a:cubicBezTo>
                  <a:pt x="12108156" y="454738"/>
                  <a:pt x="12124679" y="454738"/>
                  <a:pt x="12141208" y="454738"/>
                </a:cubicBezTo>
                <a:cubicBezTo>
                  <a:pt x="12157741" y="454738"/>
                  <a:pt x="12174264" y="454738"/>
                  <a:pt x="12190793" y="454738"/>
                </a:cubicBezTo>
                <a:lnTo>
                  <a:pt x="12192000" y="455028"/>
                </a:lnTo>
                <a:lnTo>
                  <a:pt x="12192000" y="1450945"/>
                </a:lnTo>
                <a:lnTo>
                  <a:pt x="12149477" y="1463218"/>
                </a:lnTo>
                <a:cubicBezTo>
                  <a:pt x="12120550" y="1466559"/>
                  <a:pt x="12095757" y="1479917"/>
                  <a:pt x="12070965" y="1493275"/>
                </a:cubicBezTo>
                <a:cubicBezTo>
                  <a:pt x="12058571" y="1499953"/>
                  <a:pt x="12042043" y="1503290"/>
                  <a:pt x="12025515" y="1503290"/>
                </a:cubicBezTo>
                <a:cubicBezTo>
                  <a:pt x="11955267" y="1503290"/>
                  <a:pt x="11885024" y="1503290"/>
                  <a:pt x="11814781" y="1503290"/>
                </a:cubicBezTo>
                <a:cubicBezTo>
                  <a:pt x="11711477" y="1503290"/>
                  <a:pt x="11608178" y="1503290"/>
                  <a:pt x="11504878" y="1503290"/>
                </a:cubicBezTo>
                <a:cubicBezTo>
                  <a:pt x="11475956" y="1503290"/>
                  <a:pt x="11451164" y="1526668"/>
                  <a:pt x="11451164" y="1550042"/>
                </a:cubicBezTo>
                <a:cubicBezTo>
                  <a:pt x="11451164" y="1556721"/>
                  <a:pt x="11451164" y="1563400"/>
                  <a:pt x="11455293" y="1570078"/>
                </a:cubicBezTo>
                <a:cubicBezTo>
                  <a:pt x="11463558" y="1586778"/>
                  <a:pt x="11492485" y="1583436"/>
                  <a:pt x="11504878" y="1596794"/>
                </a:cubicBezTo>
                <a:cubicBezTo>
                  <a:pt x="11513142" y="1606813"/>
                  <a:pt x="11525536" y="1606813"/>
                  <a:pt x="11537935" y="1606813"/>
                </a:cubicBezTo>
                <a:cubicBezTo>
                  <a:pt x="11554463" y="1606813"/>
                  <a:pt x="11570992" y="1610151"/>
                  <a:pt x="11587520" y="1610151"/>
                </a:cubicBezTo>
                <a:cubicBezTo>
                  <a:pt x="11591654" y="1610151"/>
                  <a:pt x="11591654" y="1613488"/>
                  <a:pt x="11595784" y="1616830"/>
                </a:cubicBezTo>
                <a:cubicBezTo>
                  <a:pt x="11595784" y="1620168"/>
                  <a:pt x="11591654" y="1623508"/>
                  <a:pt x="11587520" y="1623508"/>
                </a:cubicBezTo>
                <a:cubicBezTo>
                  <a:pt x="11542070" y="1626850"/>
                  <a:pt x="11496614" y="1623508"/>
                  <a:pt x="11451164" y="1626850"/>
                </a:cubicBezTo>
                <a:cubicBezTo>
                  <a:pt x="11430501" y="1626850"/>
                  <a:pt x="11422237" y="1636867"/>
                  <a:pt x="11409843" y="1646882"/>
                </a:cubicBezTo>
                <a:cubicBezTo>
                  <a:pt x="11409843" y="1650224"/>
                  <a:pt x="11405709" y="1656903"/>
                  <a:pt x="11405709" y="1656903"/>
                </a:cubicBezTo>
                <a:cubicBezTo>
                  <a:pt x="11409843" y="1660240"/>
                  <a:pt x="11413978" y="1666919"/>
                  <a:pt x="11422237" y="1666919"/>
                </a:cubicBezTo>
                <a:cubicBezTo>
                  <a:pt x="11434636" y="1666919"/>
                  <a:pt x="11447029" y="1666919"/>
                  <a:pt x="11459428" y="1670260"/>
                </a:cubicBezTo>
                <a:cubicBezTo>
                  <a:pt x="11463558" y="1673598"/>
                  <a:pt x="11467692" y="1673598"/>
                  <a:pt x="11467692" y="1676939"/>
                </a:cubicBezTo>
                <a:cubicBezTo>
                  <a:pt x="11471822" y="1680276"/>
                  <a:pt x="11467692" y="1683618"/>
                  <a:pt x="11463558" y="1686955"/>
                </a:cubicBezTo>
                <a:cubicBezTo>
                  <a:pt x="11447029" y="1703654"/>
                  <a:pt x="11434636" y="1710333"/>
                  <a:pt x="11409843" y="1710333"/>
                </a:cubicBezTo>
                <a:cubicBezTo>
                  <a:pt x="11389180" y="1710333"/>
                  <a:pt x="11376787" y="1717011"/>
                  <a:pt x="11364393" y="1727028"/>
                </a:cubicBezTo>
                <a:cubicBezTo>
                  <a:pt x="11343730" y="1740385"/>
                  <a:pt x="11327202" y="1753743"/>
                  <a:pt x="11318937" y="1773779"/>
                </a:cubicBezTo>
                <a:cubicBezTo>
                  <a:pt x="11314808" y="1783795"/>
                  <a:pt x="11306544" y="1790474"/>
                  <a:pt x="11290015" y="1790474"/>
                </a:cubicBezTo>
                <a:cubicBezTo>
                  <a:pt x="11256959" y="1790474"/>
                  <a:pt x="11223902" y="1790474"/>
                  <a:pt x="11190846" y="1790474"/>
                </a:cubicBezTo>
                <a:cubicBezTo>
                  <a:pt x="11170183" y="1793816"/>
                  <a:pt x="11149525" y="1783795"/>
                  <a:pt x="11132997" y="1777121"/>
                </a:cubicBezTo>
                <a:cubicBezTo>
                  <a:pt x="11116468" y="1770438"/>
                  <a:pt x="11095810" y="1770438"/>
                  <a:pt x="11083412" y="1777121"/>
                </a:cubicBezTo>
                <a:cubicBezTo>
                  <a:pt x="11062754" y="1787137"/>
                  <a:pt x="11037961" y="1793816"/>
                  <a:pt x="11013169" y="1790474"/>
                </a:cubicBezTo>
                <a:cubicBezTo>
                  <a:pt x="10967714" y="1783795"/>
                  <a:pt x="10922263" y="1797153"/>
                  <a:pt x="10880943" y="1773779"/>
                </a:cubicBezTo>
                <a:cubicBezTo>
                  <a:pt x="10806570" y="1770438"/>
                  <a:pt x="10732193" y="1763759"/>
                  <a:pt x="10657816" y="1773779"/>
                </a:cubicBezTo>
                <a:cubicBezTo>
                  <a:pt x="10653681" y="1773779"/>
                  <a:pt x="10649551" y="1773779"/>
                  <a:pt x="10645417" y="1777121"/>
                </a:cubicBezTo>
                <a:cubicBezTo>
                  <a:pt x="10637153" y="1783795"/>
                  <a:pt x="10633023" y="1783795"/>
                  <a:pt x="10624759" y="1780458"/>
                </a:cubicBezTo>
                <a:cubicBezTo>
                  <a:pt x="10608231" y="1767100"/>
                  <a:pt x="10587573" y="1767100"/>
                  <a:pt x="10566910" y="1767100"/>
                </a:cubicBezTo>
                <a:cubicBezTo>
                  <a:pt x="10521460" y="1767100"/>
                  <a:pt x="10476004" y="1770438"/>
                  <a:pt x="10430554" y="1770438"/>
                </a:cubicBezTo>
                <a:cubicBezTo>
                  <a:pt x="10422290" y="1773779"/>
                  <a:pt x="10405762" y="1773779"/>
                  <a:pt x="10397497" y="1780458"/>
                </a:cubicBezTo>
                <a:cubicBezTo>
                  <a:pt x="10376834" y="1790474"/>
                  <a:pt x="10356177" y="1790474"/>
                  <a:pt x="10339648" y="1777121"/>
                </a:cubicBezTo>
                <a:cubicBezTo>
                  <a:pt x="10335519" y="1773779"/>
                  <a:pt x="10327250" y="1773779"/>
                  <a:pt x="10318990" y="1780458"/>
                </a:cubicBezTo>
                <a:cubicBezTo>
                  <a:pt x="10302462" y="1790474"/>
                  <a:pt x="10290063" y="1793816"/>
                  <a:pt x="10273535" y="1783795"/>
                </a:cubicBezTo>
                <a:cubicBezTo>
                  <a:pt x="10240478" y="1767100"/>
                  <a:pt x="10203292" y="1767100"/>
                  <a:pt x="10170236" y="1783795"/>
                </a:cubicBezTo>
                <a:cubicBezTo>
                  <a:pt x="10161972" y="1787137"/>
                  <a:pt x="10157842" y="1790474"/>
                  <a:pt x="10149578" y="1783795"/>
                </a:cubicBezTo>
                <a:cubicBezTo>
                  <a:pt x="10124785" y="1763759"/>
                  <a:pt x="10095858" y="1767100"/>
                  <a:pt x="10071071" y="1783795"/>
                </a:cubicBezTo>
                <a:cubicBezTo>
                  <a:pt x="10062802" y="1787137"/>
                  <a:pt x="10054538" y="1790474"/>
                  <a:pt x="10050408" y="1797153"/>
                </a:cubicBezTo>
                <a:cubicBezTo>
                  <a:pt x="10033880" y="1813852"/>
                  <a:pt x="10021486" y="1803832"/>
                  <a:pt x="10009087" y="1797153"/>
                </a:cubicBezTo>
                <a:cubicBezTo>
                  <a:pt x="10000823" y="1793816"/>
                  <a:pt x="9984295" y="1793816"/>
                  <a:pt x="9976031" y="1800494"/>
                </a:cubicBezTo>
                <a:cubicBezTo>
                  <a:pt x="9967767" y="1803832"/>
                  <a:pt x="9963637" y="1807173"/>
                  <a:pt x="9955368" y="1803832"/>
                </a:cubicBezTo>
                <a:cubicBezTo>
                  <a:pt x="9909918" y="1783795"/>
                  <a:pt x="9860333" y="1793816"/>
                  <a:pt x="9810748" y="1797153"/>
                </a:cubicBezTo>
                <a:cubicBezTo>
                  <a:pt x="9806618" y="1797153"/>
                  <a:pt x="9802489" y="1797153"/>
                  <a:pt x="9798354" y="1800494"/>
                </a:cubicBezTo>
                <a:cubicBezTo>
                  <a:pt x="9790090" y="1803832"/>
                  <a:pt x="9785960" y="1803832"/>
                  <a:pt x="9777691" y="1800494"/>
                </a:cubicBezTo>
                <a:cubicBezTo>
                  <a:pt x="9773562" y="1793816"/>
                  <a:pt x="9765297" y="1790474"/>
                  <a:pt x="9757033" y="1790474"/>
                </a:cubicBezTo>
                <a:cubicBezTo>
                  <a:pt x="9740505" y="1790474"/>
                  <a:pt x="9723977" y="1790474"/>
                  <a:pt x="9707448" y="1790474"/>
                </a:cubicBezTo>
                <a:cubicBezTo>
                  <a:pt x="9686791" y="1790474"/>
                  <a:pt x="9666128" y="1787137"/>
                  <a:pt x="9645470" y="1790474"/>
                </a:cubicBezTo>
                <a:cubicBezTo>
                  <a:pt x="9628941" y="1793816"/>
                  <a:pt x="9612413" y="1807173"/>
                  <a:pt x="9591750" y="1810511"/>
                </a:cubicBezTo>
                <a:cubicBezTo>
                  <a:pt x="9587621" y="1810511"/>
                  <a:pt x="9587621" y="1813852"/>
                  <a:pt x="9583486" y="1817189"/>
                </a:cubicBezTo>
                <a:cubicBezTo>
                  <a:pt x="9583486" y="1820531"/>
                  <a:pt x="9587621" y="1823868"/>
                  <a:pt x="9591750" y="1823868"/>
                </a:cubicBezTo>
                <a:cubicBezTo>
                  <a:pt x="9616548" y="1827210"/>
                  <a:pt x="9628941" y="1840567"/>
                  <a:pt x="9633071" y="1857262"/>
                </a:cubicBezTo>
                <a:cubicBezTo>
                  <a:pt x="9637206" y="1863941"/>
                  <a:pt x="9657869" y="1867283"/>
                  <a:pt x="9666128" y="1863941"/>
                </a:cubicBezTo>
                <a:cubicBezTo>
                  <a:pt x="9674392" y="1860603"/>
                  <a:pt x="9678526" y="1857262"/>
                  <a:pt x="9686791" y="1853925"/>
                </a:cubicBezTo>
                <a:cubicBezTo>
                  <a:pt x="9703319" y="1843905"/>
                  <a:pt x="9719847" y="1847246"/>
                  <a:pt x="9736375" y="1847246"/>
                </a:cubicBezTo>
                <a:cubicBezTo>
                  <a:pt x="9761168" y="1863941"/>
                  <a:pt x="9798354" y="1870620"/>
                  <a:pt x="9819012" y="1890656"/>
                </a:cubicBezTo>
                <a:cubicBezTo>
                  <a:pt x="9823146" y="1890656"/>
                  <a:pt x="9823146" y="1893997"/>
                  <a:pt x="9827276" y="1897335"/>
                </a:cubicBezTo>
                <a:cubicBezTo>
                  <a:pt x="9819012" y="1900676"/>
                  <a:pt x="9814882" y="1907355"/>
                  <a:pt x="9806618" y="1907355"/>
                </a:cubicBezTo>
                <a:cubicBezTo>
                  <a:pt x="9794225" y="1910692"/>
                  <a:pt x="9781826" y="1910692"/>
                  <a:pt x="9769427" y="1910692"/>
                </a:cubicBezTo>
                <a:cubicBezTo>
                  <a:pt x="9757033" y="1910692"/>
                  <a:pt x="9744640" y="1910692"/>
                  <a:pt x="9732241" y="1917371"/>
                </a:cubicBezTo>
                <a:cubicBezTo>
                  <a:pt x="9703319" y="1930729"/>
                  <a:pt x="9678526" y="1930729"/>
                  <a:pt x="9649604" y="1917371"/>
                </a:cubicBezTo>
                <a:cubicBezTo>
                  <a:pt x="9620677" y="1904014"/>
                  <a:pt x="9583486" y="1904014"/>
                  <a:pt x="9554564" y="1917371"/>
                </a:cubicBezTo>
                <a:cubicBezTo>
                  <a:pt x="9533906" y="1924050"/>
                  <a:pt x="9513243" y="1927391"/>
                  <a:pt x="9496715" y="1914030"/>
                </a:cubicBezTo>
                <a:cubicBezTo>
                  <a:pt x="9488451" y="1907355"/>
                  <a:pt x="9471928" y="1904014"/>
                  <a:pt x="9463658" y="1910692"/>
                </a:cubicBezTo>
                <a:cubicBezTo>
                  <a:pt x="9443001" y="1924050"/>
                  <a:pt x="9422343" y="1930729"/>
                  <a:pt x="9397545" y="1914030"/>
                </a:cubicBezTo>
                <a:cubicBezTo>
                  <a:pt x="9393416" y="1914030"/>
                  <a:pt x="9389286" y="1910692"/>
                  <a:pt x="9385152" y="1910692"/>
                </a:cubicBezTo>
                <a:cubicBezTo>
                  <a:pt x="9323173" y="1910692"/>
                  <a:pt x="9261189" y="1910692"/>
                  <a:pt x="9199211" y="1910692"/>
                </a:cubicBezTo>
                <a:cubicBezTo>
                  <a:pt x="9186817" y="1910692"/>
                  <a:pt x="9178548" y="1924050"/>
                  <a:pt x="9166154" y="1924050"/>
                </a:cubicBezTo>
                <a:cubicBezTo>
                  <a:pt x="9153760" y="1924050"/>
                  <a:pt x="9145496" y="1910692"/>
                  <a:pt x="9133098" y="1910692"/>
                </a:cubicBezTo>
                <a:cubicBezTo>
                  <a:pt x="8996742" y="1910692"/>
                  <a:pt x="8864515" y="1910692"/>
                  <a:pt x="8732294" y="1910692"/>
                </a:cubicBezTo>
                <a:cubicBezTo>
                  <a:pt x="8719895" y="1910692"/>
                  <a:pt x="8711631" y="1914030"/>
                  <a:pt x="8699237" y="1920709"/>
                </a:cubicBezTo>
                <a:cubicBezTo>
                  <a:pt x="8690973" y="1924050"/>
                  <a:pt x="8686844" y="1920709"/>
                  <a:pt x="8678574" y="1917371"/>
                </a:cubicBezTo>
                <a:cubicBezTo>
                  <a:pt x="8670310" y="1910692"/>
                  <a:pt x="8657916" y="1907355"/>
                  <a:pt x="8645523" y="1907355"/>
                </a:cubicBezTo>
                <a:cubicBezTo>
                  <a:pt x="8616596" y="1904014"/>
                  <a:pt x="8587674" y="1907355"/>
                  <a:pt x="8558747" y="1904014"/>
                </a:cubicBezTo>
                <a:cubicBezTo>
                  <a:pt x="8542218" y="1900676"/>
                  <a:pt x="8529825" y="1890656"/>
                  <a:pt x="8513296" y="1890656"/>
                </a:cubicBezTo>
                <a:cubicBezTo>
                  <a:pt x="8500903" y="1890656"/>
                  <a:pt x="8492633" y="1900676"/>
                  <a:pt x="8480240" y="1900676"/>
                </a:cubicBezTo>
                <a:cubicBezTo>
                  <a:pt x="8451318" y="1904014"/>
                  <a:pt x="8422391" y="1904014"/>
                  <a:pt x="8397598" y="1887319"/>
                </a:cubicBezTo>
                <a:cubicBezTo>
                  <a:pt x="8381070" y="1877298"/>
                  <a:pt x="8360412" y="1877298"/>
                  <a:pt x="8348013" y="1883978"/>
                </a:cubicBezTo>
                <a:cubicBezTo>
                  <a:pt x="8327356" y="1893997"/>
                  <a:pt x="8302563" y="1900676"/>
                  <a:pt x="8281900" y="1910692"/>
                </a:cubicBezTo>
                <a:cubicBezTo>
                  <a:pt x="8265377" y="1917371"/>
                  <a:pt x="8248844" y="1930729"/>
                  <a:pt x="8252978" y="1950765"/>
                </a:cubicBezTo>
                <a:cubicBezTo>
                  <a:pt x="8252978" y="1960781"/>
                  <a:pt x="8252978" y="1970802"/>
                  <a:pt x="8252978" y="1980817"/>
                </a:cubicBezTo>
                <a:cubicBezTo>
                  <a:pt x="8248844" y="1997516"/>
                  <a:pt x="8219923" y="2020890"/>
                  <a:pt x="8203393" y="2020890"/>
                </a:cubicBezTo>
                <a:cubicBezTo>
                  <a:pt x="8162074" y="2020890"/>
                  <a:pt x="8120753" y="2020890"/>
                  <a:pt x="8079437" y="2020890"/>
                </a:cubicBezTo>
                <a:cubicBezTo>
                  <a:pt x="8075301" y="2020890"/>
                  <a:pt x="8062904" y="2024232"/>
                  <a:pt x="8058774" y="2027569"/>
                </a:cubicBezTo>
                <a:cubicBezTo>
                  <a:pt x="8042245" y="2040927"/>
                  <a:pt x="8029851" y="2054284"/>
                  <a:pt x="8013319" y="2064301"/>
                </a:cubicBezTo>
                <a:cubicBezTo>
                  <a:pt x="8000925" y="2070983"/>
                  <a:pt x="7984396" y="2077662"/>
                  <a:pt x="7967869" y="2077662"/>
                </a:cubicBezTo>
                <a:cubicBezTo>
                  <a:pt x="7910019" y="2077662"/>
                  <a:pt x="7852175" y="2081000"/>
                  <a:pt x="7794326" y="2081000"/>
                </a:cubicBezTo>
                <a:cubicBezTo>
                  <a:pt x="7777797" y="2081000"/>
                  <a:pt x="7761269" y="2084336"/>
                  <a:pt x="7748871" y="2094357"/>
                </a:cubicBezTo>
                <a:cubicBezTo>
                  <a:pt x="7736477" y="2101036"/>
                  <a:pt x="7724079" y="2101036"/>
                  <a:pt x="7711685" y="2101036"/>
                </a:cubicBezTo>
                <a:cubicBezTo>
                  <a:pt x="7695156" y="2101036"/>
                  <a:pt x="7674499" y="2097695"/>
                  <a:pt x="7662099" y="2104373"/>
                </a:cubicBezTo>
                <a:cubicBezTo>
                  <a:pt x="7616650" y="2124409"/>
                  <a:pt x="7567064" y="2117731"/>
                  <a:pt x="7517480" y="2114393"/>
                </a:cubicBezTo>
                <a:cubicBezTo>
                  <a:pt x="7509215" y="2114393"/>
                  <a:pt x="7505081" y="2107714"/>
                  <a:pt x="7496817" y="2104373"/>
                </a:cubicBezTo>
                <a:cubicBezTo>
                  <a:pt x="7488558" y="2101036"/>
                  <a:pt x="7476158" y="2097695"/>
                  <a:pt x="7472025" y="2101036"/>
                </a:cubicBezTo>
                <a:cubicBezTo>
                  <a:pt x="7430709" y="2121072"/>
                  <a:pt x="7385252" y="2114393"/>
                  <a:pt x="7339803" y="2117731"/>
                </a:cubicBezTo>
                <a:cubicBezTo>
                  <a:pt x="7323274" y="2121072"/>
                  <a:pt x="7310876" y="2124409"/>
                  <a:pt x="7294353" y="2131088"/>
                </a:cubicBezTo>
                <a:cubicBezTo>
                  <a:pt x="7273690" y="2137767"/>
                  <a:pt x="7269554" y="2137767"/>
                  <a:pt x="7253031" y="2111052"/>
                </a:cubicBezTo>
                <a:cubicBezTo>
                  <a:pt x="7248898" y="2104373"/>
                  <a:pt x="7244767" y="2101036"/>
                  <a:pt x="7236498" y="2104373"/>
                </a:cubicBezTo>
                <a:cubicBezTo>
                  <a:pt x="7219975" y="2114393"/>
                  <a:pt x="7199312" y="2121072"/>
                  <a:pt x="7178655" y="2117731"/>
                </a:cubicBezTo>
                <a:cubicBezTo>
                  <a:pt x="7137333" y="2111052"/>
                  <a:pt x="7104277" y="2124409"/>
                  <a:pt x="7071220" y="2137767"/>
                </a:cubicBezTo>
                <a:cubicBezTo>
                  <a:pt x="7062957" y="2141108"/>
                  <a:pt x="7058826" y="2144446"/>
                  <a:pt x="7050557" y="2147787"/>
                </a:cubicBezTo>
                <a:cubicBezTo>
                  <a:pt x="7021636" y="2161145"/>
                  <a:pt x="6996844" y="2157803"/>
                  <a:pt x="6972051" y="2141108"/>
                </a:cubicBezTo>
                <a:cubicBezTo>
                  <a:pt x="6955522" y="2127751"/>
                  <a:pt x="6934865" y="2131088"/>
                  <a:pt x="6914202" y="2137767"/>
                </a:cubicBezTo>
                <a:cubicBezTo>
                  <a:pt x="6901809" y="2144446"/>
                  <a:pt x="6893544" y="2151125"/>
                  <a:pt x="6885279" y="2157803"/>
                </a:cubicBezTo>
                <a:cubicBezTo>
                  <a:pt x="6872886" y="2167824"/>
                  <a:pt x="6856352" y="2174502"/>
                  <a:pt x="6839829" y="2174502"/>
                </a:cubicBezTo>
                <a:cubicBezTo>
                  <a:pt x="6777846" y="2174502"/>
                  <a:pt x="6715868" y="2174502"/>
                  <a:pt x="6653888" y="2174502"/>
                </a:cubicBezTo>
                <a:cubicBezTo>
                  <a:pt x="6633225" y="2174502"/>
                  <a:pt x="6608433" y="2171161"/>
                  <a:pt x="6591905" y="2177839"/>
                </a:cubicBezTo>
                <a:cubicBezTo>
                  <a:pt x="6571247" y="2184519"/>
                  <a:pt x="6558853" y="2187860"/>
                  <a:pt x="6538190" y="2177839"/>
                </a:cubicBezTo>
                <a:cubicBezTo>
                  <a:pt x="6521663" y="2171161"/>
                  <a:pt x="6509269" y="2167824"/>
                  <a:pt x="6492735" y="2161145"/>
                </a:cubicBezTo>
                <a:cubicBezTo>
                  <a:pt x="6467947" y="2151125"/>
                  <a:pt x="6451420" y="2151125"/>
                  <a:pt x="6422492" y="2164482"/>
                </a:cubicBezTo>
                <a:cubicBezTo>
                  <a:pt x="6397700" y="2177839"/>
                  <a:pt x="6377042" y="2177839"/>
                  <a:pt x="6352249" y="2164482"/>
                </a:cubicBezTo>
                <a:cubicBezTo>
                  <a:pt x="6343985" y="2161145"/>
                  <a:pt x="6331592" y="2151125"/>
                  <a:pt x="6319193" y="2154466"/>
                </a:cubicBezTo>
                <a:cubicBezTo>
                  <a:pt x="6277873" y="2164482"/>
                  <a:pt x="6248950" y="2151125"/>
                  <a:pt x="6224157" y="2124409"/>
                </a:cubicBezTo>
                <a:cubicBezTo>
                  <a:pt x="6215893" y="2117731"/>
                  <a:pt x="6211760" y="2117731"/>
                  <a:pt x="6203494" y="2124409"/>
                </a:cubicBezTo>
                <a:cubicBezTo>
                  <a:pt x="6191101" y="2134430"/>
                  <a:pt x="6178703" y="2141108"/>
                  <a:pt x="6166308" y="2151125"/>
                </a:cubicBezTo>
                <a:cubicBezTo>
                  <a:pt x="6158044" y="2154466"/>
                  <a:pt x="6141517" y="2154466"/>
                  <a:pt x="6133252" y="2147787"/>
                </a:cubicBezTo>
                <a:cubicBezTo>
                  <a:pt x="6124989" y="2141108"/>
                  <a:pt x="6112589" y="2134430"/>
                  <a:pt x="6104331" y="2127751"/>
                </a:cubicBezTo>
                <a:cubicBezTo>
                  <a:pt x="6096066" y="2121072"/>
                  <a:pt x="6083669" y="2114393"/>
                  <a:pt x="6071269" y="2114393"/>
                </a:cubicBezTo>
                <a:cubicBezTo>
                  <a:pt x="6042346" y="2114393"/>
                  <a:pt x="6013425" y="2114393"/>
                  <a:pt x="5984498" y="2114393"/>
                </a:cubicBezTo>
                <a:cubicBezTo>
                  <a:pt x="5972103" y="2114393"/>
                  <a:pt x="5959710" y="2117731"/>
                  <a:pt x="5951440" y="2124409"/>
                </a:cubicBezTo>
                <a:cubicBezTo>
                  <a:pt x="5926648" y="2141108"/>
                  <a:pt x="5901862" y="2134430"/>
                  <a:pt x="5872934" y="2121072"/>
                </a:cubicBezTo>
                <a:cubicBezTo>
                  <a:pt x="5848141" y="2107714"/>
                  <a:pt x="5823350" y="2111052"/>
                  <a:pt x="5802692" y="2124409"/>
                </a:cubicBezTo>
                <a:cubicBezTo>
                  <a:pt x="5798556" y="2127751"/>
                  <a:pt x="5790292" y="2131088"/>
                  <a:pt x="5786163" y="2137767"/>
                </a:cubicBezTo>
                <a:cubicBezTo>
                  <a:pt x="5777899" y="2147787"/>
                  <a:pt x="5761371" y="2154466"/>
                  <a:pt x="5744844" y="2154466"/>
                </a:cubicBezTo>
                <a:cubicBezTo>
                  <a:pt x="5724185" y="2151125"/>
                  <a:pt x="5703522" y="2154466"/>
                  <a:pt x="5682863" y="2151125"/>
                </a:cubicBezTo>
                <a:cubicBezTo>
                  <a:pt x="5649807" y="2144446"/>
                  <a:pt x="5620881" y="2131088"/>
                  <a:pt x="5587828" y="2134430"/>
                </a:cubicBezTo>
                <a:cubicBezTo>
                  <a:pt x="5554767" y="2137767"/>
                  <a:pt x="5521711" y="2134430"/>
                  <a:pt x="5488659" y="2134430"/>
                </a:cubicBezTo>
                <a:cubicBezTo>
                  <a:pt x="5463866" y="2134430"/>
                  <a:pt x="5443204" y="2127751"/>
                  <a:pt x="5418411" y="2117731"/>
                </a:cubicBezTo>
                <a:cubicBezTo>
                  <a:pt x="5401888" y="2111052"/>
                  <a:pt x="5381224" y="2114393"/>
                  <a:pt x="5360568" y="2124409"/>
                </a:cubicBezTo>
                <a:cubicBezTo>
                  <a:pt x="5335771" y="2137767"/>
                  <a:pt x="5306849" y="2137767"/>
                  <a:pt x="5282055" y="2121072"/>
                </a:cubicBezTo>
                <a:cubicBezTo>
                  <a:pt x="5269662" y="2114393"/>
                  <a:pt x="5257262" y="2114393"/>
                  <a:pt x="5244869" y="2114393"/>
                </a:cubicBezTo>
                <a:cubicBezTo>
                  <a:pt x="5162228" y="2114393"/>
                  <a:pt x="5079586" y="2114393"/>
                  <a:pt x="4996946" y="2114393"/>
                </a:cubicBezTo>
                <a:cubicBezTo>
                  <a:pt x="4980415" y="2114393"/>
                  <a:pt x="4963888" y="2111052"/>
                  <a:pt x="4947365" y="2111052"/>
                </a:cubicBezTo>
                <a:cubicBezTo>
                  <a:pt x="4934965" y="2111052"/>
                  <a:pt x="4914303" y="2091015"/>
                  <a:pt x="4914303" y="2084336"/>
                </a:cubicBezTo>
                <a:cubicBezTo>
                  <a:pt x="4914303" y="2077662"/>
                  <a:pt x="4926704" y="2074321"/>
                  <a:pt x="4926704" y="2067641"/>
                </a:cubicBezTo>
                <a:cubicBezTo>
                  <a:pt x="4926704" y="2050946"/>
                  <a:pt x="4897781" y="2034248"/>
                  <a:pt x="4872983" y="2034248"/>
                </a:cubicBezTo>
                <a:cubicBezTo>
                  <a:pt x="4860588" y="2034248"/>
                  <a:pt x="4848194" y="2034248"/>
                  <a:pt x="4835796" y="2040927"/>
                </a:cubicBezTo>
                <a:cubicBezTo>
                  <a:pt x="4806873" y="2057626"/>
                  <a:pt x="4773819" y="2054284"/>
                  <a:pt x="4740763" y="2047605"/>
                </a:cubicBezTo>
                <a:cubicBezTo>
                  <a:pt x="4715969" y="2027569"/>
                  <a:pt x="4687043" y="2030910"/>
                  <a:pt x="4658120" y="2030910"/>
                </a:cubicBezTo>
                <a:cubicBezTo>
                  <a:pt x="4625064" y="2030910"/>
                  <a:pt x="4587878" y="2030910"/>
                  <a:pt x="4563083" y="2010875"/>
                </a:cubicBezTo>
                <a:cubicBezTo>
                  <a:pt x="4530027" y="2010875"/>
                  <a:pt x="4505235" y="1997516"/>
                  <a:pt x="4480443" y="1990838"/>
                </a:cubicBezTo>
                <a:cubicBezTo>
                  <a:pt x="4459786" y="1987496"/>
                  <a:pt x="4439121" y="1990838"/>
                  <a:pt x="4418465" y="1987496"/>
                </a:cubicBezTo>
                <a:cubicBezTo>
                  <a:pt x="4406067" y="1987496"/>
                  <a:pt x="4397802" y="1980817"/>
                  <a:pt x="4385408" y="1977480"/>
                </a:cubicBezTo>
                <a:cubicBezTo>
                  <a:pt x="4352351" y="2000854"/>
                  <a:pt x="4315160" y="1990838"/>
                  <a:pt x="4277975" y="1990838"/>
                </a:cubicBezTo>
                <a:cubicBezTo>
                  <a:pt x="4244918" y="1990838"/>
                  <a:pt x="4211861" y="1990838"/>
                  <a:pt x="4178803" y="1990838"/>
                </a:cubicBezTo>
                <a:cubicBezTo>
                  <a:pt x="4154016" y="1990838"/>
                  <a:pt x="4137482" y="1970802"/>
                  <a:pt x="4108560" y="1974139"/>
                </a:cubicBezTo>
                <a:cubicBezTo>
                  <a:pt x="4083768" y="1977480"/>
                  <a:pt x="4058975" y="1974139"/>
                  <a:pt x="4034183" y="1974139"/>
                </a:cubicBezTo>
                <a:cubicBezTo>
                  <a:pt x="4009390" y="1974139"/>
                  <a:pt x="3984598" y="1974139"/>
                  <a:pt x="3959811" y="1974139"/>
                </a:cubicBezTo>
                <a:cubicBezTo>
                  <a:pt x="3951541" y="1970802"/>
                  <a:pt x="3893697" y="1950765"/>
                  <a:pt x="3881299" y="1944086"/>
                </a:cubicBezTo>
                <a:cubicBezTo>
                  <a:pt x="3864770" y="1930729"/>
                  <a:pt x="3856506" y="1917371"/>
                  <a:pt x="3852377" y="1900676"/>
                </a:cubicBezTo>
                <a:cubicBezTo>
                  <a:pt x="3852377" y="1897335"/>
                  <a:pt x="3848242" y="1893997"/>
                  <a:pt x="3844113" y="1893997"/>
                </a:cubicBezTo>
                <a:cubicBezTo>
                  <a:pt x="3839978" y="1893997"/>
                  <a:pt x="3835848" y="1897335"/>
                  <a:pt x="3831719" y="1897335"/>
                </a:cubicBezTo>
                <a:cubicBezTo>
                  <a:pt x="3819320" y="1904014"/>
                  <a:pt x="3811056" y="1910692"/>
                  <a:pt x="3798658" y="1910692"/>
                </a:cubicBezTo>
                <a:cubicBezTo>
                  <a:pt x="3773865" y="1910692"/>
                  <a:pt x="3749077" y="1910692"/>
                  <a:pt x="3724285" y="1910692"/>
                </a:cubicBezTo>
                <a:cubicBezTo>
                  <a:pt x="3687094" y="1910692"/>
                  <a:pt x="3649907" y="1900676"/>
                  <a:pt x="3616851" y="1924050"/>
                </a:cubicBezTo>
                <a:cubicBezTo>
                  <a:pt x="3608587" y="1927391"/>
                  <a:pt x="3600322" y="1927391"/>
                  <a:pt x="3592059" y="1927391"/>
                </a:cubicBezTo>
                <a:cubicBezTo>
                  <a:pt x="3542473" y="1927391"/>
                  <a:pt x="3278026" y="1967460"/>
                  <a:pt x="3232575" y="1967460"/>
                </a:cubicBezTo>
                <a:cubicBezTo>
                  <a:pt x="3207778" y="1967460"/>
                  <a:pt x="3191255" y="1950765"/>
                  <a:pt x="3162328" y="1950765"/>
                </a:cubicBezTo>
                <a:cubicBezTo>
                  <a:pt x="3121007" y="1954103"/>
                  <a:pt x="3079686" y="1950765"/>
                  <a:pt x="3038365" y="1950765"/>
                </a:cubicBezTo>
                <a:cubicBezTo>
                  <a:pt x="3013573" y="1950765"/>
                  <a:pt x="2988785" y="1950765"/>
                  <a:pt x="2963993" y="1950765"/>
                </a:cubicBezTo>
                <a:cubicBezTo>
                  <a:pt x="2955729" y="1947423"/>
                  <a:pt x="2943330" y="1947423"/>
                  <a:pt x="2939201" y="1944086"/>
                </a:cubicBezTo>
                <a:cubicBezTo>
                  <a:pt x="2918538" y="1930729"/>
                  <a:pt x="2893745" y="1930729"/>
                  <a:pt x="2868953" y="1930729"/>
                </a:cubicBezTo>
                <a:cubicBezTo>
                  <a:pt x="2806974" y="1930729"/>
                  <a:pt x="2744991" y="1930729"/>
                  <a:pt x="2683012" y="1930729"/>
                </a:cubicBezTo>
                <a:cubicBezTo>
                  <a:pt x="2662354" y="1930729"/>
                  <a:pt x="2645826" y="1924050"/>
                  <a:pt x="2625168" y="1917371"/>
                </a:cubicBezTo>
                <a:cubicBezTo>
                  <a:pt x="2592111" y="1904014"/>
                  <a:pt x="2559055" y="1907355"/>
                  <a:pt x="2530128" y="1920709"/>
                </a:cubicBezTo>
                <a:cubicBezTo>
                  <a:pt x="2521864" y="1924050"/>
                  <a:pt x="2517734" y="1927391"/>
                  <a:pt x="2509470" y="1920709"/>
                </a:cubicBezTo>
                <a:cubicBezTo>
                  <a:pt x="2501206" y="1914030"/>
                  <a:pt x="2488807" y="1910692"/>
                  <a:pt x="2476413" y="1910692"/>
                </a:cubicBezTo>
                <a:cubicBezTo>
                  <a:pt x="2397906" y="1910692"/>
                  <a:pt x="2319394" y="1907355"/>
                  <a:pt x="2240888" y="1907355"/>
                </a:cubicBezTo>
                <a:cubicBezTo>
                  <a:pt x="2207831" y="1907355"/>
                  <a:pt x="2174774" y="1910692"/>
                  <a:pt x="2145852" y="1890656"/>
                </a:cubicBezTo>
                <a:cubicBezTo>
                  <a:pt x="2141718" y="1887319"/>
                  <a:pt x="2125189" y="1887319"/>
                  <a:pt x="2121060" y="1890656"/>
                </a:cubicBezTo>
                <a:cubicBezTo>
                  <a:pt x="2104532" y="1900676"/>
                  <a:pt x="2083869" y="1907355"/>
                  <a:pt x="2063211" y="1907355"/>
                </a:cubicBezTo>
                <a:cubicBezTo>
                  <a:pt x="2042553" y="1904014"/>
                  <a:pt x="2026025" y="1904014"/>
                  <a:pt x="2005362" y="1893997"/>
                </a:cubicBezTo>
                <a:cubicBezTo>
                  <a:pt x="1984704" y="1880640"/>
                  <a:pt x="1964041" y="1873961"/>
                  <a:pt x="1939249" y="1867283"/>
                </a:cubicBezTo>
                <a:cubicBezTo>
                  <a:pt x="1922720" y="1863941"/>
                  <a:pt x="1906192" y="1860603"/>
                  <a:pt x="1889664" y="1870620"/>
                </a:cubicBezTo>
                <a:cubicBezTo>
                  <a:pt x="1877270" y="1877298"/>
                  <a:pt x="1860742" y="1883978"/>
                  <a:pt x="1844213" y="1883978"/>
                </a:cubicBezTo>
                <a:cubicBezTo>
                  <a:pt x="1802892" y="1883978"/>
                  <a:pt x="1761572" y="1883978"/>
                  <a:pt x="1720251" y="1883978"/>
                </a:cubicBezTo>
                <a:cubicBezTo>
                  <a:pt x="1703723" y="1883978"/>
                  <a:pt x="1687195" y="1887319"/>
                  <a:pt x="1674801" y="1897335"/>
                </a:cubicBezTo>
                <a:cubicBezTo>
                  <a:pt x="1658272" y="1910692"/>
                  <a:pt x="1637610" y="1904014"/>
                  <a:pt x="1616952" y="1910692"/>
                </a:cubicBezTo>
                <a:cubicBezTo>
                  <a:pt x="1592159" y="1920709"/>
                  <a:pt x="1592159" y="1917371"/>
                  <a:pt x="1575631" y="1907355"/>
                </a:cubicBezTo>
                <a:cubicBezTo>
                  <a:pt x="1567367" y="1900676"/>
                  <a:pt x="1559103" y="1890656"/>
                  <a:pt x="1546709" y="1887319"/>
                </a:cubicBezTo>
                <a:cubicBezTo>
                  <a:pt x="1538445" y="1883978"/>
                  <a:pt x="1526046" y="1883978"/>
                  <a:pt x="1521917" y="1887319"/>
                </a:cubicBezTo>
                <a:cubicBezTo>
                  <a:pt x="1501254" y="1900676"/>
                  <a:pt x="1476461" y="1904014"/>
                  <a:pt x="1451669" y="1904014"/>
                </a:cubicBezTo>
                <a:cubicBezTo>
                  <a:pt x="1439275" y="1904014"/>
                  <a:pt x="1422747" y="1904014"/>
                  <a:pt x="1414483" y="1910692"/>
                </a:cubicBezTo>
                <a:cubicBezTo>
                  <a:pt x="1393825" y="1924050"/>
                  <a:pt x="1369032" y="1924050"/>
                  <a:pt x="1344240" y="1924050"/>
                </a:cubicBezTo>
                <a:cubicBezTo>
                  <a:pt x="1323577" y="1927391"/>
                  <a:pt x="1311183" y="1920709"/>
                  <a:pt x="1298784" y="1910692"/>
                </a:cubicBezTo>
                <a:cubicBezTo>
                  <a:pt x="1290520" y="1904014"/>
                  <a:pt x="1282256" y="1897335"/>
                  <a:pt x="1273992" y="1890656"/>
                </a:cubicBezTo>
                <a:cubicBezTo>
                  <a:pt x="1265728" y="1883978"/>
                  <a:pt x="1249200" y="1883978"/>
                  <a:pt x="1240941" y="1890656"/>
                </a:cubicBezTo>
                <a:cubicBezTo>
                  <a:pt x="1220277" y="1904014"/>
                  <a:pt x="1199620" y="1917371"/>
                  <a:pt x="1203749" y="1940745"/>
                </a:cubicBezTo>
                <a:cubicBezTo>
                  <a:pt x="1203749" y="1950765"/>
                  <a:pt x="1203749" y="1960781"/>
                  <a:pt x="1203749" y="1970802"/>
                </a:cubicBezTo>
                <a:cubicBezTo>
                  <a:pt x="1203749" y="1977480"/>
                  <a:pt x="1195485" y="1987496"/>
                  <a:pt x="1191356" y="1987496"/>
                </a:cubicBezTo>
                <a:cubicBezTo>
                  <a:pt x="1166563" y="1987496"/>
                  <a:pt x="1154164" y="2000854"/>
                  <a:pt x="1137636" y="2010875"/>
                </a:cubicBezTo>
                <a:cubicBezTo>
                  <a:pt x="1125242" y="2020890"/>
                  <a:pt x="1125242" y="2020890"/>
                  <a:pt x="1096315" y="2014211"/>
                </a:cubicBezTo>
                <a:cubicBezTo>
                  <a:pt x="1088051" y="2010875"/>
                  <a:pt x="1079787" y="2007533"/>
                  <a:pt x="1071523" y="2007533"/>
                </a:cubicBezTo>
                <a:cubicBezTo>
                  <a:pt x="1055000" y="2004195"/>
                  <a:pt x="1038466" y="2004195"/>
                  <a:pt x="1021943" y="2004195"/>
                </a:cubicBezTo>
                <a:cubicBezTo>
                  <a:pt x="993016" y="2000854"/>
                  <a:pt x="959959" y="2010875"/>
                  <a:pt x="935167" y="1997516"/>
                </a:cubicBezTo>
                <a:cubicBezTo>
                  <a:pt x="914509" y="1987496"/>
                  <a:pt x="897981" y="1970802"/>
                  <a:pt x="881453" y="1957444"/>
                </a:cubicBezTo>
                <a:cubicBezTo>
                  <a:pt x="848396" y="1927391"/>
                  <a:pt x="811210" y="1900676"/>
                  <a:pt x="790547" y="1863941"/>
                </a:cubicBezTo>
                <a:cubicBezTo>
                  <a:pt x="782283" y="1847246"/>
                  <a:pt x="757490" y="1837225"/>
                  <a:pt x="740962" y="1820531"/>
                </a:cubicBezTo>
                <a:cubicBezTo>
                  <a:pt x="736833" y="1817189"/>
                  <a:pt x="732698" y="1810511"/>
                  <a:pt x="732698" y="1803832"/>
                </a:cubicBezTo>
                <a:cubicBezTo>
                  <a:pt x="736833" y="1777121"/>
                  <a:pt x="716169" y="1763759"/>
                  <a:pt x="691377" y="1747064"/>
                </a:cubicBezTo>
                <a:cubicBezTo>
                  <a:pt x="683118" y="1743727"/>
                  <a:pt x="678983" y="1737048"/>
                  <a:pt x="670719" y="1733706"/>
                </a:cubicBezTo>
                <a:cubicBezTo>
                  <a:pt x="666585" y="1730369"/>
                  <a:pt x="658326" y="1727028"/>
                  <a:pt x="650056" y="1727028"/>
                </a:cubicBezTo>
                <a:cubicBezTo>
                  <a:pt x="600476" y="1727028"/>
                  <a:pt x="550892" y="1727028"/>
                  <a:pt x="501307" y="1727028"/>
                </a:cubicBezTo>
                <a:cubicBezTo>
                  <a:pt x="497177" y="1727028"/>
                  <a:pt x="493042" y="1727028"/>
                  <a:pt x="488908" y="1730369"/>
                </a:cubicBezTo>
                <a:cubicBezTo>
                  <a:pt x="476514" y="1740385"/>
                  <a:pt x="464115" y="1743727"/>
                  <a:pt x="447592" y="1733706"/>
                </a:cubicBezTo>
                <a:cubicBezTo>
                  <a:pt x="426929" y="1720349"/>
                  <a:pt x="410401" y="1730369"/>
                  <a:pt x="406272" y="1750401"/>
                </a:cubicBezTo>
                <a:cubicBezTo>
                  <a:pt x="406272" y="1757085"/>
                  <a:pt x="410401" y="1763759"/>
                  <a:pt x="406272" y="1770438"/>
                </a:cubicBezTo>
                <a:cubicBezTo>
                  <a:pt x="406272" y="1777121"/>
                  <a:pt x="398007" y="1787137"/>
                  <a:pt x="393873" y="1787137"/>
                </a:cubicBezTo>
                <a:cubicBezTo>
                  <a:pt x="352552" y="1783795"/>
                  <a:pt x="323630" y="1810511"/>
                  <a:pt x="286444" y="1810511"/>
                </a:cubicBezTo>
                <a:cubicBezTo>
                  <a:pt x="274045" y="1810511"/>
                  <a:pt x="265781" y="1820531"/>
                  <a:pt x="253382" y="1823868"/>
                </a:cubicBezTo>
                <a:cubicBezTo>
                  <a:pt x="220330" y="1837225"/>
                  <a:pt x="199668" y="1833889"/>
                  <a:pt x="174875" y="1813852"/>
                </a:cubicBezTo>
                <a:cubicBezTo>
                  <a:pt x="166611" y="1807173"/>
                  <a:pt x="158347" y="1797153"/>
                  <a:pt x="158347" y="1787137"/>
                </a:cubicBezTo>
                <a:cubicBezTo>
                  <a:pt x="158347" y="1777121"/>
                  <a:pt x="158347" y="1767100"/>
                  <a:pt x="158347" y="1757085"/>
                </a:cubicBezTo>
                <a:cubicBezTo>
                  <a:pt x="158347" y="1743727"/>
                  <a:pt x="166611" y="1733706"/>
                  <a:pt x="187274" y="1730369"/>
                </a:cubicBezTo>
                <a:cubicBezTo>
                  <a:pt x="199668" y="1730369"/>
                  <a:pt x="207932" y="1723691"/>
                  <a:pt x="207932" y="1710333"/>
                </a:cubicBezTo>
                <a:cubicBezTo>
                  <a:pt x="207932" y="1696975"/>
                  <a:pt x="207932" y="1683618"/>
                  <a:pt x="207932" y="1670260"/>
                </a:cubicBezTo>
                <a:cubicBezTo>
                  <a:pt x="207932" y="1656903"/>
                  <a:pt x="207932" y="1643545"/>
                  <a:pt x="195538" y="1633525"/>
                </a:cubicBezTo>
                <a:cubicBezTo>
                  <a:pt x="179010" y="1620168"/>
                  <a:pt x="166611" y="1610151"/>
                  <a:pt x="141819" y="1610151"/>
                </a:cubicBezTo>
                <a:cubicBezTo>
                  <a:pt x="112897" y="1613488"/>
                  <a:pt x="100498" y="1596794"/>
                  <a:pt x="83975" y="1580095"/>
                </a:cubicBezTo>
                <a:cubicBezTo>
                  <a:pt x="79840" y="1546705"/>
                  <a:pt x="38519" y="1533347"/>
                  <a:pt x="13727" y="1513311"/>
                </a:cubicBezTo>
                <a:lnTo>
                  <a:pt x="0" y="1511461"/>
                </a:lnTo>
                <a:close/>
              </a:path>
            </a:pathLst>
          </a:custGeom>
          <a:solidFill>
            <a:srgbClr val="00AF9A"/>
          </a:solidFill>
          <a:ln w="814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sv-SE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03F98C3-51BC-981B-ECE3-C5960398C5B4}"/>
              </a:ext>
            </a:extLst>
          </p:cNvPr>
          <p:cNvSpPr/>
          <p:nvPr/>
        </p:nvSpPr>
        <p:spPr>
          <a:xfrm>
            <a:off x="0" y="0"/>
            <a:ext cx="12192000" cy="2184163"/>
          </a:xfrm>
          <a:custGeom>
            <a:avLst/>
            <a:gdLst>
              <a:gd name="connsiteX0" fmla="*/ 0 w 12192000"/>
              <a:gd name="connsiteY0" fmla="*/ 0 h 2184163"/>
              <a:gd name="connsiteX1" fmla="*/ 12192000 w 12192000"/>
              <a:gd name="connsiteY1" fmla="*/ 0 h 2184163"/>
              <a:gd name="connsiteX2" fmla="*/ 12192000 w 12192000"/>
              <a:gd name="connsiteY2" fmla="*/ 234338 h 2184163"/>
              <a:gd name="connsiteX3" fmla="*/ 12166000 w 12192000"/>
              <a:gd name="connsiteY3" fmla="*/ 234338 h 2184163"/>
              <a:gd name="connsiteX4" fmla="*/ 12149477 w 12192000"/>
              <a:gd name="connsiteY4" fmla="*/ 247696 h 2184163"/>
              <a:gd name="connsiteX5" fmla="*/ 12153607 w 12192000"/>
              <a:gd name="connsiteY5" fmla="*/ 267732 h 2184163"/>
              <a:gd name="connsiteX6" fmla="*/ 12186663 w 12192000"/>
              <a:gd name="connsiteY6" fmla="*/ 297788 h 2184163"/>
              <a:gd name="connsiteX7" fmla="*/ 12192000 w 12192000"/>
              <a:gd name="connsiteY7" fmla="*/ 304338 h 2184163"/>
              <a:gd name="connsiteX8" fmla="*/ 12192000 w 12192000"/>
              <a:gd name="connsiteY8" fmla="*/ 344979 h 2184163"/>
              <a:gd name="connsiteX9" fmla="*/ 12189762 w 12192000"/>
              <a:gd name="connsiteY9" fmla="*/ 348294 h 2184163"/>
              <a:gd name="connsiteX10" fmla="*/ 12174264 w 12192000"/>
              <a:gd name="connsiteY10" fmla="*/ 354556 h 2184163"/>
              <a:gd name="connsiteX11" fmla="*/ 12137078 w 12192000"/>
              <a:gd name="connsiteY11" fmla="*/ 354556 h 2184163"/>
              <a:gd name="connsiteX12" fmla="*/ 12042043 w 12192000"/>
              <a:gd name="connsiteY12" fmla="*/ 374593 h 2184163"/>
              <a:gd name="connsiteX13" fmla="*/ 12033779 w 12192000"/>
              <a:gd name="connsiteY13" fmla="*/ 414665 h 2184163"/>
              <a:gd name="connsiteX14" fmla="*/ 12095757 w 12192000"/>
              <a:gd name="connsiteY14" fmla="*/ 444718 h 2184163"/>
              <a:gd name="connsiteX15" fmla="*/ 12141208 w 12192000"/>
              <a:gd name="connsiteY15" fmla="*/ 454738 h 2184163"/>
              <a:gd name="connsiteX16" fmla="*/ 12190793 w 12192000"/>
              <a:gd name="connsiteY16" fmla="*/ 454738 h 2184163"/>
              <a:gd name="connsiteX17" fmla="*/ 12192000 w 12192000"/>
              <a:gd name="connsiteY17" fmla="*/ 455028 h 2184163"/>
              <a:gd name="connsiteX18" fmla="*/ 12192000 w 12192000"/>
              <a:gd name="connsiteY18" fmla="*/ 1450945 h 2184163"/>
              <a:gd name="connsiteX19" fmla="*/ 12149477 w 12192000"/>
              <a:gd name="connsiteY19" fmla="*/ 1463218 h 2184163"/>
              <a:gd name="connsiteX20" fmla="*/ 12070965 w 12192000"/>
              <a:gd name="connsiteY20" fmla="*/ 1493275 h 2184163"/>
              <a:gd name="connsiteX21" fmla="*/ 12025515 w 12192000"/>
              <a:gd name="connsiteY21" fmla="*/ 1503290 h 2184163"/>
              <a:gd name="connsiteX22" fmla="*/ 11814781 w 12192000"/>
              <a:gd name="connsiteY22" fmla="*/ 1503290 h 2184163"/>
              <a:gd name="connsiteX23" fmla="*/ 11504878 w 12192000"/>
              <a:gd name="connsiteY23" fmla="*/ 1503290 h 2184163"/>
              <a:gd name="connsiteX24" fmla="*/ 11451164 w 12192000"/>
              <a:gd name="connsiteY24" fmla="*/ 1550042 h 2184163"/>
              <a:gd name="connsiteX25" fmla="*/ 11455293 w 12192000"/>
              <a:gd name="connsiteY25" fmla="*/ 1570078 h 2184163"/>
              <a:gd name="connsiteX26" fmla="*/ 11504878 w 12192000"/>
              <a:gd name="connsiteY26" fmla="*/ 1596794 h 2184163"/>
              <a:gd name="connsiteX27" fmla="*/ 11537935 w 12192000"/>
              <a:gd name="connsiteY27" fmla="*/ 1606813 h 2184163"/>
              <a:gd name="connsiteX28" fmla="*/ 11587520 w 12192000"/>
              <a:gd name="connsiteY28" fmla="*/ 1610151 h 2184163"/>
              <a:gd name="connsiteX29" fmla="*/ 11595784 w 12192000"/>
              <a:gd name="connsiteY29" fmla="*/ 1616830 h 2184163"/>
              <a:gd name="connsiteX30" fmla="*/ 11587520 w 12192000"/>
              <a:gd name="connsiteY30" fmla="*/ 1623508 h 2184163"/>
              <a:gd name="connsiteX31" fmla="*/ 11451164 w 12192000"/>
              <a:gd name="connsiteY31" fmla="*/ 1626850 h 2184163"/>
              <a:gd name="connsiteX32" fmla="*/ 11409843 w 12192000"/>
              <a:gd name="connsiteY32" fmla="*/ 1646882 h 2184163"/>
              <a:gd name="connsiteX33" fmla="*/ 11405709 w 12192000"/>
              <a:gd name="connsiteY33" fmla="*/ 1656903 h 2184163"/>
              <a:gd name="connsiteX34" fmla="*/ 11422237 w 12192000"/>
              <a:gd name="connsiteY34" fmla="*/ 1666919 h 2184163"/>
              <a:gd name="connsiteX35" fmla="*/ 11459428 w 12192000"/>
              <a:gd name="connsiteY35" fmla="*/ 1670260 h 2184163"/>
              <a:gd name="connsiteX36" fmla="*/ 11467692 w 12192000"/>
              <a:gd name="connsiteY36" fmla="*/ 1676939 h 2184163"/>
              <a:gd name="connsiteX37" fmla="*/ 11463558 w 12192000"/>
              <a:gd name="connsiteY37" fmla="*/ 1686955 h 2184163"/>
              <a:gd name="connsiteX38" fmla="*/ 11409843 w 12192000"/>
              <a:gd name="connsiteY38" fmla="*/ 1710333 h 2184163"/>
              <a:gd name="connsiteX39" fmla="*/ 11364393 w 12192000"/>
              <a:gd name="connsiteY39" fmla="*/ 1727028 h 2184163"/>
              <a:gd name="connsiteX40" fmla="*/ 11318937 w 12192000"/>
              <a:gd name="connsiteY40" fmla="*/ 1773779 h 2184163"/>
              <a:gd name="connsiteX41" fmla="*/ 11290015 w 12192000"/>
              <a:gd name="connsiteY41" fmla="*/ 1790474 h 2184163"/>
              <a:gd name="connsiteX42" fmla="*/ 11190846 w 12192000"/>
              <a:gd name="connsiteY42" fmla="*/ 1790474 h 2184163"/>
              <a:gd name="connsiteX43" fmla="*/ 11132997 w 12192000"/>
              <a:gd name="connsiteY43" fmla="*/ 1777121 h 2184163"/>
              <a:gd name="connsiteX44" fmla="*/ 11083412 w 12192000"/>
              <a:gd name="connsiteY44" fmla="*/ 1777121 h 2184163"/>
              <a:gd name="connsiteX45" fmla="*/ 11013169 w 12192000"/>
              <a:gd name="connsiteY45" fmla="*/ 1790474 h 2184163"/>
              <a:gd name="connsiteX46" fmla="*/ 10880943 w 12192000"/>
              <a:gd name="connsiteY46" fmla="*/ 1773779 h 2184163"/>
              <a:gd name="connsiteX47" fmla="*/ 10657816 w 12192000"/>
              <a:gd name="connsiteY47" fmla="*/ 1773779 h 2184163"/>
              <a:gd name="connsiteX48" fmla="*/ 10645417 w 12192000"/>
              <a:gd name="connsiteY48" fmla="*/ 1777121 h 2184163"/>
              <a:gd name="connsiteX49" fmla="*/ 10624759 w 12192000"/>
              <a:gd name="connsiteY49" fmla="*/ 1780458 h 2184163"/>
              <a:gd name="connsiteX50" fmla="*/ 10566910 w 12192000"/>
              <a:gd name="connsiteY50" fmla="*/ 1767100 h 2184163"/>
              <a:gd name="connsiteX51" fmla="*/ 10430554 w 12192000"/>
              <a:gd name="connsiteY51" fmla="*/ 1770438 h 2184163"/>
              <a:gd name="connsiteX52" fmla="*/ 10397497 w 12192000"/>
              <a:gd name="connsiteY52" fmla="*/ 1780458 h 2184163"/>
              <a:gd name="connsiteX53" fmla="*/ 10339648 w 12192000"/>
              <a:gd name="connsiteY53" fmla="*/ 1777121 h 2184163"/>
              <a:gd name="connsiteX54" fmla="*/ 10318990 w 12192000"/>
              <a:gd name="connsiteY54" fmla="*/ 1780458 h 2184163"/>
              <a:gd name="connsiteX55" fmla="*/ 10273535 w 12192000"/>
              <a:gd name="connsiteY55" fmla="*/ 1783795 h 2184163"/>
              <a:gd name="connsiteX56" fmla="*/ 10170236 w 12192000"/>
              <a:gd name="connsiteY56" fmla="*/ 1783795 h 2184163"/>
              <a:gd name="connsiteX57" fmla="*/ 10149578 w 12192000"/>
              <a:gd name="connsiteY57" fmla="*/ 1783795 h 2184163"/>
              <a:gd name="connsiteX58" fmla="*/ 10071071 w 12192000"/>
              <a:gd name="connsiteY58" fmla="*/ 1783795 h 2184163"/>
              <a:gd name="connsiteX59" fmla="*/ 10050408 w 12192000"/>
              <a:gd name="connsiteY59" fmla="*/ 1797153 h 2184163"/>
              <a:gd name="connsiteX60" fmla="*/ 10009087 w 12192000"/>
              <a:gd name="connsiteY60" fmla="*/ 1797153 h 2184163"/>
              <a:gd name="connsiteX61" fmla="*/ 9976031 w 12192000"/>
              <a:gd name="connsiteY61" fmla="*/ 1800494 h 2184163"/>
              <a:gd name="connsiteX62" fmla="*/ 9955368 w 12192000"/>
              <a:gd name="connsiteY62" fmla="*/ 1803832 h 2184163"/>
              <a:gd name="connsiteX63" fmla="*/ 9810748 w 12192000"/>
              <a:gd name="connsiteY63" fmla="*/ 1797153 h 2184163"/>
              <a:gd name="connsiteX64" fmla="*/ 9798354 w 12192000"/>
              <a:gd name="connsiteY64" fmla="*/ 1800494 h 2184163"/>
              <a:gd name="connsiteX65" fmla="*/ 9777691 w 12192000"/>
              <a:gd name="connsiteY65" fmla="*/ 1800494 h 2184163"/>
              <a:gd name="connsiteX66" fmla="*/ 9757033 w 12192000"/>
              <a:gd name="connsiteY66" fmla="*/ 1790474 h 2184163"/>
              <a:gd name="connsiteX67" fmla="*/ 9707448 w 12192000"/>
              <a:gd name="connsiteY67" fmla="*/ 1790474 h 2184163"/>
              <a:gd name="connsiteX68" fmla="*/ 9645470 w 12192000"/>
              <a:gd name="connsiteY68" fmla="*/ 1790474 h 2184163"/>
              <a:gd name="connsiteX69" fmla="*/ 9591750 w 12192000"/>
              <a:gd name="connsiteY69" fmla="*/ 1810511 h 2184163"/>
              <a:gd name="connsiteX70" fmla="*/ 9583486 w 12192000"/>
              <a:gd name="connsiteY70" fmla="*/ 1817189 h 2184163"/>
              <a:gd name="connsiteX71" fmla="*/ 9591750 w 12192000"/>
              <a:gd name="connsiteY71" fmla="*/ 1823868 h 2184163"/>
              <a:gd name="connsiteX72" fmla="*/ 9633071 w 12192000"/>
              <a:gd name="connsiteY72" fmla="*/ 1857262 h 2184163"/>
              <a:gd name="connsiteX73" fmla="*/ 9666128 w 12192000"/>
              <a:gd name="connsiteY73" fmla="*/ 1863941 h 2184163"/>
              <a:gd name="connsiteX74" fmla="*/ 9686791 w 12192000"/>
              <a:gd name="connsiteY74" fmla="*/ 1853925 h 2184163"/>
              <a:gd name="connsiteX75" fmla="*/ 9736375 w 12192000"/>
              <a:gd name="connsiteY75" fmla="*/ 1847246 h 2184163"/>
              <a:gd name="connsiteX76" fmla="*/ 9819012 w 12192000"/>
              <a:gd name="connsiteY76" fmla="*/ 1890656 h 2184163"/>
              <a:gd name="connsiteX77" fmla="*/ 9827276 w 12192000"/>
              <a:gd name="connsiteY77" fmla="*/ 1897335 h 2184163"/>
              <a:gd name="connsiteX78" fmla="*/ 9806618 w 12192000"/>
              <a:gd name="connsiteY78" fmla="*/ 1907355 h 2184163"/>
              <a:gd name="connsiteX79" fmla="*/ 9769427 w 12192000"/>
              <a:gd name="connsiteY79" fmla="*/ 1910692 h 2184163"/>
              <a:gd name="connsiteX80" fmla="*/ 9732241 w 12192000"/>
              <a:gd name="connsiteY80" fmla="*/ 1917371 h 2184163"/>
              <a:gd name="connsiteX81" fmla="*/ 9649604 w 12192000"/>
              <a:gd name="connsiteY81" fmla="*/ 1917371 h 2184163"/>
              <a:gd name="connsiteX82" fmla="*/ 9554564 w 12192000"/>
              <a:gd name="connsiteY82" fmla="*/ 1917371 h 2184163"/>
              <a:gd name="connsiteX83" fmla="*/ 9496715 w 12192000"/>
              <a:gd name="connsiteY83" fmla="*/ 1914030 h 2184163"/>
              <a:gd name="connsiteX84" fmla="*/ 9463658 w 12192000"/>
              <a:gd name="connsiteY84" fmla="*/ 1910692 h 2184163"/>
              <a:gd name="connsiteX85" fmla="*/ 9397545 w 12192000"/>
              <a:gd name="connsiteY85" fmla="*/ 1914030 h 2184163"/>
              <a:gd name="connsiteX86" fmla="*/ 9385152 w 12192000"/>
              <a:gd name="connsiteY86" fmla="*/ 1910692 h 2184163"/>
              <a:gd name="connsiteX87" fmla="*/ 9199211 w 12192000"/>
              <a:gd name="connsiteY87" fmla="*/ 1910692 h 2184163"/>
              <a:gd name="connsiteX88" fmla="*/ 9166154 w 12192000"/>
              <a:gd name="connsiteY88" fmla="*/ 1924050 h 2184163"/>
              <a:gd name="connsiteX89" fmla="*/ 9133098 w 12192000"/>
              <a:gd name="connsiteY89" fmla="*/ 1910692 h 2184163"/>
              <a:gd name="connsiteX90" fmla="*/ 8732294 w 12192000"/>
              <a:gd name="connsiteY90" fmla="*/ 1910692 h 2184163"/>
              <a:gd name="connsiteX91" fmla="*/ 8699237 w 12192000"/>
              <a:gd name="connsiteY91" fmla="*/ 1920709 h 2184163"/>
              <a:gd name="connsiteX92" fmla="*/ 8678574 w 12192000"/>
              <a:gd name="connsiteY92" fmla="*/ 1917371 h 2184163"/>
              <a:gd name="connsiteX93" fmla="*/ 8645523 w 12192000"/>
              <a:gd name="connsiteY93" fmla="*/ 1907355 h 2184163"/>
              <a:gd name="connsiteX94" fmla="*/ 8558747 w 12192000"/>
              <a:gd name="connsiteY94" fmla="*/ 1904014 h 2184163"/>
              <a:gd name="connsiteX95" fmla="*/ 8513296 w 12192000"/>
              <a:gd name="connsiteY95" fmla="*/ 1890656 h 2184163"/>
              <a:gd name="connsiteX96" fmla="*/ 8480240 w 12192000"/>
              <a:gd name="connsiteY96" fmla="*/ 1900676 h 2184163"/>
              <a:gd name="connsiteX97" fmla="*/ 8397598 w 12192000"/>
              <a:gd name="connsiteY97" fmla="*/ 1887319 h 2184163"/>
              <a:gd name="connsiteX98" fmla="*/ 8348013 w 12192000"/>
              <a:gd name="connsiteY98" fmla="*/ 1883978 h 2184163"/>
              <a:gd name="connsiteX99" fmla="*/ 8281900 w 12192000"/>
              <a:gd name="connsiteY99" fmla="*/ 1910692 h 2184163"/>
              <a:gd name="connsiteX100" fmla="*/ 8252978 w 12192000"/>
              <a:gd name="connsiteY100" fmla="*/ 1950765 h 2184163"/>
              <a:gd name="connsiteX101" fmla="*/ 8252978 w 12192000"/>
              <a:gd name="connsiteY101" fmla="*/ 1980817 h 2184163"/>
              <a:gd name="connsiteX102" fmla="*/ 8203393 w 12192000"/>
              <a:gd name="connsiteY102" fmla="*/ 2020890 h 2184163"/>
              <a:gd name="connsiteX103" fmla="*/ 8079437 w 12192000"/>
              <a:gd name="connsiteY103" fmla="*/ 2020890 h 2184163"/>
              <a:gd name="connsiteX104" fmla="*/ 8058774 w 12192000"/>
              <a:gd name="connsiteY104" fmla="*/ 2027569 h 2184163"/>
              <a:gd name="connsiteX105" fmla="*/ 8013319 w 12192000"/>
              <a:gd name="connsiteY105" fmla="*/ 2064301 h 2184163"/>
              <a:gd name="connsiteX106" fmla="*/ 7967869 w 12192000"/>
              <a:gd name="connsiteY106" fmla="*/ 2077662 h 2184163"/>
              <a:gd name="connsiteX107" fmla="*/ 7794326 w 12192000"/>
              <a:gd name="connsiteY107" fmla="*/ 2081000 h 2184163"/>
              <a:gd name="connsiteX108" fmla="*/ 7748871 w 12192000"/>
              <a:gd name="connsiteY108" fmla="*/ 2094357 h 2184163"/>
              <a:gd name="connsiteX109" fmla="*/ 7711685 w 12192000"/>
              <a:gd name="connsiteY109" fmla="*/ 2101036 h 2184163"/>
              <a:gd name="connsiteX110" fmla="*/ 7662099 w 12192000"/>
              <a:gd name="connsiteY110" fmla="*/ 2104373 h 2184163"/>
              <a:gd name="connsiteX111" fmla="*/ 7517480 w 12192000"/>
              <a:gd name="connsiteY111" fmla="*/ 2114393 h 2184163"/>
              <a:gd name="connsiteX112" fmla="*/ 7496817 w 12192000"/>
              <a:gd name="connsiteY112" fmla="*/ 2104373 h 2184163"/>
              <a:gd name="connsiteX113" fmla="*/ 7472025 w 12192000"/>
              <a:gd name="connsiteY113" fmla="*/ 2101036 h 2184163"/>
              <a:gd name="connsiteX114" fmla="*/ 7339803 w 12192000"/>
              <a:gd name="connsiteY114" fmla="*/ 2117731 h 2184163"/>
              <a:gd name="connsiteX115" fmla="*/ 7294353 w 12192000"/>
              <a:gd name="connsiteY115" fmla="*/ 2131088 h 2184163"/>
              <a:gd name="connsiteX116" fmla="*/ 7253031 w 12192000"/>
              <a:gd name="connsiteY116" fmla="*/ 2111052 h 2184163"/>
              <a:gd name="connsiteX117" fmla="*/ 7236498 w 12192000"/>
              <a:gd name="connsiteY117" fmla="*/ 2104373 h 2184163"/>
              <a:gd name="connsiteX118" fmla="*/ 7178655 w 12192000"/>
              <a:gd name="connsiteY118" fmla="*/ 2117731 h 2184163"/>
              <a:gd name="connsiteX119" fmla="*/ 7071220 w 12192000"/>
              <a:gd name="connsiteY119" fmla="*/ 2137767 h 2184163"/>
              <a:gd name="connsiteX120" fmla="*/ 7050557 w 12192000"/>
              <a:gd name="connsiteY120" fmla="*/ 2147787 h 2184163"/>
              <a:gd name="connsiteX121" fmla="*/ 6972051 w 12192000"/>
              <a:gd name="connsiteY121" fmla="*/ 2141108 h 2184163"/>
              <a:gd name="connsiteX122" fmla="*/ 6914202 w 12192000"/>
              <a:gd name="connsiteY122" fmla="*/ 2137767 h 2184163"/>
              <a:gd name="connsiteX123" fmla="*/ 6885279 w 12192000"/>
              <a:gd name="connsiteY123" fmla="*/ 2157803 h 2184163"/>
              <a:gd name="connsiteX124" fmla="*/ 6839829 w 12192000"/>
              <a:gd name="connsiteY124" fmla="*/ 2174502 h 2184163"/>
              <a:gd name="connsiteX125" fmla="*/ 6653888 w 12192000"/>
              <a:gd name="connsiteY125" fmla="*/ 2174502 h 2184163"/>
              <a:gd name="connsiteX126" fmla="*/ 6591905 w 12192000"/>
              <a:gd name="connsiteY126" fmla="*/ 2177839 h 2184163"/>
              <a:gd name="connsiteX127" fmla="*/ 6538190 w 12192000"/>
              <a:gd name="connsiteY127" fmla="*/ 2177839 h 2184163"/>
              <a:gd name="connsiteX128" fmla="*/ 6492735 w 12192000"/>
              <a:gd name="connsiteY128" fmla="*/ 2161145 h 2184163"/>
              <a:gd name="connsiteX129" fmla="*/ 6422492 w 12192000"/>
              <a:gd name="connsiteY129" fmla="*/ 2164482 h 2184163"/>
              <a:gd name="connsiteX130" fmla="*/ 6352249 w 12192000"/>
              <a:gd name="connsiteY130" fmla="*/ 2164482 h 2184163"/>
              <a:gd name="connsiteX131" fmla="*/ 6319193 w 12192000"/>
              <a:gd name="connsiteY131" fmla="*/ 2154466 h 2184163"/>
              <a:gd name="connsiteX132" fmla="*/ 6224157 w 12192000"/>
              <a:gd name="connsiteY132" fmla="*/ 2124409 h 2184163"/>
              <a:gd name="connsiteX133" fmla="*/ 6203494 w 12192000"/>
              <a:gd name="connsiteY133" fmla="*/ 2124409 h 2184163"/>
              <a:gd name="connsiteX134" fmla="*/ 6166308 w 12192000"/>
              <a:gd name="connsiteY134" fmla="*/ 2151125 h 2184163"/>
              <a:gd name="connsiteX135" fmla="*/ 6133252 w 12192000"/>
              <a:gd name="connsiteY135" fmla="*/ 2147787 h 2184163"/>
              <a:gd name="connsiteX136" fmla="*/ 6104331 w 12192000"/>
              <a:gd name="connsiteY136" fmla="*/ 2127751 h 2184163"/>
              <a:gd name="connsiteX137" fmla="*/ 6071269 w 12192000"/>
              <a:gd name="connsiteY137" fmla="*/ 2114393 h 2184163"/>
              <a:gd name="connsiteX138" fmla="*/ 5984498 w 12192000"/>
              <a:gd name="connsiteY138" fmla="*/ 2114393 h 2184163"/>
              <a:gd name="connsiteX139" fmla="*/ 5951440 w 12192000"/>
              <a:gd name="connsiteY139" fmla="*/ 2124409 h 2184163"/>
              <a:gd name="connsiteX140" fmla="*/ 5872934 w 12192000"/>
              <a:gd name="connsiteY140" fmla="*/ 2121072 h 2184163"/>
              <a:gd name="connsiteX141" fmla="*/ 5802692 w 12192000"/>
              <a:gd name="connsiteY141" fmla="*/ 2124409 h 2184163"/>
              <a:gd name="connsiteX142" fmla="*/ 5786163 w 12192000"/>
              <a:gd name="connsiteY142" fmla="*/ 2137767 h 2184163"/>
              <a:gd name="connsiteX143" fmla="*/ 5744844 w 12192000"/>
              <a:gd name="connsiteY143" fmla="*/ 2154466 h 2184163"/>
              <a:gd name="connsiteX144" fmla="*/ 5682863 w 12192000"/>
              <a:gd name="connsiteY144" fmla="*/ 2151125 h 2184163"/>
              <a:gd name="connsiteX145" fmla="*/ 5587828 w 12192000"/>
              <a:gd name="connsiteY145" fmla="*/ 2134430 h 2184163"/>
              <a:gd name="connsiteX146" fmla="*/ 5488659 w 12192000"/>
              <a:gd name="connsiteY146" fmla="*/ 2134430 h 2184163"/>
              <a:gd name="connsiteX147" fmla="*/ 5418411 w 12192000"/>
              <a:gd name="connsiteY147" fmla="*/ 2117731 h 2184163"/>
              <a:gd name="connsiteX148" fmla="*/ 5360568 w 12192000"/>
              <a:gd name="connsiteY148" fmla="*/ 2124409 h 2184163"/>
              <a:gd name="connsiteX149" fmla="*/ 5282055 w 12192000"/>
              <a:gd name="connsiteY149" fmla="*/ 2121072 h 2184163"/>
              <a:gd name="connsiteX150" fmla="*/ 5244869 w 12192000"/>
              <a:gd name="connsiteY150" fmla="*/ 2114393 h 2184163"/>
              <a:gd name="connsiteX151" fmla="*/ 4996946 w 12192000"/>
              <a:gd name="connsiteY151" fmla="*/ 2114393 h 2184163"/>
              <a:gd name="connsiteX152" fmla="*/ 4947365 w 12192000"/>
              <a:gd name="connsiteY152" fmla="*/ 2111052 h 2184163"/>
              <a:gd name="connsiteX153" fmla="*/ 4914303 w 12192000"/>
              <a:gd name="connsiteY153" fmla="*/ 2084336 h 2184163"/>
              <a:gd name="connsiteX154" fmla="*/ 4926704 w 12192000"/>
              <a:gd name="connsiteY154" fmla="*/ 2067641 h 2184163"/>
              <a:gd name="connsiteX155" fmla="*/ 4872983 w 12192000"/>
              <a:gd name="connsiteY155" fmla="*/ 2034248 h 2184163"/>
              <a:gd name="connsiteX156" fmla="*/ 4835796 w 12192000"/>
              <a:gd name="connsiteY156" fmla="*/ 2040927 h 2184163"/>
              <a:gd name="connsiteX157" fmla="*/ 4740763 w 12192000"/>
              <a:gd name="connsiteY157" fmla="*/ 2047605 h 2184163"/>
              <a:gd name="connsiteX158" fmla="*/ 4658120 w 12192000"/>
              <a:gd name="connsiteY158" fmla="*/ 2030910 h 2184163"/>
              <a:gd name="connsiteX159" fmla="*/ 4563083 w 12192000"/>
              <a:gd name="connsiteY159" fmla="*/ 2010875 h 2184163"/>
              <a:gd name="connsiteX160" fmla="*/ 4480443 w 12192000"/>
              <a:gd name="connsiteY160" fmla="*/ 1990838 h 2184163"/>
              <a:gd name="connsiteX161" fmla="*/ 4418465 w 12192000"/>
              <a:gd name="connsiteY161" fmla="*/ 1987496 h 2184163"/>
              <a:gd name="connsiteX162" fmla="*/ 4385408 w 12192000"/>
              <a:gd name="connsiteY162" fmla="*/ 1977480 h 2184163"/>
              <a:gd name="connsiteX163" fmla="*/ 4277975 w 12192000"/>
              <a:gd name="connsiteY163" fmla="*/ 1990838 h 2184163"/>
              <a:gd name="connsiteX164" fmla="*/ 4178803 w 12192000"/>
              <a:gd name="connsiteY164" fmla="*/ 1990838 h 2184163"/>
              <a:gd name="connsiteX165" fmla="*/ 4108560 w 12192000"/>
              <a:gd name="connsiteY165" fmla="*/ 1974139 h 2184163"/>
              <a:gd name="connsiteX166" fmla="*/ 4034183 w 12192000"/>
              <a:gd name="connsiteY166" fmla="*/ 1974139 h 2184163"/>
              <a:gd name="connsiteX167" fmla="*/ 3959811 w 12192000"/>
              <a:gd name="connsiteY167" fmla="*/ 1974139 h 2184163"/>
              <a:gd name="connsiteX168" fmla="*/ 3881299 w 12192000"/>
              <a:gd name="connsiteY168" fmla="*/ 1944086 h 2184163"/>
              <a:gd name="connsiteX169" fmla="*/ 3852377 w 12192000"/>
              <a:gd name="connsiteY169" fmla="*/ 1900676 h 2184163"/>
              <a:gd name="connsiteX170" fmla="*/ 3844113 w 12192000"/>
              <a:gd name="connsiteY170" fmla="*/ 1893997 h 2184163"/>
              <a:gd name="connsiteX171" fmla="*/ 3831719 w 12192000"/>
              <a:gd name="connsiteY171" fmla="*/ 1897335 h 2184163"/>
              <a:gd name="connsiteX172" fmla="*/ 3798658 w 12192000"/>
              <a:gd name="connsiteY172" fmla="*/ 1910692 h 2184163"/>
              <a:gd name="connsiteX173" fmla="*/ 3724285 w 12192000"/>
              <a:gd name="connsiteY173" fmla="*/ 1910692 h 2184163"/>
              <a:gd name="connsiteX174" fmla="*/ 3616851 w 12192000"/>
              <a:gd name="connsiteY174" fmla="*/ 1924050 h 2184163"/>
              <a:gd name="connsiteX175" fmla="*/ 3592059 w 12192000"/>
              <a:gd name="connsiteY175" fmla="*/ 1927391 h 2184163"/>
              <a:gd name="connsiteX176" fmla="*/ 3232575 w 12192000"/>
              <a:gd name="connsiteY176" fmla="*/ 1967460 h 2184163"/>
              <a:gd name="connsiteX177" fmla="*/ 3162328 w 12192000"/>
              <a:gd name="connsiteY177" fmla="*/ 1950765 h 2184163"/>
              <a:gd name="connsiteX178" fmla="*/ 3038365 w 12192000"/>
              <a:gd name="connsiteY178" fmla="*/ 1950765 h 2184163"/>
              <a:gd name="connsiteX179" fmla="*/ 2963993 w 12192000"/>
              <a:gd name="connsiteY179" fmla="*/ 1950765 h 2184163"/>
              <a:gd name="connsiteX180" fmla="*/ 2939201 w 12192000"/>
              <a:gd name="connsiteY180" fmla="*/ 1944086 h 2184163"/>
              <a:gd name="connsiteX181" fmla="*/ 2868953 w 12192000"/>
              <a:gd name="connsiteY181" fmla="*/ 1930729 h 2184163"/>
              <a:gd name="connsiteX182" fmla="*/ 2683012 w 12192000"/>
              <a:gd name="connsiteY182" fmla="*/ 1930729 h 2184163"/>
              <a:gd name="connsiteX183" fmla="*/ 2625168 w 12192000"/>
              <a:gd name="connsiteY183" fmla="*/ 1917371 h 2184163"/>
              <a:gd name="connsiteX184" fmla="*/ 2530128 w 12192000"/>
              <a:gd name="connsiteY184" fmla="*/ 1920709 h 2184163"/>
              <a:gd name="connsiteX185" fmla="*/ 2509470 w 12192000"/>
              <a:gd name="connsiteY185" fmla="*/ 1920709 h 2184163"/>
              <a:gd name="connsiteX186" fmla="*/ 2476413 w 12192000"/>
              <a:gd name="connsiteY186" fmla="*/ 1910692 h 2184163"/>
              <a:gd name="connsiteX187" fmla="*/ 2240888 w 12192000"/>
              <a:gd name="connsiteY187" fmla="*/ 1907355 h 2184163"/>
              <a:gd name="connsiteX188" fmla="*/ 2145852 w 12192000"/>
              <a:gd name="connsiteY188" fmla="*/ 1890656 h 2184163"/>
              <a:gd name="connsiteX189" fmla="*/ 2121060 w 12192000"/>
              <a:gd name="connsiteY189" fmla="*/ 1890656 h 2184163"/>
              <a:gd name="connsiteX190" fmla="*/ 2063211 w 12192000"/>
              <a:gd name="connsiteY190" fmla="*/ 1907355 h 2184163"/>
              <a:gd name="connsiteX191" fmla="*/ 2005362 w 12192000"/>
              <a:gd name="connsiteY191" fmla="*/ 1893997 h 2184163"/>
              <a:gd name="connsiteX192" fmla="*/ 1939249 w 12192000"/>
              <a:gd name="connsiteY192" fmla="*/ 1867283 h 2184163"/>
              <a:gd name="connsiteX193" fmla="*/ 1889664 w 12192000"/>
              <a:gd name="connsiteY193" fmla="*/ 1870620 h 2184163"/>
              <a:gd name="connsiteX194" fmla="*/ 1844213 w 12192000"/>
              <a:gd name="connsiteY194" fmla="*/ 1883978 h 2184163"/>
              <a:gd name="connsiteX195" fmla="*/ 1720251 w 12192000"/>
              <a:gd name="connsiteY195" fmla="*/ 1883978 h 2184163"/>
              <a:gd name="connsiteX196" fmla="*/ 1674801 w 12192000"/>
              <a:gd name="connsiteY196" fmla="*/ 1897335 h 2184163"/>
              <a:gd name="connsiteX197" fmla="*/ 1616952 w 12192000"/>
              <a:gd name="connsiteY197" fmla="*/ 1910692 h 2184163"/>
              <a:gd name="connsiteX198" fmla="*/ 1575631 w 12192000"/>
              <a:gd name="connsiteY198" fmla="*/ 1907355 h 2184163"/>
              <a:gd name="connsiteX199" fmla="*/ 1546709 w 12192000"/>
              <a:gd name="connsiteY199" fmla="*/ 1887319 h 2184163"/>
              <a:gd name="connsiteX200" fmla="*/ 1521917 w 12192000"/>
              <a:gd name="connsiteY200" fmla="*/ 1887319 h 2184163"/>
              <a:gd name="connsiteX201" fmla="*/ 1451669 w 12192000"/>
              <a:gd name="connsiteY201" fmla="*/ 1904014 h 2184163"/>
              <a:gd name="connsiteX202" fmla="*/ 1414483 w 12192000"/>
              <a:gd name="connsiteY202" fmla="*/ 1910692 h 2184163"/>
              <a:gd name="connsiteX203" fmla="*/ 1344240 w 12192000"/>
              <a:gd name="connsiteY203" fmla="*/ 1924050 h 2184163"/>
              <a:gd name="connsiteX204" fmla="*/ 1298784 w 12192000"/>
              <a:gd name="connsiteY204" fmla="*/ 1910692 h 2184163"/>
              <a:gd name="connsiteX205" fmla="*/ 1273992 w 12192000"/>
              <a:gd name="connsiteY205" fmla="*/ 1890656 h 2184163"/>
              <a:gd name="connsiteX206" fmla="*/ 1240941 w 12192000"/>
              <a:gd name="connsiteY206" fmla="*/ 1890656 h 2184163"/>
              <a:gd name="connsiteX207" fmla="*/ 1203749 w 12192000"/>
              <a:gd name="connsiteY207" fmla="*/ 1940745 h 2184163"/>
              <a:gd name="connsiteX208" fmla="*/ 1203749 w 12192000"/>
              <a:gd name="connsiteY208" fmla="*/ 1970802 h 2184163"/>
              <a:gd name="connsiteX209" fmla="*/ 1191356 w 12192000"/>
              <a:gd name="connsiteY209" fmla="*/ 1987496 h 2184163"/>
              <a:gd name="connsiteX210" fmla="*/ 1137636 w 12192000"/>
              <a:gd name="connsiteY210" fmla="*/ 2010875 h 2184163"/>
              <a:gd name="connsiteX211" fmla="*/ 1096315 w 12192000"/>
              <a:gd name="connsiteY211" fmla="*/ 2014211 h 2184163"/>
              <a:gd name="connsiteX212" fmla="*/ 1071523 w 12192000"/>
              <a:gd name="connsiteY212" fmla="*/ 2007533 h 2184163"/>
              <a:gd name="connsiteX213" fmla="*/ 1021943 w 12192000"/>
              <a:gd name="connsiteY213" fmla="*/ 2004195 h 2184163"/>
              <a:gd name="connsiteX214" fmla="*/ 935167 w 12192000"/>
              <a:gd name="connsiteY214" fmla="*/ 1997516 h 2184163"/>
              <a:gd name="connsiteX215" fmla="*/ 881453 w 12192000"/>
              <a:gd name="connsiteY215" fmla="*/ 1957444 h 2184163"/>
              <a:gd name="connsiteX216" fmla="*/ 790547 w 12192000"/>
              <a:gd name="connsiteY216" fmla="*/ 1863941 h 2184163"/>
              <a:gd name="connsiteX217" fmla="*/ 740962 w 12192000"/>
              <a:gd name="connsiteY217" fmla="*/ 1820531 h 2184163"/>
              <a:gd name="connsiteX218" fmla="*/ 732698 w 12192000"/>
              <a:gd name="connsiteY218" fmla="*/ 1803832 h 2184163"/>
              <a:gd name="connsiteX219" fmla="*/ 691377 w 12192000"/>
              <a:gd name="connsiteY219" fmla="*/ 1747064 h 2184163"/>
              <a:gd name="connsiteX220" fmla="*/ 670719 w 12192000"/>
              <a:gd name="connsiteY220" fmla="*/ 1733706 h 2184163"/>
              <a:gd name="connsiteX221" fmla="*/ 650056 w 12192000"/>
              <a:gd name="connsiteY221" fmla="*/ 1727028 h 2184163"/>
              <a:gd name="connsiteX222" fmla="*/ 501307 w 12192000"/>
              <a:gd name="connsiteY222" fmla="*/ 1727028 h 2184163"/>
              <a:gd name="connsiteX223" fmla="*/ 488908 w 12192000"/>
              <a:gd name="connsiteY223" fmla="*/ 1730369 h 2184163"/>
              <a:gd name="connsiteX224" fmla="*/ 447592 w 12192000"/>
              <a:gd name="connsiteY224" fmla="*/ 1733706 h 2184163"/>
              <a:gd name="connsiteX225" fmla="*/ 406272 w 12192000"/>
              <a:gd name="connsiteY225" fmla="*/ 1750401 h 2184163"/>
              <a:gd name="connsiteX226" fmla="*/ 406272 w 12192000"/>
              <a:gd name="connsiteY226" fmla="*/ 1770438 h 2184163"/>
              <a:gd name="connsiteX227" fmla="*/ 393873 w 12192000"/>
              <a:gd name="connsiteY227" fmla="*/ 1787137 h 2184163"/>
              <a:gd name="connsiteX228" fmla="*/ 286444 w 12192000"/>
              <a:gd name="connsiteY228" fmla="*/ 1810511 h 2184163"/>
              <a:gd name="connsiteX229" fmla="*/ 253382 w 12192000"/>
              <a:gd name="connsiteY229" fmla="*/ 1823868 h 2184163"/>
              <a:gd name="connsiteX230" fmla="*/ 174875 w 12192000"/>
              <a:gd name="connsiteY230" fmla="*/ 1813852 h 2184163"/>
              <a:gd name="connsiteX231" fmla="*/ 158347 w 12192000"/>
              <a:gd name="connsiteY231" fmla="*/ 1787137 h 2184163"/>
              <a:gd name="connsiteX232" fmla="*/ 158347 w 12192000"/>
              <a:gd name="connsiteY232" fmla="*/ 1757085 h 2184163"/>
              <a:gd name="connsiteX233" fmla="*/ 187274 w 12192000"/>
              <a:gd name="connsiteY233" fmla="*/ 1730369 h 2184163"/>
              <a:gd name="connsiteX234" fmla="*/ 207932 w 12192000"/>
              <a:gd name="connsiteY234" fmla="*/ 1710333 h 2184163"/>
              <a:gd name="connsiteX235" fmla="*/ 207932 w 12192000"/>
              <a:gd name="connsiteY235" fmla="*/ 1670260 h 2184163"/>
              <a:gd name="connsiteX236" fmla="*/ 195538 w 12192000"/>
              <a:gd name="connsiteY236" fmla="*/ 1633525 h 2184163"/>
              <a:gd name="connsiteX237" fmla="*/ 141819 w 12192000"/>
              <a:gd name="connsiteY237" fmla="*/ 1610151 h 2184163"/>
              <a:gd name="connsiteX238" fmla="*/ 83975 w 12192000"/>
              <a:gd name="connsiteY238" fmla="*/ 1580095 h 2184163"/>
              <a:gd name="connsiteX239" fmla="*/ 13727 w 12192000"/>
              <a:gd name="connsiteY239" fmla="*/ 1513311 h 2184163"/>
              <a:gd name="connsiteX240" fmla="*/ 0 w 12192000"/>
              <a:gd name="connsiteY240" fmla="*/ 1511461 h 2184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2192000" h="2184163">
                <a:moveTo>
                  <a:pt x="0" y="0"/>
                </a:moveTo>
                <a:lnTo>
                  <a:pt x="12192000" y="0"/>
                </a:lnTo>
                <a:lnTo>
                  <a:pt x="12192000" y="234338"/>
                </a:lnTo>
                <a:lnTo>
                  <a:pt x="12166000" y="234338"/>
                </a:lnTo>
                <a:cubicBezTo>
                  <a:pt x="12161871" y="234338"/>
                  <a:pt x="12153607" y="241017"/>
                  <a:pt x="12149477" y="247696"/>
                </a:cubicBezTo>
                <a:cubicBezTo>
                  <a:pt x="12149477" y="254374"/>
                  <a:pt x="12149477" y="264395"/>
                  <a:pt x="12153607" y="267732"/>
                </a:cubicBezTo>
                <a:cubicBezTo>
                  <a:pt x="12161871" y="277752"/>
                  <a:pt x="12174264" y="287769"/>
                  <a:pt x="12186663" y="297788"/>
                </a:cubicBezTo>
                <a:lnTo>
                  <a:pt x="12192000" y="304338"/>
                </a:lnTo>
                <a:lnTo>
                  <a:pt x="12192000" y="344979"/>
                </a:lnTo>
                <a:lnTo>
                  <a:pt x="12189762" y="348294"/>
                </a:lnTo>
                <a:cubicBezTo>
                  <a:pt x="12185629" y="352051"/>
                  <a:pt x="12180464" y="354556"/>
                  <a:pt x="12174264" y="354556"/>
                </a:cubicBezTo>
                <a:cubicBezTo>
                  <a:pt x="12161871" y="354556"/>
                  <a:pt x="12149477" y="357898"/>
                  <a:pt x="12137078" y="354556"/>
                </a:cubicBezTo>
                <a:cubicBezTo>
                  <a:pt x="12099892" y="347877"/>
                  <a:pt x="12070965" y="364572"/>
                  <a:pt x="12042043" y="374593"/>
                </a:cubicBezTo>
                <a:cubicBezTo>
                  <a:pt x="12025515" y="381271"/>
                  <a:pt x="12017251" y="397966"/>
                  <a:pt x="12033779" y="414665"/>
                </a:cubicBezTo>
                <a:cubicBezTo>
                  <a:pt x="12050307" y="431361"/>
                  <a:pt x="12075100" y="434701"/>
                  <a:pt x="12095757" y="444718"/>
                </a:cubicBezTo>
                <a:cubicBezTo>
                  <a:pt x="12108156" y="454738"/>
                  <a:pt x="12124679" y="454738"/>
                  <a:pt x="12141208" y="454738"/>
                </a:cubicBezTo>
                <a:cubicBezTo>
                  <a:pt x="12157741" y="454738"/>
                  <a:pt x="12174264" y="454738"/>
                  <a:pt x="12190793" y="454738"/>
                </a:cubicBezTo>
                <a:lnTo>
                  <a:pt x="12192000" y="455028"/>
                </a:lnTo>
                <a:lnTo>
                  <a:pt x="12192000" y="1450945"/>
                </a:lnTo>
                <a:lnTo>
                  <a:pt x="12149477" y="1463218"/>
                </a:lnTo>
                <a:cubicBezTo>
                  <a:pt x="12120550" y="1466559"/>
                  <a:pt x="12095757" y="1479917"/>
                  <a:pt x="12070965" y="1493275"/>
                </a:cubicBezTo>
                <a:cubicBezTo>
                  <a:pt x="12058571" y="1499953"/>
                  <a:pt x="12042043" y="1503290"/>
                  <a:pt x="12025515" y="1503290"/>
                </a:cubicBezTo>
                <a:cubicBezTo>
                  <a:pt x="11955267" y="1503290"/>
                  <a:pt x="11885024" y="1503290"/>
                  <a:pt x="11814781" y="1503290"/>
                </a:cubicBezTo>
                <a:cubicBezTo>
                  <a:pt x="11711477" y="1503290"/>
                  <a:pt x="11608178" y="1503290"/>
                  <a:pt x="11504878" y="1503290"/>
                </a:cubicBezTo>
                <a:cubicBezTo>
                  <a:pt x="11475956" y="1503290"/>
                  <a:pt x="11451164" y="1526668"/>
                  <a:pt x="11451164" y="1550042"/>
                </a:cubicBezTo>
                <a:cubicBezTo>
                  <a:pt x="11451164" y="1556721"/>
                  <a:pt x="11451164" y="1563400"/>
                  <a:pt x="11455293" y="1570078"/>
                </a:cubicBezTo>
                <a:cubicBezTo>
                  <a:pt x="11463558" y="1586778"/>
                  <a:pt x="11492485" y="1583436"/>
                  <a:pt x="11504878" y="1596794"/>
                </a:cubicBezTo>
                <a:cubicBezTo>
                  <a:pt x="11513142" y="1606813"/>
                  <a:pt x="11525536" y="1606813"/>
                  <a:pt x="11537935" y="1606813"/>
                </a:cubicBezTo>
                <a:cubicBezTo>
                  <a:pt x="11554463" y="1606813"/>
                  <a:pt x="11570992" y="1610151"/>
                  <a:pt x="11587520" y="1610151"/>
                </a:cubicBezTo>
                <a:cubicBezTo>
                  <a:pt x="11591654" y="1610151"/>
                  <a:pt x="11591654" y="1613488"/>
                  <a:pt x="11595784" y="1616830"/>
                </a:cubicBezTo>
                <a:cubicBezTo>
                  <a:pt x="11595784" y="1620168"/>
                  <a:pt x="11591654" y="1623508"/>
                  <a:pt x="11587520" y="1623508"/>
                </a:cubicBezTo>
                <a:cubicBezTo>
                  <a:pt x="11542070" y="1626850"/>
                  <a:pt x="11496614" y="1623508"/>
                  <a:pt x="11451164" y="1626850"/>
                </a:cubicBezTo>
                <a:cubicBezTo>
                  <a:pt x="11430501" y="1626850"/>
                  <a:pt x="11422237" y="1636867"/>
                  <a:pt x="11409843" y="1646882"/>
                </a:cubicBezTo>
                <a:cubicBezTo>
                  <a:pt x="11409843" y="1650224"/>
                  <a:pt x="11405709" y="1656903"/>
                  <a:pt x="11405709" y="1656903"/>
                </a:cubicBezTo>
                <a:cubicBezTo>
                  <a:pt x="11409843" y="1660240"/>
                  <a:pt x="11413978" y="1666919"/>
                  <a:pt x="11422237" y="1666919"/>
                </a:cubicBezTo>
                <a:cubicBezTo>
                  <a:pt x="11434636" y="1666919"/>
                  <a:pt x="11447029" y="1666919"/>
                  <a:pt x="11459428" y="1670260"/>
                </a:cubicBezTo>
                <a:cubicBezTo>
                  <a:pt x="11463558" y="1673598"/>
                  <a:pt x="11467692" y="1673598"/>
                  <a:pt x="11467692" y="1676939"/>
                </a:cubicBezTo>
                <a:cubicBezTo>
                  <a:pt x="11471822" y="1680276"/>
                  <a:pt x="11467692" y="1683618"/>
                  <a:pt x="11463558" y="1686955"/>
                </a:cubicBezTo>
                <a:cubicBezTo>
                  <a:pt x="11447029" y="1703654"/>
                  <a:pt x="11434636" y="1710333"/>
                  <a:pt x="11409843" y="1710333"/>
                </a:cubicBezTo>
                <a:cubicBezTo>
                  <a:pt x="11389180" y="1710333"/>
                  <a:pt x="11376787" y="1717011"/>
                  <a:pt x="11364393" y="1727028"/>
                </a:cubicBezTo>
                <a:cubicBezTo>
                  <a:pt x="11343730" y="1740385"/>
                  <a:pt x="11327202" y="1753743"/>
                  <a:pt x="11318937" y="1773779"/>
                </a:cubicBezTo>
                <a:cubicBezTo>
                  <a:pt x="11314808" y="1783795"/>
                  <a:pt x="11306544" y="1790474"/>
                  <a:pt x="11290015" y="1790474"/>
                </a:cubicBezTo>
                <a:cubicBezTo>
                  <a:pt x="11256959" y="1790474"/>
                  <a:pt x="11223902" y="1790474"/>
                  <a:pt x="11190846" y="1790474"/>
                </a:cubicBezTo>
                <a:cubicBezTo>
                  <a:pt x="11170183" y="1793816"/>
                  <a:pt x="11149525" y="1783795"/>
                  <a:pt x="11132997" y="1777121"/>
                </a:cubicBezTo>
                <a:cubicBezTo>
                  <a:pt x="11116468" y="1770438"/>
                  <a:pt x="11095810" y="1770438"/>
                  <a:pt x="11083412" y="1777121"/>
                </a:cubicBezTo>
                <a:cubicBezTo>
                  <a:pt x="11062754" y="1787137"/>
                  <a:pt x="11037961" y="1793816"/>
                  <a:pt x="11013169" y="1790474"/>
                </a:cubicBezTo>
                <a:cubicBezTo>
                  <a:pt x="10967714" y="1783795"/>
                  <a:pt x="10922263" y="1797153"/>
                  <a:pt x="10880943" y="1773779"/>
                </a:cubicBezTo>
                <a:cubicBezTo>
                  <a:pt x="10806570" y="1770438"/>
                  <a:pt x="10732193" y="1763759"/>
                  <a:pt x="10657816" y="1773779"/>
                </a:cubicBezTo>
                <a:cubicBezTo>
                  <a:pt x="10653681" y="1773779"/>
                  <a:pt x="10649551" y="1773779"/>
                  <a:pt x="10645417" y="1777121"/>
                </a:cubicBezTo>
                <a:cubicBezTo>
                  <a:pt x="10637153" y="1783795"/>
                  <a:pt x="10633023" y="1783795"/>
                  <a:pt x="10624759" y="1780458"/>
                </a:cubicBezTo>
                <a:cubicBezTo>
                  <a:pt x="10608231" y="1767100"/>
                  <a:pt x="10587573" y="1767100"/>
                  <a:pt x="10566910" y="1767100"/>
                </a:cubicBezTo>
                <a:cubicBezTo>
                  <a:pt x="10521460" y="1767100"/>
                  <a:pt x="10476004" y="1770438"/>
                  <a:pt x="10430554" y="1770438"/>
                </a:cubicBezTo>
                <a:cubicBezTo>
                  <a:pt x="10422290" y="1773779"/>
                  <a:pt x="10405762" y="1773779"/>
                  <a:pt x="10397497" y="1780458"/>
                </a:cubicBezTo>
                <a:cubicBezTo>
                  <a:pt x="10376834" y="1790474"/>
                  <a:pt x="10356177" y="1790474"/>
                  <a:pt x="10339648" y="1777121"/>
                </a:cubicBezTo>
                <a:cubicBezTo>
                  <a:pt x="10335519" y="1773779"/>
                  <a:pt x="10327250" y="1773779"/>
                  <a:pt x="10318990" y="1780458"/>
                </a:cubicBezTo>
                <a:cubicBezTo>
                  <a:pt x="10302462" y="1790474"/>
                  <a:pt x="10290063" y="1793816"/>
                  <a:pt x="10273535" y="1783795"/>
                </a:cubicBezTo>
                <a:cubicBezTo>
                  <a:pt x="10240478" y="1767100"/>
                  <a:pt x="10203292" y="1767100"/>
                  <a:pt x="10170236" y="1783795"/>
                </a:cubicBezTo>
                <a:cubicBezTo>
                  <a:pt x="10161972" y="1787137"/>
                  <a:pt x="10157842" y="1790474"/>
                  <a:pt x="10149578" y="1783795"/>
                </a:cubicBezTo>
                <a:cubicBezTo>
                  <a:pt x="10124785" y="1763759"/>
                  <a:pt x="10095858" y="1767100"/>
                  <a:pt x="10071071" y="1783795"/>
                </a:cubicBezTo>
                <a:cubicBezTo>
                  <a:pt x="10062802" y="1787137"/>
                  <a:pt x="10054538" y="1790474"/>
                  <a:pt x="10050408" y="1797153"/>
                </a:cubicBezTo>
                <a:cubicBezTo>
                  <a:pt x="10033880" y="1813852"/>
                  <a:pt x="10021486" y="1803832"/>
                  <a:pt x="10009087" y="1797153"/>
                </a:cubicBezTo>
                <a:cubicBezTo>
                  <a:pt x="10000823" y="1793816"/>
                  <a:pt x="9984295" y="1793816"/>
                  <a:pt x="9976031" y="1800494"/>
                </a:cubicBezTo>
                <a:cubicBezTo>
                  <a:pt x="9967767" y="1803832"/>
                  <a:pt x="9963637" y="1807173"/>
                  <a:pt x="9955368" y="1803832"/>
                </a:cubicBezTo>
                <a:cubicBezTo>
                  <a:pt x="9909918" y="1783795"/>
                  <a:pt x="9860333" y="1793816"/>
                  <a:pt x="9810748" y="1797153"/>
                </a:cubicBezTo>
                <a:cubicBezTo>
                  <a:pt x="9806618" y="1797153"/>
                  <a:pt x="9802489" y="1797153"/>
                  <a:pt x="9798354" y="1800494"/>
                </a:cubicBezTo>
                <a:cubicBezTo>
                  <a:pt x="9790090" y="1803832"/>
                  <a:pt x="9785960" y="1803832"/>
                  <a:pt x="9777691" y="1800494"/>
                </a:cubicBezTo>
                <a:cubicBezTo>
                  <a:pt x="9773562" y="1793816"/>
                  <a:pt x="9765297" y="1790474"/>
                  <a:pt x="9757033" y="1790474"/>
                </a:cubicBezTo>
                <a:cubicBezTo>
                  <a:pt x="9740505" y="1790474"/>
                  <a:pt x="9723977" y="1790474"/>
                  <a:pt x="9707448" y="1790474"/>
                </a:cubicBezTo>
                <a:cubicBezTo>
                  <a:pt x="9686791" y="1790474"/>
                  <a:pt x="9666128" y="1787137"/>
                  <a:pt x="9645470" y="1790474"/>
                </a:cubicBezTo>
                <a:cubicBezTo>
                  <a:pt x="9628941" y="1793816"/>
                  <a:pt x="9612413" y="1807173"/>
                  <a:pt x="9591750" y="1810511"/>
                </a:cubicBezTo>
                <a:cubicBezTo>
                  <a:pt x="9587621" y="1810511"/>
                  <a:pt x="9587621" y="1813852"/>
                  <a:pt x="9583486" y="1817189"/>
                </a:cubicBezTo>
                <a:cubicBezTo>
                  <a:pt x="9583486" y="1820531"/>
                  <a:pt x="9587621" y="1823868"/>
                  <a:pt x="9591750" y="1823868"/>
                </a:cubicBezTo>
                <a:cubicBezTo>
                  <a:pt x="9616548" y="1827210"/>
                  <a:pt x="9628941" y="1840567"/>
                  <a:pt x="9633071" y="1857262"/>
                </a:cubicBezTo>
                <a:cubicBezTo>
                  <a:pt x="9637206" y="1863941"/>
                  <a:pt x="9657869" y="1867283"/>
                  <a:pt x="9666128" y="1863941"/>
                </a:cubicBezTo>
                <a:cubicBezTo>
                  <a:pt x="9674392" y="1860603"/>
                  <a:pt x="9678526" y="1857262"/>
                  <a:pt x="9686791" y="1853925"/>
                </a:cubicBezTo>
                <a:cubicBezTo>
                  <a:pt x="9703319" y="1843905"/>
                  <a:pt x="9719847" y="1847246"/>
                  <a:pt x="9736375" y="1847246"/>
                </a:cubicBezTo>
                <a:cubicBezTo>
                  <a:pt x="9761168" y="1863941"/>
                  <a:pt x="9798354" y="1870620"/>
                  <a:pt x="9819012" y="1890656"/>
                </a:cubicBezTo>
                <a:cubicBezTo>
                  <a:pt x="9823146" y="1890656"/>
                  <a:pt x="9823146" y="1893997"/>
                  <a:pt x="9827276" y="1897335"/>
                </a:cubicBezTo>
                <a:cubicBezTo>
                  <a:pt x="9819012" y="1900676"/>
                  <a:pt x="9814882" y="1907355"/>
                  <a:pt x="9806618" y="1907355"/>
                </a:cubicBezTo>
                <a:cubicBezTo>
                  <a:pt x="9794225" y="1910692"/>
                  <a:pt x="9781826" y="1910692"/>
                  <a:pt x="9769427" y="1910692"/>
                </a:cubicBezTo>
                <a:cubicBezTo>
                  <a:pt x="9757033" y="1910692"/>
                  <a:pt x="9744640" y="1910692"/>
                  <a:pt x="9732241" y="1917371"/>
                </a:cubicBezTo>
                <a:cubicBezTo>
                  <a:pt x="9703319" y="1930729"/>
                  <a:pt x="9678526" y="1930729"/>
                  <a:pt x="9649604" y="1917371"/>
                </a:cubicBezTo>
                <a:cubicBezTo>
                  <a:pt x="9620677" y="1904014"/>
                  <a:pt x="9583486" y="1904014"/>
                  <a:pt x="9554564" y="1917371"/>
                </a:cubicBezTo>
                <a:cubicBezTo>
                  <a:pt x="9533906" y="1924050"/>
                  <a:pt x="9513243" y="1927391"/>
                  <a:pt x="9496715" y="1914030"/>
                </a:cubicBezTo>
                <a:cubicBezTo>
                  <a:pt x="9488451" y="1907355"/>
                  <a:pt x="9471928" y="1904014"/>
                  <a:pt x="9463658" y="1910692"/>
                </a:cubicBezTo>
                <a:cubicBezTo>
                  <a:pt x="9443001" y="1924050"/>
                  <a:pt x="9422343" y="1930729"/>
                  <a:pt x="9397545" y="1914030"/>
                </a:cubicBezTo>
                <a:cubicBezTo>
                  <a:pt x="9393416" y="1914030"/>
                  <a:pt x="9389286" y="1910692"/>
                  <a:pt x="9385152" y="1910692"/>
                </a:cubicBezTo>
                <a:cubicBezTo>
                  <a:pt x="9323173" y="1910692"/>
                  <a:pt x="9261189" y="1910692"/>
                  <a:pt x="9199211" y="1910692"/>
                </a:cubicBezTo>
                <a:cubicBezTo>
                  <a:pt x="9186817" y="1910692"/>
                  <a:pt x="9178548" y="1924050"/>
                  <a:pt x="9166154" y="1924050"/>
                </a:cubicBezTo>
                <a:cubicBezTo>
                  <a:pt x="9153760" y="1924050"/>
                  <a:pt x="9145496" y="1910692"/>
                  <a:pt x="9133098" y="1910692"/>
                </a:cubicBezTo>
                <a:cubicBezTo>
                  <a:pt x="8996742" y="1910692"/>
                  <a:pt x="8864515" y="1910692"/>
                  <a:pt x="8732294" y="1910692"/>
                </a:cubicBezTo>
                <a:cubicBezTo>
                  <a:pt x="8719895" y="1910692"/>
                  <a:pt x="8711631" y="1914030"/>
                  <a:pt x="8699237" y="1920709"/>
                </a:cubicBezTo>
                <a:cubicBezTo>
                  <a:pt x="8690973" y="1924050"/>
                  <a:pt x="8686844" y="1920709"/>
                  <a:pt x="8678574" y="1917371"/>
                </a:cubicBezTo>
                <a:cubicBezTo>
                  <a:pt x="8670310" y="1910692"/>
                  <a:pt x="8657916" y="1907355"/>
                  <a:pt x="8645523" y="1907355"/>
                </a:cubicBezTo>
                <a:cubicBezTo>
                  <a:pt x="8616596" y="1904014"/>
                  <a:pt x="8587674" y="1907355"/>
                  <a:pt x="8558747" y="1904014"/>
                </a:cubicBezTo>
                <a:cubicBezTo>
                  <a:pt x="8542218" y="1900676"/>
                  <a:pt x="8529825" y="1890656"/>
                  <a:pt x="8513296" y="1890656"/>
                </a:cubicBezTo>
                <a:cubicBezTo>
                  <a:pt x="8500903" y="1890656"/>
                  <a:pt x="8492633" y="1900676"/>
                  <a:pt x="8480240" y="1900676"/>
                </a:cubicBezTo>
                <a:cubicBezTo>
                  <a:pt x="8451318" y="1904014"/>
                  <a:pt x="8422391" y="1904014"/>
                  <a:pt x="8397598" y="1887319"/>
                </a:cubicBezTo>
                <a:cubicBezTo>
                  <a:pt x="8381070" y="1877298"/>
                  <a:pt x="8360412" y="1877298"/>
                  <a:pt x="8348013" y="1883978"/>
                </a:cubicBezTo>
                <a:cubicBezTo>
                  <a:pt x="8327356" y="1893997"/>
                  <a:pt x="8302563" y="1900676"/>
                  <a:pt x="8281900" y="1910692"/>
                </a:cubicBezTo>
                <a:cubicBezTo>
                  <a:pt x="8265377" y="1917371"/>
                  <a:pt x="8248844" y="1930729"/>
                  <a:pt x="8252978" y="1950765"/>
                </a:cubicBezTo>
                <a:cubicBezTo>
                  <a:pt x="8252978" y="1960781"/>
                  <a:pt x="8252978" y="1970802"/>
                  <a:pt x="8252978" y="1980817"/>
                </a:cubicBezTo>
                <a:cubicBezTo>
                  <a:pt x="8248844" y="1997516"/>
                  <a:pt x="8219923" y="2020890"/>
                  <a:pt x="8203393" y="2020890"/>
                </a:cubicBezTo>
                <a:cubicBezTo>
                  <a:pt x="8162074" y="2020890"/>
                  <a:pt x="8120753" y="2020890"/>
                  <a:pt x="8079437" y="2020890"/>
                </a:cubicBezTo>
                <a:cubicBezTo>
                  <a:pt x="8075301" y="2020890"/>
                  <a:pt x="8062904" y="2024232"/>
                  <a:pt x="8058774" y="2027569"/>
                </a:cubicBezTo>
                <a:cubicBezTo>
                  <a:pt x="8042245" y="2040927"/>
                  <a:pt x="8029851" y="2054284"/>
                  <a:pt x="8013319" y="2064301"/>
                </a:cubicBezTo>
                <a:cubicBezTo>
                  <a:pt x="8000925" y="2070983"/>
                  <a:pt x="7984396" y="2077662"/>
                  <a:pt x="7967869" y="2077662"/>
                </a:cubicBezTo>
                <a:cubicBezTo>
                  <a:pt x="7910019" y="2077662"/>
                  <a:pt x="7852175" y="2081000"/>
                  <a:pt x="7794326" y="2081000"/>
                </a:cubicBezTo>
                <a:cubicBezTo>
                  <a:pt x="7777797" y="2081000"/>
                  <a:pt x="7761269" y="2084336"/>
                  <a:pt x="7748871" y="2094357"/>
                </a:cubicBezTo>
                <a:cubicBezTo>
                  <a:pt x="7736477" y="2101036"/>
                  <a:pt x="7724079" y="2101036"/>
                  <a:pt x="7711685" y="2101036"/>
                </a:cubicBezTo>
                <a:cubicBezTo>
                  <a:pt x="7695156" y="2101036"/>
                  <a:pt x="7674499" y="2097695"/>
                  <a:pt x="7662099" y="2104373"/>
                </a:cubicBezTo>
                <a:cubicBezTo>
                  <a:pt x="7616650" y="2124409"/>
                  <a:pt x="7567064" y="2117731"/>
                  <a:pt x="7517480" y="2114393"/>
                </a:cubicBezTo>
                <a:cubicBezTo>
                  <a:pt x="7509215" y="2114393"/>
                  <a:pt x="7505081" y="2107714"/>
                  <a:pt x="7496817" y="2104373"/>
                </a:cubicBezTo>
                <a:cubicBezTo>
                  <a:pt x="7488558" y="2101036"/>
                  <a:pt x="7476158" y="2097695"/>
                  <a:pt x="7472025" y="2101036"/>
                </a:cubicBezTo>
                <a:cubicBezTo>
                  <a:pt x="7430709" y="2121072"/>
                  <a:pt x="7385252" y="2114393"/>
                  <a:pt x="7339803" y="2117731"/>
                </a:cubicBezTo>
                <a:cubicBezTo>
                  <a:pt x="7323274" y="2121072"/>
                  <a:pt x="7310876" y="2124409"/>
                  <a:pt x="7294353" y="2131088"/>
                </a:cubicBezTo>
                <a:cubicBezTo>
                  <a:pt x="7273690" y="2137767"/>
                  <a:pt x="7269554" y="2137767"/>
                  <a:pt x="7253031" y="2111052"/>
                </a:cubicBezTo>
                <a:cubicBezTo>
                  <a:pt x="7248898" y="2104373"/>
                  <a:pt x="7244767" y="2101036"/>
                  <a:pt x="7236498" y="2104373"/>
                </a:cubicBezTo>
                <a:cubicBezTo>
                  <a:pt x="7219975" y="2114393"/>
                  <a:pt x="7199312" y="2121072"/>
                  <a:pt x="7178655" y="2117731"/>
                </a:cubicBezTo>
                <a:cubicBezTo>
                  <a:pt x="7137333" y="2111052"/>
                  <a:pt x="7104277" y="2124409"/>
                  <a:pt x="7071220" y="2137767"/>
                </a:cubicBezTo>
                <a:cubicBezTo>
                  <a:pt x="7062957" y="2141108"/>
                  <a:pt x="7058826" y="2144446"/>
                  <a:pt x="7050557" y="2147787"/>
                </a:cubicBezTo>
                <a:cubicBezTo>
                  <a:pt x="7021636" y="2161145"/>
                  <a:pt x="6996844" y="2157803"/>
                  <a:pt x="6972051" y="2141108"/>
                </a:cubicBezTo>
                <a:cubicBezTo>
                  <a:pt x="6955522" y="2127751"/>
                  <a:pt x="6934865" y="2131088"/>
                  <a:pt x="6914202" y="2137767"/>
                </a:cubicBezTo>
                <a:cubicBezTo>
                  <a:pt x="6901809" y="2144446"/>
                  <a:pt x="6893544" y="2151125"/>
                  <a:pt x="6885279" y="2157803"/>
                </a:cubicBezTo>
                <a:cubicBezTo>
                  <a:pt x="6872886" y="2167824"/>
                  <a:pt x="6856352" y="2174502"/>
                  <a:pt x="6839829" y="2174502"/>
                </a:cubicBezTo>
                <a:cubicBezTo>
                  <a:pt x="6777846" y="2174502"/>
                  <a:pt x="6715868" y="2174502"/>
                  <a:pt x="6653888" y="2174502"/>
                </a:cubicBezTo>
                <a:cubicBezTo>
                  <a:pt x="6633225" y="2174502"/>
                  <a:pt x="6608433" y="2171161"/>
                  <a:pt x="6591905" y="2177839"/>
                </a:cubicBezTo>
                <a:cubicBezTo>
                  <a:pt x="6571247" y="2184519"/>
                  <a:pt x="6558853" y="2187860"/>
                  <a:pt x="6538190" y="2177839"/>
                </a:cubicBezTo>
                <a:cubicBezTo>
                  <a:pt x="6521663" y="2171161"/>
                  <a:pt x="6509269" y="2167824"/>
                  <a:pt x="6492735" y="2161145"/>
                </a:cubicBezTo>
                <a:cubicBezTo>
                  <a:pt x="6467947" y="2151125"/>
                  <a:pt x="6451420" y="2151125"/>
                  <a:pt x="6422492" y="2164482"/>
                </a:cubicBezTo>
                <a:cubicBezTo>
                  <a:pt x="6397700" y="2177839"/>
                  <a:pt x="6377042" y="2177839"/>
                  <a:pt x="6352249" y="2164482"/>
                </a:cubicBezTo>
                <a:cubicBezTo>
                  <a:pt x="6343985" y="2161145"/>
                  <a:pt x="6331592" y="2151125"/>
                  <a:pt x="6319193" y="2154466"/>
                </a:cubicBezTo>
                <a:cubicBezTo>
                  <a:pt x="6277873" y="2164482"/>
                  <a:pt x="6248950" y="2151125"/>
                  <a:pt x="6224157" y="2124409"/>
                </a:cubicBezTo>
                <a:cubicBezTo>
                  <a:pt x="6215893" y="2117731"/>
                  <a:pt x="6211760" y="2117731"/>
                  <a:pt x="6203494" y="2124409"/>
                </a:cubicBezTo>
                <a:cubicBezTo>
                  <a:pt x="6191101" y="2134430"/>
                  <a:pt x="6178703" y="2141108"/>
                  <a:pt x="6166308" y="2151125"/>
                </a:cubicBezTo>
                <a:cubicBezTo>
                  <a:pt x="6158044" y="2154466"/>
                  <a:pt x="6141517" y="2154466"/>
                  <a:pt x="6133252" y="2147787"/>
                </a:cubicBezTo>
                <a:cubicBezTo>
                  <a:pt x="6124989" y="2141108"/>
                  <a:pt x="6112589" y="2134430"/>
                  <a:pt x="6104331" y="2127751"/>
                </a:cubicBezTo>
                <a:cubicBezTo>
                  <a:pt x="6096066" y="2121072"/>
                  <a:pt x="6083669" y="2114393"/>
                  <a:pt x="6071269" y="2114393"/>
                </a:cubicBezTo>
                <a:cubicBezTo>
                  <a:pt x="6042346" y="2114393"/>
                  <a:pt x="6013425" y="2114393"/>
                  <a:pt x="5984498" y="2114393"/>
                </a:cubicBezTo>
                <a:cubicBezTo>
                  <a:pt x="5972103" y="2114393"/>
                  <a:pt x="5959710" y="2117731"/>
                  <a:pt x="5951440" y="2124409"/>
                </a:cubicBezTo>
                <a:cubicBezTo>
                  <a:pt x="5926648" y="2141108"/>
                  <a:pt x="5901862" y="2134430"/>
                  <a:pt x="5872934" y="2121072"/>
                </a:cubicBezTo>
                <a:cubicBezTo>
                  <a:pt x="5848141" y="2107714"/>
                  <a:pt x="5823350" y="2111052"/>
                  <a:pt x="5802692" y="2124409"/>
                </a:cubicBezTo>
                <a:cubicBezTo>
                  <a:pt x="5798556" y="2127751"/>
                  <a:pt x="5790292" y="2131088"/>
                  <a:pt x="5786163" y="2137767"/>
                </a:cubicBezTo>
                <a:cubicBezTo>
                  <a:pt x="5777899" y="2147787"/>
                  <a:pt x="5761371" y="2154466"/>
                  <a:pt x="5744844" y="2154466"/>
                </a:cubicBezTo>
                <a:cubicBezTo>
                  <a:pt x="5724185" y="2151125"/>
                  <a:pt x="5703522" y="2154466"/>
                  <a:pt x="5682863" y="2151125"/>
                </a:cubicBezTo>
                <a:cubicBezTo>
                  <a:pt x="5649807" y="2144446"/>
                  <a:pt x="5620881" y="2131088"/>
                  <a:pt x="5587828" y="2134430"/>
                </a:cubicBezTo>
                <a:cubicBezTo>
                  <a:pt x="5554767" y="2137767"/>
                  <a:pt x="5521711" y="2134430"/>
                  <a:pt x="5488659" y="2134430"/>
                </a:cubicBezTo>
                <a:cubicBezTo>
                  <a:pt x="5463866" y="2134430"/>
                  <a:pt x="5443204" y="2127751"/>
                  <a:pt x="5418411" y="2117731"/>
                </a:cubicBezTo>
                <a:cubicBezTo>
                  <a:pt x="5401888" y="2111052"/>
                  <a:pt x="5381224" y="2114393"/>
                  <a:pt x="5360568" y="2124409"/>
                </a:cubicBezTo>
                <a:cubicBezTo>
                  <a:pt x="5335771" y="2137767"/>
                  <a:pt x="5306849" y="2137767"/>
                  <a:pt x="5282055" y="2121072"/>
                </a:cubicBezTo>
                <a:cubicBezTo>
                  <a:pt x="5269662" y="2114393"/>
                  <a:pt x="5257262" y="2114393"/>
                  <a:pt x="5244869" y="2114393"/>
                </a:cubicBezTo>
                <a:cubicBezTo>
                  <a:pt x="5162228" y="2114393"/>
                  <a:pt x="5079586" y="2114393"/>
                  <a:pt x="4996946" y="2114393"/>
                </a:cubicBezTo>
                <a:cubicBezTo>
                  <a:pt x="4980415" y="2114393"/>
                  <a:pt x="4963888" y="2111052"/>
                  <a:pt x="4947365" y="2111052"/>
                </a:cubicBezTo>
                <a:cubicBezTo>
                  <a:pt x="4934965" y="2111052"/>
                  <a:pt x="4914303" y="2091015"/>
                  <a:pt x="4914303" y="2084336"/>
                </a:cubicBezTo>
                <a:cubicBezTo>
                  <a:pt x="4914303" y="2077662"/>
                  <a:pt x="4926704" y="2074321"/>
                  <a:pt x="4926704" y="2067641"/>
                </a:cubicBezTo>
                <a:cubicBezTo>
                  <a:pt x="4926704" y="2050946"/>
                  <a:pt x="4897781" y="2034248"/>
                  <a:pt x="4872983" y="2034248"/>
                </a:cubicBezTo>
                <a:cubicBezTo>
                  <a:pt x="4860588" y="2034248"/>
                  <a:pt x="4848194" y="2034248"/>
                  <a:pt x="4835796" y="2040927"/>
                </a:cubicBezTo>
                <a:cubicBezTo>
                  <a:pt x="4806873" y="2057626"/>
                  <a:pt x="4773819" y="2054284"/>
                  <a:pt x="4740763" y="2047605"/>
                </a:cubicBezTo>
                <a:cubicBezTo>
                  <a:pt x="4715969" y="2027569"/>
                  <a:pt x="4687043" y="2030910"/>
                  <a:pt x="4658120" y="2030910"/>
                </a:cubicBezTo>
                <a:cubicBezTo>
                  <a:pt x="4625064" y="2030910"/>
                  <a:pt x="4587878" y="2030910"/>
                  <a:pt x="4563083" y="2010875"/>
                </a:cubicBezTo>
                <a:cubicBezTo>
                  <a:pt x="4530027" y="2010875"/>
                  <a:pt x="4505235" y="1997516"/>
                  <a:pt x="4480443" y="1990838"/>
                </a:cubicBezTo>
                <a:cubicBezTo>
                  <a:pt x="4459786" y="1987496"/>
                  <a:pt x="4439121" y="1990838"/>
                  <a:pt x="4418465" y="1987496"/>
                </a:cubicBezTo>
                <a:cubicBezTo>
                  <a:pt x="4406067" y="1987496"/>
                  <a:pt x="4397802" y="1980817"/>
                  <a:pt x="4385408" y="1977480"/>
                </a:cubicBezTo>
                <a:cubicBezTo>
                  <a:pt x="4352351" y="2000854"/>
                  <a:pt x="4315160" y="1990838"/>
                  <a:pt x="4277975" y="1990838"/>
                </a:cubicBezTo>
                <a:cubicBezTo>
                  <a:pt x="4244918" y="1990838"/>
                  <a:pt x="4211861" y="1990838"/>
                  <a:pt x="4178803" y="1990838"/>
                </a:cubicBezTo>
                <a:cubicBezTo>
                  <a:pt x="4154016" y="1990838"/>
                  <a:pt x="4137482" y="1970802"/>
                  <a:pt x="4108560" y="1974139"/>
                </a:cubicBezTo>
                <a:cubicBezTo>
                  <a:pt x="4083768" y="1977480"/>
                  <a:pt x="4058975" y="1974139"/>
                  <a:pt x="4034183" y="1974139"/>
                </a:cubicBezTo>
                <a:cubicBezTo>
                  <a:pt x="4009390" y="1974139"/>
                  <a:pt x="3984598" y="1974139"/>
                  <a:pt x="3959811" y="1974139"/>
                </a:cubicBezTo>
                <a:cubicBezTo>
                  <a:pt x="3951541" y="1970802"/>
                  <a:pt x="3893697" y="1950765"/>
                  <a:pt x="3881299" y="1944086"/>
                </a:cubicBezTo>
                <a:cubicBezTo>
                  <a:pt x="3864770" y="1930729"/>
                  <a:pt x="3856506" y="1917371"/>
                  <a:pt x="3852377" y="1900676"/>
                </a:cubicBezTo>
                <a:cubicBezTo>
                  <a:pt x="3852377" y="1897335"/>
                  <a:pt x="3848242" y="1893997"/>
                  <a:pt x="3844113" y="1893997"/>
                </a:cubicBezTo>
                <a:cubicBezTo>
                  <a:pt x="3839978" y="1893997"/>
                  <a:pt x="3835848" y="1897335"/>
                  <a:pt x="3831719" y="1897335"/>
                </a:cubicBezTo>
                <a:cubicBezTo>
                  <a:pt x="3819320" y="1904014"/>
                  <a:pt x="3811056" y="1910692"/>
                  <a:pt x="3798658" y="1910692"/>
                </a:cubicBezTo>
                <a:cubicBezTo>
                  <a:pt x="3773865" y="1910692"/>
                  <a:pt x="3749077" y="1910692"/>
                  <a:pt x="3724285" y="1910692"/>
                </a:cubicBezTo>
                <a:cubicBezTo>
                  <a:pt x="3687094" y="1910692"/>
                  <a:pt x="3649907" y="1900676"/>
                  <a:pt x="3616851" y="1924050"/>
                </a:cubicBezTo>
                <a:cubicBezTo>
                  <a:pt x="3608587" y="1927391"/>
                  <a:pt x="3600322" y="1927391"/>
                  <a:pt x="3592059" y="1927391"/>
                </a:cubicBezTo>
                <a:cubicBezTo>
                  <a:pt x="3542473" y="1927391"/>
                  <a:pt x="3278026" y="1967460"/>
                  <a:pt x="3232575" y="1967460"/>
                </a:cubicBezTo>
                <a:cubicBezTo>
                  <a:pt x="3207778" y="1967460"/>
                  <a:pt x="3191255" y="1950765"/>
                  <a:pt x="3162328" y="1950765"/>
                </a:cubicBezTo>
                <a:cubicBezTo>
                  <a:pt x="3121007" y="1954103"/>
                  <a:pt x="3079686" y="1950765"/>
                  <a:pt x="3038365" y="1950765"/>
                </a:cubicBezTo>
                <a:cubicBezTo>
                  <a:pt x="3013573" y="1950765"/>
                  <a:pt x="2988785" y="1950765"/>
                  <a:pt x="2963993" y="1950765"/>
                </a:cubicBezTo>
                <a:cubicBezTo>
                  <a:pt x="2955729" y="1947423"/>
                  <a:pt x="2943330" y="1947423"/>
                  <a:pt x="2939201" y="1944086"/>
                </a:cubicBezTo>
                <a:cubicBezTo>
                  <a:pt x="2918538" y="1930729"/>
                  <a:pt x="2893745" y="1930729"/>
                  <a:pt x="2868953" y="1930729"/>
                </a:cubicBezTo>
                <a:cubicBezTo>
                  <a:pt x="2806974" y="1930729"/>
                  <a:pt x="2744991" y="1930729"/>
                  <a:pt x="2683012" y="1930729"/>
                </a:cubicBezTo>
                <a:cubicBezTo>
                  <a:pt x="2662354" y="1930729"/>
                  <a:pt x="2645826" y="1924050"/>
                  <a:pt x="2625168" y="1917371"/>
                </a:cubicBezTo>
                <a:cubicBezTo>
                  <a:pt x="2592111" y="1904014"/>
                  <a:pt x="2559055" y="1907355"/>
                  <a:pt x="2530128" y="1920709"/>
                </a:cubicBezTo>
                <a:cubicBezTo>
                  <a:pt x="2521864" y="1924050"/>
                  <a:pt x="2517734" y="1927391"/>
                  <a:pt x="2509470" y="1920709"/>
                </a:cubicBezTo>
                <a:cubicBezTo>
                  <a:pt x="2501206" y="1914030"/>
                  <a:pt x="2488807" y="1910692"/>
                  <a:pt x="2476413" y="1910692"/>
                </a:cubicBezTo>
                <a:cubicBezTo>
                  <a:pt x="2397906" y="1910692"/>
                  <a:pt x="2319394" y="1907355"/>
                  <a:pt x="2240888" y="1907355"/>
                </a:cubicBezTo>
                <a:cubicBezTo>
                  <a:pt x="2207831" y="1907355"/>
                  <a:pt x="2174774" y="1910692"/>
                  <a:pt x="2145852" y="1890656"/>
                </a:cubicBezTo>
                <a:cubicBezTo>
                  <a:pt x="2141718" y="1887319"/>
                  <a:pt x="2125189" y="1887319"/>
                  <a:pt x="2121060" y="1890656"/>
                </a:cubicBezTo>
                <a:cubicBezTo>
                  <a:pt x="2104532" y="1900676"/>
                  <a:pt x="2083869" y="1907355"/>
                  <a:pt x="2063211" y="1907355"/>
                </a:cubicBezTo>
                <a:cubicBezTo>
                  <a:pt x="2042553" y="1904014"/>
                  <a:pt x="2026025" y="1904014"/>
                  <a:pt x="2005362" y="1893997"/>
                </a:cubicBezTo>
                <a:cubicBezTo>
                  <a:pt x="1984704" y="1880640"/>
                  <a:pt x="1964041" y="1873961"/>
                  <a:pt x="1939249" y="1867283"/>
                </a:cubicBezTo>
                <a:cubicBezTo>
                  <a:pt x="1922720" y="1863941"/>
                  <a:pt x="1906192" y="1860603"/>
                  <a:pt x="1889664" y="1870620"/>
                </a:cubicBezTo>
                <a:cubicBezTo>
                  <a:pt x="1877270" y="1877298"/>
                  <a:pt x="1860742" y="1883978"/>
                  <a:pt x="1844213" y="1883978"/>
                </a:cubicBezTo>
                <a:cubicBezTo>
                  <a:pt x="1802892" y="1883978"/>
                  <a:pt x="1761572" y="1883978"/>
                  <a:pt x="1720251" y="1883978"/>
                </a:cubicBezTo>
                <a:cubicBezTo>
                  <a:pt x="1703723" y="1883978"/>
                  <a:pt x="1687195" y="1887319"/>
                  <a:pt x="1674801" y="1897335"/>
                </a:cubicBezTo>
                <a:cubicBezTo>
                  <a:pt x="1658272" y="1910692"/>
                  <a:pt x="1637610" y="1904014"/>
                  <a:pt x="1616952" y="1910692"/>
                </a:cubicBezTo>
                <a:cubicBezTo>
                  <a:pt x="1592159" y="1920709"/>
                  <a:pt x="1592159" y="1917371"/>
                  <a:pt x="1575631" y="1907355"/>
                </a:cubicBezTo>
                <a:cubicBezTo>
                  <a:pt x="1567367" y="1900676"/>
                  <a:pt x="1559103" y="1890656"/>
                  <a:pt x="1546709" y="1887319"/>
                </a:cubicBezTo>
                <a:cubicBezTo>
                  <a:pt x="1538445" y="1883978"/>
                  <a:pt x="1526046" y="1883978"/>
                  <a:pt x="1521917" y="1887319"/>
                </a:cubicBezTo>
                <a:cubicBezTo>
                  <a:pt x="1501254" y="1900676"/>
                  <a:pt x="1476461" y="1904014"/>
                  <a:pt x="1451669" y="1904014"/>
                </a:cubicBezTo>
                <a:cubicBezTo>
                  <a:pt x="1439275" y="1904014"/>
                  <a:pt x="1422747" y="1904014"/>
                  <a:pt x="1414483" y="1910692"/>
                </a:cubicBezTo>
                <a:cubicBezTo>
                  <a:pt x="1393825" y="1924050"/>
                  <a:pt x="1369032" y="1924050"/>
                  <a:pt x="1344240" y="1924050"/>
                </a:cubicBezTo>
                <a:cubicBezTo>
                  <a:pt x="1323577" y="1927391"/>
                  <a:pt x="1311183" y="1920709"/>
                  <a:pt x="1298784" y="1910692"/>
                </a:cubicBezTo>
                <a:cubicBezTo>
                  <a:pt x="1290520" y="1904014"/>
                  <a:pt x="1282256" y="1897335"/>
                  <a:pt x="1273992" y="1890656"/>
                </a:cubicBezTo>
                <a:cubicBezTo>
                  <a:pt x="1265728" y="1883978"/>
                  <a:pt x="1249200" y="1883978"/>
                  <a:pt x="1240941" y="1890656"/>
                </a:cubicBezTo>
                <a:cubicBezTo>
                  <a:pt x="1220277" y="1904014"/>
                  <a:pt x="1199620" y="1917371"/>
                  <a:pt x="1203749" y="1940745"/>
                </a:cubicBezTo>
                <a:cubicBezTo>
                  <a:pt x="1203749" y="1950765"/>
                  <a:pt x="1203749" y="1960781"/>
                  <a:pt x="1203749" y="1970802"/>
                </a:cubicBezTo>
                <a:cubicBezTo>
                  <a:pt x="1203749" y="1977480"/>
                  <a:pt x="1195485" y="1987496"/>
                  <a:pt x="1191356" y="1987496"/>
                </a:cubicBezTo>
                <a:cubicBezTo>
                  <a:pt x="1166563" y="1987496"/>
                  <a:pt x="1154164" y="2000854"/>
                  <a:pt x="1137636" y="2010875"/>
                </a:cubicBezTo>
                <a:cubicBezTo>
                  <a:pt x="1125242" y="2020890"/>
                  <a:pt x="1125242" y="2020890"/>
                  <a:pt x="1096315" y="2014211"/>
                </a:cubicBezTo>
                <a:cubicBezTo>
                  <a:pt x="1088051" y="2010875"/>
                  <a:pt x="1079787" y="2007533"/>
                  <a:pt x="1071523" y="2007533"/>
                </a:cubicBezTo>
                <a:cubicBezTo>
                  <a:pt x="1055000" y="2004195"/>
                  <a:pt x="1038466" y="2004195"/>
                  <a:pt x="1021943" y="2004195"/>
                </a:cubicBezTo>
                <a:cubicBezTo>
                  <a:pt x="993016" y="2000854"/>
                  <a:pt x="959959" y="2010875"/>
                  <a:pt x="935167" y="1997516"/>
                </a:cubicBezTo>
                <a:cubicBezTo>
                  <a:pt x="914509" y="1987496"/>
                  <a:pt x="897981" y="1970802"/>
                  <a:pt x="881453" y="1957444"/>
                </a:cubicBezTo>
                <a:cubicBezTo>
                  <a:pt x="848396" y="1927391"/>
                  <a:pt x="811210" y="1900676"/>
                  <a:pt x="790547" y="1863941"/>
                </a:cubicBezTo>
                <a:cubicBezTo>
                  <a:pt x="782283" y="1847246"/>
                  <a:pt x="757490" y="1837225"/>
                  <a:pt x="740962" y="1820531"/>
                </a:cubicBezTo>
                <a:cubicBezTo>
                  <a:pt x="736833" y="1817189"/>
                  <a:pt x="732698" y="1810511"/>
                  <a:pt x="732698" y="1803832"/>
                </a:cubicBezTo>
                <a:cubicBezTo>
                  <a:pt x="736833" y="1777121"/>
                  <a:pt x="716169" y="1763759"/>
                  <a:pt x="691377" y="1747064"/>
                </a:cubicBezTo>
                <a:cubicBezTo>
                  <a:pt x="683118" y="1743727"/>
                  <a:pt x="678983" y="1737048"/>
                  <a:pt x="670719" y="1733706"/>
                </a:cubicBezTo>
                <a:cubicBezTo>
                  <a:pt x="666585" y="1730369"/>
                  <a:pt x="658326" y="1727028"/>
                  <a:pt x="650056" y="1727028"/>
                </a:cubicBezTo>
                <a:cubicBezTo>
                  <a:pt x="600476" y="1727028"/>
                  <a:pt x="550892" y="1727028"/>
                  <a:pt x="501307" y="1727028"/>
                </a:cubicBezTo>
                <a:cubicBezTo>
                  <a:pt x="497177" y="1727028"/>
                  <a:pt x="493042" y="1727028"/>
                  <a:pt x="488908" y="1730369"/>
                </a:cubicBezTo>
                <a:cubicBezTo>
                  <a:pt x="476514" y="1740385"/>
                  <a:pt x="464115" y="1743727"/>
                  <a:pt x="447592" y="1733706"/>
                </a:cubicBezTo>
                <a:cubicBezTo>
                  <a:pt x="426929" y="1720349"/>
                  <a:pt x="410401" y="1730369"/>
                  <a:pt x="406272" y="1750401"/>
                </a:cubicBezTo>
                <a:cubicBezTo>
                  <a:pt x="406272" y="1757085"/>
                  <a:pt x="410401" y="1763759"/>
                  <a:pt x="406272" y="1770438"/>
                </a:cubicBezTo>
                <a:cubicBezTo>
                  <a:pt x="406272" y="1777121"/>
                  <a:pt x="398007" y="1787137"/>
                  <a:pt x="393873" y="1787137"/>
                </a:cubicBezTo>
                <a:cubicBezTo>
                  <a:pt x="352552" y="1783795"/>
                  <a:pt x="323630" y="1810511"/>
                  <a:pt x="286444" y="1810511"/>
                </a:cubicBezTo>
                <a:cubicBezTo>
                  <a:pt x="274045" y="1810511"/>
                  <a:pt x="265781" y="1820531"/>
                  <a:pt x="253382" y="1823868"/>
                </a:cubicBezTo>
                <a:cubicBezTo>
                  <a:pt x="220330" y="1837225"/>
                  <a:pt x="199668" y="1833889"/>
                  <a:pt x="174875" y="1813852"/>
                </a:cubicBezTo>
                <a:cubicBezTo>
                  <a:pt x="166611" y="1807173"/>
                  <a:pt x="158347" y="1797153"/>
                  <a:pt x="158347" y="1787137"/>
                </a:cubicBezTo>
                <a:cubicBezTo>
                  <a:pt x="158347" y="1777121"/>
                  <a:pt x="158347" y="1767100"/>
                  <a:pt x="158347" y="1757085"/>
                </a:cubicBezTo>
                <a:cubicBezTo>
                  <a:pt x="158347" y="1743727"/>
                  <a:pt x="166611" y="1733706"/>
                  <a:pt x="187274" y="1730369"/>
                </a:cubicBezTo>
                <a:cubicBezTo>
                  <a:pt x="199668" y="1730369"/>
                  <a:pt x="207932" y="1723691"/>
                  <a:pt x="207932" y="1710333"/>
                </a:cubicBezTo>
                <a:cubicBezTo>
                  <a:pt x="207932" y="1696975"/>
                  <a:pt x="207932" y="1683618"/>
                  <a:pt x="207932" y="1670260"/>
                </a:cubicBezTo>
                <a:cubicBezTo>
                  <a:pt x="207932" y="1656903"/>
                  <a:pt x="207932" y="1643545"/>
                  <a:pt x="195538" y="1633525"/>
                </a:cubicBezTo>
                <a:cubicBezTo>
                  <a:pt x="179010" y="1620168"/>
                  <a:pt x="166611" y="1610151"/>
                  <a:pt x="141819" y="1610151"/>
                </a:cubicBezTo>
                <a:cubicBezTo>
                  <a:pt x="112897" y="1613488"/>
                  <a:pt x="100498" y="1596794"/>
                  <a:pt x="83975" y="1580095"/>
                </a:cubicBezTo>
                <a:cubicBezTo>
                  <a:pt x="79840" y="1546705"/>
                  <a:pt x="38519" y="1533347"/>
                  <a:pt x="13727" y="1513311"/>
                </a:cubicBezTo>
                <a:lnTo>
                  <a:pt x="0" y="1511461"/>
                </a:lnTo>
                <a:close/>
              </a:path>
            </a:pathLst>
          </a:custGeom>
          <a:solidFill>
            <a:srgbClr val="00AF9A"/>
          </a:solidFill>
          <a:ln w="814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302BFE-75D3-DD27-DE87-B6FF7DF7D5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7032625"/>
            <a:ext cx="27432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fld id="{847E8C45-1FB8-4A68-A6CB-932AC68B804B}" type="datetime1">
              <a:rPr lang="en-US" smtClean="0"/>
              <a:t>4/2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DCB03D-6091-CCA2-F675-C09E81FC5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7032625"/>
            <a:ext cx="41148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r>
              <a:rPr lang="en-GB"/>
              <a:t>lkdfjglksdfj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9B2A73-BE7F-7D4F-E4D5-E027A8851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7032625"/>
            <a:ext cx="27432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B7F9B57-97FF-C9B7-B365-6AB9CBE9B3A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96779" y="323243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EA13A5E2-6ECD-01D8-9E4D-BC326F3FA4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15758" y="323243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B9C453D3-35F8-FB30-1769-1FE6BD5905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234737" y="323243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547747-6921-F910-125F-B77FA72E60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53716" y="323243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47EBFF74-7438-237D-CE62-03C48B2CAB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72693" y="323243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ABF2F777-5637-247B-0CC1-10978A9FC57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34779" y="5035631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B434333-677B-CB86-D2AB-2E847366AFD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34330" y="5323499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399E053-FC2E-FA97-310B-27A808CC2A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53758" y="5035631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B05478C-447C-CAE6-9AD5-70D306ADA56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09" y="5323499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455EF85-CE05-DC19-50CA-23CE725BB1C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2737" y="5035631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4864C373-5359-118F-AB89-CBA5D37B780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72288" y="5323499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A56F4A1-E2F5-9B93-C89F-C7811302D6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91715" y="5035631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72AF0A74-7179-A42F-1E82-C4DB5A02F6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91266" y="5323499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E63763F4-ABCB-19DE-E4AF-256768C2FBB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10693" y="5035631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12FFCDC2-86D8-38DE-D816-C7396A45DB5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10244" y="5323499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D4FE382-6C97-01B7-EB37-006B39F2D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BFB20ED-E68E-CFDD-1442-9235B0E55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671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 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7">
            <a:extLst>
              <a:ext uri="{FF2B5EF4-FFF2-40B4-BE49-F238E27FC236}">
                <a16:creationId xmlns:a16="http://schemas.microsoft.com/office/drawing/2014/main" id="{B6F998AE-4F21-97F4-48D2-A8A4A0880AB2}"/>
              </a:ext>
            </a:extLst>
          </p:cNvPr>
          <p:cNvGrpSpPr/>
          <p:nvPr userDrawn="1"/>
        </p:nvGrpSpPr>
        <p:grpSpPr>
          <a:xfrm>
            <a:off x="218202" y="544322"/>
            <a:ext cx="7130864" cy="5470961"/>
            <a:chOff x="431438" y="2068033"/>
            <a:chExt cx="2945193" cy="2259621"/>
          </a:xfrm>
          <a:solidFill>
            <a:schemeClr val="accent4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3095DC9-65DF-5F9D-51F1-A4B23A858701}"/>
                </a:ext>
              </a:extLst>
            </p:cNvPr>
            <p:cNvSpPr/>
            <p:nvPr/>
          </p:nvSpPr>
          <p:spPr>
            <a:xfrm>
              <a:off x="431438" y="2068033"/>
              <a:ext cx="2945193" cy="2259621"/>
            </a:xfrm>
            <a:custGeom>
              <a:avLst/>
              <a:gdLst>
                <a:gd name="connsiteX0" fmla="*/ 2941936 w 2945193"/>
                <a:gd name="connsiteY0" fmla="*/ 902682 h 2259621"/>
                <a:gd name="connsiteX1" fmla="*/ 2937863 w 2945193"/>
                <a:gd name="connsiteY1" fmla="*/ 904311 h 2259621"/>
                <a:gd name="connsiteX2" fmla="*/ 2932976 w 2945193"/>
                <a:gd name="connsiteY2" fmla="*/ 905126 h 2259621"/>
                <a:gd name="connsiteX3" fmla="*/ 2923202 w 2945193"/>
                <a:gd name="connsiteY3" fmla="*/ 908384 h 2259621"/>
                <a:gd name="connsiteX4" fmla="*/ 2921573 w 2945193"/>
                <a:gd name="connsiteY4" fmla="*/ 909198 h 2259621"/>
                <a:gd name="connsiteX5" fmla="*/ 2913429 w 2945193"/>
                <a:gd name="connsiteY5" fmla="*/ 911642 h 2259621"/>
                <a:gd name="connsiteX6" fmla="*/ 2910170 w 2945193"/>
                <a:gd name="connsiteY6" fmla="*/ 912456 h 2259621"/>
                <a:gd name="connsiteX7" fmla="*/ 2905284 w 2945193"/>
                <a:gd name="connsiteY7" fmla="*/ 913271 h 2259621"/>
                <a:gd name="connsiteX8" fmla="*/ 2898767 w 2945193"/>
                <a:gd name="connsiteY8" fmla="*/ 914085 h 2259621"/>
                <a:gd name="connsiteX9" fmla="*/ 2896324 w 2945193"/>
                <a:gd name="connsiteY9" fmla="*/ 914085 h 2259621"/>
                <a:gd name="connsiteX10" fmla="*/ 2890622 w 2945193"/>
                <a:gd name="connsiteY10" fmla="*/ 916529 h 2259621"/>
                <a:gd name="connsiteX11" fmla="*/ 2883292 w 2945193"/>
                <a:gd name="connsiteY11" fmla="*/ 918158 h 2259621"/>
                <a:gd name="connsiteX12" fmla="*/ 2877591 w 2945193"/>
                <a:gd name="connsiteY12" fmla="*/ 919786 h 2259621"/>
                <a:gd name="connsiteX13" fmla="*/ 2872704 w 2945193"/>
                <a:gd name="connsiteY13" fmla="*/ 920601 h 2259621"/>
                <a:gd name="connsiteX14" fmla="*/ 2867817 w 2945193"/>
                <a:gd name="connsiteY14" fmla="*/ 923044 h 2259621"/>
                <a:gd name="connsiteX15" fmla="*/ 2862115 w 2945193"/>
                <a:gd name="connsiteY15" fmla="*/ 923859 h 2259621"/>
                <a:gd name="connsiteX16" fmla="*/ 2860487 w 2945193"/>
                <a:gd name="connsiteY16" fmla="*/ 924673 h 2259621"/>
                <a:gd name="connsiteX17" fmla="*/ 2858043 w 2945193"/>
                <a:gd name="connsiteY17" fmla="*/ 923859 h 2259621"/>
                <a:gd name="connsiteX18" fmla="*/ 2854785 w 2945193"/>
                <a:gd name="connsiteY18" fmla="*/ 923044 h 2259621"/>
                <a:gd name="connsiteX19" fmla="*/ 2847455 w 2945193"/>
                <a:gd name="connsiteY19" fmla="*/ 924673 h 2259621"/>
                <a:gd name="connsiteX20" fmla="*/ 2842568 w 2945193"/>
                <a:gd name="connsiteY20" fmla="*/ 924673 h 2259621"/>
                <a:gd name="connsiteX21" fmla="*/ 2837681 w 2945193"/>
                <a:gd name="connsiteY21" fmla="*/ 927117 h 2259621"/>
                <a:gd name="connsiteX22" fmla="*/ 2831165 w 2945193"/>
                <a:gd name="connsiteY22" fmla="*/ 930375 h 2259621"/>
                <a:gd name="connsiteX23" fmla="*/ 2829536 w 2945193"/>
                <a:gd name="connsiteY23" fmla="*/ 931189 h 2259621"/>
                <a:gd name="connsiteX24" fmla="*/ 2822206 w 2945193"/>
                <a:gd name="connsiteY24" fmla="*/ 932818 h 2259621"/>
                <a:gd name="connsiteX25" fmla="*/ 2820577 w 2945193"/>
                <a:gd name="connsiteY25" fmla="*/ 932818 h 2259621"/>
                <a:gd name="connsiteX26" fmla="*/ 2815690 w 2945193"/>
                <a:gd name="connsiteY26" fmla="*/ 932818 h 2259621"/>
                <a:gd name="connsiteX27" fmla="*/ 2811617 w 2945193"/>
                <a:gd name="connsiteY27" fmla="*/ 933633 h 2259621"/>
                <a:gd name="connsiteX28" fmla="*/ 2806730 w 2945193"/>
                <a:gd name="connsiteY28" fmla="*/ 936076 h 2259621"/>
                <a:gd name="connsiteX29" fmla="*/ 2801843 w 2945193"/>
                <a:gd name="connsiteY29" fmla="*/ 936076 h 2259621"/>
                <a:gd name="connsiteX30" fmla="*/ 2795328 w 2945193"/>
                <a:gd name="connsiteY30" fmla="*/ 936076 h 2259621"/>
                <a:gd name="connsiteX31" fmla="*/ 2792069 w 2945193"/>
                <a:gd name="connsiteY31" fmla="*/ 936891 h 2259621"/>
                <a:gd name="connsiteX32" fmla="*/ 2784739 w 2945193"/>
                <a:gd name="connsiteY32" fmla="*/ 937705 h 2259621"/>
                <a:gd name="connsiteX33" fmla="*/ 2779852 w 2945193"/>
                <a:gd name="connsiteY33" fmla="*/ 937705 h 2259621"/>
                <a:gd name="connsiteX34" fmla="*/ 2767635 w 2945193"/>
                <a:gd name="connsiteY34" fmla="*/ 940963 h 2259621"/>
                <a:gd name="connsiteX35" fmla="*/ 2760304 w 2945193"/>
                <a:gd name="connsiteY35" fmla="*/ 945036 h 2259621"/>
                <a:gd name="connsiteX36" fmla="*/ 2752974 w 2945193"/>
                <a:gd name="connsiteY36" fmla="*/ 946665 h 2259621"/>
                <a:gd name="connsiteX37" fmla="*/ 2748087 w 2945193"/>
                <a:gd name="connsiteY37" fmla="*/ 947479 h 2259621"/>
                <a:gd name="connsiteX38" fmla="*/ 2742386 w 2945193"/>
                <a:gd name="connsiteY38" fmla="*/ 950737 h 2259621"/>
                <a:gd name="connsiteX39" fmla="*/ 2737499 w 2945193"/>
                <a:gd name="connsiteY39" fmla="*/ 952366 h 2259621"/>
                <a:gd name="connsiteX40" fmla="*/ 2736684 w 2945193"/>
                <a:gd name="connsiteY40" fmla="*/ 952366 h 2259621"/>
                <a:gd name="connsiteX41" fmla="*/ 2726910 w 2945193"/>
                <a:gd name="connsiteY41" fmla="*/ 959696 h 2259621"/>
                <a:gd name="connsiteX42" fmla="*/ 2725281 w 2945193"/>
                <a:gd name="connsiteY42" fmla="*/ 960511 h 2259621"/>
                <a:gd name="connsiteX43" fmla="*/ 2719580 w 2945193"/>
                <a:gd name="connsiteY43" fmla="*/ 962140 h 2259621"/>
                <a:gd name="connsiteX44" fmla="*/ 2715507 w 2945193"/>
                <a:gd name="connsiteY44" fmla="*/ 963769 h 2259621"/>
                <a:gd name="connsiteX45" fmla="*/ 2706548 w 2945193"/>
                <a:gd name="connsiteY45" fmla="*/ 966212 h 2259621"/>
                <a:gd name="connsiteX46" fmla="*/ 2704919 w 2945193"/>
                <a:gd name="connsiteY46" fmla="*/ 967027 h 2259621"/>
                <a:gd name="connsiteX47" fmla="*/ 2698403 w 2945193"/>
                <a:gd name="connsiteY47" fmla="*/ 969470 h 2259621"/>
                <a:gd name="connsiteX48" fmla="*/ 2687000 w 2945193"/>
                <a:gd name="connsiteY48" fmla="*/ 974357 h 2259621"/>
                <a:gd name="connsiteX49" fmla="*/ 2685372 w 2945193"/>
                <a:gd name="connsiteY49" fmla="*/ 975172 h 2259621"/>
                <a:gd name="connsiteX50" fmla="*/ 2669896 w 2945193"/>
                <a:gd name="connsiteY50" fmla="*/ 984131 h 2259621"/>
                <a:gd name="connsiteX51" fmla="*/ 2665824 w 2945193"/>
                <a:gd name="connsiteY51" fmla="*/ 984946 h 2259621"/>
                <a:gd name="connsiteX52" fmla="*/ 2664195 w 2945193"/>
                <a:gd name="connsiteY52" fmla="*/ 985760 h 2259621"/>
                <a:gd name="connsiteX53" fmla="*/ 2660122 w 2945193"/>
                <a:gd name="connsiteY53" fmla="*/ 988204 h 2259621"/>
                <a:gd name="connsiteX54" fmla="*/ 2657679 w 2945193"/>
                <a:gd name="connsiteY54" fmla="*/ 989833 h 2259621"/>
                <a:gd name="connsiteX55" fmla="*/ 2644647 w 2945193"/>
                <a:gd name="connsiteY55" fmla="*/ 995534 h 2259621"/>
                <a:gd name="connsiteX56" fmla="*/ 2643018 w 2945193"/>
                <a:gd name="connsiteY56" fmla="*/ 996348 h 2259621"/>
                <a:gd name="connsiteX57" fmla="*/ 2642203 w 2945193"/>
                <a:gd name="connsiteY57" fmla="*/ 996348 h 2259621"/>
                <a:gd name="connsiteX58" fmla="*/ 2635687 w 2945193"/>
                <a:gd name="connsiteY58" fmla="*/ 997978 h 2259621"/>
                <a:gd name="connsiteX59" fmla="*/ 2632430 w 2945193"/>
                <a:gd name="connsiteY59" fmla="*/ 998792 h 2259621"/>
                <a:gd name="connsiteX60" fmla="*/ 2622656 w 2945193"/>
                <a:gd name="connsiteY60" fmla="*/ 1001235 h 2259621"/>
                <a:gd name="connsiteX61" fmla="*/ 2622656 w 2945193"/>
                <a:gd name="connsiteY61" fmla="*/ 1000421 h 2259621"/>
                <a:gd name="connsiteX62" fmla="*/ 2612882 w 2945193"/>
                <a:gd name="connsiteY62" fmla="*/ 996348 h 2259621"/>
                <a:gd name="connsiteX63" fmla="*/ 2607180 w 2945193"/>
                <a:gd name="connsiteY63" fmla="*/ 1002050 h 2259621"/>
                <a:gd name="connsiteX64" fmla="*/ 2587633 w 2945193"/>
                <a:gd name="connsiteY64" fmla="*/ 982502 h 2259621"/>
                <a:gd name="connsiteX65" fmla="*/ 2564012 w 2945193"/>
                <a:gd name="connsiteY65" fmla="*/ 962955 h 2259621"/>
                <a:gd name="connsiteX66" fmla="*/ 2502111 w 2945193"/>
                <a:gd name="connsiteY66" fmla="*/ 946665 h 2259621"/>
                <a:gd name="connsiteX67" fmla="*/ 2488265 w 2945193"/>
                <a:gd name="connsiteY67" fmla="*/ 947479 h 2259621"/>
                <a:gd name="connsiteX68" fmla="*/ 2489079 w 2945193"/>
                <a:gd name="connsiteY68" fmla="*/ 946665 h 2259621"/>
                <a:gd name="connsiteX69" fmla="*/ 2483378 w 2945193"/>
                <a:gd name="connsiteY69" fmla="*/ 946665 h 2259621"/>
                <a:gd name="connsiteX70" fmla="*/ 2483378 w 2945193"/>
                <a:gd name="connsiteY70" fmla="*/ 945036 h 2259621"/>
                <a:gd name="connsiteX71" fmla="*/ 2483378 w 2945193"/>
                <a:gd name="connsiteY71" fmla="*/ 936891 h 2259621"/>
                <a:gd name="connsiteX72" fmla="*/ 2480934 w 2945193"/>
                <a:gd name="connsiteY72" fmla="*/ 934447 h 2259621"/>
                <a:gd name="connsiteX73" fmla="*/ 2476862 w 2945193"/>
                <a:gd name="connsiteY73" fmla="*/ 934447 h 2259621"/>
                <a:gd name="connsiteX74" fmla="*/ 2475233 w 2945193"/>
                <a:gd name="connsiteY74" fmla="*/ 935262 h 2259621"/>
                <a:gd name="connsiteX75" fmla="*/ 2468717 w 2945193"/>
                <a:gd name="connsiteY75" fmla="*/ 938520 h 2259621"/>
                <a:gd name="connsiteX76" fmla="*/ 2464645 w 2945193"/>
                <a:gd name="connsiteY76" fmla="*/ 936891 h 2259621"/>
                <a:gd name="connsiteX77" fmla="*/ 2465459 w 2945193"/>
                <a:gd name="connsiteY77" fmla="*/ 934447 h 2259621"/>
                <a:gd name="connsiteX78" fmla="*/ 2467088 w 2945193"/>
                <a:gd name="connsiteY78" fmla="*/ 934447 h 2259621"/>
                <a:gd name="connsiteX79" fmla="*/ 2468717 w 2945193"/>
                <a:gd name="connsiteY79" fmla="*/ 932818 h 2259621"/>
                <a:gd name="connsiteX80" fmla="*/ 2467088 w 2945193"/>
                <a:gd name="connsiteY80" fmla="*/ 930375 h 2259621"/>
                <a:gd name="connsiteX81" fmla="*/ 2465459 w 2945193"/>
                <a:gd name="connsiteY81" fmla="*/ 930375 h 2259621"/>
                <a:gd name="connsiteX82" fmla="*/ 2463016 w 2945193"/>
                <a:gd name="connsiteY82" fmla="*/ 927117 h 2259621"/>
                <a:gd name="connsiteX83" fmla="*/ 2464645 w 2945193"/>
                <a:gd name="connsiteY83" fmla="*/ 923859 h 2259621"/>
                <a:gd name="connsiteX84" fmla="*/ 2467088 w 2945193"/>
                <a:gd name="connsiteY84" fmla="*/ 922230 h 2259621"/>
                <a:gd name="connsiteX85" fmla="*/ 2469532 w 2945193"/>
                <a:gd name="connsiteY85" fmla="*/ 918158 h 2259621"/>
                <a:gd name="connsiteX86" fmla="*/ 2469532 w 2945193"/>
                <a:gd name="connsiteY86" fmla="*/ 914899 h 2259621"/>
                <a:gd name="connsiteX87" fmla="*/ 2470346 w 2945193"/>
                <a:gd name="connsiteY87" fmla="*/ 914085 h 2259621"/>
                <a:gd name="connsiteX88" fmla="*/ 2472790 w 2945193"/>
                <a:gd name="connsiteY88" fmla="*/ 914085 h 2259621"/>
                <a:gd name="connsiteX89" fmla="*/ 2474419 w 2945193"/>
                <a:gd name="connsiteY89" fmla="*/ 911642 h 2259621"/>
                <a:gd name="connsiteX90" fmla="*/ 2476862 w 2945193"/>
                <a:gd name="connsiteY90" fmla="*/ 910827 h 2259621"/>
                <a:gd name="connsiteX91" fmla="*/ 2477677 w 2945193"/>
                <a:gd name="connsiteY91" fmla="*/ 906755 h 2259621"/>
                <a:gd name="connsiteX92" fmla="*/ 2480934 w 2945193"/>
                <a:gd name="connsiteY92" fmla="*/ 902682 h 2259621"/>
                <a:gd name="connsiteX93" fmla="*/ 2485822 w 2945193"/>
                <a:gd name="connsiteY93" fmla="*/ 900239 h 2259621"/>
                <a:gd name="connsiteX94" fmla="*/ 2487450 w 2945193"/>
                <a:gd name="connsiteY94" fmla="*/ 899424 h 2259621"/>
                <a:gd name="connsiteX95" fmla="*/ 2488265 w 2945193"/>
                <a:gd name="connsiteY95" fmla="*/ 896981 h 2259621"/>
                <a:gd name="connsiteX96" fmla="*/ 2490708 w 2945193"/>
                <a:gd name="connsiteY96" fmla="*/ 890465 h 2259621"/>
                <a:gd name="connsiteX97" fmla="*/ 2497224 w 2945193"/>
                <a:gd name="connsiteY97" fmla="*/ 886392 h 2259621"/>
                <a:gd name="connsiteX98" fmla="*/ 2498039 w 2945193"/>
                <a:gd name="connsiteY98" fmla="*/ 884764 h 2259621"/>
                <a:gd name="connsiteX99" fmla="*/ 2501297 w 2945193"/>
                <a:gd name="connsiteY99" fmla="*/ 876619 h 2259621"/>
                <a:gd name="connsiteX100" fmla="*/ 2506998 w 2945193"/>
                <a:gd name="connsiteY100" fmla="*/ 871732 h 2259621"/>
                <a:gd name="connsiteX101" fmla="*/ 2508627 w 2945193"/>
                <a:gd name="connsiteY101" fmla="*/ 870103 h 2259621"/>
                <a:gd name="connsiteX102" fmla="*/ 2511885 w 2945193"/>
                <a:gd name="connsiteY102" fmla="*/ 867659 h 2259621"/>
                <a:gd name="connsiteX103" fmla="*/ 2511885 w 2945193"/>
                <a:gd name="connsiteY103" fmla="*/ 863587 h 2259621"/>
                <a:gd name="connsiteX104" fmla="*/ 2512700 w 2945193"/>
                <a:gd name="connsiteY104" fmla="*/ 860329 h 2259621"/>
                <a:gd name="connsiteX105" fmla="*/ 2515143 w 2945193"/>
                <a:gd name="connsiteY105" fmla="*/ 854627 h 2259621"/>
                <a:gd name="connsiteX106" fmla="*/ 2517586 w 2945193"/>
                <a:gd name="connsiteY106" fmla="*/ 851369 h 2259621"/>
                <a:gd name="connsiteX107" fmla="*/ 2519216 w 2945193"/>
                <a:gd name="connsiteY107" fmla="*/ 848926 h 2259621"/>
                <a:gd name="connsiteX108" fmla="*/ 2520845 w 2945193"/>
                <a:gd name="connsiteY108" fmla="*/ 848112 h 2259621"/>
                <a:gd name="connsiteX109" fmla="*/ 2526546 w 2945193"/>
                <a:gd name="connsiteY109" fmla="*/ 845668 h 2259621"/>
                <a:gd name="connsiteX110" fmla="*/ 2530619 w 2945193"/>
                <a:gd name="connsiteY110" fmla="*/ 839967 h 2259621"/>
                <a:gd name="connsiteX111" fmla="*/ 2537134 w 2945193"/>
                <a:gd name="connsiteY111" fmla="*/ 835894 h 2259621"/>
                <a:gd name="connsiteX112" fmla="*/ 2542836 w 2945193"/>
                <a:gd name="connsiteY112" fmla="*/ 832636 h 2259621"/>
                <a:gd name="connsiteX113" fmla="*/ 2543650 w 2945193"/>
                <a:gd name="connsiteY113" fmla="*/ 831007 h 2259621"/>
                <a:gd name="connsiteX114" fmla="*/ 2545279 w 2945193"/>
                <a:gd name="connsiteY114" fmla="*/ 830193 h 2259621"/>
                <a:gd name="connsiteX115" fmla="*/ 2551795 w 2945193"/>
                <a:gd name="connsiteY115" fmla="*/ 827749 h 2259621"/>
                <a:gd name="connsiteX116" fmla="*/ 2551795 w 2945193"/>
                <a:gd name="connsiteY116" fmla="*/ 826120 h 2259621"/>
                <a:gd name="connsiteX117" fmla="*/ 2552609 w 2945193"/>
                <a:gd name="connsiteY117" fmla="*/ 822862 h 2259621"/>
                <a:gd name="connsiteX118" fmla="*/ 2554238 w 2945193"/>
                <a:gd name="connsiteY118" fmla="*/ 822048 h 2259621"/>
                <a:gd name="connsiteX119" fmla="*/ 2559940 w 2945193"/>
                <a:gd name="connsiteY119" fmla="*/ 816346 h 2259621"/>
                <a:gd name="connsiteX120" fmla="*/ 2568899 w 2945193"/>
                <a:gd name="connsiteY120" fmla="*/ 811460 h 2259621"/>
                <a:gd name="connsiteX121" fmla="*/ 2575416 w 2945193"/>
                <a:gd name="connsiteY121" fmla="*/ 814717 h 2259621"/>
                <a:gd name="connsiteX122" fmla="*/ 2585189 w 2945193"/>
                <a:gd name="connsiteY122" fmla="*/ 817161 h 2259621"/>
                <a:gd name="connsiteX123" fmla="*/ 2603108 w 2945193"/>
                <a:gd name="connsiteY123" fmla="*/ 817161 h 2259621"/>
                <a:gd name="connsiteX124" fmla="*/ 2607180 w 2945193"/>
                <a:gd name="connsiteY124" fmla="*/ 813903 h 2259621"/>
                <a:gd name="connsiteX125" fmla="*/ 2611253 w 2945193"/>
                <a:gd name="connsiteY125" fmla="*/ 809830 h 2259621"/>
                <a:gd name="connsiteX126" fmla="*/ 2626728 w 2945193"/>
                <a:gd name="connsiteY126" fmla="*/ 810645 h 2259621"/>
                <a:gd name="connsiteX127" fmla="*/ 2636502 w 2945193"/>
                <a:gd name="connsiteY127" fmla="*/ 815532 h 2259621"/>
                <a:gd name="connsiteX128" fmla="*/ 2646276 w 2945193"/>
                <a:gd name="connsiteY128" fmla="*/ 814717 h 2259621"/>
                <a:gd name="connsiteX129" fmla="*/ 2649534 w 2945193"/>
                <a:gd name="connsiteY129" fmla="*/ 810645 h 2259621"/>
                <a:gd name="connsiteX130" fmla="*/ 2643018 w 2945193"/>
                <a:gd name="connsiteY130" fmla="*/ 807387 h 2259621"/>
                <a:gd name="connsiteX131" fmla="*/ 2643832 w 2945193"/>
                <a:gd name="connsiteY131" fmla="*/ 805758 h 2259621"/>
                <a:gd name="connsiteX132" fmla="*/ 2643018 w 2945193"/>
                <a:gd name="connsiteY132" fmla="*/ 804943 h 2259621"/>
                <a:gd name="connsiteX133" fmla="*/ 2644647 w 2945193"/>
                <a:gd name="connsiteY133" fmla="*/ 803315 h 2259621"/>
                <a:gd name="connsiteX134" fmla="*/ 2647090 w 2945193"/>
                <a:gd name="connsiteY134" fmla="*/ 800057 h 2259621"/>
                <a:gd name="connsiteX135" fmla="*/ 2643018 w 2945193"/>
                <a:gd name="connsiteY135" fmla="*/ 796799 h 2259621"/>
                <a:gd name="connsiteX136" fmla="*/ 2640575 w 2945193"/>
                <a:gd name="connsiteY136" fmla="*/ 796799 h 2259621"/>
                <a:gd name="connsiteX137" fmla="*/ 2641389 w 2945193"/>
                <a:gd name="connsiteY137" fmla="*/ 795170 h 2259621"/>
                <a:gd name="connsiteX138" fmla="*/ 2637316 w 2945193"/>
                <a:gd name="connsiteY138" fmla="*/ 791912 h 2259621"/>
                <a:gd name="connsiteX139" fmla="*/ 2628357 w 2945193"/>
                <a:gd name="connsiteY139" fmla="*/ 791912 h 2259621"/>
                <a:gd name="connsiteX140" fmla="*/ 2626728 w 2945193"/>
                <a:gd name="connsiteY140" fmla="*/ 791097 h 2259621"/>
                <a:gd name="connsiteX141" fmla="*/ 2626728 w 2945193"/>
                <a:gd name="connsiteY141" fmla="*/ 786210 h 2259621"/>
                <a:gd name="connsiteX142" fmla="*/ 2621027 w 2945193"/>
                <a:gd name="connsiteY142" fmla="*/ 784581 h 2259621"/>
                <a:gd name="connsiteX143" fmla="*/ 2621841 w 2945193"/>
                <a:gd name="connsiteY143" fmla="*/ 781323 h 2259621"/>
                <a:gd name="connsiteX144" fmla="*/ 2621027 w 2945193"/>
                <a:gd name="connsiteY144" fmla="*/ 781323 h 2259621"/>
                <a:gd name="connsiteX145" fmla="*/ 2623470 w 2945193"/>
                <a:gd name="connsiteY145" fmla="*/ 778065 h 2259621"/>
                <a:gd name="connsiteX146" fmla="*/ 2626728 w 2945193"/>
                <a:gd name="connsiteY146" fmla="*/ 776436 h 2259621"/>
                <a:gd name="connsiteX147" fmla="*/ 2634873 w 2945193"/>
                <a:gd name="connsiteY147" fmla="*/ 777251 h 2259621"/>
                <a:gd name="connsiteX148" fmla="*/ 2630801 w 2945193"/>
                <a:gd name="connsiteY148" fmla="*/ 778880 h 2259621"/>
                <a:gd name="connsiteX149" fmla="*/ 2638131 w 2945193"/>
                <a:gd name="connsiteY149" fmla="*/ 777251 h 2259621"/>
                <a:gd name="connsiteX150" fmla="*/ 2665009 w 2945193"/>
                <a:gd name="connsiteY150" fmla="*/ 778880 h 2259621"/>
                <a:gd name="connsiteX151" fmla="*/ 2664195 w 2945193"/>
                <a:gd name="connsiteY151" fmla="*/ 779694 h 2259621"/>
                <a:gd name="connsiteX152" fmla="*/ 2682113 w 2945193"/>
                <a:gd name="connsiteY152" fmla="*/ 780509 h 2259621"/>
                <a:gd name="connsiteX153" fmla="*/ 2687815 w 2945193"/>
                <a:gd name="connsiteY153" fmla="*/ 780509 h 2259621"/>
                <a:gd name="connsiteX154" fmla="*/ 2724467 w 2945193"/>
                <a:gd name="connsiteY154" fmla="*/ 782138 h 2259621"/>
                <a:gd name="connsiteX155" fmla="*/ 2733426 w 2945193"/>
                <a:gd name="connsiteY155" fmla="*/ 782138 h 2259621"/>
                <a:gd name="connsiteX156" fmla="*/ 2732612 w 2945193"/>
                <a:gd name="connsiteY156" fmla="*/ 782138 h 2259621"/>
                <a:gd name="connsiteX157" fmla="*/ 2730983 w 2945193"/>
                <a:gd name="connsiteY157" fmla="*/ 783767 h 2259621"/>
                <a:gd name="connsiteX158" fmla="*/ 2734241 w 2945193"/>
                <a:gd name="connsiteY158" fmla="*/ 782952 h 2259621"/>
                <a:gd name="connsiteX159" fmla="*/ 2744829 w 2945193"/>
                <a:gd name="connsiteY159" fmla="*/ 782138 h 2259621"/>
                <a:gd name="connsiteX160" fmla="*/ 2741571 w 2945193"/>
                <a:gd name="connsiteY160" fmla="*/ 781323 h 2259621"/>
                <a:gd name="connsiteX161" fmla="*/ 2779038 w 2945193"/>
                <a:gd name="connsiteY161" fmla="*/ 776436 h 2259621"/>
                <a:gd name="connsiteX162" fmla="*/ 2783110 w 2945193"/>
                <a:gd name="connsiteY162" fmla="*/ 773178 h 2259621"/>
                <a:gd name="connsiteX163" fmla="*/ 2766821 w 2945193"/>
                <a:gd name="connsiteY163" fmla="*/ 769106 h 2259621"/>
                <a:gd name="connsiteX164" fmla="*/ 2739128 w 2945193"/>
                <a:gd name="connsiteY164" fmla="*/ 766663 h 2259621"/>
                <a:gd name="connsiteX165" fmla="*/ 2737499 w 2945193"/>
                <a:gd name="connsiteY165" fmla="*/ 765848 h 2259621"/>
                <a:gd name="connsiteX166" fmla="*/ 2739128 w 2945193"/>
                <a:gd name="connsiteY166" fmla="*/ 762590 h 2259621"/>
                <a:gd name="connsiteX167" fmla="*/ 2741571 w 2945193"/>
                <a:gd name="connsiteY167" fmla="*/ 760147 h 2259621"/>
                <a:gd name="connsiteX168" fmla="*/ 2742386 w 2945193"/>
                <a:gd name="connsiteY168" fmla="*/ 760147 h 2259621"/>
                <a:gd name="connsiteX169" fmla="*/ 2748087 w 2945193"/>
                <a:gd name="connsiteY169" fmla="*/ 757703 h 2259621"/>
                <a:gd name="connsiteX170" fmla="*/ 2745643 w 2945193"/>
                <a:gd name="connsiteY170" fmla="*/ 756074 h 2259621"/>
                <a:gd name="connsiteX171" fmla="*/ 2746458 w 2945193"/>
                <a:gd name="connsiteY171" fmla="*/ 755260 h 2259621"/>
                <a:gd name="connsiteX172" fmla="*/ 2742386 w 2945193"/>
                <a:gd name="connsiteY172" fmla="*/ 747929 h 2259621"/>
                <a:gd name="connsiteX173" fmla="*/ 2742386 w 2945193"/>
                <a:gd name="connsiteY173" fmla="*/ 747929 h 2259621"/>
                <a:gd name="connsiteX174" fmla="*/ 2737499 w 2945193"/>
                <a:gd name="connsiteY174" fmla="*/ 743042 h 2259621"/>
                <a:gd name="connsiteX175" fmla="*/ 2724467 w 2945193"/>
                <a:gd name="connsiteY175" fmla="*/ 743857 h 2259621"/>
                <a:gd name="connsiteX176" fmla="*/ 2713879 w 2945193"/>
                <a:gd name="connsiteY176" fmla="*/ 741413 h 2259621"/>
                <a:gd name="connsiteX177" fmla="*/ 2713879 w 2945193"/>
                <a:gd name="connsiteY177" fmla="*/ 740599 h 2259621"/>
                <a:gd name="connsiteX178" fmla="*/ 2709806 w 2945193"/>
                <a:gd name="connsiteY178" fmla="*/ 738970 h 2259621"/>
                <a:gd name="connsiteX179" fmla="*/ 2708177 w 2945193"/>
                <a:gd name="connsiteY179" fmla="*/ 738155 h 2259621"/>
                <a:gd name="connsiteX180" fmla="*/ 2708991 w 2945193"/>
                <a:gd name="connsiteY180" fmla="*/ 735712 h 2259621"/>
                <a:gd name="connsiteX181" fmla="*/ 2707362 w 2945193"/>
                <a:gd name="connsiteY181" fmla="*/ 734898 h 2259621"/>
                <a:gd name="connsiteX182" fmla="*/ 2707362 w 2945193"/>
                <a:gd name="connsiteY182" fmla="*/ 734898 h 2259621"/>
                <a:gd name="connsiteX183" fmla="*/ 2713064 w 2945193"/>
                <a:gd name="connsiteY183" fmla="*/ 734083 h 2259621"/>
                <a:gd name="connsiteX184" fmla="*/ 2752159 w 2945193"/>
                <a:gd name="connsiteY184" fmla="*/ 744671 h 2259621"/>
                <a:gd name="connsiteX185" fmla="*/ 2776594 w 2945193"/>
                <a:gd name="connsiteY185" fmla="*/ 743042 h 2259621"/>
                <a:gd name="connsiteX186" fmla="*/ 2766821 w 2945193"/>
                <a:gd name="connsiteY186" fmla="*/ 740599 h 2259621"/>
                <a:gd name="connsiteX187" fmla="*/ 2770893 w 2945193"/>
                <a:gd name="connsiteY187" fmla="*/ 738155 h 2259621"/>
                <a:gd name="connsiteX188" fmla="*/ 2730983 w 2945193"/>
                <a:gd name="connsiteY188" fmla="*/ 728381 h 2259621"/>
                <a:gd name="connsiteX189" fmla="*/ 2732612 w 2945193"/>
                <a:gd name="connsiteY189" fmla="*/ 727567 h 2259621"/>
                <a:gd name="connsiteX190" fmla="*/ 2761933 w 2945193"/>
                <a:gd name="connsiteY190" fmla="*/ 721051 h 2259621"/>
                <a:gd name="connsiteX191" fmla="*/ 2765191 w 2945193"/>
                <a:gd name="connsiteY191" fmla="*/ 712092 h 2259621"/>
                <a:gd name="connsiteX192" fmla="*/ 2767635 w 2945193"/>
                <a:gd name="connsiteY192" fmla="*/ 703947 h 2259621"/>
                <a:gd name="connsiteX193" fmla="*/ 2774151 w 2945193"/>
                <a:gd name="connsiteY193" fmla="*/ 700689 h 2259621"/>
                <a:gd name="connsiteX194" fmla="*/ 2770078 w 2945193"/>
                <a:gd name="connsiteY194" fmla="*/ 694173 h 2259621"/>
                <a:gd name="connsiteX195" fmla="*/ 2769264 w 2945193"/>
                <a:gd name="connsiteY195" fmla="*/ 694173 h 2259621"/>
                <a:gd name="connsiteX196" fmla="*/ 2765191 w 2945193"/>
                <a:gd name="connsiteY196" fmla="*/ 689286 h 2259621"/>
                <a:gd name="connsiteX197" fmla="*/ 2746458 w 2945193"/>
                <a:gd name="connsiteY197" fmla="*/ 684399 h 2259621"/>
                <a:gd name="connsiteX198" fmla="*/ 2725281 w 2945193"/>
                <a:gd name="connsiteY198" fmla="*/ 677883 h 2259621"/>
                <a:gd name="connsiteX199" fmla="*/ 2730168 w 2945193"/>
                <a:gd name="connsiteY199" fmla="*/ 675440 h 2259621"/>
                <a:gd name="connsiteX200" fmla="*/ 2730983 w 2945193"/>
                <a:gd name="connsiteY200" fmla="*/ 674625 h 2259621"/>
                <a:gd name="connsiteX201" fmla="*/ 2731797 w 2945193"/>
                <a:gd name="connsiteY201" fmla="*/ 672996 h 2259621"/>
                <a:gd name="connsiteX202" fmla="*/ 2730983 w 2945193"/>
                <a:gd name="connsiteY202" fmla="*/ 672996 h 2259621"/>
                <a:gd name="connsiteX203" fmla="*/ 2726910 w 2945193"/>
                <a:gd name="connsiteY203" fmla="*/ 674625 h 2259621"/>
                <a:gd name="connsiteX204" fmla="*/ 2722024 w 2945193"/>
                <a:gd name="connsiteY204" fmla="*/ 675440 h 2259621"/>
                <a:gd name="connsiteX205" fmla="*/ 2722024 w 2945193"/>
                <a:gd name="connsiteY205" fmla="*/ 675440 h 2259621"/>
                <a:gd name="connsiteX206" fmla="*/ 2718765 w 2945193"/>
                <a:gd name="connsiteY206" fmla="*/ 672996 h 2259621"/>
                <a:gd name="connsiteX207" fmla="*/ 2713879 w 2945193"/>
                <a:gd name="connsiteY207" fmla="*/ 670553 h 2259621"/>
                <a:gd name="connsiteX208" fmla="*/ 2690258 w 2945193"/>
                <a:gd name="connsiteY208" fmla="*/ 660779 h 2259621"/>
                <a:gd name="connsiteX209" fmla="*/ 2684557 w 2945193"/>
                <a:gd name="connsiteY209" fmla="*/ 659150 h 2259621"/>
                <a:gd name="connsiteX210" fmla="*/ 2634873 w 2945193"/>
                <a:gd name="connsiteY210" fmla="*/ 647747 h 2259621"/>
                <a:gd name="connsiteX211" fmla="*/ 2627543 w 2945193"/>
                <a:gd name="connsiteY211" fmla="*/ 646118 h 2259621"/>
                <a:gd name="connsiteX212" fmla="*/ 2576230 w 2945193"/>
                <a:gd name="connsiteY212" fmla="*/ 639602 h 2259621"/>
                <a:gd name="connsiteX213" fmla="*/ 2547723 w 2945193"/>
                <a:gd name="connsiteY213" fmla="*/ 637973 h 2259621"/>
                <a:gd name="connsiteX214" fmla="*/ 2544465 w 2945193"/>
                <a:gd name="connsiteY214" fmla="*/ 637159 h 2259621"/>
                <a:gd name="connsiteX215" fmla="*/ 2542021 w 2945193"/>
                <a:gd name="connsiteY215" fmla="*/ 635530 h 2259621"/>
                <a:gd name="connsiteX216" fmla="*/ 2537949 w 2945193"/>
                <a:gd name="connsiteY216" fmla="*/ 635530 h 2259621"/>
                <a:gd name="connsiteX217" fmla="*/ 2536320 w 2945193"/>
                <a:gd name="connsiteY217" fmla="*/ 635530 h 2259621"/>
                <a:gd name="connsiteX218" fmla="*/ 2536320 w 2945193"/>
                <a:gd name="connsiteY218" fmla="*/ 629828 h 2259621"/>
                <a:gd name="connsiteX219" fmla="*/ 2546094 w 2945193"/>
                <a:gd name="connsiteY219" fmla="*/ 619240 h 2259621"/>
                <a:gd name="connsiteX220" fmla="*/ 2544465 w 2945193"/>
                <a:gd name="connsiteY220" fmla="*/ 611910 h 2259621"/>
                <a:gd name="connsiteX221" fmla="*/ 2543650 w 2945193"/>
                <a:gd name="connsiteY221" fmla="*/ 608652 h 2259621"/>
                <a:gd name="connsiteX222" fmla="*/ 2546908 w 2945193"/>
                <a:gd name="connsiteY222" fmla="*/ 607023 h 2259621"/>
                <a:gd name="connsiteX223" fmla="*/ 2542836 w 2945193"/>
                <a:gd name="connsiteY223" fmla="*/ 607023 h 2259621"/>
                <a:gd name="connsiteX224" fmla="*/ 2541207 w 2945193"/>
                <a:gd name="connsiteY224" fmla="*/ 602136 h 2259621"/>
                <a:gd name="connsiteX225" fmla="*/ 2541207 w 2945193"/>
                <a:gd name="connsiteY225" fmla="*/ 602136 h 2259621"/>
                <a:gd name="connsiteX226" fmla="*/ 2541207 w 2945193"/>
                <a:gd name="connsiteY226" fmla="*/ 602136 h 2259621"/>
                <a:gd name="connsiteX227" fmla="*/ 2535505 w 2945193"/>
                <a:gd name="connsiteY227" fmla="*/ 585031 h 2259621"/>
                <a:gd name="connsiteX228" fmla="*/ 2518401 w 2945193"/>
                <a:gd name="connsiteY228" fmla="*/ 569556 h 2259621"/>
                <a:gd name="connsiteX229" fmla="*/ 2505369 w 2945193"/>
                <a:gd name="connsiteY229" fmla="*/ 566298 h 2259621"/>
                <a:gd name="connsiteX230" fmla="*/ 2495595 w 2945193"/>
                <a:gd name="connsiteY230" fmla="*/ 565484 h 2259621"/>
                <a:gd name="connsiteX231" fmla="*/ 2486636 w 2945193"/>
                <a:gd name="connsiteY231" fmla="*/ 565484 h 2259621"/>
                <a:gd name="connsiteX232" fmla="*/ 2485007 w 2945193"/>
                <a:gd name="connsiteY232" fmla="*/ 561411 h 2259621"/>
                <a:gd name="connsiteX233" fmla="*/ 2478491 w 2945193"/>
                <a:gd name="connsiteY233" fmla="*/ 551637 h 2259621"/>
                <a:gd name="connsiteX234" fmla="*/ 2476048 w 2945193"/>
                <a:gd name="connsiteY234" fmla="*/ 549194 h 2259621"/>
                <a:gd name="connsiteX235" fmla="*/ 2474419 w 2945193"/>
                <a:gd name="connsiteY235" fmla="*/ 549194 h 2259621"/>
                <a:gd name="connsiteX236" fmla="*/ 2472790 w 2945193"/>
                <a:gd name="connsiteY236" fmla="*/ 547565 h 2259621"/>
                <a:gd name="connsiteX237" fmla="*/ 2473604 w 2945193"/>
                <a:gd name="connsiteY237" fmla="*/ 546750 h 2259621"/>
                <a:gd name="connsiteX238" fmla="*/ 2471160 w 2945193"/>
                <a:gd name="connsiteY238" fmla="*/ 544307 h 2259621"/>
                <a:gd name="connsiteX239" fmla="*/ 2469532 w 2945193"/>
                <a:gd name="connsiteY239" fmla="*/ 544307 h 2259621"/>
                <a:gd name="connsiteX240" fmla="*/ 2467903 w 2945193"/>
                <a:gd name="connsiteY240" fmla="*/ 541863 h 2259621"/>
                <a:gd name="connsiteX241" fmla="*/ 2477677 w 2945193"/>
                <a:gd name="connsiteY241" fmla="*/ 538606 h 2259621"/>
                <a:gd name="connsiteX242" fmla="*/ 2469532 w 2945193"/>
                <a:gd name="connsiteY242" fmla="*/ 535348 h 2259621"/>
                <a:gd name="connsiteX243" fmla="*/ 2470346 w 2945193"/>
                <a:gd name="connsiteY243" fmla="*/ 534533 h 2259621"/>
                <a:gd name="connsiteX244" fmla="*/ 2470346 w 2945193"/>
                <a:gd name="connsiteY244" fmla="*/ 534533 h 2259621"/>
                <a:gd name="connsiteX245" fmla="*/ 2471975 w 2945193"/>
                <a:gd name="connsiteY245" fmla="*/ 533719 h 2259621"/>
                <a:gd name="connsiteX246" fmla="*/ 2471160 w 2945193"/>
                <a:gd name="connsiteY246" fmla="*/ 533719 h 2259621"/>
                <a:gd name="connsiteX247" fmla="*/ 2473604 w 2945193"/>
                <a:gd name="connsiteY247" fmla="*/ 532904 h 2259621"/>
                <a:gd name="connsiteX248" fmla="*/ 2472790 w 2945193"/>
                <a:gd name="connsiteY248" fmla="*/ 533719 h 2259621"/>
                <a:gd name="connsiteX249" fmla="*/ 2480934 w 2945193"/>
                <a:gd name="connsiteY249" fmla="*/ 535348 h 2259621"/>
                <a:gd name="connsiteX250" fmla="*/ 2477677 w 2945193"/>
                <a:gd name="connsiteY250" fmla="*/ 538606 h 2259621"/>
                <a:gd name="connsiteX251" fmla="*/ 2489079 w 2945193"/>
                <a:gd name="connsiteY251" fmla="*/ 539420 h 2259621"/>
                <a:gd name="connsiteX252" fmla="*/ 2499668 w 2945193"/>
                <a:gd name="connsiteY252" fmla="*/ 536162 h 2259621"/>
                <a:gd name="connsiteX253" fmla="*/ 2499668 w 2945193"/>
                <a:gd name="connsiteY253" fmla="*/ 536977 h 2259621"/>
                <a:gd name="connsiteX254" fmla="*/ 2499668 w 2945193"/>
                <a:gd name="connsiteY254" fmla="*/ 537791 h 2259621"/>
                <a:gd name="connsiteX255" fmla="*/ 2495595 w 2945193"/>
                <a:gd name="connsiteY255" fmla="*/ 541049 h 2259621"/>
                <a:gd name="connsiteX256" fmla="*/ 2499668 w 2945193"/>
                <a:gd name="connsiteY256" fmla="*/ 541863 h 2259621"/>
                <a:gd name="connsiteX257" fmla="*/ 2501297 w 2945193"/>
                <a:gd name="connsiteY257" fmla="*/ 545936 h 2259621"/>
                <a:gd name="connsiteX258" fmla="*/ 2501297 w 2945193"/>
                <a:gd name="connsiteY258" fmla="*/ 545936 h 2259621"/>
                <a:gd name="connsiteX259" fmla="*/ 2501297 w 2945193"/>
                <a:gd name="connsiteY259" fmla="*/ 545936 h 2259621"/>
                <a:gd name="connsiteX260" fmla="*/ 2505369 w 2945193"/>
                <a:gd name="connsiteY260" fmla="*/ 550823 h 2259621"/>
                <a:gd name="connsiteX261" fmla="*/ 2517586 w 2945193"/>
                <a:gd name="connsiteY261" fmla="*/ 554081 h 2259621"/>
                <a:gd name="connsiteX262" fmla="*/ 2514329 w 2945193"/>
                <a:gd name="connsiteY262" fmla="*/ 561411 h 2259621"/>
                <a:gd name="connsiteX263" fmla="*/ 2517586 w 2945193"/>
                <a:gd name="connsiteY263" fmla="*/ 564669 h 2259621"/>
                <a:gd name="connsiteX264" fmla="*/ 2517586 w 2945193"/>
                <a:gd name="connsiteY264" fmla="*/ 564669 h 2259621"/>
                <a:gd name="connsiteX265" fmla="*/ 2517586 w 2945193"/>
                <a:gd name="connsiteY265" fmla="*/ 564669 h 2259621"/>
                <a:gd name="connsiteX266" fmla="*/ 2519216 w 2945193"/>
                <a:gd name="connsiteY266" fmla="*/ 565484 h 2259621"/>
                <a:gd name="connsiteX267" fmla="*/ 2519216 w 2945193"/>
                <a:gd name="connsiteY267" fmla="*/ 566298 h 2259621"/>
                <a:gd name="connsiteX268" fmla="*/ 2533062 w 2945193"/>
                <a:gd name="connsiteY268" fmla="*/ 572000 h 2259621"/>
                <a:gd name="connsiteX269" fmla="*/ 2542836 w 2945193"/>
                <a:gd name="connsiteY269" fmla="*/ 576886 h 2259621"/>
                <a:gd name="connsiteX270" fmla="*/ 2538763 w 2945193"/>
                <a:gd name="connsiteY270" fmla="*/ 569556 h 2259621"/>
                <a:gd name="connsiteX271" fmla="*/ 2536320 w 2945193"/>
                <a:gd name="connsiteY271" fmla="*/ 564669 h 2259621"/>
                <a:gd name="connsiteX272" fmla="*/ 2555868 w 2945193"/>
                <a:gd name="connsiteY272" fmla="*/ 557339 h 2259621"/>
                <a:gd name="connsiteX273" fmla="*/ 2545279 w 2945193"/>
                <a:gd name="connsiteY273" fmla="*/ 558153 h 2259621"/>
                <a:gd name="connsiteX274" fmla="*/ 2550166 w 2945193"/>
                <a:gd name="connsiteY274" fmla="*/ 552452 h 2259621"/>
                <a:gd name="connsiteX275" fmla="*/ 2538763 w 2945193"/>
                <a:gd name="connsiteY275" fmla="*/ 553266 h 2259621"/>
                <a:gd name="connsiteX276" fmla="*/ 2528175 w 2945193"/>
                <a:gd name="connsiteY276" fmla="*/ 552452 h 2259621"/>
                <a:gd name="connsiteX277" fmla="*/ 2517586 w 2945193"/>
                <a:gd name="connsiteY277" fmla="*/ 554081 h 2259621"/>
                <a:gd name="connsiteX278" fmla="*/ 2520030 w 2945193"/>
                <a:gd name="connsiteY278" fmla="*/ 553266 h 2259621"/>
                <a:gd name="connsiteX279" fmla="*/ 2530619 w 2945193"/>
                <a:gd name="connsiteY279" fmla="*/ 552452 h 2259621"/>
                <a:gd name="connsiteX280" fmla="*/ 2532247 w 2945193"/>
                <a:gd name="connsiteY280" fmla="*/ 536977 h 2259621"/>
                <a:gd name="connsiteX281" fmla="*/ 2533876 w 2945193"/>
                <a:gd name="connsiteY281" fmla="*/ 533719 h 2259621"/>
                <a:gd name="connsiteX282" fmla="*/ 2533876 w 2945193"/>
                <a:gd name="connsiteY282" fmla="*/ 531275 h 2259621"/>
                <a:gd name="connsiteX283" fmla="*/ 2555053 w 2945193"/>
                <a:gd name="connsiteY283" fmla="*/ 525574 h 2259621"/>
                <a:gd name="connsiteX284" fmla="*/ 2594149 w 2945193"/>
                <a:gd name="connsiteY284" fmla="*/ 515800 h 2259621"/>
                <a:gd name="connsiteX285" fmla="*/ 2601479 w 2945193"/>
                <a:gd name="connsiteY285" fmla="*/ 514171 h 2259621"/>
                <a:gd name="connsiteX286" fmla="*/ 2580302 w 2945193"/>
                <a:gd name="connsiteY286" fmla="*/ 522316 h 2259621"/>
                <a:gd name="connsiteX287" fmla="*/ 2555868 w 2945193"/>
                <a:gd name="connsiteY287" fmla="*/ 527203 h 2259621"/>
                <a:gd name="connsiteX288" fmla="*/ 2542021 w 2945193"/>
                <a:gd name="connsiteY288" fmla="*/ 532090 h 2259621"/>
                <a:gd name="connsiteX289" fmla="*/ 2548537 w 2945193"/>
                <a:gd name="connsiteY289" fmla="*/ 536162 h 2259621"/>
                <a:gd name="connsiteX290" fmla="*/ 2546908 w 2945193"/>
                <a:gd name="connsiteY290" fmla="*/ 536977 h 2259621"/>
                <a:gd name="connsiteX291" fmla="*/ 2553424 w 2945193"/>
                <a:gd name="connsiteY291" fmla="*/ 541049 h 2259621"/>
                <a:gd name="connsiteX292" fmla="*/ 2556682 w 2945193"/>
                <a:gd name="connsiteY292" fmla="*/ 544307 h 2259621"/>
                <a:gd name="connsiteX293" fmla="*/ 2561569 w 2945193"/>
                <a:gd name="connsiteY293" fmla="*/ 548379 h 2259621"/>
                <a:gd name="connsiteX294" fmla="*/ 2562383 w 2945193"/>
                <a:gd name="connsiteY294" fmla="*/ 549194 h 2259621"/>
                <a:gd name="connsiteX295" fmla="*/ 2581931 w 2945193"/>
                <a:gd name="connsiteY295" fmla="*/ 554895 h 2259621"/>
                <a:gd name="connsiteX296" fmla="*/ 2586004 w 2945193"/>
                <a:gd name="connsiteY296" fmla="*/ 553266 h 2259621"/>
                <a:gd name="connsiteX297" fmla="*/ 2608809 w 2945193"/>
                <a:gd name="connsiteY297" fmla="*/ 544307 h 2259621"/>
                <a:gd name="connsiteX298" fmla="*/ 2625099 w 2945193"/>
                <a:gd name="connsiteY298" fmla="*/ 538606 h 2259621"/>
                <a:gd name="connsiteX299" fmla="*/ 2660122 w 2945193"/>
                <a:gd name="connsiteY299" fmla="*/ 527203 h 2259621"/>
                <a:gd name="connsiteX300" fmla="*/ 2714693 w 2945193"/>
                <a:gd name="connsiteY300" fmla="*/ 506841 h 2259621"/>
                <a:gd name="connsiteX301" fmla="*/ 2730168 w 2945193"/>
                <a:gd name="connsiteY301" fmla="*/ 501954 h 2259621"/>
                <a:gd name="connsiteX302" fmla="*/ 2726096 w 2945193"/>
                <a:gd name="connsiteY302" fmla="*/ 510098 h 2259621"/>
                <a:gd name="connsiteX303" fmla="*/ 2730983 w 2945193"/>
                <a:gd name="connsiteY303" fmla="*/ 510913 h 2259621"/>
                <a:gd name="connsiteX304" fmla="*/ 2733426 w 2945193"/>
                <a:gd name="connsiteY304" fmla="*/ 510098 h 2259621"/>
                <a:gd name="connsiteX305" fmla="*/ 2730983 w 2945193"/>
                <a:gd name="connsiteY305" fmla="*/ 514985 h 2259621"/>
                <a:gd name="connsiteX306" fmla="*/ 2735870 w 2945193"/>
                <a:gd name="connsiteY306" fmla="*/ 515800 h 2259621"/>
                <a:gd name="connsiteX307" fmla="*/ 2748087 w 2945193"/>
                <a:gd name="connsiteY307" fmla="*/ 516614 h 2259621"/>
                <a:gd name="connsiteX308" fmla="*/ 2752974 w 2945193"/>
                <a:gd name="connsiteY308" fmla="*/ 510913 h 2259621"/>
                <a:gd name="connsiteX309" fmla="*/ 2762748 w 2945193"/>
                <a:gd name="connsiteY309" fmla="*/ 504397 h 2259621"/>
                <a:gd name="connsiteX310" fmla="*/ 2759490 w 2945193"/>
                <a:gd name="connsiteY310" fmla="*/ 490551 h 2259621"/>
                <a:gd name="connsiteX311" fmla="*/ 2752974 w 2945193"/>
                <a:gd name="connsiteY311" fmla="*/ 484035 h 2259621"/>
                <a:gd name="connsiteX312" fmla="*/ 2761933 w 2945193"/>
                <a:gd name="connsiteY312" fmla="*/ 474261 h 2259621"/>
                <a:gd name="connsiteX313" fmla="*/ 2766006 w 2945193"/>
                <a:gd name="connsiteY313" fmla="*/ 458785 h 2259621"/>
                <a:gd name="connsiteX314" fmla="*/ 2761933 w 2945193"/>
                <a:gd name="connsiteY314" fmla="*/ 462044 h 2259621"/>
                <a:gd name="connsiteX315" fmla="*/ 2761119 w 2945193"/>
                <a:gd name="connsiteY315" fmla="*/ 461229 h 2259621"/>
                <a:gd name="connsiteX316" fmla="*/ 2761119 w 2945193"/>
                <a:gd name="connsiteY316" fmla="*/ 457157 h 2259621"/>
                <a:gd name="connsiteX317" fmla="*/ 2761119 w 2945193"/>
                <a:gd name="connsiteY317" fmla="*/ 457157 h 2259621"/>
                <a:gd name="connsiteX318" fmla="*/ 2762748 w 2945193"/>
                <a:gd name="connsiteY318" fmla="*/ 449012 h 2259621"/>
                <a:gd name="connsiteX319" fmla="*/ 2757047 w 2945193"/>
                <a:gd name="connsiteY319" fmla="*/ 444939 h 2259621"/>
                <a:gd name="connsiteX320" fmla="*/ 2757047 w 2945193"/>
                <a:gd name="connsiteY320" fmla="*/ 444125 h 2259621"/>
                <a:gd name="connsiteX321" fmla="*/ 2752974 w 2945193"/>
                <a:gd name="connsiteY321" fmla="*/ 440052 h 2259621"/>
                <a:gd name="connsiteX322" fmla="*/ 2748087 w 2945193"/>
                <a:gd name="connsiteY322" fmla="*/ 431907 h 2259621"/>
                <a:gd name="connsiteX323" fmla="*/ 2748087 w 2945193"/>
                <a:gd name="connsiteY323" fmla="*/ 431907 h 2259621"/>
                <a:gd name="connsiteX324" fmla="*/ 2743200 w 2945193"/>
                <a:gd name="connsiteY324" fmla="*/ 427020 h 2259621"/>
                <a:gd name="connsiteX325" fmla="*/ 2735870 w 2945193"/>
                <a:gd name="connsiteY325" fmla="*/ 425392 h 2259621"/>
                <a:gd name="connsiteX326" fmla="*/ 2727725 w 2945193"/>
                <a:gd name="connsiteY326" fmla="*/ 422133 h 2259621"/>
                <a:gd name="connsiteX327" fmla="*/ 2722024 w 2945193"/>
                <a:gd name="connsiteY327" fmla="*/ 413989 h 2259621"/>
                <a:gd name="connsiteX328" fmla="*/ 2719580 w 2945193"/>
                <a:gd name="connsiteY328" fmla="*/ 413989 h 2259621"/>
                <a:gd name="connsiteX329" fmla="*/ 2716322 w 2945193"/>
                <a:gd name="connsiteY329" fmla="*/ 409102 h 2259621"/>
                <a:gd name="connsiteX330" fmla="*/ 2703290 w 2945193"/>
                <a:gd name="connsiteY330" fmla="*/ 409916 h 2259621"/>
                <a:gd name="connsiteX331" fmla="*/ 2688629 w 2945193"/>
                <a:gd name="connsiteY331" fmla="*/ 411545 h 2259621"/>
                <a:gd name="connsiteX332" fmla="*/ 2687815 w 2945193"/>
                <a:gd name="connsiteY332" fmla="*/ 411545 h 2259621"/>
                <a:gd name="connsiteX333" fmla="*/ 2689444 w 2945193"/>
                <a:gd name="connsiteY333" fmla="*/ 409102 h 2259621"/>
                <a:gd name="connsiteX334" fmla="*/ 2682928 w 2945193"/>
                <a:gd name="connsiteY334" fmla="*/ 410731 h 2259621"/>
                <a:gd name="connsiteX335" fmla="*/ 2680484 w 2945193"/>
                <a:gd name="connsiteY335" fmla="*/ 409916 h 2259621"/>
                <a:gd name="connsiteX336" fmla="*/ 2637316 w 2945193"/>
                <a:gd name="connsiteY336" fmla="*/ 400957 h 2259621"/>
                <a:gd name="connsiteX337" fmla="*/ 2591705 w 2945193"/>
                <a:gd name="connsiteY337" fmla="*/ 394441 h 2259621"/>
                <a:gd name="connsiteX338" fmla="*/ 2573786 w 2945193"/>
                <a:gd name="connsiteY338" fmla="*/ 393626 h 2259621"/>
                <a:gd name="connsiteX339" fmla="*/ 2555053 w 2945193"/>
                <a:gd name="connsiteY339" fmla="*/ 393626 h 2259621"/>
                <a:gd name="connsiteX340" fmla="*/ 2549352 w 2945193"/>
                <a:gd name="connsiteY340" fmla="*/ 392812 h 2259621"/>
                <a:gd name="connsiteX341" fmla="*/ 2528990 w 2945193"/>
                <a:gd name="connsiteY341" fmla="*/ 393626 h 2259621"/>
                <a:gd name="connsiteX342" fmla="*/ 2529804 w 2945193"/>
                <a:gd name="connsiteY342" fmla="*/ 391997 h 2259621"/>
                <a:gd name="connsiteX343" fmla="*/ 2524917 w 2945193"/>
                <a:gd name="connsiteY343" fmla="*/ 390368 h 2259621"/>
                <a:gd name="connsiteX344" fmla="*/ 2523288 w 2945193"/>
                <a:gd name="connsiteY344" fmla="*/ 391997 h 2259621"/>
                <a:gd name="connsiteX345" fmla="*/ 2524102 w 2945193"/>
                <a:gd name="connsiteY345" fmla="*/ 392812 h 2259621"/>
                <a:gd name="connsiteX346" fmla="*/ 2506998 w 2945193"/>
                <a:gd name="connsiteY346" fmla="*/ 390368 h 2259621"/>
                <a:gd name="connsiteX347" fmla="*/ 2505369 w 2945193"/>
                <a:gd name="connsiteY347" fmla="*/ 382224 h 2259621"/>
                <a:gd name="connsiteX348" fmla="*/ 2512700 w 2945193"/>
                <a:gd name="connsiteY348" fmla="*/ 379780 h 2259621"/>
                <a:gd name="connsiteX349" fmla="*/ 2561569 w 2945193"/>
                <a:gd name="connsiteY349" fmla="*/ 372450 h 2259621"/>
                <a:gd name="connsiteX350" fmla="*/ 2582746 w 2945193"/>
                <a:gd name="connsiteY350" fmla="*/ 368377 h 2259621"/>
                <a:gd name="connsiteX351" fmla="*/ 2597406 w 2945193"/>
                <a:gd name="connsiteY351" fmla="*/ 365934 h 2259621"/>
                <a:gd name="connsiteX352" fmla="*/ 2589261 w 2945193"/>
                <a:gd name="connsiteY352" fmla="*/ 370821 h 2259621"/>
                <a:gd name="connsiteX353" fmla="*/ 2591705 w 2945193"/>
                <a:gd name="connsiteY353" fmla="*/ 391183 h 2259621"/>
                <a:gd name="connsiteX354" fmla="*/ 2609624 w 2945193"/>
                <a:gd name="connsiteY354" fmla="*/ 388740 h 2259621"/>
                <a:gd name="connsiteX355" fmla="*/ 2612068 w 2945193"/>
                <a:gd name="connsiteY355" fmla="*/ 369192 h 2259621"/>
                <a:gd name="connsiteX356" fmla="*/ 2608809 w 2945193"/>
                <a:gd name="connsiteY356" fmla="*/ 365119 h 2259621"/>
                <a:gd name="connsiteX357" fmla="*/ 2627543 w 2945193"/>
                <a:gd name="connsiteY357" fmla="*/ 362676 h 2259621"/>
                <a:gd name="connsiteX358" fmla="*/ 2657679 w 2945193"/>
                <a:gd name="connsiteY358" fmla="*/ 362676 h 2259621"/>
                <a:gd name="connsiteX359" fmla="*/ 2678855 w 2945193"/>
                <a:gd name="connsiteY359" fmla="*/ 365119 h 2259621"/>
                <a:gd name="connsiteX360" fmla="*/ 2704105 w 2945193"/>
                <a:gd name="connsiteY360" fmla="*/ 368377 h 2259621"/>
                <a:gd name="connsiteX361" fmla="*/ 2702476 w 2945193"/>
                <a:gd name="connsiteY361" fmla="*/ 363490 h 2259621"/>
                <a:gd name="connsiteX362" fmla="*/ 2718765 w 2945193"/>
                <a:gd name="connsiteY362" fmla="*/ 359418 h 2259621"/>
                <a:gd name="connsiteX363" fmla="*/ 2713879 w 2945193"/>
                <a:gd name="connsiteY363" fmla="*/ 353716 h 2259621"/>
                <a:gd name="connsiteX364" fmla="*/ 2711435 w 2945193"/>
                <a:gd name="connsiteY364" fmla="*/ 350458 h 2259621"/>
                <a:gd name="connsiteX365" fmla="*/ 2708177 w 2945193"/>
                <a:gd name="connsiteY365" fmla="*/ 341499 h 2259621"/>
                <a:gd name="connsiteX366" fmla="*/ 2779038 w 2945193"/>
                <a:gd name="connsiteY366" fmla="*/ 328467 h 2259621"/>
                <a:gd name="connsiteX367" fmla="*/ 2755417 w 2945193"/>
                <a:gd name="connsiteY367" fmla="*/ 327653 h 2259621"/>
                <a:gd name="connsiteX368" fmla="*/ 2755417 w 2945193"/>
                <a:gd name="connsiteY368" fmla="*/ 327653 h 2259621"/>
                <a:gd name="connsiteX369" fmla="*/ 2773336 w 2945193"/>
                <a:gd name="connsiteY369" fmla="*/ 323580 h 2259621"/>
                <a:gd name="connsiteX370" fmla="*/ 2758676 w 2945193"/>
                <a:gd name="connsiteY370" fmla="*/ 322766 h 2259621"/>
                <a:gd name="connsiteX371" fmla="*/ 2760304 w 2945193"/>
                <a:gd name="connsiteY371" fmla="*/ 318693 h 2259621"/>
                <a:gd name="connsiteX372" fmla="*/ 2756232 w 2945193"/>
                <a:gd name="connsiteY372" fmla="*/ 307291 h 2259621"/>
                <a:gd name="connsiteX373" fmla="*/ 2748902 w 2945193"/>
                <a:gd name="connsiteY373" fmla="*/ 299146 h 2259621"/>
                <a:gd name="connsiteX374" fmla="*/ 2747273 w 2945193"/>
                <a:gd name="connsiteY374" fmla="*/ 298331 h 2259621"/>
                <a:gd name="connsiteX375" fmla="*/ 2743200 w 2945193"/>
                <a:gd name="connsiteY375" fmla="*/ 294259 h 2259621"/>
                <a:gd name="connsiteX376" fmla="*/ 2733426 w 2945193"/>
                <a:gd name="connsiteY376" fmla="*/ 291001 h 2259621"/>
                <a:gd name="connsiteX377" fmla="*/ 2656864 w 2945193"/>
                <a:gd name="connsiteY377" fmla="*/ 286928 h 2259621"/>
                <a:gd name="connsiteX378" fmla="*/ 2608809 w 2945193"/>
                <a:gd name="connsiteY378" fmla="*/ 290186 h 2259621"/>
                <a:gd name="connsiteX379" fmla="*/ 2607995 w 2945193"/>
                <a:gd name="connsiteY379" fmla="*/ 290186 h 2259621"/>
                <a:gd name="connsiteX380" fmla="*/ 2637316 w 2945193"/>
                <a:gd name="connsiteY380" fmla="*/ 286928 h 2259621"/>
                <a:gd name="connsiteX381" fmla="*/ 2669896 w 2945193"/>
                <a:gd name="connsiteY381" fmla="*/ 283670 h 2259621"/>
                <a:gd name="connsiteX382" fmla="*/ 2701661 w 2945193"/>
                <a:gd name="connsiteY382" fmla="*/ 281227 h 2259621"/>
                <a:gd name="connsiteX383" fmla="*/ 2697589 w 2945193"/>
                <a:gd name="connsiteY383" fmla="*/ 274711 h 2259621"/>
                <a:gd name="connsiteX384" fmla="*/ 2696774 w 2945193"/>
                <a:gd name="connsiteY384" fmla="*/ 274711 h 2259621"/>
                <a:gd name="connsiteX385" fmla="*/ 2696774 w 2945193"/>
                <a:gd name="connsiteY385" fmla="*/ 273082 h 2259621"/>
                <a:gd name="connsiteX386" fmla="*/ 2607180 w 2945193"/>
                <a:gd name="connsiteY386" fmla="*/ 273082 h 2259621"/>
                <a:gd name="connsiteX387" fmla="*/ 2590891 w 2945193"/>
                <a:gd name="connsiteY387" fmla="*/ 270639 h 2259621"/>
                <a:gd name="connsiteX388" fmla="*/ 2590076 w 2945193"/>
                <a:gd name="connsiteY388" fmla="*/ 270639 h 2259621"/>
                <a:gd name="connsiteX389" fmla="*/ 2526546 w 2945193"/>
                <a:gd name="connsiteY389" fmla="*/ 275525 h 2259621"/>
                <a:gd name="connsiteX390" fmla="*/ 2500482 w 2945193"/>
                <a:gd name="connsiteY390" fmla="*/ 277969 h 2259621"/>
                <a:gd name="connsiteX391" fmla="*/ 2499668 w 2945193"/>
                <a:gd name="connsiteY391" fmla="*/ 273082 h 2259621"/>
                <a:gd name="connsiteX392" fmla="*/ 2497224 w 2945193"/>
                <a:gd name="connsiteY392" fmla="*/ 251905 h 2259621"/>
                <a:gd name="connsiteX393" fmla="*/ 2502111 w 2945193"/>
                <a:gd name="connsiteY393" fmla="*/ 243760 h 2259621"/>
                <a:gd name="connsiteX394" fmla="*/ 2504555 w 2945193"/>
                <a:gd name="connsiteY394" fmla="*/ 240502 h 2259621"/>
                <a:gd name="connsiteX395" fmla="*/ 2502111 w 2945193"/>
                <a:gd name="connsiteY395" fmla="*/ 237245 h 2259621"/>
                <a:gd name="connsiteX396" fmla="*/ 2496410 w 2945193"/>
                <a:gd name="connsiteY396" fmla="*/ 229100 h 2259621"/>
                <a:gd name="connsiteX397" fmla="*/ 2494781 w 2945193"/>
                <a:gd name="connsiteY397" fmla="*/ 213624 h 2259621"/>
                <a:gd name="connsiteX398" fmla="*/ 2493967 w 2945193"/>
                <a:gd name="connsiteY398" fmla="*/ 204665 h 2259621"/>
                <a:gd name="connsiteX399" fmla="*/ 2486636 w 2945193"/>
                <a:gd name="connsiteY399" fmla="*/ 176972 h 2259621"/>
                <a:gd name="connsiteX400" fmla="*/ 2482564 w 2945193"/>
                <a:gd name="connsiteY400" fmla="*/ 168827 h 2259621"/>
                <a:gd name="connsiteX401" fmla="*/ 2474419 w 2945193"/>
                <a:gd name="connsiteY401" fmla="*/ 152538 h 2259621"/>
                <a:gd name="connsiteX402" fmla="*/ 2469532 w 2945193"/>
                <a:gd name="connsiteY402" fmla="*/ 143578 h 2259621"/>
                <a:gd name="connsiteX403" fmla="*/ 2469532 w 2945193"/>
                <a:gd name="connsiteY403" fmla="*/ 137877 h 2259621"/>
                <a:gd name="connsiteX404" fmla="*/ 2449984 w 2945193"/>
                <a:gd name="connsiteY404" fmla="*/ 124845 h 2259621"/>
                <a:gd name="connsiteX405" fmla="*/ 2443468 w 2945193"/>
                <a:gd name="connsiteY405" fmla="*/ 124845 h 2259621"/>
                <a:gd name="connsiteX406" fmla="*/ 2414146 w 2945193"/>
                <a:gd name="connsiteY406" fmla="*/ 123216 h 2259621"/>
                <a:gd name="connsiteX407" fmla="*/ 2392970 w 2945193"/>
                <a:gd name="connsiteY407" fmla="*/ 134619 h 2259621"/>
                <a:gd name="connsiteX408" fmla="*/ 2382381 w 2945193"/>
                <a:gd name="connsiteY408" fmla="*/ 142764 h 2259621"/>
                <a:gd name="connsiteX409" fmla="*/ 2376680 w 2945193"/>
                <a:gd name="connsiteY409" fmla="*/ 145207 h 2259621"/>
                <a:gd name="connsiteX410" fmla="*/ 2369349 w 2945193"/>
                <a:gd name="connsiteY410" fmla="*/ 154981 h 2259621"/>
                <a:gd name="connsiteX411" fmla="*/ 2366092 w 2945193"/>
                <a:gd name="connsiteY411" fmla="*/ 156610 h 2259621"/>
                <a:gd name="connsiteX412" fmla="*/ 2335141 w 2945193"/>
                <a:gd name="connsiteY412" fmla="*/ 164755 h 2259621"/>
                <a:gd name="connsiteX413" fmla="*/ 2296860 w 2945193"/>
                <a:gd name="connsiteY413" fmla="*/ 154167 h 2259621"/>
                <a:gd name="connsiteX414" fmla="*/ 2293602 w 2945193"/>
                <a:gd name="connsiteY414" fmla="*/ 151723 h 2259621"/>
                <a:gd name="connsiteX415" fmla="*/ 2283828 w 2945193"/>
                <a:gd name="connsiteY415" fmla="*/ 140320 h 2259621"/>
                <a:gd name="connsiteX416" fmla="*/ 2251248 w 2945193"/>
                <a:gd name="connsiteY416" fmla="*/ 84120 h 2259621"/>
                <a:gd name="connsiteX417" fmla="*/ 2225999 w 2945193"/>
                <a:gd name="connsiteY417" fmla="*/ 79234 h 2259621"/>
                <a:gd name="connsiteX418" fmla="*/ 2212153 w 2945193"/>
                <a:gd name="connsiteY418" fmla="*/ 79234 h 2259621"/>
                <a:gd name="connsiteX419" fmla="*/ 2212968 w 2945193"/>
                <a:gd name="connsiteY419" fmla="*/ 78419 h 2259621"/>
                <a:gd name="connsiteX420" fmla="*/ 2215411 w 2945193"/>
                <a:gd name="connsiteY420" fmla="*/ 68645 h 2259621"/>
                <a:gd name="connsiteX421" fmla="*/ 2217040 w 2945193"/>
                <a:gd name="connsiteY421" fmla="*/ 67016 h 2259621"/>
                <a:gd name="connsiteX422" fmla="*/ 2218669 w 2945193"/>
                <a:gd name="connsiteY422" fmla="*/ 63758 h 2259621"/>
                <a:gd name="connsiteX423" fmla="*/ 2219484 w 2945193"/>
                <a:gd name="connsiteY423" fmla="*/ 54799 h 2259621"/>
                <a:gd name="connsiteX424" fmla="*/ 2220298 w 2945193"/>
                <a:gd name="connsiteY424" fmla="*/ 53984 h 2259621"/>
                <a:gd name="connsiteX425" fmla="*/ 2220298 w 2945193"/>
                <a:gd name="connsiteY425" fmla="*/ 53170 h 2259621"/>
                <a:gd name="connsiteX426" fmla="*/ 2218669 w 2945193"/>
                <a:gd name="connsiteY426" fmla="*/ 50727 h 2259621"/>
                <a:gd name="connsiteX427" fmla="*/ 2208895 w 2945193"/>
                <a:gd name="connsiteY427" fmla="*/ 49097 h 2259621"/>
                <a:gd name="connsiteX428" fmla="*/ 2204823 w 2945193"/>
                <a:gd name="connsiteY428" fmla="*/ 46654 h 2259621"/>
                <a:gd name="connsiteX429" fmla="*/ 2200750 w 2945193"/>
                <a:gd name="connsiteY429" fmla="*/ 46654 h 2259621"/>
                <a:gd name="connsiteX430" fmla="*/ 2185275 w 2945193"/>
                <a:gd name="connsiteY430" fmla="*/ 50727 h 2259621"/>
                <a:gd name="connsiteX431" fmla="*/ 2182832 w 2945193"/>
                <a:gd name="connsiteY431" fmla="*/ 50727 h 2259621"/>
                <a:gd name="connsiteX432" fmla="*/ 2173872 w 2945193"/>
                <a:gd name="connsiteY432" fmla="*/ 51541 h 2259621"/>
                <a:gd name="connsiteX433" fmla="*/ 2170614 w 2945193"/>
                <a:gd name="connsiteY433" fmla="*/ 52355 h 2259621"/>
                <a:gd name="connsiteX434" fmla="*/ 2168171 w 2945193"/>
                <a:gd name="connsiteY434" fmla="*/ 52355 h 2259621"/>
                <a:gd name="connsiteX435" fmla="*/ 2164098 w 2945193"/>
                <a:gd name="connsiteY435" fmla="*/ 52355 h 2259621"/>
                <a:gd name="connsiteX436" fmla="*/ 2149437 w 2945193"/>
                <a:gd name="connsiteY436" fmla="*/ 56428 h 2259621"/>
                <a:gd name="connsiteX437" fmla="*/ 2145365 w 2945193"/>
                <a:gd name="connsiteY437" fmla="*/ 56428 h 2259621"/>
                <a:gd name="connsiteX438" fmla="*/ 2138849 w 2945193"/>
                <a:gd name="connsiteY438" fmla="*/ 54799 h 2259621"/>
                <a:gd name="connsiteX439" fmla="*/ 2135591 w 2945193"/>
                <a:gd name="connsiteY439" fmla="*/ 53170 h 2259621"/>
                <a:gd name="connsiteX440" fmla="*/ 2135591 w 2945193"/>
                <a:gd name="connsiteY440" fmla="*/ 50727 h 2259621"/>
                <a:gd name="connsiteX441" fmla="*/ 2142921 w 2945193"/>
                <a:gd name="connsiteY441" fmla="*/ 45840 h 2259621"/>
                <a:gd name="connsiteX442" fmla="*/ 2153510 w 2945193"/>
                <a:gd name="connsiteY442" fmla="*/ 42582 h 2259621"/>
                <a:gd name="connsiteX443" fmla="*/ 2160026 w 2945193"/>
                <a:gd name="connsiteY443" fmla="*/ 42582 h 2259621"/>
                <a:gd name="connsiteX444" fmla="*/ 2165727 w 2945193"/>
                <a:gd name="connsiteY444" fmla="*/ 43396 h 2259621"/>
                <a:gd name="connsiteX445" fmla="*/ 2171428 w 2945193"/>
                <a:gd name="connsiteY445" fmla="*/ 41767 h 2259621"/>
                <a:gd name="connsiteX446" fmla="*/ 2175501 w 2945193"/>
                <a:gd name="connsiteY446" fmla="*/ 40953 h 2259621"/>
                <a:gd name="connsiteX447" fmla="*/ 2177944 w 2945193"/>
                <a:gd name="connsiteY447" fmla="*/ 40953 h 2259621"/>
                <a:gd name="connsiteX448" fmla="*/ 2182017 w 2945193"/>
                <a:gd name="connsiteY448" fmla="*/ 40953 h 2259621"/>
                <a:gd name="connsiteX449" fmla="*/ 2187718 w 2945193"/>
                <a:gd name="connsiteY449" fmla="*/ 40953 h 2259621"/>
                <a:gd name="connsiteX450" fmla="*/ 2190976 w 2945193"/>
                <a:gd name="connsiteY450" fmla="*/ 40953 h 2259621"/>
                <a:gd name="connsiteX451" fmla="*/ 2195049 w 2945193"/>
                <a:gd name="connsiteY451" fmla="*/ 40138 h 2259621"/>
                <a:gd name="connsiteX452" fmla="*/ 2201565 w 2945193"/>
                <a:gd name="connsiteY452" fmla="*/ 40138 h 2259621"/>
                <a:gd name="connsiteX453" fmla="*/ 2208895 w 2945193"/>
                <a:gd name="connsiteY453" fmla="*/ 37695 h 2259621"/>
                <a:gd name="connsiteX454" fmla="*/ 2218669 w 2945193"/>
                <a:gd name="connsiteY454" fmla="*/ 35251 h 2259621"/>
                <a:gd name="connsiteX455" fmla="*/ 2222741 w 2945193"/>
                <a:gd name="connsiteY455" fmla="*/ 35251 h 2259621"/>
                <a:gd name="connsiteX456" fmla="*/ 2225185 w 2945193"/>
                <a:gd name="connsiteY456" fmla="*/ 35251 h 2259621"/>
                <a:gd name="connsiteX457" fmla="*/ 2249620 w 2945193"/>
                <a:gd name="connsiteY457" fmla="*/ 27921 h 2259621"/>
                <a:gd name="connsiteX458" fmla="*/ 2250434 w 2945193"/>
                <a:gd name="connsiteY458" fmla="*/ 25477 h 2259621"/>
                <a:gd name="connsiteX459" fmla="*/ 2247176 w 2945193"/>
                <a:gd name="connsiteY459" fmla="*/ 21405 h 2259621"/>
                <a:gd name="connsiteX460" fmla="*/ 2236588 w 2945193"/>
                <a:gd name="connsiteY460" fmla="*/ 18147 h 2259621"/>
                <a:gd name="connsiteX461" fmla="*/ 2234144 w 2945193"/>
                <a:gd name="connsiteY461" fmla="*/ 18147 h 2259621"/>
                <a:gd name="connsiteX462" fmla="*/ 2224370 w 2945193"/>
                <a:gd name="connsiteY462" fmla="*/ 17332 h 2259621"/>
                <a:gd name="connsiteX463" fmla="*/ 2221113 w 2945193"/>
                <a:gd name="connsiteY463" fmla="*/ 17332 h 2259621"/>
                <a:gd name="connsiteX464" fmla="*/ 2217040 w 2945193"/>
                <a:gd name="connsiteY464" fmla="*/ 17332 h 2259621"/>
                <a:gd name="connsiteX465" fmla="*/ 2210524 w 2945193"/>
                <a:gd name="connsiteY465" fmla="*/ 16518 h 2259621"/>
                <a:gd name="connsiteX466" fmla="*/ 2202379 w 2945193"/>
                <a:gd name="connsiteY466" fmla="*/ 16518 h 2259621"/>
                <a:gd name="connsiteX467" fmla="*/ 2193420 w 2945193"/>
                <a:gd name="connsiteY467" fmla="*/ 16518 h 2259621"/>
                <a:gd name="connsiteX468" fmla="*/ 2190976 w 2945193"/>
                <a:gd name="connsiteY468" fmla="*/ 16518 h 2259621"/>
                <a:gd name="connsiteX469" fmla="*/ 2183646 w 2945193"/>
                <a:gd name="connsiteY469" fmla="*/ 14074 h 2259621"/>
                <a:gd name="connsiteX470" fmla="*/ 2177944 w 2945193"/>
                <a:gd name="connsiteY470" fmla="*/ 10816 h 2259621"/>
                <a:gd name="connsiteX471" fmla="*/ 2177130 w 2945193"/>
                <a:gd name="connsiteY471" fmla="*/ 10002 h 2259621"/>
                <a:gd name="connsiteX472" fmla="*/ 2177130 w 2945193"/>
                <a:gd name="connsiteY472" fmla="*/ 9188 h 2259621"/>
                <a:gd name="connsiteX473" fmla="*/ 2179573 w 2945193"/>
                <a:gd name="connsiteY473" fmla="*/ 5115 h 2259621"/>
                <a:gd name="connsiteX474" fmla="*/ 2182832 w 2945193"/>
                <a:gd name="connsiteY474" fmla="*/ 5930 h 2259621"/>
                <a:gd name="connsiteX475" fmla="*/ 2184461 w 2945193"/>
                <a:gd name="connsiteY475" fmla="*/ 5115 h 2259621"/>
                <a:gd name="connsiteX476" fmla="*/ 2183646 w 2945193"/>
                <a:gd name="connsiteY476" fmla="*/ 3486 h 2259621"/>
                <a:gd name="connsiteX477" fmla="*/ 2179573 w 2945193"/>
                <a:gd name="connsiteY477" fmla="*/ 2671 h 2259621"/>
                <a:gd name="connsiteX478" fmla="*/ 2172243 w 2945193"/>
                <a:gd name="connsiteY478" fmla="*/ 5115 h 2259621"/>
                <a:gd name="connsiteX479" fmla="*/ 2168985 w 2945193"/>
                <a:gd name="connsiteY479" fmla="*/ 4301 h 2259621"/>
                <a:gd name="connsiteX480" fmla="*/ 2167356 w 2945193"/>
                <a:gd name="connsiteY480" fmla="*/ 2671 h 2259621"/>
                <a:gd name="connsiteX481" fmla="*/ 2157582 w 2945193"/>
                <a:gd name="connsiteY481" fmla="*/ 1043 h 2259621"/>
                <a:gd name="connsiteX482" fmla="*/ 2153510 w 2945193"/>
                <a:gd name="connsiteY482" fmla="*/ 1043 h 2259621"/>
                <a:gd name="connsiteX483" fmla="*/ 2149437 w 2945193"/>
                <a:gd name="connsiteY483" fmla="*/ 1043 h 2259621"/>
                <a:gd name="connsiteX484" fmla="*/ 2143736 w 2945193"/>
                <a:gd name="connsiteY484" fmla="*/ 228 h 2259621"/>
                <a:gd name="connsiteX485" fmla="*/ 2137220 w 2945193"/>
                <a:gd name="connsiteY485" fmla="*/ 1043 h 2259621"/>
                <a:gd name="connsiteX486" fmla="*/ 2136406 w 2945193"/>
                <a:gd name="connsiteY486" fmla="*/ 1043 h 2259621"/>
                <a:gd name="connsiteX487" fmla="*/ 2129890 w 2945193"/>
                <a:gd name="connsiteY487" fmla="*/ 1043 h 2259621"/>
                <a:gd name="connsiteX488" fmla="*/ 2126632 w 2945193"/>
                <a:gd name="connsiteY488" fmla="*/ 1043 h 2259621"/>
                <a:gd name="connsiteX489" fmla="*/ 2120930 w 2945193"/>
                <a:gd name="connsiteY489" fmla="*/ 1043 h 2259621"/>
                <a:gd name="connsiteX490" fmla="*/ 2116858 w 2945193"/>
                <a:gd name="connsiteY490" fmla="*/ 1043 h 2259621"/>
                <a:gd name="connsiteX491" fmla="*/ 2113600 w 2945193"/>
                <a:gd name="connsiteY491" fmla="*/ 1043 h 2259621"/>
                <a:gd name="connsiteX492" fmla="*/ 2103826 w 2945193"/>
                <a:gd name="connsiteY492" fmla="*/ 1857 h 2259621"/>
                <a:gd name="connsiteX493" fmla="*/ 2101383 w 2945193"/>
                <a:gd name="connsiteY493" fmla="*/ 2671 h 2259621"/>
                <a:gd name="connsiteX494" fmla="*/ 2094867 w 2945193"/>
                <a:gd name="connsiteY494" fmla="*/ 2671 h 2259621"/>
                <a:gd name="connsiteX495" fmla="*/ 2092423 w 2945193"/>
                <a:gd name="connsiteY495" fmla="*/ 3486 h 2259621"/>
                <a:gd name="connsiteX496" fmla="*/ 2086722 w 2945193"/>
                <a:gd name="connsiteY496" fmla="*/ 6744 h 2259621"/>
                <a:gd name="connsiteX497" fmla="*/ 2081020 w 2945193"/>
                <a:gd name="connsiteY497" fmla="*/ 8373 h 2259621"/>
                <a:gd name="connsiteX498" fmla="*/ 2078577 w 2945193"/>
                <a:gd name="connsiteY498" fmla="*/ 8373 h 2259621"/>
                <a:gd name="connsiteX499" fmla="*/ 2072875 w 2945193"/>
                <a:gd name="connsiteY499" fmla="*/ 8373 h 2259621"/>
                <a:gd name="connsiteX500" fmla="*/ 2069617 w 2945193"/>
                <a:gd name="connsiteY500" fmla="*/ 8373 h 2259621"/>
                <a:gd name="connsiteX501" fmla="*/ 2063101 w 2945193"/>
                <a:gd name="connsiteY501" fmla="*/ 8373 h 2259621"/>
                <a:gd name="connsiteX502" fmla="*/ 2050070 w 2945193"/>
                <a:gd name="connsiteY502" fmla="*/ 12445 h 2259621"/>
                <a:gd name="connsiteX503" fmla="*/ 2046812 w 2945193"/>
                <a:gd name="connsiteY503" fmla="*/ 12445 h 2259621"/>
                <a:gd name="connsiteX504" fmla="*/ 2042739 w 2945193"/>
                <a:gd name="connsiteY504" fmla="*/ 12445 h 2259621"/>
                <a:gd name="connsiteX505" fmla="*/ 2031336 w 2945193"/>
                <a:gd name="connsiteY505" fmla="*/ 12445 h 2259621"/>
                <a:gd name="connsiteX506" fmla="*/ 2023191 w 2945193"/>
                <a:gd name="connsiteY506" fmla="*/ 12445 h 2259621"/>
                <a:gd name="connsiteX507" fmla="*/ 2014232 w 2945193"/>
                <a:gd name="connsiteY507" fmla="*/ 14074 h 2259621"/>
                <a:gd name="connsiteX508" fmla="*/ 2006087 w 2945193"/>
                <a:gd name="connsiteY508" fmla="*/ 14889 h 2259621"/>
                <a:gd name="connsiteX509" fmla="*/ 1912421 w 2945193"/>
                <a:gd name="connsiteY509" fmla="*/ 41767 h 2259621"/>
                <a:gd name="connsiteX510" fmla="*/ 1874955 w 2945193"/>
                <a:gd name="connsiteY510" fmla="*/ 52355 h 2259621"/>
                <a:gd name="connsiteX511" fmla="*/ 1870882 w 2945193"/>
                <a:gd name="connsiteY511" fmla="*/ 52355 h 2259621"/>
                <a:gd name="connsiteX512" fmla="*/ 1868438 w 2945193"/>
                <a:gd name="connsiteY512" fmla="*/ 52355 h 2259621"/>
                <a:gd name="connsiteX513" fmla="*/ 1855407 w 2945193"/>
                <a:gd name="connsiteY513" fmla="*/ 56428 h 2259621"/>
                <a:gd name="connsiteX514" fmla="*/ 1853778 w 2945193"/>
                <a:gd name="connsiteY514" fmla="*/ 58057 h 2259621"/>
                <a:gd name="connsiteX515" fmla="*/ 1851334 w 2945193"/>
                <a:gd name="connsiteY515" fmla="*/ 59686 h 2259621"/>
                <a:gd name="connsiteX516" fmla="*/ 1838303 w 2945193"/>
                <a:gd name="connsiteY516" fmla="*/ 63758 h 2259621"/>
                <a:gd name="connsiteX517" fmla="*/ 1834230 w 2945193"/>
                <a:gd name="connsiteY517" fmla="*/ 63758 h 2259621"/>
                <a:gd name="connsiteX518" fmla="*/ 1833415 w 2945193"/>
                <a:gd name="connsiteY518" fmla="*/ 63758 h 2259621"/>
                <a:gd name="connsiteX519" fmla="*/ 1821198 w 2945193"/>
                <a:gd name="connsiteY519" fmla="*/ 68645 h 2259621"/>
                <a:gd name="connsiteX520" fmla="*/ 1812239 w 2945193"/>
                <a:gd name="connsiteY520" fmla="*/ 70274 h 2259621"/>
                <a:gd name="connsiteX521" fmla="*/ 1808981 w 2945193"/>
                <a:gd name="connsiteY521" fmla="*/ 69460 h 2259621"/>
                <a:gd name="connsiteX522" fmla="*/ 1808166 w 2945193"/>
                <a:gd name="connsiteY522" fmla="*/ 68645 h 2259621"/>
                <a:gd name="connsiteX523" fmla="*/ 1808981 w 2945193"/>
                <a:gd name="connsiteY523" fmla="*/ 67831 h 2259621"/>
                <a:gd name="connsiteX524" fmla="*/ 1815496 w 2945193"/>
                <a:gd name="connsiteY524" fmla="*/ 65387 h 2259621"/>
                <a:gd name="connsiteX525" fmla="*/ 1821198 w 2945193"/>
                <a:gd name="connsiteY525" fmla="*/ 62129 h 2259621"/>
                <a:gd name="connsiteX526" fmla="*/ 1855407 w 2945193"/>
                <a:gd name="connsiteY526" fmla="*/ 52355 h 2259621"/>
                <a:gd name="connsiteX527" fmla="*/ 1861108 w 2945193"/>
                <a:gd name="connsiteY527" fmla="*/ 50727 h 2259621"/>
                <a:gd name="connsiteX528" fmla="*/ 1864366 w 2945193"/>
                <a:gd name="connsiteY528" fmla="*/ 48283 h 2259621"/>
                <a:gd name="connsiteX529" fmla="*/ 1865995 w 2945193"/>
                <a:gd name="connsiteY529" fmla="*/ 48283 h 2259621"/>
                <a:gd name="connsiteX530" fmla="*/ 1868438 w 2945193"/>
                <a:gd name="connsiteY530" fmla="*/ 48283 h 2259621"/>
                <a:gd name="connsiteX531" fmla="*/ 1890430 w 2945193"/>
                <a:gd name="connsiteY531" fmla="*/ 41767 h 2259621"/>
                <a:gd name="connsiteX532" fmla="*/ 1893688 w 2945193"/>
                <a:gd name="connsiteY532" fmla="*/ 38509 h 2259621"/>
                <a:gd name="connsiteX533" fmla="*/ 1893688 w 2945193"/>
                <a:gd name="connsiteY533" fmla="*/ 37695 h 2259621"/>
                <a:gd name="connsiteX534" fmla="*/ 1892873 w 2945193"/>
                <a:gd name="connsiteY534" fmla="*/ 37695 h 2259621"/>
                <a:gd name="connsiteX535" fmla="*/ 1879841 w 2945193"/>
                <a:gd name="connsiteY535" fmla="*/ 40953 h 2259621"/>
                <a:gd name="connsiteX536" fmla="*/ 1876583 w 2945193"/>
                <a:gd name="connsiteY536" fmla="*/ 40953 h 2259621"/>
                <a:gd name="connsiteX537" fmla="*/ 1874140 w 2945193"/>
                <a:gd name="connsiteY537" fmla="*/ 41767 h 2259621"/>
                <a:gd name="connsiteX538" fmla="*/ 1872511 w 2945193"/>
                <a:gd name="connsiteY538" fmla="*/ 43396 h 2259621"/>
                <a:gd name="connsiteX539" fmla="*/ 1855407 w 2945193"/>
                <a:gd name="connsiteY539" fmla="*/ 49097 h 2259621"/>
                <a:gd name="connsiteX540" fmla="*/ 1822013 w 2945193"/>
                <a:gd name="connsiteY540" fmla="*/ 58057 h 2259621"/>
                <a:gd name="connsiteX541" fmla="*/ 1817126 w 2945193"/>
                <a:gd name="connsiteY541" fmla="*/ 61315 h 2259621"/>
                <a:gd name="connsiteX542" fmla="*/ 1810610 w 2945193"/>
                <a:gd name="connsiteY542" fmla="*/ 63758 h 2259621"/>
                <a:gd name="connsiteX543" fmla="*/ 1800836 w 2945193"/>
                <a:gd name="connsiteY543" fmla="*/ 64573 h 2259621"/>
                <a:gd name="connsiteX544" fmla="*/ 1751152 w 2945193"/>
                <a:gd name="connsiteY544" fmla="*/ 79234 h 2259621"/>
                <a:gd name="connsiteX545" fmla="*/ 1744636 w 2945193"/>
                <a:gd name="connsiteY545" fmla="*/ 82492 h 2259621"/>
                <a:gd name="connsiteX546" fmla="*/ 1734048 w 2945193"/>
                <a:gd name="connsiteY546" fmla="*/ 84935 h 2259621"/>
                <a:gd name="connsiteX547" fmla="*/ 1732419 w 2945193"/>
                <a:gd name="connsiteY547" fmla="*/ 85749 h 2259621"/>
                <a:gd name="connsiteX548" fmla="*/ 1728347 w 2945193"/>
                <a:gd name="connsiteY548" fmla="*/ 87379 h 2259621"/>
                <a:gd name="connsiteX549" fmla="*/ 1723459 w 2945193"/>
                <a:gd name="connsiteY549" fmla="*/ 89007 h 2259621"/>
                <a:gd name="connsiteX550" fmla="*/ 1722645 w 2945193"/>
                <a:gd name="connsiteY550" fmla="*/ 89822 h 2259621"/>
                <a:gd name="connsiteX551" fmla="*/ 1710428 w 2945193"/>
                <a:gd name="connsiteY551" fmla="*/ 93080 h 2259621"/>
                <a:gd name="connsiteX552" fmla="*/ 1707170 w 2945193"/>
                <a:gd name="connsiteY552" fmla="*/ 92265 h 2259621"/>
                <a:gd name="connsiteX553" fmla="*/ 1703912 w 2945193"/>
                <a:gd name="connsiteY553" fmla="*/ 93080 h 2259621"/>
                <a:gd name="connsiteX554" fmla="*/ 1697396 w 2945193"/>
                <a:gd name="connsiteY554" fmla="*/ 95523 h 2259621"/>
                <a:gd name="connsiteX555" fmla="*/ 1694138 w 2945193"/>
                <a:gd name="connsiteY555" fmla="*/ 95523 h 2259621"/>
                <a:gd name="connsiteX556" fmla="*/ 1685178 w 2945193"/>
                <a:gd name="connsiteY556" fmla="*/ 97967 h 2259621"/>
                <a:gd name="connsiteX557" fmla="*/ 1678662 w 2945193"/>
                <a:gd name="connsiteY557" fmla="*/ 102039 h 2259621"/>
                <a:gd name="connsiteX558" fmla="*/ 1676219 w 2945193"/>
                <a:gd name="connsiteY558" fmla="*/ 102039 h 2259621"/>
                <a:gd name="connsiteX559" fmla="*/ 1672147 w 2945193"/>
                <a:gd name="connsiteY559" fmla="*/ 102854 h 2259621"/>
                <a:gd name="connsiteX560" fmla="*/ 1668888 w 2945193"/>
                <a:gd name="connsiteY560" fmla="*/ 103668 h 2259621"/>
                <a:gd name="connsiteX561" fmla="*/ 1659929 w 2945193"/>
                <a:gd name="connsiteY561" fmla="*/ 105297 h 2259621"/>
                <a:gd name="connsiteX562" fmla="*/ 1657486 w 2945193"/>
                <a:gd name="connsiteY562" fmla="*/ 106926 h 2259621"/>
                <a:gd name="connsiteX563" fmla="*/ 1589883 w 2945193"/>
                <a:gd name="connsiteY563" fmla="*/ 107741 h 2259621"/>
                <a:gd name="connsiteX564" fmla="*/ 1400107 w 2945193"/>
                <a:gd name="connsiteY564" fmla="*/ 154981 h 2259621"/>
                <a:gd name="connsiteX565" fmla="*/ 1349609 w 2945193"/>
                <a:gd name="connsiteY565" fmla="*/ 161497 h 2259621"/>
                <a:gd name="connsiteX566" fmla="*/ 1294223 w 2945193"/>
                <a:gd name="connsiteY566" fmla="*/ 172085 h 2259621"/>
                <a:gd name="connsiteX567" fmla="*/ 1202186 w 2945193"/>
                <a:gd name="connsiteY567" fmla="*/ 211995 h 2259621"/>
                <a:gd name="connsiteX568" fmla="*/ 1018926 w 2945193"/>
                <a:gd name="connsiteY568" fmla="*/ 269010 h 2259621"/>
                <a:gd name="connsiteX569" fmla="*/ 935848 w 2945193"/>
                <a:gd name="connsiteY569" fmla="*/ 294259 h 2259621"/>
                <a:gd name="connsiteX570" fmla="*/ 866616 w 2945193"/>
                <a:gd name="connsiteY570" fmla="*/ 331725 h 2259621"/>
                <a:gd name="connsiteX571" fmla="*/ 720823 w 2945193"/>
                <a:gd name="connsiteY571" fmla="*/ 358603 h 2259621"/>
                <a:gd name="connsiteX572" fmla="*/ 676026 w 2945193"/>
                <a:gd name="connsiteY572" fmla="*/ 360232 h 2259621"/>
                <a:gd name="connsiteX573" fmla="*/ 672768 w 2945193"/>
                <a:gd name="connsiteY573" fmla="*/ 361047 h 2259621"/>
                <a:gd name="connsiteX574" fmla="*/ 648333 w 2945193"/>
                <a:gd name="connsiteY574" fmla="*/ 370821 h 2259621"/>
                <a:gd name="connsiteX575" fmla="*/ 636116 w 2945193"/>
                <a:gd name="connsiteY575" fmla="*/ 377337 h 2259621"/>
                <a:gd name="connsiteX576" fmla="*/ 588876 w 2945193"/>
                <a:gd name="connsiteY576" fmla="*/ 397699 h 2259621"/>
                <a:gd name="connsiteX577" fmla="*/ 572586 w 2945193"/>
                <a:gd name="connsiteY577" fmla="*/ 396070 h 2259621"/>
                <a:gd name="connsiteX578" fmla="*/ 564441 w 2945193"/>
                <a:gd name="connsiteY578" fmla="*/ 396884 h 2259621"/>
                <a:gd name="connsiteX579" fmla="*/ 563627 w 2945193"/>
                <a:gd name="connsiteY579" fmla="*/ 406658 h 2259621"/>
                <a:gd name="connsiteX580" fmla="*/ 562812 w 2945193"/>
                <a:gd name="connsiteY580" fmla="*/ 409916 h 2259621"/>
                <a:gd name="connsiteX581" fmla="*/ 548151 w 2945193"/>
                <a:gd name="connsiteY581" fmla="*/ 418061 h 2259621"/>
                <a:gd name="connsiteX582" fmla="*/ 517201 w 2945193"/>
                <a:gd name="connsiteY582" fmla="*/ 433536 h 2259621"/>
                <a:gd name="connsiteX583" fmla="*/ 467517 w 2945193"/>
                <a:gd name="connsiteY583" fmla="*/ 471817 h 2259621"/>
                <a:gd name="connsiteX584" fmla="*/ 394213 w 2945193"/>
                <a:gd name="connsiteY584" fmla="*/ 505211 h 2259621"/>
                <a:gd name="connsiteX585" fmla="*/ 342086 w 2945193"/>
                <a:gd name="connsiteY585" fmla="*/ 550008 h 2259621"/>
                <a:gd name="connsiteX586" fmla="*/ 279370 w 2945193"/>
                <a:gd name="connsiteY586" fmla="*/ 567113 h 2259621"/>
                <a:gd name="connsiteX587" fmla="*/ 180002 w 2945193"/>
                <a:gd name="connsiteY587" fmla="*/ 673811 h 2259621"/>
                <a:gd name="connsiteX588" fmla="*/ 171857 w 2945193"/>
                <a:gd name="connsiteY588" fmla="*/ 677883 h 2259621"/>
                <a:gd name="connsiteX589" fmla="*/ 166156 w 2945193"/>
                <a:gd name="connsiteY589" fmla="*/ 706390 h 2259621"/>
                <a:gd name="connsiteX590" fmla="*/ 165341 w 2945193"/>
                <a:gd name="connsiteY590" fmla="*/ 716979 h 2259621"/>
                <a:gd name="connsiteX591" fmla="*/ 170228 w 2945193"/>
                <a:gd name="connsiteY591" fmla="*/ 751187 h 2259621"/>
                <a:gd name="connsiteX592" fmla="*/ 160454 w 2945193"/>
                <a:gd name="connsiteY592" fmla="*/ 761776 h 2259621"/>
                <a:gd name="connsiteX593" fmla="*/ 168599 w 2945193"/>
                <a:gd name="connsiteY593" fmla="*/ 775622 h 2259621"/>
                <a:gd name="connsiteX594" fmla="*/ 182446 w 2945193"/>
                <a:gd name="connsiteY594" fmla="*/ 805758 h 2259621"/>
                <a:gd name="connsiteX595" fmla="*/ 206066 w 2945193"/>
                <a:gd name="connsiteY595" fmla="*/ 844854 h 2259621"/>
                <a:gd name="connsiteX596" fmla="*/ 238645 w 2945193"/>
                <a:gd name="connsiteY596" fmla="*/ 865216 h 2259621"/>
                <a:gd name="connsiteX597" fmla="*/ 288329 w 2945193"/>
                <a:gd name="connsiteY597" fmla="*/ 859514 h 2259621"/>
                <a:gd name="connsiteX598" fmla="*/ 322538 w 2945193"/>
                <a:gd name="connsiteY598" fmla="*/ 840781 h 2259621"/>
                <a:gd name="connsiteX599" fmla="*/ 375479 w 2945193"/>
                <a:gd name="connsiteY599" fmla="*/ 792726 h 2259621"/>
                <a:gd name="connsiteX600" fmla="*/ 395842 w 2945193"/>
                <a:gd name="connsiteY600" fmla="*/ 765034 h 2259621"/>
                <a:gd name="connsiteX601" fmla="*/ 403987 w 2945193"/>
                <a:gd name="connsiteY601" fmla="*/ 765034 h 2259621"/>
                <a:gd name="connsiteX602" fmla="*/ 412131 w 2945193"/>
                <a:gd name="connsiteY602" fmla="*/ 761776 h 2259621"/>
                <a:gd name="connsiteX603" fmla="*/ 403987 w 2945193"/>
                <a:gd name="connsiteY603" fmla="*/ 757703 h 2259621"/>
                <a:gd name="connsiteX604" fmla="*/ 404801 w 2945193"/>
                <a:gd name="connsiteY604" fmla="*/ 756889 h 2259621"/>
                <a:gd name="connsiteX605" fmla="*/ 419462 w 2945193"/>
                <a:gd name="connsiteY605" fmla="*/ 745486 h 2259621"/>
                <a:gd name="connsiteX606" fmla="*/ 421905 w 2945193"/>
                <a:gd name="connsiteY606" fmla="*/ 747929 h 2259621"/>
                <a:gd name="connsiteX607" fmla="*/ 435752 w 2945193"/>
                <a:gd name="connsiteY607" fmla="*/ 747115 h 2259621"/>
                <a:gd name="connsiteX608" fmla="*/ 439010 w 2945193"/>
                <a:gd name="connsiteY608" fmla="*/ 726753 h 2259621"/>
                <a:gd name="connsiteX609" fmla="*/ 439010 w 2945193"/>
                <a:gd name="connsiteY609" fmla="*/ 726753 h 2259621"/>
                <a:gd name="connsiteX610" fmla="*/ 446340 w 2945193"/>
                <a:gd name="connsiteY610" fmla="*/ 716164 h 2259621"/>
                <a:gd name="connsiteX611" fmla="*/ 461001 w 2945193"/>
                <a:gd name="connsiteY611" fmla="*/ 708834 h 2259621"/>
                <a:gd name="connsiteX612" fmla="*/ 504169 w 2945193"/>
                <a:gd name="connsiteY612" fmla="*/ 687657 h 2259621"/>
                <a:gd name="connsiteX613" fmla="*/ 545708 w 2945193"/>
                <a:gd name="connsiteY613" fmla="*/ 666480 h 2259621"/>
                <a:gd name="connsiteX614" fmla="*/ 600279 w 2945193"/>
                <a:gd name="connsiteY614" fmla="*/ 640417 h 2259621"/>
                <a:gd name="connsiteX615" fmla="*/ 601908 w 2945193"/>
                <a:gd name="connsiteY615" fmla="*/ 640417 h 2259621"/>
                <a:gd name="connsiteX616" fmla="*/ 601908 w 2945193"/>
                <a:gd name="connsiteY616" fmla="*/ 639602 h 2259621"/>
                <a:gd name="connsiteX617" fmla="*/ 614939 w 2945193"/>
                <a:gd name="connsiteY617" fmla="*/ 633901 h 2259621"/>
                <a:gd name="connsiteX618" fmla="*/ 659736 w 2945193"/>
                <a:gd name="connsiteY618" fmla="*/ 612724 h 2259621"/>
                <a:gd name="connsiteX619" fmla="*/ 667881 w 2945193"/>
                <a:gd name="connsiteY619" fmla="*/ 608652 h 2259621"/>
                <a:gd name="connsiteX620" fmla="*/ 680913 w 2945193"/>
                <a:gd name="connsiteY620" fmla="*/ 604579 h 2259621"/>
                <a:gd name="connsiteX621" fmla="*/ 654849 w 2945193"/>
                <a:gd name="connsiteY621" fmla="*/ 617611 h 2259621"/>
                <a:gd name="connsiteX622" fmla="*/ 645075 w 2945193"/>
                <a:gd name="connsiteY622" fmla="*/ 624127 h 2259621"/>
                <a:gd name="connsiteX623" fmla="*/ 645075 w 2945193"/>
                <a:gd name="connsiteY623" fmla="*/ 624127 h 2259621"/>
                <a:gd name="connsiteX624" fmla="*/ 645075 w 2945193"/>
                <a:gd name="connsiteY624" fmla="*/ 624127 h 2259621"/>
                <a:gd name="connsiteX625" fmla="*/ 612496 w 2945193"/>
                <a:gd name="connsiteY625" fmla="*/ 637159 h 2259621"/>
                <a:gd name="connsiteX626" fmla="*/ 617383 w 2945193"/>
                <a:gd name="connsiteY626" fmla="*/ 639602 h 2259621"/>
                <a:gd name="connsiteX627" fmla="*/ 610052 w 2945193"/>
                <a:gd name="connsiteY627" fmla="*/ 646118 h 2259621"/>
                <a:gd name="connsiteX628" fmla="*/ 611681 w 2945193"/>
                <a:gd name="connsiteY628" fmla="*/ 650190 h 2259621"/>
                <a:gd name="connsiteX629" fmla="*/ 605980 w 2945193"/>
                <a:gd name="connsiteY629" fmla="*/ 655077 h 2259621"/>
                <a:gd name="connsiteX630" fmla="*/ 595392 w 2945193"/>
                <a:gd name="connsiteY630" fmla="*/ 664037 h 2259621"/>
                <a:gd name="connsiteX631" fmla="*/ 588061 w 2945193"/>
                <a:gd name="connsiteY631" fmla="*/ 669738 h 2259621"/>
                <a:gd name="connsiteX632" fmla="*/ 570143 w 2945193"/>
                <a:gd name="connsiteY632" fmla="*/ 686028 h 2259621"/>
                <a:gd name="connsiteX633" fmla="*/ 566884 w 2945193"/>
                <a:gd name="connsiteY633" fmla="*/ 688472 h 2259621"/>
                <a:gd name="connsiteX634" fmla="*/ 532676 w 2945193"/>
                <a:gd name="connsiteY634" fmla="*/ 710463 h 2259621"/>
                <a:gd name="connsiteX635" fmla="*/ 517201 w 2945193"/>
                <a:gd name="connsiteY635" fmla="*/ 732454 h 2259621"/>
                <a:gd name="connsiteX636" fmla="*/ 503354 w 2945193"/>
                <a:gd name="connsiteY636" fmla="*/ 759332 h 2259621"/>
                <a:gd name="connsiteX637" fmla="*/ 488694 w 2945193"/>
                <a:gd name="connsiteY637" fmla="*/ 769921 h 2259621"/>
                <a:gd name="connsiteX638" fmla="*/ 464259 w 2945193"/>
                <a:gd name="connsiteY638" fmla="*/ 779694 h 2259621"/>
                <a:gd name="connsiteX639" fmla="*/ 454485 w 2945193"/>
                <a:gd name="connsiteY639" fmla="*/ 784581 h 2259621"/>
                <a:gd name="connsiteX640" fmla="*/ 448783 w 2945193"/>
                <a:gd name="connsiteY640" fmla="*/ 782138 h 2259621"/>
                <a:gd name="connsiteX641" fmla="*/ 425163 w 2945193"/>
                <a:gd name="connsiteY641" fmla="*/ 796799 h 2259621"/>
                <a:gd name="connsiteX642" fmla="*/ 408059 w 2945193"/>
                <a:gd name="connsiteY642" fmla="*/ 803315 h 2259621"/>
                <a:gd name="connsiteX643" fmla="*/ 403987 w 2945193"/>
                <a:gd name="connsiteY643" fmla="*/ 805758 h 2259621"/>
                <a:gd name="connsiteX644" fmla="*/ 377108 w 2945193"/>
                <a:gd name="connsiteY644" fmla="*/ 816346 h 2259621"/>
                <a:gd name="connsiteX645" fmla="*/ 352674 w 2945193"/>
                <a:gd name="connsiteY645" fmla="*/ 828564 h 2259621"/>
                <a:gd name="connsiteX646" fmla="*/ 331497 w 2945193"/>
                <a:gd name="connsiteY646" fmla="*/ 838338 h 2259621"/>
                <a:gd name="connsiteX647" fmla="*/ 311135 w 2945193"/>
                <a:gd name="connsiteY647" fmla="*/ 858700 h 2259621"/>
                <a:gd name="connsiteX648" fmla="*/ 320909 w 2945193"/>
                <a:gd name="connsiteY648" fmla="*/ 855442 h 2259621"/>
                <a:gd name="connsiteX649" fmla="*/ 316022 w 2945193"/>
                <a:gd name="connsiteY649" fmla="*/ 863587 h 2259621"/>
                <a:gd name="connsiteX650" fmla="*/ 329868 w 2945193"/>
                <a:gd name="connsiteY650" fmla="*/ 859514 h 2259621"/>
                <a:gd name="connsiteX651" fmla="*/ 343714 w 2945193"/>
                <a:gd name="connsiteY651" fmla="*/ 854627 h 2259621"/>
                <a:gd name="connsiteX652" fmla="*/ 347787 w 2945193"/>
                <a:gd name="connsiteY652" fmla="*/ 851369 h 2259621"/>
                <a:gd name="connsiteX653" fmla="*/ 355932 w 2945193"/>
                <a:gd name="connsiteY653" fmla="*/ 846482 h 2259621"/>
                <a:gd name="connsiteX654" fmla="*/ 381995 w 2945193"/>
                <a:gd name="connsiteY654" fmla="*/ 836709 h 2259621"/>
                <a:gd name="connsiteX655" fmla="*/ 384439 w 2945193"/>
                <a:gd name="connsiteY655" fmla="*/ 845668 h 2259621"/>
                <a:gd name="connsiteX656" fmla="*/ 399100 w 2945193"/>
                <a:gd name="connsiteY656" fmla="*/ 846482 h 2259621"/>
                <a:gd name="connsiteX657" fmla="*/ 407245 w 2945193"/>
                <a:gd name="connsiteY657" fmla="*/ 845668 h 2259621"/>
                <a:gd name="connsiteX658" fmla="*/ 430050 w 2945193"/>
                <a:gd name="connsiteY658" fmla="*/ 840781 h 2259621"/>
                <a:gd name="connsiteX659" fmla="*/ 440639 w 2945193"/>
                <a:gd name="connsiteY659" fmla="*/ 840781 h 2259621"/>
                <a:gd name="connsiteX660" fmla="*/ 440639 w 2945193"/>
                <a:gd name="connsiteY660" fmla="*/ 840781 h 2259621"/>
                <a:gd name="connsiteX661" fmla="*/ 440639 w 2945193"/>
                <a:gd name="connsiteY661" fmla="*/ 840781 h 2259621"/>
                <a:gd name="connsiteX662" fmla="*/ 447155 w 2945193"/>
                <a:gd name="connsiteY662" fmla="*/ 840781 h 2259621"/>
                <a:gd name="connsiteX663" fmla="*/ 447155 w 2945193"/>
                <a:gd name="connsiteY663" fmla="*/ 840781 h 2259621"/>
                <a:gd name="connsiteX664" fmla="*/ 448783 w 2945193"/>
                <a:gd name="connsiteY664" fmla="*/ 839967 h 2259621"/>
                <a:gd name="connsiteX665" fmla="*/ 447155 w 2945193"/>
                <a:gd name="connsiteY665" fmla="*/ 840781 h 2259621"/>
                <a:gd name="connsiteX666" fmla="*/ 447155 w 2945193"/>
                <a:gd name="connsiteY666" fmla="*/ 840781 h 2259621"/>
                <a:gd name="connsiteX667" fmla="*/ 447155 w 2945193"/>
                <a:gd name="connsiteY667" fmla="*/ 840781 h 2259621"/>
                <a:gd name="connsiteX668" fmla="*/ 443082 w 2945193"/>
                <a:gd name="connsiteY668" fmla="*/ 844039 h 2259621"/>
                <a:gd name="connsiteX669" fmla="*/ 443082 w 2945193"/>
                <a:gd name="connsiteY669" fmla="*/ 844854 h 2259621"/>
                <a:gd name="connsiteX670" fmla="*/ 434123 w 2945193"/>
                <a:gd name="connsiteY670" fmla="*/ 852184 h 2259621"/>
                <a:gd name="connsiteX671" fmla="*/ 430865 w 2945193"/>
                <a:gd name="connsiteY671" fmla="*/ 853813 h 2259621"/>
                <a:gd name="connsiteX672" fmla="*/ 420276 w 2945193"/>
                <a:gd name="connsiteY672" fmla="*/ 845668 h 2259621"/>
                <a:gd name="connsiteX673" fmla="*/ 415390 w 2945193"/>
                <a:gd name="connsiteY673" fmla="*/ 854627 h 2259621"/>
                <a:gd name="connsiteX674" fmla="*/ 409688 w 2945193"/>
                <a:gd name="connsiteY674" fmla="*/ 866030 h 2259621"/>
                <a:gd name="connsiteX675" fmla="*/ 408874 w 2945193"/>
                <a:gd name="connsiteY675" fmla="*/ 866030 h 2259621"/>
                <a:gd name="connsiteX676" fmla="*/ 408874 w 2945193"/>
                <a:gd name="connsiteY676" fmla="*/ 866030 h 2259621"/>
                <a:gd name="connsiteX677" fmla="*/ 403172 w 2945193"/>
                <a:gd name="connsiteY677" fmla="*/ 870103 h 2259621"/>
                <a:gd name="connsiteX678" fmla="*/ 396656 w 2945193"/>
                <a:gd name="connsiteY678" fmla="*/ 875804 h 2259621"/>
                <a:gd name="connsiteX679" fmla="*/ 377923 w 2945193"/>
                <a:gd name="connsiteY679" fmla="*/ 883134 h 2259621"/>
                <a:gd name="connsiteX680" fmla="*/ 370593 w 2945193"/>
                <a:gd name="connsiteY680" fmla="*/ 887207 h 2259621"/>
                <a:gd name="connsiteX681" fmla="*/ 363262 w 2945193"/>
                <a:gd name="connsiteY681" fmla="*/ 891279 h 2259621"/>
                <a:gd name="connsiteX682" fmla="*/ 341271 w 2945193"/>
                <a:gd name="connsiteY682" fmla="*/ 908384 h 2259621"/>
                <a:gd name="connsiteX683" fmla="*/ 329054 w 2945193"/>
                <a:gd name="connsiteY683" fmla="*/ 925488 h 2259621"/>
                <a:gd name="connsiteX684" fmla="*/ 324981 w 2945193"/>
                <a:gd name="connsiteY684" fmla="*/ 929560 h 2259621"/>
                <a:gd name="connsiteX685" fmla="*/ 324981 w 2945193"/>
                <a:gd name="connsiteY685" fmla="*/ 929560 h 2259621"/>
                <a:gd name="connsiteX686" fmla="*/ 311949 w 2945193"/>
                <a:gd name="connsiteY686" fmla="*/ 927931 h 2259621"/>
                <a:gd name="connsiteX687" fmla="*/ 311135 w 2945193"/>
                <a:gd name="connsiteY687" fmla="*/ 940963 h 2259621"/>
                <a:gd name="connsiteX688" fmla="*/ 283442 w 2945193"/>
                <a:gd name="connsiteY688" fmla="*/ 962140 h 2259621"/>
                <a:gd name="connsiteX689" fmla="*/ 276112 w 2945193"/>
                <a:gd name="connsiteY689" fmla="*/ 970285 h 2259621"/>
                <a:gd name="connsiteX690" fmla="*/ 261451 w 2945193"/>
                <a:gd name="connsiteY690" fmla="*/ 984131 h 2259621"/>
                <a:gd name="connsiteX691" fmla="*/ 239460 w 2945193"/>
                <a:gd name="connsiteY691" fmla="*/ 1002864 h 2259621"/>
                <a:gd name="connsiteX692" fmla="*/ 232944 w 2945193"/>
                <a:gd name="connsiteY692" fmla="*/ 1008566 h 2259621"/>
                <a:gd name="connsiteX693" fmla="*/ 226428 w 2945193"/>
                <a:gd name="connsiteY693" fmla="*/ 997978 h 2259621"/>
                <a:gd name="connsiteX694" fmla="*/ 232944 w 2945193"/>
                <a:gd name="connsiteY694" fmla="*/ 1008566 h 2259621"/>
                <a:gd name="connsiteX695" fmla="*/ 185703 w 2945193"/>
                <a:gd name="connsiteY695" fmla="*/ 1054177 h 2259621"/>
                <a:gd name="connsiteX696" fmla="*/ 137649 w 2945193"/>
                <a:gd name="connsiteY696" fmla="*/ 1099789 h 2259621"/>
                <a:gd name="connsiteX697" fmla="*/ 135205 w 2945193"/>
                <a:gd name="connsiteY697" fmla="*/ 1102232 h 2259621"/>
                <a:gd name="connsiteX698" fmla="*/ 135205 w 2945193"/>
                <a:gd name="connsiteY698" fmla="*/ 1102232 h 2259621"/>
                <a:gd name="connsiteX699" fmla="*/ 134391 w 2945193"/>
                <a:gd name="connsiteY699" fmla="*/ 1097345 h 2259621"/>
                <a:gd name="connsiteX700" fmla="*/ 131133 w 2945193"/>
                <a:gd name="connsiteY700" fmla="*/ 1094087 h 2259621"/>
                <a:gd name="connsiteX701" fmla="*/ 127875 w 2945193"/>
                <a:gd name="connsiteY701" fmla="*/ 1096531 h 2259621"/>
                <a:gd name="connsiteX702" fmla="*/ 127875 w 2945193"/>
                <a:gd name="connsiteY702" fmla="*/ 1105490 h 2259621"/>
                <a:gd name="connsiteX703" fmla="*/ 129504 w 2945193"/>
                <a:gd name="connsiteY703" fmla="*/ 1107934 h 2259621"/>
                <a:gd name="connsiteX704" fmla="*/ 123802 w 2945193"/>
                <a:gd name="connsiteY704" fmla="*/ 1113635 h 2259621"/>
                <a:gd name="connsiteX705" fmla="*/ 120544 w 2945193"/>
                <a:gd name="connsiteY705" fmla="*/ 1116893 h 2259621"/>
                <a:gd name="connsiteX706" fmla="*/ 114843 w 2945193"/>
                <a:gd name="connsiteY706" fmla="*/ 1121780 h 2259621"/>
                <a:gd name="connsiteX707" fmla="*/ 75747 w 2945193"/>
                <a:gd name="connsiteY707" fmla="*/ 1161690 h 2259621"/>
                <a:gd name="connsiteX708" fmla="*/ 62716 w 2945193"/>
                <a:gd name="connsiteY708" fmla="*/ 1174722 h 2259621"/>
                <a:gd name="connsiteX709" fmla="*/ 32580 w 2945193"/>
                <a:gd name="connsiteY709" fmla="*/ 1204043 h 2259621"/>
                <a:gd name="connsiteX710" fmla="*/ 28507 w 2945193"/>
                <a:gd name="connsiteY710" fmla="*/ 1210559 h 2259621"/>
                <a:gd name="connsiteX711" fmla="*/ 13846 w 2945193"/>
                <a:gd name="connsiteY711" fmla="*/ 1234994 h 2259621"/>
                <a:gd name="connsiteX712" fmla="*/ 8959 w 2945193"/>
                <a:gd name="connsiteY712" fmla="*/ 1243953 h 2259621"/>
                <a:gd name="connsiteX713" fmla="*/ 7330 w 2945193"/>
                <a:gd name="connsiteY713" fmla="*/ 1256171 h 2259621"/>
                <a:gd name="connsiteX714" fmla="*/ 14661 w 2945193"/>
                <a:gd name="connsiteY714" fmla="*/ 1265944 h 2259621"/>
                <a:gd name="connsiteX715" fmla="*/ 0 w 2945193"/>
                <a:gd name="connsiteY715" fmla="*/ 1278976 h 2259621"/>
                <a:gd name="connsiteX716" fmla="*/ 1629 w 2945193"/>
                <a:gd name="connsiteY716" fmla="*/ 1289565 h 2259621"/>
                <a:gd name="connsiteX717" fmla="*/ 2443 w 2945193"/>
                <a:gd name="connsiteY717" fmla="*/ 1292008 h 2259621"/>
                <a:gd name="connsiteX718" fmla="*/ 27693 w 2945193"/>
                <a:gd name="connsiteY718" fmla="*/ 1318886 h 2259621"/>
                <a:gd name="connsiteX719" fmla="*/ 30950 w 2945193"/>
                <a:gd name="connsiteY719" fmla="*/ 1379158 h 2259621"/>
                <a:gd name="connsiteX720" fmla="*/ 52127 w 2945193"/>
                <a:gd name="connsiteY720" fmla="*/ 1412553 h 2259621"/>
                <a:gd name="connsiteX721" fmla="*/ 52127 w 2945193"/>
                <a:gd name="connsiteY721" fmla="*/ 1414182 h 2259621"/>
                <a:gd name="connsiteX722" fmla="*/ 54571 w 2945193"/>
                <a:gd name="connsiteY722" fmla="*/ 1415810 h 2259621"/>
                <a:gd name="connsiteX723" fmla="*/ 80634 w 2945193"/>
                <a:gd name="connsiteY723" fmla="*/ 1435358 h 2259621"/>
                <a:gd name="connsiteX724" fmla="*/ 107512 w 2945193"/>
                <a:gd name="connsiteY724" fmla="*/ 1430471 h 2259621"/>
                <a:gd name="connsiteX725" fmla="*/ 115657 w 2945193"/>
                <a:gd name="connsiteY725" fmla="*/ 1427214 h 2259621"/>
                <a:gd name="connsiteX726" fmla="*/ 130318 w 2945193"/>
                <a:gd name="connsiteY726" fmla="*/ 1417440 h 2259621"/>
                <a:gd name="connsiteX727" fmla="*/ 147422 w 2945193"/>
                <a:gd name="connsiteY727" fmla="*/ 1410109 h 2259621"/>
                <a:gd name="connsiteX728" fmla="*/ 145794 w 2945193"/>
                <a:gd name="connsiteY728" fmla="*/ 1413367 h 2259621"/>
                <a:gd name="connsiteX729" fmla="*/ 144164 w 2945193"/>
                <a:gd name="connsiteY729" fmla="*/ 1415810 h 2259621"/>
                <a:gd name="connsiteX730" fmla="*/ 141721 w 2945193"/>
                <a:gd name="connsiteY730" fmla="*/ 1419069 h 2259621"/>
                <a:gd name="connsiteX731" fmla="*/ 140092 w 2945193"/>
                <a:gd name="connsiteY731" fmla="*/ 1423141 h 2259621"/>
                <a:gd name="connsiteX732" fmla="*/ 136834 w 2945193"/>
                <a:gd name="connsiteY732" fmla="*/ 1428028 h 2259621"/>
                <a:gd name="connsiteX733" fmla="*/ 134391 w 2945193"/>
                <a:gd name="connsiteY733" fmla="*/ 1431286 h 2259621"/>
                <a:gd name="connsiteX734" fmla="*/ 134391 w 2945193"/>
                <a:gd name="connsiteY734" fmla="*/ 1432915 h 2259621"/>
                <a:gd name="connsiteX735" fmla="*/ 136834 w 2945193"/>
                <a:gd name="connsiteY735" fmla="*/ 1441874 h 2259621"/>
                <a:gd name="connsiteX736" fmla="*/ 136834 w 2945193"/>
                <a:gd name="connsiteY736" fmla="*/ 1443503 h 2259621"/>
                <a:gd name="connsiteX737" fmla="*/ 132762 w 2945193"/>
                <a:gd name="connsiteY737" fmla="*/ 1448390 h 2259621"/>
                <a:gd name="connsiteX738" fmla="*/ 131133 w 2945193"/>
                <a:gd name="connsiteY738" fmla="*/ 1450019 h 2259621"/>
                <a:gd name="connsiteX739" fmla="*/ 127060 w 2945193"/>
                <a:gd name="connsiteY739" fmla="*/ 1457349 h 2259621"/>
                <a:gd name="connsiteX740" fmla="*/ 126246 w 2945193"/>
                <a:gd name="connsiteY740" fmla="*/ 1458979 h 2259621"/>
                <a:gd name="connsiteX741" fmla="*/ 126246 w 2945193"/>
                <a:gd name="connsiteY741" fmla="*/ 1462236 h 2259621"/>
                <a:gd name="connsiteX742" fmla="*/ 127060 w 2945193"/>
                <a:gd name="connsiteY742" fmla="*/ 1467123 h 2259621"/>
                <a:gd name="connsiteX743" fmla="*/ 126246 w 2945193"/>
                <a:gd name="connsiteY743" fmla="*/ 1471196 h 2259621"/>
                <a:gd name="connsiteX744" fmla="*/ 122173 w 2945193"/>
                <a:gd name="connsiteY744" fmla="*/ 1485857 h 2259621"/>
                <a:gd name="connsiteX745" fmla="*/ 122988 w 2945193"/>
                <a:gd name="connsiteY745" fmla="*/ 1494001 h 2259621"/>
                <a:gd name="connsiteX746" fmla="*/ 123802 w 2945193"/>
                <a:gd name="connsiteY746" fmla="*/ 1498888 h 2259621"/>
                <a:gd name="connsiteX747" fmla="*/ 121359 w 2945193"/>
                <a:gd name="connsiteY747" fmla="*/ 1507033 h 2259621"/>
                <a:gd name="connsiteX748" fmla="*/ 125431 w 2945193"/>
                <a:gd name="connsiteY748" fmla="*/ 1515178 h 2259621"/>
                <a:gd name="connsiteX749" fmla="*/ 126246 w 2945193"/>
                <a:gd name="connsiteY749" fmla="*/ 1518436 h 2259621"/>
                <a:gd name="connsiteX750" fmla="*/ 127875 w 2945193"/>
                <a:gd name="connsiteY750" fmla="*/ 1521694 h 2259621"/>
                <a:gd name="connsiteX751" fmla="*/ 135205 w 2945193"/>
                <a:gd name="connsiteY751" fmla="*/ 1527396 h 2259621"/>
                <a:gd name="connsiteX752" fmla="*/ 142536 w 2945193"/>
                <a:gd name="connsiteY752" fmla="*/ 1533097 h 2259621"/>
                <a:gd name="connsiteX753" fmla="*/ 143350 w 2945193"/>
                <a:gd name="connsiteY753" fmla="*/ 1533911 h 2259621"/>
                <a:gd name="connsiteX754" fmla="*/ 149051 w 2945193"/>
                <a:gd name="connsiteY754" fmla="*/ 1538798 h 2259621"/>
                <a:gd name="connsiteX755" fmla="*/ 154753 w 2945193"/>
                <a:gd name="connsiteY755" fmla="*/ 1542871 h 2259621"/>
                <a:gd name="connsiteX756" fmla="*/ 162083 w 2945193"/>
                <a:gd name="connsiteY756" fmla="*/ 1548572 h 2259621"/>
                <a:gd name="connsiteX757" fmla="*/ 163712 w 2945193"/>
                <a:gd name="connsiteY757" fmla="*/ 1549387 h 2259621"/>
                <a:gd name="connsiteX758" fmla="*/ 173486 w 2945193"/>
                <a:gd name="connsiteY758" fmla="*/ 1555088 h 2259621"/>
                <a:gd name="connsiteX759" fmla="*/ 181631 w 2945193"/>
                <a:gd name="connsiteY759" fmla="*/ 1559161 h 2259621"/>
                <a:gd name="connsiteX760" fmla="*/ 184074 w 2945193"/>
                <a:gd name="connsiteY760" fmla="*/ 1561604 h 2259621"/>
                <a:gd name="connsiteX761" fmla="*/ 186518 w 2945193"/>
                <a:gd name="connsiteY761" fmla="*/ 1564862 h 2259621"/>
                <a:gd name="connsiteX762" fmla="*/ 188961 w 2945193"/>
                <a:gd name="connsiteY762" fmla="*/ 1566491 h 2259621"/>
                <a:gd name="connsiteX763" fmla="*/ 193848 w 2945193"/>
                <a:gd name="connsiteY763" fmla="*/ 1568120 h 2259621"/>
                <a:gd name="connsiteX764" fmla="*/ 201993 w 2945193"/>
                <a:gd name="connsiteY764" fmla="*/ 1574636 h 2259621"/>
                <a:gd name="connsiteX765" fmla="*/ 206066 w 2945193"/>
                <a:gd name="connsiteY765" fmla="*/ 1581152 h 2259621"/>
                <a:gd name="connsiteX766" fmla="*/ 207695 w 2945193"/>
                <a:gd name="connsiteY766" fmla="*/ 1582781 h 2259621"/>
                <a:gd name="connsiteX767" fmla="*/ 210953 w 2945193"/>
                <a:gd name="connsiteY767" fmla="*/ 1585224 h 2259621"/>
                <a:gd name="connsiteX768" fmla="*/ 219098 w 2945193"/>
                <a:gd name="connsiteY768" fmla="*/ 1594184 h 2259621"/>
                <a:gd name="connsiteX769" fmla="*/ 223985 w 2945193"/>
                <a:gd name="connsiteY769" fmla="*/ 1599071 h 2259621"/>
                <a:gd name="connsiteX770" fmla="*/ 230500 w 2945193"/>
                <a:gd name="connsiteY770" fmla="*/ 1607215 h 2259621"/>
                <a:gd name="connsiteX771" fmla="*/ 231315 w 2945193"/>
                <a:gd name="connsiteY771" fmla="*/ 1609659 h 2259621"/>
                <a:gd name="connsiteX772" fmla="*/ 234573 w 2945193"/>
                <a:gd name="connsiteY772" fmla="*/ 1612102 h 2259621"/>
                <a:gd name="connsiteX773" fmla="*/ 239460 w 2945193"/>
                <a:gd name="connsiteY773" fmla="*/ 1620247 h 2259621"/>
                <a:gd name="connsiteX774" fmla="*/ 241089 w 2945193"/>
                <a:gd name="connsiteY774" fmla="*/ 1622691 h 2259621"/>
                <a:gd name="connsiteX775" fmla="*/ 245161 w 2945193"/>
                <a:gd name="connsiteY775" fmla="*/ 1626763 h 2259621"/>
                <a:gd name="connsiteX776" fmla="*/ 248419 w 2945193"/>
                <a:gd name="connsiteY776" fmla="*/ 1632465 h 2259621"/>
                <a:gd name="connsiteX777" fmla="*/ 253306 w 2945193"/>
                <a:gd name="connsiteY777" fmla="*/ 1635723 h 2259621"/>
                <a:gd name="connsiteX778" fmla="*/ 259008 w 2945193"/>
                <a:gd name="connsiteY778" fmla="*/ 1639795 h 2259621"/>
                <a:gd name="connsiteX779" fmla="*/ 262265 w 2945193"/>
                <a:gd name="connsiteY779" fmla="*/ 1640610 h 2259621"/>
                <a:gd name="connsiteX780" fmla="*/ 267152 w 2945193"/>
                <a:gd name="connsiteY780" fmla="*/ 1641424 h 2259621"/>
                <a:gd name="connsiteX781" fmla="*/ 269596 w 2945193"/>
                <a:gd name="connsiteY781" fmla="*/ 1641424 h 2259621"/>
                <a:gd name="connsiteX782" fmla="*/ 280999 w 2945193"/>
                <a:gd name="connsiteY782" fmla="*/ 1633279 h 2259621"/>
                <a:gd name="connsiteX783" fmla="*/ 283442 w 2945193"/>
                <a:gd name="connsiteY783" fmla="*/ 1631650 h 2259621"/>
                <a:gd name="connsiteX784" fmla="*/ 285886 w 2945193"/>
                <a:gd name="connsiteY784" fmla="*/ 1630021 h 2259621"/>
                <a:gd name="connsiteX785" fmla="*/ 291587 w 2945193"/>
                <a:gd name="connsiteY785" fmla="*/ 1625134 h 2259621"/>
                <a:gd name="connsiteX786" fmla="*/ 295660 w 2945193"/>
                <a:gd name="connsiteY786" fmla="*/ 1621876 h 2259621"/>
                <a:gd name="connsiteX787" fmla="*/ 297289 w 2945193"/>
                <a:gd name="connsiteY787" fmla="*/ 1620247 h 2259621"/>
                <a:gd name="connsiteX788" fmla="*/ 303804 w 2945193"/>
                <a:gd name="connsiteY788" fmla="*/ 1616175 h 2259621"/>
                <a:gd name="connsiteX789" fmla="*/ 306248 w 2945193"/>
                <a:gd name="connsiteY789" fmla="*/ 1613732 h 2259621"/>
                <a:gd name="connsiteX790" fmla="*/ 314393 w 2945193"/>
                <a:gd name="connsiteY790" fmla="*/ 1611288 h 2259621"/>
                <a:gd name="connsiteX791" fmla="*/ 319280 w 2945193"/>
                <a:gd name="connsiteY791" fmla="*/ 1613732 h 2259621"/>
                <a:gd name="connsiteX792" fmla="*/ 324981 w 2945193"/>
                <a:gd name="connsiteY792" fmla="*/ 1615360 h 2259621"/>
                <a:gd name="connsiteX793" fmla="*/ 332312 w 2945193"/>
                <a:gd name="connsiteY793" fmla="*/ 1619433 h 2259621"/>
                <a:gd name="connsiteX794" fmla="*/ 336384 w 2945193"/>
                <a:gd name="connsiteY794" fmla="*/ 1622691 h 2259621"/>
                <a:gd name="connsiteX795" fmla="*/ 341271 w 2945193"/>
                <a:gd name="connsiteY795" fmla="*/ 1626763 h 2259621"/>
                <a:gd name="connsiteX796" fmla="*/ 347787 w 2945193"/>
                <a:gd name="connsiteY796" fmla="*/ 1627578 h 2259621"/>
                <a:gd name="connsiteX797" fmla="*/ 353488 w 2945193"/>
                <a:gd name="connsiteY797" fmla="*/ 1626763 h 2259621"/>
                <a:gd name="connsiteX798" fmla="*/ 360819 w 2945193"/>
                <a:gd name="connsiteY798" fmla="*/ 1625134 h 2259621"/>
                <a:gd name="connsiteX799" fmla="*/ 368149 w 2945193"/>
                <a:gd name="connsiteY799" fmla="*/ 1623505 h 2259621"/>
                <a:gd name="connsiteX800" fmla="*/ 374665 w 2945193"/>
                <a:gd name="connsiteY800" fmla="*/ 1620247 h 2259621"/>
                <a:gd name="connsiteX801" fmla="*/ 387697 w 2945193"/>
                <a:gd name="connsiteY801" fmla="*/ 1612917 h 2259621"/>
                <a:gd name="connsiteX802" fmla="*/ 398285 w 2945193"/>
                <a:gd name="connsiteY802" fmla="*/ 1604772 h 2259621"/>
                <a:gd name="connsiteX803" fmla="*/ 399914 w 2945193"/>
                <a:gd name="connsiteY803" fmla="*/ 1603143 h 2259621"/>
                <a:gd name="connsiteX804" fmla="*/ 417833 w 2945193"/>
                <a:gd name="connsiteY804" fmla="*/ 1593369 h 2259621"/>
                <a:gd name="connsiteX805" fmla="*/ 421091 w 2945193"/>
                <a:gd name="connsiteY805" fmla="*/ 1593369 h 2259621"/>
                <a:gd name="connsiteX806" fmla="*/ 421905 w 2945193"/>
                <a:gd name="connsiteY806" fmla="*/ 1593369 h 2259621"/>
                <a:gd name="connsiteX807" fmla="*/ 421905 w 2945193"/>
                <a:gd name="connsiteY807" fmla="*/ 1598256 h 2259621"/>
                <a:gd name="connsiteX808" fmla="*/ 428421 w 2945193"/>
                <a:gd name="connsiteY808" fmla="*/ 1599885 h 2259621"/>
                <a:gd name="connsiteX809" fmla="*/ 430050 w 2945193"/>
                <a:gd name="connsiteY809" fmla="*/ 1597442 h 2259621"/>
                <a:gd name="connsiteX810" fmla="*/ 432494 w 2945193"/>
                <a:gd name="connsiteY810" fmla="*/ 1599885 h 2259621"/>
                <a:gd name="connsiteX811" fmla="*/ 437381 w 2945193"/>
                <a:gd name="connsiteY811" fmla="*/ 1600700 h 2259621"/>
                <a:gd name="connsiteX812" fmla="*/ 429236 w 2945193"/>
                <a:gd name="connsiteY812" fmla="*/ 1608030 h 2259621"/>
                <a:gd name="connsiteX813" fmla="*/ 430050 w 2945193"/>
                <a:gd name="connsiteY813" fmla="*/ 1600700 h 2259621"/>
                <a:gd name="connsiteX814" fmla="*/ 404801 w 2945193"/>
                <a:gd name="connsiteY814" fmla="*/ 1624320 h 2259621"/>
                <a:gd name="connsiteX815" fmla="*/ 405616 w 2945193"/>
                <a:gd name="connsiteY815" fmla="*/ 1630836 h 2259621"/>
                <a:gd name="connsiteX816" fmla="*/ 409688 w 2945193"/>
                <a:gd name="connsiteY816" fmla="*/ 1628392 h 2259621"/>
                <a:gd name="connsiteX817" fmla="*/ 410503 w 2945193"/>
                <a:gd name="connsiteY817" fmla="*/ 1630836 h 2259621"/>
                <a:gd name="connsiteX818" fmla="*/ 421091 w 2945193"/>
                <a:gd name="connsiteY818" fmla="*/ 1622691 h 2259621"/>
                <a:gd name="connsiteX819" fmla="*/ 425163 w 2945193"/>
                <a:gd name="connsiteY819" fmla="*/ 1627578 h 2259621"/>
                <a:gd name="connsiteX820" fmla="*/ 444711 w 2945193"/>
                <a:gd name="connsiteY820" fmla="*/ 1614546 h 2259621"/>
                <a:gd name="connsiteX821" fmla="*/ 445526 w 2945193"/>
                <a:gd name="connsiteY821" fmla="*/ 1613732 h 2259621"/>
                <a:gd name="connsiteX822" fmla="*/ 445526 w 2945193"/>
                <a:gd name="connsiteY822" fmla="*/ 1613732 h 2259621"/>
                <a:gd name="connsiteX823" fmla="*/ 446340 w 2945193"/>
                <a:gd name="connsiteY823" fmla="*/ 1616175 h 2259621"/>
                <a:gd name="connsiteX824" fmla="*/ 437381 w 2945193"/>
                <a:gd name="connsiteY824" fmla="*/ 1623505 h 2259621"/>
                <a:gd name="connsiteX825" fmla="*/ 437381 w 2945193"/>
                <a:gd name="connsiteY825" fmla="*/ 1623505 h 2259621"/>
                <a:gd name="connsiteX826" fmla="*/ 437381 w 2945193"/>
                <a:gd name="connsiteY826" fmla="*/ 1623505 h 2259621"/>
                <a:gd name="connsiteX827" fmla="*/ 407245 w 2945193"/>
                <a:gd name="connsiteY827" fmla="*/ 1652012 h 2259621"/>
                <a:gd name="connsiteX828" fmla="*/ 393398 w 2945193"/>
                <a:gd name="connsiteY828" fmla="*/ 1666673 h 2259621"/>
                <a:gd name="connsiteX829" fmla="*/ 387697 w 2945193"/>
                <a:gd name="connsiteY829" fmla="*/ 1673189 h 2259621"/>
                <a:gd name="connsiteX830" fmla="*/ 389326 w 2945193"/>
                <a:gd name="connsiteY830" fmla="*/ 1678891 h 2259621"/>
                <a:gd name="connsiteX831" fmla="*/ 412131 w 2945193"/>
                <a:gd name="connsiteY831" fmla="*/ 1659343 h 2259621"/>
                <a:gd name="connsiteX832" fmla="*/ 417833 w 2945193"/>
                <a:gd name="connsiteY832" fmla="*/ 1654456 h 2259621"/>
                <a:gd name="connsiteX833" fmla="*/ 414575 w 2945193"/>
                <a:gd name="connsiteY833" fmla="*/ 1661786 h 2259621"/>
                <a:gd name="connsiteX834" fmla="*/ 408874 w 2945193"/>
                <a:gd name="connsiteY834" fmla="*/ 1672375 h 2259621"/>
                <a:gd name="connsiteX835" fmla="*/ 413760 w 2945193"/>
                <a:gd name="connsiteY835" fmla="*/ 1677262 h 2259621"/>
                <a:gd name="connsiteX836" fmla="*/ 428421 w 2945193"/>
                <a:gd name="connsiteY836" fmla="*/ 1669117 h 2259621"/>
                <a:gd name="connsiteX837" fmla="*/ 415390 w 2945193"/>
                <a:gd name="connsiteY837" fmla="*/ 1681334 h 2259621"/>
                <a:gd name="connsiteX838" fmla="*/ 412946 w 2945193"/>
                <a:gd name="connsiteY838" fmla="*/ 1683778 h 2259621"/>
                <a:gd name="connsiteX839" fmla="*/ 401543 w 2945193"/>
                <a:gd name="connsiteY839" fmla="*/ 1685406 h 2259621"/>
                <a:gd name="connsiteX840" fmla="*/ 400729 w 2945193"/>
                <a:gd name="connsiteY840" fmla="*/ 1695995 h 2259621"/>
                <a:gd name="connsiteX841" fmla="*/ 403172 w 2945193"/>
                <a:gd name="connsiteY841" fmla="*/ 1697624 h 2259621"/>
                <a:gd name="connsiteX842" fmla="*/ 396656 w 2945193"/>
                <a:gd name="connsiteY842" fmla="*/ 1701696 h 2259621"/>
                <a:gd name="connsiteX843" fmla="*/ 390955 w 2945193"/>
                <a:gd name="connsiteY843" fmla="*/ 1704140 h 2259621"/>
                <a:gd name="connsiteX844" fmla="*/ 383624 w 2945193"/>
                <a:gd name="connsiteY844" fmla="*/ 1711470 h 2259621"/>
                <a:gd name="connsiteX845" fmla="*/ 390140 w 2945193"/>
                <a:gd name="connsiteY845" fmla="*/ 1720430 h 2259621"/>
                <a:gd name="connsiteX846" fmla="*/ 390140 w 2945193"/>
                <a:gd name="connsiteY846" fmla="*/ 1720430 h 2259621"/>
                <a:gd name="connsiteX847" fmla="*/ 395842 w 2945193"/>
                <a:gd name="connsiteY847" fmla="*/ 1725316 h 2259621"/>
                <a:gd name="connsiteX848" fmla="*/ 404801 w 2945193"/>
                <a:gd name="connsiteY848" fmla="*/ 1720430 h 2259621"/>
                <a:gd name="connsiteX849" fmla="*/ 406430 w 2945193"/>
                <a:gd name="connsiteY849" fmla="*/ 1717172 h 2259621"/>
                <a:gd name="connsiteX850" fmla="*/ 412946 w 2945193"/>
                <a:gd name="connsiteY850" fmla="*/ 1717172 h 2259621"/>
                <a:gd name="connsiteX851" fmla="*/ 426792 w 2945193"/>
                <a:gd name="connsiteY851" fmla="*/ 1713099 h 2259621"/>
                <a:gd name="connsiteX852" fmla="*/ 428421 w 2945193"/>
                <a:gd name="connsiteY852" fmla="*/ 1717986 h 2259621"/>
                <a:gd name="connsiteX853" fmla="*/ 438195 w 2945193"/>
                <a:gd name="connsiteY853" fmla="*/ 1718801 h 2259621"/>
                <a:gd name="connsiteX854" fmla="*/ 440639 w 2945193"/>
                <a:gd name="connsiteY854" fmla="*/ 1707398 h 2259621"/>
                <a:gd name="connsiteX855" fmla="*/ 439010 w 2945193"/>
                <a:gd name="connsiteY855" fmla="*/ 1705769 h 2259621"/>
                <a:gd name="connsiteX856" fmla="*/ 435752 w 2945193"/>
                <a:gd name="connsiteY856" fmla="*/ 1703325 h 2259621"/>
                <a:gd name="connsiteX857" fmla="*/ 434123 w 2945193"/>
                <a:gd name="connsiteY857" fmla="*/ 1702511 h 2259621"/>
                <a:gd name="connsiteX858" fmla="*/ 431679 w 2945193"/>
                <a:gd name="connsiteY858" fmla="*/ 1698438 h 2259621"/>
                <a:gd name="connsiteX859" fmla="*/ 445526 w 2945193"/>
                <a:gd name="connsiteY859" fmla="*/ 1689479 h 2259621"/>
                <a:gd name="connsiteX860" fmla="*/ 445526 w 2945193"/>
                <a:gd name="connsiteY860" fmla="*/ 1690293 h 2259621"/>
                <a:gd name="connsiteX861" fmla="*/ 451227 w 2945193"/>
                <a:gd name="connsiteY861" fmla="*/ 1706583 h 2259621"/>
                <a:gd name="connsiteX862" fmla="*/ 452856 w 2945193"/>
                <a:gd name="connsiteY862" fmla="*/ 1709841 h 2259621"/>
                <a:gd name="connsiteX863" fmla="*/ 443897 w 2945193"/>
                <a:gd name="connsiteY863" fmla="*/ 1711470 h 2259621"/>
                <a:gd name="connsiteX864" fmla="*/ 443897 w 2945193"/>
                <a:gd name="connsiteY864" fmla="*/ 1715543 h 2259621"/>
                <a:gd name="connsiteX865" fmla="*/ 439824 w 2945193"/>
                <a:gd name="connsiteY865" fmla="*/ 1743235 h 2259621"/>
                <a:gd name="connsiteX866" fmla="*/ 439824 w 2945193"/>
                <a:gd name="connsiteY866" fmla="*/ 1748122 h 2259621"/>
                <a:gd name="connsiteX867" fmla="*/ 442268 w 2945193"/>
                <a:gd name="connsiteY867" fmla="*/ 1751380 h 2259621"/>
                <a:gd name="connsiteX868" fmla="*/ 441453 w 2945193"/>
                <a:gd name="connsiteY868" fmla="*/ 1761968 h 2259621"/>
                <a:gd name="connsiteX869" fmla="*/ 432494 w 2945193"/>
                <a:gd name="connsiteY869" fmla="*/ 1765227 h 2259621"/>
                <a:gd name="connsiteX870" fmla="*/ 434123 w 2945193"/>
                <a:gd name="connsiteY870" fmla="*/ 1770113 h 2259621"/>
                <a:gd name="connsiteX871" fmla="*/ 427607 w 2945193"/>
                <a:gd name="connsiteY871" fmla="*/ 1774186 h 2259621"/>
                <a:gd name="connsiteX872" fmla="*/ 408874 w 2945193"/>
                <a:gd name="connsiteY872" fmla="*/ 1786403 h 2259621"/>
                <a:gd name="connsiteX873" fmla="*/ 401543 w 2945193"/>
                <a:gd name="connsiteY873" fmla="*/ 1796177 h 2259621"/>
                <a:gd name="connsiteX874" fmla="*/ 403987 w 2945193"/>
                <a:gd name="connsiteY874" fmla="*/ 1839345 h 2259621"/>
                <a:gd name="connsiteX875" fmla="*/ 364077 w 2945193"/>
                <a:gd name="connsiteY875" fmla="*/ 1924052 h 2259621"/>
                <a:gd name="connsiteX876" fmla="*/ 377923 w 2945193"/>
                <a:gd name="connsiteY876" fmla="*/ 1956632 h 2259621"/>
                <a:gd name="connsiteX877" fmla="*/ 379552 w 2945193"/>
                <a:gd name="connsiteY877" fmla="*/ 1961518 h 2259621"/>
                <a:gd name="connsiteX878" fmla="*/ 395027 w 2945193"/>
                <a:gd name="connsiteY878" fmla="*/ 1994913 h 2259621"/>
                <a:gd name="connsiteX879" fmla="*/ 407245 w 2945193"/>
                <a:gd name="connsiteY879" fmla="*/ 2020976 h 2259621"/>
                <a:gd name="connsiteX880" fmla="*/ 480549 w 2945193"/>
                <a:gd name="connsiteY880" fmla="*/ 2112199 h 2259621"/>
                <a:gd name="connsiteX881" fmla="*/ 477291 w 2945193"/>
                <a:gd name="connsiteY881" fmla="*/ 2118715 h 2259621"/>
                <a:gd name="connsiteX882" fmla="*/ 487065 w 2945193"/>
                <a:gd name="connsiteY882" fmla="*/ 2133376 h 2259621"/>
                <a:gd name="connsiteX883" fmla="*/ 516386 w 2945193"/>
                <a:gd name="connsiteY883" fmla="*/ 2141521 h 2259621"/>
                <a:gd name="connsiteX884" fmla="*/ 536748 w 2945193"/>
                <a:gd name="connsiteY884" fmla="*/ 2131747 h 2259621"/>
                <a:gd name="connsiteX885" fmla="*/ 545708 w 2945193"/>
                <a:gd name="connsiteY885" fmla="*/ 2130118 h 2259621"/>
                <a:gd name="connsiteX886" fmla="*/ 597835 w 2945193"/>
                <a:gd name="connsiteY886" fmla="*/ 2125231 h 2259621"/>
                <a:gd name="connsiteX887" fmla="*/ 613310 w 2945193"/>
                <a:gd name="connsiteY887" fmla="*/ 2121973 h 2259621"/>
                <a:gd name="connsiteX888" fmla="*/ 638560 w 2945193"/>
                <a:gd name="connsiteY888" fmla="*/ 2108941 h 2259621"/>
                <a:gd name="connsiteX889" fmla="*/ 647519 w 2945193"/>
                <a:gd name="connsiteY889" fmla="*/ 2101611 h 2259621"/>
                <a:gd name="connsiteX890" fmla="*/ 651592 w 2945193"/>
                <a:gd name="connsiteY890" fmla="*/ 2091022 h 2259621"/>
                <a:gd name="connsiteX891" fmla="*/ 655664 w 2945193"/>
                <a:gd name="connsiteY891" fmla="*/ 2073918 h 2259621"/>
                <a:gd name="connsiteX892" fmla="*/ 661365 w 2945193"/>
                <a:gd name="connsiteY892" fmla="*/ 2059257 h 2259621"/>
                <a:gd name="connsiteX893" fmla="*/ 664623 w 2945193"/>
                <a:gd name="connsiteY893" fmla="*/ 2047854 h 2259621"/>
                <a:gd name="connsiteX894" fmla="*/ 665438 w 2945193"/>
                <a:gd name="connsiteY894" fmla="*/ 2048669 h 2259621"/>
                <a:gd name="connsiteX895" fmla="*/ 669510 w 2945193"/>
                <a:gd name="connsiteY895" fmla="*/ 2046225 h 2259621"/>
                <a:gd name="connsiteX896" fmla="*/ 671139 w 2945193"/>
                <a:gd name="connsiteY896" fmla="*/ 2053555 h 2259621"/>
                <a:gd name="connsiteX897" fmla="*/ 686614 w 2945193"/>
                <a:gd name="connsiteY897" fmla="*/ 2036451 h 2259621"/>
                <a:gd name="connsiteX898" fmla="*/ 684985 w 2945193"/>
                <a:gd name="connsiteY898" fmla="*/ 2032379 h 2259621"/>
                <a:gd name="connsiteX899" fmla="*/ 680913 w 2945193"/>
                <a:gd name="connsiteY899" fmla="*/ 2032379 h 2259621"/>
                <a:gd name="connsiteX900" fmla="*/ 680913 w 2945193"/>
                <a:gd name="connsiteY900" fmla="*/ 2031565 h 2259621"/>
                <a:gd name="connsiteX901" fmla="*/ 679284 w 2945193"/>
                <a:gd name="connsiteY901" fmla="*/ 2027492 h 2259621"/>
                <a:gd name="connsiteX902" fmla="*/ 674397 w 2945193"/>
                <a:gd name="connsiteY902" fmla="*/ 2028307 h 2259621"/>
                <a:gd name="connsiteX903" fmla="*/ 668696 w 2945193"/>
                <a:gd name="connsiteY903" fmla="*/ 2032379 h 2259621"/>
                <a:gd name="connsiteX904" fmla="*/ 662994 w 2945193"/>
                <a:gd name="connsiteY904" fmla="*/ 2027492 h 2259621"/>
                <a:gd name="connsiteX905" fmla="*/ 654035 w 2945193"/>
                <a:gd name="connsiteY905" fmla="*/ 2020976 h 2259621"/>
                <a:gd name="connsiteX906" fmla="*/ 651592 w 2945193"/>
                <a:gd name="connsiteY906" fmla="*/ 2020162 h 2259621"/>
                <a:gd name="connsiteX907" fmla="*/ 656478 w 2945193"/>
                <a:gd name="connsiteY907" fmla="*/ 2010388 h 2259621"/>
                <a:gd name="connsiteX908" fmla="*/ 669510 w 2945193"/>
                <a:gd name="connsiteY908" fmla="*/ 1994913 h 2259621"/>
                <a:gd name="connsiteX909" fmla="*/ 692316 w 2945193"/>
                <a:gd name="connsiteY909" fmla="*/ 1985139 h 2259621"/>
                <a:gd name="connsiteX910" fmla="*/ 695574 w 2945193"/>
                <a:gd name="connsiteY910" fmla="*/ 1985953 h 2259621"/>
                <a:gd name="connsiteX911" fmla="*/ 717565 w 2945193"/>
                <a:gd name="connsiteY911" fmla="*/ 1985953 h 2259621"/>
                <a:gd name="connsiteX912" fmla="*/ 726524 w 2945193"/>
                <a:gd name="connsiteY912" fmla="*/ 1984324 h 2259621"/>
                <a:gd name="connsiteX913" fmla="*/ 724081 w 2945193"/>
                <a:gd name="connsiteY913" fmla="*/ 1987582 h 2259621"/>
                <a:gd name="connsiteX914" fmla="*/ 724081 w 2945193"/>
                <a:gd name="connsiteY914" fmla="*/ 1997356 h 2259621"/>
                <a:gd name="connsiteX915" fmla="*/ 719194 w 2945193"/>
                <a:gd name="connsiteY915" fmla="*/ 2002243 h 2259621"/>
                <a:gd name="connsiteX916" fmla="*/ 732226 w 2945193"/>
                <a:gd name="connsiteY916" fmla="*/ 2008759 h 2259621"/>
                <a:gd name="connsiteX917" fmla="*/ 731411 w 2945193"/>
                <a:gd name="connsiteY917" fmla="*/ 2016089 h 2259621"/>
                <a:gd name="connsiteX918" fmla="*/ 735484 w 2945193"/>
                <a:gd name="connsiteY918" fmla="*/ 2019347 h 2259621"/>
                <a:gd name="connsiteX919" fmla="*/ 738742 w 2945193"/>
                <a:gd name="connsiteY919" fmla="*/ 2026677 h 2259621"/>
                <a:gd name="connsiteX920" fmla="*/ 724081 w 2945193"/>
                <a:gd name="connsiteY920" fmla="*/ 2024234 h 2259621"/>
                <a:gd name="connsiteX921" fmla="*/ 715936 w 2945193"/>
                <a:gd name="connsiteY921" fmla="*/ 2035637 h 2259621"/>
                <a:gd name="connsiteX922" fmla="*/ 722452 w 2945193"/>
                <a:gd name="connsiteY922" fmla="*/ 2050298 h 2259621"/>
                <a:gd name="connsiteX923" fmla="*/ 724081 w 2945193"/>
                <a:gd name="connsiteY923" fmla="*/ 2053555 h 2259621"/>
                <a:gd name="connsiteX924" fmla="*/ 715122 w 2945193"/>
                <a:gd name="connsiteY924" fmla="*/ 2055999 h 2259621"/>
                <a:gd name="connsiteX925" fmla="*/ 715122 w 2945193"/>
                <a:gd name="connsiteY925" fmla="*/ 2060072 h 2259621"/>
                <a:gd name="connsiteX926" fmla="*/ 710235 w 2945193"/>
                <a:gd name="connsiteY926" fmla="*/ 2087764 h 2259621"/>
                <a:gd name="connsiteX927" fmla="*/ 710235 w 2945193"/>
                <a:gd name="connsiteY927" fmla="*/ 2092651 h 2259621"/>
                <a:gd name="connsiteX928" fmla="*/ 715122 w 2945193"/>
                <a:gd name="connsiteY928" fmla="*/ 2108941 h 2259621"/>
                <a:gd name="connsiteX929" fmla="*/ 717565 w 2945193"/>
                <a:gd name="connsiteY929" fmla="*/ 2113014 h 2259621"/>
                <a:gd name="connsiteX930" fmla="*/ 733040 w 2945193"/>
                <a:gd name="connsiteY930" fmla="*/ 2109756 h 2259621"/>
                <a:gd name="connsiteX931" fmla="*/ 732226 w 2945193"/>
                <a:gd name="connsiteY931" fmla="*/ 2110570 h 2259621"/>
                <a:gd name="connsiteX932" fmla="*/ 731411 w 2945193"/>
                <a:gd name="connsiteY932" fmla="*/ 2113828 h 2259621"/>
                <a:gd name="connsiteX933" fmla="*/ 736298 w 2945193"/>
                <a:gd name="connsiteY933" fmla="*/ 2113828 h 2259621"/>
                <a:gd name="connsiteX934" fmla="*/ 737113 w 2945193"/>
                <a:gd name="connsiteY934" fmla="*/ 2110570 h 2259621"/>
                <a:gd name="connsiteX935" fmla="*/ 740371 w 2945193"/>
                <a:gd name="connsiteY935" fmla="*/ 2121159 h 2259621"/>
                <a:gd name="connsiteX936" fmla="*/ 748516 w 2945193"/>
                <a:gd name="connsiteY936" fmla="*/ 2139892 h 2259621"/>
                <a:gd name="connsiteX937" fmla="*/ 758289 w 2945193"/>
                <a:gd name="connsiteY937" fmla="*/ 2148851 h 2259621"/>
                <a:gd name="connsiteX938" fmla="*/ 759104 w 2945193"/>
                <a:gd name="connsiteY938" fmla="*/ 2157811 h 2259621"/>
                <a:gd name="connsiteX939" fmla="*/ 763176 w 2945193"/>
                <a:gd name="connsiteY939" fmla="*/ 2159439 h 2259621"/>
                <a:gd name="connsiteX940" fmla="*/ 764805 w 2945193"/>
                <a:gd name="connsiteY940" fmla="*/ 2162697 h 2259621"/>
                <a:gd name="connsiteX941" fmla="*/ 774579 w 2945193"/>
                <a:gd name="connsiteY941" fmla="*/ 2161883 h 2259621"/>
                <a:gd name="connsiteX942" fmla="*/ 777023 w 2945193"/>
                <a:gd name="connsiteY942" fmla="*/ 2150480 h 2259621"/>
                <a:gd name="connsiteX943" fmla="*/ 772950 w 2945193"/>
                <a:gd name="connsiteY943" fmla="*/ 2148851 h 2259621"/>
                <a:gd name="connsiteX944" fmla="*/ 772136 w 2945193"/>
                <a:gd name="connsiteY944" fmla="*/ 2145593 h 2259621"/>
                <a:gd name="connsiteX945" fmla="*/ 771322 w 2945193"/>
                <a:gd name="connsiteY945" fmla="*/ 2144778 h 2259621"/>
                <a:gd name="connsiteX946" fmla="*/ 773765 w 2945193"/>
                <a:gd name="connsiteY946" fmla="*/ 2143964 h 2259621"/>
                <a:gd name="connsiteX947" fmla="*/ 773765 w 2945193"/>
                <a:gd name="connsiteY947" fmla="*/ 2143964 h 2259621"/>
                <a:gd name="connsiteX948" fmla="*/ 786797 w 2945193"/>
                <a:gd name="connsiteY948" fmla="*/ 2139077 h 2259621"/>
                <a:gd name="connsiteX949" fmla="*/ 789240 w 2945193"/>
                <a:gd name="connsiteY949" fmla="*/ 2135004 h 2259621"/>
                <a:gd name="connsiteX950" fmla="*/ 794941 w 2945193"/>
                <a:gd name="connsiteY950" fmla="*/ 2129303 h 2259621"/>
                <a:gd name="connsiteX951" fmla="*/ 794941 w 2945193"/>
                <a:gd name="connsiteY951" fmla="*/ 2129303 h 2259621"/>
                <a:gd name="connsiteX952" fmla="*/ 800643 w 2945193"/>
                <a:gd name="connsiteY952" fmla="*/ 2130118 h 2259621"/>
                <a:gd name="connsiteX953" fmla="*/ 803901 w 2945193"/>
                <a:gd name="connsiteY953" fmla="*/ 2122787 h 2259621"/>
                <a:gd name="connsiteX954" fmla="*/ 801457 w 2945193"/>
                <a:gd name="connsiteY954" fmla="*/ 2122787 h 2259621"/>
                <a:gd name="connsiteX955" fmla="*/ 812860 w 2945193"/>
                <a:gd name="connsiteY955" fmla="*/ 2112199 h 2259621"/>
                <a:gd name="connsiteX956" fmla="*/ 811231 w 2945193"/>
                <a:gd name="connsiteY956" fmla="*/ 2135819 h 2259621"/>
                <a:gd name="connsiteX957" fmla="*/ 810417 w 2945193"/>
                <a:gd name="connsiteY957" fmla="*/ 2140706 h 2259621"/>
                <a:gd name="connsiteX958" fmla="*/ 810417 w 2945193"/>
                <a:gd name="connsiteY958" fmla="*/ 2140706 h 2259621"/>
                <a:gd name="connsiteX959" fmla="*/ 803086 w 2945193"/>
                <a:gd name="connsiteY959" fmla="*/ 2143149 h 2259621"/>
                <a:gd name="connsiteX960" fmla="*/ 800643 w 2945193"/>
                <a:gd name="connsiteY960" fmla="*/ 2153738 h 2259621"/>
                <a:gd name="connsiteX961" fmla="*/ 805530 w 2945193"/>
                <a:gd name="connsiteY961" fmla="*/ 2157811 h 2259621"/>
                <a:gd name="connsiteX962" fmla="*/ 806344 w 2945193"/>
                <a:gd name="connsiteY962" fmla="*/ 2158625 h 2259621"/>
                <a:gd name="connsiteX963" fmla="*/ 811231 w 2945193"/>
                <a:gd name="connsiteY963" fmla="*/ 2162697 h 2259621"/>
                <a:gd name="connsiteX964" fmla="*/ 814489 w 2945193"/>
                <a:gd name="connsiteY964" fmla="*/ 2177358 h 2259621"/>
                <a:gd name="connsiteX965" fmla="*/ 816118 w 2945193"/>
                <a:gd name="connsiteY965" fmla="*/ 2179801 h 2259621"/>
                <a:gd name="connsiteX966" fmla="*/ 834852 w 2945193"/>
                <a:gd name="connsiteY966" fmla="*/ 2194463 h 2259621"/>
                <a:gd name="connsiteX967" fmla="*/ 864173 w 2945193"/>
                <a:gd name="connsiteY967" fmla="*/ 2203422 h 2259621"/>
                <a:gd name="connsiteX968" fmla="*/ 872318 w 2945193"/>
                <a:gd name="connsiteY968" fmla="*/ 2205865 h 2259621"/>
                <a:gd name="connsiteX969" fmla="*/ 872318 w 2945193"/>
                <a:gd name="connsiteY969" fmla="*/ 2205865 h 2259621"/>
                <a:gd name="connsiteX970" fmla="*/ 867431 w 2945193"/>
                <a:gd name="connsiteY970" fmla="*/ 2209123 h 2259621"/>
                <a:gd name="connsiteX971" fmla="*/ 868245 w 2945193"/>
                <a:gd name="connsiteY971" fmla="*/ 2209938 h 2259621"/>
                <a:gd name="connsiteX972" fmla="*/ 874761 w 2945193"/>
                <a:gd name="connsiteY972" fmla="*/ 2207494 h 2259621"/>
                <a:gd name="connsiteX973" fmla="*/ 900011 w 2945193"/>
                <a:gd name="connsiteY973" fmla="*/ 2216453 h 2259621"/>
                <a:gd name="connsiteX974" fmla="*/ 908156 w 2945193"/>
                <a:gd name="connsiteY974" fmla="*/ 2216453 h 2259621"/>
                <a:gd name="connsiteX975" fmla="*/ 935848 w 2945193"/>
                <a:gd name="connsiteY975" fmla="*/ 2205051 h 2259621"/>
                <a:gd name="connsiteX976" fmla="*/ 982274 w 2945193"/>
                <a:gd name="connsiteY976" fmla="*/ 2180616 h 2259621"/>
                <a:gd name="connsiteX977" fmla="*/ 983089 w 2945193"/>
                <a:gd name="connsiteY977" fmla="*/ 2181430 h 2259621"/>
                <a:gd name="connsiteX978" fmla="*/ 998564 w 2945193"/>
                <a:gd name="connsiteY978" fmla="*/ 2180616 h 2259621"/>
                <a:gd name="connsiteX979" fmla="*/ 1001007 w 2945193"/>
                <a:gd name="connsiteY979" fmla="*/ 2178173 h 2259621"/>
                <a:gd name="connsiteX980" fmla="*/ 1002636 w 2945193"/>
                <a:gd name="connsiteY980" fmla="*/ 2178173 h 2259621"/>
                <a:gd name="connsiteX981" fmla="*/ 1017297 w 2945193"/>
                <a:gd name="connsiteY981" fmla="*/ 2204236 h 2259621"/>
                <a:gd name="connsiteX982" fmla="*/ 1012410 w 2945193"/>
                <a:gd name="connsiteY982" fmla="*/ 2220526 h 2259621"/>
                <a:gd name="connsiteX983" fmla="*/ 1013224 w 2945193"/>
                <a:gd name="connsiteY983" fmla="*/ 2227042 h 2259621"/>
                <a:gd name="connsiteX984" fmla="*/ 1020555 w 2945193"/>
                <a:gd name="connsiteY984" fmla="*/ 2227042 h 2259621"/>
                <a:gd name="connsiteX985" fmla="*/ 1022184 w 2945193"/>
                <a:gd name="connsiteY985" fmla="*/ 2223784 h 2259621"/>
                <a:gd name="connsiteX986" fmla="*/ 1025442 w 2945193"/>
                <a:gd name="connsiteY986" fmla="*/ 2226227 h 2259621"/>
                <a:gd name="connsiteX987" fmla="*/ 1031143 w 2945193"/>
                <a:gd name="connsiteY987" fmla="*/ 2226227 h 2259621"/>
                <a:gd name="connsiteX988" fmla="*/ 1027886 w 2945193"/>
                <a:gd name="connsiteY988" fmla="*/ 2232743 h 2259621"/>
                <a:gd name="connsiteX989" fmla="*/ 1028700 w 2945193"/>
                <a:gd name="connsiteY989" fmla="*/ 2239260 h 2259621"/>
                <a:gd name="connsiteX990" fmla="*/ 1038474 w 2945193"/>
                <a:gd name="connsiteY990" fmla="*/ 2229486 h 2259621"/>
                <a:gd name="connsiteX991" fmla="*/ 1042546 w 2945193"/>
                <a:gd name="connsiteY991" fmla="*/ 2237630 h 2259621"/>
                <a:gd name="connsiteX992" fmla="*/ 1044175 w 2945193"/>
                <a:gd name="connsiteY992" fmla="*/ 2241703 h 2259621"/>
                <a:gd name="connsiteX993" fmla="*/ 1044175 w 2945193"/>
                <a:gd name="connsiteY993" fmla="*/ 2246590 h 2259621"/>
                <a:gd name="connsiteX994" fmla="*/ 1049877 w 2945193"/>
                <a:gd name="connsiteY994" fmla="*/ 2250662 h 2259621"/>
                <a:gd name="connsiteX995" fmla="*/ 1057207 w 2945193"/>
                <a:gd name="connsiteY995" fmla="*/ 2247404 h 2259621"/>
                <a:gd name="connsiteX996" fmla="*/ 1057207 w 2945193"/>
                <a:gd name="connsiteY996" fmla="*/ 2247404 h 2259621"/>
                <a:gd name="connsiteX997" fmla="*/ 1063723 w 2945193"/>
                <a:gd name="connsiteY997" fmla="*/ 2240888 h 2259621"/>
                <a:gd name="connsiteX998" fmla="*/ 1066166 w 2945193"/>
                <a:gd name="connsiteY998" fmla="*/ 2242517 h 2259621"/>
                <a:gd name="connsiteX999" fmla="*/ 1058836 w 2945193"/>
                <a:gd name="connsiteY999" fmla="*/ 2253920 h 2259621"/>
                <a:gd name="connsiteX1000" fmla="*/ 1070239 w 2945193"/>
                <a:gd name="connsiteY1000" fmla="*/ 2247404 h 2259621"/>
                <a:gd name="connsiteX1001" fmla="*/ 1071054 w 2945193"/>
                <a:gd name="connsiteY1001" fmla="*/ 2248219 h 2259621"/>
                <a:gd name="connsiteX1002" fmla="*/ 1063723 w 2945193"/>
                <a:gd name="connsiteY1002" fmla="*/ 2259622 h 2259621"/>
                <a:gd name="connsiteX1003" fmla="*/ 1076755 w 2945193"/>
                <a:gd name="connsiteY1003" fmla="*/ 2251477 h 2259621"/>
                <a:gd name="connsiteX1004" fmla="*/ 1091416 w 2945193"/>
                <a:gd name="connsiteY1004" fmla="*/ 2245775 h 2259621"/>
                <a:gd name="connsiteX1005" fmla="*/ 1102004 w 2945193"/>
                <a:gd name="connsiteY1005" fmla="*/ 2240888 h 2259621"/>
                <a:gd name="connsiteX1006" fmla="*/ 1100375 w 2945193"/>
                <a:gd name="connsiteY1006" fmla="*/ 2244961 h 2259621"/>
                <a:gd name="connsiteX1007" fmla="*/ 1110963 w 2945193"/>
                <a:gd name="connsiteY1007" fmla="*/ 2240888 h 2259621"/>
                <a:gd name="connsiteX1008" fmla="*/ 1145172 w 2945193"/>
                <a:gd name="connsiteY1008" fmla="*/ 2223784 h 2259621"/>
                <a:gd name="connsiteX1009" fmla="*/ 1148430 w 2945193"/>
                <a:gd name="connsiteY1009" fmla="*/ 2222970 h 2259621"/>
                <a:gd name="connsiteX1010" fmla="*/ 1159018 w 2945193"/>
                <a:gd name="connsiteY1010" fmla="*/ 2226227 h 2259621"/>
                <a:gd name="connsiteX1011" fmla="*/ 1179381 w 2945193"/>
                <a:gd name="connsiteY1011" fmla="*/ 2215639 h 2259621"/>
                <a:gd name="connsiteX1012" fmla="*/ 1198928 w 2945193"/>
                <a:gd name="connsiteY1012" fmla="*/ 2207494 h 2259621"/>
                <a:gd name="connsiteX1013" fmla="*/ 1205444 w 2945193"/>
                <a:gd name="connsiteY1013" fmla="*/ 2203422 h 2259621"/>
                <a:gd name="connsiteX1014" fmla="*/ 1219291 w 2945193"/>
                <a:gd name="connsiteY1014" fmla="*/ 2193648 h 2259621"/>
                <a:gd name="connsiteX1015" fmla="*/ 1220919 w 2945193"/>
                <a:gd name="connsiteY1015" fmla="*/ 2192834 h 2259621"/>
                <a:gd name="connsiteX1016" fmla="*/ 1222548 w 2945193"/>
                <a:gd name="connsiteY1016" fmla="*/ 2193648 h 2259621"/>
                <a:gd name="connsiteX1017" fmla="*/ 1236395 w 2945193"/>
                <a:gd name="connsiteY1017" fmla="*/ 2188761 h 2259621"/>
                <a:gd name="connsiteX1018" fmla="*/ 1238024 w 2945193"/>
                <a:gd name="connsiteY1018" fmla="*/ 2184689 h 2259621"/>
                <a:gd name="connsiteX1019" fmla="*/ 1251055 w 2945193"/>
                <a:gd name="connsiteY1019" fmla="*/ 2178173 h 2259621"/>
                <a:gd name="connsiteX1020" fmla="*/ 1249426 w 2945193"/>
                <a:gd name="connsiteY1020" fmla="*/ 2183060 h 2259621"/>
                <a:gd name="connsiteX1021" fmla="*/ 1255128 w 2945193"/>
                <a:gd name="connsiteY1021" fmla="*/ 2183874 h 2259621"/>
                <a:gd name="connsiteX1022" fmla="*/ 1258386 w 2945193"/>
                <a:gd name="connsiteY1022" fmla="*/ 2176544 h 2259621"/>
                <a:gd name="connsiteX1023" fmla="*/ 1254314 w 2945193"/>
                <a:gd name="connsiteY1023" fmla="*/ 2176544 h 2259621"/>
                <a:gd name="connsiteX1024" fmla="*/ 1263273 w 2945193"/>
                <a:gd name="connsiteY1024" fmla="*/ 2173286 h 2259621"/>
                <a:gd name="connsiteX1025" fmla="*/ 1281192 w 2945193"/>
                <a:gd name="connsiteY1025" fmla="*/ 2166770 h 2259621"/>
                <a:gd name="connsiteX1026" fmla="*/ 1281192 w 2945193"/>
                <a:gd name="connsiteY1026" fmla="*/ 2166770 h 2259621"/>
                <a:gd name="connsiteX1027" fmla="*/ 1281192 w 2945193"/>
                <a:gd name="connsiteY1027" fmla="*/ 2166770 h 2259621"/>
                <a:gd name="connsiteX1028" fmla="*/ 1281192 w 2945193"/>
                <a:gd name="connsiteY1028" fmla="*/ 2166770 h 2259621"/>
                <a:gd name="connsiteX1029" fmla="*/ 1287708 w 2945193"/>
                <a:gd name="connsiteY1029" fmla="*/ 2160254 h 2259621"/>
                <a:gd name="connsiteX1030" fmla="*/ 1283635 w 2945193"/>
                <a:gd name="connsiteY1030" fmla="*/ 2160254 h 2259621"/>
                <a:gd name="connsiteX1031" fmla="*/ 1281192 w 2945193"/>
                <a:gd name="connsiteY1031" fmla="*/ 2159439 h 2259621"/>
                <a:gd name="connsiteX1032" fmla="*/ 1288522 w 2945193"/>
                <a:gd name="connsiteY1032" fmla="*/ 2160254 h 2259621"/>
                <a:gd name="connsiteX1033" fmla="*/ 1288522 w 2945193"/>
                <a:gd name="connsiteY1033" fmla="*/ 2160254 h 2259621"/>
                <a:gd name="connsiteX1034" fmla="*/ 1288522 w 2945193"/>
                <a:gd name="connsiteY1034" fmla="*/ 2160254 h 2259621"/>
                <a:gd name="connsiteX1035" fmla="*/ 1288522 w 2945193"/>
                <a:gd name="connsiteY1035" fmla="*/ 2160254 h 2259621"/>
                <a:gd name="connsiteX1036" fmla="*/ 1288522 w 2945193"/>
                <a:gd name="connsiteY1036" fmla="*/ 2160254 h 2259621"/>
                <a:gd name="connsiteX1037" fmla="*/ 1290966 w 2945193"/>
                <a:gd name="connsiteY1037" fmla="*/ 2161068 h 2259621"/>
                <a:gd name="connsiteX1038" fmla="*/ 1292595 w 2945193"/>
                <a:gd name="connsiteY1038" fmla="*/ 2159439 h 2259621"/>
                <a:gd name="connsiteX1039" fmla="*/ 1298296 w 2945193"/>
                <a:gd name="connsiteY1039" fmla="*/ 2158625 h 2259621"/>
                <a:gd name="connsiteX1040" fmla="*/ 1312957 w 2945193"/>
                <a:gd name="connsiteY1040" fmla="*/ 2160254 h 2259621"/>
                <a:gd name="connsiteX1041" fmla="*/ 1339020 w 2945193"/>
                <a:gd name="connsiteY1041" fmla="*/ 2159439 h 2259621"/>
                <a:gd name="connsiteX1042" fmla="*/ 1362641 w 2945193"/>
                <a:gd name="connsiteY1042" fmla="*/ 2148037 h 2259621"/>
                <a:gd name="connsiteX1043" fmla="*/ 1384632 w 2945193"/>
                <a:gd name="connsiteY1043" fmla="*/ 2129303 h 2259621"/>
                <a:gd name="connsiteX1044" fmla="*/ 1396034 w 2945193"/>
                <a:gd name="connsiteY1044" fmla="*/ 2115457 h 2259621"/>
                <a:gd name="connsiteX1045" fmla="*/ 1396034 w 2945193"/>
                <a:gd name="connsiteY1045" fmla="*/ 2115457 h 2259621"/>
                <a:gd name="connsiteX1046" fmla="*/ 1396034 w 2945193"/>
                <a:gd name="connsiteY1046" fmla="*/ 2115457 h 2259621"/>
                <a:gd name="connsiteX1047" fmla="*/ 1424542 w 2945193"/>
                <a:gd name="connsiteY1047" fmla="*/ 2096724 h 2259621"/>
                <a:gd name="connsiteX1048" fmla="*/ 1441646 w 2945193"/>
                <a:gd name="connsiteY1048" fmla="*/ 2088579 h 2259621"/>
                <a:gd name="connsiteX1049" fmla="*/ 1443275 w 2945193"/>
                <a:gd name="connsiteY1049" fmla="*/ 2091837 h 2259621"/>
                <a:gd name="connsiteX1050" fmla="*/ 1589883 w 2945193"/>
                <a:gd name="connsiteY1050" fmla="*/ 2048669 h 2259621"/>
                <a:gd name="connsiteX1051" fmla="*/ 1589883 w 2945193"/>
                <a:gd name="connsiteY1051" fmla="*/ 2048669 h 2259621"/>
                <a:gd name="connsiteX1052" fmla="*/ 1589883 w 2945193"/>
                <a:gd name="connsiteY1052" fmla="*/ 2048669 h 2259621"/>
                <a:gd name="connsiteX1053" fmla="*/ 1589883 w 2945193"/>
                <a:gd name="connsiteY1053" fmla="*/ 2048669 h 2259621"/>
                <a:gd name="connsiteX1054" fmla="*/ 1589883 w 2945193"/>
                <a:gd name="connsiteY1054" fmla="*/ 2048669 h 2259621"/>
                <a:gd name="connsiteX1055" fmla="*/ 1589883 w 2945193"/>
                <a:gd name="connsiteY1055" fmla="*/ 2048669 h 2259621"/>
                <a:gd name="connsiteX1056" fmla="*/ 1589883 w 2945193"/>
                <a:gd name="connsiteY1056" fmla="*/ 2048669 h 2259621"/>
                <a:gd name="connsiteX1057" fmla="*/ 1590698 w 2945193"/>
                <a:gd name="connsiteY1057" fmla="*/ 2043782 h 2259621"/>
                <a:gd name="connsiteX1058" fmla="*/ 1591512 w 2945193"/>
                <a:gd name="connsiteY1058" fmla="*/ 2042967 h 2259621"/>
                <a:gd name="connsiteX1059" fmla="*/ 1592327 w 2945193"/>
                <a:gd name="connsiteY1059" fmla="*/ 2042967 h 2259621"/>
                <a:gd name="connsiteX1060" fmla="*/ 1600472 w 2945193"/>
                <a:gd name="connsiteY1060" fmla="*/ 2035637 h 2259621"/>
                <a:gd name="connsiteX1061" fmla="*/ 1599657 w 2945193"/>
                <a:gd name="connsiteY1061" fmla="*/ 2038895 h 2259621"/>
                <a:gd name="connsiteX1062" fmla="*/ 1607802 w 2945193"/>
                <a:gd name="connsiteY1062" fmla="*/ 2034822 h 2259621"/>
                <a:gd name="connsiteX1063" fmla="*/ 1609431 w 2945193"/>
                <a:gd name="connsiteY1063" fmla="*/ 2034008 h 2259621"/>
                <a:gd name="connsiteX1064" fmla="*/ 1605358 w 2945193"/>
                <a:gd name="connsiteY1064" fmla="*/ 2043782 h 2259621"/>
                <a:gd name="connsiteX1065" fmla="*/ 1609431 w 2945193"/>
                <a:gd name="connsiteY1065" fmla="*/ 2041338 h 2259621"/>
                <a:gd name="connsiteX1066" fmla="*/ 1612689 w 2945193"/>
                <a:gd name="connsiteY1066" fmla="*/ 2042967 h 2259621"/>
                <a:gd name="connsiteX1067" fmla="*/ 1617576 w 2945193"/>
                <a:gd name="connsiteY1067" fmla="*/ 2042153 h 2259621"/>
                <a:gd name="connsiteX1068" fmla="*/ 1614318 w 2945193"/>
                <a:gd name="connsiteY1068" fmla="*/ 2045411 h 2259621"/>
                <a:gd name="connsiteX1069" fmla="*/ 1618390 w 2945193"/>
                <a:gd name="connsiteY1069" fmla="*/ 2047854 h 2259621"/>
                <a:gd name="connsiteX1070" fmla="*/ 1639567 w 2945193"/>
                <a:gd name="connsiteY1070" fmla="*/ 2039710 h 2259621"/>
                <a:gd name="connsiteX1071" fmla="*/ 1650970 w 2945193"/>
                <a:gd name="connsiteY1071" fmla="*/ 2037266 h 2259621"/>
                <a:gd name="connsiteX1072" fmla="*/ 1650155 w 2945193"/>
                <a:gd name="connsiteY1072" fmla="*/ 2038080 h 2259621"/>
                <a:gd name="connsiteX1073" fmla="*/ 1650970 w 2945193"/>
                <a:gd name="connsiteY1073" fmla="*/ 2037266 h 2259621"/>
                <a:gd name="connsiteX1074" fmla="*/ 1650970 w 2945193"/>
                <a:gd name="connsiteY1074" fmla="*/ 2037266 h 2259621"/>
                <a:gd name="connsiteX1075" fmla="*/ 1656671 w 2945193"/>
                <a:gd name="connsiteY1075" fmla="*/ 2035637 h 2259621"/>
                <a:gd name="connsiteX1076" fmla="*/ 1686807 w 2945193"/>
                <a:gd name="connsiteY1076" fmla="*/ 2024234 h 2259621"/>
                <a:gd name="connsiteX1077" fmla="*/ 1696581 w 2945193"/>
                <a:gd name="connsiteY1077" fmla="*/ 2021791 h 2259621"/>
                <a:gd name="connsiteX1078" fmla="*/ 1724274 w 2945193"/>
                <a:gd name="connsiteY1078" fmla="*/ 2007944 h 2259621"/>
                <a:gd name="connsiteX1079" fmla="*/ 1721016 w 2945193"/>
                <a:gd name="connsiteY1079" fmla="*/ 2005501 h 2259621"/>
                <a:gd name="connsiteX1080" fmla="*/ 1725088 w 2945193"/>
                <a:gd name="connsiteY1080" fmla="*/ 2002243 h 2259621"/>
                <a:gd name="connsiteX1081" fmla="*/ 1725088 w 2945193"/>
                <a:gd name="connsiteY1081" fmla="*/ 2003058 h 2259621"/>
                <a:gd name="connsiteX1082" fmla="*/ 1734048 w 2945193"/>
                <a:gd name="connsiteY1082" fmla="*/ 1998985 h 2259621"/>
                <a:gd name="connsiteX1083" fmla="*/ 1734048 w 2945193"/>
                <a:gd name="connsiteY1083" fmla="*/ 1998985 h 2259621"/>
                <a:gd name="connsiteX1084" fmla="*/ 1734048 w 2945193"/>
                <a:gd name="connsiteY1084" fmla="*/ 2003058 h 2259621"/>
                <a:gd name="connsiteX1085" fmla="*/ 1733233 w 2945193"/>
                <a:gd name="connsiteY1085" fmla="*/ 2003872 h 2259621"/>
                <a:gd name="connsiteX1086" fmla="*/ 1730790 w 2945193"/>
                <a:gd name="connsiteY1086" fmla="*/ 2007944 h 2259621"/>
                <a:gd name="connsiteX1087" fmla="*/ 1735677 w 2945193"/>
                <a:gd name="connsiteY1087" fmla="*/ 2005501 h 2259621"/>
                <a:gd name="connsiteX1088" fmla="*/ 1743007 w 2945193"/>
                <a:gd name="connsiteY1088" fmla="*/ 2010388 h 2259621"/>
                <a:gd name="connsiteX1089" fmla="*/ 1749523 w 2945193"/>
                <a:gd name="connsiteY1089" fmla="*/ 2009573 h 2259621"/>
                <a:gd name="connsiteX1090" fmla="*/ 1751152 w 2945193"/>
                <a:gd name="connsiteY1090" fmla="*/ 2003872 h 2259621"/>
                <a:gd name="connsiteX1091" fmla="*/ 1745451 w 2945193"/>
                <a:gd name="connsiteY1091" fmla="*/ 1994098 h 2259621"/>
                <a:gd name="connsiteX1092" fmla="*/ 1743822 w 2945193"/>
                <a:gd name="connsiteY1092" fmla="*/ 1991654 h 2259621"/>
                <a:gd name="connsiteX1093" fmla="*/ 1750337 w 2945193"/>
                <a:gd name="connsiteY1093" fmla="*/ 1985139 h 2259621"/>
                <a:gd name="connsiteX1094" fmla="*/ 1764184 w 2945193"/>
                <a:gd name="connsiteY1094" fmla="*/ 2002243 h 2259621"/>
                <a:gd name="connsiteX1095" fmla="*/ 1764999 w 2945193"/>
                <a:gd name="connsiteY1095" fmla="*/ 2006315 h 2259621"/>
                <a:gd name="connsiteX1096" fmla="*/ 1765813 w 2945193"/>
                <a:gd name="connsiteY1096" fmla="*/ 2009573 h 2259621"/>
                <a:gd name="connsiteX1097" fmla="*/ 1763369 w 2945193"/>
                <a:gd name="connsiteY1097" fmla="*/ 2016089 h 2259621"/>
                <a:gd name="connsiteX1098" fmla="*/ 1765813 w 2945193"/>
                <a:gd name="connsiteY1098" fmla="*/ 2009573 h 2259621"/>
                <a:gd name="connsiteX1099" fmla="*/ 1774772 w 2945193"/>
                <a:gd name="connsiteY1099" fmla="*/ 2012831 h 2259621"/>
                <a:gd name="connsiteX1100" fmla="*/ 1785361 w 2945193"/>
                <a:gd name="connsiteY1100" fmla="*/ 2012831 h 2259621"/>
                <a:gd name="connsiteX1101" fmla="*/ 1798392 w 2945193"/>
                <a:gd name="connsiteY1101" fmla="*/ 2014460 h 2259621"/>
                <a:gd name="connsiteX1102" fmla="*/ 1812239 w 2945193"/>
                <a:gd name="connsiteY1102" fmla="*/ 2010388 h 2259621"/>
                <a:gd name="connsiteX1103" fmla="*/ 1823641 w 2945193"/>
                <a:gd name="connsiteY1103" fmla="*/ 2000614 h 2259621"/>
                <a:gd name="connsiteX1104" fmla="*/ 1842375 w 2945193"/>
                <a:gd name="connsiteY1104" fmla="*/ 1987582 h 2259621"/>
                <a:gd name="connsiteX1105" fmla="*/ 1838303 w 2945193"/>
                <a:gd name="connsiteY1105" fmla="*/ 1986768 h 2259621"/>
                <a:gd name="connsiteX1106" fmla="*/ 1822827 w 2945193"/>
                <a:gd name="connsiteY1106" fmla="*/ 1997356 h 2259621"/>
                <a:gd name="connsiteX1107" fmla="*/ 1815496 w 2945193"/>
                <a:gd name="connsiteY1107" fmla="*/ 1985139 h 2259621"/>
                <a:gd name="connsiteX1108" fmla="*/ 1792691 w 2945193"/>
                <a:gd name="connsiteY1108" fmla="*/ 1982695 h 2259621"/>
                <a:gd name="connsiteX1109" fmla="*/ 1792691 w 2945193"/>
                <a:gd name="connsiteY1109" fmla="*/ 1980251 h 2259621"/>
                <a:gd name="connsiteX1110" fmla="*/ 1800836 w 2945193"/>
                <a:gd name="connsiteY1110" fmla="*/ 1978623 h 2259621"/>
                <a:gd name="connsiteX1111" fmla="*/ 1812239 w 2945193"/>
                <a:gd name="connsiteY1111" fmla="*/ 1976179 h 2259621"/>
                <a:gd name="connsiteX1112" fmla="*/ 1830158 w 2945193"/>
                <a:gd name="connsiteY1112" fmla="*/ 1969663 h 2259621"/>
                <a:gd name="connsiteX1113" fmla="*/ 1841560 w 2945193"/>
                <a:gd name="connsiteY1113" fmla="*/ 1963962 h 2259621"/>
                <a:gd name="connsiteX1114" fmla="*/ 1852149 w 2945193"/>
                <a:gd name="connsiteY1114" fmla="*/ 1959889 h 2259621"/>
                <a:gd name="connsiteX1115" fmla="*/ 1857850 w 2945193"/>
                <a:gd name="connsiteY1115" fmla="*/ 1959075 h 2259621"/>
                <a:gd name="connsiteX1116" fmla="*/ 1857850 w 2945193"/>
                <a:gd name="connsiteY1116" fmla="*/ 1959075 h 2259621"/>
                <a:gd name="connsiteX1117" fmla="*/ 1857850 w 2945193"/>
                <a:gd name="connsiteY1117" fmla="*/ 1959075 h 2259621"/>
                <a:gd name="connsiteX1118" fmla="*/ 1861108 w 2945193"/>
                <a:gd name="connsiteY1118" fmla="*/ 1958261 h 2259621"/>
                <a:gd name="connsiteX1119" fmla="*/ 1865181 w 2945193"/>
                <a:gd name="connsiteY1119" fmla="*/ 1956632 h 2259621"/>
                <a:gd name="connsiteX1120" fmla="*/ 1870882 w 2945193"/>
                <a:gd name="connsiteY1120" fmla="*/ 1954188 h 2259621"/>
                <a:gd name="connsiteX1121" fmla="*/ 1873326 w 2945193"/>
                <a:gd name="connsiteY1121" fmla="*/ 1953373 h 2259621"/>
                <a:gd name="connsiteX1122" fmla="*/ 1871696 w 2945193"/>
                <a:gd name="connsiteY1122" fmla="*/ 1955002 h 2259621"/>
                <a:gd name="connsiteX1123" fmla="*/ 1868438 w 2945193"/>
                <a:gd name="connsiteY1123" fmla="*/ 1959889 h 2259621"/>
                <a:gd name="connsiteX1124" fmla="*/ 1870067 w 2945193"/>
                <a:gd name="connsiteY1124" fmla="*/ 1960704 h 2259621"/>
                <a:gd name="connsiteX1125" fmla="*/ 1880656 w 2945193"/>
                <a:gd name="connsiteY1125" fmla="*/ 1956632 h 2259621"/>
                <a:gd name="connsiteX1126" fmla="*/ 1876583 w 2945193"/>
                <a:gd name="connsiteY1126" fmla="*/ 1959889 h 2259621"/>
                <a:gd name="connsiteX1127" fmla="*/ 1873326 w 2945193"/>
                <a:gd name="connsiteY1127" fmla="*/ 1964776 h 2259621"/>
                <a:gd name="connsiteX1128" fmla="*/ 1874955 w 2945193"/>
                <a:gd name="connsiteY1128" fmla="*/ 1965591 h 2259621"/>
                <a:gd name="connsiteX1129" fmla="*/ 1883100 w 2945193"/>
                <a:gd name="connsiteY1129" fmla="*/ 1962333 h 2259621"/>
                <a:gd name="connsiteX1130" fmla="*/ 1879841 w 2945193"/>
                <a:gd name="connsiteY1130" fmla="*/ 1964776 h 2259621"/>
                <a:gd name="connsiteX1131" fmla="*/ 1877398 w 2945193"/>
                <a:gd name="connsiteY1131" fmla="*/ 1969663 h 2259621"/>
                <a:gd name="connsiteX1132" fmla="*/ 1888801 w 2945193"/>
                <a:gd name="connsiteY1132" fmla="*/ 1964776 h 2259621"/>
                <a:gd name="connsiteX1133" fmla="*/ 1887986 w 2945193"/>
                <a:gd name="connsiteY1133" fmla="*/ 1967220 h 2259621"/>
                <a:gd name="connsiteX1134" fmla="*/ 1884728 w 2945193"/>
                <a:gd name="connsiteY1134" fmla="*/ 1969663 h 2259621"/>
                <a:gd name="connsiteX1135" fmla="*/ 1884728 w 2945193"/>
                <a:gd name="connsiteY1135" fmla="*/ 1969663 h 2259621"/>
                <a:gd name="connsiteX1136" fmla="*/ 1879841 w 2945193"/>
                <a:gd name="connsiteY1136" fmla="*/ 1973736 h 2259621"/>
                <a:gd name="connsiteX1137" fmla="*/ 1882285 w 2945193"/>
                <a:gd name="connsiteY1137" fmla="*/ 1975365 h 2259621"/>
                <a:gd name="connsiteX1138" fmla="*/ 1874955 w 2945193"/>
                <a:gd name="connsiteY1138" fmla="*/ 1981881 h 2259621"/>
                <a:gd name="connsiteX1139" fmla="*/ 1879841 w 2945193"/>
                <a:gd name="connsiteY1139" fmla="*/ 1983510 h 2259621"/>
                <a:gd name="connsiteX1140" fmla="*/ 1883100 w 2945193"/>
                <a:gd name="connsiteY1140" fmla="*/ 1975365 h 2259621"/>
                <a:gd name="connsiteX1141" fmla="*/ 1886357 w 2945193"/>
                <a:gd name="connsiteY1141" fmla="*/ 1976994 h 2259621"/>
                <a:gd name="connsiteX1142" fmla="*/ 1883100 w 2945193"/>
                <a:gd name="connsiteY1142" fmla="*/ 1982695 h 2259621"/>
                <a:gd name="connsiteX1143" fmla="*/ 1888801 w 2945193"/>
                <a:gd name="connsiteY1143" fmla="*/ 1979437 h 2259621"/>
                <a:gd name="connsiteX1144" fmla="*/ 1892059 w 2945193"/>
                <a:gd name="connsiteY1144" fmla="*/ 1981881 h 2259621"/>
                <a:gd name="connsiteX1145" fmla="*/ 1888801 w 2945193"/>
                <a:gd name="connsiteY1145" fmla="*/ 1987582 h 2259621"/>
                <a:gd name="connsiteX1146" fmla="*/ 1895317 w 2945193"/>
                <a:gd name="connsiteY1146" fmla="*/ 1982695 h 2259621"/>
                <a:gd name="connsiteX1147" fmla="*/ 1914050 w 2945193"/>
                <a:gd name="connsiteY1147" fmla="*/ 1971292 h 2259621"/>
                <a:gd name="connsiteX1148" fmla="*/ 1905090 w 2945193"/>
                <a:gd name="connsiteY1148" fmla="*/ 1982695 h 2259621"/>
                <a:gd name="connsiteX1149" fmla="*/ 1910792 w 2945193"/>
                <a:gd name="connsiteY1149" fmla="*/ 1982695 h 2259621"/>
                <a:gd name="connsiteX1150" fmla="*/ 1916493 w 2945193"/>
                <a:gd name="connsiteY1150" fmla="*/ 1980251 h 2259621"/>
                <a:gd name="connsiteX1151" fmla="*/ 1915679 w 2945193"/>
                <a:gd name="connsiteY1151" fmla="*/ 1981881 h 2259621"/>
                <a:gd name="connsiteX1152" fmla="*/ 1916493 w 2945193"/>
                <a:gd name="connsiteY1152" fmla="*/ 1980251 h 2259621"/>
                <a:gd name="connsiteX1153" fmla="*/ 1916493 w 2945193"/>
                <a:gd name="connsiteY1153" fmla="*/ 1980251 h 2259621"/>
                <a:gd name="connsiteX1154" fmla="*/ 1917308 w 2945193"/>
                <a:gd name="connsiteY1154" fmla="*/ 1973736 h 2259621"/>
                <a:gd name="connsiteX1155" fmla="*/ 1918937 w 2945193"/>
                <a:gd name="connsiteY1155" fmla="*/ 1971292 h 2259621"/>
                <a:gd name="connsiteX1156" fmla="*/ 1918937 w 2945193"/>
                <a:gd name="connsiteY1156" fmla="*/ 1971292 h 2259621"/>
                <a:gd name="connsiteX1157" fmla="*/ 1909978 w 2945193"/>
                <a:gd name="connsiteY1157" fmla="*/ 1987582 h 2259621"/>
                <a:gd name="connsiteX1158" fmla="*/ 1915679 w 2945193"/>
                <a:gd name="connsiteY1158" fmla="*/ 1987582 h 2259621"/>
                <a:gd name="connsiteX1159" fmla="*/ 1921380 w 2945193"/>
                <a:gd name="connsiteY1159" fmla="*/ 1985139 h 2259621"/>
                <a:gd name="connsiteX1160" fmla="*/ 1920566 w 2945193"/>
                <a:gd name="connsiteY1160" fmla="*/ 1986768 h 2259621"/>
                <a:gd name="connsiteX1161" fmla="*/ 1921380 w 2945193"/>
                <a:gd name="connsiteY1161" fmla="*/ 1985139 h 2259621"/>
                <a:gd name="connsiteX1162" fmla="*/ 1921380 w 2945193"/>
                <a:gd name="connsiteY1162" fmla="*/ 1985139 h 2259621"/>
                <a:gd name="connsiteX1163" fmla="*/ 1922195 w 2945193"/>
                <a:gd name="connsiteY1163" fmla="*/ 1978623 h 2259621"/>
                <a:gd name="connsiteX1164" fmla="*/ 1927082 w 2945193"/>
                <a:gd name="connsiteY1164" fmla="*/ 1968034 h 2259621"/>
                <a:gd name="connsiteX1165" fmla="*/ 1930340 w 2945193"/>
                <a:gd name="connsiteY1165" fmla="*/ 1973736 h 2259621"/>
                <a:gd name="connsiteX1166" fmla="*/ 1932783 w 2945193"/>
                <a:gd name="connsiteY1166" fmla="*/ 1971292 h 2259621"/>
                <a:gd name="connsiteX1167" fmla="*/ 1936041 w 2945193"/>
                <a:gd name="connsiteY1167" fmla="*/ 1978623 h 2259621"/>
                <a:gd name="connsiteX1168" fmla="*/ 1951516 w 2945193"/>
                <a:gd name="connsiteY1168" fmla="*/ 1963147 h 2259621"/>
                <a:gd name="connsiteX1169" fmla="*/ 1958032 w 2945193"/>
                <a:gd name="connsiteY1169" fmla="*/ 1946043 h 2259621"/>
                <a:gd name="connsiteX1170" fmla="*/ 1953960 w 2945193"/>
                <a:gd name="connsiteY1170" fmla="*/ 1947672 h 2259621"/>
                <a:gd name="connsiteX1171" fmla="*/ 1951516 w 2945193"/>
                <a:gd name="connsiteY1171" fmla="*/ 1950930 h 2259621"/>
                <a:gd name="connsiteX1172" fmla="*/ 1949887 w 2945193"/>
                <a:gd name="connsiteY1172" fmla="*/ 1949301 h 2259621"/>
                <a:gd name="connsiteX1173" fmla="*/ 1952331 w 2945193"/>
                <a:gd name="connsiteY1173" fmla="*/ 1941971 h 2259621"/>
                <a:gd name="connsiteX1174" fmla="*/ 1966177 w 2945193"/>
                <a:gd name="connsiteY1174" fmla="*/ 1934640 h 2259621"/>
                <a:gd name="connsiteX1175" fmla="*/ 1967806 w 2945193"/>
                <a:gd name="connsiteY1175" fmla="*/ 1933826 h 2259621"/>
                <a:gd name="connsiteX1176" fmla="*/ 1963734 w 2945193"/>
                <a:gd name="connsiteY1176" fmla="*/ 1936269 h 2259621"/>
                <a:gd name="connsiteX1177" fmla="*/ 1957218 w 2945193"/>
                <a:gd name="connsiteY1177" fmla="*/ 1954188 h 2259621"/>
                <a:gd name="connsiteX1178" fmla="*/ 1965363 w 2945193"/>
                <a:gd name="connsiteY1178" fmla="*/ 1952559 h 2259621"/>
                <a:gd name="connsiteX1179" fmla="*/ 1962919 w 2945193"/>
                <a:gd name="connsiteY1179" fmla="*/ 1959075 h 2259621"/>
                <a:gd name="connsiteX1180" fmla="*/ 1975137 w 2945193"/>
                <a:gd name="connsiteY1180" fmla="*/ 1956632 h 2259621"/>
                <a:gd name="connsiteX1181" fmla="*/ 1974322 w 2945193"/>
                <a:gd name="connsiteY1181" fmla="*/ 1954188 h 2259621"/>
                <a:gd name="connsiteX1182" fmla="*/ 1978394 w 2945193"/>
                <a:gd name="connsiteY1182" fmla="*/ 1952559 h 2259621"/>
                <a:gd name="connsiteX1183" fmla="*/ 1978394 w 2945193"/>
                <a:gd name="connsiteY1183" fmla="*/ 1952559 h 2259621"/>
                <a:gd name="connsiteX1184" fmla="*/ 1978394 w 2945193"/>
                <a:gd name="connsiteY1184" fmla="*/ 1952559 h 2259621"/>
                <a:gd name="connsiteX1185" fmla="*/ 1975951 w 2945193"/>
                <a:gd name="connsiteY1185" fmla="*/ 1956632 h 2259621"/>
                <a:gd name="connsiteX1186" fmla="*/ 1984096 w 2945193"/>
                <a:gd name="connsiteY1186" fmla="*/ 1954188 h 2259621"/>
                <a:gd name="connsiteX1187" fmla="*/ 1983282 w 2945193"/>
                <a:gd name="connsiteY1187" fmla="*/ 1949301 h 2259621"/>
                <a:gd name="connsiteX1188" fmla="*/ 1983282 w 2945193"/>
                <a:gd name="connsiteY1188" fmla="*/ 1949301 h 2259621"/>
                <a:gd name="connsiteX1189" fmla="*/ 1983282 w 2945193"/>
                <a:gd name="connsiteY1189" fmla="*/ 1949301 h 2259621"/>
                <a:gd name="connsiteX1190" fmla="*/ 2011789 w 2945193"/>
                <a:gd name="connsiteY1190" fmla="*/ 1937084 h 2259621"/>
                <a:gd name="connsiteX1191" fmla="*/ 2020748 w 2945193"/>
                <a:gd name="connsiteY1191" fmla="*/ 1932197 h 2259621"/>
                <a:gd name="connsiteX1192" fmla="*/ 2034594 w 2945193"/>
                <a:gd name="connsiteY1192" fmla="*/ 1924052 h 2259621"/>
                <a:gd name="connsiteX1193" fmla="*/ 2054957 w 2945193"/>
                <a:gd name="connsiteY1193" fmla="*/ 1916721 h 2259621"/>
                <a:gd name="connsiteX1194" fmla="*/ 2063916 w 2945193"/>
                <a:gd name="connsiteY1194" fmla="*/ 1909391 h 2259621"/>
                <a:gd name="connsiteX1195" fmla="*/ 2086722 w 2945193"/>
                <a:gd name="connsiteY1195" fmla="*/ 1902061 h 2259621"/>
                <a:gd name="connsiteX1196" fmla="*/ 2092423 w 2945193"/>
                <a:gd name="connsiteY1196" fmla="*/ 1897174 h 2259621"/>
                <a:gd name="connsiteX1197" fmla="*/ 2102197 w 2945193"/>
                <a:gd name="connsiteY1197" fmla="*/ 1897174 h 2259621"/>
                <a:gd name="connsiteX1198" fmla="*/ 2110342 w 2945193"/>
                <a:gd name="connsiteY1198" fmla="*/ 1891472 h 2259621"/>
                <a:gd name="connsiteX1199" fmla="*/ 2113600 w 2945193"/>
                <a:gd name="connsiteY1199" fmla="*/ 1895545 h 2259621"/>
                <a:gd name="connsiteX1200" fmla="*/ 2119301 w 2945193"/>
                <a:gd name="connsiteY1200" fmla="*/ 1893916 h 2259621"/>
                <a:gd name="connsiteX1201" fmla="*/ 2125817 w 2945193"/>
                <a:gd name="connsiteY1201" fmla="*/ 1886585 h 2259621"/>
                <a:gd name="connsiteX1202" fmla="*/ 2148623 w 2945193"/>
                <a:gd name="connsiteY1202" fmla="*/ 1880069 h 2259621"/>
                <a:gd name="connsiteX1203" fmla="*/ 2155139 w 2945193"/>
                <a:gd name="connsiteY1203" fmla="*/ 1877626 h 2259621"/>
                <a:gd name="connsiteX1204" fmla="*/ 2155953 w 2945193"/>
                <a:gd name="connsiteY1204" fmla="*/ 1878441 h 2259621"/>
                <a:gd name="connsiteX1205" fmla="*/ 2155953 w 2945193"/>
                <a:gd name="connsiteY1205" fmla="*/ 1877626 h 2259621"/>
                <a:gd name="connsiteX1206" fmla="*/ 2155953 w 2945193"/>
                <a:gd name="connsiteY1206" fmla="*/ 1877626 h 2259621"/>
                <a:gd name="connsiteX1207" fmla="*/ 2166542 w 2945193"/>
                <a:gd name="connsiteY1207" fmla="*/ 1878441 h 2259621"/>
                <a:gd name="connsiteX1208" fmla="*/ 2183646 w 2945193"/>
                <a:gd name="connsiteY1208" fmla="*/ 1875183 h 2259621"/>
                <a:gd name="connsiteX1209" fmla="*/ 2178759 w 2945193"/>
                <a:gd name="connsiteY1209" fmla="*/ 1870296 h 2259621"/>
                <a:gd name="connsiteX1210" fmla="*/ 2178759 w 2945193"/>
                <a:gd name="connsiteY1210" fmla="*/ 1870296 h 2259621"/>
                <a:gd name="connsiteX1211" fmla="*/ 2178759 w 2945193"/>
                <a:gd name="connsiteY1211" fmla="*/ 1870296 h 2259621"/>
                <a:gd name="connsiteX1212" fmla="*/ 2176316 w 2945193"/>
                <a:gd name="connsiteY1212" fmla="*/ 1867852 h 2259621"/>
                <a:gd name="connsiteX1213" fmla="*/ 2187718 w 2945193"/>
                <a:gd name="connsiteY1213" fmla="*/ 1866223 h 2259621"/>
                <a:gd name="connsiteX1214" fmla="*/ 2186904 w 2945193"/>
                <a:gd name="connsiteY1214" fmla="*/ 1867038 h 2259621"/>
                <a:gd name="connsiteX1215" fmla="*/ 2192606 w 2945193"/>
                <a:gd name="connsiteY1215" fmla="*/ 1869481 h 2259621"/>
                <a:gd name="connsiteX1216" fmla="*/ 2198307 w 2945193"/>
                <a:gd name="connsiteY1216" fmla="*/ 1867038 h 2259621"/>
                <a:gd name="connsiteX1217" fmla="*/ 2192606 w 2945193"/>
                <a:gd name="connsiteY1217" fmla="*/ 1871924 h 2259621"/>
                <a:gd name="connsiteX1218" fmla="*/ 2198307 w 2945193"/>
                <a:gd name="connsiteY1218" fmla="*/ 1874368 h 2259621"/>
                <a:gd name="connsiteX1219" fmla="*/ 2213782 w 2945193"/>
                <a:gd name="connsiteY1219" fmla="*/ 1871110 h 2259621"/>
                <a:gd name="connsiteX1220" fmla="*/ 2234959 w 2945193"/>
                <a:gd name="connsiteY1220" fmla="*/ 1870296 h 2259621"/>
                <a:gd name="connsiteX1221" fmla="*/ 2247991 w 2945193"/>
                <a:gd name="connsiteY1221" fmla="*/ 1859707 h 2259621"/>
                <a:gd name="connsiteX1222" fmla="*/ 2252063 w 2945193"/>
                <a:gd name="connsiteY1222" fmla="*/ 1858893 h 2259621"/>
                <a:gd name="connsiteX1223" fmla="*/ 2254507 w 2945193"/>
                <a:gd name="connsiteY1223" fmla="*/ 1862965 h 2259621"/>
                <a:gd name="connsiteX1224" fmla="*/ 2257765 w 2945193"/>
                <a:gd name="connsiteY1224" fmla="*/ 1862151 h 2259621"/>
                <a:gd name="connsiteX1225" fmla="*/ 2256950 w 2945193"/>
                <a:gd name="connsiteY1225" fmla="*/ 1862965 h 2259621"/>
                <a:gd name="connsiteX1226" fmla="*/ 2260208 w 2945193"/>
                <a:gd name="connsiteY1226" fmla="*/ 1867852 h 2259621"/>
                <a:gd name="connsiteX1227" fmla="*/ 2293602 w 2945193"/>
                <a:gd name="connsiteY1227" fmla="*/ 1864594 h 2259621"/>
                <a:gd name="connsiteX1228" fmla="*/ 2311521 w 2945193"/>
                <a:gd name="connsiteY1228" fmla="*/ 1862965 h 2259621"/>
                <a:gd name="connsiteX1229" fmla="*/ 2326181 w 2945193"/>
                <a:gd name="connsiteY1229" fmla="*/ 1862965 h 2259621"/>
                <a:gd name="connsiteX1230" fmla="*/ 2343286 w 2945193"/>
                <a:gd name="connsiteY1230" fmla="*/ 1857264 h 2259621"/>
                <a:gd name="connsiteX1231" fmla="*/ 2357132 w 2945193"/>
                <a:gd name="connsiteY1231" fmla="*/ 1858078 h 2259621"/>
                <a:gd name="connsiteX1232" fmla="*/ 2375866 w 2945193"/>
                <a:gd name="connsiteY1232" fmla="*/ 1853191 h 2259621"/>
                <a:gd name="connsiteX1233" fmla="*/ 2384825 w 2945193"/>
                <a:gd name="connsiteY1233" fmla="*/ 1850748 h 2259621"/>
                <a:gd name="connsiteX1234" fmla="*/ 2384011 w 2945193"/>
                <a:gd name="connsiteY1234" fmla="*/ 1845861 h 2259621"/>
                <a:gd name="connsiteX1235" fmla="*/ 2395413 w 2945193"/>
                <a:gd name="connsiteY1235" fmla="*/ 1840974 h 2259621"/>
                <a:gd name="connsiteX1236" fmla="*/ 2396228 w 2945193"/>
                <a:gd name="connsiteY1236" fmla="*/ 1837716 h 2259621"/>
                <a:gd name="connsiteX1237" fmla="*/ 2401115 w 2945193"/>
                <a:gd name="connsiteY1237" fmla="*/ 1836902 h 2259621"/>
                <a:gd name="connsiteX1238" fmla="*/ 2395413 w 2945193"/>
                <a:gd name="connsiteY1238" fmla="*/ 1840974 h 2259621"/>
                <a:gd name="connsiteX1239" fmla="*/ 2399486 w 2945193"/>
                <a:gd name="connsiteY1239" fmla="*/ 1841789 h 2259621"/>
                <a:gd name="connsiteX1240" fmla="*/ 2403558 w 2945193"/>
                <a:gd name="connsiteY1240" fmla="*/ 1840159 h 2259621"/>
                <a:gd name="connsiteX1241" fmla="*/ 2401115 w 2945193"/>
                <a:gd name="connsiteY1241" fmla="*/ 1836902 h 2259621"/>
                <a:gd name="connsiteX1242" fmla="*/ 2423920 w 2945193"/>
                <a:gd name="connsiteY1242" fmla="*/ 1835272 h 2259621"/>
                <a:gd name="connsiteX1243" fmla="*/ 2435323 w 2945193"/>
                <a:gd name="connsiteY1243" fmla="*/ 1832015 h 2259621"/>
                <a:gd name="connsiteX1244" fmla="*/ 2445912 w 2945193"/>
                <a:gd name="connsiteY1244" fmla="*/ 1827128 h 2259621"/>
                <a:gd name="connsiteX1245" fmla="*/ 2456500 w 2945193"/>
                <a:gd name="connsiteY1245" fmla="*/ 1824684 h 2259621"/>
                <a:gd name="connsiteX1246" fmla="*/ 2463830 w 2945193"/>
                <a:gd name="connsiteY1246" fmla="*/ 1823055 h 2259621"/>
                <a:gd name="connsiteX1247" fmla="*/ 2490708 w 2945193"/>
                <a:gd name="connsiteY1247" fmla="*/ 1812467 h 2259621"/>
                <a:gd name="connsiteX1248" fmla="*/ 2485822 w 2945193"/>
                <a:gd name="connsiteY1248" fmla="*/ 1810023 h 2259621"/>
                <a:gd name="connsiteX1249" fmla="*/ 2480934 w 2945193"/>
                <a:gd name="connsiteY1249" fmla="*/ 1810023 h 2259621"/>
                <a:gd name="connsiteX1250" fmla="*/ 2485007 w 2945193"/>
                <a:gd name="connsiteY1250" fmla="*/ 1807580 h 2259621"/>
                <a:gd name="connsiteX1251" fmla="*/ 2480120 w 2945193"/>
                <a:gd name="connsiteY1251" fmla="*/ 1805136 h 2259621"/>
                <a:gd name="connsiteX1252" fmla="*/ 2454056 w 2945193"/>
                <a:gd name="connsiteY1252" fmla="*/ 1801879 h 2259621"/>
                <a:gd name="connsiteX1253" fmla="*/ 2427993 w 2945193"/>
                <a:gd name="connsiteY1253" fmla="*/ 1798620 h 2259621"/>
                <a:gd name="connsiteX1254" fmla="*/ 2426364 w 2945193"/>
                <a:gd name="connsiteY1254" fmla="*/ 1798620 h 2259621"/>
                <a:gd name="connsiteX1255" fmla="*/ 2428807 w 2945193"/>
                <a:gd name="connsiteY1255" fmla="*/ 1796992 h 2259621"/>
                <a:gd name="connsiteX1256" fmla="*/ 2441025 w 2945193"/>
                <a:gd name="connsiteY1256" fmla="*/ 1795363 h 2259621"/>
                <a:gd name="connsiteX1257" fmla="*/ 2458129 w 2945193"/>
                <a:gd name="connsiteY1257" fmla="*/ 1792105 h 2259621"/>
                <a:gd name="connsiteX1258" fmla="*/ 2462201 w 2945193"/>
                <a:gd name="connsiteY1258" fmla="*/ 1788847 h 2259621"/>
                <a:gd name="connsiteX1259" fmla="*/ 2454871 w 2945193"/>
                <a:gd name="connsiteY1259" fmla="*/ 1786403 h 2259621"/>
                <a:gd name="connsiteX1260" fmla="*/ 2457315 w 2945193"/>
                <a:gd name="connsiteY1260" fmla="*/ 1783960 h 2259621"/>
                <a:gd name="connsiteX1261" fmla="*/ 2441839 w 2945193"/>
                <a:gd name="connsiteY1261" fmla="*/ 1781516 h 2259621"/>
                <a:gd name="connsiteX1262" fmla="*/ 2437767 w 2945193"/>
                <a:gd name="connsiteY1262" fmla="*/ 1782331 h 2259621"/>
                <a:gd name="connsiteX1263" fmla="*/ 2436138 w 2945193"/>
                <a:gd name="connsiteY1263" fmla="*/ 1782331 h 2259621"/>
                <a:gd name="connsiteX1264" fmla="*/ 2440210 w 2945193"/>
                <a:gd name="connsiteY1264" fmla="*/ 1777444 h 2259621"/>
                <a:gd name="connsiteX1265" fmla="*/ 2460572 w 2945193"/>
                <a:gd name="connsiteY1265" fmla="*/ 1770113 h 2259621"/>
                <a:gd name="connsiteX1266" fmla="*/ 2483378 w 2945193"/>
                <a:gd name="connsiteY1266" fmla="*/ 1767670 h 2259621"/>
                <a:gd name="connsiteX1267" fmla="*/ 2489894 w 2945193"/>
                <a:gd name="connsiteY1267" fmla="*/ 1766041 h 2259621"/>
                <a:gd name="connsiteX1268" fmla="*/ 2511071 w 2945193"/>
                <a:gd name="connsiteY1268" fmla="*/ 1761968 h 2259621"/>
                <a:gd name="connsiteX1269" fmla="*/ 2523288 w 2945193"/>
                <a:gd name="connsiteY1269" fmla="*/ 1758711 h 2259621"/>
                <a:gd name="connsiteX1270" fmla="*/ 2526546 w 2945193"/>
                <a:gd name="connsiteY1270" fmla="*/ 1757896 h 2259621"/>
                <a:gd name="connsiteX1271" fmla="*/ 2536320 w 2945193"/>
                <a:gd name="connsiteY1271" fmla="*/ 1756267 h 2259621"/>
                <a:gd name="connsiteX1272" fmla="*/ 2550166 w 2945193"/>
                <a:gd name="connsiteY1272" fmla="*/ 1753824 h 2259621"/>
                <a:gd name="connsiteX1273" fmla="*/ 2578673 w 2945193"/>
                <a:gd name="connsiteY1273" fmla="*/ 1750566 h 2259621"/>
                <a:gd name="connsiteX1274" fmla="*/ 2578673 w 2945193"/>
                <a:gd name="connsiteY1274" fmla="*/ 1750566 h 2259621"/>
                <a:gd name="connsiteX1275" fmla="*/ 2576230 w 2945193"/>
                <a:gd name="connsiteY1275" fmla="*/ 1760340 h 2259621"/>
                <a:gd name="connsiteX1276" fmla="*/ 2535505 w 2945193"/>
                <a:gd name="connsiteY1276" fmla="*/ 1765227 h 2259621"/>
                <a:gd name="connsiteX1277" fmla="*/ 2531433 w 2945193"/>
                <a:gd name="connsiteY1277" fmla="*/ 1766041 h 2259621"/>
                <a:gd name="connsiteX1278" fmla="*/ 2495595 w 2945193"/>
                <a:gd name="connsiteY1278" fmla="*/ 1772557 h 2259621"/>
                <a:gd name="connsiteX1279" fmla="*/ 2481749 w 2945193"/>
                <a:gd name="connsiteY1279" fmla="*/ 1773371 h 2259621"/>
                <a:gd name="connsiteX1280" fmla="*/ 2471160 w 2945193"/>
                <a:gd name="connsiteY1280" fmla="*/ 1782331 h 2259621"/>
                <a:gd name="connsiteX1281" fmla="*/ 2479305 w 2945193"/>
                <a:gd name="connsiteY1281" fmla="*/ 1782331 h 2259621"/>
                <a:gd name="connsiteX1282" fmla="*/ 2476862 w 2945193"/>
                <a:gd name="connsiteY1282" fmla="*/ 1787218 h 2259621"/>
                <a:gd name="connsiteX1283" fmla="*/ 2491523 w 2945193"/>
                <a:gd name="connsiteY1283" fmla="*/ 1787218 h 2259621"/>
                <a:gd name="connsiteX1284" fmla="*/ 2516772 w 2945193"/>
                <a:gd name="connsiteY1284" fmla="*/ 1786403 h 2259621"/>
                <a:gd name="connsiteX1285" fmla="*/ 2523288 w 2945193"/>
                <a:gd name="connsiteY1285" fmla="*/ 1780702 h 2259621"/>
                <a:gd name="connsiteX1286" fmla="*/ 2531433 w 2945193"/>
                <a:gd name="connsiteY1286" fmla="*/ 1781516 h 2259621"/>
                <a:gd name="connsiteX1287" fmla="*/ 2551795 w 2945193"/>
                <a:gd name="connsiteY1287" fmla="*/ 1776629 h 2259621"/>
                <a:gd name="connsiteX1288" fmla="*/ 2562383 w 2945193"/>
                <a:gd name="connsiteY1288" fmla="*/ 1775000 h 2259621"/>
                <a:gd name="connsiteX1289" fmla="*/ 2565642 w 2945193"/>
                <a:gd name="connsiteY1289" fmla="*/ 1775000 h 2259621"/>
                <a:gd name="connsiteX1290" fmla="*/ 2584375 w 2945193"/>
                <a:gd name="connsiteY1290" fmla="*/ 1770113 h 2259621"/>
                <a:gd name="connsiteX1291" fmla="*/ 2590076 w 2945193"/>
                <a:gd name="connsiteY1291" fmla="*/ 1766041 h 2259621"/>
                <a:gd name="connsiteX1292" fmla="*/ 2590076 w 2945193"/>
                <a:gd name="connsiteY1292" fmla="*/ 1766041 h 2259621"/>
                <a:gd name="connsiteX1293" fmla="*/ 2590076 w 2945193"/>
                <a:gd name="connsiteY1293" fmla="*/ 1766041 h 2259621"/>
                <a:gd name="connsiteX1294" fmla="*/ 2602294 w 2945193"/>
                <a:gd name="connsiteY1294" fmla="*/ 1766855 h 2259621"/>
                <a:gd name="connsiteX1295" fmla="*/ 2641389 w 2945193"/>
                <a:gd name="connsiteY1295" fmla="*/ 1757082 h 2259621"/>
                <a:gd name="connsiteX1296" fmla="*/ 2665824 w 2945193"/>
                <a:gd name="connsiteY1296" fmla="*/ 1752195 h 2259621"/>
                <a:gd name="connsiteX1297" fmla="*/ 2669082 w 2945193"/>
                <a:gd name="connsiteY1297" fmla="*/ 1747308 h 2259621"/>
                <a:gd name="connsiteX1298" fmla="*/ 2663380 w 2945193"/>
                <a:gd name="connsiteY1298" fmla="*/ 1745679 h 2259621"/>
                <a:gd name="connsiteX1299" fmla="*/ 2664195 w 2945193"/>
                <a:gd name="connsiteY1299" fmla="*/ 1742421 h 2259621"/>
                <a:gd name="connsiteX1300" fmla="*/ 2661751 w 2945193"/>
                <a:gd name="connsiteY1300" fmla="*/ 1741606 h 2259621"/>
                <a:gd name="connsiteX1301" fmla="*/ 2677227 w 2945193"/>
                <a:gd name="connsiteY1301" fmla="*/ 1739977 h 2259621"/>
                <a:gd name="connsiteX1302" fmla="*/ 2676412 w 2945193"/>
                <a:gd name="connsiteY1302" fmla="*/ 1740792 h 2259621"/>
                <a:gd name="connsiteX1303" fmla="*/ 2677227 w 2945193"/>
                <a:gd name="connsiteY1303" fmla="*/ 1742421 h 2259621"/>
                <a:gd name="connsiteX1304" fmla="*/ 2686186 w 2945193"/>
                <a:gd name="connsiteY1304" fmla="*/ 1741606 h 2259621"/>
                <a:gd name="connsiteX1305" fmla="*/ 2688629 w 2945193"/>
                <a:gd name="connsiteY1305" fmla="*/ 1740792 h 2259621"/>
                <a:gd name="connsiteX1306" fmla="*/ 2681299 w 2945193"/>
                <a:gd name="connsiteY1306" fmla="*/ 1744864 h 2259621"/>
                <a:gd name="connsiteX1307" fmla="*/ 2682113 w 2945193"/>
                <a:gd name="connsiteY1307" fmla="*/ 1746493 h 2259621"/>
                <a:gd name="connsiteX1308" fmla="*/ 2691073 w 2945193"/>
                <a:gd name="connsiteY1308" fmla="*/ 1745679 h 2259621"/>
                <a:gd name="connsiteX1309" fmla="*/ 2708991 w 2945193"/>
                <a:gd name="connsiteY1309" fmla="*/ 1747308 h 2259621"/>
                <a:gd name="connsiteX1310" fmla="*/ 2725281 w 2945193"/>
                <a:gd name="connsiteY1310" fmla="*/ 1743235 h 2259621"/>
                <a:gd name="connsiteX1311" fmla="*/ 2728539 w 2945193"/>
                <a:gd name="connsiteY1311" fmla="*/ 1739977 h 2259621"/>
                <a:gd name="connsiteX1312" fmla="*/ 2741571 w 2945193"/>
                <a:gd name="connsiteY1312" fmla="*/ 1739163 h 2259621"/>
                <a:gd name="connsiteX1313" fmla="*/ 2751345 w 2945193"/>
                <a:gd name="connsiteY1313" fmla="*/ 1743235 h 2259621"/>
                <a:gd name="connsiteX1314" fmla="*/ 2760304 w 2945193"/>
                <a:gd name="connsiteY1314" fmla="*/ 1737534 h 2259621"/>
                <a:gd name="connsiteX1315" fmla="*/ 2753788 w 2945193"/>
                <a:gd name="connsiteY1315" fmla="*/ 1735090 h 2259621"/>
                <a:gd name="connsiteX1316" fmla="*/ 2754603 w 2945193"/>
                <a:gd name="connsiteY1316" fmla="*/ 1733461 h 2259621"/>
                <a:gd name="connsiteX1317" fmla="*/ 2755417 w 2945193"/>
                <a:gd name="connsiteY1317" fmla="*/ 1731832 h 2259621"/>
                <a:gd name="connsiteX1318" fmla="*/ 2757047 w 2945193"/>
                <a:gd name="connsiteY1318" fmla="*/ 1729389 h 2259621"/>
                <a:gd name="connsiteX1319" fmla="*/ 2753788 w 2945193"/>
                <a:gd name="connsiteY1319" fmla="*/ 1726945 h 2259621"/>
                <a:gd name="connsiteX1320" fmla="*/ 2749716 w 2945193"/>
                <a:gd name="connsiteY1320" fmla="*/ 1726945 h 2259621"/>
                <a:gd name="connsiteX1321" fmla="*/ 2749716 w 2945193"/>
                <a:gd name="connsiteY1321" fmla="*/ 1726945 h 2259621"/>
                <a:gd name="connsiteX1322" fmla="*/ 2751345 w 2945193"/>
                <a:gd name="connsiteY1322" fmla="*/ 1724502 h 2259621"/>
                <a:gd name="connsiteX1323" fmla="*/ 2748087 w 2945193"/>
                <a:gd name="connsiteY1323" fmla="*/ 1722058 h 2259621"/>
                <a:gd name="connsiteX1324" fmla="*/ 2740757 w 2945193"/>
                <a:gd name="connsiteY1324" fmla="*/ 1722873 h 2259621"/>
                <a:gd name="connsiteX1325" fmla="*/ 2739942 w 2945193"/>
                <a:gd name="connsiteY1325" fmla="*/ 1722058 h 2259621"/>
                <a:gd name="connsiteX1326" fmla="*/ 2739942 w 2945193"/>
                <a:gd name="connsiteY1326" fmla="*/ 1718801 h 2259621"/>
                <a:gd name="connsiteX1327" fmla="*/ 2735055 w 2945193"/>
                <a:gd name="connsiteY1327" fmla="*/ 1717986 h 2259621"/>
                <a:gd name="connsiteX1328" fmla="*/ 2735055 w 2945193"/>
                <a:gd name="connsiteY1328" fmla="*/ 1713914 h 2259621"/>
                <a:gd name="connsiteX1329" fmla="*/ 2726910 w 2945193"/>
                <a:gd name="connsiteY1329" fmla="*/ 1713099 h 2259621"/>
                <a:gd name="connsiteX1330" fmla="*/ 2727725 w 2945193"/>
                <a:gd name="connsiteY1330" fmla="*/ 1708212 h 2259621"/>
                <a:gd name="connsiteX1331" fmla="*/ 2733426 w 2945193"/>
                <a:gd name="connsiteY1331" fmla="*/ 1706583 h 2259621"/>
                <a:gd name="connsiteX1332" fmla="*/ 2750531 w 2945193"/>
                <a:gd name="connsiteY1332" fmla="*/ 1702511 h 2259621"/>
                <a:gd name="connsiteX1333" fmla="*/ 2760304 w 2945193"/>
                <a:gd name="connsiteY1333" fmla="*/ 1700067 h 2259621"/>
                <a:gd name="connsiteX1334" fmla="*/ 2779038 w 2945193"/>
                <a:gd name="connsiteY1334" fmla="*/ 1695995 h 2259621"/>
                <a:gd name="connsiteX1335" fmla="*/ 2797771 w 2945193"/>
                <a:gd name="connsiteY1335" fmla="*/ 1695995 h 2259621"/>
                <a:gd name="connsiteX1336" fmla="*/ 2800214 w 2945193"/>
                <a:gd name="connsiteY1336" fmla="*/ 1696809 h 2259621"/>
                <a:gd name="connsiteX1337" fmla="*/ 2781481 w 2945193"/>
                <a:gd name="connsiteY1337" fmla="*/ 1700067 h 2259621"/>
                <a:gd name="connsiteX1338" fmla="*/ 2765191 w 2945193"/>
                <a:gd name="connsiteY1338" fmla="*/ 1705769 h 2259621"/>
                <a:gd name="connsiteX1339" fmla="*/ 2801029 w 2945193"/>
                <a:gd name="connsiteY1339" fmla="*/ 1700882 h 2259621"/>
                <a:gd name="connsiteX1340" fmla="*/ 2811617 w 2945193"/>
                <a:gd name="connsiteY1340" fmla="*/ 1699253 h 2259621"/>
                <a:gd name="connsiteX1341" fmla="*/ 2806730 w 2945193"/>
                <a:gd name="connsiteY1341" fmla="*/ 1700882 h 2259621"/>
                <a:gd name="connsiteX1342" fmla="*/ 2786368 w 2945193"/>
                <a:gd name="connsiteY1342" fmla="*/ 1704954 h 2259621"/>
                <a:gd name="connsiteX1343" fmla="*/ 2770078 w 2945193"/>
                <a:gd name="connsiteY1343" fmla="*/ 1710656 h 2259621"/>
                <a:gd name="connsiteX1344" fmla="*/ 2805916 w 2945193"/>
                <a:gd name="connsiteY1344" fmla="*/ 1705769 h 2259621"/>
                <a:gd name="connsiteX1345" fmla="*/ 2820577 w 2945193"/>
                <a:gd name="connsiteY1345" fmla="*/ 1703325 h 2259621"/>
                <a:gd name="connsiteX1346" fmla="*/ 2837681 w 2945193"/>
                <a:gd name="connsiteY1346" fmla="*/ 1698438 h 2259621"/>
                <a:gd name="connsiteX1347" fmla="*/ 2828721 w 2945193"/>
                <a:gd name="connsiteY1347" fmla="*/ 1695995 h 2259621"/>
                <a:gd name="connsiteX1348" fmla="*/ 2828721 w 2945193"/>
                <a:gd name="connsiteY1348" fmla="*/ 1695180 h 2259621"/>
                <a:gd name="connsiteX1349" fmla="*/ 2831980 w 2945193"/>
                <a:gd name="connsiteY1349" fmla="*/ 1693551 h 2259621"/>
                <a:gd name="connsiteX1350" fmla="*/ 2828721 w 2945193"/>
                <a:gd name="connsiteY1350" fmla="*/ 1692737 h 2259621"/>
                <a:gd name="connsiteX1351" fmla="*/ 2829536 w 2945193"/>
                <a:gd name="connsiteY1351" fmla="*/ 1691108 h 2259621"/>
                <a:gd name="connsiteX1352" fmla="*/ 2834423 w 2945193"/>
                <a:gd name="connsiteY1352" fmla="*/ 1684592 h 2259621"/>
                <a:gd name="connsiteX1353" fmla="*/ 2830351 w 2945193"/>
                <a:gd name="connsiteY1353" fmla="*/ 1678076 h 2259621"/>
                <a:gd name="connsiteX1354" fmla="*/ 2829536 w 2945193"/>
                <a:gd name="connsiteY1354" fmla="*/ 1678076 h 2259621"/>
                <a:gd name="connsiteX1355" fmla="*/ 2825463 w 2945193"/>
                <a:gd name="connsiteY1355" fmla="*/ 1673189 h 2259621"/>
                <a:gd name="connsiteX1356" fmla="*/ 2806730 w 2945193"/>
                <a:gd name="connsiteY1356" fmla="*/ 1676447 h 2259621"/>
                <a:gd name="connsiteX1357" fmla="*/ 2805101 w 2945193"/>
                <a:gd name="connsiteY1357" fmla="*/ 1677262 h 2259621"/>
                <a:gd name="connsiteX1358" fmla="*/ 2806730 w 2945193"/>
                <a:gd name="connsiteY1358" fmla="*/ 1674004 h 2259621"/>
                <a:gd name="connsiteX1359" fmla="*/ 2803473 w 2945193"/>
                <a:gd name="connsiteY1359" fmla="*/ 1672375 h 2259621"/>
                <a:gd name="connsiteX1360" fmla="*/ 2801029 w 2945193"/>
                <a:gd name="connsiteY1360" fmla="*/ 1671560 h 2259621"/>
                <a:gd name="connsiteX1361" fmla="*/ 2801843 w 2945193"/>
                <a:gd name="connsiteY1361" fmla="*/ 1669117 h 2259621"/>
                <a:gd name="connsiteX1362" fmla="*/ 2805916 w 2945193"/>
                <a:gd name="connsiteY1362" fmla="*/ 1668302 h 2259621"/>
                <a:gd name="connsiteX1363" fmla="*/ 2838495 w 2945193"/>
                <a:gd name="connsiteY1363" fmla="*/ 1674004 h 2259621"/>
                <a:gd name="connsiteX1364" fmla="*/ 2858043 w 2945193"/>
                <a:gd name="connsiteY1364" fmla="*/ 1670746 h 2259621"/>
                <a:gd name="connsiteX1365" fmla="*/ 2848269 w 2945193"/>
                <a:gd name="connsiteY1365" fmla="*/ 1669117 h 2259621"/>
                <a:gd name="connsiteX1366" fmla="*/ 2853156 w 2945193"/>
                <a:gd name="connsiteY1366" fmla="*/ 1665859 h 2259621"/>
                <a:gd name="connsiteX1367" fmla="*/ 2821391 w 2945193"/>
                <a:gd name="connsiteY1367" fmla="*/ 1660972 h 2259621"/>
                <a:gd name="connsiteX1368" fmla="*/ 2821391 w 2945193"/>
                <a:gd name="connsiteY1368" fmla="*/ 1660972 h 2259621"/>
                <a:gd name="connsiteX1369" fmla="*/ 2845011 w 2945193"/>
                <a:gd name="connsiteY1369" fmla="*/ 1653641 h 2259621"/>
                <a:gd name="connsiteX1370" fmla="*/ 2847455 w 2945193"/>
                <a:gd name="connsiteY1370" fmla="*/ 1646311 h 2259621"/>
                <a:gd name="connsiteX1371" fmla="*/ 2849084 w 2945193"/>
                <a:gd name="connsiteY1371" fmla="*/ 1638981 h 2259621"/>
                <a:gd name="connsiteX1372" fmla="*/ 2853970 w 2945193"/>
                <a:gd name="connsiteY1372" fmla="*/ 1635723 h 2259621"/>
                <a:gd name="connsiteX1373" fmla="*/ 2849898 w 2945193"/>
                <a:gd name="connsiteY1373" fmla="*/ 1630836 h 2259621"/>
                <a:gd name="connsiteX1374" fmla="*/ 2848269 w 2945193"/>
                <a:gd name="connsiteY1374" fmla="*/ 1630836 h 2259621"/>
                <a:gd name="connsiteX1375" fmla="*/ 2844197 w 2945193"/>
                <a:gd name="connsiteY1375" fmla="*/ 1625949 h 2259621"/>
                <a:gd name="connsiteX1376" fmla="*/ 2827907 w 2945193"/>
                <a:gd name="connsiteY1376" fmla="*/ 1623505 h 2259621"/>
                <a:gd name="connsiteX1377" fmla="*/ 2804287 w 2945193"/>
                <a:gd name="connsiteY1377" fmla="*/ 1615360 h 2259621"/>
                <a:gd name="connsiteX1378" fmla="*/ 2800214 w 2945193"/>
                <a:gd name="connsiteY1378" fmla="*/ 1613732 h 2259621"/>
                <a:gd name="connsiteX1379" fmla="*/ 2779852 w 2945193"/>
                <a:gd name="connsiteY1379" fmla="*/ 1607215 h 2259621"/>
                <a:gd name="connsiteX1380" fmla="*/ 2774965 w 2945193"/>
                <a:gd name="connsiteY1380" fmla="*/ 1606401 h 2259621"/>
                <a:gd name="connsiteX1381" fmla="*/ 2733426 w 2945193"/>
                <a:gd name="connsiteY1381" fmla="*/ 1599885 h 2259621"/>
                <a:gd name="connsiteX1382" fmla="*/ 2727725 w 2945193"/>
                <a:gd name="connsiteY1382" fmla="*/ 1599071 h 2259621"/>
                <a:gd name="connsiteX1383" fmla="*/ 2685372 w 2945193"/>
                <a:gd name="connsiteY1383" fmla="*/ 1597442 h 2259621"/>
                <a:gd name="connsiteX1384" fmla="*/ 2653606 w 2945193"/>
                <a:gd name="connsiteY1384" fmla="*/ 1598256 h 2259621"/>
                <a:gd name="connsiteX1385" fmla="*/ 2638131 w 2945193"/>
                <a:gd name="connsiteY1385" fmla="*/ 1599071 h 2259621"/>
                <a:gd name="connsiteX1386" fmla="*/ 2632430 w 2945193"/>
                <a:gd name="connsiteY1386" fmla="*/ 1594998 h 2259621"/>
                <a:gd name="connsiteX1387" fmla="*/ 2623470 w 2945193"/>
                <a:gd name="connsiteY1387" fmla="*/ 1596627 h 2259621"/>
                <a:gd name="connsiteX1388" fmla="*/ 2609624 w 2945193"/>
                <a:gd name="connsiteY1388" fmla="*/ 1596627 h 2259621"/>
                <a:gd name="connsiteX1389" fmla="*/ 2608809 w 2945193"/>
                <a:gd name="connsiteY1389" fmla="*/ 1591740 h 2259621"/>
                <a:gd name="connsiteX1390" fmla="*/ 2605551 w 2945193"/>
                <a:gd name="connsiteY1390" fmla="*/ 1590111 h 2259621"/>
                <a:gd name="connsiteX1391" fmla="*/ 2603923 w 2945193"/>
                <a:gd name="connsiteY1391" fmla="*/ 1586853 h 2259621"/>
                <a:gd name="connsiteX1392" fmla="*/ 2594963 w 2945193"/>
                <a:gd name="connsiteY1392" fmla="*/ 1584410 h 2259621"/>
                <a:gd name="connsiteX1393" fmla="*/ 2571343 w 2945193"/>
                <a:gd name="connsiteY1393" fmla="*/ 1592555 h 2259621"/>
                <a:gd name="connsiteX1394" fmla="*/ 2573786 w 2945193"/>
                <a:gd name="connsiteY1394" fmla="*/ 1596627 h 2259621"/>
                <a:gd name="connsiteX1395" fmla="*/ 2590076 w 2945193"/>
                <a:gd name="connsiteY1395" fmla="*/ 1593369 h 2259621"/>
                <a:gd name="connsiteX1396" fmla="*/ 2591705 w 2945193"/>
                <a:gd name="connsiteY1396" fmla="*/ 1593369 h 2259621"/>
                <a:gd name="connsiteX1397" fmla="*/ 2580302 w 2945193"/>
                <a:gd name="connsiteY1397" fmla="*/ 1597442 h 2259621"/>
                <a:gd name="connsiteX1398" fmla="*/ 2574601 w 2945193"/>
                <a:gd name="connsiteY1398" fmla="*/ 1597442 h 2259621"/>
                <a:gd name="connsiteX1399" fmla="*/ 2561569 w 2945193"/>
                <a:gd name="connsiteY1399" fmla="*/ 1599071 h 2259621"/>
                <a:gd name="connsiteX1400" fmla="*/ 2547723 w 2945193"/>
                <a:gd name="connsiteY1400" fmla="*/ 1599885 h 2259621"/>
                <a:gd name="connsiteX1401" fmla="*/ 2550166 w 2945193"/>
                <a:gd name="connsiteY1401" fmla="*/ 1603143 h 2259621"/>
                <a:gd name="connsiteX1402" fmla="*/ 2498039 w 2945193"/>
                <a:gd name="connsiteY1402" fmla="*/ 1605587 h 2259621"/>
                <a:gd name="connsiteX1403" fmla="*/ 2495595 w 2945193"/>
                <a:gd name="connsiteY1403" fmla="*/ 1609659 h 2259621"/>
                <a:gd name="connsiteX1404" fmla="*/ 2487450 w 2945193"/>
                <a:gd name="connsiteY1404" fmla="*/ 1609659 h 2259621"/>
                <a:gd name="connsiteX1405" fmla="*/ 2484193 w 2945193"/>
                <a:gd name="connsiteY1405" fmla="*/ 1607215 h 2259621"/>
                <a:gd name="connsiteX1406" fmla="*/ 2454871 w 2945193"/>
                <a:gd name="connsiteY1406" fmla="*/ 1607215 h 2259621"/>
                <a:gd name="connsiteX1407" fmla="*/ 2454871 w 2945193"/>
                <a:gd name="connsiteY1407" fmla="*/ 1607215 h 2259621"/>
                <a:gd name="connsiteX1408" fmla="*/ 2417404 w 2945193"/>
                <a:gd name="connsiteY1408" fmla="*/ 1608030 h 2259621"/>
                <a:gd name="connsiteX1409" fmla="*/ 2412518 w 2945193"/>
                <a:gd name="connsiteY1409" fmla="*/ 1608845 h 2259621"/>
                <a:gd name="connsiteX1410" fmla="*/ 2367721 w 2945193"/>
                <a:gd name="connsiteY1410" fmla="*/ 1614546 h 2259621"/>
                <a:gd name="connsiteX1411" fmla="*/ 2361204 w 2945193"/>
                <a:gd name="connsiteY1411" fmla="*/ 1616989 h 2259621"/>
                <a:gd name="connsiteX1412" fmla="*/ 2361204 w 2945193"/>
                <a:gd name="connsiteY1412" fmla="*/ 1616175 h 2259621"/>
                <a:gd name="connsiteX1413" fmla="*/ 2358761 w 2945193"/>
                <a:gd name="connsiteY1413" fmla="*/ 1616989 h 2259621"/>
                <a:gd name="connsiteX1414" fmla="*/ 2356318 w 2945193"/>
                <a:gd name="connsiteY1414" fmla="*/ 1611288 h 2259621"/>
                <a:gd name="connsiteX1415" fmla="*/ 2325367 w 2945193"/>
                <a:gd name="connsiteY1415" fmla="*/ 1622691 h 2259621"/>
                <a:gd name="connsiteX1416" fmla="*/ 2327811 w 2945193"/>
                <a:gd name="connsiteY1416" fmla="*/ 1627578 h 2259621"/>
                <a:gd name="connsiteX1417" fmla="*/ 2315593 w 2945193"/>
                <a:gd name="connsiteY1417" fmla="*/ 1631650 h 2259621"/>
                <a:gd name="connsiteX1418" fmla="*/ 2315593 w 2945193"/>
                <a:gd name="connsiteY1418" fmla="*/ 1630836 h 2259621"/>
                <a:gd name="connsiteX1419" fmla="*/ 2313964 w 2945193"/>
                <a:gd name="connsiteY1419" fmla="*/ 1630836 h 2259621"/>
                <a:gd name="connsiteX1420" fmla="*/ 2310706 w 2945193"/>
                <a:gd name="connsiteY1420" fmla="*/ 1625949 h 2259621"/>
                <a:gd name="connsiteX1421" fmla="*/ 2296045 w 2945193"/>
                <a:gd name="connsiteY1421" fmla="*/ 1635723 h 2259621"/>
                <a:gd name="connsiteX1422" fmla="*/ 2285457 w 2945193"/>
                <a:gd name="connsiteY1422" fmla="*/ 1632465 h 2259621"/>
                <a:gd name="connsiteX1423" fmla="*/ 2284643 w 2945193"/>
                <a:gd name="connsiteY1423" fmla="*/ 1631650 h 2259621"/>
                <a:gd name="connsiteX1424" fmla="*/ 2288715 w 2945193"/>
                <a:gd name="connsiteY1424" fmla="*/ 1630021 h 2259621"/>
                <a:gd name="connsiteX1425" fmla="*/ 2299303 w 2945193"/>
                <a:gd name="connsiteY1425" fmla="*/ 1626763 h 2259621"/>
                <a:gd name="connsiteX1426" fmla="*/ 2301747 w 2945193"/>
                <a:gd name="connsiteY1426" fmla="*/ 1621876 h 2259621"/>
                <a:gd name="connsiteX1427" fmla="*/ 2309892 w 2945193"/>
                <a:gd name="connsiteY1427" fmla="*/ 1623505 h 2259621"/>
                <a:gd name="connsiteX1428" fmla="*/ 2320480 w 2945193"/>
                <a:gd name="connsiteY1428" fmla="*/ 1618618 h 2259621"/>
                <a:gd name="connsiteX1429" fmla="*/ 2326181 w 2945193"/>
                <a:gd name="connsiteY1429" fmla="*/ 1612917 h 2259621"/>
                <a:gd name="connsiteX1430" fmla="*/ 2326996 w 2945193"/>
                <a:gd name="connsiteY1430" fmla="*/ 1610474 h 2259621"/>
                <a:gd name="connsiteX1431" fmla="*/ 2335141 w 2945193"/>
                <a:gd name="connsiteY1431" fmla="*/ 1606401 h 2259621"/>
                <a:gd name="connsiteX1432" fmla="*/ 2350616 w 2945193"/>
                <a:gd name="connsiteY1432" fmla="*/ 1605587 h 2259621"/>
                <a:gd name="connsiteX1433" fmla="*/ 2350616 w 2945193"/>
                <a:gd name="connsiteY1433" fmla="*/ 1605587 h 2259621"/>
                <a:gd name="connsiteX1434" fmla="*/ 2349802 w 2945193"/>
                <a:gd name="connsiteY1434" fmla="*/ 1606401 h 2259621"/>
                <a:gd name="connsiteX1435" fmla="*/ 2350616 w 2945193"/>
                <a:gd name="connsiteY1435" fmla="*/ 1605587 h 2259621"/>
                <a:gd name="connsiteX1436" fmla="*/ 2359576 w 2945193"/>
                <a:gd name="connsiteY1436" fmla="*/ 1602329 h 2259621"/>
                <a:gd name="connsiteX1437" fmla="*/ 2358761 w 2945193"/>
                <a:gd name="connsiteY1437" fmla="*/ 1599071 h 2259621"/>
                <a:gd name="connsiteX1438" fmla="*/ 2375866 w 2945193"/>
                <a:gd name="connsiteY1438" fmla="*/ 1596627 h 2259621"/>
                <a:gd name="connsiteX1439" fmla="*/ 2381567 w 2945193"/>
                <a:gd name="connsiteY1439" fmla="*/ 1596627 h 2259621"/>
                <a:gd name="connsiteX1440" fmla="*/ 2394599 w 2945193"/>
                <a:gd name="connsiteY1440" fmla="*/ 1592555 h 2259621"/>
                <a:gd name="connsiteX1441" fmla="*/ 2393784 w 2945193"/>
                <a:gd name="connsiteY1441" fmla="*/ 1587668 h 2259621"/>
                <a:gd name="connsiteX1442" fmla="*/ 2386454 w 2945193"/>
                <a:gd name="connsiteY1442" fmla="*/ 1591740 h 2259621"/>
                <a:gd name="connsiteX1443" fmla="*/ 2383196 w 2945193"/>
                <a:gd name="connsiteY1443" fmla="*/ 1589297 h 2259621"/>
                <a:gd name="connsiteX1444" fmla="*/ 2384011 w 2945193"/>
                <a:gd name="connsiteY1444" fmla="*/ 1588482 h 2259621"/>
                <a:gd name="connsiteX1445" fmla="*/ 2380752 w 2945193"/>
                <a:gd name="connsiteY1445" fmla="*/ 1586853 h 2259621"/>
                <a:gd name="connsiteX1446" fmla="*/ 2410074 w 2945193"/>
                <a:gd name="connsiteY1446" fmla="*/ 1574636 h 2259621"/>
                <a:gd name="connsiteX1447" fmla="*/ 2414961 w 2945193"/>
                <a:gd name="connsiteY1447" fmla="*/ 1572193 h 2259621"/>
                <a:gd name="connsiteX1448" fmla="*/ 2432880 w 2945193"/>
                <a:gd name="connsiteY1448" fmla="*/ 1565677 h 2259621"/>
                <a:gd name="connsiteX1449" fmla="*/ 2423106 w 2945193"/>
                <a:gd name="connsiteY1449" fmla="*/ 1569749 h 2259621"/>
                <a:gd name="connsiteX1450" fmla="*/ 2438581 w 2945193"/>
                <a:gd name="connsiteY1450" fmla="*/ 1564862 h 2259621"/>
                <a:gd name="connsiteX1451" fmla="*/ 2448355 w 2945193"/>
                <a:gd name="connsiteY1451" fmla="*/ 1565677 h 2259621"/>
                <a:gd name="connsiteX1452" fmla="*/ 2448355 w 2945193"/>
                <a:gd name="connsiteY1452" fmla="*/ 1565677 h 2259621"/>
                <a:gd name="connsiteX1453" fmla="*/ 2449170 w 2945193"/>
                <a:gd name="connsiteY1453" fmla="*/ 1565677 h 2259621"/>
                <a:gd name="connsiteX1454" fmla="*/ 2449170 w 2945193"/>
                <a:gd name="connsiteY1454" fmla="*/ 1565677 h 2259621"/>
                <a:gd name="connsiteX1455" fmla="*/ 2451613 w 2945193"/>
                <a:gd name="connsiteY1455" fmla="*/ 1567306 h 2259621"/>
                <a:gd name="connsiteX1456" fmla="*/ 2451613 w 2945193"/>
                <a:gd name="connsiteY1456" fmla="*/ 1567306 h 2259621"/>
                <a:gd name="connsiteX1457" fmla="*/ 2451613 w 2945193"/>
                <a:gd name="connsiteY1457" fmla="*/ 1567306 h 2259621"/>
                <a:gd name="connsiteX1458" fmla="*/ 2451613 w 2945193"/>
                <a:gd name="connsiteY1458" fmla="*/ 1567306 h 2259621"/>
                <a:gd name="connsiteX1459" fmla="*/ 2451613 w 2945193"/>
                <a:gd name="connsiteY1459" fmla="*/ 1567306 h 2259621"/>
                <a:gd name="connsiteX1460" fmla="*/ 2472790 w 2945193"/>
                <a:gd name="connsiteY1460" fmla="*/ 1557532 h 2259621"/>
                <a:gd name="connsiteX1461" fmla="*/ 2472790 w 2945193"/>
                <a:gd name="connsiteY1461" fmla="*/ 1555903 h 2259621"/>
                <a:gd name="connsiteX1462" fmla="*/ 2482564 w 2945193"/>
                <a:gd name="connsiteY1462" fmla="*/ 1555088 h 2259621"/>
                <a:gd name="connsiteX1463" fmla="*/ 2482564 w 2945193"/>
                <a:gd name="connsiteY1463" fmla="*/ 1556717 h 2259621"/>
                <a:gd name="connsiteX1464" fmla="*/ 2486636 w 2945193"/>
                <a:gd name="connsiteY1464" fmla="*/ 1555088 h 2259621"/>
                <a:gd name="connsiteX1465" fmla="*/ 2506998 w 2945193"/>
                <a:gd name="connsiteY1465" fmla="*/ 1553459 h 2259621"/>
                <a:gd name="connsiteX1466" fmla="*/ 2510256 w 2945193"/>
                <a:gd name="connsiteY1466" fmla="*/ 1552645 h 2259621"/>
                <a:gd name="connsiteX1467" fmla="*/ 2517586 w 2945193"/>
                <a:gd name="connsiteY1467" fmla="*/ 1551830 h 2259621"/>
                <a:gd name="connsiteX1468" fmla="*/ 2533876 w 2945193"/>
                <a:gd name="connsiteY1468" fmla="*/ 1549387 h 2259621"/>
                <a:gd name="connsiteX1469" fmla="*/ 2546094 w 2945193"/>
                <a:gd name="connsiteY1469" fmla="*/ 1546943 h 2259621"/>
                <a:gd name="connsiteX1470" fmla="*/ 2567271 w 2945193"/>
                <a:gd name="connsiteY1470" fmla="*/ 1545314 h 2259621"/>
                <a:gd name="connsiteX1471" fmla="*/ 2568899 w 2945193"/>
                <a:gd name="connsiteY1471" fmla="*/ 1545314 h 2259621"/>
                <a:gd name="connsiteX1472" fmla="*/ 2616954 w 2945193"/>
                <a:gd name="connsiteY1472" fmla="*/ 1536355 h 2259621"/>
                <a:gd name="connsiteX1473" fmla="*/ 2625913 w 2945193"/>
                <a:gd name="connsiteY1473" fmla="*/ 1536355 h 2259621"/>
                <a:gd name="connsiteX1474" fmla="*/ 2632430 w 2945193"/>
                <a:gd name="connsiteY1474" fmla="*/ 1535540 h 2259621"/>
                <a:gd name="connsiteX1475" fmla="*/ 2633244 w 2945193"/>
                <a:gd name="connsiteY1475" fmla="*/ 1536355 h 2259621"/>
                <a:gd name="connsiteX1476" fmla="*/ 2637316 w 2945193"/>
                <a:gd name="connsiteY1476" fmla="*/ 1539613 h 2259621"/>
                <a:gd name="connsiteX1477" fmla="*/ 2638131 w 2945193"/>
                <a:gd name="connsiteY1477" fmla="*/ 1541242 h 2259621"/>
                <a:gd name="connsiteX1478" fmla="*/ 2655235 w 2945193"/>
                <a:gd name="connsiteY1478" fmla="*/ 1543685 h 2259621"/>
                <a:gd name="connsiteX1479" fmla="*/ 2651977 w 2945193"/>
                <a:gd name="connsiteY1479" fmla="*/ 1537984 h 2259621"/>
                <a:gd name="connsiteX1480" fmla="*/ 2667453 w 2945193"/>
                <a:gd name="connsiteY1480" fmla="*/ 1530653 h 2259621"/>
                <a:gd name="connsiteX1481" fmla="*/ 2658493 w 2945193"/>
                <a:gd name="connsiteY1481" fmla="*/ 1532283 h 2259621"/>
                <a:gd name="connsiteX1482" fmla="*/ 2655235 w 2945193"/>
                <a:gd name="connsiteY1482" fmla="*/ 1532283 h 2259621"/>
                <a:gd name="connsiteX1483" fmla="*/ 2659308 w 2945193"/>
                <a:gd name="connsiteY1483" fmla="*/ 1530653 h 2259621"/>
                <a:gd name="connsiteX1484" fmla="*/ 2662565 w 2945193"/>
                <a:gd name="connsiteY1484" fmla="*/ 1530653 h 2259621"/>
                <a:gd name="connsiteX1485" fmla="*/ 2673154 w 2945193"/>
                <a:gd name="connsiteY1485" fmla="*/ 1521694 h 2259621"/>
                <a:gd name="connsiteX1486" fmla="*/ 2673969 w 2945193"/>
                <a:gd name="connsiteY1486" fmla="*/ 1523323 h 2259621"/>
                <a:gd name="connsiteX1487" fmla="*/ 2690258 w 2945193"/>
                <a:gd name="connsiteY1487" fmla="*/ 1526581 h 2259621"/>
                <a:gd name="connsiteX1488" fmla="*/ 2693516 w 2945193"/>
                <a:gd name="connsiteY1488" fmla="*/ 1524952 h 2259621"/>
                <a:gd name="connsiteX1489" fmla="*/ 2711435 w 2945193"/>
                <a:gd name="connsiteY1489" fmla="*/ 1515993 h 2259621"/>
                <a:gd name="connsiteX1490" fmla="*/ 2724467 w 2945193"/>
                <a:gd name="connsiteY1490" fmla="*/ 1510291 h 2259621"/>
                <a:gd name="connsiteX1491" fmla="*/ 2752159 w 2945193"/>
                <a:gd name="connsiteY1491" fmla="*/ 1498074 h 2259621"/>
                <a:gd name="connsiteX1492" fmla="*/ 2795328 w 2945193"/>
                <a:gd name="connsiteY1492" fmla="*/ 1476897 h 2259621"/>
                <a:gd name="connsiteX1493" fmla="*/ 2805916 w 2945193"/>
                <a:gd name="connsiteY1493" fmla="*/ 1472010 h 2259621"/>
                <a:gd name="connsiteX1494" fmla="*/ 2803473 w 2945193"/>
                <a:gd name="connsiteY1494" fmla="*/ 1478526 h 2259621"/>
                <a:gd name="connsiteX1495" fmla="*/ 2807545 w 2945193"/>
                <a:gd name="connsiteY1495" fmla="*/ 1479341 h 2259621"/>
                <a:gd name="connsiteX1496" fmla="*/ 2810803 w 2945193"/>
                <a:gd name="connsiteY1496" fmla="*/ 1478526 h 2259621"/>
                <a:gd name="connsiteX1497" fmla="*/ 2808359 w 2945193"/>
                <a:gd name="connsiteY1497" fmla="*/ 1484228 h 2259621"/>
                <a:gd name="connsiteX1498" fmla="*/ 2812432 w 2945193"/>
                <a:gd name="connsiteY1498" fmla="*/ 1485042 h 2259621"/>
                <a:gd name="connsiteX1499" fmla="*/ 2822206 w 2945193"/>
                <a:gd name="connsiteY1499" fmla="*/ 1485042 h 2259621"/>
                <a:gd name="connsiteX1500" fmla="*/ 2825463 w 2945193"/>
                <a:gd name="connsiteY1500" fmla="*/ 1479341 h 2259621"/>
                <a:gd name="connsiteX1501" fmla="*/ 2832794 w 2945193"/>
                <a:gd name="connsiteY1501" fmla="*/ 1473639 h 2259621"/>
                <a:gd name="connsiteX1502" fmla="*/ 2829536 w 2945193"/>
                <a:gd name="connsiteY1502" fmla="*/ 1462236 h 2259621"/>
                <a:gd name="connsiteX1503" fmla="*/ 2823835 w 2945193"/>
                <a:gd name="connsiteY1503" fmla="*/ 1457349 h 2259621"/>
                <a:gd name="connsiteX1504" fmla="*/ 2830351 w 2945193"/>
                <a:gd name="connsiteY1504" fmla="*/ 1448390 h 2259621"/>
                <a:gd name="connsiteX1505" fmla="*/ 2832794 w 2945193"/>
                <a:gd name="connsiteY1505" fmla="*/ 1435358 h 2259621"/>
                <a:gd name="connsiteX1506" fmla="*/ 2829536 w 2945193"/>
                <a:gd name="connsiteY1506" fmla="*/ 1437802 h 2259621"/>
                <a:gd name="connsiteX1507" fmla="*/ 2828721 w 2945193"/>
                <a:gd name="connsiteY1507" fmla="*/ 1436173 h 2259621"/>
                <a:gd name="connsiteX1508" fmla="*/ 2828721 w 2945193"/>
                <a:gd name="connsiteY1508" fmla="*/ 1434544 h 2259621"/>
                <a:gd name="connsiteX1509" fmla="*/ 2829536 w 2945193"/>
                <a:gd name="connsiteY1509" fmla="*/ 1432915 h 2259621"/>
                <a:gd name="connsiteX1510" fmla="*/ 2830351 w 2945193"/>
                <a:gd name="connsiteY1510" fmla="*/ 1429657 h 2259621"/>
                <a:gd name="connsiteX1511" fmla="*/ 2831165 w 2945193"/>
                <a:gd name="connsiteY1511" fmla="*/ 1429657 h 2259621"/>
                <a:gd name="connsiteX1512" fmla="*/ 2831165 w 2945193"/>
                <a:gd name="connsiteY1512" fmla="*/ 1428842 h 2259621"/>
                <a:gd name="connsiteX1513" fmla="*/ 2830351 w 2945193"/>
                <a:gd name="connsiteY1513" fmla="*/ 1428842 h 2259621"/>
                <a:gd name="connsiteX1514" fmla="*/ 2830351 w 2945193"/>
                <a:gd name="connsiteY1514" fmla="*/ 1426399 h 2259621"/>
                <a:gd name="connsiteX1515" fmla="*/ 2824649 w 2945193"/>
                <a:gd name="connsiteY1515" fmla="*/ 1423955 h 2259621"/>
                <a:gd name="connsiteX1516" fmla="*/ 2824649 w 2945193"/>
                <a:gd name="connsiteY1516" fmla="*/ 1421512 h 2259621"/>
                <a:gd name="connsiteX1517" fmla="*/ 2821391 w 2945193"/>
                <a:gd name="connsiteY1517" fmla="*/ 1419069 h 2259621"/>
                <a:gd name="connsiteX1518" fmla="*/ 2816504 w 2945193"/>
                <a:gd name="connsiteY1518" fmla="*/ 1413367 h 2259621"/>
                <a:gd name="connsiteX1519" fmla="*/ 2815690 w 2945193"/>
                <a:gd name="connsiteY1519" fmla="*/ 1413367 h 2259621"/>
                <a:gd name="connsiteX1520" fmla="*/ 2810803 w 2945193"/>
                <a:gd name="connsiteY1520" fmla="*/ 1408480 h 2259621"/>
                <a:gd name="connsiteX1521" fmla="*/ 2805101 w 2945193"/>
                <a:gd name="connsiteY1521" fmla="*/ 1407666 h 2259621"/>
                <a:gd name="connsiteX1522" fmla="*/ 2796956 w 2945193"/>
                <a:gd name="connsiteY1522" fmla="*/ 1405222 h 2259621"/>
                <a:gd name="connsiteX1523" fmla="*/ 2792884 w 2945193"/>
                <a:gd name="connsiteY1523" fmla="*/ 1400335 h 2259621"/>
                <a:gd name="connsiteX1524" fmla="*/ 2791255 w 2945193"/>
                <a:gd name="connsiteY1524" fmla="*/ 1400335 h 2259621"/>
                <a:gd name="connsiteX1525" fmla="*/ 2787183 w 2945193"/>
                <a:gd name="connsiteY1525" fmla="*/ 1395448 h 2259621"/>
                <a:gd name="connsiteX1526" fmla="*/ 2776594 w 2945193"/>
                <a:gd name="connsiteY1526" fmla="*/ 1397077 h 2259621"/>
                <a:gd name="connsiteX1527" fmla="*/ 2764377 w 2945193"/>
                <a:gd name="connsiteY1527" fmla="*/ 1399521 h 2259621"/>
                <a:gd name="connsiteX1528" fmla="*/ 2757047 w 2945193"/>
                <a:gd name="connsiteY1528" fmla="*/ 1398706 h 2259621"/>
                <a:gd name="connsiteX1529" fmla="*/ 2748902 w 2945193"/>
                <a:gd name="connsiteY1529" fmla="*/ 1396263 h 2259621"/>
                <a:gd name="connsiteX1530" fmla="*/ 2743200 w 2945193"/>
                <a:gd name="connsiteY1530" fmla="*/ 1387303 h 2259621"/>
                <a:gd name="connsiteX1531" fmla="*/ 2735055 w 2945193"/>
                <a:gd name="connsiteY1531" fmla="*/ 1375901 h 2259621"/>
                <a:gd name="connsiteX1532" fmla="*/ 2735055 w 2945193"/>
                <a:gd name="connsiteY1532" fmla="*/ 1367756 h 2259621"/>
                <a:gd name="connsiteX1533" fmla="*/ 2735055 w 2945193"/>
                <a:gd name="connsiteY1533" fmla="*/ 1363683 h 2259621"/>
                <a:gd name="connsiteX1534" fmla="*/ 2735870 w 2945193"/>
                <a:gd name="connsiteY1534" fmla="*/ 1363683 h 2259621"/>
                <a:gd name="connsiteX1535" fmla="*/ 2752974 w 2945193"/>
                <a:gd name="connsiteY1535" fmla="*/ 1364498 h 2259621"/>
                <a:gd name="connsiteX1536" fmla="*/ 2774151 w 2945193"/>
                <a:gd name="connsiteY1536" fmla="*/ 1365312 h 2259621"/>
                <a:gd name="connsiteX1537" fmla="*/ 2772522 w 2945193"/>
                <a:gd name="connsiteY1537" fmla="*/ 1361240 h 2259621"/>
                <a:gd name="connsiteX1538" fmla="*/ 2773336 w 2945193"/>
                <a:gd name="connsiteY1538" fmla="*/ 1361240 h 2259621"/>
                <a:gd name="connsiteX1539" fmla="*/ 2791255 w 2945193"/>
                <a:gd name="connsiteY1539" fmla="*/ 1366127 h 2259621"/>
                <a:gd name="connsiteX1540" fmla="*/ 2800214 w 2945193"/>
                <a:gd name="connsiteY1540" fmla="*/ 1354724 h 2259621"/>
                <a:gd name="connsiteX1541" fmla="*/ 2797771 w 2945193"/>
                <a:gd name="connsiteY1541" fmla="*/ 1336805 h 2259621"/>
                <a:gd name="connsiteX1542" fmla="*/ 2831980 w 2945193"/>
                <a:gd name="connsiteY1542" fmla="*/ 1327031 h 2259621"/>
                <a:gd name="connsiteX1543" fmla="*/ 2812432 w 2945193"/>
                <a:gd name="connsiteY1543" fmla="*/ 1327846 h 2259621"/>
                <a:gd name="connsiteX1544" fmla="*/ 2813246 w 2945193"/>
                <a:gd name="connsiteY1544" fmla="*/ 1326217 h 2259621"/>
                <a:gd name="connsiteX1545" fmla="*/ 2826278 w 2945193"/>
                <a:gd name="connsiteY1545" fmla="*/ 1322144 h 2259621"/>
                <a:gd name="connsiteX1546" fmla="*/ 2815690 w 2945193"/>
                <a:gd name="connsiteY1546" fmla="*/ 1322144 h 2259621"/>
                <a:gd name="connsiteX1547" fmla="*/ 2816504 w 2945193"/>
                <a:gd name="connsiteY1547" fmla="*/ 1320515 h 2259621"/>
                <a:gd name="connsiteX1548" fmla="*/ 2812432 w 2945193"/>
                <a:gd name="connsiteY1548" fmla="*/ 1311556 h 2259621"/>
                <a:gd name="connsiteX1549" fmla="*/ 2817318 w 2945193"/>
                <a:gd name="connsiteY1549" fmla="*/ 1301782 h 2259621"/>
                <a:gd name="connsiteX1550" fmla="*/ 2815690 w 2945193"/>
                <a:gd name="connsiteY1550" fmla="*/ 1296081 h 2259621"/>
                <a:gd name="connsiteX1551" fmla="*/ 2816504 w 2945193"/>
                <a:gd name="connsiteY1551" fmla="*/ 1287121 h 2259621"/>
                <a:gd name="connsiteX1552" fmla="*/ 2819762 w 2945193"/>
                <a:gd name="connsiteY1552" fmla="*/ 1284678 h 2259621"/>
                <a:gd name="connsiteX1553" fmla="*/ 2817318 w 2945193"/>
                <a:gd name="connsiteY1553" fmla="*/ 1274904 h 2259621"/>
                <a:gd name="connsiteX1554" fmla="*/ 2824649 w 2945193"/>
                <a:gd name="connsiteY1554" fmla="*/ 1274089 h 2259621"/>
                <a:gd name="connsiteX1555" fmla="*/ 2846640 w 2945193"/>
                <a:gd name="connsiteY1555" fmla="*/ 1268388 h 2259621"/>
                <a:gd name="connsiteX1556" fmla="*/ 2864559 w 2945193"/>
                <a:gd name="connsiteY1556" fmla="*/ 1265944 h 2259621"/>
                <a:gd name="connsiteX1557" fmla="*/ 2880849 w 2945193"/>
                <a:gd name="connsiteY1557" fmla="*/ 1267574 h 2259621"/>
                <a:gd name="connsiteX1558" fmla="*/ 2916686 w 2945193"/>
                <a:gd name="connsiteY1558" fmla="*/ 1264316 h 2259621"/>
                <a:gd name="connsiteX1559" fmla="*/ 2921573 w 2945193"/>
                <a:gd name="connsiteY1559" fmla="*/ 1261872 h 2259621"/>
                <a:gd name="connsiteX1560" fmla="*/ 2908541 w 2945193"/>
                <a:gd name="connsiteY1560" fmla="*/ 1259429 h 2259621"/>
                <a:gd name="connsiteX1561" fmla="*/ 2895510 w 2945193"/>
                <a:gd name="connsiteY1561" fmla="*/ 1258614 h 2259621"/>
                <a:gd name="connsiteX1562" fmla="*/ 2928904 w 2945193"/>
                <a:gd name="connsiteY1562" fmla="*/ 1256985 h 2259621"/>
                <a:gd name="connsiteX1563" fmla="*/ 2941121 w 2945193"/>
                <a:gd name="connsiteY1563" fmla="*/ 1248840 h 2259621"/>
                <a:gd name="connsiteX1564" fmla="*/ 2939492 w 2945193"/>
                <a:gd name="connsiteY1564" fmla="*/ 1244768 h 2259621"/>
                <a:gd name="connsiteX1565" fmla="*/ 2934605 w 2945193"/>
                <a:gd name="connsiteY1565" fmla="*/ 1242324 h 2259621"/>
                <a:gd name="connsiteX1566" fmla="*/ 2934605 w 2945193"/>
                <a:gd name="connsiteY1566" fmla="*/ 1242324 h 2259621"/>
                <a:gd name="connsiteX1567" fmla="*/ 2902840 w 2945193"/>
                <a:gd name="connsiteY1567" fmla="*/ 1239066 h 2259621"/>
                <a:gd name="connsiteX1568" fmla="*/ 2872704 w 2945193"/>
                <a:gd name="connsiteY1568" fmla="*/ 1240695 h 2259621"/>
                <a:gd name="connsiteX1569" fmla="*/ 2868632 w 2945193"/>
                <a:gd name="connsiteY1569" fmla="*/ 1240695 h 2259621"/>
                <a:gd name="connsiteX1570" fmla="*/ 2810803 w 2945193"/>
                <a:gd name="connsiteY1570" fmla="*/ 1243953 h 2259621"/>
                <a:gd name="connsiteX1571" fmla="*/ 2803473 w 2945193"/>
                <a:gd name="connsiteY1571" fmla="*/ 1244768 h 2259621"/>
                <a:gd name="connsiteX1572" fmla="*/ 2777409 w 2945193"/>
                <a:gd name="connsiteY1572" fmla="*/ 1247211 h 2259621"/>
                <a:gd name="connsiteX1573" fmla="*/ 2774965 w 2945193"/>
                <a:gd name="connsiteY1573" fmla="*/ 1243953 h 2259621"/>
                <a:gd name="connsiteX1574" fmla="*/ 2769264 w 2945193"/>
                <a:gd name="connsiteY1574" fmla="*/ 1236623 h 2259621"/>
                <a:gd name="connsiteX1575" fmla="*/ 2766821 w 2945193"/>
                <a:gd name="connsiteY1575" fmla="*/ 1234179 h 2259621"/>
                <a:gd name="connsiteX1576" fmla="*/ 2766821 w 2945193"/>
                <a:gd name="connsiteY1576" fmla="*/ 1234179 h 2259621"/>
                <a:gd name="connsiteX1577" fmla="*/ 2766821 w 2945193"/>
                <a:gd name="connsiteY1577" fmla="*/ 1234179 h 2259621"/>
                <a:gd name="connsiteX1578" fmla="*/ 2766821 w 2945193"/>
                <a:gd name="connsiteY1578" fmla="*/ 1234179 h 2259621"/>
                <a:gd name="connsiteX1579" fmla="*/ 2797771 w 2945193"/>
                <a:gd name="connsiteY1579" fmla="*/ 1228478 h 2259621"/>
                <a:gd name="connsiteX1580" fmla="*/ 2820577 w 2945193"/>
                <a:gd name="connsiteY1580" fmla="*/ 1226035 h 2259621"/>
                <a:gd name="connsiteX1581" fmla="*/ 2835237 w 2945193"/>
                <a:gd name="connsiteY1581" fmla="*/ 1221148 h 2259621"/>
                <a:gd name="connsiteX1582" fmla="*/ 2838495 w 2945193"/>
                <a:gd name="connsiteY1582" fmla="*/ 1220333 h 2259621"/>
                <a:gd name="connsiteX1583" fmla="*/ 2847455 w 2945193"/>
                <a:gd name="connsiteY1583" fmla="*/ 1219519 h 2259621"/>
                <a:gd name="connsiteX1584" fmla="*/ 2875962 w 2945193"/>
                <a:gd name="connsiteY1584" fmla="*/ 1221148 h 2259621"/>
                <a:gd name="connsiteX1585" fmla="*/ 2892252 w 2945193"/>
                <a:gd name="connsiteY1585" fmla="*/ 1224405 h 2259621"/>
                <a:gd name="connsiteX1586" fmla="*/ 2898767 w 2945193"/>
                <a:gd name="connsiteY1586" fmla="*/ 1221962 h 2259621"/>
                <a:gd name="connsiteX1587" fmla="*/ 2906098 w 2945193"/>
                <a:gd name="connsiteY1587" fmla="*/ 1214632 h 2259621"/>
                <a:gd name="connsiteX1588" fmla="*/ 2896324 w 2945193"/>
                <a:gd name="connsiteY1588" fmla="*/ 1211374 h 2259621"/>
                <a:gd name="connsiteX1589" fmla="*/ 2888179 w 2945193"/>
                <a:gd name="connsiteY1589" fmla="*/ 1205672 h 2259621"/>
                <a:gd name="connsiteX1590" fmla="*/ 2890622 w 2945193"/>
                <a:gd name="connsiteY1590" fmla="*/ 1194270 h 2259621"/>
                <a:gd name="connsiteX1591" fmla="*/ 2872704 w 2945193"/>
                <a:gd name="connsiteY1591" fmla="*/ 1182052 h 2259621"/>
                <a:gd name="connsiteX1592" fmla="*/ 2861301 w 2945193"/>
                <a:gd name="connsiteY1592" fmla="*/ 1177165 h 2259621"/>
                <a:gd name="connsiteX1593" fmla="*/ 2857229 w 2945193"/>
                <a:gd name="connsiteY1593" fmla="*/ 1175536 h 2259621"/>
                <a:gd name="connsiteX1594" fmla="*/ 2860487 w 2945193"/>
                <a:gd name="connsiteY1594" fmla="*/ 1173093 h 2259621"/>
                <a:gd name="connsiteX1595" fmla="*/ 2880034 w 2945193"/>
                <a:gd name="connsiteY1595" fmla="*/ 1171464 h 2259621"/>
                <a:gd name="connsiteX1596" fmla="*/ 2890622 w 2945193"/>
                <a:gd name="connsiteY1596" fmla="*/ 1170649 h 2259621"/>
                <a:gd name="connsiteX1597" fmla="*/ 2893881 w 2945193"/>
                <a:gd name="connsiteY1597" fmla="*/ 1164948 h 2259621"/>
                <a:gd name="connsiteX1598" fmla="*/ 2878405 w 2945193"/>
                <a:gd name="connsiteY1598" fmla="*/ 1166577 h 2259621"/>
                <a:gd name="connsiteX1599" fmla="*/ 2805916 w 2945193"/>
                <a:gd name="connsiteY1599" fmla="*/ 1169020 h 2259621"/>
                <a:gd name="connsiteX1600" fmla="*/ 2792884 w 2945193"/>
                <a:gd name="connsiteY1600" fmla="*/ 1172278 h 2259621"/>
                <a:gd name="connsiteX1601" fmla="*/ 2791255 w 2945193"/>
                <a:gd name="connsiteY1601" fmla="*/ 1171464 h 2259621"/>
                <a:gd name="connsiteX1602" fmla="*/ 2787183 w 2945193"/>
                <a:gd name="connsiteY1602" fmla="*/ 1171464 h 2259621"/>
                <a:gd name="connsiteX1603" fmla="*/ 2787183 w 2945193"/>
                <a:gd name="connsiteY1603" fmla="*/ 1176351 h 2259621"/>
                <a:gd name="connsiteX1604" fmla="*/ 2788811 w 2945193"/>
                <a:gd name="connsiteY1604" fmla="*/ 1183681 h 2259621"/>
                <a:gd name="connsiteX1605" fmla="*/ 2749716 w 2945193"/>
                <a:gd name="connsiteY1605" fmla="*/ 1186125 h 2259621"/>
                <a:gd name="connsiteX1606" fmla="*/ 2745643 w 2945193"/>
                <a:gd name="connsiteY1606" fmla="*/ 1191826 h 2259621"/>
                <a:gd name="connsiteX1607" fmla="*/ 2739942 w 2945193"/>
                <a:gd name="connsiteY1607" fmla="*/ 1190197 h 2259621"/>
                <a:gd name="connsiteX1608" fmla="*/ 2734241 w 2945193"/>
                <a:gd name="connsiteY1608" fmla="*/ 1189383 h 2259621"/>
                <a:gd name="connsiteX1609" fmla="*/ 2730168 w 2945193"/>
                <a:gd name="connsiteY1609" fmla="*/ 1186939 h 2259621"/>
                <a:gd name="connsiteX1610" fmla="*/ 2713879 w 2945193"/>
                <a:gd name="connsiteY1610" fmla="*/ 1190197 h 2259621"/>
                <a:gd name="connsiteX1611" fmla="*/ 2717136 w 2945193"/>
                <a:gd name="connsiteY1611" fmla="*/ 1192640 h 2259621"/>
                <a:gd name="connsiteX1612" fmla="*/ 2708991 w 2945193"/>
                <a:gd name="connsiteY1612" fmla="*/ 1195084 h 2259621"/>
                <a:gd name="connsiteX1613" fmla="*/ 2698403 w 2945193"/>
                <a:gd name="connsiteY1613" fmla="*/ 1199971 h 2259621"/>
                <a:gd name="connsiteX1614" fmla="*/ 2691887 w 2945193"/>
                <a:gd name="connsiteY1614" fmla="*/ 1209745 h 2259621"/>
                <a:gd name="connsiteX1615" fmla="*/ 2683742 w 2945193"/>
                <a:gd name="connsiteY1615" fmla="*/ 1211374 h 2259621"/>
                <a:gd name="connsiteX1616" fmla="*/ 2683742 w 2945193"/>
                <a:gd name="connsiteY1616" fmla="*/ 1211374 h 2259621"/>
                <a:gd name="connsiteX1617" fmla="*/ 2691073 w 2945193"/>
                <a:gd name="connsiteY1617" fmla="*/ 1203229 h 2259621"/>
                <a:gd name="connsiteX1618" fmla="*/ 2692702 w 2945193"/>
                <a:gd name="connsiteY1618" fmla="*/ 1202414 h 2259621"/>
                <a:gd name="connsiteX1619" fmla="*/ 2694331 w 2945193"/>
                <a:gd name="connsiteY1619" fmla="*/ 1199971 h 2259621"/>
                <a:gd name="connsiteX1620" fmla="*/ 2695960 w 2945193"/>
                <a:gd name="connsiteY1620" fmla="*/ 1194270 h 2259621"/>
                <a:gd name="connsiteX1621" fmla="*/ 2697589 w 2945193"/>
                <a:gd name="connsiteY1621" fmla="*/ 1186939 h 2259621"/>
                <a:gd name="connsiteX1622" fmla="*/ 2698403 w 2945193"/>
                <a:gd name="connsiteY1622" fmla="*/ 1178794 h 2259621"/>
                <a:gd name="connsiteX1623" fmla="*/ 2698403 w 2945193"/>
                <a:gd name="connsiteY1623" fmla="*/ 1170649 h 2259621"/>
                <a:gd name="connsiteX1624" fmla="*/ 2695960 w 2945193"/>
                <a:gd name="connsiteY1624" fmla="*/ 1168206 h 2259621"/>
                <a:gd name="connsiteX1625" fmla="*/ 2691887 w 2945193"/>
                <a:gd name="connsiteY1625" fmla="*/ 1168206 h 2259621"/>
                <a:gd name="connsiteX1626" fmla="*/ 2690258 w 2945193"/>
                <a:gd name="connsiteY1626" fmla="*/ 1169020 h 2259621"/>
                <a:gd name="connsiteX1627" fmla="*/ 2683742 w 2945193"/>
                <a:gd name="connsiteY1627" fmla="*/ 1172278 h 2259621"/>
                <a:gd name="connsiteX1628" fmla="*/ 2679670 w 2945193"/>
                <a:gd name="connsiteY1628" fmla="*/ 1170649 h 2259621"/>
                <a:gd name="connsiteX1629" fmla="*/ 2680484 w 2945193"/>
                <a:gd name="connsiteY1629" fmla="*/ 1168206 h 2259621"/>
                <a:gd name="connsiteX1630" fmla="*/ 2682113 w 2945193"/>
                <a:gd name="connsiteY1630" fmla="*/ 1168206 h 2259621"/>
                <a:gd name="connsiteX1631" fmla="*/ 2683742 w 2945193"/>
                <a:gd name="connsiteY1631" fmla="*/ 1166577 h 2259621"/>
                <a:gd name="connsiteX1632" fmla="*/ 2682113 w 2945193"/>
                <a:gd name="connsiteY1632" fmla="*/ 1164133 h 2259621"/>
                <a:gd name="connsiteX1633" fmla="*/ 2680484 w 2945193"/>
                <a:gd name="connsiteY1633" fmla="*/ 1164133 h 2259621"/>
                <a:gd name="connsiteX1634" fmla="*/ 2678041 w 2945193"/>
                <a:gd name="connsiteY1634" fmla="*/ 1160875 h 2259621"/>
                <a:gd name="connsiteX1635" fmla="*/ 2679670 w 2945193"/>
                <a:gd name="connsiteY1635" fmla="*/ 1157617 h 2259621"/>
                <a:gd name="connsiteX1636" fmla="*/ 2682113 w 2945193"/>
                <a:gd name="connsiteY1636" fmla="*/ 1155988 h 2259621"/>
                <a:gd name="connsiteX1637" fmla="*/ 2684557 w 2945193"/>
                <a:gd name="connsiteY1637" fmla="*/ 1151916 h 2259621"/>
                <a:gd name="connsiteX1638" fmla="*/ 2684557 w 2945193"/>
                <a:gd name="connsiteY1638" fmla="*/ 1148658 h 2259621"/>
                <a:gd name="connsiteX1639" fmla="*/ 2685372 w 2945193"/>
                <a:gd name="connsiteY1639" fmla="*/ 1147844 h 2259621"/>
                <a:gd name="connsiteX1640" fmla="*/ 2687815 w 2945193"/>
                <a:gd name="connsiteY1640" fmla="*/ 1147844 h 2259621"/>
                <a:gd name="connsiteX1641" fmla="*/ 2689444 w 2945193"/>
                <a:gd name="connsiteY1641" fmla="*/ 1145400 h 2259621"/>
                <a:gd name="connsiteX1642" fmla="*/ 2691887 w 2945193"/>
                <a:gd name="connsiteY1642" fmla="*/ 1144586 h 2259621"/>
                <a:gd name="connsiteX1643" fmla="*/ 2692702 w 2945193"/>
                <a:gd name="connsiteY1643" fmla="*/ 1140513 h 2259621"/>
                <a:gd name="connsiteX1644" fmla="*/ 2695960 w 2945193"/>
                <a:gd name="connsiteY1644" fmla="*/ 1136441 h 2259621"/>
                <a:gd name="connsiteX1645" fmla="*/ 2700847 w 2945193"/>
                <a:gd name="connsiteY1645" fmla="*/ 1133997 h 2259621"/>
                <a:gd name="connsiteX1646" fmla="*/ 2702476 w 2945193"/>
                <a:gd name="connsiteY1646" fmla="*/ 1133183 h 2259621"/>
                <a:gd name="connsiteX1647" fmla="*/ 2703290 w 2945193"/>
                <a:gd name="connsiteY1647" fmla="*/ 1130739 h 2259621"/>
                <a:gd name="connsiteX1648" fmla="*/ 2705734 w 2945193"/>
                <a:gd name="connsiteY1648" fmla="*/ 1124223 h 2259621"/>
                <a:gd name="connsiteX1649" fmla="*/ 2712250 w 2945193"/>
                <a:gd name="connsiteY1649" fmla="*/ 1120151 h 2259621"/>
                <a:gd name="connsiteX1650" fmla="*/ 2713064 w 2945193"/>
                <a:gd name="connsiteY1650" fmla="*/ 1118522 h 2259621"/>
                <a:gd name="connsiteX1651" fmla="*/ 2716322 w 2945193"/>
                <a:gd name="connsiteY1651" fmla="*/ 1110377 h 2259621"/>
                <a:gd name="connsiteX1652" fmla="*/ 2722024 w 2945193"/>
                <a:gd name="connsiteY1652" fmla="*/ 1105490 h 2259621"/>
                <a:gd name="connsiteX1653" fmla="*/ 2723652 w 2945193"/>
                <a:gd name="connsiteY1653" fmla="*/ 1103861 h 2259621"/>
                <a:gd name="connsiteX1654" fmla="*/ 2726910 w 2945193"/>
                <a:gd name="connsiteY1654" fmla="*/ 1101418 h 2259621"/>
                <a:gd name="connsiteX1655" fmla="*/ 2726910 w 2945193"/>
                <a:gd name="connsiteY1655" fmla="*/ 1097345 h 2259621"/>
                <a:gd name="connsiteX1656" fmla="*/ 2727725 w 2945193"/>
                <a:gd name="connsiteY1656" fmla="*/ 1094087 h 2259621"/>
                <a:gd name="connsiteX1657" fmla="*/ 2730168 w 2945193"/>
                <a:gd name="connsiteY1657" fmla="*/ 1088386 h 2259621"/>
                <a:gd name="connsiteX1658" fmla="*/ 2732612 w 2945193"/>
                <a:gd name="connsiteY1658" fmla="*/ 1085128 h 2259621"/>
                <a:gd name="connsiteX1659" fmla="*/ 2734241 w 2945193"/>
                <a:gd name="connsiteY1659" fmla="*/ 1082684 h 2259621"/>
                <a:gd name="connsiteX1660" fmla="*/ 2735870 w 2945193"/>
                <a:gd name="connsiteY1660" fmla="*/ 1081870 h 2259621"/>
                <a:gd name="connsiteX1661" fmla="*/ 2741571 w 2945193"/>
                <a:gd name="connsiteY1661" fmla="*/ 1079426 h 2259621"/>
                <a:gd name="connsiteX1662" fmla="*/ 2745643 w 2945193"/>
                <a:gd name="connsiteY1662" fmla="*/ 1073725 h 2259621"/>
                <a:gd name="connsiteX1663" fmla="*/ 2752159 w 2945193"/>
                <a:gd name="connsiteY1663" fmla="*/ 1069652 h 2259621"/>
                <a:gd name="connsiteX1664" fmla="*/ 2757861 w 2945193"/>
                <a:gd name="connsiteY1664" fmla="*/ 1066395 h 2259621"/>
                <a:gd name="connsiteX1665" fmla="*/ 2758676 w 2945193"/>
                <a:gd name="connsiteY1665" fmla="*/ 1064766 h 2259621"/>
                <a:gd name="connsiteX1666" fmla="*/ 2760304 w 2945193"/>
                <a:gd name="connsiteY1666" fmla="*/ 1063951 h 2259621"/>
                <a:gd name="connsiteX1667" fmla="*/ 2766821 w 2945193"/>
                <a:gd name="connsiteY1667" fmla="*/ 1061508 h 2259621"/>
                <a:gd name="connsiteX1668" fmla="*/ 2766821 w 2945193"/>
                <a:gd name="connsiteY1668" fmla="*/ 1059879 h 2259621"/>
                <a:gd name="connsiteX1669" fmla="*/ 2767635 w 2945193"/>
                <a:gd name="connsiteY1669" fmla="*/ 1056621 h 2259621"/>
                <a:gd name="connsiteX1670" fmla="*/ 2769264 w 2945193"/>
                <a:gd name="connsiteY1670" fmla="*/ 1055806 h 2259621"/>
                <a:gd name="connsiteX1671" fmla="*/ 2774965 w 2945193"/>
                <a:gd name="connsiteY1671" fmla="*/ 1050105 h 2259621"/>
                <a:gd name="connsiteX1672" fmla="*/ 2784739 w 2945193"/>
                <a:gd name="connsiteY1672" fmla="*/ 1044403 h 2259621"/>
                <a:gd name="connsiteX1673" fmla="*/ 2787183 w 2945193"/>
                <a:gd name="connsiteY1673" fmla="*/ 1041960 h 2259621"/>
                <a:gd name="connsiteX1674" fmla="*/ 2788811 w 2945193"/>
                <a:gd name="connsiteY1674" fmla="*/ 1039517 h 2259621"/>
                <a:gd name="connsiteX1675" fmla="*/ 2799400 w 2945193"/>
                <a:gd name="connsiteY1675" fmla="*/ 1035444 h 2259621"/>
                <a:gd name="connsiteX1676" fmla="*/ 2807545 w 2945193"/>
                <a:gd name="connsiteY1676" fmla="*/ 1031372 h 2259621"/>
                <a:gd name="connsiteX1677" fmla="*/ 2812432 w 2945193"/>
                <a:gd name="connsiteY1677" fmla="*/ 1028928 h 2259621"/>
                <a:gd name="connsiteX1678" fmla="*/ 2817318 w 2945193"/>
                <a:gd name="connsiteY1678" fmla="*/ 1028114 h 2259621"/>
                <a:gd name="connsiteX1679" fmla="*/ 2818948 w 2945193"/>
                <a:gd name="connsiteY1679" fmla="*/ 1026485 h 2259621"/>
                <a:gd name="connsiteX1680" fmla="*/ 2819762 w 2945193"/>
                <a:gd name="connsiteY1680" fmla="*/ 1024856 h 2259621"/>
                <a:gd name="connsiteX1681" fmla="*/ 2827092 w 2945193"/>
                <a:gd name="connsiteY1681" fmla="*/ 1022412 h 2259621"/>
                <a:gd name="connsiteX1682" fmla="*/ 2835237 w 2945193"/>
                <a:gd name="connsiteY1682" fmla="*/ 1017525 h 2259621"/>
                <a:gd name="connsiteX1683" fmla="*/ 2838495 w 2945193"/>
                <a:gd name="connsiteY1683" fmla="*/ 1013453 h 2259621"/>
                <a:gd name="connsiteX1684" fmla="*/ 2845011 w 2945193"/>
                <a:gd name="connsiteY1684" fmla="*/ 1009380 h 2259621"/>
                <a:gd name="connsiteX1685" fmla="*/ 2846640 w 2945193"/>
                <a:gd name="connsiteY1685" fmla="*/ 1008566 h 2259621"/>
                <a:gd name="connsiteX1686" fmla="*/ 2852342 w 2945193"/>
                <a:gd name="connsiteY1686" fmla="*/ 1006937 h 2259621"/>
                <a:gd name="connsiteX1687" fmla="*/ 2854785 w 2945193"/>
                <a:gd name="connsiteY1687" fmla="*/ 1005308 h 2259621"/>
                <a:gd name="connsiteX1688" fmla="*/ 2855600 w 2945193"/>
                <a:gd name="connsiteY1688" fmla="*/ 1002864 h 2259621"/>
                <a:gd name="connsiteX1689" fmla="*/ 2858858 w 2945193"/>
                <a:gd name="connsiteY1689" fmla="*/ 995534 h 2259621"/>
                <a:gd name="connsiteX1690" fmla="*/ 2870260 w 2945193"/>
                <a:gd name="connsiteY1690" fmla="*/ 989833 h 2259621"/>
                <a:gd name="connsiteX1691" fmla="*/ 2880034 w 2945193"/>
                <a:gd name="connsiteY1691" fmla="*/ 986575 h 2259621"/>
                <a:gd name="connsiteX1692" fmla="*/ 2887365 w 2945193"/>
                <a:gd name="connsiteY1692" fmla="*/ 982502 h 2259621"/>
                <a:gd name="connsiteX1693" fmla="*/ 2892252 w 2945193"/>
                <a:gd name="connsiteY1693" fmla="*/ 977615 h 2259621"/>
                <a:gd name="connsiteX1694" fmla="*/ 2895510 w 2945193"/>
                <a:gd name="connsiteY1694" fmla="*/ 973543 h 2259621"/>
                <a:gd name="connsiteX1695" fmla="*/ 2896324 w 2945193"/>
                <a:gd name="connsiteY1695" fmla="*/ 969470 h 2259621"/>
                <a:gd name="connsiteX1696" fmla="*/ 2900396 w 2945193"/>
                <a:gd name="connsiteY1696" fmla="*/ 963769 h 2259621"/>
                <a:gd name="connsiteX1697" fmla="*/ 2906098 w 2945193"/>
                <a:gd name="connsiteY1697" fmla="*/ 958068 h 2259621"/>
                <a:gd name="connsiteX1698" fmla="*/ 2907727 w 2945193"/>
                <a:gd name="connsiteY1698" fmla="*/ 956439 h 2259621"/>
                <a:gd name="connsiteX1699" fmla="*/ 2910985 w 2945193"/>
                <a:gd name="connsiteY1699" fmla="*/ 949923 h 2259621"/>
                <a:gd name="connsiteX1700" fmla="*/ 2914243 w 2945193"/>
                <a:gd name="connsiteY1700" fmla="*/ 945850 h 2259621"/>
                <a:gd name="connsiteX1701" fmla="*/ 2915872 w 2945193"/>
                <a:gd name="connsiteY1701" fmla="*/ 942592 h 2259621"/>
                <a:gd name="connsiteX1702" fmla="*/ 2915057 w 2945193"/>
                <a:gd name="connsiteY1702" fmla="*/ 934447 h 2259621"/>
                <a:gd name="connsiteX1703" fmla="*/ 2915872 w 2945193"/>
                <a:gd name="connsiteY1703" fmla="*/ 931189 h 2259621"/>
                <a:gd name="connsiteX1704" fmla="*/ 2924017 w 2945193"/>
                <a:gd name="connsiteY1704" fmla="*/ 926303 h 2259621"/>
                <a:gd name="connsiteX1705" fmla="*/ 2924831 w 2945193"/>
                <a:gd name="connsiteY1705" fmla="*/ 923859 h 2259621"/>
                <a:gd name="connsiteX1706" fmla="*/ 2926460 w 2945193"/>
                <a:gd name="connsiteY1706" fmla="*/ 919786 h 2259621"/>
                <a:gd name="connsiteX1707" fmla="*/ 2934605 w 2945193"/>
                <a:gd name="connsiteY1707" fmla="*/ 915714 h 2259621"/>
                <a:gd name="connsiteX1708" fmla="*/ 2943564 w 2945193"/>
                <a:gd name="connsiteY1708" fmla="*/ 910827 h 2259621"/>
                <a:gd name="connsiteX1709" fmla="*/ 2944379 w 2945193"/>
                <a:gd name="connsiteY1709" fmla="*/ 910013 h 2259621"/>
                <a:gd name="connsiteX1710" fmla="*/ 2945193 w 2945193"/>
                <a:gd name="connsiteY1710" fmla="*/ 908384 h 2259621"/>
                <a:gd name="connsiteX1711" fmla="*/ 2941936 w 2945193"/>
                <a:gd name="connsiteY1711" fmla="*/ 902682 h 2259621"/>
                <a:gd name="connsiteX1712" fmla="*/ 2755417 w 2945193"/>
                <a:gd name="connsiteY1712" fmla="*/ 501139 h 2259621"/>
                <a:gd name="connsiteX1713" fmla="*/ 2751345 w 2945193"/>
                <a:gd name="connsiteY1713" fmla="*/ 510913 h 2259621"/>
                <a:gd name="connsiteX1714" fmla="*/ 2750531 w 2945193"/>
                <a:gd name="connsiteY1714" fmla="*/ 506026 h 2259621"/>
                <a:gd name="connsiteX1715" fmla="*/ 2755417 w 2945193"/>
                <a:gd name="connsiteY1715" fmla="*/ 501139 h 2259621"/>
                <a:gd name="connsiteX1716" fmla="*/ 2708991 w 2945193"/>
                <a:gd name="connsiteY1716" fmla="*/ 444939 h 2259621"/>
                <a:gd name="connsiteX1717" fmla="*/ 2713879 w 2945193"/>
                <a:gd name="connsiteY1717" fmla="*/ 448197 h 2259621"/>
                <a:gd name="connsiteX1718" fmla="*/ 2692702 w 2945193"/>
                <a:gd name="connsiteY1718" fmla="*/ 465302 h 2259621"/>
                <a:gd name="connsiteX1719" fmla="*/ 2708991 w 2945193"/>
                <a:gd name="connsiteY1719" fmla="*/ 444939 h 2259621"/>
                <a:gd name="connsiteX1720" fmla="*/ 2493152 w 2945193"/>
                <a:gd name="connsiteY1720" fmla="*/ 469374 h 2259621"/>
                <a:gd name="connsiteX1721" fmla="*/ 2496410 w 2945193"/>
                <a:gd name="connsiteY1721" fmla="*/ 461229 h 2259621"/>
                <a:gd name="connsiteX1722" fmla="*/ 2498039 w 2945193"/>
                <a:gd name="connsiteY1722" fmla="*/ 455528 h 2259621"/>
                <a:gd name="connsiteX1723" fmla="*/ 2506184 w 2945193"/>
                <a:gd name="connsiteY1723" fmla="*/ 453899 h 2259621"/>
                <a:gd name="connsiteX1724" fmla="*/ 2506998 w 2945193"/>
                <a:gd name="connsiteY1724" fmla="*/ 453899 h 2259621"/>
                <a:gd name="connsiteX1725" fmla="*/ 2506184 w 2945193"/>
                <a:gd name="connsiteY1725" fmla="*/ 455528 h 2259621"/>
                <a:gd name="connsiteX1726" fmla="*/ 2504555 w 2945193"/>
                <a:gd name="connsiteY1726" fmla="*/ 456342 h 2259621"/>
                <a:gd name="connsiteX1727" fmla="*/ 2505369 w 2945193"/>
                <a:gd name="connsiteY1727" fmla="*/ 458785 h 2259621"/>
                <a:gd name="connsiteX1728" fmla="*/ 2509442 w 2945193"/>
                <a:gd name="connsiteY1728" fmla="*/ 459600 h 2259621"/>
                <a:gd name="connsiteX1729" fmla="*/ 2511071 w 2945193"/>
                <a:gd name="connsiteY1729" fmla="*/ 459600 h 2259621"/>
                <a:gd name="connsiteX1730" fmla="*/ 2513514 w 2945193"/>
                <a:gd name="connsiteY1730" fmla="*/ 457157 h 2259621"/>
                <a:gd name="connsiteX1731" fmla="*/ 2513514 w 2945193"/>
                <a:gd name="connsiteY1731" fmla="*/ 457157 h 2259621"/>
                <a:gd name="connsiteX1732" fmla="*/ 2513514 w 2945193"/>
                <a:gd name="connsiteY1732" fmla="*/ 457157 h 2259621"/>
                <a:gd name="connsiteX1733" fmla="*/ 2513514 w 2945193"/>
                <a:gd name="connsiteY1733" fmla="*/ 455528 h 2259621"/>
                <a:gd name="connsiteX1734" fmla="*/ 2512700 w 2945193"/>
                <a:gd name="connsiteY1734" fmla="*/ 451455 h 2259621"/>
                <a:gd name="connsiteX1735" fmla="*/ 2516772 w 2945193"/>
                <a:gd name="connsiteY1735" fmla="*/ 450641 h 2259621"/>
                <a:gd name="connsiteX1736" fmla="*/ 2520030 w 2945193"/>
                <a:gd name="connsiteY1736" fmla="*/ 452270 h 2259621"/>
                <a:gd name="connsiteX1737" fmla="*/ 2525731 w 2945193"/>
                <a:gd name="connsiteY1737" fmla="*/ 451455 h 2259621"/>
                <a:gd name="connsiteX1738" fmla="*/ 2527360 w 2945193"/>
                <a:gd name="connsiteY1738" fmla="*/ 446568 h 2259621"/>
                <a:gd name="connsiteX1739" fmla="*/ 2523288 w 2945193"/>
                <a:gd name="connsiteY1739" fmla="*/ 443310 h 2259621"/>
                <a:gd name="connsiteX1740" fmla="*/ 2520845 w 2945193"/>
                <a:gd name="connsiteY1740" fmla="*/ 443310 h 2259621"/>
                <a:gd name="connsiteX1741" fmla="*/ 2521659 w 2945193"/>
                <a:gd name="connsiteY1741" fmla="*/ 441681 h 2259621"/>
                <a:gd name="connsiteX1742" fmla="*/ 2517586 w 2945193"/>
                <a:gd name="connsiteY1742" fmla="*/ 438423 h 2259621"/>
                <a:gd name="connsiteX1743" fmla="*/ 2514329 w 2945193"/>
                <a:gd name="connsiteY1743" fmla="*/ 439238 h 2259621"/>
                <a:gd name="connsiteX1744" fmla="*/ 2505369 w 2945193"/>
                <a:gd name="connsiteY1744" fmla="*/ 437609 h 2259621"/>
                <a:gd name="connsiteX1745" fmla="*/ 2503740 w 2945193"/>
                <a:gd name="connsiteY1745" fmla="*/ 440867 h 2259621"/>
                <a:gd name="connsiteX1746" fmla="*/ 2495595 w 2945193"/>
                <a:gd name="connsiteY1746" fmla="*/ 440052 h 2259621"/>
                <a:gd name="connsiteX1747" fmla="*/ 2502926 w 2945193"/>
                <a:gd name="connsiteY1747" fmla="*/ 432722 h 2259621"/>
                <a:gd name="connsiteX1748" fmla="*/ 2559940 w 2945193"/>
                <a:gd name="connsiteY1748" fmla="*/ 432722 h 2259621"/>
                <a:gd name="connsiteX1749" fmla="*/ 2560754 w 2945193"/>
                <a:gd name="connsiteY1749" fmla="*/ 431907 h 2259621"/>
                <a:gd name="connsiteX1750" fmla="*/ 2557497 w 2945193"/>
                <a:gd name="connsiteY1750" fmla="*/ 427835 h 2259621"/>
                <a:gd name="connsiteX1751" fmla="*/ 2569714 w 2945193"/>
                <a:gd name="connsiteY1751" fmla="*/ 428650 h 2259621"/>
                <a:gd name="connsiteX1752" fmla="*/ 2568899 w 2945193"/>
                <a:gd name="connsiteY1752" fmla="*/ 435165 h 2259621"/>
                <a:gd name="connsiteX1753" fmla="*/ 2568899 w 2945193"/>
                <a:gd name="connsiteY1753" fmla="*/ 435165 h 2259621"/>
                <a:gd name="connsiteX1754" fmla="*/ 2568085 w 2945193"/>
                <a:gd name="connsiteY1754" fmla="*/ 435980 h 2259621"/>
                <a:gd name="connsiteX1755" fmla="*/ 2568899 w 2945193"/>
                <a:gd name="connsiteY1755" fmla="*/ 435165 h 2259621"/>
                <a:gd name="connsiteX1756" fmla="*/ 2574601 w 2945193"/>
                <a:gd name="connsiteY1756" fmla="*/ 433536 h 2259621"/>
                <a:gd name="connsiteX1757" fmla="*/ 2574601 w 2945193"/>
                <a:gd name="connsiteY1757" fmla="*/ 433536 h 2259621"/>
                <a:gd name="connsiteX1758" fmla="*/ 2573786 w 2945193"/>
                <a:gd name="connsiteY1758" fmla="*/ 439238 h 2259621"/>
                <a:gd name="connsiteX1759" fmla="*/ 2573786 w 2945193"/>
                <a:gd name="connsiteY1759" fmla="*/ 439238 h 2259621"/>
                <a:gd name="connsiteX1760" fmla="*/ 2572972 w 2945193"/>
                <a:gd name="connsiteY1760" fmla="*/ 440052 h 2259621"/>
                <a:gd name="connsiteX1761" fmla="*/ 2573786 w 2945193"/>
                <a:gd name="connsiteY1761" fmla="*/ 439238 h 2259621"/>
                <a:gd name="connsiteX1762" fmla="*/ 2579488 w 2945193"/>
                <a:gd name="connsiteY1762" fmla="*/ 437609 h 2259621"/>
                <a:gd name="connsiteX1763" fmla="*/ 2606366 w 2945193"/>
                <a:gd name="connsiteY1763" fmla="*/ 438423 h 2259621"/>
                <a:gd name="connsiteX1764" fmla="*/ 2617769 w 2945193"/>
                <a:gd name="connsiteY1764" fmla="*/ 434351 h 2259621"/>
                <a:gd name="connsiteX1765" fmla="*/ 2621027 w 2945193"/>
                <a:gd name="connsiteY1765" fmla="*/ 437609 h 2259621"/>
                <a:gd name="connsiteX1766" fmla="*/ 2614511 w 2945193"/>
                <a:gd name="connsiteY1766" fmla="*/ 441681 h 2259621"/>
                <a:gd name="connsiteX1767" fmla="*/ 2594149 w 2945193"/>
                <a:gd name="connsiteY1767" fmla="*/ 447383 h 2259621"/>
                <a:gd name="connsiteX1768" fmla="*/ 2594149 w 2945193"/>
                <a:gd name="connsiteY1768" fmla="*/ 446568 h 2259621"/>
                <a:gd name="connsiteX1769" fmla="*/ 2591705 w 2945193"/>
                <a:gd name="connsiteY1769" fmla="*/ 446568 h 2259621"/>
                <a:gd name="connsiteX1770" fmla="*/ 2591705 w 2945193"/>
                <a:gd name="connsiteY1770" fmla="*/ 448197 h 2259621"/>
                <a:gd name="connsiteX1771" fmla="*/ 2577044 w 2945193"/>
                <a:gd name="connsiteY1771" fmla="*/ 450641 h 2259621"/>
                <a:gd name="connsiteX1772" fmla="*/ 2577044 w 2945193"/>
                <a:gd name="connsiteY1772" fmla="*/ 450641 h 2259621"/>
                <a:gd name="connsiteX1773" fmla="*/ 2567271 w 2945193"/>
                <a:gd name="connsiteY1773" fmla="*/ 448197 h 2259621"/>
                <a:gd name="connsiteX1774" fmla="*/ 2564012 w 2945193"/>
                <a:gd name="connsiteY1774" fmla="*/ 440052 h 2259621"/>
                <a:gd name="connsiteX1775" fmla="*/ 2553424 w 2945193"/>
                <a:gd name="connsiteY1775" fmla="*/ 439238 h 2259621"/>
                <a:gd name="connsiteX1776" fmla="*/ 2547723 w 2945193"/>
                <a:gd name="connsiteY1776" fmla="*/ 446568 h 2259621"/>
                <a:gd name="connsiteX1777" fmla="*/ 2543650 w 2945193"/>
                <a:gd name="connsiteY1777" fmla="*/ 453084 h 2259621"/>
                <a:gd name="connsiteX1778" fmla="*/ 2546094 w 2945193"/>
                <a:gd name="connsiteY1778" fmla="*/ 462858 h 2259621"/>
                <a:gd name="connsiteX1779" fmla="*/ 2528990 w 2945193"/>
                <a:gd name="connsiteY1779" fmla="*/ 470189 h 2259621"/>
                <a:gd name="connsiteX1780" fmla="*/ 2528990 w 2945193"/>
                <a:gd name="connsiteY1780" fmla="*/ 470189 h 2259621"/>
                <a:gd name="connsiteX1781" fmla="*/ 2524917 w 2945193"/>
                <a:gd name="connsiteY1781" fmla="*/ 471003 h 2259621"/>
                <a:gd name="connsiteX1782" fmla="*/ 2524917 w 2945193"/>
                <a:gd name="connsiteY1782" fmla="*/ 471003 h 2259621"/>
                <a:gd name="connsiteX1783" fmla="*/ 2499668 w 2945193"/>
                <a:gd name="connsiteY1783" fmla="*/ 471817 h 2259621"/>
                <a:gd name="connsiteX1784" fmla="*/ 2493152 w 2945193"/>
                <a:gd name="connsiteY1784" fmla="*/ 469374 h 2259621"/>
                <a:gd name="connsiteX1785" fmla="*/ 2493152 w 2945193"/>
                <a:gd name="connsiteY1785" fmla="*/ 469374 h 2259621"/>
                <a:gd name="connsiteX1786" fmla="*/ 2577044 w 2945193"/>
                <a:gd name="connsiteY1786" fmla="*/ 450641 h 2259621"/>
                <a:gd name="connsiteX1787" fmla="*/ 2575416 w 2945193"/>
                <a:gd name="connsiteY1787" fmla="*/ 452270 h 2259621"/>
                <a:gd name="connsiteX1788" fmla="*/ 2572972 w 2945193"/>
                <a:gd name="connsiteY1788" fmla="*/ 453084 h 2259621"/>
                <a:gd name="connsiteX1789" fmla="*/ 2571343 w 2945193"/>
                <a:gd name="connsiteY1789" fmla="*/ 452270 h 2259621"/>
                <a:gd name="connsiteX1790" fmla="*/ 2577044 w 2945193"/>
                <a:gd name="connsiteY1790" fmla="*/ 450641 h 2259621"/>
                <a:gd name="connsiteX1791" fmla="*/ 2477677 w 2945193"/>
                <a:gd name="connsiteY1791" fmla="*/ 514985 h 2259621"/>
                <a:gd name="connsiteX1792" fmla="*/ 2480120 w 2945193"/>
                <a:gd name="connsiteY1792" fmla="*/ 510098 h 2259621"/>
                <a:gd name="connsiteX1793" fmla="*/ 2481749 w 2945193"/>
                <a:gd name="connsiteY1793" fmla="*/ 505211 h 2259621"/>
                <a:gd name="connsiteX1794" fmla="*/ 2484193 w 2945193"/>
                <a:gd name="connsiteY1794" fmla="*/ 501139 h 2259621"/>
                <a:gd name="connsiteX1795" fmla="*/ 2494781 w 2945193"/>
                <a:gd name="connsiteY1795" fmla="*/ 497067 h 2259621"/>
                <a:gd name="connsiteX1796" fmla="*/ 2516772 w 2945193"/>
                <a:gd name="connsiteY1796" fmla="*/ 490551 h 2259621"/>
                <a:gd name="connsiteX1797" fmla="*/ 2570528 w 2945193"/>
                <a:gd name="connsiteY1797" fmla="*/ 480777 h 2259621"/>
                <a:gd name="connsiteX1798" fmla="*/ 2586818 w 2945193"/>
                <a:gd name="connsiteY1798" fmla="*/ 477519 h 2259621"/>
                <a:gd name="connsiteX1799" fmla="*/ 2585189 w 2945193"/>
                <a:gd name="connsiteY1799" fmla="*/ 479962 h 2259621"/>
                <a:gd name="connsiteX1800" fmla="*/ 2591705 w 2945193"/>
                <a:gd name="connsiteY1800" fmla="*/ 475890 h 2259621"/>
                <a:gd name="connsiteX1801" fmla="*/ 2605551 w 2945193"/>
                <a:gd name="connsiteY1801" fmla="*/ 470189 h 2259621"/>
                <a:gd name="connsiteX1802" fmla="*/ 2614511 w 2945193"/>
                <a:gd name="connsiteY1802" fmla="*/ 467745 h 2259621"/>
                <a:gd name="connsiteX1803" fmla="*/ 2625099 w 2945193"/>
                <a:gd name="connsiteY1803" fmla="*/ 464487 h 2259621"/>
                <a:gd name="connsiteX1804" fmla="*/ 2663380 w 2945193"/>
                <a:gd name="connsiteY1804" fmla="*/ 448197 h 2259621"/>
                <a:gd name="connsiteX1805" fmla="*/ 2678041 w 2945193"/>
                <a:gd name="connsiteY1805" fmla="*/ 443310 h 2259621"/>
                <a:gd name="connsiteX1806" fmla="*/ 2682113 w 2945193"/>
                <a:gd name="connsiteY1806" fmla="*/ 443310 h 2259621"/>
                <a:gd name="connsiteX1807" fmla="*/ 2676412 w 2945193"/>
                <a:gd name="connsiteY1807" fmla="*/ 451455 h 2259621"/>
                <a:gd name="connsiteX1808" fmla="*/ 2654421 w 2945193"/>
                <a:gd name="connsiteY1808" fmla="*/ 462044 h 2259621"/>
                <a:gd name="connsiteX1809" fmla="*/ 2648720 w 2945193"/>
                <a:gd name="connsiteY1809" fmla="*/ 464487 h 2259621"/>
                <a:gd name="connsiteX1810" fmla="*/ 2643018 w 2945193"/>
                <a:gd name="connsiteY1810" fmla="*/ 466116 h 2259621"/>
                <a:gd name="connsiteX1811" fmla="*/ 2643018 w 2945193"/>
                <a:gd name="connsiteY1811" fmla="*/ 466930 h 2259621"/>
                <a:gd name="connsiteX1812" fmla="*/ 2628357 w 2945193"/>
                <a:gd name="connsiteY1812" fmla="*/ 473446 h 2259621"/>
                <a:gd name="connsiteX1813" fmla="*/ 2621027 w 2945193"/>
                <a:gd name="connsiteY1813" fmla="*/ 473446 h 2259621"/>
                <a:gd name="connsiteX1814" fmla="*/ 2618583 w 2945193"/>
                <a:gd name="connsiteY1814" fmla="*/ 476704 h 2259621"/>
                <a:gd name="connsiteX1815" fmla="*/ 2610438 w 2945193"/>
                <a:gd name="connsiteY1815" fmla="*/ 478333 h 2259621"/>
                <a:gd name="connsiteX1816" fmla="*/ 2581931 w 2945193"/>
                <a:gd name="connsiteY1816" fmla="*/ 495437 h 2259621"/>
                <a:gd name="connsiteX1817" fmla="*/ 2582746 w 2945193"/>
                <a:gd name="connsiteY1817" fmla="*/ 495437 h 2259621"/>
                <a:gd name="connsiteX1818" fmla="*/ 2591705 w 2945193"/>
                <a:gd name="connsiteY1818" fmla="*/ 493809 h 2259621"/>
                <a:gd name="connsiteX1819" fmla="*/ 2586818 w 2945193"/>
                <a:gd name="connsiteY1819" fmla="*/ 500324 h 2259621"/>
                <a:gd name="connsiteX1820" fmla="*/ 2587633 w 2945193"/>
                <a:gd name="connsiteY1820" fmla="*/ 500324 h 2259621"/>
                <a:gd name="connsiteX1821" fmla="*/ 2596592 w 2945193"/>
                <a:gd name="connsiteY1821" fmla="*/ 498696 h 2259621"/>
                <a:gd name="connsiteX1822" fmla="*/ 2595778 w 2945193"/>
                <a:gd name="connsiteY1822" fmla="*/ 498696 h 2259621"/>
                <a:gd name="connsiteX1823" fmla="*/ 2564827 w 2945193"/>
                <a:gd name="connsiteY1823" fmla="*/ 500324 h 2259621"/>
                <a:gd name="connsiteX1824" fmla="*/ 2564827 w 2945193"/>
                <a:gd name="connsiteY1824" fmla="*/ 507655 h 2259621"/>
                <a:gd name="connsiteX1825" fmla="*/ 2542021 w 2945193"/>
                <a:gd name="connsiteY1825" fmla="*/ 512542 h 2259621"/>
                <a:gd name="connsiteX1826" fmla="*/ 2524917 w 2945193"/>
                <a:gd name="connsiteY1826" fmla="*/ 521501 h 2259621"/>
                <a:gd name="connsiteX1827" fmla="*/ 2519216 w 2945193"/>
                <a:gd name="connsiteY1827" fmla="*/ 521501 h 2259621"/>
                <a:gd name="connsiteX1828" fmla="*/ 2514329 w 2945193"/>
                <a:gd name="connsiteY1828" fmla="*/ 521501 h 2259621"/>
                <a:gd name="connsiteX1829" fmla="*/ 2513514 w 2945193"/>
                <a:gd name="connsiteY1829" fmla="*/ 521501 h 2259621"/>
                <a:gd name="connsiteX1830" fmla="*/ 2511071 w 2945193"/>
                <a:gd name="connsiteY1830" fmla="*/ 521501 h 2259621"/>
                <a:gd name="connsiteX1831" fmla="*/ 2497224 w 2945193"/>
                <a:gd name="connsiteY1831" fmla="*/ 522316 h 2259621"/>
                <a:gd name="connsiteX1832" fmla="*/ 2473604 w 2945193"/>
                <a:gd name="connsiteY1832" fmla="*/ 521501 h 2259621"/>
                <a:gd name="connsiteX1833" fmla="*/ 2477677 w 2945193"/>
                <a:gd name="connsiteY1833" fmla="*/ 514985 h 2259621"/>
                <a:gd name="connsiteX1834" fmla="*/ 2140478 w 2945193"/>
                <a:gd name="connsiteY1834" fmla="*/ 23848 h 2259621"/>
                <a:gd name="connsiteX1835" fmla="*/ 2142107 w 2945193"/>
                <a:gd name="connsiteY1835" fmla="*/ 23848 h 2259621"/>
                <a:gd name="connsiteX1836" fmla="*/ 2142107 w 2945193"/>
                <a:gd name="connsiteY1836" fmla="*/ 24663 h 2259621"/>
                <a:gd name="connsiteX1837" fmla="*/ 2139664 w 2945193"/>
                <a:gd name="connsiteY1837" fmla="*/ 25477 h 2259621"/>
                <a:gd name="connsiteX1838" fmla="*/ 2138849 w 2945193"/>
                <a:gd name="connsiteY1838" fmla="*/ 24663 h 2259621"/>
                <a:gd name="connsiteX1839" fmla="*/ 2140478 w 2945193"/>
                <a:gd name="connsiteY1839" fmla="*/ 23848 h 2259621"/>
                <a:gd name="connsiteX1840" fmla="*/ 386882 w 2945193"/>
                <a:gd name="connsiteY1840" fmla="*/ 826935 h 2259621"/>
                <a:gd name="connsiteX1841" fmla="*/ 381995 w 2945193"/>
                <a:gd name="connsiteY1841" fmla="*/ 835080 h 2259621"/>
                <a:gd name="connsiteX1842" fmla="*/ 377108 w 2945193"/>
                <a:gd name="connsiteY1842" fmla="*/ 830193 h 2259621"/>
                <a:gd name="connsiteX1843" fmla="*/ 386882 w 2945193"/>
                <a:gd name="connsiteY1843" fmla="*/ 826935 h 2259621"/>
                <a:gd name="connsiteX1844" fmla="*/ 386882 w 2945193"/>
                <a:gd name="connsiteY1844" fmla="*/ 826935 h 2259621"/>
                <a:gd name="connsiteX1845" fmla="*/ 1102004 w 2945193"/>
                <a:gd name="connsiteY1845" fmla="*/ 2165141 h 2259621"/>
                <a:gd name="connsiteX1846" fmla="*/ 1093045 w 2945193"/>
                <a:gd name="connsiteY1846" fmla="*/ 2175729 h 2259621"/>
                <a:gd name="connsiteX1847" fmla="*/ 1102004 w 2945193"/>
                <a:gd name="connsiteY1847" fmla="*/ 2165141 h 2259621"/>
                <a:gd name="connsiteX1848" fmla="*/ 1109335 w 2945193"/>
                <a:gd name="connsiteY1848" fmla="*/ 2152923 h 2259621"/>
                <a:gd name="connsiteX1849" fmla="*/ 1110963 w 2945193"/>
                <a:gd name="connsiteY1849" fmla="*/ 2155367 h 2259621"/>
                <a:gd name="connsiteX1850" fmla="*/ 1102818 w 2945193"/>
                <a:gd name="connsiteY1850" fmla="*/ 2162697 h 2259621"/>
                <a:gd name="connsiteX1851" fmla="*/ 1109335 w 2945193"/>
                <a:gd name="connsiteY1851" fmla="*/ 2152923 h 2259621"/>
                <a:gd name="connsiteX1852" fmla="*/ 1103633 w 2945193"/>
                <a:gd name="connsiteY1852" fmla="*/ 2142335 h 2259621"/>
                <a:gd name="connsiteX1853" fmla="*/ 1104447 w 2945193"/>
                <a:gd name="connsiteY1853" fmla="*/ 2137448 h 2259621"/>
                <a:gd name="connsiteX1854" fmla="*/ 1104447 w 2945193"/>
                <a:gd name="connsiteY1854" fmla="*/ 2136634 h 2259621"/>
                <a:gd name="connsiteX1855" fmla="*/ 1105262 w 2945193"/>
                <a:gd name="connsiteY1855" fmla="*/ 2139892 h 2259621"/>
                <a:gd name="connsiteX1856" fmla="*/ 1103633 w 2945193"/>
                <a:gd name="connsiteY1856" fmla="*/ 2142335 h 2259621"/>
                <a:gd name="connsiteX1857" fmla="*/ 721637 w 2945193"/>
                <a:gd name="connsiteY1857" fmla="*/ 642046 h 2259621"/>
                <a:gd name="connsiteX1858" fmla="*/ 737927 w 2945193"/>
                <a:gd name="connsiteY1858" fmla="*/ 633086 h 2259621"/>
                <a:gd name="connsiteX1859" fmla="*/ 736298 w 2945193"/>
                <a:gd name="connsiteY1859" fmla="*/ 635530 h 2259621"/>
                <a:gd name="connsiteX1860" fmla="*/ 721637 w 2945193"/>
                <a:gd name="connsiteY1860" fmla="*/ 642046 h 2259621"/>
                <a:gd name="connsiteX1861" fmla="*/ 808788 w 2945193"/>
                <a:gd name="connsiteY1861" fmla="*/ 598878 h 2259621"/>
                <a:gd name="connsiteX1862" fmla="*/ 780281 w 2945193"/>
                <a:gd name="connsiteY1862" fmla="*/ 617611 h 2259621"/>
                <a:gd name="connsiteX1863" fmla="*/ 773765 w 2945193"/>
                <a:gd name="connsiteY1863" fmla="*/ 620869 h 2259621"/>
                <a:gd name="connsiteX1864" fmla="*/ 759104 w 2945193"/>
                <a:gd name="connsiteY1864" fmla="*/ 628199 h 2259621"/>
                <a:gd name="connsiteX1865" fmla="*/ 758289 w 2945193"/>
                <a:gd name="connsiteY1865" fmla="*/ 628199 h 2259621"/>
                <a:gd name="connsiteX1866" fmla="*/ 751774 w 2945193"/>
                <a:gd name="connsiteY1866" fmla="*/ 627385 h 2259621"/>
                <a:gd name="connsiteX1867" fmla="*/ 787611 w 2945193"/>
                <a:gd name="connsiteY1867" fmla="*/ 610281 h 2259621"/>
                <a:gd name="connsiteX1868" fmla="*/ 808788 w 2945193"/>
                <a:gd name="connsiteY1868" fmla="*/ 598878 h 2259621"/>
                <a:gd name="connsiteX1869" fmla="*/ 747701 w 2945193"/>
                <a:gd name="connsiteY1869" fmla="*/ 598063 h 2259621"/>
                <a:gd name="connsiteX1870" fmla="*/ 749330 w 2945193"/>
                <a:gd name="connsiteY1870" fmla="*/ 598063 h 2259621"/>
                <a:gd name="connsiteX1871" fmla="*/ 755031 w 2945193"/>
                <a:gd name="connsiteY1871" fmla="*/ 599692 h 2259621"/>
                <a:gd name="connsiteX1872" fmla="*/ 737113 w 2945193"/>
                <a:gd name="connsiteY1872" fmla="*/ 609466 h 2259621"/>
                <a:gd name="connsiteX1873" fmla="*/ 701275 w 2945193"/>
                <a:gd name="connsiteY1873" fmla="*/ 627385 h 2259621"/>
                <a:gd name="connsiteX1874" fmla="*/ 708606 w 2945193"/>
                <a:gd name="connsiteY1874" fmla="*/ 620055 h 2259621"/>
                <a:gd name="connsiteX1875" fmla="*/ 711864 w 2945193"/>
                <a:gd name="connsiteY1875" fmla="*/ 617611 h 2259621"/>
                <a:gd name="connsiteX1876" fmla="*/ 724081 w 2945193"/>
                <a:gd name="connsiteY1876" fmla="*/ 612724 h 2259621"/>
                <a:gd name="connsiteX1877" fmla="*/ 742814 w 2945193"/>
                <a:gd name="connsiteY1877" fmla="*/ 602136 h 2259621"/>
                <a:gd name="connsiteX1878" fmla="*/ 747701 w 2945193"/>
                <a:gd name="connsiteY1878" fmla="*/ 598063 h 2259621"/>
                <a:gd name="connsiteX1879" fmla="*/ 720823 w 2945193"/>
                <a:gd name="connsiteY1879" fmla="*/ 585846 h 2259621"/>
                <a:gd name="connsiteX1880" fmla="*/ 724896 w 2945193"/>
                <a:gd name="connsiteY1880" fmla="*/ 585031 h 2259621"/>
                <a:gd name="connsiteX1881" fmla="*/ 725710 w 2945193"/>
                <a:gd name="connsiteY1881" fmla="*/ 585846 h 2259621"/>
                <a:gd name="connsiteX1882" fmla="*/ 725710 w 2945193"/>
                <a:gd name="connsiteY1882" fmla="*/ 585846 h 2259621"/>
                <a:gd name="connsiteX1883" fmla="*/ 724081 w 2945193"/>
                <a:gd name="connsiteY1883" fmla="*/ 590733 h 2259621"/>
                <a:gd name="connsiteX1884" fmla="*/ 706162 w 2945193"/>
                <a:gd name="connsiteY1884" fmla="*/ 590733 h 2259621"/>
                <a:gd name="connsiteX1885" fmla="*/ 720823 w 2945193"/>
                <a:gd name="connsiteY1885" fmla="*/ 585846 h 2259621"/>
                <a:gd name="connsiteX1886" fmla="*/ 703719 w 2945193"/>
                <a:gd name="connsiteY1886" fmla="*/ 592362 h 2259621"/>
                <a:gd name="connsiteX1887" fmla="*/ 702090 w 2945193"/>
                <a:gd name="connsiteY1887" fmla="*/ 595620 h 2259621"/>
                <a:gd name="connsiteX1888" fmla="*/ 695574 w 2945193"/>
                <a:gd name="connsiteY1888" fmla="*/ 596434 h 2259621"/>
                <a:gd name="connsiteX1889" fmla="*/ 703719 w 2945193"/>
                <a:gd name="connsiteY1889" fmla="*/ 592362 h 2259621"/>
                <a:gd name="connsiteX1890" fmla="*/ 668696 w 2945193"/>
                <a:gd name="connsiteY1890" fmla="*/ 615168 h 2259621"/>
                <a:gd name="connsiteX1891" fmla="*/ 671954 w 2945193"/>
                <a:gd name="connsiteY1891" fmla="*/ 615168 h 2259621"/>
                <a:gd name="connsiteX1892" fmla="*/ 658107 w 2945193"/>
                <a:gd name="connsiteY1892" fmla="*/ 620869 h 2259621"/>
                <a:gd name="connsiteX1893" fmla="*/ 668696 w 2945193"/>
                <a:gd name="connsiteY1893" fmla="*/ 615168 h 2259621"/>
                <a:gd name="connsiteX1894" fmla="*/ 623899 w 2945193"/>
                <a:gd name="connsiteY1894" fmla="*/ 636344 h 2259621"/>
                <a:gd name="connsiteX1895" fmla="*/ 623084 w 2945193"/>
                <a:gd name="connsiteY1895" fmla="*/ 637159 h 2259621"/>
                <a:gd name="connsiteX1896" fmla="*/ 616568 w 2945193"/>
                <a:gd name="connsiteY1896" fmla="*/ 640417 h 2259621"/>
                <a:gd name="connsiteX1897" fmla="*/ 614125 w 2945193"/>
                <a:gd name="connsiteY1897" fmla="*/ 639602 h 2259621"/>
                <a:gd name="connsiteX1898" fmla="*/ 623899 w 2945193"/>
                <a:gd name="connsiteY1898" fmla="*/ 636344 h 2259621"/>
                <a:gd name="connsiteX1899" fmla="*/ 456928 w 2945193"/>
                <a:gd name="connsiteY1899" fmla="*/ 1620247 h 2259621"/>
                <a:gd name="connsiteX1900" fmla="*/ 452042 w 2945193"/>
                <a:gd name="connsiteY1900" fmla="*/ 1626763 h 2259621"/>
                <a:gd name="connsiteX1901" fmla="*/ 452042 w 2945193"/>
                <a:gd name="connsiteY1901" fmla="*/ 1623505 h 2259621"/>
                <a:gd name="connsiteX1902" fmla="*/ 456928 w 2945193"/>
                <a:gd name="connsiteY1902" fmla="*/ 1620247 h 2259621"/>
                <a:gd name="connsiteX1903" fmla="*/ 424349 w 2945193"/>
                <a:gd name="connsiteY1903" fmla="*/ 1598256 h 2259621"/>
                <a:gd name="connsiteX1904" fmla="*/ 428421 w 2945193"/>
                <a:gd name="connsiteY1904" fmla="*/ 1590926 h 2259621"/>
                <a:gd name="connsiteX1905" fmla="*/ 430050 w 2945193"/>
                <a:gd name="connsiteY1905" fmla="*/ 1591740 h 2259621"/>
                <a:gd name="connsiteX1906" fmla="*/ 424349 w 2945193"/>
                <a:gd name="connsiteY1906" fmla="*/ 1598256 h 2259621"/>
                <a:gd name="connsiteX1907" fmla="*/ 418647 w 2945193"/>
                <a:gd name="connsiteY1907" fmla="*/ 1689479 h 2259621"/>
                <a:gd name="connsiteX1908" fmla="*/ 414575 w 2945193"/>
                <a:gd name="connsiteY1908" fmla="*/ 1691923 h 2259621"/>
                <a:gd name="connsiteX1909" fmla="*/ 411317 w 2945193"/>
                <a:gd name="connsiteY1909" fmla="*/ 1691108 h 2259621"/>
                <a:gd name="connsiteX1910" fmla="*/ 410503 w 2945193"/>
                <a:gd name="connsiteY1910" fmla="*/ 1687850 h 2259621"/>
                <a:gd name="connsiteX1911" fmla="*/ 419462 w 2945193"/>
                <a:gd name="connsiteY1911" fmla="*/ 1682963 h 2259621"/>
                <a:gd name="connsiteX1912" fmla="*/ 427607 w 2945193"/>
                <a:gd name="connsiteY1912" fmla="*/ 1679705 h 2259621"/>
                <a:gd name="connsiteX1913" fmla="*/ 429236 w 2945193"/>
                <a:gd name="connsiteY1913" fmla="*/ 1681334 h 2259621"/>
                <a:gd name="connsiteX1914" fmla="*/ 418647 w 2945193"/>
                <a:gd name="connsiteY1914" fmla="*/ 1689479 h 2259621"/>
                <a:gd name="connsiteX1915" fmla="*/ 435752 w 2945193"/>
                <a:gd name="connsiteY1915" fmla="*/ 1641424 h 2259621"/>
                <a:gd name="connsiteX1916" fmla="*/ 412946 w 2945193"/>
                <a:gd name="connsiteY1916" fmla="*/ 1656085 h 2259621"/>
                <a:gd name="connsiteX1917" fmla="*/ 413760 w 2945193"/>
                <a:gd name="connsiteY1917" fmla="*/ 1654456 h 2259621"/>
                <a:gd name="connsiteX1918" fmla="*/ 433308 w 2945193"/>
                <a:gd name="connsiteY1918" fmla="*/ 1638166 h 2259621"/>
                <a:gd name="connsiteX1919" fmla="*/ 433308 w 2945193"/>
                <a:gd name="connsiteY1919" fmla="*/ 1638166 h 2259621"/>
                <a:gd name="connsiteX1920" fmla="*/ 433308 w 2945193"/>
                <a:gd name="connsiteY1920" fmla="*/ 1637352 h 2259621"/>
                <a:gd name="connsiteX1921" fmla="*/ 444711 w 2945193"/>
                <a:gd name="connsiteY1921" fmla="*/ 1628392 h 2259621"/>
                <a:gd name="connsiteX1922" fmla="*/ 451227 w 2945193"/>
                <a:gd name="connsiteY1922" fmla="*/ 1626763 h 2259621"/>
                <a:gd name="connsiteX1923" fmla="*/ 451227 w 2945193"/>
                <a:gd name="connsiteY1923" fmla="*/ 1626763 h 2259621"/>
                <a:gd name="connsiteX1924" fmla="*/ 457743 w 2945193"/>
                <a:gd name="connsiteY1924" fmla="*/ 1622691 h 2259621"/>
                <a:gd name="connsiteX1925" fmla="*/ 457743 w 2945193"/>
                <a:gd name="connsiteY1925" fmla="*/ 1622691 h 2259621"/>
                <a:gd name="connsiteX1926" fmla="*/ 435752 w 2945193"/>
                <a:gd name="connsiteY1926" fmla="*/ 1641424 h 2259621"/>
                <a:gd name="connsiteX1927" fmla="*/ 445526 w 2945193"/>
                <a:gd name="connsiteY1927" fmla="*/ 1669117 h 2259621"/>
                <a:gd name="connsiteX1928" fmla="*/ 444711 w 2945193"/>
                <a:gd name="connsiteY1928" fmla="*/ 1665859 h 2259621"/>
                <a:gd name="connsiteX1929" fmla="*/ 449598 w 2945193"/>
                <a:gd name="connsiteY1929" fmla="*/ 1661786 h 2259621"/>
                <a:gd name="connsiteX1930" fmla="*/ 452042 w 2945193"/>
                <a:gd name="connsiteY1930" fmla="*/ 1663415 h 2259621"/>
                <a:gd name="connsiteX1931" fmla="*/ 445526 w 2945193"/>
                <a:gd name="connsiteY1931" fmla="*/ 1669117 h 2259621"/>
                <a:gd name="connsiteX1932" fmla="*/ 452856 w 2945193"/>
                <a:gd name="connsiteY1932" fmla="*/ 1683778 h 2259621"/>
                <a:gd name="connsiteX1933" fmla="*/ 459372 w 2945193"/>
                <a:gd name="connsiteY1933" fmla="*/ 1680519 h 2259621"/>
                <a:gd name="connsiteX1934" fmla="*/ 460186 w 2945193"/>
                <a:gd name="connsiteY1934" fmla="*/ 1684592 h 2259621"/>
                <a:gd name="connsiteX1935" fmla="*/ 452856 w 2945193"/>
                <a:gd name="connsiteY1935" fmla="*/ 1683778 h 2259621"/>
                <a:gd name="connsiteX1936" fmla="*/ 536748 w 2945193"/>
                <a:gd name="connsiteY1936" fmla="*/ 1739977 h 2259621"/>
                <a:gd name="connsiteX1937" fmla="*/ 531861 w 2945193"/>
                <a:gd name="connsiteY1937" fmla="*/ 1741606 h 2259621"/>
                <a:gd name="connsiteX1938" fmla="*/ 531047 w 2945193"/>
                <a:gd name="connsiteY1938" fmla="*/ 1740792 h 2259621"/>
                <a:gd name="connsiteX1939" fmla="*/ 531047 w 2945193"/>
                <a:gd name="connsiteY1939" fmla="*/ 1738348 h 2259621"/>
                <a:gd name="connsiteX1940" fmla="*/ 526160 w 2945193"/>
                <a:gd name="connsiteY1940" fmla="*/ 1726945 h 2259621"/>
                <a:gd name="connsiteX1941" fmla="*/ 528604 w 2945193"/>
                <a:gd name="connsiteY1941" fmla="*/ 1722058 h 2259621"/>
                <a:gd name="connsiteX1942" fmla="*/ 528604 w 2945193"/>
                <a:gd name="connsiteY1942" fmla="*/ 1722058 h 2259621"/>
                <a:gd name="connsiteX1943" fmla="*/ 530232 w 2945193"/>
                <a:gd name="connsiteY1943" fmla="*/ 1723688 h 2259621"/>
                <a:gd name="connsiteX1944" fmla="*/ 536748 w 2945193"/>
                <a:gd name="connsiteY1944" fmla="*/ 1724502 h 2259621"/>
                <a:gd name="connsiteX1945" fmla="*/ 534305 w 2945193"/>
                <a:gd name="connsiteY1945" fmla="*/ 1719615 h 2259621"/>
                <a:gd name="connsiteX1946" fmla="*/ 544079 w 2945193"/>
                <a:gd name="connsiteY1946" fmla="*/ 1713099 h 2259621"/>
                <a:gd name="connsiteX1947" fmla="*/ 544893 w 2945193"/>
                <a:gd name="connsiteY1947" fmla="*/ 1713099 h 2259621"/>
                <a:gd name="connsiteX1948" fmla="*/ 540006 w 2945193"/>
                <a:gd name="connsiteY1948" fmla="*/ 1725316 h 2259621"/>
                <a:gd name="connsiteX1949" fmla="*/ 536748 w 2945193"/>
                <a:gd name="connsiteY1949" fmla="*/ 1739977 h 2259621"/>
                <a:gd name="connsiteX1950" fmla="*/ 550595 w 2945193"/>
                <a:gd name="connsiteY1950" fmla="*/ 1722058 h 2259621"/>
                <a:gd name="connsiteX1951" fmla="*/ 543264 w 2945193"/>
                <a:gd name="connsiteY1951" fmla="*/ 1731832 h 2259621"/>
                <a:gd name="connsiteX1952" fmla="*/ 542450 w 2945193"/>
                <a:gd name="connsiteY1952" fmla="*/ 1732647 h 2259621"/>
                <a:gd name="connsiteX1953" fmla="*/ 550595 w 2945193"/>
                <a:gd name="connsiteY1953" fmla="*/ 1722058 h 2259621"/>
                <a:gd name="connsiteX1954" fmla="*/ 550595 w 2945193"/>
                <a:gd name="connsiteY1954" fmla="*/ 1722058 h 2259621"/>
                <a:gd name="connsiteX1955" fmla="*/ 727339 w 2945193"/>
                <a:gd name="connsiteY1955" fmla="*/ 1985953 h 2259621"/>
                <a:gd name="connsiteX1956" fmla="*/ 725710 w 2945193"/>
                <a:gd name="connsiteY1956" fmla="*/ 1982695 h 2259621"/>
                <a:gd name="connsiteX1957" fmla="*/ 724896 w 2945193"/>
                <a:gd name="connsiteY1957" fmla="*/ 1982695 h 2259621"/>
                <a:gd name="connsiteX1958" fmla="*/ 725710 w 2945193"/>
                <a:gd name="connsiteY1958" fmla="*/ 1982695 h 2259621"/>
                <a:gd name="connsiteX1959" fmla="*/ 725710 w 2945193"/>
                <a:gd name="connsiteY1959" fmla="*/ 1982695 h 2259621"/>
                <a:gd name="connsiteX1960" fmla="*/ 725710 w 2945193"/>
                <a:gd name="connsiteY1960" fmla="*/ 1982695 h 2259621"/>
                <a:gd name="connsiteX1961" fmla="*/ 725710 w 2945193"/>
                <a:gd name="connsiteY1961" fmla="*/ 1982695 h 2259621"/>
                <a:gd name="connsiteX1962" fmla="*/ 725710 w 2945193"/>
                <a:gd name="connsiteY1962" fmla="*/ 1982695 h 2259621"/>
                <a:gd name="connsiteX1963" fmla="*/ 725710 w 2945193"/>
                <a:gd name="connsiteY1963" fmla="*/ 1982695 h 2259621"/>
                <a:gd name="connsiteX1964" fmla="*/ 729782 w 2945193"/>
                <a:gd name="connsiteY1964" fmla="*/ 1981881 h 2259621"/>
                <a:gd name="connsiteX1965" fmla="*/ 733855 w 2945193"/>
                <a:gd name="connsiteY1965" fmla="*/ 1981066 h 2259621"/>
                <a:gd name="connsiteX1966" fmla="*/ 727339 w 2945193"/>
                <a:gd name="connsiteY1966" fmla="*/ 1985953 h 2259621"/>
                <a:gd name="connsiteX1967" fmla="*/ 790055 w 2945193"/>
                <a:gd name="connsiteY1967" fmla="*/ 1985953 h 2259621"/>
                <a:gd name="connsiteX1968" fmla="*/ 777023 w 2945193"/>
                <a:gd name="connsiteY1968" fmla="*/ 1998170 h 2259621"/>
                <a:gd name="connsiteX1969" fmla="*/ 767249 w 2945193"/>
                <a:gd name="connsiteY1969" fmla="*/ 2006315 h 2259621"/>
                <a:gd name="connsiteX1970" fmla="*/ 759104 w 2945193"/>
                <a:gd name="connsiteY1970" fmla="*/ 2007130 h 2259621"/>
                <a:gd name="connsiteX1971" fmla="*/ 759104 w 2945193"/>
                <a:gd name="connsiteY1971" fmla="*/ 2007130 h 2259621"/>
                <a:gd name="connsiteX1972" fmla="*/ 759104 w 2945193"/>
                <a:gd name="connsiteY1972" fmla="*/ 2007130 h 2259621"/>
                <a:gd name="connsiteX1973" fmla="*/ 759104 w 2945193"/>
                <a:gd name="connsiteY1973" fmla="*/ 2007130 h 2259621"/>
                <a:gd name="connsiteX1974" fmla="*/ 753403 w 2945193"/>
                <a:gd name="connsiteY1974" fmla="*/ 2012831 h 2259621"/>
                <a:gd name="connsiteX1975" fmla="*/ 745258 w 2945193"/>
                <a:gd name="connsiteY1975" fmla="*/ 2008759 h 2259621"/>
                <a:gd name="connsiteX1976" fmla="*/ 749330 w 2945193"/>
                <a:gd name="connsiteY1976" fmla="*/ 2001428 h 2259621"/>
                <a:gd name="connsiteX1977" fmla="*/ 741185 w 2945193"/>
                <a:gd name="connsiteY1977" fmla="*/ 1998985 h 2259621"/>
                <a:gd name="connsiteX1978" fmla="*/ 745258 w 2945193"/>
                <a:gd name="connsiteY1978" fmla="*/ 1991654 h 2259621"/>
                <a:gd name="connsiteX1979" fmla="*/ 748516 w 2945193"/>
                <a:gd name="connsiteY1979" fmla="*/ 1983510 h 2259621"/>
                <a:gd name="connsiteX1980" fmla="*/ 746887 w 2945193"/>
                <a:gd name="connsiteY1980" fmla="*/ 1975365 h 2259621"/>
                <a:gd name="connsiteX1981" fmla="*/ 742814 w 2945193"/>
                <a:gd name="connsiteY1981" fmla="*/ 1976179 h 2259621"/>
                <a:gd name="connsiteX1982" fmla="*/ 754217 w 2945193"/>
                <a:gd name="connsiteY1982" fmla="*/ 1969663 h 2259621"/>
                <a:gd name="connsiteX1983" fmla="*/ 759918 w 2945193"/>
                <a:gd name="connsiteY1983" fmla="*/ 1965591 h 2259621"/>
                <a:gd name="connsiteX1984" fmla="*/ 763176 w 2945193"/>
                <a:gd name="connsiteY1984" fmla="*/ 1968849 h 2259621"/>
                <a:gd name="connsiteX1985" fmla="*/ 763991 w 2945193"/>
                <a:gd name="connsiteY1985" fmla="*/ 1969663 h 2259621"/>
                <a:gd name="connsiteX1986" fmla="*/ 768063 w 2945193"/>
                <a:gd name="connsiteY1986" fmla="*/ 1973736 h 2259621"/>
                <a:gd name="connsiteX1987" fmla="*/ 778652 w 2945193"/>
                <a:gd name="connsiteY1987" fmla="*/ 1981066 h 2259621"/>
                <a:gd name="connsiteX1988" fmla="*/ 790055 w 2945193"/>
                <a:gd name="connsiteY1988" fmla="*/ 1985953 h 2259621"/>
                <a:gd name="connsiteX1989" fmla="*/ 790055 w 2945193"/>
                <a:gd name="connsiteY1989" fmla="*/ 1985953 h 2259621"/>
                <a:gd name="connsiteX1990" fmla="*/ 809602 w 2945193"/>
                <a:gd name="connsiteY1990" fmla="*/ 1934640 h 2259621"/>
                <a:gd name="connsiteX1991" fmla="*/ 808788 w 2945193"/>
                <a:gd name="connsiteY1991" fmla="*/ 1934640 h 2259621"/>
                <a:gd name="connsiteX1992" fmla="*/ 807159 w 2945193"/>
                <a:gd name="connsiteY1992" fmla="*/ 1931382 h 2259621"/>
                <a:gd name="connsiteX1993" fmla="*/ 807974 w 2945193"/>
                <a:gd name="connsiteY1993" fmla="*/ 1930568 h 2259621"/>
                <a:gd name="connsiteX1994" fmla="*/ 812046 w 2945193"/>
                <a:gd name="connsiteY1994" fmla="*/ 1932197 h 2259621"/>
                <a:gd name="connsiteX1995" fmla="*/ 809602 w 2945193"/>
                <a:gd name="connsiteY1995" fmla="*/ 1934640 h 2259621"/>
                <a:gd name="connsiteX1996" fmla="*/ 1014854 w 2945193"/>
                <a:gd name="connsiteY1996" fmla="*/ 2223784 h 2259621"/>
                <a:gd name="connsiteX1997" fmla="*/ 1018926 w 2945193"/>
                <a:gd name="connsiteY1997" fmla="*/ 2212381 h 2259621"/>
                <a:gd name="connsiteX1998" fmla="*/ 1014854 w 2945193"/>
                <a:gd name="connsiteY1998" fmla="*/ 2223784 h 2259621"/>
                <a:gd name="connsiteX1999" fmla="*/ 1057207 w 2945193"/>
                <a:gd name="connsiteY1999" fmla="*/ 2238445 h 2259621"/>
                <a:gd name="connsiteX2000" fmla="*/ 1054764 w 2945193"/>
                <a:gd name="connsiteY2000" fmla="*/ 2239260 h 2259621"/>
                <a:gd name="connsiteX2001" fmla="*/ 1050691 w 2945193"/>
                <a:gd name="connsiteY2001" fmla="*/ 2248219 h 2259621"/>
                <a:gd name="connsiteX2002" fmla="*/ 1054764 w 2945193"/>
                <a:gd name="connsiteY2002" fmla="*/ 2238445 h 2259621"/>
                <a:gd name="connsiteX2003" fmla="*/ 1058021 w 2945193"/>
                <a:gd name="connsiteY2003" fmla="*/ 2231115 h 2259621"/>
                <a:gd name="connsiteX2004" fmla="*/ 1058836 w 2945193"/>
                <a:gd name="connsiteY2004" fmla="*/ 2234372 h 2259621"/>
                <a:gd name="connsiteX2005" fmla="*/ 1057207 w 2945193"/>
                <a:gd name="connsiteY2005" fmla="*/ 2238445 h 2259621"/>
                <a:gd name="connsiteX2006" fmla="*/ 1066166 w 2945193"/>
                <a:gd name="connsiteY2006" fmla="*/ 2222970 h 2259621"/>
                <a:gd name="connsiteX2007" fmla="*/ 1066166 w 2945193"/>
                <a:gd name="connsiteY2007" fmla="*/ 2222970 h 2259621"/>
                <a:gd name="connsiteX2008" fmla="*/ 1061280 w 2945193"/>
                <a:gd name="connsiteY2008" fmla="*/ 2225413 h 2259621"/>
                <a:gd name="connsiteX2009" fmla="*/ 1069424 w 2945193"/>
                <a:gd name="connsiteY2009" fmla="*/ 2212381 h 2259621"/>
                <a:gd name="connsiteX2010" fmla="*/ 1069424 w 2945193"/>
                <a:gd name="connsiteY2010" fmla="*/ 2218082 h 2259621"/>
                <a:gd name="connsiteX2011" fmla="*/ 1071868 w 2945193"/>
                <a:gd name="connsiteY2011" fmla="*/ 2220526 h 2259621"/>
                <a:gd name="connsiteX2012" fmla="*/ 1066166 w 2945193"/>
                <a:gd name="connsiteY2012" fmla="*/ 2222970 h 2259621"/>
                <a:gd name="connsiteX2013" fmla="*/ 1075126 w 2945193"/>
                <a:gd name="connsiteY2013" fmla="*/ 2204236 h 2259621"/>
                <a:gd name="connsiteX2014" fmla="*/ 1073497 w 2945193"/>
                <a:gd name="connsiteY2014" fmla="*/ 2205865 h 2259621"/>
                <a:gd name="connsiteX2015" fmla="*/ 1080828 w 2945193"/>
                <a:gd name="connsiteY2015" fmla="*/ 2193648 h 2259621"/>
                <a:gd name="connsiteX2016" fmla="*/ 1086529 w 2945193"/>
                <a:gd name="connsiteY2016" fmla="*/ 2188761 h 2259621"/>
                <a:gd name="connsiteX2017" fmla="*/ 1085714 w 2945193"/>
                <a:gd name="connsiteY2017" fmla="*/ 2192019 h 2259621"/>
                <a:gd name="connsiteX2018" fmla="*/ 1090601 w 2945193"/>
                <a:gd name="connsiteY2018" fmla="*/ 2187132 h 2259621"/>
                <a:gd name="connsiteX2019" fmla="*/ 1088158 w 2945193"/>
                <a:gd name="connsiteY2019" fmla="*/ 2192834 h 2259621"/>
                <a:gd name="connsiteX2020" fmla="*/ 1079198 w 2945193"/>
                <a:gd name="connsiteY2020" fmla="*/ 2201793 h 2259621"/>
                <a:gd name="connsiteX2021" fmla="*/ 1075126 w 2945193"/>
                <a:gd name="connsiteY2021" fmla="*/ 2204236 h 2259621"/>
                <a:gd name="connsiteX2022" fmla="*/ 1082456 w 2945193"/>
                <a:gd name="connsiteY2022" fmla="*/ 2201793 h 2259621"/>
                <a:gd name="connsiteX2023" fmla="*/ 1083271 w 2945193"/>
                <a:gd name="connsiteY2023" fmla="*/ 2200978 h 2259621"/>
                <a:gd name="connsiteX2024" fmla="*/ 1093045 w 2945193"/>
                <a:gd name="connsiteY2024" fmla="*/ 2196906 h 2259621"/>
                <a:gd name="connsiteX2025" fmla="*/ 1094673 w 2945193"/>
                <a:gd name="connsiteY2025" fmla="*/ 2196906 h 2259621"/>
                <a:gd name="connsiteX2026" fmla="*/ 1093045 w 2945193"/>
                <a:gd name="connsiteY2026" fmla="*/ 2197720 h 2259621"/>
                <a:gd name="connsiteX2027" fmla="*/ 1087343 w 2945193"/>
                <a:gd name="connsiteY2027" fmla="*/ 2202607 h 2259621"/>
                <a:gd name="connsiteX2028" fmla="*/ 1082456 w 2945193"/>
                <a:gd name="connsiteY2028" fmla="*/ 2201793 h 2259621"/>
                <a:gd name="connsiteX2029" fmla="*/ 1092230 w 2945193"/>
                <a:gd name="connsiteY2029" fmla="*/ 2207494 h 2259621"/>
                <a:gd name="connsiteX2030" fmla="*/ 1090601 w 2945193"/>
                <a:gd name="connsiteY2030" fmla="*/ 2208309 h 2259621"/>
                <a:gd name="connsiteX2031" fmla="*/ 1089787 w 2945193"/>
                <a:gd name="connsiteY2031" fmla="*/ 2204236 h 2259621"/>
                <a:gd name="connsiteX2032" fmla="*/ 1096303 w 2945193"/>
                <a:gd name="connsiteY2032" fmla="*/ 2200978 h 2259621"/>
                <a:gd name="connsiteX2033" fmla="*/ 1092230 w 2945193"/>
                <a:gd name="connsiteY2033" fmla="*/ 2207494 h 2259621"/>
                <a:gd name="connsiteX2034" fmla="*/ 1108520 w 2945193"/>
                <a:gd name="connsiteY2034" fmla="*/ 2171657 h 2259621"/>
                <a:gd name="connsiteX2035" fmla="*/ 1108520 w 2945193"/>
                <a:gd name="connsiteY2035" fmla="*/ 2171657 h 2259621"/>
                <a:gd name="connsiteX2036" fmla="*/ 1103633 w 2945193"/>
                <a:gd name="connsiteY2036" fmla="*/ 2175729 h 2259621"/>
                <a:gd name="connsiteX2037" fmla="*/ 1097117 w 2945193"/>
                <a:gd name="connsiteY2037" fmla="*/ 2180616 h 2259621"/>
                <a:gd name="connsiteX2038" fmla="*/ 1104447 w 2945193"/>
                <a:gd name="connsiteY2038" fmla="*/ 2168399 h 2259621"/>
                <a:gd name="connsiteX2039" fmla="*/ 1105262 w 2945193"/>
                <a:gd name="connsiteY2039" fmla="*/ 2170028 h 2259621"/>
                <a:gd name="connsiteX2040" fmla="*/ 1109335 w 2945193"/>
                <a:gd name="connsiteY2040" fmla="*/ 2165141 h 2259621"/>
                <a:gd name="connsiteX2041" fmla="*/ 1111778 w 2945193"/>
                <a:gd name="connsiteY2041" fmla="*/ 2163512 h 2259621"/>
                <a:gd name="connsiteX2042" fmla="*/ 1106891 w 2945193"/>
                <a:gd name="connsiteY2042" fmla="*/ 2168399 h 2259621"/>
                <a:gd name="connsiteX2043" fmla="*/ 1108520 w 2945193"/>
                <a:gd name="connsiteY2043" fmla="*/ 2171657 h 2259621"/>
                <a:gd name="connsiteX2044" fmla="*/ 1130511 w 2945193"/>
                <a:gd name="connsiteY2044" fmla="*/ 2176544 h 2259621"/>
                <a:gd name="connsiteX2045" fmla="*/ 1130511 w 2945193"/>
                <a:gd name="connsiteY2045" fmla="*/ 2175729 h 2259621"/>
                <a:gd name="connsiteX2046" fmla="*/ 1134584 w 2945193"/>
                <a:gd name="connsiteY2046" fmla="*/ 2172471 h 2259621"/>
                <a:gd name="connsiteX2047" fmla="*/ 1134584 w 2945193"/>
                <a:gd name="connsiteY2047" fmla="*/ 2172471 h 2259621"/>
                <a:gd name="connsiteX2048" fmla="*/ 1130511 w 2945193"/>
                <a:gd name="connsiteY2048" fmla="*/ 2176544 h 2259621"/>
                <a:gd name="connsiteX2049" fmla="*/ 1150873 w 2945193"/>
                <a:gd name="connsiteY2049" fmla="*/ 2165141 h 2259621"/>
                <a:gd name="connsiteX2050" fmla="*/ 1143543 w 2945193"/>
                <a:gd name="connsiteY2050" fmla="*/ 2170028 h 2259621"/>
                <a:gd name="connsiteX2051" fmla="*/ 1146801 w 2945193"/>
                <a:gd name="connsiteY2051" fmla="*/ 2165141 h 2259621"/>
                <a:gd name="connsiteX2052" fmla="*/ 1151688 w 2945193"/>
                <a:gd name="connsiteY2052" fmla="*/ 2162697 h 2259621"/>
                <a:gd name="connsiteX2053" fmla="*/ 1152502 w 2945193"/>
                <a:gd name="connsiteY2053" fmla="*/ 2162697 h 2259621"/>
                <a:gd name="connsiteX2054" fmla="*/ 1150873 w 2945193"/>
                <a:gd name="connsiteY2054" fmla="*/ 2165141 h 2259621"/>
                <a:gd name="connsiteX2055" fmla="*/ 1180195 w 2945193"/>
                <a:gd name="connsiteY2055" fmla="*/ 2207494 h 2259621"/>
                <a:gd name="connsiteX2056" fmla="*/ 1184267 w 2945193"/>
                <a:gd name="connsiteY2056" fmla="*/ 2205865 h 2259621"/>
                <a:gd name="connsiteX2057" fmla="*/ 1180195 w 2945193"/>
                <a:gd name="connsiteY2057" fmla="*/ 2207494 h 2259621"/>
                <a:gd name="connsiteX2058" fmla="*/ 1193227 w 2945193"/>
                <a:gd name="connsiteY2058" fmla="*/ 2031565 h 2259621"/>
                <a:gd name="connsiteX2059" fmla="*/ 1188340 w 2945193"/>
                <a:gd name="connsiteY2059" fmla="*/ 2033193 h 2259621"/>
                <a:gd name="connsiteX2060" fmla="*/ 1191598 w 2945193"/>
                <a:gd name="connsiteY2060" fmla="*/ 2025863 h 2259621"/>
                <a:gd name="connsiteX2061" fmla="*/ 1203815 w 2945193"/>
                <a:gd name="connsiteY2061" fmla="*/ 2019347 h 2259621"/>
                <a:gd name="connsiteX2062" fmla="*/ 1205444 w 2945193"/>
                <a:gd name="connsiteY2062" fmla="*/ 2017718 h 2259621"/>
                <a:gd name="connsiteX2063" fmla="*/ 1193227 w 2945193"/>
                <a:gd name="connsiteY2063" fmla="*/ 2031565 h 2259621"/>
                <a:gd name="connsiteX2064" fmla="*/ 1195670 w 2945193"/>
                <a:gd name="connsiteY2064" fmla="*/ 2195277 h 2259621"/>
                <a:gd name="connsiteX2065" fmla="*/ 1207888 w 2945193"/>
                <a:gd name="connsiteY2065" fmla="*/ 2187946 h 2259621"/>
                <a:gd name="connsiteX2066" fmla="*/ 1209517 w 2945193"/>
                <a:gd name="connsiteY2066" fmla="*/ 2187132 h 2259621"/>
                <a:gd name="connsiteX2067" fmla="*/ 1195670 w 2945193"/>
                <a:gd name="connsiteY2067" fmla="*/ 2195277 h 2259621"/>
                <a:gd name="connsiteX2068" fmla="*/ 1235580 w 2945193"/>
                <a:gd name="connsiteY2068" fmla="*/ 2177358 h 2259621"/>
                <a:gd name="connsiteX2069" fmla="*/ 1233951 w 2945193"/>
                <a:gd name="connsiteY2069" fmla="*/ 2177358 h 2259621"/>
                <a:gd name="connsiteX2070" fmla="*/ 1233951 w 2945193"/>
                <a:gd name="connsiteY2070" fmla="*/ 2174915 h 2259621"/>
                <a:gd name="connsiteX2071" fmla="*/ 1246169 w 2945193"/>
                <a:gd name="connsiteY2071" fmla="*/ 2170028 h 2259621"/>
                <a:gd name="connsiteX2072" fmla="*/ 1250241 w 2945193"/>
                <a:gd name="connsiteY2072" fmla="*/ 2170842 h 2259621"/>
                <a:gd name="connsiteX2073" fmla="*/ 1235580 w 2945193"/>
                <a:gd name="connsiteY2073" fmla="*/ 2177358 h 2259621"/>
                <a:gd name="connsiteX2074" fmla="*/ 2639760 w 2945193"/>
                <a:gd name="connsiteY2074" fmla="*/ 1732647 h 2259621"/>
                <a:gd name="connsiteX2075" fmla="*/ 2643832 w 2945193"/>
                <a:gd name="connsiteY2075" fmla="*/ 1736719 h 2259621"/>
                <a:gd name="connsiteX2076" fmla="*/ 2647905 w 2945193"/>
                <a:gd name="connsiteY2076" fmla="*/ 1734276 h 2259621"/>
                <a:gd name="connsiteX2077" fmla="*/ 2647090 w 2945193"/>
                <a:gd name="connsiteY2077" fmla="*/ 1735090 h 2259621"/>
                <a:gd name="connsiteX2078" fmla="*/ 2645461 w 2945193"/>
                <a:gd name="connsiteY2078" fmla="*/ 1736719 h 2259621"/>
                <a:gd name="connsiteX2079" fmla="*/ 2643832 w 2945193"/>
                <a:gd name="connsiteY2079" fmla="*/ 1736719 h 2259621"/>
                <a:gd name="connsiteX2080" fmla="*/ 2643832 w 2945193"/>
                <a:gd name="connsiteY2080" fmla="*/ 1736719 h 2259621"/>
                <a:gd name="connsiteX2081" fmla="*/ 2643832 w 2945193"/>
                <a:gd name="connsiteY2081" fmla="*/ 1736719 h 2259621"/>
                <a:gd name="connsiteX2082" fmla="*/ 2631615 w 2945193"/>
                <a:gd name="connsiteY2082" fmla="*/ 1737534 h 2259621"/>
                <a:gd name="connsiteX2083" fmla="*/ 2627543 w 2945193"/>
                <a:gd name="connsiteY2083" fmla="*/ 1741606 h 2259621"/>
                <a:gd name="connsiteX2084" fmla="*/ 2627543 w 2945193"/>
                <a:gd name="connsiteY2084" fmla="*/ 1741606 h 2259621"/>
                <a:gd name="connsiteX2085" fmla="*/ 2627543 w 2945193"/>
                <a:gd name="connsiteY2085" fmla="*/ 1741606 h 2259621"/>
                <a:gd name="connsiteX2086" fmla="*/ 2622656 w 2945193"/>
                <a:gd name="connsiteY2086" fmla="*/ 1736719 h 2259621"/>
                <a:gd name="connsiteX2087" fmla="*/ 2620212 w 2945193"/>
                <a:gd name="connsiteY2087" fmla="*/ 1739977 h 2259621"/>
                <a:gd name="connsiteX2088" fmla="*/ 2616140 w 2945193"/>
                <a:gd name="connsiteY2088" fmla="*/ 1733461 h 2259621"/>
                <a:gd name="connsiteX2089" fmla="*/ 2639760 w 2945193"/>
                <a:gd name="connsiteY2089" fmla="*/ 1732647 h 2259621"/>
                <a:gd name="connsiteX2090" fmla="*/ 2590891 w 2945193"/>
                <a:gd name="connsiteY2090" fmla="*/ 1739163 h 2259621"/>
                <a:gd name="connsiteX2091" fmla="*/ 2604737 w 2945193"/>
                <a:gd name="connsiteY2091" fmla="*/ 1739977 h 2259621"/>
                <a:gd name="connsiteX2092" fmla="*/ 2609624 w 2945193"/>
                <a:gd name="connsiteY2092" fmla="*/ 1743235 h 2259621"/>
                <a:gd name="connsiteX2093" fmla="*/ 2616954 w 2945193"/>
                <a:gd name="connsiteY2093" fmla="*/ 1742421 h 2259621"/>
                <a:gd name="connsiteX2094" fmla="*/ 2606366 w 2945193"/>
                <a:gd name="connsiteY2094" fmla="*/ 1745679 h 2259621"/>
                <a:gd name="connsiteX2095" fmla="*/ 2591705 w 2945193"/>
                <a:gd name="connsiteY2095" fmla="*/ 1748937 h 2259621"/>
                <a:gd name="connsiteX2096" fmla="*/ 2591705 w 2945193"/>
                <a:gd name="connsiteY2096" fmla="*/ 1748122 h 2259621"/>
                <a:gd name="connsiteX2097" fmla="*/ 2584375 w 2945193"/>
                <a:gd name="connsiteY2097" fmla="*/ 1748122 h 2259621"/>
                <a:gd name="connsiteX2098" fmla="*/ 2586818 w 2945193"/>
                <a:gd name="connsiteY2098" fmla="*/ 1743235 h 2259621"/>
                <a:gd name="connsiteX2099" fmla="*/ 2574601 w 2945193"/>
                <a:gd name="connsiteY2099" fmla="*/ 1744050 h 2259621"/>
                <a:gd name="connsiteX2100" fmla="*/ 2590891 w 2945193"/>
                <a:gd name="connsiteY2100" fmla="*/ 1739163 h 2259621"/>
                <a:gd name="connsiteX2101" fmla="*/ 2537949 w 2945193"/>
                <a:gd name="connsiteY2101" fmla="*/ 1732647 h 2259621"/>
                <a:gd name="connsiteX2102" fmla="*/ 2537134 w 2945193"/>
                <a:gd name="connsiteY2102" fmla="*/ 1735905 h 2259621"/>
                <a:gd name="connsiteX2103" fmla="*/ 2532247 w 2945193"/>
                <a:gd name="connsiteY2103" fmla="*/ 1733461 h 2259621"/>
                <a:gd name="connsiteX2104" fmla="*/ 2537949 w 2945193"/>
                <a:gd name="connsiteY2104" fmla="*/ 1732647 h 2259621"/>
                <a:gd name="connsiteX2105" fmla="*/ 2465459 w 2945193"/>
                <a:gd name="connsiteY2105" fmla="*/ 1729389 h 2259621"/>
                <a:gd name="connsiteX2106" fmla="*/ 2476048 w 2945193"/>
                <a:gd name="connsiteY2106" fmla="*/ 1730203 h 2259621"/>
                <a:gd name="connsiteX2107" fmla="*/ 2465459 w 2945193"/>
                <a:gd name="connsiteY2107" fmla="*/ 1729389 h 2259621"/>
                <a:gd name="connsiteX2108" fmla="*/ 2465459 w 2945193"/>
                <a:gd name="connsiteY2108" fmla="*/ 1729389 h 2259621"/>
                <a:gd name="connsiteX2109" fmla="*/ 2436138 w 2945193"/>
                <a:gd name="connsiteY2109" fmla="*/ 1745679 h 2259621"/>
                <a:gd name="connsiteX2110" fmla="*/ 2440210 w 2945193"/>
                <a:gd name="connsiteY2110" fmla="*/ 1746493 h 2259621"/>
                <a:gd name="connsiteX2111" fmla="*/ 2432880 w 2945193"/>
                <a:gd name="connsiteY2111" fmla="*/ 1749751 h 2259621"/>
                <a:gd name="connsiteX2112" fmla="*/ 2422291 w 2945193"/>
                <a:gd name="connsiteY2112" fmla="*/ 1754638 h 2259621"/>
                <a:gd name="connsiteX2113" fmla="*/ 2418219 w 2945193"/>
                <a:gd name="connsiteY2113" fmla="*/ 1752195 h 2259621"/>
                <a:gd name="connsiteX2114" fmla="*/ 2436138 w 2945193"/>
                <a:gd name="connsiteY2114" fmla="*/ 1745679 h 2259621"/>
                <a:gd name="connsiteX2115" fmla="*/ 2400300 w 2945193"/>
                <a:gd name="connsiteY2115" fmla="*/ 1772557 h 2259621"/>
                <a:gd name="connsiteX2116" fmla="*/ 2419033 w 2945193"/>
                <a:gd name="connsiteY2116" fmla="*/ 1771742 h 2259621"/>
                <a:gd name="connsiteX2117" fmla="*/ 2414961 w 2945193"/>
                <a:gd name="connsiteY2117" fmla="*/ 1776629 h 2259621"/>
                <a:gd name="connsiteX2118" fmla="*/ 2414146 w 2945193"/>
                <a:gd name="connsiteY2118" fmla="*/ 1777444 h 2259621"/>
                <a:gd name="connsiteX2119" fmla="*/ 2397856 w 2945193"/>
                <a:gd name="connsiteY2119" fmla="*/ 1775815 h 2259621"/>
                <a:gd name="connsiteX2120" fmla="*/ 2397856 w 2945193"/>
                <a:gd name="connsiteY2120" fmla="*/ 1775000 h 2259621"/>
                <a:gd name="connsiteX2121" fmla="*/ 2400300 w 2945193"/>
                <a:gd name="connsiteY2121" fmla="*/ 1772557 h 2259621"/>
                <a:gd name="connsiteX2122" fmla="*/ 2820577 w 2945193"/>
                <a:gd name="connsiteY2122" fmla="*/ 1466309 h 2259621"/>
                <a:gd name="connsiteX2123" fmla="*/ 2818133 w 2945193"/>
                <a:gd name="connsiteY2123" fmla="*/ 1476897 h 2259621"/>
                <a:gd name="connsiteX2124" fmla="*/ 2817318 w 2945193"/>
                <a:gd name="connsiteY2124" fmla="*/ 1471196 h 2259621"/>
                <a:gd name="connsiteX2125" fmla="*/ 2820577 w 2945193"/>
                <a:gd name="connsiteY2125" fmla="*/ 1466309 h 2259621"/>
                <a:gd name="connsiteX2126" fmla="*/ 2815690 w 2945193"/>
                <a:gd name="connsiteY2126" fmla="*/ 1445132 h 2259621"/>
                <a:gd name="connsiteX2127" fmla="*/ 2813246 w 2945193"/>
                <a:gd name="connsiteY2127" fmla="*/ 1450834 h 2259621"/>
                <a:gd name="connsiteX2128" fmla="*/ 2811617 w 2945193"/>
                <a:gd name="connsiteY2128" fmla="*/ 1449205 h 2259621"/>
                <a:gd name="connsiteX2129" fmla="*/ 2815690 w 2945193"/>
                <a:gd name="connsiteY2129" fmla="*/ 1445132 h 2259621"/>
                <a:gd name="connsiteX2130" fmla="*/ 2779038 w 2945193"/>
                <a:gd name="connsiteY2130" fmla="*/ 1423955 h 2259621"/>
                <a:gd name="connsiteX2131" fmla="*/ 2781481 w 2945193"/>
                <a:gd name="connsiteY2131" fmla="*/ 1426399 h 2259621"/>
                <a:gd name="connsiteX2132" fmla="*/ 2774151 w 2945193"/>
                <a:gd name="connsiteY2132" fmla="*/ 1435358 h 2259621"/>
                <a:gd name="connsiteX2133" fmla="*/ 2774151 w 2945193"/>
                <a:gd name="connsiteY2133" fmla="*/ 1434544 h 2259621"/>
                <a:gd name="connsiteX2134" fmla="*/ 2769264 w 2945193"/>
                <a:gd name="connsiteY2134" fmla="*/ 1436173 h 2259621"/>
                <a:gd name="connsiteX2135" fmla="*/ 2779038 w 2945193"/>
                <a:gd name="connsiteY2135" fmla="*/ 1423955 h 2259621"/>
                <a:gd name="connsiteX2136" fmla="*/ 2731797 w 2945193"/>
                <a:gd name="connsiteY2136" fmla="*/ 1433729 h 2259621"/>
                <a:gd name="connsiteX2137" fmla="*/ 2735055 w 2945193"/>
                <a:gd name="connsiteY2137" fmla="*/ 1432100 h 2259621"/>
                <a:gd name="connsiteX2138" fmla="*/ 2742386 w 2945193"/>
                <a:gd name="connsiteY2138" fmla="*/ 1428028 h 2259621"/>
                <a:gd name="connsiteX2139" fmla="*/ 2752159 w 2945193"/>
                <a:gd name="connsiteY2139" fmla="*/ 1423955 h 2259621"/>
                <a:gd name="connsiteX2140" fmla="*/ 2754603 w 2945193"/>
                <a:gd name="connsiteY2140" fmla="*/ 1423955 h 2259621"/>
                <a:gd name="connsiteX2141" fmla="*/ 2750531 w 2945193"/>
                <a:gd name="connsiteY2141" fmla="*/ 1429657 h 2259621"/>
                <a:gd name="connsiteX2142" fmla="*/ 2733426 w 2945193"/>
                <a:gd name="connsiteY2142" fmla="*/ 1440245 h 2259621"/>
                <a:gd name="connsiteX2143" fmla="*/ 2729354 w 2945193"/>
                <a:gd name="connsiteY2143" fmla="*/ 1442689 h 2259621"/>
                <a:gd name="connsiteX2144" fmla="*/ 2729354 w 2945193"/>
                <a:gd name="connsiteY2144" fmla="*/ 1442689 h 2259621"/>
                <a:gd name="connsiteX2145" fmla="*/ 2731797 w 2945193"/>
                <a:gd name="connsiteY2145" fmla="*/ 1433729 h 2259621"/>
                <a:gd name="connsiteX2146" fmla="*/ 2923202 w 2945193"/>
                <a:gd name="connsiteY2146" fmla="*/ 1241510 h 2259621"/>
                <a:gd name="connsiteX2147" fmla="*/ 2928089 w 2945193"/>
                <a:gd name="connsiteY2147" fmla="*/ 1239881 h 2259621"/>
                <a:gd name="connsiteX2148" fmla="*/ 2924831 w 2945193"/>
                <a:gd name="connsiteY2148" fmla="*/ 1243953 h 2259621"/>
                <a:gd name="connsiteX2149" fmla="*/ 2922388 w 2945193"/>
                <a:gd name="connsiteY2149" fmla="*/ 1243139 h 2259621"/>
                <a:gd name="connsiteX2150" fmla="*/ 2923202 w 2945193"/>
                <a:gd name="connsiteY2150" fmla="*/ 1241510 h 2259621"/>
                <a:gd name="connsiteX2151" fmla="*/ 2370978 w 2945193"/>
                <a:gd name="connsiteY2151" fmla="*/ 602950 h 2259621"/>
                <a:gd name="connsiteX2152" fmla="*/ 2375866 w 2945193"/>
                <a:gd name="connsiteY2152" fmla="*/ 607837 h 2259621"/>
                <a:gd name="connsiteX2153" fmla="*/ 2370978 w 2945193"/>
                <a:gd name="connsiteY2153" fmla="*/ 608652 h 2259621"/>
                <a:gd name="connsiteX2154" fmla="*/ 2370978 w 2945193"/>
                <a:gd name="connsiteY2154" fmla="*/ 602950 h 2259621"/>
                <a:gd name="connsiteX2155" fmla="*/ 2362833 w 2945193"/>
                <a:gd name="connsiteY2155" fmla="*/ 585846 h 2259621"/>
                <a:gd name="connsiteX2156" fmla="*/ 2367721 w 2945193"/>
                <a:gd name="connsiteY2156" fmla="*/ 582588 h 2259621"/>
                <a:gd name="connsiteX2157" fmla="*/ 2369349 w 2945193"/>
                <a:gd name="connsiteY2157" fmla="*/ 589104 h 2259621"/>
                <a:gd name="connsiteX2158" fmla="*/ 2365277 w 2945193"/>
                <a:gd name="connsiteY2158" fmla="*/ 599692 h 2259621"/>
                <a:gd name="connsiteX2159" fmla="*/ 2363648 w 2945193"/>
                <a:gd name="connsiteY2159" fmla="*/ 593176 h 2259621"/>
                <a:gd name="connsiteX2160" fmla="*/ 2362833 w 2945193"/>
                <a:gd name="connsiteY2160" fmla="*/ 585846 h 2259621"/>
                <a:gd name="connsiteX2161" fmla="*/ 2326996 w 2945193"/>
                <a:gd name="connsiteY2161" fmla="*/ 591547 h 2259621"/>
                <a:gd name="connsiteX2162" fmla="*/ 2331883 w 2945193"/>
                <a:gd name="connsiteY2162" fmla="*/ 598878 h 2259621"/>
                <a:gd name="connsiteX2163" fmla="*/ 2326996 w 2945193"/>
                <a:gd name="connsiteY2163" fmla="*/ 591547 h 2259621"/>
                <a:gd name="connsiteX2164" fmla="*/ 2645461 w 2945193"/>
                <a:gd name="connsiteY2164" fmla="*/ 1250469 h 2259621"/>
                <a:gd name="connsiteX2165" fmla="*/ 2654421 w 2945193"/>
                <a:gd name="connsiteY2165" fmla="*/ 1248840 h 2259621"/>
                <a:gd name="connsiteX2166" fmla="*/ 2654421 w 2945193"/>
                <a:gd name="connsiteY2166" fmla="*/ 1252913 h 2259621"/>
                <a:gd name="connsiteX2167" fmla="*/ 2655235 w 2945193"/>
                <a:gd name="connsiteY2167" fmla="*/ 1253727 h 2259621"/>
                <a:gd name="connsiteX2168" fmla="*/ 2642203 w 2945193"/>
                <a:gd name="connsiteY2168" fmla="*/ 1253727 h 2259621"/>
                <a:gd name="connsiteX2169" fmla="*/ 2645461 w 2945193"/>
                <a:gd name="connsiteY2169" fmla="*/ 1250469 h 2259621"/>
                <a:gd name="connsiteX2170" fmla="*/ 2449170 w 2945193"/>
                <a:gd name="connsiteY2170" fmla="*/ 516614 h 2259621"/>
                <a:gd name="connsiteX2171" fmla="*/ 2461387 w 2945193"/>
                <a:gd name="connsiteY2171" fmla="*/ 523130 h 2259621"/>
                <a:gd name="connsiteX2172" fmla="*/ 2463830 w 2945193"/>
                <a:gd name="connsiteY2172" fmla="*/ 532090 h 2259621"/>
                <a:gd name="connsiteX2173" fmla="*/ 2445912 w 2945193"/>
                <a:gd name="connsiteY2173" fmla="*/ 528832 h 2259621"/>
                <a:gd name="connsiteX2174" fmla="*/ 2443468 w 2945193"/>
                <a:gd name="connsiteY2174" fmla="*/ 523945 h 2259621"/>
                <a:gd name="connsiteX2175" fmla="*/ 2434508 w 2945193"/>
                <a:gd name="connsiteY2175" fmla="*/ 516614 h 2259621"/>
                <a:gd name="connsiteX2176" fmla="*/ 2449170 w 2945193"/>
                <a:gd name="connsiteY2176" fmla="*/ 516614 h 2259621"/>
                <a:gd name="connsiteX2177" fmla="*/ 2456500 w 2945193"/>
                <a:gd name="connsiteY2177" fmla="*/ 545121 h 2259621"/>
                <a:gd name="connsiteX2178" fmla="*/ 2455685 w 2945193"/>
                <a:gd name="connsiteY2178" fmla="*/ 542678 h 2259621"/>
                <a:gd name="connsiteX2179" fmla="*/ 2462201 w 2945193"/>
                <a:gd name="connsiteY2179" fmla="*/ 542678 h 2259621"/>
                <a:gd name="connsiteX2180" fmla="*/ 2462201 w 2945193"/>
                <a:gd name="connsiteY2180" fmla="*/ 543493 h 2259621"/>
                <a:gd name="connsiteX2181" fmla="*/ 2462201 w 2945193"/>
                <a:gd name="connsiteY2181" fmla="*/ 545121 h 2259621"/>
                <a:gd name="connsiteX2182" fmla="*/ 2456500 w 2945193"/>
                <a:gd name="connsiteY2182" fmla="*/ 545121 h 2259621"/>
                <a:gd name="connsiteX2183" fmla="*/ 2459758 w 2945193"/>
                <a:gd name="connsiteY2183" fmla="*/ 558153 h 2259621"/>
                <a:gd name="connsiteX2184" fmla="*/ 2455685 w 2945193"/>
                <a:gd name="connsiteY2184" fmla="*/ 566298 h 2259621"/>
                <a:gd name="connsiteX2185" fmla="*/ 2454056 w 2945193"/>
                <a:gd name="connsiteY2185" fmla="*/ 565484 h 2259621"/>
                <a:gd name="connsiteX2186" fmla="*/ 2458129 w 2945193"/>
                <a:gd name="connsiteY2186" fmla="*/ 557339 h 2259621"/>
                <a:gd name="connsiteX2187" fmla="*/ 2459758 w 2945193"/>
                <a:gd name="connsiteY2187" fmla="*/ 558153 h 2259621"/>
                <a:gd name="connsiteX2188" fmla="*/ 2432065 w 2945193"/>
                <a:gd name="connsiteY2188" fmla="*/ 568742 h 2259621"/>
                <a:gd name="connsiteX2189" fmla="*/ 2431251 w 2945193"/>
                <a:gd name="connsiteY2189" fmla="*/ 569556 h 2259621"/>
                <a:gd name="connsiteX2190" fmla="*/ 2414961 w 2945193"/>
                <a:gd name="connsiteY2190" fmla="*/ 570371 h 2259621"/>
                <a:gd name="connsiteX2191" fmla="*/ 2414961 w 2945193"/>
                <a:gd name="connsiteY2191" fmla="*/ 564669 h 2259621"/>
                <a:gd name="connsiteX2192" fmla="*/ 2419848 w 2945193"/>
                <a:gd name="connsiteY2192" fmla="*/ 567927 h 2259621"/>
                <a:gd name="connsiteX2193" fmla="*/ 2419033 w 2945193"/>
                <a:gd name="connsiteY2193" fmla="*/ 560597 h 2259621"/>
                <a:gd name="connsiteX2194" fmla="*/ 2431251 w 2945193"/>
                <a:gd name="connsiteY2194" fmla="*/ 557339 h 2259621"/>
                <a:gd name="connsiteX2195" fmla="*/ 2427178 w 2945193"/>
                <a:gd name="connsiteY2195" fmla="*/ 565484 h 2259621"/>
                <a:gd name="connsiteX2196" fmla="*/ 2433694 w 2945193"/>
                <a:gd name="connsiteY2196" fmla="*/ 563040 h 2259621"/>
                <a:gd name="connsiteX2197" fmla="*/ 2437767 w 2945193"/>
                <a:gd name="connsiteY2197" fmla="*/ 567113 h 2259621"/>
                <a:gd name="connsiteX2198" fmla="*/ 2440210 w 2945193"/>
                <a:gd name="connsiteY2198" fmla="*/ 564669 h 2259621"/>
                <a:gd name="connsiteX2199" fmla="*/ 2436138 w 2945193"/>
                <a:gd name="connsiteY2199" fmla="*/ 558153 h 2259621"/>
                <a:gd name="connsiteX2200" fmla="*/ 2436952 w 2945193"/>
                <a:gd name="connsiteY2200" fmla="*/ 557339 h 2259621"/>
                <a:gd name="connsiteX2201" fmla="*/ 2441839 w 2945193"/>
                <a:gd name="connsiteY2201" fmla="*/ 557339 h 2259621"/>
                <a:gd name="connsiteX2202" fmla="*/ 2442653 w 2945193"/>
                <a:gd name="connsiteY2202" fmla="*/ 560597 h 2259621"/>
                <a:gd name="connsiteX2203" fmla="*/ 2445912 w 2945193"/>
                <a:gd name="connsiteY2203" fmla="*/ 559782 h 2259621"/>
                <a:gd name="connsiteX2204" fmla="*/ 2448355 w 2945193"/>
                <a:gd name="connsiteY2204" fmla="*/ 568742 h 2259621"/>
                <a:gd name="connsiteX2205" fmla="*/ 2432065 w 2945193"/>
                <a:gd name="connsiteY2205" fmla="*/ 569556 h 2259621"/>
                <a:gd name="connsiteX2206" fmla="*/ 2432065 w 2945193"/>
                <a:gd name="connsiteY2206" fmla="*/ 568742 h 2259621"/>
                <a:gd name="connsiteX2207" fmla="*/ 2432065 w 2945193"/>
                <a:gd name="connsiteY2207" fmla="*/ 568742 h 2259621"/>
                <a:gd name="connsiteX2208" fmla="*/ 2431251 w 2945193"/>
                <a:gd name="connsiteY2208" fmla="*/ 519872 h 2259621"/>
                <a:gd name="connsiteX2209" fmla="*/ 2432880 w 2945193"/>
                <a:gd name="connsiteY2209" fmla="*/ 527203 h 2259621"/>
                <a:gd name="connsiteX2210" fmla="*/ 2424735 w 2945193"/>
                <a:gd name="connsiteY2210" fmla="*/ 527203 h 2259621"/>
                <a:gd name="connsiteX2211" fmla="*/ 2431251 w 2945193"/>
                <a:gd name="connsiteY2211" fmla="*/ 519872 h 2259621"/>
                <a:gd name="connsiteX2212" fmla="*/ 2409259 w 2945193"/>
                <a:gd name="connsiteY2212" fmla="*/ 542678 h 2259621"/>
                <a:gd name="connsiteX2213" fmla="*/ 2420663 w 2945193"/>
                <a:gd name="connsiteY2213" fmla="*/ 545121 h 2259621"/>
                <a:gd name="connsiteX2214" fmla="*/ 2423106 w 2945193"/>
                <a:gd name="connsiteY2214" fmla="*/ 549194 h 2259621"/>
                <a:gd name="connsiteX2215" fmla="*/ 2421477 w 2945193"/>
                <a:gd name="connsiteY2215" fmla="*/ 550008 h 2259621"/>
                <a:gd name="connsiteX2216" fmla="*/ 2415775 w 2945193"/>
                <a:gd name="connsiteY2216" fmla="*/ 551637 h 2259621"/>
                <a:gd name="connsiteX2217" fmla="*/ 2402744 w 2945193"/>
                <a:gd name="connsiteY2217" fmla="*/ 551637 h 2259621"/>
                <a:gd name="connsiteX2218" fmla="*/ 2409259 w 2945193"/>
                <a:gd name="connsiteY2218" fmla="*/ 542678 h 2259621"/>
                <a:gd name="connsiteX2219" fmla="*/ 2366092 w 2945193"/>
                <a:gd name="connsiteY2219" fmla="*/ 469374 h 2259621"/>
                <a:gd name="connsiteX2220" fmla="*/ 2370164 w 2945193"/>
                <a:gd name="connsiteY2220" fmla="*/ 468559 h 2259621"/>
                <a:gd name="connsiteX2221" fmla="*/ 2371793 w 2945193"/>
                <a:gd name="connsiteY2221" fmla="*/ 476704 h 2259621"/>
                <a:gd name="connsiteX2222" fmla="*/ 2365277 w 2945193"/>
                <a:gd name="connsiteY2222" fmla="*/ 471003 h 2259621"/>
                <a:gd name="connsiteX2223" fmla="*/ 2366092 w 2945193"/>
                <a:gd name="connsiteY2223" fmla="*/ 469374 h 2259621"/>
                <a:gd name="connsiteX2224" fmla="*/ 2369349 w 2945193"/>
                <a:gd name="connsiteY2224" fmla="*/ 568742 h 2259621"/>
                <a:gd name="connsiteX2225" fmla="*/ 2369349 w 2945193"/>
                <a:gd name="connsiteY2225" fmla="*/ 570371 h 2259621"/>
                <a:gd name="connsiteX2226" fmla="*/ 2373422 w 2945193"/>
                <a:gd name="connsiteY2226" fmla="*/ 568742 h 2259621"/>
                <a:gd name="connsiteX2227" fmla="*/ 2375051 w 2945193"/>
                <a:gd name="connsiteY2227" fmla="*/ 574443 h 2259621"/>
                <a:gd name="connsiteX2228" fmla="*/ 2379938 w 2945193"/>
                <a:gd name="connsiteY2228" fmla="*/ 568742 h 2259621"/>
                <a:gd name="connsiteX2229" fmla="*/ 2381567 w 2945193"/>
                <a:gd name="connsiteY2229" fmla="*/ 568742 h 2259621"/>
                <a:gd name="connsiteX2230" fmla="*/ 2384011 w 2945193"/>
                <a:gd name="connsiteY2230" fmla="*/ 572814 h 2259621"/>
                <a:gd name="connsiteX2231" fmla="*/ 2385639 w 2945193"/>
                <a:gd name="connsiteY2231" fmla="*/ 576072 h 2259621"/>
                <a:gd name="connsiteX2232" fmla="*/ 2384011 w 2945193"/>
                <a:gd name="connsiteY2232" fmla="*/ 576886 h 2259621"/>
                <a:gd name="connsiteX2233" fmla="*/ 2385639 w 2945193"/>
                <a:gd name="connsiteY2233" fmla="*/ 577701 h 2259621"/>
                <a:gd name="connsiteX2234" fmla="*/ 2385639 w 2945193"/>
                <a:gd name="connsiteY2234" fmla="*/ 578516 h 2259621"/>
                <a:gd name="connsiteX2235" fmla="*/ 2386454 w 2945193"/>
                <a:gd name="connsiteY2235" fmla="*/ 585031 h 2259621"/>
                <a:gd name="connsiteX2236" fmla="*/ 2388897 w 2945193"/>
                <a:gd name="connsiteY2236" fmla="*/ 591547 h 2259621"/>
                <a:gd name="connsiteX2237" fmla="*/ 2390526 w 2945193"/>
                <a:gd name="connsiteY2237" fmla="*/ 595620 h 2259621"/>
                <a:gd name="connsiteX2238" fmla="*/ 2397856 w 2945193"/>
                <a:gd name="connsiteY2238" fmla="*/ 593176 h 2259621"/>
                <a:gd name="connsiteX2239" fmla="*/ 2399486 w 2945193"/>
                <a:gd name="connsiteY2239" fmla="*/ 594805 h 2259621"/>
                <a:gd name="connsiteX2240" fmla="*/ 2395413 w 2945193"/>
                <a:gd name="connsiteY2240" fmla="*/ 597249 h 2259621"/>
                <a:gd name="connsiteX2241" fmla="*/ 2403558 w 2945193"/>
                <a:gd name="connsiteY2241" fmla="*/ 596434 h 2259621"/>
                <a:gd name="connsiteX2242" fmla="*/ 2406816 w 2945193"/>
                <a:gd name="connsiteY2242" fmla="*/ 599692 h 2259621"/>
                <a:gd name="connsiteX2243" fmla="*/ 2424735 w 2945193"/>
                <a:gd name="connsiteY2243" fmla="*/ 585846 h 2259621"/>
                <a:gd name="connsiteX2244" fmla="*/ 2419848 w 2945193"/>
                <a:gd name="connsiteY2244" fmla="*/ 588289 h 2259621"/>
                <a:gd name="connsiteX2245" fmla="*/ 2420663 w 2945193"/>
                <a:gd name="connsiteY2245" fmla="*/ 584217 h 2259621"/>
                <a:gd name="connsiteX2246" fmla="*/ 2432880 w 2945193"/>
                <a:gd name="connsiteY2246" fmla="*/ 583402 h 2259621"/>
                <a:gd name="connsiteX2247" fmla="*/ 2450798 w 2945193"/>
                <a:gd name="connsiteY2247" fmla="*/ 587475 h 2259621"/>
                <a:gd name="connsiteX2248" fmla="*/ 2456500 w 2945193"/>
                <a:gd name="connsiteY2248" fmla="*/ 589918 h 2259621"/>
                <a:gd name="connsiteX2249" fmla="*/ 2454871 w 2945193"/>
                <a:gd name="connsiteY2249" fmla="*/ 593991 h 2259621"/>
                <a:gd name="connsiteX2250" fmla="*/ 2451613 w 2945193"/>
                <a:gd name="connsiteY2250" fmla="*/ 603765 h 2259621"/>
                <a:gd name="connsiteX2251" fmla="*/ 2458943 w 2945193"/>
                <a:gd name="connsiteY2251" fmla="*/ 598878 h 2259621"/>
                <a:gd name="connsiteX2252" fmla="*/ 2458943 w 2945193"/>
                <a:gd name="connsiteY2252" fmla="*/ 605394 h 2259621"/>
                <a:gd name="connsiteX2253" fmla="*/ 2463016 w 2945193"/>
                <a:gd name="connsiteY2253" fmla="*/ 603765 h 2259621"/>
                <a:gd name="connsiteX2254" fmla="*/ 2466274 w 2945193"/>
                <a:gd name="connsiteY2254" fmla="*/ 611910 h 2259621"/>
                <a:gd name="connsiteX2255" fmla="*/ 2467903 w 2945193"/>
                <a:gd name="connsiteY2255" fmla="*/ 616797 h 2259621"/>
                <a:gd name="connsiteX2256" fmla="*/ 2464645 w 2945193"/>
                <a:gd name="connsiteY2256" fmla="*/ 616797 h 2259621"/>
                <a:gd name="connsiteX2257" fmla="*/ 2442653 w 2945193"/>
                <a:gd name="connsiteY2257" fmla="*/ 622498 h 2259621"/>
                <a:gd name="connsiteX2258" fmla="*/ 2441839 w 2945193"/>
                <a:gd name="connsiteY2258" fmla="*/ 615982 h 2259621"/>
                <a:gd name="connsiteX2259" fmla="*/ 2437767 w 2945193"/>
                <a:gd name="connsiteY2259" fmla="*/ 612724 h 2259621"/>
                <a:gd name="connsiteX2260" fmla="*/ 2411703 w 2945193"/>
                <a:gd name="connsiteY2260" fmla="*/ 607023 h 2259621"/>
                <a:gd name="connsiteX2261" fmla="*/ 2404373 w 2945193"/>
                <a:gd name="connsiteY2261" fmla="*/ 608652 h 2259621"/>
                <a:gd name="connsiteX2262" fmla="*/ 2393784 w 2945193"/>
                <a:gd name="connsiteY2262" fmla="*/ 615982 h 2259621"/>
                <a:gd name="connsiteX2263" fmla="*/ 2391341 w 2945193"/>
                <a:gd name="connsiteY2263" fmla="*/ 625756 h 2259621"/>
                <a:gd name="connsiteX2264" fmla="*/ 2391341 w 2945193"/>
                <a:gd name="connsiteY2264" fmla="*/ 625756 h 2259621"/>
                <a:gd name="connsiteX2265" fmla="*/ 2375051 w 2945193"/>
                <a:gd name="connsiteY2265" fmla="*/ 626570 h 2259621"/>
                <a:gd name="connsiteX2266" fmla="*/ 2377494 w 2945193"/>
                <a:gd name="connsiteY2266" fmla="*/ 620055 h 2259621"/>
                <a:gd name="connsiteX2267" fmla="*/ 2378309 w 2945193"/>
                <a:gd name="connsiteY2267" fmla="*/ 616797 h 2259621"/>
                <a:gd name="connsiteX2268" fmla="*/ 2376680 w 2945193"/>
                <a:gd name="connsiteY2268" fmla="*/ 607023 h 2259621"/>
                <a:gd name="connsiteX2269" fmla="*/ 2381567 w 2945193"/>
                <a:gd name="connsiteY2269" fmla="*/ 592362 h 2259621"/>
                <a:gd name="connsiteX2270" fmla="*/ 2380752 w 2945193"/>
                <a:gd name="connsiteY2270" fmla="*/ 590733 h 2259621"/>
                <a:gd name="connsiteX2271" fmla="*/ 2379938 w 2945193"/>
                <a:gd name="connsiteY2271" fmla="*/ 582588 h 2259621"/>
                <a:gd name="connsiteX2272" fmla="*/ 2382381 w 2945193"/>
                <a:gd name="connsiteY2272" fmla="*/ 576072 h 2259621"/>
                <a:gd name="connsiteX2273" fmla="*/ 2374237 w 2945193"/>
                <a:gd name="connsiteY2273" fmla="*/ 580959 h 2259621"/>
                <a:gd name="connsiteX2274" fmla="*/ 2366092 w 2945193"/>
                <a:gd name="connsiteY2274" fmla="*/ 574443 h 2259621"/>
                <a:gd name="connsiteX2275" fmla="*/ 2363648 w 2945193"/>
                <a:gd name="connsiteY2275" fmla="*/ 567927 h 2259621"/>
                <a:gd name="connsiteX2276" fmla="*/ 2369349 w 2945193"/>
                <a:gd name="connsiteY2276" fmla="*/ 568742 h 2259621"/>
                <a:gd name="connsiteX2277" fmla="*/ 2359576 w 2945193"/>
                <a:gd name="connsiteY2277" fmla="*/ 541863 h 2259621"/>
                <a:gd name="connsiteX2278" fmla="*/ 2357132 w 2945193"/>
                <a:gd name="connsiteY2278" fmla="*/ 545936 h 2259621"/>
                <a:gd name="connsiteX2279" fmla="*/ 2356318 w 2945193"/>
                <a:gd name="connsiteY2279" fmla="*/ 545936 h 2259621"/>
                <a:gd name="connsiteX2280" fmla="*/ 2356318 w 2945193"/>
                <a:gd name="connsiteY2280" fmla="*/ 546750 h 2259621"/>
                <a:gd name="connsiteX2281" fmla="*/ 2357132 w 2945193"/>
                <a:gd name="connsiteY2281" fmla="*/ 546750 h 2259621"/>
                <a:gd name="connsiteX2282" fmla="*/ 2355503 w 2945193"/>
                <a:gd name="connsiteY2282" fmla="*/ 550823 h 2259621"/>
                <a:gd name="connsiteX2283" fmla="*/ 2353874 w 2945193"/>
                <a:gd name="connsiteY2283" fmla="*/ 550008 h 2259621"/>
                <a:gd name="connsiteX2284" fmla="*/ 2359576 w 2945193"/>
                <a:gd name="connsiteY2284" fmla="*/ 541863 h 2259621"/>
                <a:gd name="connsiteX2285" fmla="*/ 2353874 w 2945193"/>
                <a:gd name="connsiteY2285" fmla="*/ 585031 h 2259621"/>
                <a:gd name="connsiteX2286" fmla="*/ 2355503 w 2945193"/>
                <a:gd name="connsiteY2286" fmla="*/ 581773 h 2259621"/>
                <a:gd name="connsiteX2287" fmla="*/ 2362019 w 2945193"/>
                <a:gd name="connsiteY2287" fmla="*/ 577701 h 2259621"/>
                <a:gd name="connsiteX2288" fmla="*/ 2357132 w 2945193"/>
                <a:gd name="connsiteY2288" fmla="*/ 585031 h 2259621"/>
                <a:gd name="connsiteX2289" fmla="*/ 2355503 w 2945193"/>
                <a:gd name="connsiteY2289" fmla="*/ 599692 h 2259621"/>
                <a:gd name="connsiteX2290" fmla="*/ 2352245 w 2945193"/>
                <a:gd name="connsiteY2290" fmla="*/ 596434 h 2259621"/>
                <a:gd name="connsiteX2291" fmla="*/ 2353874 w 2945193"/>
                <a:gd name="connsiteY2291" fmla="*/ 585031 h 2259621"/>
                <a:gd name="connsiteX2292" fmla="*/ 2344915 w 2945193"/>
                <a:gd name="connsiteY2292" fmla="*/ 577701 h 2259621"/>
                <a:gd name="connsiteX2293" fmla="*/ 2351431 w 2945193"/>
                <a:gd name="connsiteY2293" fmla="*/ 573629 h 2259621"/>
                <a:gd name="connsiteX2294" fmla="*/ 2344915 w 2945193"/>
                <a:gd name="connsiteY2294" fmla="*/ 577701 h 2259621"/>
                <a:gd name="connsiteX2295" fmla="*/ 2348173 w 2945193"/>
                <a:gd name="connsiteY2295" fmla="*/ 526388 h 2259621"/>
                <a:gd name="connsiteX2296" fmla="*/ 2349802 w 2945193"/>
                <a:gd name="connsiteY2296" fmla="*/ 529646 h 2259621"/>
                <a:gd name="connsiteX2297" fmla="*/ 2345729 w 2945193"/>
                <a:gd name="connsiteY2297" fmla="*/ 547565 h 2259621"/>
                <a:gd name="connsiteX2298" fmla="*/ 2348173 w 2945193"/>
                <a:gd name="connsiteY2298" fmla="*/ 526388 h 2259621"/>
                <a:gd name="connsiteX2299" fmla="*/ 2349802 w 2945193"/>
                <a:gd name="connsiteY2299" fmla="*/ 554081 h 2259621"/>
                <a:gd name="connsiteX2300" fmla="*/ 2344100 w 2945193"/>
                <a:gd name="connsiteY2300" fmla="*/ 553266 h 2259621"/>
                <a:gd name="connsiteX2301" fmla="*/ 2343286 w 2945193"/>
                <a:gd name="connsiteY2301" fmla="*/ 550008 h 2259621"/>
                <a:gd name="connsiteX2302" fmla="*/ 2349802 w 2945193"/>
                <a:gd name="connsiteY2302" fmla="*/ 554081 h 2259621"/>
                <a:gd name="connsiteX2303" fmla="*/ 2340028 w 2945193"/>
                <a:gd name="connsiteY2303" fmla="*/ 538606 h 2259621"/>
                <a:gd name="connsiteX2304" fmla="*/ 2337585 w 2945193"/>
                <a:gd name="connsiteY2304" fmla="*/ 532904 h 2259621"/>
                <a:gd name="connsiteX2305" fmla="*/ 2340028 w 2945193"/>
                <a:gd name="connsiteY2305" fmla="*/ 538606 h 2259621"/>
                <a:gd name="connsiteX2306" fmla="*/ 2333512 w 2945193"/>
                <a:gd name="connsiteY2306" fmla="*/ 542678 h 2259621"/>
                <a:gd name="connsiteX2307" fmla="*/ 2331069 w 2945193"/>
                <a:gd name="connsiteY2307" fmla="*/ 540234 h 2259621"/>
                <a:gd name="connsiteX2308" fmla="*/ 2334326 w 2945193"/>
                <a:gd name="connsiteY2308" fmla="*/ 535348 h 2259621"/>
                <a:gd name="connsiteX2309" fmla="*/ 2333512 w 2945193"/>
                <a:gd name="connsiteY2309" fmla="*/ 542678 h 2259621"/>
                <a:gd name="connsiteX2310" fmla="*/ 2329440 w 2945193"/>
                <a:gd name="connsiteY2310" fmla="*/ 533719 h 2259621"/>
                <a:gd name="connsiteX2311" fmla="*/ 2328625 w 2945193"/>
                <a:gd name="connsiteY2311" fmla="*/ 528832 h 2259621"/>
                <a:gd name="connsiteX2312" fmla="*/ 2329440 w 2945193"/>
                <a:gd name="connsiteY2312" fmla="*/ 533719 h 2259621"/>
                <a:gd name="connsiteX2313" fmla="*/ 2329440 w 2945193"/>
                <a:gd name="connsiteY2313" fmla="*/ 534533 h 2259621"/>
                <a:gd name="connsiteX2314" fmla="*/ 2330254 w 2945193"/>
                <a:gd name="connsiteY2314" fmla="*/ 540234 h 2259621"/>
                <a:gd name="connsiteX2315" fmla="*/ 2327811 w 2945193"/>
                <a:gd name="connsiteY2315" fmla="*/ 539420 h 2259621"/>
                <a:gd name="connsiteX2316" fmla="*/ 2329440 w 2945193"/>
                <a:gd name="connsiteY2316" fmla="*/ 534533 h 2259621"/>
                <a:gd name="connsiteX2317" fmla="*/ 2323738 w 2945193"/>
                <a:gd name="connsiteY2317" fmla="*/ 555710 h 2259621"/>
                <a:gd name="connsiteX2318" fmla="*/ 2329440 w 2945193"/>
                <a:gd name="connsiteY2318" fmla="*/ 554895 h 2259621"/>
                <a:gd name="connsiteX2319" fmla="*/ 2322924 w 2945193"/>
                <a:gd name="connsiteY2319" fmla="*/ 564669 h 2259621"/>
                <a:gd name="connsiteX2320" fmla="*/ 2321295 w 2945193"/>
                <a:gd name="connsiteY2320" fmla="*/ 563040 h 2259621"/>
                <a:gd name="connsiteX2321" fmla="*/ 2323738 w 2945193"/>
                <a:gd name="connsiteY2321" fmla="*/ 555710 h 2259621"/>
                <a:gd name="connsiteX2322" fmla="*/ 2318037 w 2945193"/>
                <a:gd name="connsiteY2322" fmla="*/ 595620 h 2259621"/>
                <a:gd name="connsiteX2323" fmla="*/ 2318037 w 2945193"/>
                <a:gd name="connsiteY2323" fmla="*/ 599692 h 2259621"/>
                <a:gd name="connsiteX2324" fmla="*/ 2318037 w 2945193"/>
                <a:gd name="connsiteY2324" fmla="*/ 595620 h 2259621"/>
                <a:gd name="connsiteX2325" fmla="*/ 2313150 w 2945193"/>
                <a:gd name="connsiteY2325" fmla="*/ 509284 h 2259621"/>
                <a:gd name="connsiteX2326" fmla="*/ 2313964 w 2945193"/>
                <a:gd name="connsiteY2326" fmla="*/ 512542 h 2259621"/>
                <a:gd name="connsiteX2327" fmla="*/ 2311521 w 2945193"/>
                <a:gd name="connsiteY2327" fmla="*/ 520687 h 2259621"/>
                <a:gd name="connsiteX2328" fmla="*/ 2309892 w 2945193"/>
                <a:gd name="connsiteY2328" fmla="*/ 510913 h 2259621"/>
                <a:gd name="connsiteX2329" fmla="*/ 2313150 w 2945193"/>
                <a:gd name="connsiteY2329" fmla="*/ 509284 h 2259621"/>
                <a:gd name="connsiteX2330" fmla="*/ 2309077 w 2945193"/>
                <a:gd name="connsiteY2330" fmla="*/ 607837 h 2259621"/>
                <a:gd name="connsiteX2331" fmla="*/ 2309892 w 2945193"/>
                <a:gd name="connsiteY2331" fmla="*/ 615982 h 2259621"/>
                <a:gd name="connsiteX2332" fmla="*/ 2308263 w 2945193"/>
                <a:gd name="connsiteY2332" fmla="*/ 615982 h 2259621"/>
                <a:gd name="connsiteX2333" fmla="*/ 2307448 w 2945193"/>
                <a:gd name="connsiteY2333" fmla="*/ 607837 h 2259621"/>
                <a:gd name="connsiteX2334" fmla="*/ 2309077 w 2945193"/>
                <a:gd name="connsiteY2334" fmla="*/ 607837 h 2259621"/>
                <a:gd name="connsiteX2335" fmla="*/ 2313150 w 2945193"/>
                <a:gd name="connsiteY2335" fmla="*/ 819604 h 2259621"/>
                <a:gd name="connsiteX2336" fmla="*/ 2311521 w 2945193"/>
                <a:gd name="connsiteY2336" fmla="*/ 821233 h 2259621"/>
                <a:gd name="connsiteX2337" fmla="*/ 2305819 w 2945193"/>
                <a:gd name="connsiteY2337" fmla="*/ 822862 h 2259621"/>
                <a:gd name="connsiteX2338" fmla="*/ 2305819 w 2945193"/>
                <a:gd name="connsiteY2338" fmla="*/ 822862 h 2259621"/>
                <a:gd name="connsiteX2339" fmla="*/ 2305005 w 2945193"/>
                <a:gd name="connsiteY2339" fmla="*/ 819604 h 2259621"/>
                <a:gd name="connsiteX2340" fmla="*/ 2313150 w 2945193"/>
                <a:gd name="connsiteY2340" fmla="*/ 819604 h 2259621"/>
                <a:gd name="connsiteX2341" fmla="*/ 2281385 w 2945193"/>
                <a:gd name="connsiteY2341" fmla="*/ 230728 h 2259621"/>
                <a:gd name="connsiteX2342" fmla="*/ 2279755 w 2945193"/>
                <a:gd name="connsiteY2342" fmla="*/ 223398 h 2259621"/>
                <a:gd name="connsiteX2343" fmla="*/ 2281385 w 2945193"/>
                <a:gd name="connsiteY2343" fmla="*/ 230728 h 2259621"/>
                <a:gd name="connsiteX2344" fmla="*/ 2276498 w 2945193"/>
                <a:gd name="connsiteY2344" fmla="*/ 602136 h 2259621"/>
                <a:gd name="connsiteX2345" fmla="*/ 2277312 w 2945193"/>
                <a:gd name="connsiteY2345" fmla="*/ 610281 h 2259621"/>
                <a:gd name="connsiteX2346" fmla="*/ 2276498 w 2945193"/>
                <a:gd name="connsiteY2346" fmla="*/ 602136 h 2259621"/>
                <a:gd name="connsiteX2347" fmla="*/ 2271611 w 2945193"/>
                <a:gd name="connsiteY2347" fmla="*/ 617611 h 2259621"/>
                <a:gd name="connsiteX2348" fmla="*/ 2264280 w 2945193"/>
                <a:gd name="connsiteY2348" fmla="*/ 611910 h 2259621"/>
                <a:gd name="connsiteX2349" fmla="*/ 2271611 w 2945193"/>
                <a:gd name="connsiteY2349" fmla="*/ 617611 h 2259621"/>
                <a:gd name="connsiteX2350" fmla="*/ 2262651 w 2945193"/>
                <a:gd name="connsiteY2350" fmla="*/ 599692 h 2259621"/>
                <a:gd name="connsiteX2351" fmla="*/ 2256950 w 2945193"/>
                <a:gd name="connsiteY2351" fmla="*/ 607837 h 2259621"/>
                <a:gd name="connsiteX2352" fmla="*/ 2262651 w 2945193"/>
                <a:gd name="connsiteY2352" fmla="*/ 599692 h 2259621"/>
                <a:gd name="connsiteX2353" fmla="*/ 2223556 w 2945193"/>
                <a:gd name="connsiteY2353" fmla="*/ 95523 h 2259621"/>
                <a:gd name="connsiteX2354" fmla="*/ 2221113 w 2945193"/>
                <a:gd name="connsiteY2354" fmla="*/ 103668 h 2259621"/>
                <a:gd name="connsiteX2355" fmla="*/ 2223556 w 2945193"/>
                <a:gd name="connsiteY2355" fmla="*/ 95523 h 2259621"/>
                <a:gd name="connsiteX2356" fmla="*/ 2219484 w 2945193"/>
                <a:gd name="connsiteY2356" fmla="*/ 591547 h 2259621"/>
                <a:gd name="connsiteX2357" fmla="*/ 2219484 w 2945193"/>
                <a:gd name="connsiteY2357" fmla="*/ 593176 h 2259621"/>
                <a:gd name="connsiteX2358" fmla="*/ 2217040 w 2945193"/>
                <a:gd name="connsiteY2358" fmla="*/ 597249 h 2259621"/>
                <a:gd name="connsiteX2359" fmla="*/ 2209710 w 2945193"/>
                <a:gd name="connsiteY2359" fmla="*/ 603765 h 2259621"/>
                <a:gd name="connsiteX2360" fmla="*/ 2209710 w 2945193"/>
                <a:gd name="connsiteY2360" fmla="*/ 603765 h 2259621"/>
                <a:gd name="connsiteX2361" fmla="*/ 2208895 w 2945193"/>
                <a:gd name="connsiteY2361" fmla="*/ 601321 h 2259621"/>
                <a:gd name="connsiteX2362" fmla="*/ 2212968 w 2945193"/>
                <a:gd name="connsiteY2362" fmla="*/ 593176 h 2259621"/>
                <a:gd name="connsiteX2363" fmla="*/ 2219484 w 2945193"/>
                <a:gd name="connsiteY2363" fmla="*/ 591547 h 2259621"/>
                <a:gd name="connsiteX2364" fmla="*/ 2212968 w 2945193"/>
                <a:gd name="connsiteY2364" fmla="*/ 111813 h 2259621"/>
                <a:gd name="connsiteX2365" fmla="*/ 2212153 w 2945193"/>
                <a:gd name="connsiteY2365" fmla="*/ 118329 h 2259621"/>
                <a:gd name="connsiteX2366" fmla="*/ 2212968 w 2945193"/>
                <a:gd name="connsiteY2366" fmla="*/ 111813 h 2259621"/>
                <a:gd name="connsiteX2367" fmla="*/ 2206451 w 2945193"/>
                <a:gd name="connsiteY2367" fmla="*/ 90636 h 2259621"/>
                <a:gd name="connsiteX2368" fmla="*/ 2208895 w 2945193"/>
                <a:gd name="connsiteY2368" fmla="*/ 89007 h 2259621"/>
                <a:gd name="connsiteX2369" fmla="*/ 2211339 w 2945193"/>
                <a:gd name="connsiteY2369" fmla="*/ 89007 h 2259621"/>
                <a:gd name="connsiteX2370" fmla="*/ 2215411 w 2945193"/>
                <a:gd name="connsiteY2370" fmla="*/ 92265 h 2259621"/>
                <a:gd name="connsiteX2371" fmla="*/ 2211339 w 2945193"/>
                <a:gd name="connsiteY2371" fmla="*/ 95523 h 2259621"/>
                <a:gd name="connsiteX2372" fmla="*/ 2209710 w 2945193"/>
                <a:gd name="connsiteY2372" fmla="*/ 95523 h 2259621"/>
                <a:gd name="connsiteX2373" fmla="*/ 2209710 w 2945193"/>
                <a:gd name="connsiteY2373" fmla="*/ 92265 h 2259621"/>
                <a:gd name="connsiteX2374" fmla="*/ 2202379 w 2945193"/>
                <a:gd name="connsiteY2374" fmla="*/ 91451 h 2259621"/>
                <a:gd name="connsiteX2375" fmla="*/ 2206451 w 2945193"/>
                <a:gd name="connsiteY2375" fmla="*/ 90636 h 2259621"/>
                <a:gd name="connsiteX2376" fmla="*/ 2204823 w 2945193"/>
                <a:gd name="connsiteY2376" fmla="*/ 104483 h 2259621"/>
                <a:gd name="connsiteX2377" fmla="*/ 2201565 w 2945193"/>
                <a:gd name="connsiteY2377" fmla="*/ 100410 h 2259621"/>
                <a:gd name="connsiteX2378" fmla="*/ 2214596 w 2945193"/>
                <a:gd name="connsiteY2378" fmla="*/ 104483 h 2259621"/>
                <a:gd name="connsiteX2379" fmla="*/ 2198307 w 2945193"/>
                <a:gd name="connsiteY2379" fmla="*/ 105297 h 2259621"/>
                <a:gd name="connsiteX2380" fmla="*/ 2204823 w 2945193"/>
                <a:gd name="connsiteY2380" fmla="*/ 104483 h 2259621"/>
                <a:gd name="connsiteX2381" fmla="*/ 2155953 w 2945193"/>
                <a:gd name="connsiteY2381" fmla="*/ 128103 h 2259621"/>
                <a:gd name="connsiteX2382" fmla="*/ 2157582 w 2945193"/>
                <a:gd name="connsiteY2382" fmla="*/ 128917 h 2259621"/>
                <a:gd name="connsiteX2383" fmla="*/ 2155953 w 2945193"/>
                <a:gd name="connsiteY2383" fmla="*/ 135433 h 2259621"/>
                <a:gd name="connsiteX2384" fmla="*/ 2155953 w 2945193"/>
                <a:gd name="connsiteY2384" fmla="*/ 128103 h 2259621"/>
                <a:gd name="connsiteX2385" fmla="*/ 2146180 w 2945193"/>
                <a:gd name="connsiteY2385" fmla="*/ 117514 h 2259621"/>
                <a:gd name="connsiteX2386" fmla="*/ 2147809 w 2945193"/>
                <a:gd name="connsiteY2386" fmla="*/ 116700 h 2259621"/>
                <a:gd name="connsiteX2387" fmla="*/ 2148623 w 2945193"/>
                <a:gd name="connsiteY2387" fmla="*/ 119958 h 2259621"/>
                <a:gd name="connsiteX2388" fmla="*/ 2149437 w 2945193"/>
                <a:gd name="connsiteY2388" fmla="*/ 123216 h 2259621"/>
                <a:gd name="connsiteX2389" fmla="*/ 2146180 w 2945193"/>
                <a:gd name="connsiteY2389" fmla="*/ 120772 h 2259621"/>
                <a:gd name="connsiteX2390" fmla="*/ 2145365 w 2945193"/>
                <a:gd name="connsiteY2390" fmla="*/ 119144 h 2259621"/>
                <a:gd name="connsiteX2391" fmla="*/ 2146180 w 2945193"/>
                <a:gd name="connsiteY2391" fmla="*/ 117514 h 2259621"/>
                <a:gd name="connsiteX2392" fmla="*/ 2140478 w 2945193"/>
                <a:gd name="connsiteY2392" fmla="*/ 135433 h 2259621"/>
                <a:gd name="connsiteX2393" fmla="*/ 2141292 w 2945193"/>
                <a:gd name="connsiteY2393" fmla="*/ 137062 h 2259621"/>
                <a:gd name="connsiteX2394" fmla="*/ 2140478 w 2945193"/>
                <a:gd name="connsiteY2394" fmla="*/ 135433 h 2259621"/>
                <a:gd name="connsiteX2395" fmla="*/ 2140478 w 2945193"/>
                <a:gd name="connsiteY2395" fmla="*/ 135433 h 2259621"/>
                <a:gd name="connsiteX2396" fmla="*/ 2125817 w 2945193"/>
                <a:gd name="connsiteY2396" fmla="*/ 54799 h 2259621"/>
                <a:gd name="connsiteX2397" fmla="*/ 2127446 w 2945193"/>
                <a:gd name="connsiteY2397" fmla="*/ 55613 h 2259621"/>
                <a:gd name="connsiteX2398" fmla="*/ 2126632 w 2945193"/>
                <a:gd name="connsiteY2398" fmla="*/ 56428 h 2259621"/>
                <a:gd name="connsiteX2399" fmla="*/ 2120116 w 2945193"/>
                <a:gd name="connsiteY2399" fmla="*/ 58871 h 2259621"/>
                <a:gd name="connsiteX2400" fmla="*/ 2114414 w 2945193"/>
                <a:gd name="connsiteY2400" fmla="*/ 60500 h 2259621"/>
                <a:gd name="connsiteX2401" fmla="*/ 2113600 w 2945193"/>
                <a:gd name="connsiteY2401" fmla="*/ 60500 h 2259621"/>
                <a:gd name="connsiteX2402" fmla="*/ 2114414 w 2945193"/>
                <a:gd name="connsiteY2402" fmla="*/ 58871 h 2259621"/>
                <a:gd name="connsiteX2403" fmla="*/ 2125817 w 2945193"/>
                <a:gd name="connsiteY2403" fmla="*/ 54799 h 2259621"/>
                <a:gd name="connsiteX2404" fmla="*/ 2101383 w 2945193"/>
                <a:gd name="connsiteY2404" fmla="*/ 21405 h 2259621"/>
                <a:gd name="connsiteX2405" fmla="*/ 2104640 w 2945193"/>
                <a:gd name="connsiteY2405" fmla="*/ 20590 h 2259621"/>
                <a:gd name="connsiteX2406" fmla="*/ 2111971 w 2945193"/>
                <a:gd name="connsiteY2406" fmla="*/ 20590 h 2259621"/>
                <a:gd name="connsiteX2407" fmla="*/ 2112785 w 2945193"/>
                <a:gd name="connsiteY2407" fmla="*/ 22219 h 2259621"/>
                <a:gd name="connsiteX2408" fmla="*/ 2112785 w 2945193"/>
                <a:gd name="connsiteY2408" fmla="*/ 22219 h 2259621"/>
                <a:gd name="connsiteX2409" fmla="*/ 2112785 w 2945193"/>
                <a:gd name="connsiteY2409" fmla="*/ 22219 h 2259621"/>
                <a:gd name="connsiteX2410" fmla="*/ 2114414 w 2945193"/>
                <a:gd name="connsiteY2410" fmla="*/ 23034 h 2259621"/>
                <a:gd name="connsiteX2411" fmla="*/ 2113600 w 2945193"/>
                <a:gd name="connsiteY2411" fmla="*/ 23034 h 2259621"/>
                <a:gd name="connsiteX2412" fmla="*/ 2112785 w 2945193"/>
                <a:gd name="connsiteY2412" fmla="*/ 22219 h 2259621"/>
                <a:gd name="connsiteX2413" fmla="*/ 2112785 w 2945193"/>
                <a:gd name="connsiteY2413" fmla="*/ 22219 h 2259621"/>
                <a:gd name="connsiteX2414" fmla="*/ 2112785 w 2945193"/>
                <a:gd name="connsiteY2414" fmla="*/ 22219 h 2259621"/>
                <a:gd name="connsiteX2415" fmla="*/ 2111971 w 2945193"/>
                <a:gd name="connsiteY2415" fmla="*/ 22219 h 2259621"/>
                <a:gd name="connsiteX2416" fmla="*/ 2105455 w 2945193"/>
                <a:gd name="connsiteY2416" fmla="*/ 23848 h 2259621"/>
                <a:gd name="connsiteX2417" fmla="*/ 2099754 w 2945193"/>
                <a:gd name="connsiteY2417" fmla="*/ 23034 h 2259621"/>
                <a:gd name="connsiteX2418" fmla="*/ 2098939 w 2945193"/>
                <a:gd name="connsiteY2418" fmla="*/ 22219 h 2259621"/>
                <a:gd name="connsiteX2419" fmla="*/ 2101383 w 2945193"/>
                <a:gd name="connsiteY2419" fmla="*/ 21405 h 2259621"/>
                <a:gd name="connsiteX2420" fmla="*/ 2086722 w 2945193"/>
                <a:gd name="connsiteY2420" fmla="*/ 63758 h 2259621"/>
                <a:gd name="connsiteX2421" fmla="*/ 2091609 w 2945193"/>
                <a:gd name="connsiteY2421" fmla="*/ 61315 h 2259621"/>
                <a:gd name="connsiteX2422" fmla="*/ 2093238 w 2945193"/>
                <a:gd name="connsiteY2422" fmla="*/ 59686 h 2259621"/>
                <a:gd name="connsiteX2423" fmla="*/ 2096495 w 2945193"/>
                <a:gd name="connsiteY2423" fmla="*/ 58871 h 2259621"/>
                <a:gd name="connsiteX2424" fmla="*/ 2099754 w 2945193"/>
                <a:gd name="connsiteY2424" fmla="*/ 58057 h 2259621"/>
                <a:gd name="connsiteX2425" fmla="*/ 2105455 w 2945193"/>
                <a:gd name="connsiteY2425" fmla="*/ 56428 h 2259621"/>
                <a:gd name="connsiteX2426" fmla="*/ 2108713 w 2945193"/>
                <a:gd name="connsiteY2426" fmla="*/ 57242 h 2259621"/>
                <a:gd name="connsiteX2427" fmla="*/ 2109528 w 2945193"/>
                <a:gd name="connsiteY2427" fmla="*/ 58057 h 2259621"/>
                <a:gd name="connsiteX2428" fmla="*/ 2108713 w 2945193"/>
                <a:gd name="connsiteY2428" fmla="*/ 58871 h 2259621"/>
                <a:gd name="connsiteX2429" fmla="*/ 2099754 w 2945193"/>
                <a:gd name="connsiteY2429" fmla="*/ 61315 h 2259621"/>
                <a:gd name="connsiteX2430" fmla="*/ 2086722 w 2945193"/>
                <a:gd name="connsiteY2430" fmla="*/ 64573 h 2259621"/>
                <a:gd name="connsiteX2431" fmla="*/ 2085907 w 2945193"/>
                <a:gd name="connsiteY2431" fmla="*/ 63758 h 2259621"/>
                <a:gd name="connsiteX2432" fmla="*/ 2086722 w 2945193"/>
                <a:gd name="connsiteY2432" fmla="*/ 63758 h 2259621"/>
                <a:gd name="connsiteX2433" fmla="*/ 2077762 w 2945193"/>
                <a:gd name="connsiteY2433" fmla="*/ 63758 h 2259621"/>
                <a:gd name="connsiteX2434" fmla="*/ 2082649 w 2945193"/>
                <a:gd name="connsiteY2434" fmla="*/ 65387 h 2259621"/>
                <a:gd name="connsiteX2435" fmla="*/ 2082649 w 2945193"/>
                <a:gd name="connsiteY2435" fmla="*/ 66202 h 2259621"/>
                <a:gd name="connsiteX2436" fmla="*/ 2081835 w 2945193"/>
                <a:gd name="connsiteY2436" fmla="*/ 67016 h 2259621"/>
                <a:gd name="connsiteX2437" fmla="*/ 2076948 w 2945193"/>
                <a:gd name="connsiteY2437" fmla="*/ 65387 h 2259621"/>
                <a:gd name="connsiteX2438" fmla="*/ 2076948 w 2945193"/>
                <a:gd name="connsiteY2438" fmla="*/ 64573 h 2259621"/>
                <a:gd name="connsiteX2439" fmla="*/ 2077762 w 2945193"/>
                <a:gd name="connsiteY2439" fmla="*/ 63758 h 2259621"/>
                <a:gd name="connsiteX2440" fmla="*/ 1637124 w 2945193"/>
                <a:gd name="connsiteY2440" fmla="*/ 114257 h 2259621"/>
                <a:gd name="connsiteX2441" fmla="*/ 1618390 w 2945193"/>
                <a:gd name="connsiteY2441" fmla="*/ 119958 h 2259621"/>
                <a:gd name="connsiteX2442" fmla="*/ 1611874 w 2945193"/>
                <a:gd name="connsiteY2442" fmla="*/ 118329 h 2259621"/>
                <a:gd name="connsiteX2443" fmla="*/ 1637124 w 2945193"/>
                <a:gd name="connsiteY2443" fmla="*/ 114257 h 2259621"/>
                <a:gd name="connsiteX2444" fmla="*/ 1623277 w 2945193"/>
                <a:gd name="connsiteY2444" fmla="*/ 2022605 h 2259621"/>
                <a:gd name="connsiteX2445" fmla="*/ 1623277 w 2945193"/>
                <a:gd name="connsiteY2445" fmla="*/ 2022605 h 2259621"/>
                <a:gd name="connsiteX2446" fmla="*/ 1621648 w 2945193"/>
                <a:gd name="connsiteY2446" fmla="*/ 2024234 h 2259621"/>
                <a:gd name="connsiteX2447" fmla="*/ 1616761 w 2945193"/>
                <a:gd name="connsiteY2447" fmla="*/ 2023420 h 2259621"/>
                <a:gd name="connsiteX2448" fmla="*/ 1606173 w 2945193"/>
                <a:gd name="connsiteY2448" fmla="*/ 2026677 h 2259621"/>
                <a:gd name="connsiteX2449" fmla="*/ 1616761 w 2945193"/>
                <a:gd name="connsiteY2449" fmla="*/ 2022605 h 2259621"/>
                <a:gd name="connsiteX2450" fmla="*/ 1616761 w 2945193"/>
                <a:gd name="connsiteY2450" fmla="*/ 2023420 h 2259621"/>
                <a:gd name="connsiteX2451" fmla="*/ 1616761 w 2945193"/>
                <a:gd name="connsiteY2451" fmla="*/ 2022605 h 2259621"/>
                <a:gd name="connsiteX2452" fmla="*/ 1622463 w 2945193"/>
                <a:gd name="connsiteY2452" fmla="*/ 2020162 h 2259621"/>
                <a:gd name="connsiteX2453" fmla="*/ 1625721 w 2945193"/>
                <a:gd name="connsiteY2453" fmla="*/ 2019347 h 2259621"/>
                <a:gd name="connsiteX2454" fmla="*/ 1623277 w 2945193"/>
                <a:gd name="connsiteY2454" fmla="*/ 2022605 h 2259621"/>
                <a:gd name="connsiteX2455" fmla="*/ 1642010 w 2945193"/>
                <a:gd name="connsiteY2455" fmla="*/ 2017718 h 2259621"/>
                <a:gd name="connsiteX2456" fmla="*/ 1633051 w 2945193"/>
                <a:gd name="connsiteY2456" fmla="*/ 2022605 h 2259621"/>
                <a:gd name="connsiteX2457" fmla="*/ 1629793 w 2945193"/>
                <a:gd name="connsiteY2457" fmla="*/ 2027492 h 2259621"/>
                <a:gd name="connsiteX2458" fmla="*/ 1629793 w 2945193"/>
                <a:gd name="connsiteY2458" fmla="*/ 2027492 h 2259621"/>
                <a:gd name="connsiteX2459" fmla="*/ 1632236 w 2945193"/>
                <a:gd name="connsiteY2459" fmla="*/ 2022605 h 2259621"/>
                <a:gd name="connsiteX2460" fmla="*/ 1633865 w 2945193"/>
                <a:gd name="connsiteY2460" fmla="*/ 2022605 h 2259621"/>
                <a:gd name="connsiteX2461" fmla="*/ 1637124 w 2945193"/>
                <a:gd name="connsiteY2461" fmla="*/ 2020162 h 2259621"/>
                <a:gd name="connsiteX2462" fmla="*/ 1642010 w 2945193"/>
                <a:gd name="connsiteY2462" fmla="*/ 2017718 h 2259621"/>
                <a:gd name="connsiteX2463" fmla="*/ 1642010 w 2945193"/>
                <a:gd name="connsiteY2463" fmla="*/ 2017718 h 2259621"/>
                <a:gd name="connsiteX2464" fmla="*/ 1649341 w 2945193"/>
                <a:gd name="connsiteY2464" fmla="*/ 2025863 h 2259621"/>
                <a:gd name="connsiteX2465" fmla="*/ 1668888 w 2945193"/>
                <a:gd name="connsiteY2465" fmla="*/ 2017718 h 2259621"/>
                <a:gd name="connsiteX2466" fmla="*/ 1649341 w 2945193"/>
                <a:gd name="connsiteY2466" fmla="*/ 2025863 h 2259621"/>
                <a:gd name="connsiteX2467" fmla="*/ 1672961 w 2945193"/>
                <a:gd name="connsiteY2467" fmla="*/ 2008759 h 2259621"/>
                <a:gd name="connsiteX2468" fmla="*/ 1681106 w 2945193"/>
                <a:gd name="connsiteY2468" fmla="*/ 2002243 h 2259621"/>
                <a:gd name="connsiteX2469" fmla="*/ 1683550 w 2945193"/>
                <a:gd name="connsiteY2469" fmla="*/ 2003872 h 2259621"/>
                <a:gd name="connsiteX2470" fmla="*/ 1672961 w 2945193"/>
                <a:gd name="connsiteY2470" fmla="*/ 2008759 h 2259621"/>
                <a:gd name="connsiteX2471" fmla="*/ 1669703 w 2945193"/>
                <a:gd name="connsiteY2471" fmla="*/ 2003058 h 2259621"/>
                <a:gd name="connsiteX2472" fmla="*/ 1676219 w 2945193"/>
                <a:gd name="connsiteY2472" fmla="*/ 1998170 h 2259621"/>
                <a:gd name="connsiteX2473" fmla="*/ 1679477 w 2945193"/>
                <a:gd name="connsiteY2473" fmla="*/ 1999799 h 2259621"/>
                <a:gd name="connsiteX2474" fmla="*/ 1669703 w 2945193"/>
                <a:gd name="connsiteY2474" fmla="*/ 2003058 h 2259621"/>
                <a:gd name="connsiteX2475" fmla="*/ 1700654 w 2945193"/>
                <a:gd name="connsiteY2475" fmla="*/ 1995727 h 2259621"/>
                <a:gd name="connsiteX2476" fmla="*/ 1694138 w 2945193"/>
                <a:gd name="connsiteY2476" fmla="*/ 1992469 h 2259621"/>
                <a:gd name="connsiteX2477" fmla="*/ 1680291 w 2945193"/>
                <a:gd name="connsiteY2477" fmla="*/ 1993284 h 2259621"/>
                <a:gd name="connsiteX2478" fmla="*/ 1675405 w 2945193"/>
                <a:gd name="connsiteY2478" fmla="*/ 1994098 h 2259621"/>
                <a:gd name="connsiteX2479" fmla="*/ 1641196 w 2945193"/>
                <a:gd name="connsiteY2479" fmla="*/ 2007944 h 2259621"/>
                <a:gd name="connsiteX2480" fmla="*/ 1639567 w 2945193"/>
                <a:gd name="connsiteY2480" fmla="*/ 2009573 h 2259621"/>
                <a:gd name="connsiteX2481" fmla="*/ 1639567 w 2945193"/>
                <a:gd name="connsiteY2481" fmla="*/ 2009573 h 2259621"/>
                <a:gd name="connsiteX2482" fmla="*/ 1638753 w 2945193"/>
                <a:gd name="connsiteY2482" fmla="*/ 2009573 h 2259621"/>
                <a:gd name="connsiteX2483" fmla="*/ 1638753 w 2945193"/>
                <a:gd name="connsiteY2483" fmla="*/ 2009573 h 2259621"/>
                <a:gd name="connsiteX2484" fmla="*/ 1637124 w 2945193"/>
                <a:gd name="connsiteY2484" fmla="*/ 2012831 h 2259621"/>
                <a:gd name="connsiteX2485" fmla="*/ 1631422 w 2945193"/>
                <a:gd name="connsiteY2485" fmla="*/ 2016089 h 2259621"/>
                <a:gd name="connsiteX2486" fmla="*/ 1633865 w 2945193"/>
                <a:gd name="connsiteY2486" fmla="*/ 2012831 h 2259621"/>
                <a:gd name="connsiteX2487" fmla="*/ 1638753 w 2945193"/>
                <a:gd name="connsiteY2487" fmla="*/ 2009573 h 2259621"/>
                <a:gd name="connsiteX2488" fmla="*/ 1636309 w 2945193"/>
                <a:gd name="connsiteY2488" fmla="*/ 2009573 h 2259621"/>
                <a:gd name="connsiteX2489" fmla="*/ 1637124 w 2945193"/>
                <a:gd name="connsiteY2489" fmla="*/ 2008759 h 2259621"/>
                <a:gd name="connsiteX2490" fmla="*/ 1649341 w 2945193"/>
                <a:gd name="connsiteY2490" fmla="*/ 2001428 h 2259621"/>
                <a:gd name="connsiteX2491" fmla="*/ 1666445 w 2945193"/>
                <a:gd name="connsiteY2491" fmla="*/ 1993284 h 2259621"/>
                <a:gd name="connsiteX2492" fmla="*/ 1678662 w 2945193"/>
                <a:gd name="connsiteY2492" fmla="*/ 1986768 h 2259621"/>
                <a:gd name="connsiteX2493" fmla="*/ 1677033 w 2945193"/>
                <a:gd name="connsiteY2493" fmla="*/ 1988396 h 2259621"/>
                <a:gd name="connsiteX2494" fmla="*/ 1684364 w 2945193"/>
                <a:gd name="connsiteY2494" fmla="*/ 1986768 h 2259621"/>
                <a:gd name="connsiteX2495" fmla="*/ 1687622 w 2945193"/>
                <a:gd name="connsiteY2495" fmla="*/ 1986768 h 2259621"/>
                <a:gd name="connsiteX2496" fmla="*/ 1690065 w 2945193"/>
                <a:gd name="connsiteY2496" fmla="*/ 1990840 h 2259621"/>
                <a:gd name="connsiteX2497" fmla="*/ 1695767 w 2945193"/>
                <a:gd name="connsiteY2497" fmla="*/ 1990840 h 2259621"/>
                <a:gd name="connsiteX2498" fmla="*/ 1700654 w 2945193"/>
                <a:gd name="connsiteY2498" fmla="*/ 1995727 h 2259621"/>
                <a:gd name="connsiteX2499" fmla="*/ 1700654 w 2945193"/>
                <a:gd name="connsiteY2499" fmla="*/ 1995727 h 2259621"/>
                <a:gd name="connsiteX2500" fmla="*/ 1700654 w 2945193"/>
                <a:gd name="connsiteY2500" fmla="*/ 1995727 h 2259621"/>
                <a:gd name="connsiteX2501" fmla="*/ 1909978 w 2945193"/>
                <a:gd name="connsiteY2501" fmla="*/ 1949301 h 2259621"/>
                <a:gd name="connsiteX2502" fmla="*/ 1910792 w 2945193"/>
                <a:gd name="connsiteY2502" fmla="*/ 1946858 h 2259621"/>
                <a:gd name="connsiteX2503" fmla="*/ 1909163 w 2945193"/>
                <a:gd name="connsiteY2503" fmla="*/ 1946858 h 2259621"/>
                <a:gd name="connsiteX2504" fmla="*/ 1905090 w 2945193"/>
                <a:gd name="connsiteY2504" fmla="*/ 1950930 h 2259621"/>
                <a:gd name="connsiteX2505" fmla="*/ 1908348 w 2945193"/>
                <a:gd name="connsiteY2505" fmla="*/ 1950115 h 2259621"/>
                <a:gd name="connsiteX2506" fmla="*/ 1903462 w 2945193"/>
                <a:gd name="connsiteY2506" fmla="*/ 1952559 h 2259621"/>
                <a:gd name="connsiteX2507" fmla="*/ 1904276 w 2945193"/>
                <a:gd name="connsiteY2507" fmla="*/ 1951745 h 2259621"/>
                <a:gd name="connsiteX2508" fmla="*/ 1902647 w 2945193"/>
                <a:gd name="connsiteY2508" fmla="*/ 1950930 h 2259621"/>
                <a:gd name="connsiteX2509" fmla="*/ 1888801 w 2945193"/>
                <a:gd name="connsiteY2509" fmla="*/ 1952559 h 2259621"/>
                <a:gd name="connsiteX2510" fmla="*/ 1896945 w 2945193"/>
                <a:gd name="connsiteY2510" fmla="*/ 1949301 h 2259621"/>
                <a:gd name="connsiteX2511" fmla="*/ 1899389 w 2945193"/>
                <a:gd name="connsiteY2511" fmla="*/ 1946858 h 2259621"/>
                <a:gd name="connsiteX2512" fmla="*/ 1897760 w 2945193"/>
                <a:gd name="connsiteY2512" fmla="*/ 1946043 h 2259621"/>
                <a:gd name="connsiteX2513" fmla="*/ 1883914 w 2945193"/>
                <a:gd name="connsiteY2513" fmla="*/ 1947672 h 2259621"/>
                <a:gd name="connsiteX2514" fmla="*/ 1899389 w 2945193"/>
                <a:gd name="connsiteY2514" fmla="*/ 1942785 h 2259621"/>
                <a:gd name="connsiteX2515" fmla="*/ 1900204 w 2945193"/>
                <a:gd name="connsiteY2515" fmla="*/ 1942785 h 2259621"/>
                <a:gd name="connsiteX2516" fmla="*/ 1901833 w 2945193"/>
                <a:gd name="connsiteY2516" fmla="*/ 1942785 h 2259621"/>
                <a:gd name="connsiteX2517" fmla="*/ 1901833 w 2945193"/>
                <a:gd name="connsiteY2517" fmla="*/ 1945229 h 2259621"/>
                <a:gd name="connsiteX2518" fmla="*/ 1901018 w 2945193"/>
                <a:gd name="connsiteY2518" fmla="*/ 1946043 h 2259621"/>
                <a:gd name="connsiteX2519" fmla="*/ 1901833 w 2945193"/>
                <a:gd name="connsiteY2519" fmla="*/ 1946043 h 2259621"/>
                <a:gd name="connsiteX2520" fmla="*/ 1901833 w 2945193"/>
                <a:gd name="connsiteY2520" fmla="*/ 1947672 h 2259621"/>
                <a:gd name="connsiteX2521" fmla="*/ 1910792 w 2945193"/>
                <a:gd name="connsiteY2521" fmla="*/ 1946858 h 2259621"/>
                <a:gd name="connsiteX2522" fmla="*/ 1917308 w 2945193"/>
                <a:gd name="connsiteY2522" fmla="*/ 1943600 h 2259621"/>
                <a:gd name="connsiteX2523" fmla="*/ 1919752 w 2945193"/>
                <a:gd name="connsiteY2523" fmla="*/ 1946043 h 2259621"/>
                <a:gd name="connsiteX2524" fmla="*/ 1909978 w 2945193"/>
                <a:gd name="connsiteY2524" fmla="*/ 1949301 h 2259621"/>
                <a:gd name="connsiteX2525" fmla="*/ 2019119 w 2945193"/>
                <a:gd name="connsiteY2525" fmla="*/ 1919980 h 2259621"/>
                <a:gd name="connsiteX2526" fmla="*/ 2022377 w 2945193"/>
                <a:gd name="connsiteY2526" fmla="*/ 1917536 h 2259621"/>
                <a:gd name="connsiteX2527" fmla="*/ 2023191 w 2945193"/>
                <a:gd name="connsiteY2527" fmla="*/ 1917536 h 2259621"/>
                <a:gd name="connsiteX2528" fmla="*/ 2033780 w 2945193"/>
                <a:gd name="connsiteY2528" fmla="*/ 1914278 h 2259621"/>
                <a:gd name="connsiteX2529" fmla="*/ 2035409 w 2945193"/>
                <a:gd name="connsiteY2529" fmla="*/ 1915907 h 2259621"/>
                <a:gd name="connsiteX2530" fmla="*/ 2019119 w 2945193"/>
                <a:gd name="connsiteY2530" fmla="*/ 1919980 h 2259621"/>
                <a:gd name="connsiteX2531" fmla="*/ 2234959 w 2945193"/>
                <a:gd name="connsiteY2531" fmla="*/ 1608845 h 2259621"/>
                <a:gd name="connsiteX2532" fmla="*/ 2252063 w 2945193"/>
                <a:gd name="connsiteY2532" fmla="*/ 1600700 h 2259621"/>
                <a:gd name="connsiteX2533" fmla="*/ 2234959 w 2945193"/>
                <a:gd name="connsiteY2533" fmla="*/ 1608845 h 2259621"/>
                <a:gd name="connsiteX2534" fmla="*/ 2261022 w 2945193"/>
                <a:gd name="connsiteY2534" fmla="*/ 1600700 h 2259621"/>
                <a:gd name="connsiteX2535" fmla="*/ 2257765 w 2945193"/>
                <a:gd name="connsiteY2535" fmla="*/ 1602329 h 2259621"/>
                <a:gd name="connsiteX2536" fmla="*/ 2252877 w 2945193"/>
                <a:gd name="connsiteY2536" fmla="*/ 1600700 h 2259621"/>
                <a:gd name="connsiteX2537" fmla="*/ 2256950 w 2945193"/>
                <a:gd name="connsiteY2537" fmla="*/ 1597442 h 2259621"/>
                <a:gd name="connsiteX2538" fmla="*/ 2260208 w 2945193"/>
                <a:gd name="connsiteY2538" fmla="*/ 1598256 h 2259621"/>
                <a:gd name="connsiteX2539" fmla="*/ 2261022 w 2945193"/>
                <a:gd name="connsiteY2539" fmla="*/ 1600700 h 2259621"/>
                <a:gd name="connsiteX2540" fmla="*/ 2446726 w 2945193"/>
                <a:gd name="connsiteY2540" fmla="*/ 1559975 h 2259621"/>
                <a:gd name="connsiteX2541" fmla="*/ 2444282 w 2945193"/>
                <a:gd name="connsiteY2541" fmla="*/ 1564862 h 2259621"/>
                <a:gd name="connsiteX2542" fmla="*/ 2442653 w 2945193"/>
                <a:gd name="connsiteY2542" fmla="*/ 1559161 h 2259621"/>
                <a:gd name="connsiteX2543" fmla="*/ 2443468 w 2945193"/>
                <a:gd name="connsiteY2543" fmla="*/ 1559161 h 2259621"/>
                <a:gd name="connsiteX2544" fmla="*/ 2446726 w 2945193"/>
                <a:gd name="connsiteY2544" fmla="*/ 1559975 h 2259621"/>
                <a:gd name="connsiteX2545" fmla="*/ 2446726 w 2945193"/>
                <a:gd name="connsiteY2545" fmla="*/ 1559975 h 2259621"/>
                <a:gd name="connsiteX2546" fmla="*/ 2592520 w 2945193"/>
                <a:gd name="connsiteY2546" fmla="*/ 1523323 h 2259621"/>
                <a:gd name="connsiteX2547" fmla="*/ 2589261 w 2945193"/>
                <a:gd name="connsiteY2547" fmla="*/ 1524138 h 2259621"/>
                <a:gd name="connsiteX2548" fmla="*/ 2587633 w 2945193"/>
                <a:gd name="connsiteY2548" fmla="*/ 1523323 h 2259621"/>
                <a:gd name="connsiteX2549" fmla="*/ 2577859 w 2945193"/>
                <a:gd name="connsiteY2549" fmla="*/ 1524138 h 2259621"/>
                <a:gd name="connsiteX2550" fmla="*/ 2594963 w 2945193"/>
                <a:gd name="connsiteY2550" fmla="*/ 1520065 h 2259621"/>
                <a:gd name="connsiteX2551" fmla="*/ 2599035 w 2945193"/>
                <a:gd name="connsiteY2551" fmla="*/ 1520065 h 2259621"/>
                <a:gd name="connsiteX2552" fmla="*/ 2592520 w 2945193"/>
                <a:gd name="connsiteY2552" fmla="*/ 1523323 h 2259621"/>
                <a:gd name="connsiteX2553" fmla="*/ 2654421 w 2945193"/>
                <a:gd name="connsiteY2553" fmla="*/ 1511920 h 2259621"/>
                <a:gd name="connsiteX2554" fmla="*/ 2634873 w 2945193"/>
                <a:gd name="connsiteY2554" fmla="*/ 1515993 h 2259621"/>
                <a:gd name="connsiteX2555" fmla="*/ 2637316 w 2945193"/>
                <a:gd name="connsiteY2555" fmla="*/ 1513549 h 2259621"/>
                <a:gd name="connsiteX2556" fmla="*/ 2645461 w 2945193"/>
                <a:gd name="connsiteY2556" fmla="*/ 1511920 h 2259621"/>
                <a:gd name="connsiteX2557" fmla="*/ 2645461 w 2945193"/>
                <a:gd name="connsiteY2557" fmla="*/ 1507848 h 2259621"/>
                <a:gd name="connsiteX2558" fmla="*/ 2651163 w 2945193"/>
                <a:gd name="connsiteY2558" fmla="*/ 1506219 h 2259621"/>
                <a:gd name="connsiteX2559" fmla="*/ 2648720 w 2945193"/>
                <a:gd name="connsiteY2559" fmla="*/ 1507848 h 2259621"/>
                <a:gd name="connsiteX2560" fmla="*/ 2654421 w 2945193"/>
                <a:gd name="connsiteY2560" fmla="*/ 1511920 h 2259621"/>
                <a:gd name="connsiteX2561" fmla="*/ 2654421 w 2945193"/>
                <a:gd name="connsiteY2561" fmla="*/ 1511920 h 2259621"/>
                <a:gd name="connsiteX2562" fmla="*/ 2654421 w 2945193"/>
                <a:gd name="connsiteY2562" fmla="*/ 1261872 h 2259621"/>
                <a:gd name="connsiteX2563" fmla="*/ 2652792 w 2945193"/>
                <a:gd name="connsiteY2563" fmla="*/ 1262687 h 2259621"/>
                <a:gd name="connsiteX2564" fmla="*/ 2636502 w 2945193"/>
                <a:gd name="connsiteY2564" fmla="*/ 1266759 h 2259621"/>
                <a:gd name="connsiteX2565" fmla="*/ 2630801 w 2945193"/>
                <a:gd name="connsiteY2565" fmla="*/ 1265130 h 2259621"/>
                <a:gd name="connsiteX2566" fmla="*/ 2629986 w 2945193"/>
                <a:gd name="connsiteY2566" fmla="*/ 1265130 h 2259621"/>
                <a:gd name="connsiteX2567" fmla="*/ 2655235 w 2945193"/>
                <a:gd name="connsiteY2567" fmla="*/ 1257800 h 2259621"/>
                <a:gd name="connsiteX2568" fmla="*/ 2654421 w 2945193"/>
                <a:gd name="connsiteY2568" fmla="*/ 1261872 h 2259621"/>
                <a:gd name="connsiteX2569" fmla="*/ 2676412 w 2945193"/>
                <a:gd name="connsiteY2569" fmla="*/ 1271646 h 2259621"/>
                <a:gd name="connsiteX2570" fmla="*/ 2675598 w 2945193"/>
                <a:gd name="connsiteY2570" fmla="*/ 1270831 h 2259621"/>
                <a:gd name="connsiteX2571" fmla="*/ 2695960 w 2945193"/>
                <a:gd name="connsiteY2571" fmla="*/ 1265944 h 2259621"/>
                <a:gd name="connsiteX2572" fmla="*/ 2676412 w 2945193"/>
                <a:gd name="connsiteY2572" fmla="*/ 1271646 h 2259621"/>
                <a:gd name="connsiteX2573" fmla="*/ 2686186 w 2945193"/>
                <a:gd name="connsiteY2573" fmla="*/ 1255356 h 2259621"/>
                <a:gd name="connsiteX2574" fmla="*/ 2687000 w 2945193"/>
                <a:gd name="connsiteY2574" fmla="*/ 1252913 h 2259621"/>
                <a:gd name="connsiteX2575" fmla="*/ 2688629 w 2945193"/>
                <a:gd name="connsiteY2575" fmla="*/ 1251284 h 2259621"/>
                <a:gd name="connsiteX2576" fmla="*/ 2696774 w 2945193"/>
                <a:gd name="connsiteY2576" fmla="*/ 1252913 h 2259621"/>
                <a:gd name="connsiteX2577" fmla="*/ 2697589 w 2945193"/>
                <a:gd name="connsiteY2577" fmla="*/ 1252913 h 2259621"/>
                <a:gd name="connsiteX2578" fmla="*/ 2686186 w 2945193"/>
                <a:gd name="connsiteY2578" fmla="*/ 1255356 h 2259621"/>
                <a:gd name="connsiteX2579" fmla="*/ 2683742 w 2945193"/>
                <a:gd name="connsiteY2579" fmla="*/ 1243953 h 2259621"/>
                <a:gd name="connsiteX2580" fmla="*/ 2688629 w 2945193"/>
                <a:gd name="connsiteY2580" fmla="*/ 1242324 h 2259621"/>
                <a:gd name="connsiteX2581" fmla="*/ 2691887 w 2945193"/>
                <a:gd name="connsiteY2581" fmla="*/ 1240695 h 2259621"/>
                <a:gd name="connsiteX2582" fmla="*/ 2687815 w 2945193"/>
                <a:gd name="connsiteY2582" fmla="*/ 1248026 h 2259621"/>
                <a:gd name="connsiteX2583" fmla="*/ 2683742 w 2945193"/>
                <a:gd name="connsiteY2583" fmla="*/ 1243953 h 2259621"/>
                <a:gd name="connsiteX2584" fmla="*/ 2752974 w 2945193"/>
                <a:gd name="connsiteY2584" fmla="*/ 1246397 h 2259621"/>
                <a:gd name="connsiteX2585" fmla="*/ 2749716 w 2945193"/>
                <a:gd name="connsiteY2585" fmla="*/ 1252098 h 2259621"/>
                <a:gd name="connsiteX2586" fmla="*/ 2736684 w 2945193"/>
                <a:gd name="connsiteY2586" fmla="*/ 1252913 h 2259621"/>
                <a:gd name="connsiteX2587" fmla="*/ 2749716 w 2945193"/>
                <a:gd name="connsiteY2587" fmla="*/ 1248026 h 2259621"/>
                <a:gd name="connsiteX2588" fmla="*/ 2752974 w 2945193"/>
                <a:gd name="connsiteY2588" fmla="*/ 1246397 h 2259621"/>
                <a:gd name="connsiteX2589" fmla="*/ 2752974 w 2945193"/>
                <a:gd name="connsiteY2589" fmla="*/ 1246397 h 2259621"/>
                <a:gd name="connsiteX2590" fmla="*/ 2761119 w 2945193"/>
                <a:gd name="connsiteY2590" fmla="*/ 1231736 h 2259621"/>
                <a:gd name="connsiteX2591" fmla="*/ 2761119 w 2945193"/>
                <a:gd name="connsiteY2591" fmla="*/ 1231736 h 2259621"/>
                <a:gd name="connsiteX2592" fmla="*/ 2761119 w 2945193"/>
                <a:gd name="connsiteY2592" fmla="*/ 1231736 h 2259621"/>
                <a:gd name="connsiteX2593" fmla="*/ 2757047 w 2945193"/>
                <a:gd name="connsiteY2593" fmla="*/ 1239881 h 2259621"/>
                <a:gd name="connsiteX2594" fmla="*/ 2735870 w 2945193"/>
                <a:gd name="connsiteY2594" fmla="*/ 1243139 h 2259621"/>
                <a:gd name="connsiteX2595" fmla="*/ 2735870 w 2945193"/>
                <a:gd name="connsiteY2595" fmla="*/ 1233365 h 2259621"/>
                <a:gd name="connsiteX2596" fmla="*/ 2753788 w 2945193"/>
                <a:gd name="connsiteY2596" fmla="*/ 1230922 h 2259621"/>
                <a:gd name="connsiteX2597" fmla="*/ 2761119 w 2945193"/>
                <a:gd name="connsiteY2597" fmla="*/ 1231736 h 2259621"/>
                <a:gd name="connsiteX2598" fmla="*/ 2761119 w 2945193"/>
                <a:gd name="connsiteY2598" fmla="*/ 1231736 h 2259621"/>
                <a:gd name="connsiteX2599" fmla="*/ 2801029 w 2945193"/>
                <a:gd name="connsiteY2599" fmla="*/ 1218704 h 2259621"/>
                <a:gd name="connsiteX2600" fmla="*/ 2806730 w 2945193"/>
                <a:gd name="connsiteY2600" fmla="*/ 1215446 h 2259621"/>
                <a:gd name="connsiteX2601" fmla="*/ 2801029 w 2945193"/>
                <a:gd name="connsiteY2601" fmla="*/ 1218704 h 2259621"/>
                <a:gd name="connsiteX2602" fmla="*/ 2795328 w 2945193"/>
                <a:gd name="connsiteY2602" fmla="*/ 1174722 h 2259621"/>
                <a:gd name="connsiteX2603" fmla="*/ 2797771 w 2945193"/>
                <a:gd name="connsiteY2603" fmla="*/ 1174722 h 2259621"/>
                <a:gd name="connsiteX2604" fmla="*/ 2814061 w 2945193"/>
                <a:gd name="connsiteY2604" fmla="*/ 1177165 h 2259621"/>
                <a:gd name="connsiteX2605" fmla="*/ 2795328 w 2945193"/>
                <a:gd name="connsiteY2605" fmla="*/ 1177980 h 2259621"/>
                <a:gd name="connsiteX2606" fmla="*/ 2795328 w 2945193"/>
                <a:gd name="connsiteY2606" fmla="*/ 1174722 h 2259621"/>
                <a:gd name="connsiteX2607" fmla="*/ 2797771 w 2945193"/>
                <a:gd name="connsiteY2607" fmla="*/ 1185310 h 2259621"/>
                <a:gd name="connsiteX2608" fmla="*/ 2791255 w 2945193"/>
                <a:gd name="connsiteY2608" fmla="*/ 1186125 h 2259621"/>
                <a:gd name="connsiteX2609" fmla="*/ 2797771 w 2945193"/>
                <a:gd name="connsiteY2609" fmla="*/ 1185310 h 2259621"/>
                <a:gd name="connsiteX2610" fmla="*/ 2798585 w 2945193"/>
                <a:gd name="connsiteY2610" fmla="*/ 1204858 h 2259621"/>
                <a:gd name="connsiteX2611" fmla="*/ 2798585 w 2945193"/>
                <a:gd name="connsiteY2611" fmla="*/ 1200785 h 2259621"/>
                <a:gd name="connsiteX2612" fmla="*/ 2809988 w 2945193"/>
                <a:gd name="connsiteY2612" fmla="*/ 1199156 h 2259621"/>
                <a:gd name="connsiteX2613" fmla="*/ 2808359 w 2945193"/>
                <a:gd name="connsiteY2613" fmla="*/ 1196713 h 2259621"/>
                <a:gd name="connsiteX2614" fmla="*/ 2797771 w 2945193"/>
                <a:gd name="connsiteY2614" fmla="*/ 1195084 h 2259621"/>
                <a:gd name="connsiteX2615" fmla="*/ 2808359 w 2945193"/>
                <a:gd name="connsiteY2615" fmla="*/ 1185310 h 2259621"/>
                <a:gd name="connsiteX2616" fmla="*/ 2808359 w 2945193"/>
                <a:gd name="connsiteY2616" fmla="*/ 1185310 h 2259621"/>
                <a:gd name="connsiteX2617" fmla="*/ 2815690 w 2945193"/>
                <a:gd name="connsiteY2617" fmla="*/ 1182052 h 2259621"/>
                <a:gd name="connsiteX2618" fmla="*/ 2834423 w 2945193"/>
                <a:gd name="connsiteY2618" fmla="*/ 1178794 h 2259621"/>
                <a:gd name="connsiteX2619" fmla="*/ 2849898 w 2945193"/>
                <a:gd name="connsiteY2619" fmla="*/ 1182052 h 2259621"/>
                <a:gd name="connsiteX2620" fmla="*/ 2845826 w 2945193"/>
                <a:gd name="connsiteY2620" fmla="*/ 1185310 h 2259621"/>
                <a:gd name="connsiteX2621" fmla="*/ 2827907 w 2945193"/>
                <a:gd name="connsiteY2621" fmla="*/ 1186125 h 2259621"/>
                <a:gd name="connsiteX2622" fmla="*/ 2818133 w 2945193"/>
                <a:gd name="connsiteY2622" fmla="*/ 1194270 h 2259621"/>
                <a:gd name="connsiteX2623" fmla="*/ 2842568 w 2945193"/>
                <a:gd name="connsiteY2623" fmla="*/ 1197527 h 2259621"/>
                <a:gd name="connsiteX2624" fmla="*/ 2840125 w 2945193"/>
                <a:gd name="connsiteY2624" fmla="*/ 1200785 h 2259621"/>
                <a:gd name="connsiteX2625" fmla="*/ 2832794 w 2945193"/>
                <a:gd name="connsiteY2625" fmla="*/ 1204043 h 2259621"/>
                <a:gd name="connsiteX2626" fmla="*/ 2838495 w 2945193"/>
                <a:gd name="connsiteY2626" fmla="*/ 1206487 h 2259621"/>
                <a:gd name="connsiteX2627" fmla="*/ 2836866 w 2945193"/>
                <a:gd name="connsiteY2627" fmla="*/ 1208116 h 2259621"/>
                <a:gd name="connsiteX2628" fmla="*/ 2806730 w 2945193"/>
                <a:gd name="connsiteY2628" fmla="*/ 1208930 h 2259621"/>
                <a:gd name="connsiteX2629" fmla="*/ 2737499 w 2945193"/>
                <a:gd name="connsiteY2629" fmla="*/ 1213003 h 2259621"/>
                <a:gd name="connsiteX2630" fmla="*/ 2720395 w 2945193"/>
                <a:gd name="connsiteY2630" fmla="*/ 1213003 h 2259621"/>
                <a:gd name="connsiteX2631" fmla="*/ 2729354 w 2945193"/>
                <a:gd name="connsiteY2631" fmla="*/ 1202414 h 2259621"/>
                <a:gd name="connsiteX2632" fmla="*/ 2762748 w 2945193"/>
                <a:gd name="connsiteY2632" fmla="*/ 1207301 h 2259621"/>
                <a:gd name="connsiteX2633" fmla="*/ 2764377 w 2945193"/>
                <a:gd name="connsiteY2633" fmla="*/ 1207301 h 2259621"/>
                <a:gd name="connsiteX2634" fmla="*/ 2798585 w 2945193"/>
                <a:gd name="connsiteY2634" fmla="*/ 1204858 h 2259621"/>
                <a:gd name="connsiteX2635" fmla="*/ 2769264 w 2945193"/>
                <a:gd name="connsiteY2635" fmla="*/ 1195898 h 2259621"/>
                <a:gd name="connsiteX2636" fmla="*/ 2742386 w 2945193"/>
                <a:gd name="connsiteY2636" fmla="*/ 1199156 h 2259621"/>
                <a:gd name="connsiteX2637" fmla="*/ 2769264 w 2945193"/>
                <a:gd name="connsiteY2637" fmla="*/ 1195898 h 2259621"/>
                <a:gd name="connsiteX2638" fmla="*/ 2706548 w 2945193"/>
                <a:gd name="connsiteY2638" fmla="*/ 1206487 h 2259621"/>
                <a:gd name="connsiteX2639" fmla="*/ 2709806 w 2945193"/>
                <a:gd name="connsiteY2639" fmla="*/ 1204043 h 2259621"/>
                <a:gd name="connsiteX2640" fmla="*/ 2695960 w 2945193"/>
                <a:gd name="connsiteY2640" fmla="*/ 1201600 h 2259621"/>
                <a:gd name="connsiteX2641" fmla="*/ 2702476 w 2945193"/>
                <a:gd name="connsiteY2641" fmla="*/ 1194270 h 2259621"/>
                <a:gd name="connsiteX2642" fmla="*/ 2708991 w 2945193"/>
                <a:gd name="connsiteY2642" fmla="*/ 1195898 h 2259621"/>
                <a:gd name="connsiteX2643" fmla="*/ 2735055 w 2945193"/>
                <a:gd name="connsiteY2643" fmla="*/ 1195084 h 2259621"/>
                <a:gd name="connsiteX2644" fmla="*/ 2740757 w 2945193"/>
                <a:gd name="connsiteY2644" fmla="*/ 1192640 h 2259621"/>
                <a:gd name="connsiteX2645" fmla="*/ 2742386 w 2945193"/>
                <a:gd name="connsiteY2645" fmla="*/ 1199156 h 2259621"/>
                <a:gd name="connsiteX2646" fmla="*/ 2724467 w 2945193"/>
                <a:gd name="connsiteY2646" fmla="*/ 1200785 h 2259621"/>
                <a:gd name="connsiteX2647" fmla="*/ 2720395 w 2945193"/>
                <a:gd name="connsiteY2647" fmla="*/ 1203229 h 2259621"/>
                <a:gd name="connsiteX2648" fmla="*/ 2713879 w 2945193"/>
                <a:gd name="connsiteY2648" fmla="*/ 1213817 h 2259621"/>
                <a:gd name="connsiteX2649" fmla="*/ 2681299 w 2945193"/>
                <a:gd name="connsiteY2649" fmla="*/ 1217890 h 2259621"/>
                <a:gd name="connsiteX2650" fmla="*/ 2670710 w 2945193"/>
                <a:gd name="connsiteY2650" fmla="*/ 1219519 h 2259621"/>
                <a:gd name="connsiteX2651" fmla="*/ 2670710 w 2945193"/>
                <a:gd name="connsiteY2651" fmla="*/ 1218704 h 2259621"/>
                <a:gd name="connsiteX2652" fmla="*/ 2673154 w 2945193"/>
                <a:gd name="connsiteY2652" fmla="*/ 1213003 h 2259621"/>
                <a:gd name="connsiteX2653" fmla="*/ 2674783 w 2945193"/>
                <a:gd name="connsiteY2653" fmla="*/ 1211374 h 2259621"/>
                <a:gd name="connsiteX2654" fmla="*/ 2676412 w 2945193"/>
                <a:gd name="connsiteY2654" fmla="*/ 1209745 h 2259621"/>
                <a:gd name="connsiteX2655" fmla="*/ 2706548 w 2945193"/>
                <a:gd name="connsiteY2655" fmla="*/ 1206487 h 225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</a:cxnLst>
              <a:rect l="l" t="t" r="r" b="b"/>
              <a:pathLst>
                <a:path w="2945193" h="2259621">
                  <a:moveTo>
                    <a:pt x="2941936" y="902682"/>
                  </a:moveTo>
                  <a:cubicBezTo>
                    <a:pt x="2940307" y="903497"/>
                    <a:pt x="2939492" y="903497"/>
                    <a:pt x="2937863" y="904311"/>
                  </a:cubicBezTo>
                  <a:cubicBezTo>
                    <a:pt x="2936234" y="905126"/>
                    <a:pt x="2934605" y="905126"/>
                    <a:pt x="2932976" y="905126"/>
                  </a:cubicBezTo>
                  <a:cubicBezTo>
                    <a:pt x="2929718" y="907569"/>
                    <a:pt x="2925646" y="905126"/>
                    <a:pt x="2923202" y="908384"/>
                  </a:cubicBezTo>
                  <a:cubicBezTo>
                    <a:pt x="2922388" y="909198"/>
                    <a:pt x="2921573" y="909198"/>
                    <a:pt x="2921573" y="909198"/>
                  </a:cubicBezTo>
                  <a:cubicBezTo>
                    <a:pt x="2918315" y="909198"/>
                    <a:pt x="2915872" y="910827"/>
                    <a:pt x="2913429" y="911642"/>
                  </a:cubicBezTo>
                  <a:cubicBezTo>
                    <a:pt x="2912614" y="912456"/>
                    <a:pt x="2911800" y="912456"/>
                    <a:pt x="2910170" y="912456"/>
                  </a:cubicBezTo>
                  <a:cubicBezTo>
                    <a:pt x="2908541" y="912456"/>
                    <a:pt x="2906912" y="913271"/>
                    <a:pt x="2905284" y="913271"/>
                  </a:cubicBezTo>
                  <a:cubicBezTo>
                    <a:pt x="2903655" y="914085"/>
                    <a:pt x="2901211" y="913271"/>
                    <a:pt x="2898767" y="914085"/>
                  </a:cubicBezTo>
                  <a:cubicBezTo>
                    <a:pt x="2897953" y="914085"/>
                    <a:pt x="2897139" y="914085"/>
                    <a:pt x="2896324" y="914085"/>
                  </a:cubicBezTo>
                  <a:cubicBezTo>
                    <a:pt x="2894695" y="914899"/>
                    <a:pt x="2892252" y="915714"/>
                    <a:pt x="2890622" y="916529"/>
                  </a:cubicBezTo>
                  <a:cubicBezTo>
                    <a:pt x="2888179" y="918158"/>
                    <a:pt x="2885736" y="916529"/>
                    <a:pt x="2883292" y="918158"/>
                  </a:cubicBezTo>
                  <a:cubicBezTo>
                    <a:pt x="2881663" y="919786"/>
                    <a:pt x="2879220" y="919786"/>
                    <a:pt x="2877591" y="919786"/>
                  </a:cubicBezTo>
                  <a:cubicBezTo>
                    <a:pt x="2875962" y="920601"/>
                    <a:pt x="2874333" y="919786"/>
                    <a:pt x="2872704" y="920601"/>
                  </a:cubicBezTo>
                  <a:cubicBezTo>
                    <a:pt x="2871075" y="921416"/>
                    <a:pt x="2869446" y="922230"/>
                    <a:pt x="2867817" y="923044"/>
                  </a:cubicBezTo>
                  <a:cubicBezTo>
                    <a:pt x="2866188" y="923044"/>
                    <a:pt x="2863744" y="923044"/>
                    <a:pt x="2862115" y="923859"/>
                  </a:cubicBezTo>
                  <a:cubicBezTo>
                    <a:pt x="2861301" y="923859"/>
                    <a:pt x="2860487" y="924673"/>
                    <a:pt x="2860487" y="924673"/>
                  </a:cubicBezTo>
                  <a:cubicBezTo>
                    <a:pt x="2859672" y="924673"/>
                    <a:pt x="2858858" y="924673"/>
                    <a:pt x="2858043" y="923859"/>
                  </a:cubicBezTo>
                  <a:cubicBezTo>
                    <a:pt x="2857229" y="923044"/>
                    <a:pt x="2856414" y="923044"/>
                    <a:pt x="2854785" y="923044"/>
                  </a:cubicBezTo>
                  <a:cubicBezTo>
                    <a:pt x="2852342" y="923859"/>
                    <a:pt x="2850713" y="925488"/>
                    <a:pt x="2847455" y="924673"/>
                  </a:cubicBezTo>
                  <a:cubicBezTo>
                    <a:pt x="2845826" y="924673"/>
                    <a:pt x="2844197" y="924673"/>
                    <a:pt x="2842568" y="924673"/>
                  </a:cubicBezTo>
                  <a:cubicBezTo>
                    <a:pt x="2840939" y="924673"/>
                    <a:pt x="2839310" y="926303"/>
                    <a:pt x="2837681" y="927117"/>
                  </a:cubicBezTo>
                  <a:cubicBezTo>
                    <a:pt x="2835237" y="927931"/>
                    <a:pt x="2833608" y="929560"/>
                    <a:pt x="2831165" y="930375"/>
                  </a:cubicBezTo>
                  <a:cubicBezTo>
                    <a:pt x="2830351" y="930375"/>
                    <a:pt x="2829536" y="931189"/>
                    <a:pt x="2829536" y="931189"/>
                  </a:cubicBezTo>
                  <a:cubicBezTo>
                    <a:pt x="2827092" y="931189"/>
                    <a:pt x="2824649" y="932004"/>
                    <a:pt x="2822206" y="932818"/>
                  </a:cubicBezTo>
                  <a:cubicBezTo>
                    <a:pt x="2821391" y="932818"/>
                    <a:pt x="2820577" y="932818"/>
                    <a:pt x="2820577" y="932818"/>
                  </a:cubicBezTo>
                  <a:cubicBezTo>
                    <a:pt x="2818948" y="932818"/>
                    <a:pt x="2817318" y="932818"/>
                    <a:pt x="2815690" y="932818"/>
                  </a:cubicBezTo>
                  <a:cubicBezTo>
                    <a:pt x="2814061" y="932818"/>
                    <a:pt x="2813246" y="932818"/>
                    <a:pt x="2811617" y="933633"/>
                  </a:cubicBezTo>
                  <a:cubicBezTo>
                    <a:pt x="2809988" y="934447"/>
                    <a:pt x="2808359" y="936076"/>
                    <a:pt x="2806730" y="936076"/>
                  </a:cubicBezTo>
                  <a:cubicBezTo>
                    <a:pt x="2805101" y="936076"/>
                    <a:pt x="2803473" y="936076"/>
                    <a:pt x="2801843" y="936076"/>
                  </a:cubicBezTo>
                  <a:cubicBezTo>
                    <a:pt x="2799400" y="936076"/>
                    <a:pt x="2797771" y="936076"/>
                    <a:pt x="2795328" y="936076"/>
                  </a:cubicBezTo>
                  <a:cubicBezTo>
                    <a:pt x="2794513" y="936076"/>
                    <a:pt x="2792884" y="936076"/>
                    <a:pt x="2792069" y="936891"/>
                  </a:cubicBezTo>
                  <a:cubicBezTo>
                    <a:pt x="2789626" y="938520"/>
                    <a:pt x="2787183" y="938520"/>
                    <a:pt x="2784739" y="937705"/>
                  </a:cubicBezTo>
                  <a:cubicBezTo>
                    <a:pt x="2783110" y="936891"/>
                    <a:pt x="2781481" y="937705"/>
                    <a:pt x="2779852" y="937705"/>
                  </a:cubicBezTo>
                  <a:cubicBezTo>
                    <a:pt x="2773336" y="937705"/>
                    <a:pt x="2773336" y="937705"/>
                    <a:pt x="2767635" y="940963"/>
                  </a:cubicBezTo>
                  <a:cubicBezTo>
                    <a:pt x="2765191" y="942592"/>
                    <a:pt x="2762748" y="943407"/>
                    <a:pt x="2760304" y="945036"/>
                  </a:cubicBezTo>
                  <a:cubicBezTo>
                    <a:pt x="2757861" y="944221"/>
                    <a:pt x="2755417" y="945850"/>
                    <a:pt x="2752974" y="946665"/>
                  </a:cubicBezTo>
                  <a:cubicBezTo>
                    <a:pt x="2751345" y="946665"/>
                    <a:pt x="2749716" y="946665"/>
                    <a:pt x="2748087" y="947479"/>
                  </a:cubicBezTo>
                  <a:cubicBezTo>
                    <a:pt x="2746458" y="948294"/>
                    <a:pt x="2744014" y="949108"/>
                    <a:pt x="2742386" y="950737"/>
                  </a:cubicBezTo>
                  <a:cubicBezTo>
                    <a:pt x="2740757" y="951552"/>
                    <a:pt x="2739128" y="952366"/>
                    <a:pt x="2737499" y="952366"/>
                  </a:cubicBezTo>
                  <a:cubicBezTo>
                    <a:pt x="2737499" y="952366"/>
                    <a:pt x="2736684" y="952366"/>
                    <a:pt x="2736684" y="952366"/>
                  </a:cubicBezTo>
                  <a:cubicBezTo>
                    <a:pt x="2733426" y="954810"/>
                    <a:pt x="2728539" y="955624"/>
                    <a:pt x="2726910" y="959696"/>
                  </a:cubicBezTo>
                  <a:cubicBezTo>
                    <a:pt x="2726910" y="960511"/>
                    <a:pt x="2726096" y="960511"/>
                    <a:pt x="2725281" y="960511"/>
                  </a:cubicBezTo>
                  <a:cubicBezTo>
                    <a:pt x="2722838" y="960511"/>
                    <a:pt x="2721209" y="961325"/>
                    <a:pt x="2719580" y="962140"/>
                  </a:cubicBezTo>
                  <a:cubicBezTo>
                    <a:pt x="2718765" y="962955"/>
                    <a:pt x="2717136" y="962955"/>
                    <a:pt x="2715507" y="963769"/>
                  </a:cubicBezTo>
                  <a:cubicBezTo>
                    <a:pt x="2712250" y="962955"/>
                    <a:pt x="2709806" y="965398"/>
                    <a:pt x="2706548" y="966212"/>
                  </a:cubicBezTo>
                  <a:cubicBezTo>
                    <a:pt x="2705734" y="966212"/>
                    <a:pt x="2704919" y="967027"/>
                    <a:pt x="2704919" y="967027"/>
                  </a:cubicBezTo>
                  <a:cubicBezTo>
                    <a:pt x="2702476" y="966212"/>
                    <a:pt x="2700032" y="967841"/>
                    <a:pt x="2698403" y="969470"/>
                  </a:cubicBezTo>
                  <a:cubicBezTo>
                    <a:pt x="2694331" y="971099"/>
                    <a:pt x="2691887" y="974357"/>
                    <a:pt x="2687000" y="974357"/>
                  </a:cubicBezTo>
                  <a:cubicBezTo>
                    <a:pt x="2686186" y="974357"/>
                    <a:pt x="2685372" y="975172"/>
                    <a:pt x="2685372" y="975172"/>
                  </a:cubicBezTo>
                  <a:cubicBezTo>
                    <a:pt x="2680484" y="978430"/>
                    <a:pt x="2674783" y="980873"/>
                    <a:pt x="2669896" y="984131"/>
                  </a:cubicBezTo>
                  <a:cubicBezTo>
                    <a:pt x="2668267" y="984946"/>
                    <a:pt x="2667453" y="985760"/>
                    <a:pt x="2665824" y="984946"/>
                  </a:cubicBezTo>
                  <a:cubicBezTo>
                    <a:pt x="2665009" y="984946"/>
                    <a:pt x="2664195" y="984946"/>
                    <a:pt x="2664195" y="985760"/>
                  </a:cubicBezTo>
                  <a:cubicBezTo>
                    <a:pt x="2663380" y="987389"/>
                    <a:pt x="2661751" y="988204"/>
                    <a:pt x="2660122" y="988204"/>
                  </a:cubicBezTo>
                  <a:cubicBezTo>
                    <a:pt x="2658493" y="988204"/>
                    <a:pt x="2658493" y="989018"/>
                    <a:pt x="2657679" y="989833"/>
                  </a:cubicBezTo>
                  <a:cubicBezTo>
                    <a:pt x="2652792" y="989833"/>
                    <a:pt x="2648720" y="993091"/>
                    <a:pt x="2644647" y="995534"/>
                  </a:cubicBezTo>
                  <a:cubicBezTo>
                    <a:pt x="2643832" y="995534"/>
                    <a:pt x="2643832" y="996348"/>
                    <a:pt x="2643018" y="996348"/>
                  </a:cubicBezTo>
                  <a:cubicBezTo>
                    <a:pt x="2643018" y="996348"/>
                    <a:pt x="2642203" y="996348"/>
                    <a:pt x="2642203" y="996348"/>
                  </a:cubicBezTo>
                  <a:cubicBezTo>
                    <a:pt x="2639760" y="995534"/>
                    <a:pt x="2637316" y="997163"/>
                    <a:pt x="2635687" y="997978"/>
                  </a:cubicBezTo>
                  <a:cubicBezTo>
                    <a:pt x="2634873" y="997978"/>
                    <a:pt x="2633244" y="998792"/>
                    <a:pt x="2632430" y="998792"/>
                  </a:cubicBezTo>
                  <a:cubicBezTo>
                    <a:pt x="2629172" y="999607"/>
                    <a:pt x="2625913" y="1000421"/>
                    <a:pt x="2622656" y="1001235"/>
                  </a:cubicBezTo>
                  <a:cubicBezTo>
                    <a:pt x="2622656" y="1001235"/>
                    <a:pt x="2622656" y="1000421"/>
                    <a:pt x="2622656" y="1000421"/>
                  </a:cubicBezTo>
                  <a:cubicBezTo>
                    <a:pt x="2621027" y="993905"/>
                    <a:pt x="2616140" y="992276"/>
                    <a:pt x="2612882" y="996348"/>
                  </a:cubicBezTo>
                  <a:cubicBezTo>
                    <a:pt x="2611253" y="998792"/>
                    <a:pt x="2608809" y="1000421"/>
                    <a:pt x="2607180" y="1002050"/>
                  </a:cubicBezTo>
                  <a:cubicBezTo>
                    <a:pt x="2600664" y="995534"/>
                    <a:pt x="2594149" y="989018"/>
                    <a:pt x="2587633" y="982502"/>
                  </a:cubicBezTo>
                  <a:cubicBezTo>
                    <a:pt x="2580302" y="975986"/>
                    <a:pt x="2572157" y="969470"/>
                    <a:pt x="2564012" y="962955"/>
                  </a:cubicBezTo>
                  <a:cubicBezTo>
                    <a:pt x="2545279" y="949923"/>
                    <a:pt x="2524917" y="944221"/>
                    <a:pt x="2502111" y="946665"/>
                  </a:cubicBezTo>
                  <a:cubicBezTo>
                    <a:pt x="2497224" y="947479"/>
                    <a:pt x="2493152" y="947479"/>
                    <a:pt x="2488265" y="947479"/>
                  </a:cubicBezTo>
                  <a:cubicBezTo>
                    <a:pt x="2488265" y="947479"/>
                    <a:pt x="2488265" y="946665"/>
                    <a:pt x="2489079" y="946665"/>
                  </a:cubicBezTo>
                  <a:cubicBezTo>
                    <a:pt x="2487450" y="946665"/>
                    <a:pt x="2485007" y="946665"/>
                    <a:pt x="2483378" y="946665"/>
                  </a:cubicBezTo>
                  <a:cubicBezTo>
                    <a:pt x="2483378" y="945850"/>
                    <a:pt x="2483378" y="945850"/>
                    <a:pt x="2483378" y="945036"/>
                  </a:cubicBezTo>
                  <a:cubicBezTo>
                    <a:pt x="2484193" y="942592"/>
                    <a:pt x="2483378" y="939334"/>
                    <a:pt x="2483378" y="936891"/>
                  </a:cubicBezTo>
                  <a:cubicBezTo>
                    <a:pt x="2483378" y="936076"/>
                    <a:pt x="2482564" y="935262"/>
                    <a:pt x="2480934" y="934447"/>
                  </a:cubicBezTo>
                  <a:cubicBezTo>
                    <a:pt x="2479305" y="934447"/>
                    <a:pt x="2478491" y="933633"/>
                    <a:pt x="2476862" y="934447"/>
                  </a:cubicBezTo>
                  <a:cubicBezTo>
                    <a:pt x="2476048" y="934447"/>
                    <a:pt x="2475233" y="935262"/>
                    <a:pt x="2475233" y="935262"/>
                  </a:cubicBezTo>
                  <a:cubicBezTo>
                    <a:pt x="2472790" y="936076"/>
                    <a:pt x="2471160" y="937705"/>
                    <a:pt x="2468717" y="938520"/>
                  </a:cubicBezTo>
                  <a:cubicBezTo>
                    <a:pt x="2467088" y="939334"/>
                    <a:pt x="2465459" y="939334"/>
                    <a:pt x="2464645" y="936891"/>
                  </a:cubicBezTo>
                  <a:cubicBezTo>
                    <a:pt x="2463830" y="935262"/>
                    <a:pt x="2463830" y="934447"/>
                    <a:pt x="2465459" y="934447"/>
                  </a:cubicBezTo>
                  <a:cubicBezTo>
                    <a:pt x="2466274" y="934447"/>
                    <a:pt x="2467088" y="934447"/>
                    <a:pt x="2467088" y="934447"/>
                  </a:cubicBezTo>
                  <a:cubicBezTo>
                    <a:pt x="2467903" y="934447"/>
                    <a:pt x="2467903" y="933633"/>
                    <a:pt x="2468717" y="932818"/>
                  </a:cubicBezTo>
                  <a:cubicBezTo>
                    <a:pt x="2468717" y="932004"/>
                    <a:pt x="2467903" y="930375"/>
                    <a:pt x="2467088" y="930375"/>
                  </a:cubicBezTo>
                  <a:cubicBezTo>
                    <a:pt x="2466274" y="930375"/>
                    <a:pt x="2465459" y="930375"/>
                    <a:pt x="2465459" y="930375"/>
                  </a:cubicBezTo>
                  <a:cubicBezTo>
                    <a:pt x="2463830" y="930375"/>
                    <a:pt x="2462201" y="929560"/>
                    <a:pt x="2463016" y="927117"/>
                  </a:cubicBezTo>
                  <a:cubicBezTo>
                    <a:pt x="2463016" y="925488"/>
                    <a:pt x="2463830" y="924673"/>
                    <a:pt x="2464645" y="923859"/>
                  </a:cubicBezTo>
                  <a:cubicBezTo>
                    <a:pt x="2465459" y="923044"/>
                    <a:pt x="2466274" y="923044"/>
                    <a:pt x="2467088" y="922230"/>
                  </a:cubicBezTo>
                  <a:cubicBezTo>
                    <a:pt x="2468717" y="921416"/>
                    <a:pt x="2469532" y="919786"/>
                    <a:pt x="2469532" y="918158"/>
                  </a:cubicBezTo>
                  <a:cubicBezTo>
                    <a:pt x="2469532" y="917343"/>
                    <a:pt x="2469532" y="915714"/>
                    <a:pt x="2469532" y="914899"/>
                  </a:cubicBezTo>
                  <a:cubicBezTo>
                    <a:pt x="2469532" y="914899"/>
                    <a:pt x="2469532" y="914085"/>
                    <a:pt x="2470346" y="914085"/>
                  </a:cubicBezTo>
                  <a:cubicBezTo>
                    <a:pt x="2471160" y="914085"/>
                    <a:pt x="2471975" y="914085"/>
                    <a:pt x="2472790" y="914085"/>
                  </a:cubicBezTo>
                  <a:cubicBezTo>
                    <a:pt x="2473604" y="913271"/>
                    <a:pt x="2473604" y="912456"/>
                    <a:pt x="2474419" y="911642"/>
                  </a:cubicBezTo>
                  <a:cubicBezTo>
                    <a:pt x="2475233" y="911642"/>
                    <a:pt x="2476862" y="911642"/>
                    <a:pt x="2476862" y="910827"/>
                  </a:cubicBezTo>
                  <a:cubicBezTo>
                    <a:pt x="2476862" y="909198"/>
                    <a:pt x="2477677" y="908384"/>
                    <a:pt x="2477677" y="906755"/>
                  </a:cubicBezTo>
                  <a:cubicBezTo>
                    <a:pt x="2477677" y="905126"/>
                    <a:pt x="2478491" y="903497"/>
                    <a:pt x="2480934" y="902682"/>
                  </a:cubicBezTo>
                  <a:cubicBezTo>
                    <a:pt x="2482564" y="901868"/>
                    <a:pt x="2484193" y="901053"/>
                    <a:pt x="2485822" y="900239"/>
                  </a:cubicBezTo>
                  <a:cubicBezTo>
                    <a:pt x="2486636" y="900239"/>
                    <a:pt x="2487450" y="899424"/>
                    <a:pt x="2487450" y="899424"/>
                  </a:cubicBezTo>
                  <a:cubicBezTo>
                    <a:pt x="2488265" y="898610"/>
                    <a:pt x="2488265" y="897795"/>
                    <a:pt x="2488265" y="896981"/>
                  </a:cubicBezTo>
                  <a:cubicBezTo>
                    <a:pt x="2487450" y="894537"/>
                    <a:pt x="2488265" y="892094"/>
                    <a:pt x="2490708" y="890465"/>
                  </a:cubicBezTo>
                  <a:cubicBezTo>
                    <a:pt x="2493152" y="888836"/>
                    <a:pt x="2494781" y="888021"/>
                    <a:pt x="2497224" y="886392"/>
                  </a:cubicBezTo>
                  <a:cubicBezTo>
                    <a:pt x="2498039" y="886392"/>
                    <a:pt x="2498039" y="884764"/>
                    <a:pt x="2498039" y="884764"/>
                  </a:cubicBezTo>
                  <a:cubicBezTo>
                    <a:pt x="2497224" y="880691"/>
                    <a:pt x="2498039" y="879062"/>
                    <a:pt x="2501297" y="876619"/>
                  </a:cubicBezTo>
                  <a:cubicBezTo>
                    <a:pt x="2503740" y="875804"/>
                    <a:pt x="2505369" y="874175"/>
                    <a:pt x="2506998" y="871732"/>
                  </a:cubicBezTo>
                  <a:cubicBezTo>
                    <a:pt x="2506998" y="870917"/>
                    <a:pt x="2507812" y="870917"/>
                    <a:pt x="2508627" y="870103"/>
                  </a:cubicBezTo>
                  <a:cubicBezTo>
                    <a:pt x="2509442" y="869288"/>
                    <a:pt x="2511071" y="868474"/>
                    <a:pt x="2511885" y="867659"/>
                  </a:cubicBezTo>
                  <a:cubicBezTo>
                    <a:pt x="2512700" y="866845"/>
                    <a:pt x="2511885" y="865216"/>
                    <a:pt x="2511885" y="863587"/>
                  </a:cubicBezTo>
                  <a:cubicBezTo>
                    <a:pt x="2511885" y="862772"/>
                    <a:pt x="2511885" y="861143"/>
                    <a:pt x="2512700" y="860329"/>
                  </a:cubicBezTo>
                  <a:cubicBezTo>
                    <a:pt x="2514329" y="858700"/>
                    <a:pt x="2515143" y="857071"/>
                    <a:pt x="2515143" y="854627"/>
                  </a:cubicBezTo>
                  <a:cubicBezTo>
                    <a:pt x="2515957" y="852999"/>
                    <a:pt x="2516772" y="852184"/>
                    <a:pt x="2517586" y="851369"/>
                  </a:cubicBezTo>
                  <a:cubicBezTo>
                    <a:pt x="2518401" y="850555"/>
                    <a:pt x="2519216" y="849740"/>
                    <a:pt x="2519216" y="848926"/>
                  </a:cubicBezTo>
                  <a:cubicBezTo>
                    <a:pt x="2520030" y="848112"/>
                    <a:pt x="2520030" y="848112"/>
                    <a:pt x="2520845" y="848112"/>
                  </a:cubicBezTo>
                  <a:cubicBezTo>
                    <a:pt x="2523288" y="848112"/>
                    <a:pt x="2524917" y="847297"/>
                    <a:pt x="2526546" y="845668"/>
                  </a:cubicBezTo>
                  <a:cubicBezTo>
                    <a:pt x="2528175" y="844039"/>
                    <a:pt x="2528990" y="841595"/>
                    <a:pt x="2530619" y="839967"/>
                  </a:cubicBezTo>
                  <a:cubicBezTo>
                    <a:pt x="2532247" y="838338"/>
                    <a:pt x="2534691" y="837523"/>
                    <a:pt x="2537134" y="835894"/>
                  </a:cubicBezTo>
                  <a:cubicBezTo>
                    <a:pt x="2538763" y="835080"/>
                    <a:pt x="2541207" y="833451"/>
                    <a:pt x="2542836" y="832636"/>
                  </a:cubicBezTo>
                  <a:cubicBezTo>
                    <a:pt x="2543650" y="832636"/>
                    <a:pt x="2543650" y="831822"/>
                    <a:pt x="2543650" y="831007"/>
                  </a:cubicBezTo>
                  <a:cubicBezTo>
                    <a:pt x="2543650" y="830193"/>
                    <a:pt x="2544465" y="830193"/>
                    <a:pt x="2545279" y="830193"/>
                  </a:cubicBezTo>
                  <a:cubicBezTo>
                    <a:pt x="2547723" y="830193"/>
                    <a:pt x="2550166" y="828564"/>
                    <a:pt x="2551795" y="827749"/>
                  </a:cubicBezTo>
                  <a:cubicBezTo>
                    <a:pt x="2551795" y="827749"/>
                    <a:pt x="2552609" y="826120"/>
                    <a:pt x="2551795" y="826120"/>
                  </a:cubicBezTo>
                  <a:cubicBezTo>
                    <a:pt x="2550981" y="824491"/>
                    <a:pt x="2551795" y="823677"/>
                    <a:pt x="2552609" y="822862"/>
                  </a:cubicBezTo>
                  <a:cubicBezTo>
                    <a:pt x="2553424" y="822862"/>
                    <a:pt x="2554238" y="822048"/>
                    <a:pt x="2554238" y="822048"/>
                  </a:cubicBezTo>
                  <a:cubicBezTo>
                    <a:pt x="2555053" y="818790"/>
                    <a:pt x="2557497" y="817975"/>
                    <a:pt x="2559940" y="816346"/>
                  </a:cubicBezTo>
                  <a:cubicBezTo>
                    <a:pt x="2563198" y="814717"/>
                    <a:pt x="2566456" y="813088"/>
                    <a:pt x="2568899" y="811460"/>
                  </a:cubicBezTo>
                  <a:cubicBezTo>
                    <a:pt x="2571343" y="812274"/>
                    <a:pt x="2573786" y="813903"/>
                    <a:pt x="2575416" y="814717"/>
                  </a:cubicBezTo>
                  <a:cubicBezTo>
                    <a:pt x="2578673" y="815532"/>
                    <a:pt x="2581931" y="816346"/>
                    <a:pt x="2585189" y="817161"/>
                  </a:cubicBezTo>
                  <a:cubicBezTo>
                    <a:pt x="2590891" y="817161"/>
                    <a:pt x="2597406" y="817161"/>
                    <a:pt x="2603108" y="817161"/>
                  </a:cubicBezTo>
                  <a:cubicBezTo>
                    <a:pt x="2603923" y="816346"/>
                    <a:pt x="2605551" y="815532"/>
                    <a:pt x="2607180" y="813903"/>
                  </a:cubicBezTo>
                  <a:cubicBezTo>
                    <a:pt x="2608809" y="812274"/>
                    <a:pt x="2609624" y="810645"/>
                    <a:pt x="2611253" y="809830"/>
                  </a:cubicBezTo>
                  <a:cubicBezTo>
                    <a:pt x="2616140" y="806573"/>
                    <a:pt x="2621841" y="807387"/>
                    <a:pt x="2626728" y="810645"/>
                  </a:cubicBezTo>
                  <a:cubicBezTo>
                    <a:pt x="2629986" y="812274"/>
                    <a:pt x="2633244" y="814717"/>
                    <a:pt x="2636502" y="815532"/>
                  </a:cubicBezTo>
                  <a:cubicBezTo>
                    <a:pt x="2639760" y="815532"/>
                    <a:pt x="2643018" y="815532"/>
                    <a:pt x="2646276" y="814717"/>
                  </a:cubicBezTo>
                  <a:cubicBezTo>
                    <a:pt x="2647090" y="813903"/>
                    <a:pt x="2648720" y="812274"/>
                    <a:pt x="2649534" y="810645"/>
                  </a:cubicBezTo>
                  <a:cubicBezTo>
                    <a:pt x="2647905" y="809830"/>
                    <a:pt x="2645461" y="809016"/>
                    <a:pt x="2643018" y="807387"/>
                  </a:cubicBezTo>
                  <a:cubicBezTo>
                    <a:pt x="2643018" y="806573"/>
                    <a:pt x="2643832" y="806573"/>
                    <a:pt x="2643832" y="805758"/>
                  </a:cubicBezTo>
                  <a:cubicBezTo>
                    <a:pt x="2643832" y="805758"/>
                    <a:pt x="2643018" y="805758"/>
                    <a:pt x="2643018" y="804943"/>
                  </a:cubicBezTo>
                  <a:cubicBezTo>
                    <a:pt x="2643832" y="804129"/>
                    <a:pt x="2643832" y="804129"/>
                    <a:pt x="2644647" y="803315"/>
                  </a:cubicBezTo>
                  <a:cubicBezTo>
                    <a:pt x="2645461" y="802500"/>
                    <a:pt x="2647090" y="800871"/>
                    <a:pt x="2647090" y="800057"/>
                  </a:cubicBezTo>
                  <a:cubicBezTo>
                    <a:pt x="2646276" y="798428"/>
                    <a:pt x="2644647" y="797613"/>
                    <a:pt x="2643018" y="796799"/>
                  </a:cubicBezTo>
                  <a:cubicBezTo>
                    <a:pt x="2642203" y="796799"/>
                    <a:pt x="2641389" y="796799"/>
                    <a:pt x="2640575" y="796799"/>
                  </a:cubicBezTo>
                  <a:cubicBezTo>
                    <a:pt x="2641389" y="795984"/>
                    <a:pt x="2642203" y="795170"/>
                    <a:pt x="2641389" y="795170"/>
                  </a:cubicBezTo>
                  <a:cubicBezTo>
                    <a:pt x="2640575" y="793541"/>
                    <a:pt x="2638946" y="792726"/>
                    <a:pt x="2637316" y="791912"/>
                  </a:cubicBezTo>
                  <a:cubicBezTo>
                    <a:pt x="2634058" y="791912"/>
                    <a:pt x="2630801" y="791912"/>
                    <a:pt x="2628357" y="791912"/>
                  </a:cubicBezTo>
                  <a:cubicBezTo>
                    <a:pt x="2627543" y="791912"/>
                    <a:pt x="2627543" y="791097"/>
                    <a:pt x="2626728" y="791097"/>
                  </a:cubicBezTo>
                  <a:cubicBezTo>
                    <a:pt x="2625913" y="789468"/>
                    <a:pt x="2625913" y="787839"/>
                    <a:pt x="2626728" y="786210"/>
                  </a:cubicBezTo>
                  <a:cubicBezTo>
                    <a:pt x="2625099" y="785396"/>
                    <a:pt x="2622656" y="784581"/>
                    <a:pt x="2621027" y="784581"/>
                  </a:cubicBezTo>
                  <a:cubicBezTo>
                    <a:pt x="2621027" y="783767"/>
                    <a:pt x="2621027" y="782138"/>
                    <a:pt x="2621841" y="781323"/>
                  </a:cubicBezTo>
                  <a:cubicBezTo>
                    <a:pt x="2621841" y="781323"/>
                    <a:pt x="2621841" y="781323"/>
                    <a:pt x="2621027" y="781323"/>
                  </a:cubicBezTo>
                  <a:cubicBezTo>
                    <a:pt x="2621841" y="780509"/>
                    <a:pt x="2622656" y="778880"/>
                    <a:pt x="2623470" y="778065"/>
                  </a:cubicBezTo>
                  <a:cubicBezTo>
                    <a:pt x="2624285" y="777251"/>
                    <a:pt x="2625099" y="777251"/>
                    <a:pt x="2626728" y="776436"/>
                  </a:cubicBezTo>
                  <a:cubicBezTo>
                    <a:pt x="2629172" y="776436"/>
                    <a:pt x="2632430" y="777251"/>
                    <a:pt x="2634873" y="777251"/>
                  </a:cubicBezTo>
                  <a:cubicBezTo>
                    <a:pt x="2634058" y="778065"/>
                    <a:pt x="2632430" y="778065"/>
                    <a:pt x="2630801" y="778880"/>
                  </a:cubicBezTo>
                  <a:cubicBezTo>
                    <a:pt x="2634058" y="778065"/>
                    <a:pt x="2636502" y="777251"/>
                    <a:pt x="2638131" y="777251"/>
                  </a:cubicBezTo>
                  <a:cubicBezTo>
                    <a:pt x="2647090" y="778065"/>
                    <a:pt x="2656050" y="778065"/>
                    <a:pt x="2665009" y="778880"/>
                  </a:cubicBezTo>
                  <a:cubicBezTo>
                    <a:pt x="2665009" y="778880"/>
                    <a:pt x="2664195" y="778880"/>
                    <a:pt x="2664195" y="779694"/>
                  </a:cubicBezTo>
                  <a:cubicBezTo>
                    <a:pt x="2669896" y="780509"/>
                    <a:pt x="2676412" y="780509"/>
                    <a:pt x="2682113" y="780509"/>
                  </a:cubicBezTo>
                  <a:cubicBezTo>
                    <a:pt x="2683742" y="780509"/>
                    <a:pt x="2686186" y="780509"/>
                    <a:pt x="2687815" y="780509"/>
                  </a:cubicBezTo>
                  <a:cubicBezTo>
                    <a:pt x="2700032" y="781323"/>
                    <a:pt x="2712250" y="781323"/>
                    <a:pt x="2724467" y="782138"/>
                  </a:cubicBezTo>
                  <a:cubicBezTo>
                    <a:pt x="2727725" y="782138"/>
                    <a:pt x="2730168" y="782138"/>
                    <a:pt x="2733426" y="782138"/>
                  </a:cubicBezTo>
                  <a:cubicBezTo>
                    <a:pt x="2733426" y="782138"/>
                    <a:pt x="2732612" y="782138"/>
                    <a:pt x="2732612" y="782138"/>
                  </a:cubicBezTo>
                  <a:cubicBezTo>
                    <a:pt x="2731797" y="782138"/>
                    <a:pt x="2731797" y="782952"/>
                    <a:pt x="2730983" y="783767"/>
                  </a:cubicBezTo>
                  <a:cubicBezTo>
                    <a:pt x="2731797" y="783767"/>
                    <a:pt x="2733426" y="783767"/>
                    <a:pt x="2734241" y="782952"/>
                  </a:cubicBezTo>
                  <a:lnTo>
                    <a:pt x="2744829" y="782138"/>
                  </a:lnTo>
                  <a:cubicBezTo>
                    <a:pt x="2744014" y="781323"/>
                    <a:pt x="2742386" y="781323"/>
                    <a:pt x="2741571" y="781323"/>
                  </a:cubicBezTo>
                  <a:cubicBezTo>
                    <a:pt x="2753788" y="779694"/>
                    <a:pt x="2766821" y="777251"/>
                    <a:pt x="2779038" y="776436"/>
                  </a:cubicBezTo>
                  <a:cubicBezTo>
                    <a:pt x="2779852" y="776436"/>
                    <a:pt x="2780666" y="774807"/>
                    <a:pt x="2783110" y="773178"/>
                  </a:cubicBezTo>
                  <a:cubicBezTo>
                    <a:pt x="2777409" y="771550"/>
                    <a:pt x="2771707" y="769921"/>
                    <a:pt x="2766821" y="769106"/>
                  </a:cubicBezTo>
                  <a:cubicBezTo>
                    <a:pt x="2757861" y="768291"/>
                    <a:pt x="2748087" y="767477"/>
                    <a:pt x="2739128" y="766663"/>
                  </a:cubicBezTo>
                  <a:cubicBezTo>
                    <a:pt x="2738313" y="766663"/>
                    <a:pt x="2738313" y="766663"/>
                    <a:pt x="2737499" y="765848"/>
                  </a:cubicBezTo>
                  <a:cubicBezTo>
                    <a:pt x="2737499" y="765034"/>
                    <a:pt x="2738313" y="763405"/>
                    <a:pt x="2739128" y="762590"/>
                  </a:cubicBezTo>
                  <a:cubicBezTo>
                    <a:pt x="2739942" y="761776"/>
                    <a:pt x="2740757" y="760961"/>
                    <a:pt x="2741571" y="760147"/>
                  </a:cubicBezTo>
                  <a:cubicBezTo>
                    <a:pt x="2741571" y="760147"/>
                    <a:pt x="2742386" y="760147"/>
                    <a:pt x="2742386" y="760147"/>
                  </a:cubicBezTo>
                  <a:cubicBezTo>
                    <a:pt x="2744829" y="760961"/>
                    <a:pt x="2748087" y="761776"/>
                    <a:pt x="2748087" y="757703"/>
                  </a:cubicBezTo>
                  <a:cubicBezTo>
                    <a:pt x="2748087" y="756889"/>
                    <a:pt x="2746458" y="756074"/>
                    <a:pt x="2745643" y="756074"/>
                  </a:cubicBezTo>
                  <a:cubicBezTo>
                    <a:pt x="2745643" y="756074"/>
                    <a:pt x="2746458" y="755260"/>
                    <a:pt x="2746458" y="755260"/>
                  </a:cubicBezTo>
                  <a:cubicBezTo>
                    <a:pt x="2749716" y="752002"/>
                    <a:pt x="2747273" y="747115"/>
                    <a:pt x="2742386" y="747929"/>
                  </a:cubicBezTo>
                  <a:cubicBezTo>
                    <a:pt x="2742386" y="747929"/>
                    <a:pt x="2742386" y="747929"/>
                    <a:pt x="2742386" y="747929"/>
                  </a:cubicBezTo>
                  <a:cubicBezTo>
                    <a:pt x="2743200" y="745486"/>
                    <a:pt x="2740757" y="743042"/>
                    <a:pt x="2737499" y="743042"/>
                  </a:cubicBezTo>
                  <a:cubicBezTo>
                    <a:pt x="2733426" y="743042"/>
                    <a:pt x="2728539" y="743857"/>
                    <a:pt x="2724467" y="743857"/>
                  </a:cubicBezTo>
                  <a:cubicBezTo>
                    <a:pt x="2721209" y="743042"/>
                    <a:pt x="2717136" y="741413"/>
                    <a:pt x="2713879" y="741413"/>
                  </a:cubicBezTo>
                  <a:cubicBezTo>
                    <a:pt x="2713879" y="741413"/>
                    <a:pt x="2713879" y="740599"/>
                    <a:pt x="2713879" y="740599"/>
                  </a:cubicBezTo>
                  <a:cubicBezTo>
                    <a:pt x="2713064" y="739784"/>
                    <a:pt x="2711435" y="739784"/>
                    <a:pt x="2709806" y="738970"/>
                  </a:cubicBezTo>
                  <a:cubicBezTo>
                    <a:pt x="2708991" y="738970"/>
                    <a:pt x="2708991" y="738970"/>
                    <a:pt x="2708177" y="738155"/>
                  </a:cubicBezTo>
                  <a:cubicBezTo>
                    <a:pt x="2708991" y="737341"/>
                    <a:pt x="2708991" y="736526"/>
                    <a:pt x="2708991" y="735712"/>
                  </a:cubicBezTo>
                  <a:cubicBezTo>
                    <a:pt x="2708991" y="735712"/>
                    <a:pt x="2708177" y="735712"/>
                    <a:pt x="2707362" y="734898"/>
                  </a:cubicBezTo>
                  <a:cubicBezTo>
                    <a:pt x="2707362" y="734898"/>
                    <a:pt x="2707362" y="734898"/>
                    <a:pt x="2707362" y="734898"/>
                  </a:cubicBezTo>
                  <a:cubicBezTo>
                    <a:pt x="2708991" y="734083"/>
                    <a:pt x="2711435" y="734083"/>
                    <a:pt x="2713064" y="734083"/>
                  </a:cubicBezTo>
                  <a:cubicBezTo>
                    <a:pt x="2726096" y="736526"/>
                    <a:pt x="2739942" y="738155"/>
                    <a:pt x="2752159" y="744671"/>
                  </a:cubicBezTo>
                  <a:cubicBezTo>
                    <a:pt x="2759490" y="747929"/>
                    <a:pt x="2768449" y="749558"/>
                    <a:pt x="2776594" y="743042"/>
                  </a:cubicBezTo>
                  <a:cubicBezTo>
                    <a:pt x="2773336" y="742228"/>
                    <a:pt x="2770078" y="741413"/>
                    <a:pt x="2766821" y="740599"/>
                  </a:cubicBezTo>
                  <a:cubicBezTo>
                    <a:pt x="2768449" y="739784"/>
                    <a:pt x="2769264" y="738970"/>
                    <a:pt x="2770893" y="738155"/>
                  </a:cubicBezTo>
                  <a:cubicBezTo>
                    <a:pt x="2757047" y="734898"/>
                    <a:pt x="2744014" y="731639"/>
                    <a:pt x="2730983" y="728381"/>
                  </a:cubicBezTo>
                  <a:cubicBezTo>
                    <a:pt x="2731797" y="728381"/>
                    <a:pt x="2732612" y="727567"/>
                    <a:pt x="2732612" y="727567"/>
                  </a:cubicBezTo>
                  <a:cubicBezTo>
                    <a:pt x="2742386" y="725124"/>
                    <a:pt x="2751345" y="723495"/>
                    <a:pt x="2761933" y="721051"/>
                  </a:cubicBezTo>
                  <a:cubicBezTo>
                    <a:pt x="2762748" y="718608"/>
                    <a:pt x="2764377" y="715350"/>
                    <a:pt x="2765191" y="712092"/>
                  </a:cubicBezTo>
                  <a:cubicBezTo>
                    <a:pt x="2766006" y="709648"/>
                    <a:pt x="2766821" y="706390"/>
                    <a:pt x="2767635" y="703947"/>
                  </a:cubicBezTo>
                  <a:cubicBezTo>
                    <a:pt x="2770078" y="703132"/>
                    <a:pt x="2772522" y="701503"/>
                    <a:pt x="2774151" y="700689"/>
                  </a:cubicBezTo>
                  <a:cubicBezTo>
                    <a:pt x="2775780" y="696616"/>
                    <a:pt x="2773336" y="694987"/>
                    <a:pt x="2770078" y="694173"/>
                  </a:cubicBezTo>
                  <a:cubicBezTo>
                    <a:pt x="2770078" y="694173"/>
                    <a:pt x="2769264" y="694173"/>
                    <a:pt x="2769264" y="694173"/>
                  </a:cubicBezTo>
                  <a:cubicBezTo>
                    <a:pt x="2769264" y="691729"/>
                    <a:pt x="2767635" y="690101"/>
                    <a:pt x="2765191" y="689286"/>
                  </a:cubicBezTo>
                  <a:cubicBezTo>
                    <a:pt x="2758676" y="687657"/>
                    <a:pt x="2752159" y="686028"/>
                    <a:pt x="2746458" y="684399"/>
                  </a:cubicBezTo>
                  <a:cubicBezTo>
                    <a:pt x="2739128" y="682770"/>
                    <a:pt x="2731797" y="681141"/>
                    <a:pt x="2725281" y="677883"/>
                  </a:cubicBezTo>
                  <a:cubicBezTo>
                    <a:pt x="2726910" y="677069"/>
                    <a:pt x="2728539" y="676254"/>
                    <a:pt x="2730168" y="675440"/>
                  </a:cubicBezTo>
                  <a:cubicBezTo>
                    <a:pt x="2730168" y="675440"/>
                    <a:pt x="2730983" y="675440"/>
                    <a:pt x="2730983" y="674625"/>
                  </a:cubicBezTo>
                  <a:cubicBezTo>
                    <a:pt x="2730983" y="673811"/>
                    <a:pt x="2731797" y="673811"/>
                    <a:pt x="2731797" y="672996"/>
                  </a:cubicBezTo>
                  <a:cubicBezTo>
                    <a:pt x="2731797" y="672996"/>
                    <a:pt x="2730983" y="672996"/>
                    <a:pt x="2730983" y="672996"/>
                  </a:cubicBezTo>
                  <a:cubicBezTo>
                    <a:pt x="2729354" y="673811"/>
                    <a:pt x="2728539" y="673811"/>
                    <a:pt x="2726910" y="674625"/>
                  </a:cubicBezTo>
                  <a:cubicBezTo>
                    <a:pt x="2725281" y="675440"/>
                    <a:pt x="2723652" y="675440"/>
                    <a:pt x="2722024" y="675440"/>
                  </a:cubicBezTo>
                  <a:cubicBezTo>
                    <a:pt x="2722024" y="675440"/>
                    <a:pt x="2722024" y="675440"/>
                    <a:pt x="2722024" y="675440"/>
                  </a:cubicBezTo>
                  <a:cubicBezTo>
                    <a:pt x="2721209" y="674625"/>
                    <a:pt x="2719580" y="673811"/>
                    <a:pt x="2718765" y="672996"/>
                  </a:cubicBezTo>
                  <a:cubicBezTo>
                    <a:pt x="2717951" y="671367"/>
                    <a:pt x="2715507" y="670553"/>
                    <a:pt x="2713879" y="670553"/>
                  </a:cubicBezTo>
                  <a:cubicBezTo>
                    <a:pt x="2704919" y="668109"/>
                    <a:pt x="2696774" y="666480"/>
                    <a:pt x="2690258" y="660779"/>
                  </a:cubicBezTo>
                  <a:cubicBezTo>
                    <a:pt x="2689444" y="659964"/>
                    <a:pt x="2687000" y="659150"/>
                    <a:pt x="2684557" y="659150"/>
                  </a:cubicBezTo>
                  <a:cubicBezTo>
                    <a:pt x="2666638" y="657521"/>
                    <a:pt x="2650348" y="653449"/>
                    <a:pt x="2634873" y="647747"/>
                  </a:cubicBezTo>
                  <a:cubicBezTo>
                    <a:pt x="2632430" y="646933"/>
                    <a:pt x="2629986" y="646118"/>
                    <a:pt x="2627543" y="646118"/>
                  </a:cubicBezTo>
                  <a:cubicBezTo>
                    <a:pt x="2609624" y="646118"/>
                    <a:pt x="2593334" y="642046"/>
                    <a:pt x="2576230" y="639602"/>
                  </a:cubicBezTo>
                  <a:cubicBezTo>
                    <a:pt x="2567271" y="638788"/>
                    <a:pt x="2557497" y="637973"/>
                    <a:pt x="2547723" y="637973"/>
                  </a:cubicBezTo>
                  <a:cubicBezTo>
                    <a:pt x="2546908" y="637973"/>
                    <a:pt x="2545279" y="637973"/>
                    <a:pt x="2544465" y="637159"/>
                  </a:cubicBezTo>
                  <a:cubicBezTo>
                    <a:pt x="2543650" y="636344"/>
                    <a:pt x="2542836" y="636344"/>
                    <a:pt x="2542021" y="635530"/>
                  </a:cubicBezTo>
                  <a:cubicBezTo>
                    <a:pt x="2540392" y="635530"/>
                    <a:pt x="2539578" y="635530"/>
                    <a:pt x="2537949" y="635530"/>
                  </a:cubicBezTo>
                  <a:cubicBezTo>
                    <a:pt x="2537134" y="635530"/>
                    <a:pt x="2537134" y="635530"/>
                    <a:pt x="2536320" y="635530"/>
                  </a:cubicBezTo>
                  <a:cubicBezTo>
                    <a:pt x="2536320" y="633086"/>
                    <a:pt x="2535505" y="631457"/>
                    <a:pt x="2536320" y="629828"/>
                  </a:cubicBezTo>
                  <a:cubicBezTo>
                    <a:pt x="2537949" y="624942"/>
                    <a:pt x="2539578" y="620055"/>
                    <a:pt x="2546094" y="619240"/>
                  </a:cubicBezTo>
                  <a:cubicBezTo>
                    <a:pt x="2545279" y="615982"/>
                    <a:pt x="2545279" y="614353"/>
                    <a:pt x="2544465" y="611910"/>
                  </a:cubicBezTo>
                  <a:cubicBezTo>
                    <a:pt x="2544465" y="611095"/>
                    <a:pt x="2543650" y="609466"/>
                    <a:pt x="2543650" y="608652"/>
                  </a:cubicBezTo>
                  <a:cubicBezTo>
                    <a:pt x="2544465" y="607837"/>
                    <a:pt x="2546094" y="607023"/>
                    <a:pt x="2546908" y="607023"/>
                  </a:cubicBezTo>
                  <a:cubicBezTo>
                    <a:pt x="2545279" y="607023"/>
                    <a:pt x="2544465" y="607023"/>
                    <a:pt x="2542836" y="607023"/>
                  </a:cubicBezTo>
                  <a:cubicBezTo>
                    <a:pt x="2542021" y="605394"/>
                    <a:pt x="2542021" y="603765"/>
                    <a:pt x="2541207" y="602136"/>
                  </a:cubicBezTo>
                  <a:cubicBezTo>
                    <a:pt x="2541207" y="602136"/>
                    <a:pt x="2541207" y="602136"/>
                    <a:pt x="2541207" y="602136"/>
                  </a:cubicBezTo>
                  <a:cubicBezTo>
                    <a:pt x="2541207" y="602136"/>
                    <a:pt x="2541207" y="602136"/>
                    <a:pt x="2541207" y="602136"/>
                  </a:cubicBezTo>
                  <a:cubicBezTo>
                    <a:pt x="2539578" y="596434"/>
                    <a:pt x="2537134" y="590733"/>
                    <a:pt x="2535505" y="585031"/>
                  </a:cubicBezTo>
                  <a:cubicBezTo>
                    <a:pt x="2533062" y="576886"/>
                    <a:pt x="2527360" y="571185"/>
                    <a:pt x="2518401" y="569556"/>
                  </a:cubicBezTo>
                  <a:cubicBezTo>
                    <a:pt x="2513514" y="568742"/>
                    <a:pt x="2508627" y="567927"/>
                    <a:pt x="2505369" y="566298"/>
                  </a:cubicBezTo>
                  <a:cubicBezTo>
                    <a:pt x="2502111" y="564669"/>
                    <a:pt x="2498853" y="563855"/>
                    <a:pt x="2495595" y="565484"/>
                  </a:cubicBezTo>
                  <a:cubicBezTo>
                    <a:pt x="2492337" y="563855"/>
                    <a:pt x="2489079" y="564669"/>
                    <a:pt x="2486636" y="565484"/>
                  </a:cubicBezTo>
                  <a:cubicBezTo>
                    <a:pt x="2485822" y="564669"/>
                    <a:pt x="2485822" y="563040"/>
                    <a:pt x="2485007" y="561411"/>
                  </a:cubicBezTo>
                  <a:cubicBezTo>
                    <a:pt x="2485007" y="556524"/>
                    <a:pt x="2482564" y="554081"/>
                    <a:pt x="2478491" y="551637"/>
                  </a:cubicBezTo>
                  <a:cubicBezTo>
                    <a:pt x="2478491" y="550823"/>
                    <a:pt x="2476862" y="549194"/>
                    <a:pt x="2476048" y="549194"/>
                  </a:cubicBezTo>
                  <a:cubicBezTo>
                    <a:pt x="2475233" y="549194"/>
                    <a:pt x="2475233" y="549194"/>
                    <a:pt x="2474419" y="549194"/>
                  </a:cubicBezTo>
                  <a:cubicBezTo>
                    <a:pt x="2473604" y="548379"/>
                    <a:pt x="2472790" y="548379"/>
                    <a:pt x="2472790" y="547565"/>
                  </a:cubicBezTo>
                  <a:cubicBezTo>
                    <a:pt x="2472790" y="547565"/>
                    <a:pt x="2472790" y="546750"/>
                    <a:pt x="2473604" y="546750"/>
                  </a:cubicBezTo>
                  <a:cubicBezTo>
                    <a:pt x="2473604" y="545936"/>
                    <a:pt x="2471975" y="544307"/>
                    <a:pt x="2471160" y="544307"/>
                  </a:cubicBezTo>
                  <a:cubicBezTo>
                    <a:pt x="2470346" y="544307"/>
                    <a:pt x="2470346" y="544307"/>
                    <a:pt x="2469532" y="544307"/>
                  </a:cubicBezTo>
                  <a:cubicBezTo>
                    <a:pt x="2468717" y="543493"/>
                    <a:pt x="2467903" y="542678"/>
                    <a:pt x="2467903" y="541863"/>
                  </a:cubicBezTo>
                  <a:cubicBezTo>
                    <a:pt x="2471160" y="541049"/>
                    <a:pt x="2474419" y="540234"/>
                    <a:pt x="2477677" y="538606"/>
                  </a:cubicBezTo>
                  <a:cubicBezTo>
                    <a:pt x="2475233" y="536977"/>
                    <a:pt x="2472790" y="536162"/>
                    <a:pt x="2469532" y="535348"/>
                  </a:cubicBezTo>
                  <a:cubicBezTo>
                    <a:pt x="2469532" y="535348"/>
                    <a:pt x="2469532" y="534533"/>
                    <a:pt x="2470346" y="534533"/>
                  </a:cubicBezTo>
                  <a:cubicBezTo>
                    <a:pt x="2470346" y="534533"/>
                    <a:pt x="2470346" y="534533"/>
                    <a:pt x="2470346" y="534533"/>
                  </a:cubicBezTo>
                  <a:cubicBezTo>
                    <a:pt x="2471160" y="534533"/>
                    <a:pt x="2471975" y="533719"/>
                    <a:pt x="2471975" y="533719"/>
                  </a:cubicBezTo>
                  <a:cubicBezTo>
                    <a:pt x="2471975" y="533719"/>
                    <a:pt x="2471160" y="533719"/>
                    <a:pt x="2471160" y="533719"/>
                  </a:cubicBezTo>
                  <a:cubicBezTo>
                    <a:pt x="2471975" y="532904"/>
                    <a:pt x="2472790" y="532904"/>
                    <a:pt x="2473604" y="532904"/>
                  </a:cubicBezTo>
                  <a:cubicBezTo>
                    <a:pt x="2473604" y="532904"/>
                    <a:pt x="2472790" y="533719"/>
                    <a:pt x="2472790" y="533719"/>
                  </a:cubicBezTo>
                  <a:cubicBezTo>
                    <a:pt x="2475233" y="535348"/>
                    <a:pt x="2478491" y="536162"/>
                    <a:pt x="2480934" y="535348"/>
                  </a:cubicBezTo>
                  <a:cubicBezTo>
                    <a:pt x="2480120" y="536162"/>
                    <a:pt x="2479305" y="536977"/>
                    <a:pt x="2477677" y="538606"/>
                  </a:cubicBezTo>
                  <a:cubicBezTo>
                    <a:pt x="2480934" y="541049"/>
                    <a:pt x="2485007" y="541863"/>
                    <a:pt x="2489079" y="539420"/>
                  </a:cubicBezTo>
                  <a:cubicBezTo>
                    <a:pt x="2493152" y="536977"/>
                    <a:pt x="2496410" y="536162"/>
                    <a:pt x="2499668" y="536162"/>
                  </a:cubicBezTo>
                  <a:cubicBezTo>
                    <a:pt x="2499668" y="536162"/>
                    <a:pt x="2499668" y="536977"/>
                    <a:pt x="2499668" y="536977"/>
                  </a:cubicBezTo>
                  <a:cubicBezTo>
                    <a:pt x="2499668" y="536977"/>
                    <a:pt x="2499668" y="537791"/>
                    <a:pt x="2499668" y="537791"/>
                  </a:cubicBezTo>
                  <a:cubicBezTo>
                    <a:pt x="2498039" y="538606"/>
                    <a:pt x="2497224" y="539420"/>
                    <a:pt x="2495595" y="541049"/>
                  </a:cubicBezTo>
                  <a:cubicBezTo>
                    <a:pt x="2497224" y="541863"/>
                    <a:pt x="2498039" y="541863"/>
                    <a:pt x="2499668" y="541863"/>
                  </a:cubicBezTo>
                  <a:cubicBezTo>
                    <a:pt x="2499668" y="543493"/>
                    <a:pt x="2500482" y="544307"/>
                    <a:pt x="2501297" y="545936"/>
                  </a:cubicBezTo>
                  <a:cubicBezTo>
                    <a:pt x="2501297" y="545936"/>
                    <a:pt x="2501297" y="545936"/>
                    <a:pt x="2501297" y="545936"/>
                  </a:cubicBezTo>
                  <a:cubicBezTo>
                    <a:pt x="2501297" y="545936"/>
                    <a:pt x="2501297" y="545936"/>
                    <a:pt x="2501297" y="545936"/>
                  </a:cubicBezTo>
                  <a:cubicBezTo>
                    <a:pt x="2502111" y="547565"/>
                    <a:pt x="2503740" y="549194"/>
                    <a:pt x="2505369" y="550823"/>
                  </a:cubicBezTo>
                  <a:cubicBezTo>
                    <a:pt x="2508627" y="553266"/>
                    <a:pt x="2513514" y="554895"/>
                    <a:pt x="2517586" y="554081"/>
                  </a:cubicBezTo>
                  <a:cubicBezTo>
                    <a:pt x="2512700" y="554895"/>
                    <a:pt x="2511885" y="558153"/>
                    <a:pt x="2514329" y="561411"/>
                  </a:cubicBezTo>
                  <a:cubicBezTo>
                    <a:pt x="2515143" y="563040"/>
                    <a:pt x="2515957" y="563855"/>
                    <a:pt x="2517586" y="564669"/>
                  </a:cubicBezTo>
                  <a:cubicBezTo>
                    <a:pt x="2517586" y="564669"/>
                    <a:pt x="2517586" y="564669"/>
                    <a:pt x="2517586" y="564669"/>
                  </a:cubicBezTo>
                  <a:cubicBezTo>
                    <a:pt x="2517586" y="564669"/>
                    <a:pt x="2517586" y="564669"/>
                    <a:pt x="2517586" y="564669"/>
                  </a:cubicBezTo>
                  <a:cubicBezTo>
                    <a:pt x="2518401" y="565484"/>
                    <a:pt x="2518401" y="565484"/>
                    <a:pt x="2519216" y="565484"/>
                  </a:cubicBezTo>
                  <a:cubicBezTo>
                    <a:pt x="2519216" y="565484"/>
                    <a:pt x="2519216" y="565484"/>
                    <a:pt x="2519216" y="566298"/>
                  </a:cubicBezTo>
                  <a:cubicBezTo>
                    <a:pt x="2522474" y="571185"/>
                    <a:pt x="2527360" y="572000"/>
                    <a:pt x="2533062" y="572000"/>
                  </a:cubicBezTo>
                  <a:cubicBezTo>
                    <a:pt x="2534691" y="576072"/>
                    <a:pt x="2537949" y="576886"/>
                    <a:pt x="2542836" y="576886"/>
                  </a:cubicBezTo>
                  <a:cubicBezTo>
                    <a:pt x="2542836" y="573629"/>
                    <a:pt x="2541207" y="571185"/>
                    <a:pt x="2538763" y="569556"/>
                  </a:cubicBezTo>
                  <a:cubicBezTo>
                    <a:pt x="2537949" y="567927"/>
                    <a:pt x="2537134" y="566298"/>
                    <a:pt x="2536320" y="564669"/>
                  </a:cubicBezTo>
                  <a:cubicBezTo>
                    <a:pt x="2543650" y="564669"/>
                    <a:pt x="2551795" y="567113"/>
                    <a:pt x="2555868" y="557339"/>
                  </a:cubicBezTo>
                  <a:cubicBezTo>
                    <a:pt x="2551795" y="558153"/>
                    <a:pt x="2548537" y="558153"/>
                    <a:pt x="2545279" y="558153"/>
                  </a:cubicBezTo>
                  <a:cubicBezTo>
                    <a:pt x="2546908" y="557339"/>
                    <a:pt x="2549352" y="554895"/>
                    <a:pt x="2550166" y="552452"/>
                  </a:cubicBezTo>
                  <a:cubicBezTo>
                    <a:pt x="2546094" y="553266"/>
                    <a:pt x="2542021" y="553266"/>
                    <a:pt x="2538763" y="553266"/>
                  </a:cubicBezTo>
                  <a:cubicBezTo>
                    <a:pt x="2535505" y="553266"/>
                    <a:pt x="2531433" y="552452"/>
                    <a:pt x="2528175" y="552452"/>
                  </a:cubicBezTo>
                  <a:cubicBezTo>
                    <a:pt x="2524917" y="552452"/>
                    <a:pt x="2520845" y="553266"/>
                    <a:pt x="2517586" y="554081"/>
                  </a:cubicBezTo>
                  <a:cubicBezTo>
                    <a:pt x="2518401" y="554081"/>
                    <a:pt x="2519216" y="553266"/>
                    <a:pt x="2520030" y="553266"/>
                  </a:cubicBezTo>
                  <a:cubicBezTo>
                    <a:pt x="2523288" y="551637"/>
                    <a:pt x="2526546" y="550823"/>
                    <a:pt x="2530619" y="552452"/>
                  </a:cubicBezTo>
                  <a:cubicBezTo>
                    <a:pt x="2527360" y="545936"/>
                    <a:pt x="2530619" y="541863"/>
                    <a:pt x="2532247" y="536977"/>
                  </a:cubicBezTo>
                  <a:cubicBezTo>
                    <a:pt x="2533062" y="536162"/>
                    <a:pt x="2533062" y="535348"/>
                    <a:pt x="2533876" y="533719"/>
                  </a:cubicBezTo>
                  <a:cubicBezTo>
                    <a:pt x="2533876" y="532904"/>
                    <a:pt x="2533876" y="532090"/>
                    <a:pt x="2533876" y="531275"/>
                  </a:cubicBezTo>
                  <a:cubicBezTo>
                    <a:pt x="2540392" y="528017"/>
                    <a:pt x="2548537" y="527203"/>
                    <a:pt x="2555053" y="525574"/>
                  </a:cubicBezTo>
                  <a:cubicBezTo>
                    <a:pt x="2568085" y="522316"/>
                    <a:pt x="2581117" y="519872"/>
                    <a:pt x="2594149" y="515800"/>
                  </a:cubicBezTo>
                  <a:cubicBezTo>
                    <a:pt x="2596592" y="514985"/>
                    <a:pt x="2599035" y="514171"/>
                    <a:pt x="2601479" y="514171"/>
                  </a:cubicBezTo>
                  <a:cubicBezTo>
                    <a:pt x="2594149" y="516614"/>
                    <a:pt x="2586818" y="518243"/>
                    <a:pt x="2580302" y="522316"/>
                  </a:cubicBezTo>
                  <a:cubicBezTo>
                    <a:pt x="2572972" y="525574"/>
                    <a:pt x="2564827" y="527203"/>
                    <a:pt x="2555868" y="527203"/>
                  </a:cubicBezTo>
                  <a:cubicBezTo>
                    <a:pt x="2550166" y="527203"/>
                    <a:pt x="2550166" y="527203"/>
                    <a:pt x="2542021" y="532090"/>
                  </a:cubicBezTo>
                  <a:cubicBezTo>
                    <a:pt x="2544465" y="532904"/>
                    <a:pt x="2546908" y="534533"/>
                    <a:pt x="2548537" y="536162"/>
                  </a:cubicBezTo>
                  <a:cubicBezTo>
                    <a:pt x="2547723" y="536162"/>
                    <a:pt x="2547723" y="536977"/>
                    <a:pt x="2546908" y="536977"/>
                  </a:cubicBezTo>
                  <a:cubicBezTo>
                    <a:pt x="2549352" y="537791"/>
                    <a:pt x="2551795" y="539420"/>
                    <a:pt x="2553424" y="541049"/>
                  </a:cubicBezTo>
                  <a:cubicBezTo>
                    <a:pt x="2554238" y="541863"/>
                    <a:pt x="2555053" y="543493"/>
                    <a:pt x="2556682" y="544307"/>
                  </a:cubicBezTo>
                  <a:cubicBezTo>
                    <a:pt x="2558311" y="545936"/>
                    <a:pt x="2559126" y="547565"/>
                    <a:pt x="2561569" y="548379"/>
                  </a:cubicBezTo>
                  <a:cubicBezTo>
                    <a:pt x="2561569" y="548379"/>
                    <a:pt x="2562383" y="549194"/>
                    <a:pt x="2562383" y="549194"/>
                  </a:cubicBezTo>
                  <a:cubicBezTo>
                    <a:pt x="2566456" y="554895"/>
                    <a:pt x="2573786" y="555710"/>
                    <a:pt x="2581931" y="554895"/>
                  </a:cubicBezTo>
                  <a:cubicBezTo>
                    <a:pt x="2583560" y="554895"/>
                    <a:pt x="2585189" y="554081"/>
                    <a:pt x="2586004" y="553266"/>
                  </a:cubicBezTo>
                  <a:cubicBezTo>
                    <a:pt x="2591705" y="546750"/>
                    <a:pt x="2599850" y="545121"/>
                    <a:pt x="2608809" y="544307"/>
                  </a:cubicBezTo>
                  <a:cubicBezTo>
                    <a:pt x="2614511" y="543493"/>
                    <a:pt x="2620212" y="542678"/>
                    <a:pt x="2625099" y="538606"/>
                  </a:cubicBezTo>
                  <a:cubicBezTo>
                    <a:pt x="2635687" y="531275"/>
                    <a:pt x="2647905" y="528017"/>
                    <a:pt x="2660122" y="527203"/>
                  </a:cubicBezTo>
                  <a:cubicBezTo>
                    <a:pt x="2680484" y="524759"/>
                    <a:pt x="2698403" y="518243"/>
                    <a:pt x="2714693" y="506841"/>
                  </a:cubicBezTo>
                  <a:cubicBezTo>
                    <a:pt x="2719580" y="502768"/>
                    <a:pt x="2724467" y="501954"/>
                    <a:pt x="2730168" y="501954"/>
                  </a:cubicBezTo>
                  <a:cubicBezTo>
                    <a:pt x="2728539" y="505211"/>
                    <a:pt x="2726910" y="507655"/>
                    <a:pt x="2726096" y="510098"/>
                  </a:cubicBezTo>
                  <a:cubicBezTo>
                    <a:pt x="2726910" y="512542"/>
                    <a:pt x="2729354" y="511727"/>
                    <a:pt x="2730983" y="510913"/>
                  </a:cubicBezTo>
                  <a:cubicBezTo>
                    <a:pt x="2731797" y="510913"/>
                    <a:pt x="2732612" y="510098"/>
                    <a:pt x="2733426" y="510098"/>
                  </a:cubicBezTo>
                  <a:cubicBezTo>
                    <a:pt x="2732612" y="511727"/>
                    <a:pt x="2731797" y="513356"/>
                    <a:pt x="2730983" y="514985"/>
                  </a:cubicBezTo>
                  <a:cubicBezTo>
                    <a:pt x="2731797" y="517429"/>
                    <a:pt x="2734241" y="516614"/>
                    <a:pt x="2735870" y="515800"/>
                  </a:cubicBezTo>
                  <a:cubicBezTo>
                    <a:pt x="2739942" y="514171"/>
                    <a:pt x="2744014" y="514985"/>
                    <a:pt x="2748087" y="516614"/>
                  </a:cubicBezTo>
                  <a:cubicBezTo>
                    <a:pt x="2749716" y="514171"/>
                    <a:pt x="2751345" y="512542"/>
                    <a:pt x="2752974" y="510913"/>
                  </a:cubicBezTo>
                  <a:cubicBezTo>
                    <a:pt x="2758676" y="511727"/>
                    <a:pt x="2761933" y="509284"/>
                    <a:pt x="2762748" y="504397"/>
                  </a:cubicBezTo>
                  <a:cubicBezTo>
                    <a:pt x="2764377" y="499510"/>
                    <a:pt x="2763562" y="494623"/>
                    <a:pt x="2759490" y="490551"/>
                  </a:cubicBezTo>
                  <a:cubicBezTo>
                    <a:pt x="2757861" y="488922"/>
                    <a:pt x="2755417" y="486478"/>
                    <a:pt x="2752974" y="484035"/>
                  </a:cubicBezTo>
                  <a:cubicBezTo>
                    <a:pt x="2756232" y="480777"/>
                    <a:pt x="2758676" y="477519"/>
                    <a:pt x="2761933" y="474261"/>
                  </a:cubicBezTo>
                  <a:cubicBezTo>
                    <a:pt x="2766006" y="469374"/>
                    <a:pt x="2768449" y="464487"/>
                    <a:pt x="2766006" y="458785"/>
                  </a:cubicBezTo>
                  <a:cubicBezTo>
                    <a:pt x="2764377" y="459600"/>
                    <a:pt x="2762748" y="460415"/>
                    <a:pt x="2761933" y="462044"/>
                  </a:cubicBezTo>
                  <a:cubicBezTo>
                    <a:pt x="2761933" y="462044"/>
                    <a:pt x="2761119" y="462044"/>
                    <a:pt x="2761119" y="461229"/>
                  </a:cubicBezTo>
                  <a:cubicBezTo>
                    <a:pt x="2761933" y="459600"/>
                    <a:pt x="2761933" y="457971"/>
                    <a:pt x="2761119" y="457157"/>
                  </a:cubicBezTo>
                  <a:cubicBezTo>
                    <a:pt x="2761119" y="457157"/>
                    <a:pt x="2761119" y="457157"/>
                    <a:pt x="2761119" y="457157"/>
                  </a:cubicBezTo>
                  <a:cubicBezTo>
                    <a:pt x="2761933" y="454713"/>
                    <a:pt x="2762748" y="451455"/>
                    <a:pt x="2762748" y="449012"/>
                  </a:cubicBezTo>
                  <a:cubicBezTo>
                    <a:pt x="2762748" y="446568"/>
                    <a:pt x="2760304" y="444939"/>
                    <a:pt x="2757047" y="444939"/>
                  </a:cubicBezTo>
                  <a:cubicBezTo>
                    <a:pt x="2757047" y="444939"/>
                    <a:pt x="2757047" y="444125"/>
                    <a:pt x="2757047" y="444125"/>
                  </a:cubicBezTo>
                  <a:cubicBezTo>
                    <a:pt x="2757047" y="441681"/>
                    <a:pt x="2754603" y="440867"/>
                    <a:pt x="2752974" y="440052"/>
                  </a:cubicBezTo>
                  <a:cubicBezTo>
                    <a:pt x="2753788" y="436794"/>
                    <a:pt x="2752159" y="433536"/>
                    <a:pt x="2748087" y="431907"/>
                  </a:cubicBezTo>
                  <a:cubicBezTo>
                    <a:pt x="2748087" y="431907"/>
                    <a:pt x="2748087" y="431907"/>
                    <a:pt x="2748087" y="431907"/>
                  </a:cubicBezTo>
                  <a:cubicBezTo>
                    <a:pt x="2747273" y="430278"/>
                    <a:pt x="2745643" y="428650"/>
                    <a:pt x="2743200" y="427020"/>
                  </a:cubicBezTo>
                  <a:cubicBezTo>
                    <a:pt x="2740757" y="426206"/>
                    <a:pt x="2738313" y="425392"/>
                    <a:pt x="2735870" y="425392"/>
                  </a:cubicBezTo>
                  <a:cubicBezTo>
                    <a:pt x="2732612" y="424577"/>
                    <a:pt x="2730168" y="423763"/>
                    <a:pt x="2727725" y="422133"/>
                  </a:cubicBezTo>
                  <a:cubicBezTo>
                    <a:pt x="2725281" y="419690"/>
                    <a:pt x="2723652" y="416432"/>
                    <a:pt x="2722024" y="413989"/>
                  </a:cubicBezTo>
                  <a:cubicBezTo>
                    <a:pt x="2721209" y="413989"/>
                    <a:pt x="2720395" y="413989"/>
                    <a:pt x="2719580" y="413989"/>
                  </a:cubicBezTo>
                  <a:cubicBezTo>
                    <a:pt x="2718765" y="412360"/>
                    <a:pt x="2717951" y="410731"/>
                    <a:pt x="2716322" y="409102"/>
                  </a:cubicBezTo>
                  <a:cubicBezTo>
                    <a:pt x="2713064" y="407473"/>
                    <a:pt x="2708177" y="413989"/>
                    <a:pt x="2703290" y="409916"/>
                  </a:cubicBezTo>
                  <a:cubicBezTo>
                    <a:pt x="2698403" y="406658"/>
                    <a:pt x="2693516" y="411545"/>
                    <a:pt x="2688629" y="411545"/>
                  </a:cubicBezTo>
                  <a:cubicBezTo>
                    <a:pt x="2688629" y="411545"/>
                    <a:pt x="2687815" y="411545"/>
                    <a:pt x="2687815" y="411545"/>
                  </a:cubicBezTo>
                  <a:cubicBezTo>
                    <a:pt x="2688629" y="410731"/>
                    <a:pt x="2688629" y="409916"/>
                    <a:pt x="2689444" y="409102"/>
                  </a:cubicBezTo>
                  <a:cubicBezTo>
                    <a:pt x="2687000" y="409916"/>
                    <a:pt x="2685372" y="410731"/>
                    <a:pt x="2682928" y="410731"/>
                  </a:cubicBezTo>
                  <a:cubicBezTo>
                    <a:pt x="2682113" y="410731"/>
                    <a:pt x="2681299" y="409916"/>
                    <a:pt x="2680484" y="409916"/>
                  </a:cubicBezTo>
                  <a:cubicBezTo>
                    <a:pt x="2667453" y="403400"/>
                    <a:pt x="2651977" y="403400"/>
                    <a:pt x="2637316" y="400957"/>
                  </a:cubicBezTo>
                  <a:cubicBezTo>
                    <a:pt x="2622656" y="398513"/>
                    <a:pt x="2607180" y="396884"/>
                    <a:pt x="2591705" y="394441"/>
                  </a:cubicBezTo>
                  <a:cubicBezTo>
                    <a:pt x="2585189" y="393626"/>
                    <a:pt x="2579488" y="392812"/>
                    <a:pt x="2573786" y="393626"/>
                  </a:cubicBezTo>
                  <a:cubicBezTo>
                    <a:pt x="2567271" y="394441"/>
                    <a:pt x="2561569" y="395255"/>
                    <a:pt x="2555053" y="393626"/>
                  </a:cubicBezTo>
                  <a:cubicBezTo>
                    <a:pt x="2553424" y="392812"/>
                    <a:pt x="2550166" y="391997"/>
                    <a:pt x="2549352" y="392812"/>
                  </a:cubicBezTo>
                  <a:cubicBezTo>
                    <a:pt x="2542836" y="396070"/>
                    <a:pt x="2535505" y="393626"/>
                    <a:pt x="2528990" y="393626"/>
                  </a:cubicBezTo>
                  <a:cubicBezTo>
                    <a:pt x="2528990" y="393626"/>
                    <a:pt x="2529804" y="392812"/>
                    <a:pt x="2529804" y="391997"/>
                  </a:cubicBezTo>
                  <a:cubicBezTo>
                    <a:pt x="2528175" y="391183"/>
                    <a:pt x="2526546" y="391183"/>
                    <a:pt x="2524917" y="390368"/>
                  </a:cubicBezTo>
                  <a:cubicBezTo>
                    <a:pt x="2524102" y="390368"/>
                    <a:pt x="2523288" y="391183"/>
                    <a:pt x="2523288" y="391997"/>
                  </a:cubicBezTo>
                  <a:cubicBezTo>
                    <a:pt x="2523288" y="391997"/>
                    <a:pt x="2523288" y="392812"/>
                    <a:pt x="2524102" y="392812"/>
                  </a:cubicBezTo>
                  <a:cubicBezTo>
                    <a:pt x="2518401" y="392812"/>
                    <a:pt x="2512700" y="391997"/>
                    <a:pt x="2506998" y="390368"/>
                  </a:cubicBezTo>
                  <a:cubicBezTo>
                    <a:pt x="2506998" y="387925"/>
                    <a:pt x="2506184" y="385481"/>
                    <a:pt x="2505369" y="382224"/>
                  </a:cubicBezTo>
                  <a:cubicBezTo>
                    <a:pt x="2506998" y="381409"/>
                    <a:pt x="2510256" y="379780"/>
                    <a:pt x="2512700" y="379780"/>
                  </a:cubicBezTo>
                  <a:cubicBezTo>
                    <a:pt x="2528990" y="375708"/>
                    <a:pt x="2545279" y="372450"/>
                    <a:pt x="2561569" y="372450"/>
                  </a:cubicBezTo>
                  <a:cubicBezTo>
                    <a:pt x="2568899" y="372450"/>
                    <a:pt x="2576230" y="370006"/>
                    <a:pt x="2582746" y="368377"/>
                  </a:cubicBezTo>
                  <a:cubicBezTo>
                    <a:pt x="2587633" y="366748"/>
                    <a:pt x="2592520" y="365934"/>
                    <a:pt x="2597406" y="365934"/>
                  </a:cubicBezTo>
                  <a:cubicBezTo>
                    <a:pt x="2594149" y="367563"/>
                    <a:pt x="2591705" y="369192"/>
                    <a:pt x="2589261" y="370821"/>
                  </a:cubicBezTo>
                  <a:cubicBezTo>
                    <a:pt x="2581931" y="376522"/>
                    <a:pt x="2582746" y="387925"/>
                    <a:pt x="2591705" y="391183"/>
                  </a:cubicBezTo>
                  <a:cubicBezTo>
                    <a:pt x="2597406" y="393626"/>
                    <a:pt x="2603108" y="395255"/>
                    <a:pt x="2609624" y="388740"/>
                  </a:cubicBezTo>
                  <a:cubicBezTo>
                    <a:pt x="2616954" y="381409"/>
                    <a:pt x="2617769" y="377337"/>
                    <a:pt x="2612068" y="369192"/>
                  </a:cubicBezTo>
                  <a:cubicBezTo>
                    <a:pt x="2611253" y="367563"/>
                    <a:pt x="2609624" y="365934"/>
                    <a:pt x="2608809" y="365119"/>
                  </a:cubicBezTo>
                  <a:cubicBezTo>
                    <a:pt x="2614511" y="365119"/>
                    <a:pt x="2621027" y="363490"/>
                    <a:pt x="2627543" y="362676"/>
                  </a:cubicBezTo>
                  <a:cubicBezTo>
                    <a:pt x="2637316" y="361047"/>
                    <a:pt x="2647905" y="361861"/>
                    <a:pt x="2657679" y="362676"/>
                  </a:cubicBezTo>
                  <a:cubicBezTo>
                    <a:pt x="2665009" y="362676"/>
                    <a:pt x="2671525" y="364305"/>
                    <a:pt x="2678855" y="365119"/>
                  </a:cubicBezTo>
                  <a:cubicBezTo>
                    <a:pt x="2687000" y="365934"/>
                    <a:pt x="2695960" y="367563"/>
                    <a:pt x="2704105" y="368377"/>
                  </a:cubicBezTo>
                  <a:cubicBezTo>
                    <a:pt x="2705734" y="365934"/>
                    <a:pt x="2704105" y="365119"/>
                    <a:pt x="2702476" y="363490"/>
                  </a:cubicBezTo>
                  <a:cubicBezTo>
                    <a:pt x="2707362" y="361861"/>
                    <a:pt x="2713064" y="361047"/>
                    <a:pt x="2718765" y="359418"/>
                  </a:cubicBezTo>
                  <a:cubicBezTo>
                    <a:pt x="2719580" y="356160"/>
                    <a:pt x="2715507" y="355345"/>
                    <a:pt x="2713879" y="353716"/>
                  </a:cubicBezTo>
                  <a:cubicBezTo>
                    <a:pt x="2713879" y="352088"/>
                    <a:pt x="2713064" y="351273"/>
                    <a:pt x="2711435" y="350458"/>
                  </a:cubicBezTo>
                  <a:cubicBezTo>
                    <a:pt x="2710621" y="348015"/>
                    <a:pt x="2708991" y="344757"/>
                    <a:pt x="2708177" y="341499"/>
                  </a:cubicBezTo>
                  <a:cubicBezTo>
                    <a:pt x="2730983" y="336612"/>
                    <a:pt x="2753788" y="335798"/>
                    <a:pt x="2779038" y="328467"/>
                  </a:cubicBezTo>
                  <a:cubicBezTo>
                    <a:pt x="2769264" y="325209"/>
                    <a:pt x="2762748" y="328467"/>
                    <a:pt x="2755417" y="327653"/>
                  </a:cubicBezTo>
                  <a:cubicBezTo>
                    <a:pt x="2755417" y="327653"/>
                    <a:pt x="2755417" y="327653"/>
                    <a:pt x="2755417" y="327653"/>
                  </a:cubicBezTo>
                  <a:cubicBezTo>
                    <a:pt x="2761119" y="326838"/>
                    <a:pt x="2767635" y="325209"/>
                    <a:pt x="2773336" y="323580"/>
                  </a:cubicBezTo>
                  <a:cubicBezTo>
                    <a:pt x="2767635" y="321137"/>
                    <a:pt x="2762748" y="321951"/>
                    <a:pt x="2758676" y="322766"/>
                  </a:cubicBezTo>
                  <a:cubicBezTo>
                    <a:pt x="2759490" y="321137"/>
                    <a:pt x="2760304" y="320322"/>
                    <a:pt x="2760304" y="318693"/>
                  </a:cubicBezTo>
                  <a:cubicBezTo>
                    <a:pt x="2761933" y="314621"/>
                    <a:pt x="2758676" y="311363"/>
                    <a:pt x="2756232" y="307291"/>
                  </a:cubicBezTo>
                  <a:cubicBezTo>
                    <a:pt x="2754603" y="304033"/>
                    <a:pt x="2752159" y="300775"/>
                    <a:pt x="2748902" y="299146"/>
                  </a:cubicBezTo>
                  <a:cubicBezTo>
                    <a:pt x="2748902" y="299146"/>
                    <a:pt x="2748087" y="298331"/>
                    <a:pt x="2747273" y="298331"/>
                  </a:cubicBezTo>
                  <a:cubicBezTo>
                    <a:pt x="2746458" y="296702"/>
                    <a:pt x="2744829" y="295073"/>
                    <a:pt x="2743200" y="294259"/>
                  </a:cubicBezTo>
                  <a:cubicBezTo>
                    <a:pt x="2740757" y="292630"/>
                    <a:pt x="2736684" y="291815"/>
                    <a:pt x="2733426" y="291001"/>
                  </a:cubicBezTo>
                  <a:cubicBezTo>
                    <a:pt x="2708177" y="286114"/>
                    <a:pt x="2682928" y="285299"/>
                    <a:pt x="2656864" y="286928"/>
                  </a:cubicBezTo>
                  <a:cubicBezTo>
                    <a:pt x="2640575" y="288557"/>
                    <a:pt x="2625099" y="289372"/>
                    <a:pt x="2608809" y="290186"/>
                  </a:cubicBezTo>
                  <a:cubicBezTo>
                    <a:pt x="2608809" y="290186"/>
                    <a:pt x="2607995" y="290186"/>
                    <a:pt x="2607995" y="290186"/>
                  </a:cubicBezTo>
                  <a:cubicBezTo>
                    <a:pt x="2617769" y="289372"/>
                    <a:pt x="2627543" y="287743"/>
                    <a:pt x="2637316" y="286928"/>
                  </a:cubicBezTo>
                  <a:cubicBezTo>
                    <a:pt x="2647905" y="286114"/>
                    <a:pt x="2659308" y="284485"/>
                    <a:pt x="2669896" y="283670"/>
                  </a:cubicBezTo>
                  <a:cubicBezTo>
                    <a:pt x="2680484" y="282856"/>
                    <a:pt x="2691073" y="282041"/>
                    <a:pt x="2701661" y="281227"/>
                  </a:cubicBezTo>
                  <a:cubicBezTo>
                    <a:pt x="2703290" y="277154"/>
                    <a:pt x="2700847" y="275525"/>
                    <a:pt x="2697589" y="274711"/>
                  </a:cubicBezTo>
                  <a:cubicBezTo>
                    <a:pt x="2697589" y="274711"/>
                    <a:pt x="2696774" y="274711"/>
                    <a:pt x="2696774" y="274711"/>
                  </a:cubicBezTo>
                  <a:cubicBezTo>
                    <a:pt x="2696774" y="273897"/>
                    <a:pt x="2696774" y="273082"/>
                    <a:pt x="2696774" y="273082"/>
                  </a:cubicBezTo>
                  <a:cubicBezTo>
                    <a:pt x="2667453" y="273897"/>
                    <a:pt x="2637316" y="273082"/>
                    <a:pt x="2607180" y="273082"/>
                  </a:cubicBezTo>
                  <a:cubicBezTo>
                    <a:pt x="2601479" y="273082"/>
                    <a:pt x="2595778" y="272267"/>
                    <a:pt x="2590891" y="270639"/>
                  </a:cubicBezTo>
                  <a:cubicBezTo>
                    <a:pt x="2590891" y="270639"/>
                    <a:pt x="2590076" y="270639"/>
                    <a:pt x="2590076" y="270639"/>
                  </a:cubicBezTo>
                  <a:cubicBezTo>
                    <a:pt x="2568899" y="271453"/>
                    <a:pt x="2547723" y="273082"/>
                    <a:pt x="2526546" y="275525"/>
                  </a:cubicBezTo>
                  <a:cubicBezTo>
                    <a:pt x="2517586" y="276340"/>
                    <a:pt x="2509442" y="277154"/>
                    <a:pt x="2500482" y="277969"/>
                  </a:cubicBezTo>
                  <a:cubicBezTo>
                    <a:pt x="2500482" y="276340"/>
                    <a:pt x="2500482" y="274711"/>
                    <a:pt x="2499668" y="273082"/>
                  </a:cubicBezTo>
                  <a:cubicBezTo>
                    <a:pt x="2497224" y="265752"/>
                    <a:pt x="2497224" y="259236"/>
                    <a:pt x="2497224" y="251905"/>
                  </a:cubicBezTo>
                  <a:cubicBezTo>
                    <a:pt x="2497224" y="247833"/>
                    <a:pt x="2498039" y="245389"/>
                    <a:pt x="2502111" y="243760"/>
                  </a:cubicBezTo>
                  <a:cubicBezTo>
                    <a:pt x="2502926" y="243760"/>
                    <a:pt x="2504555" y="241317"/>
                    <a:pt x="2504555" y="240502"/>
                  </a:cubicBezTo>
                  <a:cubicBezTo>
                    <a:pt x="2504555" y="239688"/>
                    <a:pt x="2502926" y="237245"/>
                    <a:pt x="2502111" y="237245"/>
                  </a:cubicBezTo>
                  <a:cubicBezTo>
                    <a:pt x="2496410" y="236430"/>
                    <a:pt x="2497224" y="233172"/>
                    <a:pt x="2496410" y="229100"/>
                  </a:cubicBezTo>
                  <a:cubicBezTo>
                    <a:pt x="2496410" y="224213"/>
                    <a:pt x="2495595" y="219326"/>
                    <a:pt x="2494781" y="213624"/>
                  </a:cubicBezTo>
                  <a:cubicBezTo>
                    <a:pt x="2494781" y="210366"/>
                    <a:pt x="2493967" y="207923"/>
                    <a:pt x="2493967" y="204665"/>
                  </a:cubicBezTo>
                  <a:cubicBezTo>
                    <a:pt x="2493967" y="194891"/>
                    <a:pt x="2493967" y="185117"/>
                    <a:pt x="2486636" y="176972"/>
                  </a:cubicBezTo>
                  <a:cubicBezTo>
                    <a:pt x="2485007" y="174529"/>
                    <a:pt x="2482564" y="171271"/>
                    <a:pt x="2482564" y="168827"/>
                  </a:cubicBezTo>
                  <a:cubicBezTo>
                    <a:pt x="2482564" y="161497"/>
                    <a:pt x="2477677" y="157424"/>
                    <a:pt x="2474419" y="152538"/>
                  </a:cubicBezTo>
                  <a:cubicBezTo>
                    <a:pt x="2471975" y="149280"/>
                    <a:pt x="2470346" y="146836"/>
                    <a:pt x="2469532" y="143578"/>
                  </a:cubicBezTo>
                  <a:cubicBezTo>
                    <a:pt x="2468717" y="140320"/>
                    <a:pt x="2468717" y="138691"/>
                    <a:pt x="2469532" y="137877"/>
                  </a:cubicBezTo>
                  <a:cubicBezTo>
                    <a:pt x="2461387" y="133804"/>
                    <a:pt x="2455685" y="129732"/>
                    <a:pt x="2449984" y="124845"/>
                  </a:cubicBezTo>
                  <a:cubicBezTo>
                    <a:pt x="2447541" y="124845"/>
                    <a:pt x="2445912" y="124845"/>
                    <a:pt x="2443468" y="124845"/>
                  </a:cubicBezTo>
                  <a:cubicBezTo>
                    <a:pt x="2433694" y="126474"/>
                    <a:pt x="2423920" y="125659"/>
                    <a:pt x="2414146" y="123216"/>
                  </a:cubicBezTo>
                  <a:cubicBezTo>
                    <a:pt x="2406001" y="125659"/>
                    <a:pt x="2399486" y="131361"/>
                    <a:pt x="2392970" y="134619"/>
                  </a:cubicBezTo>
                  <a:cubicBezTo>
                    <a:pt x="2388897" y="137062"/>
                    <a:pt x="2386454" y="140320"/>
                    <a:pt x="2382381" y="142764"/>
                  </a:cubicBezTo>
                  <a:cubicBezTo>
                    <a:pt x="2380752" y="143578"/>
                    <a:pt x="2379123" y="144393"/>
                    <a:pt x="2376680" y="145207"/>
                  </a:cubicBezTo>
                  <a:cubicBezTo>
                    <a:pt x="2377494" y="150094"/>
                    <a:pt x="2373422" y="153352"/>
                    <a:pt x="2369349" y="154981"/>
                  </a:cubicBezTo>
                  <a:cubicBezTo>
                    <a:pt x="2368535" y="155796"/>
                    <a:pt x="2366906" y="155796"/>
                    <a:pt x="2366092" y="156610"/>
                  </a:cubicBezTo>
                  <a:cubicBezTo>
                    <a:pt x="2357132" y="164755"/>
                    <a:pt x="2345729" y="166384"/>
                    <a:pt x="2335141" y="164755"/>
                  </a:cubicBezTo>
                  <a:cubicBezTo>
                    <a:pt x="2322109" y="163126"/>
                    <a:pt x="2309077" y="160683"/>
                    <a:pt x="2296860" y="154167"/>
                  </a:cubicBezTo>
                  <a:cubicBezTo>
                    <a:pt x="2296045" y="153352"/>
                    <a:pt x="2294417" y="153352"/>
                    <a:pt x="2293602" y="151723"/>
                  </a:cubicBezTo>
                  <a:cubicBezTo>
                    <a:pt x="2289529" y="148465"/>
                    <a:pt x="2286272" y="144393"/>
                    <a:pt x="2283828" y="140320"/>
                  </a:cubicBezTo>
                  <a:cubicBezTo>
                    <a:pt x="2263466" y="129732"/>
                    <a:pt x="2249620" y="110184"/>
                    <a:pt x="2251248" y="84120"/>
                  </a:cubicBezTo>
                  <a:cubicBezTo>
                    <a:pt x="2242289" y="84120"/>
                    <a:pt x="2234144" y="82492"/>
                    <a:pt x="2225999" y="79234"/>
                  </a:cubicBezTo>
                  <a:cubicBezTo>
                    <a:pt x="2221113" y="79234"/>
                    <a:pt x="2217040" y="79234"/>
                    <a:pt x="2212153" y="79234"/>
                  </a:cubicBezTo>
                  <a:cubicBezTo>
                    <a:pt x="2212153" y="79234"/>
                    <a:pt x="2212153" y="78419"/>
                    <a:pt x="2212968" y="78419"/>
                  </a:cubicBezTo>
                  <a:cubicBezTo>
                    <a:pt x="2212153" y="75161"/>
                    <a:pt x="2216225" y="72718"/>
                    <a:pt x="2215411" y="68645"/>
                  </a:cubicBezTo>
                  <a:cubicBezTo>
                    <a:pt x="2215411" y="67831"/>
                    <a:pt x="2216225" y="67016"/>
                    <a:pt x="2217040" y="67016"/>
                  </a:cubicBezTo>
                  <a:cubicBezTo>
                    <a:pt x="2218669" y="66202"/>
                    <a:pt x="2219484" y="65387"/>
                    <a:pt x="2218669" y="63758"/>
                  </a:cubicBezTo>
                  <a:cubicBezTo>
                    <a:pt x="2217854" y="60500"/>
                    <a:pt x="2217040" y="58057"/>
                    <a:pt x="2219484" y="54799"/>
                  </a:cubicBezTo>
                  <a:cubicBezTo>
                    <a:pt x="2219484" y="54799"/>
                    <a:pt x="2219484" y="53984"/>
                    <a:pt x="2220298" y="53984"/>
                  </a:cubicBezTo>
                  <a:cubicBezTo>
                    <a:pt x="2220298" y="53984"/>
                    <a:pt x="2220298" y="53170"/>
                    <a:pt x="2220298" y="53170"/>
                  </a:cubicBezTo>
                  <a:cubicBezTo>
                    <a:pt x="2220298" y="52355"/>
                    <a:pt x="2218669" y="50727"/>
                    <a:pt x="2218669" y="50727"/>
                  </a:cubicBezTo>
                  <a:cubicBezTo>
                    <a:pt x="2215411" y="52355"/>
                    <a:pt x="2212153" y="50727"/>
                    <a:pt x="2208895" y="49097"/>
                  </a:cubicBezTo>
                  <a:cubicBezTo>
                    <a:pt x="2207266" y="48283"/>
                    <a:pt x="2206451" y="47468"/>
                    <a:pt x="2204823" y="46654"/>
                  </a:cubicBezTo>
                  <a:cubicBezTo>
                    <a:pt x="2203194" y="45840"/>
                    <a:pt x="2202379" y="45840"/>
                    <a:pt x="2200750" y="46654"/>
                  </a:cubicBezTo>
                  <a:cubicBezTo>
                    <a:pt x="2195863" y="48283"/>
                    <a:pt x="2190162" y="49912"/>
                    <a:pt x="2185275" y="50727"/>
                  </a:cubicBezTo>
                  <a:cubicBezTo>
                    <a:pt x="2184461" y="50727"/>
                    <a:pt x="2183646" y="51541"/>
                    <a:pt x="2182832" y="50727"/>
                  </a:cubicBezTo>
                  <a:cubicBezTo>
                    <a:pt x="2179573" y="49097"/>
                    <a:pt x="2177130" y="50727"/>
                    <a:pt x="2173872" y="51541"/>
                  </a:cubicBezTo>
                  <a:cubicBezTo>
                    <a:pt x="2173058" y="51541"/>
                    <a:pt x="2171428" y="52355"/>
                    <a:pt x="2170614" y="52355"/>
                  </a:cubicBezTo>
                  <a:cubicBezTo>
                    <a:pt x="2169799" y="52355"/>
                    <a:pt x="2168985" y="52355"/>
                    <a:pt x="2168171" y="52355"/>
                  </a:cubicBezTo>
                  <a:cubicBezTo>
                    <a:pt x="2166542" y="51541"/>
                    <a:pt x="2164913" y="51541"/>
                    <a:pt x="2164098" y="52355"/>
                  </a:cubicBezTo>
                  <a:cubicBezTo>
                    <a:pt x="2159211" y="53984"/>
                    <a:pt x="2154324" y="54799"/>
                    <a:pt x="2149437" y="56428"/>
                  </a:cubicBezTo>
                  <a:cubicBezTo>
                    <a:pt x="2147809" y="57242"/>
                    <a:pt x="2146180" y="57242"/>
                    <a:pt x="2145365" y="56428"/>
                  </a:cubicBezTo>
                  <a:cubicBezTo>
                    <a:pt x="2142921" y="55613"/>
                    <a:pt x="2140478" y="56428"/>
                    <a:pt x="2138849" y="54799"/>
                  </a:cubicBezTo>
                  <a:cubicBezTo>
                    <a:pt x="2138035" y="53984"/>
                    <a:pt x="2137220" y="53984"/>
                    <a:pt x="2135591" y="53170"/>
                  </a:cubicBezTo>
                  <a:cubicBezTo>
                    <a:pt x="2133962" y="52355"/>
                    <a:pt x="2133962" y="52355"/>
                    <a:pt x="2135591" y="50727"/>
                  </a:cubicBezTo>
                  <a:cubicBezTo>
                    <a:pt x="2138035" y="49097"/>
                    <a:pt x="2139664" y="46654"/>
                    <a:pt x="2142921" y="45840"/>
                  </a:cubicBezTo>
                  <a:cubicBezTo>
                    <a:pt x="2146994" y="45025"/>
                    <a:pt x="2150252" y="43396"/>
                    <a:pt x="2153510" y="42582"/>
                  </a:cubicBezTo>
                  <a:cubicBezTo>
                    <a:pt x="2155953" y="41767"/>
                    <a:pt x="2157582" y="41767"/>
                    <a:pt x="2160026" y="42582"/>
                  </a:cubicBezTo>
                  <a:cubicBezTo>
                    <a:pt x="2161655" y="43396"/>
                    <a:pt x="2164098" y="43396"/>
                    <a:pt x="2165727" y="43396"/>
                  </a:cubicBezTo>
                  <a:cubicBezTo>
                    <a:pt x="2167356" y="43396"/>
                    <a:pt x="2169799" y="42582"/>
                    <a:pt x="2171428" y="41767"/>
                  </a:cubicBezTo>
                  <a:cubicBezTo>
                    <a:pt x="2173058" y="41767"/>
                    <a:pt x="2174687" y="40953"/>
                    <a:pt x="2175501" y="40953"/>
                  </a:cubicBezTo>
                  <a:cubicBezTo>
                    <a:pt x="2176316" y="40953"/>
                    <a:pt x="2177130" y="40953"/>
                    <a:pt x="2177944" y="40953"/>
                  </a:cubicBezTo>
                  <a:cubicBezTo>
                    <a:pt x="2179573" y="41767"/>
                    <a:pt x="2181202" y="41767"/>
                    <a:pt x="2182017" y="40953"/>
                  </a:cubicBezTo>
                  <a:cubicBezTo>
                    <a:pt x="2183646" y="40138"/>
                    <a:pt x="2186089" y="40138"/>
                    <a:pt x="2187718" y="40953"/>
                  </a:cubicBezTo>
                  <a:cubicBezTo>
                    <a:pt x="2188533" y="41767"/>
                    <a:pt x="2190162" y="40953"/>
                    <a:pt x="2190976" y="40953"/>
                  </a:cubicBezTo>
                  <a:cubicBezTo>
                    <a:pt x="2192606" y="40953"/>
                    <a:pt x="2194234" y="40138"/>
                    <a:pt x="2195049" y="40138"/>
                  </a:cubicBezTo>
                  <a:cubicBezTo>
                    <a:pt x="2197492" y="40953"/>
                    <a:pt x="2199936" y="40138"/>
                    <a:pt x="2201565" y="40138"/>
                  </a:cubicBezTo>
                  <a:cubicBezTo>
                    <a:pt x="2204008" y="39323"/>
                    <a:pt x="2206451" y="38509"/>
                    <a:pt x="2208895" y="37695"/>
                  </a:cubicBezTo>
                  <a:cubicBezTo>
                    <a:pt x="2212153" y="36880"/>
                    <a:pt x="2215411" y="36066"/>
                    <a:pt x="2218669" y="35251"/>
                  </a:cubicBezTo>
                  <a:cubicBezTo>
                    <a:pt x="2220298" y="34437"/>
                    <a:pt x="2221927" y="35251"/>
                    <a:pt x="2222741" y="35251"/>
                  </a:cubicBezTo>
                  <a:cubicBezTo>
                    <a:pt x="2223556" y="35251"/>
                    <a:pt x="2224370" y="35251"/>
                    <a:pt x="2225185" y="35251"/>
                  </a:cubicBezTo>
                  <a:cubicBezTo>
                    <a:pt x="2233330" y="32808"/>
                    <a:pt x="2241475" y="30364"/>
                    <a:pt x="2249620" y="27921"/>
                  </a:cubicBezTo>
                  <a:cubicBezTo>
                    <a:pt x="2250434" y="27921"/>
                    <a:pt x="2251248" y="26292"/>
                    <a:pt x="2250434" y="25477"/>
                  </a:cubicBezTo>
                  <a:cubicBezTo>
                    <a:pt x="2249620" y="23848"/>
                    <a:pt x="2249620" y="22219"/>
                    <a:pt x="2247176" y="21405"/>
                  </a:cubicBezTo>
                  <a:cubicBezTo>
                    <a:pt x="2243918" y="20590"/>
                    <a:pt x="2239846" y="20590"/>
                    <a:pt x="2236588" y="18147"/>
                  </a:cubicBezTo>
                  <a:cubicBezTo>
                    <a:pt x="2235773" y="18147"/>
                    <a:pt x="2234959" y="18147"/>
                    <a:pt x="2234144" y="18147"/>
                  </a:cubicBezTo>
                  <a:cubicBezTo>
                    <a:pt x="2230886" y="19776"/>
                    <a:pt x="2227628" y="18961"/>
                    <a:pt x="2224370" y="17332"/>
                  </a:cubicBezTo>
                  <a:cubicBezTo>
                    <a:pt x="2223556" y="16518"/>
                    <a:pt x="2221927" y="16518"/>
                    <a:pt x="2221113" y="17332"/>
                  </a:cubicBezTo>
                  <a:cubicBezTo>
                    <a:pt x="2219484" y="18147"/>
                    <a:pt x="2217854" y="17332"/>
                    <a:pt x="2217040" y="17332"/>
                  </a:cubicBezTo>
                  <a:cubicBezTo>
                    <a:pt x="2214596" y="16518"/>
                    <a:pt x="2212968" y="16518"/>
                    <a:pt x="2210524" y="16518"/>
                  </a:cubicBezTo>
                  <a:cubicBezTo>
                    <a:pt x="2208081" y="18147"/>
                    <a:pt x="2205637" y="15703"/>
                    <a:pt x="2202379" y="16518"/>
                  </a:cubicBezTo>
                  <a:cubicBezTo>
                    <a:pt x="2199121" y="17332"/>
                    <a:pt x="2196678" y="14889"/>
                    <a:pt x="2193420" y="16518"/>
                  </a:cubicBezTo>
                  <a:cubicBezTo>
                    <a:pt x="2192606" y="16518"/>
                    <a:pt x="2191791" y="16518"/>
                    <a:pt x="2190976" y="16518"/>
                  </a:cubicBezTo>
                  <a:cubicBezTo>
                    <a:pt x="2188533" y="14889"/>
                    <a:pt x="2186089" y="14889"/>
                    <a:pt x="2183646" y="14074"/>
                  </a:cubicBezTo>
                  <a:cubicBezTo>
                    <a:pt x="2181202" y="13260"/>
                    <a:pt x="2179573" y="11631"/>
                    <a:pt x="2177944" y="10816"/>
                  </a:cubicBezTo>
                  <a:cubicBezTo>
                    <a:pt x="2177944" y="10816"/>
                    <a:pt x="2177944" y="10002"/>
                    <a:pt x="2177130" y="10002"/>
                  </a:cubicBezTo>
                  <a:cubicBezTo>
                    <a:pt x="2177130" y="10002"/>
                    <a:pt x="2177130" y="9188"/>
                    <a:pt x="2177130" y="9188"/>
                  </a:cubicBezTo>
                  <a:cubicBezTo>
                    <a:pt x="2177944" y="7558"/>
                    <a:pt x="2178759" y="6744"/>
                    <a:pt x="2179573" y="5115"/>
                  </a:cubicBezTo>
                  <a:cubicBezTo>
                    <a:pt x="2180388" y="5115"/>
                    <a:pt x="2182017" y="5930"/>
                    <a:pt x="2182832" y="5930"/>
                  </a:cubicBezTo>
                  <a:cubicBezTo>
                    <a:pt x="2183646" y="5930"/>
                    <a:pt x="2184461" y="5115"/>
                    <a:pt x="2184461" y="5115"/>
                  </a:cubicBezTo>
                  <a:cubicBezTo>
                    <a:pt x="2184461" y="5115"/>
                    <a:pt x="2184461" y="4301"/>
                    <a:pt x="2183646" y="3486"/>
                  </a:cubicBezTo>
                  <a:cubicBezTo>
                    <a:pt x="2182017" y="2671"/>
                    <a:pt x="2181202" y="1857"/>
                    <a:pt x="2179573" y="2671"/>
                  </a:cubicBezTo>
                  <a:cubicBezTo>
                    <a:pt x="2177130" y="3486"/>
                    <a:pt x="2174687" y="4301"/>
                    <a:pt x="2172243" y="5115"/>
                  </a:cubicBezTo>
                  <a:cubicBezTo>
                    <a:pt x="2170614" y="5115"/>
                    <a:pt x="2169799" y="5115"/>
                    <a:pt x="2168985" y="4301"/>
                  </a:cubicBezTo>
                  <a:cubicBezTo>
                    <a:pt x="2168171" y="3486"/>
                    <a:pt x="2168171" y="2671"/>
                    <a:pt x="2167356" y="2671"/>
                  </a:cubicBezTo>
                  <a:cubicBezTo>
                    <a:pt x="2164098" y="1857"/>
                    <a:pt x="2160840" y="1857"/>
                    <a:pt x="2157582" y="1043"/>
                  </a:cubicBezTo>
                  <a:cubicBezTo>
                    <a:pt x="2155953" y="1043"/>
                    <a:pt x="2154324" y="1043"/>
                    <a:pt x="2153510" y="1043"/>
                  </a:cubicBezTo>
                  <a:cubicBezTo>
                    <a:pt x="2151881" y="1043"/>
                    <a:pt x="2150252" y="1857"/>
                    <a:pt x="2149437" y="1043"/>
                  </a:cubicBezTo>
                  <a:cubicBezTo>
                    <a:pt x="2147809" y="228"/>
                    <a:pt x="2145365" y="228"/>
                    <a:pt x="2143736" y="228"/>
                  </a:cubicBezTo>
                  <a:cubicBezTo>
                    <a:pt x="2141292" y="-586"/>
                    <a:pt x="2139664" y="1043"/>
                    <a:pt x="2137220" y="1043"/>
                  </a:cubicBezTo>
                  <a:cubicBezTo>
                    <a:pt x="2137220" y="1043"/>
                    <a:pt x="2136406" y="1043"/>
                    <a:pt x="2136406" y="1043"/>
                  </a:cubicBezTo>
                  <a:cubicBezTo>
                    <a:pt x="2133962" y="228"/>
                    <a:pt x="2132333" y="228"/>
                    <a:pt x="2129890" y="1043"/>
                  </a:cubicBezTo>
                  <a:cubicBezTo>
                    <a:pt x="2129075" y="1043"/>
                    <a:pt x="2127446" y="1857"/>
                    <a:pt x="2126632" y="1043"/>
                  </a:cubicBezTo>
                  <a:cubicBezTo>
                    <a:pt x="2125003" y="228"/>
                    <a:pt x="2122559" y="1043"/>
                    <a:pt x="2120930" y="1043"/>
                  </a:cubicBezTo>
                  <a:cubicBezTo>
                    <a:pt x="2119301" y="1857"/>
                    <a:pt x="2117672" y="1857"/>
                    <a:pt x="2116858" y="1043"/>
                  </a:cubicBezTo>
                  <a:cubicBezTo>
                    <a:pt x="2116043" y="1043"/>
                    <a:pt x="2114414" y="1043"/>
                    <a:pt x="2113600" y="1043"/>
                  </a:cubicBezTo>
                  <a:cubicBezTo>
                    <a:pt x="2110342" y="1857"/>
                    <a:pt x="2107084" y="2671"/>
                    <a:pt x="2103826" y="1857"/>
                  </a:cubicBezTo>
                  <a:cubicBezTo>
                    <a:pt x="2103012" y="1857"/>
                    <a:pt x="2102197" y="1857"/>
                    <a:pt x="2101383" y="2671"/>
                  </a:cubicBezTo>
                  <a:cubicBezTo>
                    <a:pt x="2098939" y="3486"/>
                    <a:pt x="2097310" y="3486"/>
                    <a:pt x="2094867" y="2671"/>
                  </a:cubicBezTo>
                  <a:cubicBezTo>
                    <a:pt x="2094052" y="2671"/>
                    <a:pt x="2093238" y="2671"/>
                    <a:pt x="2092423" y="3486"/>
                  </a:cubicBezTo>
                  <a:cubicBezTo>
                    <a:pt x="2090794" y="5930"/>
                    <a:pt x="2089165" y="5930"/>
                    <a:pt x="2086722" y="6744"/>
                  </a:cubicBezTo>
                  <a:cubicBezTo>
                    <a:pt x="2085093" y="7558"/>
                    <a:pt x="2083464" y="7558"/>
                    <a:pt x="2081020" y="8373"/>
                  </a:cubicBezTo>
                  <a:cubicBezTo>
                    <a:pt x="2080206" y="8373"/>
                    <a:pt x="2079391" y="8373"/>
                    <a:pt x="2078577" y="8373"/>
                  </a:cubicBezTo>
                  <a:cubicBezTo>
                    <a:pt x="2076948" y="7558"/>
                    <a:pt x="2074505" y="7558"/>
                    <a:pt x="2072875" y="8373"/>
                  </a:cubicBezTo>
                  <a:cubicBezTo>
                    <a:pt x="2072061" y="8373"/>
                    <a:pt x="2070432" y="9188"/>
                    <a:pt x="2069617" y="8373"/>
                  </a:cubicBezTo>
                  <a:cubicBezTo>
                    <a:pt x="2067174" y="7558"/>
                    <a:pt x="2065545" y="7558"/>
                    <a:pt x="2063101" y="8373"/>
                  </a:cubicBezTo>
                  <a:cubicBezTo>
                    <a:pt x="2059029" y="10002"/>
                    <a:pt x="2054142" y="10816"/>
                    <a:pt x="2050070" y="12445"/>
                  </a:cubicBezTo>
                  <a:cubicBezTo>
                    <a:pt x="2049255" y="12445"/>
                    <a:pt x="2047626" y="13260"/>
                    <a:pt x="2046812" y="12445"/>
                  </a:cubicBezTo>
                  <a:cubicBezTo>
                    <a:pt x="2045183" y="11631"/>
                    <a:pt x="2043554" y="11631"/>
                    <a:pt x="2042739" y="12445"/>
                  </a:cubicBezTo>
                  <a:cubicBezTo>
                    <a:pt x="2039481" y="14074"/>
                    <a:pt x="2035409" y="14074"/>
                    <a:pt x="2031336" y="12445"/>
                  </a:cubicBezTo>
                  <a:cubicBezTo>
                    <a:pt x="2028893" y="11631"/>
                    <a:pt x="2026449" y="11631"/>
                    <a:pt x="2023191" y="12445"/>
                  </a:cubicBezTo>
                  <a:cubicBezTo>
                    <a:pt x="2019934" y="13260"/>
                    <a:pt x="2017490" y="14074"/>
                    <a:pt x="2014232" y="14074"/>
                  </a:cubicBezTo>
                  <a:cubicBezTo>
                    <a:pt x="2011789" y="13260"/>
                    <a:pt x="2009345" y="14074"/>
                    <a:pt x="2006087" y="14889"/>
                  </a:cubicBezTo>
                  <a:cubicBezTo>
                    <a:pt x="1975137" y="23848"/>
                    <a:pt x="1943371" y="32808"/>
                    <a:pt x="1912421" y="41767"/>
                  </a:cubicBezTo>
                  <a:cubicBezTo>
                    <a:pt x="1900204" y="45025"/>
                    <a:pt x="1887172" y="49097"/>
                    <a:pt x="1874955" y="52355"/>
                  </a:cubicBezTo>
                  <a:cubicBezTo>
                    <a:pt x="1873326" y="53170"/>
                    <a:pt x="1871696" y="53170"/>
                    <a:pt x="1870882" y="52355"/>
                  </a:cubicBezTo>
                  <a:cubicBezTo>
                    <a:pt x="1870067" y="52355"/>
                    <a:pt x="1869253" y="51541"/>
                    <a:pt x="1868438" y="52355"/>
                  </a:cubicBezTo>
                  <a:cubicBezTo>
                    <a:pt x="1864366" y="53170"/>
                    <a:pt x="1859479" y="54799"/>
                    <a:pt x="1855407" y="56428"/>
                  </a:cubicBezTo>
                  <a:cubicBezTo>
                    <a:pt x="1854592" y="56428"/>
                    <a:pt x="1854592" y="57242"/>
                    <a:pt x="1853778" y="58057"/>
                  </a:cubicBezTo>
                  <a:cubicBezTo>
                    <a:pt x="1852963" y="58871"/>
                    <a:pt x="1852149" y="59686"/>
                    <a:pt x="1851334" y="59686"/>
                  </a:cubicBezTo>
                  <a:cubicBezTo>
                    <a:pt x="1847262" y="61315"/>
                    <a:pt x="1842375" y="62129"/>
                    <a:pt x="1838303" y="63758"/>
                  </a:cubicBezTo>
                  <a:cubicBezTo>
                    <a:pt x="1836674" y="64573"/>
                    <a:pt x="1835044" y="63758"/>
                    <a:pt x="1834230" y="63758"/>
                  </a:cubicBezTo>
                  <a:cubicBezTo>
                    <a:pt x="1834230" y="63758"/>
                    <a:pt x="1833415" y="63758"/>
                    <a:pt x="1833415" y="63758"/>
                  </a:cubicBezTo>
                  <a:cubicBezTo>
                    <a:pt x="1829343" y="64573"/>
                    <a:pt x="1824456" y="65387"/>
                    <a:pt x="1821198" y="68645"/>
                  </a:cubicBezTo>
                  <a:cubicBezTo>
                    <a:pt x="1818755" y="70274"/>
                    <a:pt x="1815496" y="71089"/>
                    <a:pt x="1812239" y="70274"/>
                  </a:cubicBezTo>
                  <a:cubicBezTo>
                    <a:pt x="1811424" y="70274"/>
                    <a:pt x="1809795" y="70274"/>
                    <a:pt x="1808981" y="69460"/>
                  </a:cubicBezTo>
                  <a:cubicBezTo>
                    <a:pt x="1808981" y="69460"/>
                    <a:pt x="1808166" y="68645"/>
                    <a:pt x="1808166" y="68645"/>
                  </a:cubicBezTo>
                  <a:cubicBezTo>
                    <a:pt x="1808166" y="68645"/>
                    <a:pt x="1808166" y="67831"/>
                    <a:pt x="1808981" y="67831"/>
                  </a:cubicBezTo>
                  <a:cubicBezTo>
                    <a:pt x="1810610" y="66202"/>
                    <a:pt x="1813868" y="67016"/>
                    <a:pt x="1815496" y="65387"/>
                  </a:cubicBezTo>
                  <a:cubicBezTo>
                    <a:pt x="1817126" y="63758"/>
                    <a:pt x="1818755" y="62944"/>
                    <a:pt x="1821198" y="62129"/>
                  </a:cubicBezTo>
                  <a:cubicBezTo>
                    <a:pt x="1832601" y="58871"/>
                    <a:pt x="1844004" y="55613"/>
                    <a:pt x="1855407" y="52355"/>
                  </a:cubicBezTo>
                  <a:cubicBezTo>
                    <a:pt x="1857036" y="51541"/>
                    <a:pt x="1859479" y="51541"/>
                    <a:pt x="1861108" y="50727"/>
                  </a:cubicBezTo>
                  <a:cubicBezTo>
                    <a:pt x="1862737" y="49912"/>
                    <a:pt x="1863552" y="49097"/>
                    <a:pt x="1864366" y="48283"/>
                  </a:cubicBezTo>
                  <a:cubicBezTo>
                    <a:pt x="1865181" y="47468"/>
                    <a:pt x="1865181" y="47468"/>
                    <a:pt x="1865995" y="48283"/>
                  </a:cubicBezTo>
                  <a:cubicBezTo>
                    <a:pt x="1866810" y="48283"/>
                    <a:pt x="1867624" y="48283"/>
                    <a:pt x="1868438" y="48283"/>
                  </a:cubicBezTo>
                  <a:cubicBezTo>
                    <a:pt x="1875769" y="45840"/>
                    <a:pt x="1883100" y="44210"/>
                    <a:pt x="1890430" y="41767"/>
                  </a:cubicBezTo>
                  <a:cubicBezTo>
                    <a:pt x="1892059" y="40953"/>
                    <a:pt x="1892873" y="40138"/>
                    <a:pt x="1893688" y="38509"/>
                  </a:cubicBezTo>
                  <a:cubicBezTo>
                    <a:pt x="1893688" y="38509"/>
                    <a:pt x="1893688" y="37695"/>
                    <a:pt x="1893688" y="37695"/>
                  </a:cubicBezTo>
                  <a:cubicBezTo>
                    <a:pt x="1893688" y="37695"/>
                    <a:pt x="1892873" y="36880"/>
                    <a:pt x="1892873" y="37695"/>
                  </a:cubicBezTo>
                  <a:cubicBezTo>
                    <a:pt x="1888801" y="38509"/>
                    <a:pt x="1883914" y="40138"/>
                    <a:pt x="1879841" y="40953"/>
                  </a:cubicBezTo>
                  <a:cubicBezTo>
                    <a:pt x="1879027" y="40953"/>
                    <a:pt x="1877398" y="41767"/>
                    <a:pt x="1876583" y="40953"/>
                  </a:cubicBezTo>
                  <a:cubicBezTo>
                    <a:pt x="1874955" y="40138"/>
                    <a:pt x="1874955" y="40953"/>
                    <a:pt x="1874140" y="41767"/>
                  </a:cubicBezTo>
                  <a:cubicBezTo>
                    <a:pt x="1873326" y="42582"/>
                    <a:pt x="1873326" y="42582"/>
                    <a:pt x="1872511" y="43396"/>
                  </a:cubicBezTo>
                  <a:cubicBezTo>
                    <a:pt x="1866810" y="45025"/>
                    <a:pt x="1861108" y="47468"/>
                    <a:pt x="1855407" y="49097"/>
                  </a:cubicBezTo>
                  <a:cubicBezTo>
                    <a:pt x="1844818" y="52355"/>
                    <a:pt x="1833415" y="55613"/>
                    <a:pt x="1822013" y="58057"/>
                  </a:cubicBezTo>
                  <a:cubicBezTo>
                    <a:pt x="1820384" y="58871"/>
                    <a:pt x="1818755" y="59686"/>
                    <a:pt x="1817126" y="61315"/>
                  </a:cubicBezTo>
                  <a:cubicBezTo>
                    <a:pt x="1815496" y="62944"/>
                    <a:pt x="1813053" y="62944"/>
                    <a:pt x="1810610" y="63758"/>
                  </a:cubicBezTo>
                  <a:cubicBezTo>
                    <a:pt x="1807352" y="62129"/>
                    <a:pt x="1804094" y="63758"/>
                    <a:pt x="1800836" y="64573"/>
                  </a:cubicBezTo>
                  <a:cubicBezTo>
                    <a:pt x="1784546" y="69460"/>
                    <a:pt x="1768256" y="74347"/>
                    <a:pt x="1751152" y="79234"/>
                  </a:cubicBezTo>
                  <a:cubicBezTo>
                    <a:pt x="1748709" y="80048"/>
                    <a:pt x="1746265" y="80048"/>
                    <a:pt x="1744636" y="82492"/>
                  </a:cubicBezTo>
                  <a:cubicBezTo>
                    <a:pt x="1741378" y="84120"/>
                    <a:pt x="1738120" y="85749"/>
                    <a:pt x="1734048" y="84935"/>
                  </a:cubicBezTo>
                  <a:cubicBezTo>
                    <a:pt x="1733233" y="84935"/>
                    <a:pt x="1733233" y="84935"/>
                    <a:pt x="1732419" y="85749"/>
                  </a:cubicBezTo>
                  <a:cubicBezTo>
                    <a:pt x="1731604" y="87379"/>
                    <a:pt x="1729975" y="87379"/>
                    <a:pt x="1728347" y="87379"/>
                  </a:cubicBezTo>
                  <a:cubicBezTo>
                    <a:pt x="1726717" y="86564"/>
                    <a:pt x="1725088" y="87379"/>
                    <a:pt x="1723459" y="89007"/>
                  </a:cubicBezTo>
                  <a:cubicBezTo>
                    <a:pt x="1723459" y="89007"/>
                    <a:pt x="1722645" y="89822"/>
                    <a:pt x="1722645" y="89822"/>
                  </a:cubicBezTo>
                  <a:cubicBezTo>
                    <a:pt x="1718573" y="91451"/>
                    <a:pt x="1714500" y="92265"/>
                    <a:pt x="1710428" y="93080"/>
                  </a:cubicBezTo>
                  <a:cubicBezTo>
                    <a:pt x="1709613" y="93080"/>
                    <a:pt x="1707984" y="93080"/>
                    <a:pt x="1707170" y="92265"/>
                  </a:cubicBezTo>
                  <a:cubicBezTo>
                    <a:pt x="1706355" y="92265"/>
                    <a:pt x="1704726" y="92265"/>
                    <a:pt x="1703912" y="93080"/>
                  </a:cubicBezTo>
                  <a:cubicBezTo>
                    <a:pt x="1702283" y="95523"/>
                    <a:pt x="1699839" y="96338"/>
                    <a:pt x="1697396" y="95523"/>
                  </a:cubicBezTo>
                  <a:cubicBezTo>
                    <a:pt x="1696581" y="95523"/>
                    <a:pt x="1694952" y="94709"/>
                    <a:pt x="1694138" y="95523"/>
                  </a:cubicBezTo>
                  <a:cubicBezTo>
                    <a:pt x="1690880" y="96338"/>
                    <a:pt x="1688436" y="97152"/>
                    <a:pt x="1685178" y="97967"/>
                  </a:cubicBezTo>
                  <a:cubicBezTo>
                    <a:pt x="1682735" y="98781"/>
                    <a:pt x="1680291" y="99596"/>
                    <a:pt x="1678662" y="102039"/>
                  </a:cubicBezTo>
                  <a:cubicBezTo>
                    <a:pt x="1678662" y="102854"/>
                    <a:pt x="1677033" y="102854"/>
                    <a:pt x="1676219" y="102039"/>
                  </a:cubicBezTo>
                  <a:cubicBezTo>
                    <a:pt x="1674590" y="101225"/>
                    <a:pt x="1673776" y="101225"/>
                    <a:pt x="1672147" y="102854"/>
                  </a:cubicBezTo>
                  <a:cubicBezTo>
                    <a:pt x="1671332" y="103668"/>
                    <a:pt x="1670517" y="104483"/>
                    <a:pt x="1668888" y="103668"/>
                  </a:cubicBezTo>
                  <a:cubicBezTo>
                    <a:pt x="1665631" y="102854"/>
                    <a:pt x="1663187" y="103668"/>
                    <a:pt x="1659929" y="105297"/>
                  </a:cubicBezTo>
                  <a:cubicBezTo>
                    <a:pt x="1659115" y="106112"/>
                    <a:pt x="1658300" y="106926"/>
                    <a:pt x="1657486" y="106926"/>
                  </a:cubicBezTo>
                  <a:cubicBezTo>
                    <a:pt x="1634680" y="102854"/>
                    <a:pt x="1611874" y="104483"/>
                    <a:pt x="1589883" y="107741"/>
                  </a:cubicBezTo>
                  <a:cubicBezTo>
                    <a:pt x="1571964" y="110999"/>
                    <a:pt x="1418026" y="151723"/>
                    <a:pt x="1400107" y="154981"/>
                  </a:cubicBezTo>
                  <a:cubicBezTo>
                    <a:pt x="1383003" y="157424"/>
                    <a:pt x="1365899" y="158239"/>
                    <a:pt x="1349609" y="161497"/>
                  </a:cubicBezTo>
                  <a:cubicBezTo>
                    <a:pt x="1330875" y="164755"/>
                    <a:pt x="1312142" y="168013"/>
                    <a:pt x="1294223" y="172085"/>
                  </a:cubicBezTo>
                  <a:cubicBezTo>
                    <a:pt x="1264088" y="186746"/>
                    <a:pt x="1234766" y="202221"/>
                    <a:pt x="1202186" y="211995"/>
                  </a:cubicBezTo>
                  <a:cubicBezTo>
                    <a:pt x="1141099" y="231543"/>
                    <a:pt x="1080013" y="250276"/>
                    <a:pt x="1018926" y="269010"/>
                  </a:cubicBezTo>
                  <a:cubicBezTo>
                    <a:pt x="990419" y="277154"/>
                    <a:pt x="964355" y="288557"/>
                    <a:pt x="935848" y="294259"/>
                  </a:cubicBezTo>
                  <a:cubicBezTo>
                    <a:pt x="900011" y="301589"/>
                    <a:pt x="895938" y="311363"/>
                    <a:pt x="866616" y="331725"/>
                  </a:cubicBezTo>
                  <a:cubicBezTo>
                    <a:pt x="826707" y="360232"/>
                    <a:pt x="768063" y="356974"/>
                    <a:pt x="720823" y="358603"/>
                  </a:cubicBezTo>
                  <a:cubicBezTo>
                    <a:pt x="705348" y="359418"/>
                    <a:pt x="690687" y="359418"/>
                    <a:pt x="676026" y="360232"/>
                  </a:cubicBezTo>
                  <a:cubicBezTo>
                    <a:pt x="675212" y="361047"/>
                    <a:pt x="673583" y="361047"/>
                    <a:pt x="672768" y="361047"/>
                  </a:cubicBezTo>
                  <a:cubicBezTo>
                    <a:pt x="662994" y="360232"/>
                    <a:pt x="656478" y="366748"/>
                    <a:pt x="648333" y="370821"/>
                  </a:cubicBezTo>
                  <a:cubicBezTo>
                    <a:pt x="644261" y="372450"/>
                    <a:pt x="640188" y="375708"/>
                    <a:pt x="636116" y="377337"/>
                  </a:cubicBezTo>
                  <a:cubicBezTo>
                    <a:pt x="620641" y="383853"/>
                    <a:pt x="605166" y="390368"/>
                    <a:pt x="588876" y="397699"/>
                  </a:cubicBezTo>
                  <a:cubicBezTo>
                    <a:pt x="583174" y="400142"/>
                    <a:pt x="578287" y="402586"/>
                    <a:pt x="572586" y="396070"/>
                  </a:cubicBezTo>
                  <a:cubicBezTo>
                    <a:pt x="570143" y="392812"/>
                    <a:pt x="566884" y="394441"/>
                    <a:pt x="564441" y="396884"/>
                  </a:cubicBezTo>
                  <a:cubicBezTo>
                    <a:pt x="561183" y="399328"/>
                    <a:pt x="562812" y="403400"/>
                    <a:pt x="563627" y="406658"/>
                  </a:cubicBezTo>
                  <a:cubicBezTo>
                    <a:pt x="563627" y="407473"/>
                    <a:pt x="563627" y="408287"/>
                    <a:pt x="562812" y="409916"/>
                  </a:cubicBezTo>
                  <a:cubicBezTo>
                    <a:pt x="557925" y="412360"/>
                    <a:pt x="553038" y="415618"/>
                    <a:pt x="548151" y="418061"/>
                  </a:cubicBezTo>
                  <a:cubicBezTo>
                    <a:pt x="537563" y="422948"/>
                    <a:pt x="526974" y="428650"/>
                    <a:pt x="517201" y="433536"/>
                  </a:cubicBezTo>
                  <a:cubicBezTo>
                    <a:pt x="503354" y="452270"/>
                    <a:pt x="488694" y="462044"/>
                    <a:pt x="467517" y="471817"/>
                  </a:cubicBezTo>
                  <a:cubicBezTo>
                    <a:pt x="442268" y="483220"/>
                    <a:pt x="417018" y="488922"/>
                    <a:pt x="394213" y="505211"/>
                  </a:cubicBezTo>
                  <a:cubicBezTo>
                    <a:pt x="375479" y="518243"/>
                    <a:pt x="361633" y="536977"/>
                    <a:pt x="342086" y="550008"/>
                  </a:cubicBezTo>
                  <a:cubicBezTo>
                    <a:pt x="320909" y="563855"/>
                    <a:pt x="299732" y="568742"/>
                    <a:pt x="279370" y="567113"/>
                  </a:cubicBezTo>
                  <a:cubicBezTo>
                    <a:pt x="247605" y="603765"/>
                    <a:pt x="224799" y="647747"/>
                    <a:pt x="180002" y="673811"/>
                  </a:cubicBezTo>
                  <a:cubicBezTo>
                    <a:pt x="177559" y="675440"/>
                    <a:pt x="174301" y="676254"/>
                    <a:pt x="171857" y="677883"/>
                  </a:cubicBezTo>
                  <a:cubicBezTo>
                    <a:pt x="170228" y="687657"/>
                    <a:pt x="170228" y="697431"/>
                    <a:pt x="166156" y="706390"/>
                  </a:cubicBezTo>
                  <a:cubicBezTo>
                    <a:pt x="164527" y="708834"/>
                    <a:pt x="164527" y="713721"/>
                    <a:pt x="165341" y="716979"/>
                  </a:cubicBezTo>
                  <a:cubicBezTo>
                    <a:pt x="169414" y="729196"/>
                    <a:pt x="166970" y="740599"/>
                    <a:pt x="170228" y="751187"/>
                  </a:cubicBezTo>
                  <a:cubicBezTo>
                    <a:pt x="166156" y="755260"/>
                    <a:pt x="163712" y="758518"/>
                    <a:pt x="160454" y="761776"/>
                  </a:cubicBezTo>
                  <a:cubicBezTo>
                    <a:pt x="163712" y="767477"/>
                    <a:pt x="166156" y="771550"/>
                    <a:pt x="168599" y="775622"/>
                  </a:cubicBezTo>
                  <a:cubicBezTo>
                    <a:pt x="174301" y="785396"/>
                    <a:pt x="179188" y="795170"/>
                    <a:pt x="182446" y="805758"/>
                  </a:cubicBezTo>
                  <a:cubicBezTo>
                    <a:pt x="186518" y="821233"/>
                    <a:pt x="194663" y="835080"/>
                    <a:pt x="206066" y="844854"/>
                  </a:cubicBezTo>
                  <a:cubicBezTo>
                    <a:pt x="215840" y="854627"/>
                    <a:pt x="228057" y="858700"/>
                    <a:pt x="238645" y="865216"/>
                  </a:cubicBezTo>
                  <a:cubicBezTo>
                    <a:pt x="257378" y="875804"/>
                    <a:pt x="273668" y="872546"/>
                    <a:pt x="288329" y="859514"/>
                  </a:cubicBezTo>
                  <a:cubicBezTo>
                    <a:pt x="298917" y="850555"/>
                    <a:pt x="310320" y="844854"/>
                    <a:pt x="322538" y="840781"/>
                  </a:cubicBezTo>
                  <a:cubicBezTo>
                    <a:pt x="345343" y="832636"/>
                    <a:pt x="363262" y="817975"/>
                    <a:pt x="375479" y="792726"/>
                  </a:cubicBezTo>
                  <a:cubicBezTo>
                    <a:pt x="380366" y="781323"/>
                    <a:pt x="387697" y="772364"/>
                    <a:pt x="395842" y="765034"/>
                  </a:cubicBezTo>
                  <a:cubicBezTo>
                    <a:pt x="398285" y="765034"/>
                    <a:pt x="401543" y="765034"/>
                    <a:pt x="403987" y="765034"/>
                  </a:cubicBezTo>
                  <a:cubicBezTo>
                    <a:pt x="407245" y="765034"/>
                    <a:pt x="409688" y="765034"/>
                    <a:pt x="412131" y="761776"/>
                  </a:cubicBezTo>
                  <a:cubicBezTo>
                    <a:pt x="410503" y="760147"/>
                    <a:pt x="407245" y="758518"/>
                    <a:pt x="403987" y="757703"/>
                  </a:cubicBezTo>
                  <a:cubicBezTo>
                    <a:pt x="403987" y="757703"/>
                    <a:pt x="404801" y="756889"/>
                    <a:pt x="404801" y="756889"/>
                  </a:cubicBezTo>
                  <a:cubicBezTo>
                    <a:pt x="409688" y="753631"/>
                    <a:pt x="414575" y="749558"/>
                    <a:pt x="419462" y="745486"/>
                  </a:cubicBezTo>
                  <a:cubicBezTo>
                    <a:pt x="420276" y="746300"/>
                    <a:pt x="421091" y="747115"/>
                    <a:pt x="421905" y="747929"/>
                  </a:cubicBezTo>
                  <a:cubicBezTo>
                    <a:pt x="425978" y="751187"/>
                    <a:pt x="430865" y="751187"/>
                    <a:pt x="435752" y="747115"/>
                  </a:cubicBezTo>
                  <a:cubicBezTo>
                    <a:pt x="441453" y="743042"/>
                    <a:pt x="443082" y="732454"/>
                    <a:pt x="439010" y="726753"/>
                  </a:cubicBezTo>
                  <a:cubicBezTo>
                    <a:pt x="439010" y="726753"/>
                    <a:pt x="439010" y="726753"/>
                    <a:pt x="439010" y="726753"/>
                  </a:cubicBezTo>
                  <a:cubicBezTo>
                    <a:pt x="441453" y="723495"/>
                    <a:pt x="444711" y="720237"/>
                    <a:pt x="446340" y="716164"/>
                  </a:cubicBezTo>
                  <a:cubicBezTo>
                    <a:pt x="451227" y="713721"/>
                    <a:pt x="456114" y="711277"/>
                    <a:pt x="461001" y="708834"/>
                  </a:cubicBezTo>
                  <a:cubicBezTo>
                    <a:pt x="474847" y="701503"/>
                    <a:pt x="489508" y="694173"/>
                    <a:pt x="504169" y="687657"/>
                  </a:cubicBezTo>
                  <a:cubicBezTo>
                    <a:pt x="518015" y="681141"/>
                    <a:pt x="531047" y="672996"/>
                    <a:pt x="545708" y="666480"/>
                  </a:cubicBezTo>
                  <a:cubicBezTo>
                    <a:pt x="563627" y="657521"/>
                    <a:pt x="582360" y="649376"/>
                    <a:pt x="600279" y="640417"/>
                  </a:cubicBezTo>
                  <a:cubicBezTo>
                    <a:pt x="600279" y="640417"/>
                    <a:pt x="601093" y="640417"/>
                    <a:pt x="601908" y="640417"/>
                  </a:cubicBezTo>
                  <a:cubicBezTo>
                    <a:pt x="601908" y="640417"/>
                    <a:pt x="601908" y="640417"/>
                    <a:pt x="601908" y="639602"/>
                  </a:cubicBezTo>
                  <a:cubicBezTo>
                    <a:pt x="605980" y="637973"/>
                    <a:pt x="610052" y="635530"/>
                    <a:pt x="614939" y="633901"/>
                  </a:cubicBezTo>
                  <a:cubicBezTo>
                    <a:pt x="629600" y="626570"/>
                    <a:pt x="644261" y="619240"/>
                    <a:pt x="659736" y="612724"/>
                  </a:cubicBezTo>
                  <a:cubicBezTo>
                    <a:pt x="662180" y="611095"/>
                    <a:pt x="665438" y="610281"/>
                    <a:pt x="667881" y="608652"/>
                  </a:cubicBezTo>
                  <a:cubicBezTo>
                    <a:pt x="671954" y="607023"/>
                    <a:pt x="676840" y="605394"/>
                    <a:pt x="680913" y="604579"/>
                  </a:cubicBezTo>
                  <a:cubicBezTo>
                    <a:pt x="672768" y="609466"/>
                    <a:pt x="664623" y="614353"/>
                    <a:pt x="654849" y="617611"/>
                  </a:cubicBezTo>
                  <a:cubicBezTo>
                    <a:pt x="650777" y="618425"/>
                    <a:pt x="646705" y="620055"/>
                    <a:pt x="645075" y="624127"/>
                  </a:cubicBezTo>
                  <a:cubicBezTo>
                    <a:pt x="645075" y="624127"/>
                    <a:pt x="645075" y="624127"/>
                    <a:pt x="645075" y="624127"/>
                  </a:cubicBezTo>
                  <a:cubicBezTo>
                    <a:pt x="645075" y="624127"/>
                    <a:pt x="645075" y="624127"/>
                    <a:pt x="645075" y="624127"/>
                  </a:cubicBezTo>
                  <a:cubicBezTo>
                    <a:pt x="633673" y="625756"/>
                    <a:pt x="623899" y="631457"/>
                    <a:pt x="612496" y="637159"/>
                  </a:cubicBezTo>
                  <a:cubicBezTo>
                    <a:pt x="614939" y="638788"/>
                    <a:pt x="616568" y="639602"/>
                    <a:pt x="617383" y="639602"/>
                  </a:cubicBezTo>
                  <a:cubicBezTo>
                    <a:pt x="614939" y="642046"/>
                    <a:pt x="612496" y="643675"/>
                    <a:pt x="610052" y="646118"/>
                  </a:cubicBezTo>
                  <a:cubicBezTo>
                    <a:pt x="607609" y="648562"/>
                    <a:pt x="609238" y="649376"/>
                    <a:pt x="611681" y="650190"/>
                  </a:cubicBezTo>
                  <a:cubicBezTo>
                    <a:pt x="610052" y="651820"/>
                    <a:pt x="608423" y="653449"/>
                    <a:pt x="605980" y="655077"/>
                  </a:cubicBezTo>
                  <a:cubicBezTo>
                    <a:pt x="601908" y="657521"/>
                    <a:pt x="597021" y="658335"/>
                    <a:pt x="595392" y="664037"/>
                  </a:cubicBezTo>
                  <a:cubicBezTo>
                    <a:pt x="594577" y="666480"/>
                    <a:pt x="590505" y="667295"/>
                    <a:pt x="588061" y="669738"/>
                  </a:cubicBezTo>
                  <a:cubicBezTo>
                    <a:pt x="582360" y="674625"/>
                    <a:pt x="575844" y="680327"/>
                    <a:pt x="570143" y="686028"/>
                  </a:cubicBezTo>
                  <a:cubicBezTo>
                    <a:pt x="569328" y="686842"/>
                    <a:pt x="567699" y="688472"/>
                    <a:pt x="566884" y="688472"/>
                  </a:cubicBezTo>
                  <a:cubicBezTo>
                    <a:pt x="552224" y="691729"/>
                    <a:pt x="544079" y="703132"/>
                    <a:pt x="532676" y="710463"/>
                  </a:cubicBezTo>
                  <a:cubicBezTo>
                    <a:pt x="524531" y="716164"/>
                    <a:pt x="520459" y="723495"/>
                    <a:pt x="517201" y="732454"/>
                  </a:cubicBezTo>
                  <a:cubicBezTo>
                    <a:pt x="513943" y="741413"/>
                    <a:pt x="508241" y="750373"/>
                    <a:pt x="503354" y="759332"/>
                  </a:cubicBezTo>
                  <a:cubicBezTo>
                    <a:pt x="500096" y="764219"/>
                    <a:pt x="495209" y="767477"/>
                    <a:pt x="488694" y="769921"/>
                  </a:cubicBezTo>
                  <a:cubicBezTo>
                    <a:pt x="480549" y="773178"/>
                    <a:pt x="472404" y="776436"/>
                    <a:pt x="464259" y="779694"/>
                  </a:cubicBezTo>
                  <a:cubicBezTo>
                    <a:pt x="461001" y="781323"/>
                    <a:pt x="457743" y="782952"/>
                    <a:pt x="454485" y="784581"/>
                  </a:cubicBezTo>
                  <a:cubicBezTo>
                    <a:pt x="452856" y="783767"/>
                    <a:pt x="451227" y="782952"/>
                    <a:pt x="448783" y="782138"/>
                  </a:cubicBezTo>
                  <a:cubicBezTo>
                    <a:pt x="443082" y="790283"/>
                    <a:pt x="435752" y="795170"/>
                    <a:pt x="425163" y="796799"/>
                  </a:cubicBezTo>
                  <a:cubicBezTo>
                    <a:pt x="419462" y="797613"/>
                    <a:pt x="412946" y="798428"/>
                    <a:pt x="408059" y="803315"/>
                  </a:cubicBezTo>
                  <a:cubicBezTo>
                    <a:pt x="407245" y="804129"/>
                    <a:pt x="405616" y="805758"/>
                    <a:pt x="403987" y="805758"/>
                  </a:cubicBezTo>
                  <a:cubicBezTo>
                    <a:pt x="393398" y="806573"/>
                    <a:pt x="386068" y="813088"/>
                    <a:pt x="377108" y="816346"/>
                  </a:cubicBezTo>
                  <a:cubicBezTo>
                    <a:pt x="368149" y="819604"/>
                    <a:pt x="360819" y="824491"/>
                    <a:pt x="352674" y="828564"/>
                  </a:cubicBezTo>
                  <a:cubicBezTo>
                    <a:pt x="346158" y="831822"/>
                    <a:pt x="338827" y="835080"/>
                    <a:pt x="331497" y="838338"/>
                  </a:cubicBezTo>
                  <a:cubicBezTo>
                    <a:pt x="321723" y="843225"/>
                    <a:pt x="315207" y="849740"/>
                    <a:pt x="311135" y="858700"/>
                  </a:cubicBezTo>
                  <a:cubicBezTo>
                    <a:pt x="314393" y="857885"/>
                    <a:pt x="317651" y="856256"/>
                    <a:pt x="320909" y="855442"/>
                  </a:cubicBezTo>
                  <a:cubicBezTo>
                    <a:pt x="319280" y="857885"/>
                    <a:pt x="317651" y="860329"/>
                    <a:pt x="316022" y="863587"/>
                  </a:cubicBezTo>
                  <a:cubicBezTo>
                    <a:pt x="320909" y="861958"/>
                    <a:pt x="325796" y="860329"/>
                    <a:pt x="329868" y="859514"/>
                  </a:cubicBezTo>
                  <a:cubicBezTo>
                    <a:pt x="334755" y="857885"/>
                    <a:pt x="337199" y="852999"/>
                    <a:pt x="343714" y="854627"/>
                  </a:cubicBezTo>
                  <a:cubicBezTo>
                    <a:pt x="344529" y="854627"/>
                    <a:pt x="346972" y="852184"/>
                    <a:pt x="347787" y="851369"/>
                  </a:cubicBezTo>
                  <a:cubicBezTo>
                    <a:pt x="349416" y="848112"/>
                    <a:pt x="352674" y="846482"/>
                    <a:pt x="355932" y="846482"/>
                  </a:cubicBezTo>
                  <a:cubicBezTo>
                    <a:pt x="362448" y="839152"/>
                    <a:pt x="371407" y="835894"/>
                    <a:pt x="381995" y="836709"/>
                  </a:cubicBezTo>
                  <a:cubicBezTo>
                    <a:pt x="381995" y="839967"/>
                    <a:pt x="382810" y="843225"/>
                    <a:pt x="384439" y="845668"/>
                  </a:cubicBezTo>
                  <a:cubicBezTo>
                    <a:pt x="387697" y="849740"/>
                    <a:pt x="393398" y="849740"/>
                    <a:pt x="399100" y="846482"/>
                  </a:cubicBezTo>
                  <a:cubicBezTo>
                    <a:pt x="401543" y="847297"/>
                    <a:pt x="404801" y="847297"/>
                    <a:pt x="407245" y="845668"/>
                  </a:cubicBezTo>
                  <a:cubicBezTo>
                    <a:pt x="413760" y="842410"/>
                    <a:pt x="422720" y="840781"/>
                    <a:pt x="430050" y="840781"/>
                  </a:cubicBezTo>
                  <a:cubicBezTo>
                    <a:pt x="433308" y="840781"/>
                    <a:pt x="436566" y="840781"/>
                    <a:pt x="440639" y="840781"/>
                  </a:cubicBezTo>
                  <a:cubicBezTo>
                    <a:pt x="440639" y="840781"/>
                    <a:pt x="440639" y="840781"/>
                    <a:pt x="440639" y="840781"/>
                  </a:cubicBezTo>
                  <a:cubicBezTo>
                    <a:pt x="440639" y="840781"/>
                    <a:pt x="440639" y="840781"/>
                    <a:pt x="440639" y="840781"/>
                  </a:cubicBezTo>
                  <a:cubicBezTo>
                    <a:pt x="443082" y="840781"/>
                    <a:pt x="444711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7969" y="840781"/>
                    <a:pt x="447969" y="839967"/>
                    <a:pt x="448783" y="839967"/>
                  </a:cubicBezTo>
                  <a:cubicBezTo>
                    <a:pt x="447969" y="839967"/>
                    <a:pt x="447969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4711" y="840781"/>
                    <a:pt x="443082" y="841595"/>
                    <a:pt x="443082" y="844039"/>
                  </a:cubicBezTo>
                  <a:cubicBezTo>
                    <a:pt x="443082" y="844039"/>
                    <a:pt x="443082" y="844039"/>
                    <a:pt x="443082" y="844854"/>
                  </a:cubicBezTo>
                  <a:cubicBezTo>
                    <a:pt x="439824" y="847297"/>
                    <a:pt x="437381" y="849740"/>
                    <a:pt x="434123" y="852184"/>
                  </a:cubicBezTo>
                  <a:cubicBezTo>
                    <a:pt x="433308" y="852999"/>
                    <a:pt x="431679" y="852999"/>
                    <a:pt x="430865" y="853813"/>
                  </a:cubicBezTo>
                  <a:cubicBezTo>
                    <a:pt x="427607" y="851369"/>
                    <a:pt x="424349" y="848926"/>
                    <a:pt x="420276" y="845668"/>
                  </a:cubicBezTo>
                  <a:cubicBezTo>
                    <a:pt x="418647" y="848926"/>
                    <a:pt x="416204" y="851369"/>
                    <a:pt x="415390" y="854627"/>
                  </a:cubicBezTo>
                  <a:cubicBezTo>
                    <a:pt x="414575" y="859514"/>
                    <a:pt x="412946" y="863587"/>
                    <a:pt x="409688" y="866030"/>
                  </a:cubicBezTo>
                  <a:cubicBezTo>
                    <a:pt x="409688" y="866030"/>
                    <a:pt x="408874" y="866030"/>
                    <a:pt x="408874" y="866030"/>
                  </a:cubicBezTo>
                  <a:cubicBezTo>
                    <a:pt x="408874" y="866030"/>
                    <a:pt x="408874" y="866030"/>
                    <a:pt x="408874" y="866030"/>
                  </a:cubicBezTo>
                  <a:cubicBezTo>
                    <a:pt x="407245" y="867659"/>
                    <a:pt x="405616" y="869288"/>
                    <a:pt x="403172" y="870103"/>
                  </a:cubicBezTo>
                  <a:cubicBezTo>
                    <a:pt x="400729" y="871732"/>
                    <a:pt x="398285" y="874175"/>
                    <a:pt x="396656" y="875804"/>
                  </a:cubicBezTo>
                  <a:cubicBezTo>
                    <a:pt x="390955" y="880691"/>
                    <a:pt x="385253" y="885578"/>
                    <a:pt x="377923" y="883134"/>
                  </a:cubicBezTo>
                  <a:cubicBezTo>
                    <a:pt x="374665" y="882320"/>
                    <a:pt x="373036" y="884764"/>
                    <a:pt x="370593" y="887207"/>
                  </a:cubicBezTo>
                  <a:cubicBezTo>
                    <a:pt x="368964" y="889651"/>
                    <a:pt x="365706" y="891279"/>
                    <a:pt x="363262" y="891279"/>
                  </a:cubicBezTo>
                  <a:cubicBezTo>
                    <a:pt x="352674" y="891279"/>
                    <a:pt x="346972" y="899424"/>
                    <a:pt x="341271" y="908384"/>
                  </a:cubicBezTo>
                  <a:cubicBezTo>
                    <a:pt x="337199" y="914085"/>
                    <a:pt x="333941" y="920601"/>
                    <a:pt x="329054" y="925488"/>
                  </a:cubicBezTo>
                  <a:cubicBezTo>
                    <a:pt x="327425" y="927117"/>
                    <a:pt x="325796" y="927931"/>
                    <a:pt x="324981" y="929560"/>
                  </a:cubicBezTo>
                  <a:cubicBezTo>
                    <a:pt x="324981" y="929560"/>
                    <a:pt x="324981" y="929560"/>
                    <a:pt x="324981" y="929560"/>
                  </a:cubicBezTo>
                  <a:cubicBezTo>
                    <a:pt x="321723" y="926303"/>
                    <a:pt x="315207" y="925488"/>
                    <a:pt x="311949" y="927931"/>
                  </a:cubicBezTo>
                  <a:cubicBezTo>
                    <a:pt x="307877" y="931189"/>
                    <a:pt x="307877" y="936076"/>
                    <a:pt x="311135" y="940963"/>
                  </a:cubicBezTo>
                  <a:cubicBezTo>
                    <a:pt x="302175" y="949108"/>
                    <a:pt x="294845" y="959696"/>
                    <a:pt x="283442" y="962140"/>
                  </a:cubicBezTo>
                  <a:cubicBezTo>
                    <a:pt x="280184" y="962955"/>
                    <a:pt x="278555" y="967841"/>
                    <a:pt x="276112" y="970285"/>
                  </a:cubicBezTo>
                  <a:cubicBezTo>
                    <a:pt x="271225" y="975172"/>
                    <a:pt x="266338" y="979244"/>
                    <a:pt x="261451" y="984131"/>
                  </a:cubicBezTo>
                  <a:cubicBezTo>
                    <a:pt x="254121" y="990647"/>
                    <a:pt x="246790" y="996348"/>
                    <a:pt x="239460" y="1002864"/>
                  </a:cubicBezTo>
                  <a:cubicBezTo>
                    <a:pt x="237016" y="1004493"/>
                    <a:pt x="235387" y="1006937"/>
                    <a:pt x="232944" y="1008566"/>
                  </a:cubicBezTo>
                  <a:cubicBezTo>
                    <a:pt x="232944" y="1002050"/>
                    <a:pt x="230500" y="997978"/>
                    <a:pt x="226428" y="997978"/>
                  </a:cubicBezTo>
                  <a:cubicBezTo>
                    <a:pt x="226428" y="1005308"/>
                    <a:pt x="228057" y="1007751"/>
                    <a:pt x="232944" y="1008566"/>
                  </a:cubicBezTo>
                  <a:cubicBezTo>
                    <a:pt x="217469" y="1024041"/>
                    <a:pt x="201993" y="1039517"/>
                    <a:pt x="185703" y="1054177"/>
                  </a:cubicBezTo>
                  <a:cubicBezTo>
                    <a:pt x="169414" y="1068838"/>
                    <a:pt x="153124" y="1083499"/>
                    <a:pt x="137649" y="1099789"/>
                  </a:cubicBezTo>
                  <a:cubicBezTo>
                    <a:pt x="136834" y="1100603"/>
                    <a:pt x="136020" y="1101418"/>
                    <a:pt x="135205" y="1102232"/>
                  </a:cubicBezTo>
                  <a:cubicBezTo>
                    <a:pt x="135205" y="1102232"/>
                    <a:pt x="135205" y="1102232"/>
                    <a:pt x="135205" y="1102232"/>
                  </a:cubicBezTo>
                  <a:cubicBezTo>
                    <a:pt x="135205" y="1100603"/>
                    <a:pt x="135205" y="1098974"/>
                    <a:pt x="134391" y="1097345"/>
                  </a:cubicBezTo>
                  <a:cubicBezTo>
                    <a:pt x="133576" y="1095716"/>
                    <a:pt x="132762" y="1094902"/>
                    <a:pt x="131133" y="1094087"/>
                  </a:cubicBezTo>
                  <a:cubicBezTo>
                    <a:pt x="130318" y="1094087"/>
                    <a:pt x="128689" y="1094902"/>
                    <a:pt x="127875" y="1096531"/>
                  </a:cubicBezTo>
                  <a:cubicBezTo>
                    <a:pt x="126246" y="1098974"/>
                    <a:pt x="126246" y="1102232"/>
                    <a:pt x="127875" y="1105490"/>
                  </a:cubicBezTo>
                  <a:cubicBezTo>
                    <a:pt x="128689" y="1106305"/>
                    <a:pt x="128689" y="1107119"/>
                    <a:pt x="129504" y="1107934"/>
                  </a:cubicBezTo>
                  <a:cubicBezTo>
                    <a:pt x="127875" y="1109563"/>
                    <a:pt x="126246" y="1112006"/>
                    <a:pt x="123802" y="1113635"/>
                  </a:cubicBezTo>
                  <a:cubicBezTo>
                    <a:pt x="122173" y="1114449"/>
                    <a:pt x="121359" y="1115264"/>
                    <a:pt x="120544" y="1116893"/>
                  </a:cubicBezTo>
                  <a:cubicBezTo>
                    <a:pt x="118915" y="1118522"/>
                    <a:pt x="117286" y="1120151"/>
                    <a:pt x="114843" y="1121780"/>
                  </a:cubicBezTo>
                  <a:cubicBezTo>
                    <a:pt x="100997" y="1133997"/>
                    <a:pt x="87965" y="1146215"/>
                    <a:pt x="75747" y="1161690"/>
                  </a:cubicBezTo>
                  <a:cubicBezTo>
                    <a:pt x="71675" y="1166577"/>
                    <a:pt x="67603" y="1170649"/>
                    <a:pt x="62716" y="1174722"/>
                  </a:cubicBezTo>
                  <a:cubicBezTo>
                    <a:pt x="52942" y="1184496"/>
                    <a:pt x="42353" y="1194270"/>
                    <a:pt x="32580" y="1204043"/>
                  </a:cubicBezTo>
                  <a:cubicBezTo>
                    <a:pt x="30950" y="1205672"/>
                    <a:pt x="29321" y="1208116"/>
                    <a:pt x="28507" y="1210559"/>
                  </a:cubicBezTo>
                  <a:cubicBezTo>
                    <a:pt x="23620" y="1218704"/>
                    <a:pt x="18733" y="1226849"/>
                    <a:pt x="13846" y="1234994"/>
                  </a:cubicBezTo>
                  <a:cubicBezTo>
                    <a:pt x="12217" y="1238252"/>
                    <a:pt x="9774" y="1240695"/>
                    <a:pt x="8959" y="1243953"/>
                  </a:cubicBezTo>
                  <a:cubicBezTo>
                    <a:pt x="8959" y="1248026"/>
                    <a:pt x="8145" y="1252098"/>
                    <a:pt x="7330" y="1256171"/>
                  </a:cubicBezTo>
                  <a:cubicBezTo>
                    <a:pt x="9774" y="1259429"/>
                    <a:pt x="12217" y="1261872"/>
                    <a:pt x="14661" y="1265944"/>
                  </a:cubicBezTo>
                  <a:cubicBezTo>
                    <a:pt x="9774" y="1270831"/>
                    <a:pt x="4887" y="1274904"/>
                    <a:pt x="0" y="1278976"/>
                  </a:cubicBezTo>
                  <a:cubicBezTo>
                    <a:pt x="814" y="1283049"/>
                    <a:pt x="814" y="1286307"/>
                    <a:pt x="1629" y="1289565"/>
                  </a:cubicBezTo>
                  <a:cubicBezTo>
                    <a:pt x="1629" y="1290379"/>
                    <a:pt x="1629" y="1291194"/>
                    <a:pt x="2443" y="1292008"/>
                  </a:cubicBezTo>
                  <a:cubicBezTo>
                    <a:pt x="13032" y="1299339"/>
                    <a:pt x="21991" y="1308298"/>
                    <a:pt x="27693" y="1318886"/>
                  </a:cubicBezTo>
                  <a:cubicBezTo>
                    <a:pt x="37466" y="1337620"/>
                    <a:pt x="38281" y="1359611"/>
                    <a:pt x="30950" y="1379158"/>
                  </a:cubicBezTo>
                  <a:cubicBezTo>
                    <a:pt x="43168" y="1387303"/>
                    <a:pt x="52127" y="1397892"/>
                    <a:pt x="52127" y="1412553"/>
                  </a:cubicBezTo>
                  <a:cubicBezTo>
                    <a:pt x="52127" y="1413367"/>
                    <a:pt x="52127" y="1413367"/>
                    <a:pt x="52127" y="1414182"/>
                  </a:cubicBezTo>
                  <a:cubicBezTo>
                    <a:pt x="52942" y="1414996"/>
                    <a:pt x="53756" y="1414996"/>
                    <a:pt x="54571" y="1415810"/>
                  </a:cubicBezTo>
                  <a:cubicBezTo>
                    <a:pt x="65159" y="1421512"/>
                    <a:pt x="73304" y="1427214"/>
                    <a:pt x="80634" y="1435358"/>
                  </a:cubicBezTo>
                  <a:cubicBezTo>
                    <a:pt x="89594" y="1436987"/>
                    <a:pt x="98553" y="1436173"/>
                    <a:pt x="107512" y="1430471"/>
                  </a:cubicBezTo>
                  <a:cubicBezTo>
                    <a:pt x="109956" y="1428842"/>
                    <a:pt x="113214" y="1428028"/>
                    <a:pt x="115657" y="1427214"/>
                  </a:cubicBezTo>
                  <a:cubicBezTo>
                    <a:pt x="121359" y="1425584"/>
                    <a:pt x="126246" y="1423141"/>
                    <a:pt x="130318" y="1417440"/>
                  </a:cubicBezTo>
                  <a:cubicBezTo>
                    <a:pt x="135205" y="1410924"/>
                    <a:pt x="140907" y="1409295"/>
                    <a:pt x="147422" y="1410109"/>
                  </a:cubicBezTo>
                  <a:cubicBezTo>
                    <a:pt x="146608" y="1410924"/>
                    <a:pt x="145794" y="1412553"/>
                    <a:pt x="145794" y="1413367"/>
                  </a:cubicBezTo>
                  <a:cubicBezTo>
                    <a:pt x="145794" y="1414182"/>
                    <a:pt x="144979" y="1414996"/>
                    <a:pt x="144164" y="1415810"/>
                  </a:cubicBezTo>
                  <a:cubicBezTo>
                    <a:pt x="142536" y="1416625"/>
                    <a:pt x="142536" y="1417440"/>
                    <a:pt x="141721" y="1419069"/>
                  </a:cubicBezTo>
                  <a:cubicBezTo>
                    <a:pt x="140907" y="1420697"/>
                    <a:pt x="140907" y="1421512"/>
                    <a:pt x="140092" y="1423141"/>
                  </a:cubicBezTo>
                  <a:cubicBezTo>
                    <a:pt x="138463" y="1424770"/>
                    <a:pt x="138463" y="1427214"/>
                    <a:pt x="136834" y="1428028"/>
                  </a:cubicBezTo>
                  <a:cubicBezTo>
                    <a:pt x="136020" y="1428842"/>
                    <a:pt x="135205" y="1430471"/>
                    <a:pt x="134391" y="1431286"/>
                  </a:cubicBezTo>
                  <a:cubicBezTo>
                    <a:pt x="134391" y="1432100"/>
                    <a:pt x="133576" y="1432915"/>
                    <a:pt x="134391" y="1432915"/>
                  </a:cubicBezTo>
                  <a:cubicBezTo>
                    <a:pt x="136020" y="1435358"/>
                    <a:pt x="135205" y="1439431"/>
                    <a:pt x="136834" y="1441874"/>
                  </a:cubicBezTo>
                  <a:cubicBezTo>
                    <a:pt x="136834" y="1442689"/>
                    <a:pt x="136834" y="1443503"/>
                    <a:pt x="136834" y="1443503"/>
                  </a:cubicBezTo>
                  <a:cubicBezTo>
                    <a:pt x="135205" y="1445132"/>
                    <a:pt x="135205" y="1447576"/>
                    <a:pt x="132762" y="1448390"/>
                  </a:cubicBezTo>
                  <a:cubicBezTo>
                    <a:pt x="131947" y="1448390"/>
                    <a:pt x="131133" y="1449205"/>
                    <a:pt x="131133" y="1450019"/>
                  </a:cubicBezTo>
                  <a:cubicBezTo>
                    <a:pt x="129504" y="1452462"/>
                    <a:pt x="129504" y="1455721"/>
                    <a:pt x="127060" y="1457349"/>
                  </a:cubicBezTo>
                  <a:cubicBezTo>
                    <a:pt x="126246" y="1457349"/>
                    <a:pt x="126246" y="1458979"/>
                    <a:pt x="126246" y="1458979"/>
                  </a:cubicBezTo>
                  <a:cubicBezTo>
                    <a:pt x="126246" y="1459793"/>
                    <a:pt x="125431" y="1460607"/>
                    <a:pt x="126246" y="1462236"/>
                  </a:cubicBezTo>
                  <a:cubicBezTo>
                    <a:pt x="127060" y="1463866"/>
                    <a:pt x="127875" y="1465494"/>
                    <a:pt x="127060" y="1467123"/>
                  </a:cubicBezTo>
                  <a:cubicBezTo>
                    <a:pt x="127060" y="1468752"/>
                    <a:pt x="126246" y="1469567"/>
                    <a:pt x="126246" y="1471196"/>
                  </a:cubicBezTo>
                  <a:cubicBezTo>
                    <a:pt x="124617" y="1476083"/>
                    <a:pt x="123802" y="1480970"/>
                    <a:pt x="122173" y="1485857"/>
                  </a:cubicBezTo>
                  <a:cubicBezTo>
                    <a:pt x="122173" y="1487486"/>
                    <a:pt x="122173" y="1492373"/>
                    <a:pt x="122988" y="1494001"/>
                  </a:cubicBezTo>
                  <a:cubicBezTo>
                    <a:pt x="123802" y="1495631"/>
                    <a:pt x="123802" y="1497259"/>
                    <a:pt x="123802" y="1498888"/>
                  </a:cubicBezTo>
                  <a:cubicBezTo>
                    <a:pt x="122988" y="1501332"/>
                    <a:pt x="122173" y="1504590"/>
                    <a:pt x="121359" y="1507033"/>
                  </a:cubicBezTo>
                  <a:cubicBezTo>
                    <a:pt x="121359" y="1510291"/>
                    <a:pt x="123802" y="1512735"/>
                    <a:pt x="125431" y="1515178"/>
                  </a:cubicBezTo>
                  <a:cubicBezTo>
                    <a:pt x="125431" y="1515993"/>
                    <a:pt x="126246" y="1516807"/>
                    <a:pt x="126246" y="1518436"/>
                  </a:cubicBezTo>
                  <a:cubicBezTo>
                    <a:pt x="126246" y="1520065"/>
                    <a:pt x="127060" y="1520880"/>
                    <a:pt x="127875" y="1521694"/>
                  </a:cubicBezTo>
                  <a:cubicBezTo>
                    <a:pt x="130318" y="1523323"/>
                    <a:pt x="132762" y="1524952"/>
                    <a:pt x="135205" y="1527396"/>
                  </a:cubicBezTo>
                  <a:cubicBezTo>
                    <a:pt x="136834" y="1529839"/>
                    <a:pt x="140092" y="1531468"/>
                    <a:pt x="142536" y="1533097"/>
                  </a:cubicBezTo>
                  <a:cubicBezTo>
                    <a:pt x="142536" y="1533097"/>
                    <a:pt x="143350" y="1533911"/>
                    <a:pt x="143350" y="1533911"/>
                  </a:cubicBezTo>
                  <a:cubicBezTo>
                    <a:pt x="144164" y="1536355"/>
                    <a:pt x="147422" y="1536355"/>
                    <a:pt x="149051" y="1538798"/>
                  </a:cubicBezTo>
                  <a:cubicBezTo>
                    <a:pt x="149866" y="1541242"/>
                    <a:pt x="153124" y="1542056"/>
                    <a:pt x="154753" y="1542871"/>
                  </a:cubicBezTo>
                  <a:cubicBezTo>
                    <a:pt x="157196" y="1544500"/>
                    <a:pt x="160454" y="1546129"/>
                    <a:pt x="162083" y="1548572"/>
                  </a:cubicBezTo>
                  <a:cubicBezTo>
                    <a:pt x="162083" y="1549387"/>
                    <a:pt x="162898" y="1549387"/>
                    <a:pt x="163712" y="1549387"/>
                  </a:cubicBezTo>
                  <a:cubicBezTo>
                    <a:pt x="167785" y="1550201"/>
                    <a:pt x="170228" y="1553459"/>
                    <a:pt x="173486" y="1555088"/>
                  </a:cubicBezTo>
                  <a:cubicBezTo>
                    <a:pt x="175930" y="1556717"/>
                    <a:pt x="178373" y="1559161"/>
                    <a:pt x="181631" y="1559161"/>
                  </a:cubicBezTo>
                  <a:cubicBezTo>
                    <a:pt x="182446" y="1559161"/>
                    <a:pt x="183260" y="1560790"/>
                    <a:pt x="184074" y="1561604"/>
                  </a:cubicBezTo>
                  <a:cubicBezTo>
                    <a:pt x="184889" y="1562419"/>
                    <a:pt x="185703" y="1564048"/>
                    <a:pt x="186518" y="1564862"/>
                  </a:cubicBezTo>
                  <a:cubicBezTo>
                    <a:pt x="187333" y="1565677"/>
                    <a:pt x="188147" y="1566491"/>
                    <a:pt x="188961" y="1566491"/>
                  </a:cubicBezTo>
                  <a:cubicBezTo>
                    <a:pt x="190590" y="1567306"/>
                    <a:pt x="192219" y="1567306"/>
                    <a:pt x="193848" y="1568120"/>
                  </a:cubicBezTo>
                  <a:cubicBezTo>
                    <a:pt x="197106" y="1569749"/>
                    <a:pt x="200364" y="1571378"/>
                    <a:pt x="201993" y="1574636"/>
                  </a:cubicBezTo>
                  <a:cubicBezTo>
                    <a:pt x="202808" y="1577079"/>
                    <a:pt x="204437" y="1578708"/>
                    <a:pt x="206066" y="1581152"/>
                  </a:cubicBezTo>
                  <a:cubicBezTo>
                    <a:pt x="206066" y="1581966"/>
                    <a:pt x="206880" y="1581966"/>
                    <a:pt x="207695" y="1582781"/>
                  </a:cubicBezTo>
                  <a:cubicBezTo>
                    <a:pt x="209324" y="1583595"/>
                    <a:pt x="210138" y="1584410"/>
                    <a:pt x="210953" y="1585224"/>
                  </a:cubicBezTo>
                  <a:cubicBezTo>
                    <a:pt x="212582" y="1589297"/>
                    <a:pt x="216654" y="1590926"/>
                    <a:pt x="219098" y="1594184"/>
                  </a:cubicBezTo>
                  <a:cubicBezTo>
                    <a:pt x="221541" y="1594998"/>
                    <a:pt x="223170" y="1597442"/>
                    <a:pt x="223985" y="1599071"/>
                  </a:cubicBezTo>
                  <a:cubicBezTo>
                    <a:pt x="225613" y="1602329"/>
                    <a:pt x="226428" y="1605587"/>
                    <a:pt x="230500" y="1607215"/>
                  </a:cubicBezTo>
                  <a:cubicBezTo>
                    <a:pt x="231315" y="1607215"/>
                    <a:pt x="230500" y="1609659"/>
                    <a:pt x="231315" y="1609659"/>
                  </a:cubicBezTo>
                  <a:cubicBezTo>
                    <a:pt x="232944" y="1610474"/>
                    <a:pt x="233758" y="1611288"/>
                    <a:pt x="234573" y="1612102"/>
                  </a:cubicBezTo>
                  <a:cubicBezTo>
                    <a:pt x="236202" y="1614546"/>
                    <a:pt x="237831" y="1617804"/>
                    <a:pt x="239460" y="1620247"/>
                  </a:cubicBezTo>
                  <a:cubicBezTo>
                    <a:pt x="240274" y="1621062"/>
                    <a:pt x="240274" y="1622691"/>
                    <a:pt x="241089" y="1622691"/>
                  </a:cubicBezTo>
                  <a:cubicBezTo>
                    <a:pt x="242718" y="1623505"/>
                    <a:pt x="244347" y="1625134"/>
                    <a:pt x="245161" y="1626763"/>
                  </a:cubicBezTo>
                  <a:cubicBezTo>
                    <a:pt x="245976" y="1628392"/>
                    <a:pt x="246790" y="1630836"/>
                    <a:pt x="248419" y="1632465"/>
                  </a:cubicBezTo>
                  <a:cubicBezTo>
                    <a:pt x="250048" y="1634094"/>
                    <a:pt x="251677" y="1634908"/>
                    <a:pt x="253306" y="1635723"/>
                  </a:cubicBezTo>
                  <a:cubicBezTo>
                    <a:pt x="254935" y="1637352"/>
                    <a:pt x="257378" y="1638166"/>
                    <a:pt x="259008" y="1639795"/>
                  </a:cubicBezTo>
                  <a:cubicBezTo>
                    <a:pt x="259822" y="1640610"/>
                    <a:pt x="260637" y="1640610"/>
                    <a:pt x="262265" y="1640610"/>
                  </a:cubicBezTo>
                  <a:cubicBezTo>
                    <a:pt x="263895" y="1640610"/>
                    <a:pt x="265523" y="1640610"/>
                    <a:pt x="267152" y="1641424"/>
                  </a:cubicBezTo>
                  <a:cubicBezTo>
                    <a:pt x="267967" y="1641424"/>
                    <a:pt x="268781" y="1641424"/>
                    <a:pt x="269596" y="1641424"/>
                  </a:cubicBezTo>
                  <a:cubicBezTo>
                    <a:pt x="273668" y="1638981"/>
                    <a:pt x="279370" y="1638166"/>
                    <a:pt x="280999" y="1633279"/>
                  </a:cubicBezTo>
                  <a:cubicBezTo>
                    <a:pt x="280999" y="1632465"/>
                    <a:pt x="282628" y="1632465"/>
                    <a:pt x="283442" y="1631650"/>
                  </a:cubicBezTo>
                  <a:cubicBezTo>
                    <a:pt x="284257" y="1630836"/>
                    <a:pt x="285071" y="1630836"/>
                    <a:pt x="285886" y="1630021"/>
                  </a:cubicBezTo>
                  <a:cubicBezTo>
                    <a:pt x="286700" y="1627578"/>
                    <a:pt x="289144" y="1626763"/>
                    <a:pt x="291587" y="1625134"/>
                  </a:cubicBezTo>
                  <a:cubicBezTo>
                    <a:pt x="293216" y="1624320"/>
                    <a:pt x="294845" y="1623505"/>
                    <a:pt x="295660" y="1621876"/>
                  </a:cubicBezTo>
                  <a:cubicBezTo>
                    <a:pt x="295660" y="1621062"/>
                    <a:pt x="296474" y="1621062"/>
                    <a:pt x="297289" y="1620247"/>
                  </a:cubicBezTo>
                  <a:cubicBezTo>
                    <a:pt x="299732" y="1618618"/>
                    <a:pt x="301361" y="1617804"/>
                    <a:pt x="303804" y="1616175"/>
                  </a:cubicBezTo>
                  <a:cubicBezTo>
                    <a:pt x="304619" y="1615360"/>
                    <a:pt x="305434" y="1614546"/>
                    <a:pt x="306248" y="1613732"/>
                  </a:cubicBezTo>
                  <a:cubicBezTo>
                    <a:pt x="308691" y="1610474"/>
                    <a:pt x="310320" y="1609659"/>
                    <a:pt x="314393" y="1611288"/>
                  </a:cubicBezTo>
                  <a:cubicBezTo>
                    <a:pt x="316022" y="1612102"/>
                    <a:pt x="317651" y="1612917"/>
                    <a:pt x="319280" y="1613732"/>
                  </a:cubicBezTo>
                  <a:cubicBezTo>
                    <a:pt x="320909" y="1614546"/>
                    <a:pt x="323352" y="1615360"/>
                    <a:pt x="324981" y="1615360"/>
                  </a:cubicBezTo>
                  <a:cubicBezTo>
                    <a:pt x="327425" y="1616175"/>
                    <a:pt x="330682" y="1616989"/>
                    <a:pt x="332312" y="1619433"/>
                  </a:cubicBezTo>
                  <a:cubicBezTo>
                    <a:pt x="333126" y="1621062"/>
                    <a:pt x="335569" y="1621062"/>
                    <a:pt x="336384" y="1622691"/>
                  </a:cubicBezTo>
                  <a:cubicBezTo>
                    <a:pt x="337199" y="1625134"/>
                    <a:pt x="339642" y="1625134"/>
                    <a:pt x="341271" y="1626763"/>
                  </a:cubicBezTo>
                  <a:cubicBezTo>
                    <a:pt x="342900" y="1628392"/>
                    <a:pt x="345343" y="1629207"/>
                    <a:pt x="347787" y="1627578"/>
                  </a:cubicBezTo>
                  <a:cubicBezTo>
                    <a:pt x="349416" y="1626763"/>
                    <a:pt x="351859" y="1627578"/>
                    <a:pt x="353488" y="1626763"/>
                  </a:cubicBezTo>
                  <a:cubicBezTo>
                    <a:pt x="355932" y="1625134"/>
                    <a:pt x="357561" y="1624320"/>
                    <a:pt x="360819" y="1625134"/>
                  </a:cubicBezTo>
                  <a:cubicBezTo>
                    <a:pt x="363262" y="1623505"/>
                    <a:pt x="365706" y="1624320"/>
                    <a:pt x="368149" y="1623505"/>
                  </a:cubicBezTo>
                  <a:cubicBezTo>
                    <a:pt x="370593" y="1622691"/>
                    <a:pt x="372221" y="1621062"/>
                    <a:pt x="374665" y="1620247"/>
                  </a:cubicBezTo>
                  <a:cubicBezTo>
                    <a:pt x="378738" y="1617804"/>
                    <a:pt x="383624" y="1615360"/>
                    <a:pt x="387697" y="1612917"/>
                  </a:cubicBezTo>
                  <a:cubicBezTo>
                    <a:pt x="391769" y="1610474"/>
                    <a:pt x="396656" y="1609659"/>
                    <a:pt x="398285" y="1604772"/>
                  </a:cubicBezTo>
                  <a:cubicBezTo>
                    <a:pt x="398285" y="1603958"/>
                    <a:pt x="399100" y="1603958"/>
                    <a:pt x="399914" y="1603143"/>
                  </a:cubicBezTo>
                  <a:cubicBezTo>
                    <a:pt x="405616" y="1599885"/>
                    <a:pt x="411317" y="1596627"/>
                    <a:pt x="417833" y="1593369"/>
                  </a:cubicBezTo>
                  <a:cubicBezTo>
                    <a:pt x="418647" y="1592555"/>
                    <a:pt x="420276" y="1593369"/>
                    <a:pt x="421091" y="1593369"/>
                  </a:cubicBezTo>
                  <a:cubicBezTo>
                    <a:pt x="421091" y="1593369"/>
                    <a:pt x="421905" y="1593369"/>
                    <a:pt x="421905" y="1593369"/>
                  </a:cubicBezTo>
                  <a:cubicBezTo>
                    <a:pt x="421091" y="1594998"/>
                    <a:pt x="421091" y="1596627"/>
                    <a:pt x="421905" y="1598256"/>
                  </a:cubicBezTo>
                  <a:cubicBezTo>
                    <a:pt x="422720" y="1601514"/>
                    <a:pt x="425978" y="1602329"/>
                    <a:pt x="428421" y="1599885"/>
                  </a:cubicBezTo>
                  <a:cubicBezTo>
                    <a:pt x="429236" y="1599071"/>
                    <a:pt x="430050" y="1598256"/>
                    <a:pt x="430050" y="1597442"/>
                  </a:cubicBezTo>
                  <a:cubicBezTo>
                    <a:pt x="430050" y="1599071"/>
                    <a:pt x="430865" y="1599885"/>
                    <a:pt x="432494" y="1599885"/>
                  </a:cubicBezTo>
                  <a:cubicBezTo>
                    <a:pt x="434123" y="1599885"/>
                    <a:pt x="435752" y="1598256"/>
                    <a:pt x="437381" y="1600700"/>
                  </a:cubicBezTo>
                  <a:cubicBezTo>
                    <a:pt x="434937" y="1603143"/>
                    <a:pt x="431679" y="1605587"/>
                    <a:pt x="429236" y="1608030"/>
                  </a:cubicBezTo>
                  <a:cubicBezTo>
                    <a:pt x="430050" y="1606401"/>
                    <a:pt x="430050" y="1603958"/>
                    <a:pt x="430050" y="1600700"/>
                  </a:cubicBezTo>
                  <a:cubicBezTo>
                    <a:pt x="419462" y="1607215"/>
                    <a:pt x="412131" y="1614546"/>
                    <a:pt x="404801" y="1624320"/>
                  </a:cubicBezTo>
                  <a:cubicBezTo>
                    <a:pt x="403172" y="1626763"/>
                    <a:pt x="401543" y="1628392"/>
                    <a:pt x="405616" y="1630836"/>
                  </a:cubicBezTo>
                  <a:cubicBezTo>
                    <a:pt x="407245" y="1630021"/>
                    <a:pt x="408059" y="1629207"/>
                    <a:pt x="409688" y="1628392"/>
                  </a:cubicBezTo>
                  <a:cubicBezTo>
                    <a:pt x="409688" y="1629207"/>
                    <a:pt x="409688" y="1630021"/>
                    <a:pt x="410503" y="1630836"/>
                  </a:cubicBezTo>
                  <a:cubicBezTo>
                    <a:pt x="414575" y="1628392"/>
                    <a:pt x="417833" y="1625134"/>
                    <a:pt x="421091" y="1622691"/>
                  </a:cubicBezTo>
                  <a:cubicBezTo>
                    <a:pt x="422720" y="1624320"/>
                    <a:pt x="423534" y="1625949"/>
                    <a:pt x="425163" y="1627578"/>
                  </a:cubicBezTo>
                  <a:cubicBezTo>
                    <a:pt x="432494" y="1622691"/>
                    <a:pt x="438195" y="1618618"/>
                    <a:pt x="444711" y="1614546"/>
                  </a:cubicBezTo>
                  <a:cubicBezTo>
                    <a:pt x="444711" y="1614546"/>
                    <a:pt x="445526" y="1613732"/>
                    <a:pt x="445526" y="1613732"/>
                  </a:cubicBezTo>
                  <a:cubicBezTo>
                    <a:pt x="445526" y="1613732"/>
                    <a:pt x="445526" y="1613732"/>
                    <a:pt x="445526" y="1613732"/>
                  </a:cubicBezTo>
                  <a:cubicBezTo>
                    <a:pt x="445526" y="1613732"/>
                    <a:pt x="446340" y="1614546"/>
                    <a:pt x="446340" y="1616175"/>
                  </a:cubicBezTo>
                  <a:cubicBezTo>
                    <a:pt x="443082" y="1618618"/>
                    <a:pt x="440639" y="1621062"/>
                    <a:pt x="437381" y="1623505"/>
                  </a:cubicBezTo>
                  <a:cubicBezTo>
                    <a:pt x="437381" y="1623505"/>
                    <a:pt x="437381" y="1623505"/>
                    <a:pt x="437381" y="1623505"/>
                  </a:cubicBezTo>
                  <a:cubicBezTo>
                    <a:pt x="437381" y="1623505"/>
                    <a:pt x="437381" y="1623505"/>
                    <a:pt x="437381" y="1623505"/>
                  </a:cubicBezTo>
                  <a:cubicBezTo>
                    <a:pt x="426792" y="1632465"/>
                    <a:pt x="415390" y="1641424"/>
                    <a:pt x="407245" y="1652012"/>
                  </a:cubicBezTo>
                  <a:cubicBezTo>
                    <a:pt x="403172" y="1657714"/>
                    <a:pt x="399100" y="1662601"/>
                    <a:pt x="393398" y="1666673"/>
                  </a:cubicBezTo>
                  <a:cubicBezTo>
                    <a:pt x="390955" y="1668302"/>
                    <a:pt x="389326" y="1670746"/>
                    <a:pt x="387697" y="1673189"/>
                  </a:cubicBezTo>
                  <a:cubicBezTo>
                    <a:pt x="386882" y="1674818"/>
                    <a:pt x="386068" y="1677262"/>
                    <a:pt x="389326" y="1678891"/>
                  </a:cubicBezTo>
                  <a:cubicBezTo>
                    <a:pt x="396656" y="1672375"/>
                    <a:pt x="405616" y="1667488"/>
                    <a:pt x="412131" y="1659343"/>
                  </a:cubicBezTo>
                  <a:cubicBezTo>
                    <a:pt x="413760" y="1657714"/>
                    <a:pt x="416204" y="1656085"/>
                    <a:pt x="417833" y="1654456"/>
                  </a:cubicBezTo>
                  <a:cubicBezTo>
                    <a:pt x="417833" y="1657714"/>
                    <a:pt x="416204" y="1660157"/>
                    <a:pt x="414575" y="1661786"/>
                  </a:cubicBezTo>
                  <a:cubicBezTo>
                    <a:pt x="412131" y="1665044"/>
                    <a:pt x="408874" y="1667488"/>
                    <a:pt x="408874" y="1672375"/>
                  </a:cubicBezTo>
                  <a:cubicBezTo>
                    <a:pt x="410503" y="1674004"/>
                    <a:pt x="412131" y="1675633"/>
                    <a:pt x="413760" y="1677262"/>
                  </a:cubicBezTo>
                  <a:cubicBezTo>
                    <a:pt x="418647" y="1674818"/>
                    <a:pt x="423534" y="1672375"/>
                    <a:pt x="428421" y="1669117"/>
                  </a:cubicBezTo>
                  <a:cubicBezTo>
                    <a:pt x="424349" y="1674004"/>
                    <a:pt x="419462" y="1677262"/>
                    <a:pt x="415390" y="1681334"/>
                  </a:cubicBezTo>
                  <a:cubicBezTo>
                    <a:pt x="414575" y="1682149"/>
                    <a:pt x="413760" y="1682963"/>
                    <a:pt x="412946" y="1683778"/>
                  </a:cubicBezTo>
                  <a:cubicBezTo>
                    <a:pt x="409688" y="1682963"/>
                    <a:pt x="404801" y="1683778"/>
                    <a:pt x="401543" y="1685406"/>
                  </a:cubicBezTo>
                  <a:cubicBezTo>
                    <a:pt x="398285" y="1687850"/>
                    <a:pt x="398285" y="1692737"/>
                    <a:pt x="400729" y="1695995"/>
                  </a:cubicBezTo>
                  <a:cubicBezTo>
                    <a:pt x="401543" y="1696809"/>
                    <a:pt x="402358" y="1697624"/>
                    <a:pt x="403172" y="1697624"/>
                  </a:cubicBezTo>
                  <a:cubicBezTo>
                    <a:pt x="400729" y="1698438"/>
                    <a:pt x="398285" y="1699253"/>
                    <a:pt x="396656" y="1701696"/>
                  </a:cubicBezTo>
                  <a:cubicBezTo>
                    <a:pt x="395027" y="1703325"/>
                    <a:pt x="392584" y="1703325"/>
                    <a:pt x="390955" y="1704140"/>
                  </a:cubicBezTo>
                  <a:cubicBezTo>
                    <a:pt x="386068" y="1704954"/>
                    <a:pt x="383624" y="1707398"/>
                    <a:pt x="383624" y="1711470"/>
                  </a:cubicBezTo>
                  <a:cubicBezTo>
                    <a:pt x="383624" y="1714728"/>
                    <a:pt x="386882" y="1718801"/>
                    <a:pt x="390140" y="1720430"/>
                  </a:cubicBezTo>
                  <a:cubicBezTo>
                    <a:pt x="390140" y="1720430"/>
                    <a:pt x="390140" y="1720430"/>
                    <a:pt x="390140" y="1720430"/>
                  </a:cubicBezTo>
                  <a:cubicBezTo>
                    <a:pt x="390955" y="1722873"/>
                    <a:pt x="393398" y="1724502"/>
                    <a:pt x="395842" y="1725316"/>
                  </a:cubicBezTo>
                  <a:cubicBezTo>
                    <a:pt x="399100" y="1726131"/>
                    <a:pt x="402358" y="1724502"/>
                    <a:pt x="404801" y="1720430"/>
                  </a:cubicBezTo>
                  <a:cubicBezTo>
                    <a:pt x="405616" y="1719615"/>
                    <a:pt x="405616" y="1718801"/>
                    <a:pt x="406430" y="1717172"/>
                  </a:cubicBezTo>
                  <a:cubicBezTo>
                    <a:pt x="408874" y="1717172"/>
                    <a:pt x="411317" y="1717986"/>
                    <a:pt x="412946" y="1717172"/>
                  </a:cubicBezTo>
                  <a:cubicBezTo>
                    <a:pt x="417018" y="1714728"/>
                    <a:pt x="421905" y="1713099"/>
                    <a:pt x="426792" y="1713099"/>
                  </a:cubicBezTo>
                  <a:cubicBezTo>
                    <a:pt x="426792" y="1714728"/>
                    <a:pt x="427607" y="1716357"/>
                    <a:pt x="428421" y="1717986"/>
                  </a:cubicBezTo>
                  <a:cubicBezTo>
                    <a:pt x="430865" y="1721244"/>
                    <a:pt x="434937" y="1721244"/>
                    <a:pt x="438195" y="1718801"/>
                  </a:cubicBezTo>
                  <a:cubicBezTo>
                    <a:pt x="442268" y="1716357"/>
                    <a:pt x="443082" y="1710656"/>
                    <a:pt x="440639" y="1707398"/>
                  </a:cubicBezTo>
                  <a:cubicBezTo>
                    <a:pt x="439824" y="1706583"/>
                    <a:pt x="439824" y="1705769"/>
                    <a:pt x="439010" y="1705769"/>
                  </a:cubicBezTo>
                  <a:cubicBezTo>
                    <a:pt x="438195" y="1704140"/>
                    <a:pt x="437381" y="1703325"/>
                    <a:pt x="435752" y="1703325"/>
                  </a:cubicBezTo>
                  <a:cubicBezTo>
                    <a:pt x="434937" y="1703325"/>
                    <a:pt x="434123" y="1702511"/>
                    <a:pt x="434123" y="1702511"/>
                  </a:cubicBezTo>
                  <a:cubicBezTo>
                    <a:pt x="434123" y="1700882"/>
                    <a:pt x="433308" y="1699253"/>
                    <a:pt x="431679" y="1698438"/>
                  </a:cubicBezTo>
                  <a:cubicBezTo>
                    <a:pt x="435752" y="1695180"/>
                    <a:pt x="440639" y="1691923"/>
                    <a:pt x="445526" y="1689479"/>
                  </a:cubicBezTo>
                  <a:cubicBezTo>
                    <a:pt x="445526" y="1689479"/>
                    <a:pt x="445526" y="1690293"/>
                    <a:pt x="445526" y="1690293"/>
                  </a:cubicBezTo>
                  <a:cubicBezTo>
                    <a:pt x="445526" y="1695995"/>
                    <a:pt x="445526" y="1701696"/>
                    <a:pt x="451227" y="1706583"/>
                  </a:cubicBezTo>
                  <a:cubicBezTo>
                    <a:pt x="452042" y="1707398"/>
                    <a:pt x="452042" y="1708212"/>
                    <a:pt x="452856" y="1709841"/>
                  </a:cubicBezTo>
                  <a:cubicBezTo>
                    <a:pt x="449598" y="1710656"/>
                    <a:pt x="447155" y="1710656"/>
                    <a:pt x="443897" y="1711470"/>
                  </a:cubicBezTo>
                  <a:cubicBezTo>
                    <a:pt x="443897" y="1713099"/>
                    <a:pt x="443897" y="1714728"/>
                    <a:pt x="443897" y="1715543"/>
                  </a:cubicBezTo>
                  <a:cubicBezTo>
                    <a:pt x="443082" y="1725316"/>
                    <a:pt x="444711" y="1735090"/>
                    <a:pt x="439824" y="1743235"/>
                  </a:cubicBezTo>
                  <a:cubicBezTo>
                    <a:pt x="439010" y="1744050"/>
                    <a:pt x="439010" y="1747308"/>
                    <a:pt x="439824" y="1748122"/>
                  </a:cubicBezTo>
                  <a:cubicBezTo>
                    <a:pt x="440639" y="1748937"/>
                    <a:pt x="441453" y="1749751"/>
                    <a:pt x="442268" y="1751380"/>
                  </a:cubicBezTo>
                  <a:cubicBezTo>
                    <a:pt x="438195" y="1755453"/>
                    <a:pt x="440639" y="1758711"/>
                    <a:pt x="441453" y="1761968"/>
                  </a:cubicBezTo>
                  <a:cubicBezTo>
                    <a:pt x="438195" y="1761968"/>
                    <a:pt x="434937" y="1759525"/>
                    <a:pt x="432494" y="1765227"/>
                  </a:cubicBezTo>
                  <a:cubicBezTo>
                    <a:pt x="433308" y="1766855"/>
                    <a:pt x="434123" y="1768484"/>
                    <a:pt x="434123" y="1770113"/>
                  </a:cubicBezTo>
                  <a:cubicBezTo>
                    <a:pt x="431679" y="1771742"/>
                    <a:pt x="430050" y="1772557"/>
                    <a:pt x="427607" y="1774186"/>
                  </a:cubicBezTo>
                  <a:cubicBezTo>
                    <a:pt x="421091" y="1778258"/>
                    <a:pt x="415390" y="1782331"/>
                    <a:pt x="408874" y="1786403"/>
                  </a:cubicBezTo>
                  <a:cubicBezTo>
                    <a:pt x="404801" y="1788847"/>
                    <a:pt x="402358" y="1792105"/>
                    <a:pt x="401543" y="1796177"/>
                  </a:cubicBezTo>
                  <a:cubicBezTo>
                    <a:pt x="408059" y="1808394"/>
                    <a:pt x="409688" y="1823055"/>
                    <a:pt x="403987" y="1839345"/>
                  </a:cubicBezTo>
                  <a:cubicBezTo>
                    <a:pt x="394213" y="1866223"/>
                    <a:pt x="380366" y="1896359"/>
                    <a:pt x="364077" y="1924052"/>
                  </a:cubicBezTo>
                  <a:cubicBezTo>
                    <a:pt x="368964" y="1933826"/>
                    <a:pt x="373036" y="1944414"/>
                    <a:pt x="377923" y="1956632"/>
                  </a:cubicBezTo>
                  <a:cubicBezTo>
                    <a:pt x="378738" y="1958261"/>
                    <a:pt x="378738" y="1959889"/>
                    <a:pt x="379552" y="1961518"/>
                  </a:cubicBezTo>
                  <a:cubicBezTo>
                    <a:pt x="387697" y="1970478"/>
                    <a:pt x="393398" y="1982695"/>
                    <a:pt x="395027" y="1994913"/>
                  </a:cubicBezTo>
                  <a:cubicBezTo>
                    <a:pt x="400729" y="2002243"/>
                    <a:pt x="404801" y="2011202"/>
                    <a:pt x="407245" y="2020976"/>
                  </a:cubicBezTo>
                  <a:cubicBezTo>
                    <a:pt x="454485" y="2003058"/>
                    <a:pt x="505798" y="2060886"/>
                    <a:pt x="480549" y="2112199"/>
                  </a:cubicBezTo>
                  <a:cubicBezTo>
                    <a:pt x="479734" y="2114642"/>
                    <a:pt x="478105" y="2116271"/>
                    <a:pt x="477291" y="2118715"/>
                  </a:cubicBezTo>
                  <a:cubicBezTo>
                    <a:pt x="481363" y="2122787"/>
                    <a:pt x="484621" y="2127674"/>
                    <a:pt x="487065" y="2133376"/>
                  </a:cubicBezTo>
                  <a:cubicBezTo>
                    <a:pt x="497653" y="2134190"/>
                    <a:pt x="507427" y="2136634"/>
                    <a:pt x="516386" y="2141521"/>
                  </a:cubicBezTo>
                  <a:cubicBezTo>
                    <a:pt x="522902" y="2138263"/>
                    <a:pt x="530232" y="2135004"/>
                    <a:pt x="536748" y="2131747"/>
                  </a:cubicBezTo>
                  <a:cubicBezTo>
                    <a:pt x="539192" y="2130118"/>
                    <a:pt x="543264" y="2130118"/>
                    <a:pt x="545708" y="2130118"/>
                  </a:cubicBezTo>
                  <a:cubicBezTo>
                    <a:pt x="562812" y="2132561"/>
                    <a:pt x="579916" y="2131747"/>
                    <a:pt x="597835" y="2125231"/>
                  </a:cubicBezTo>
                  <a:cubicBezTo>
                    <a:pt x="602722" y="2123602"/>
                    <a:pt x="608423" y="2121973"/>
                    <a:pt x="613310" y="2121973"/>
                  </a:cubicBezTo>
                  <a:cubicBezTo>
                    <a:pt x="623084" y="2121159"/>
                    <a:pt x="631229" y="2115457"/>
                    <a:pt x="638560" y="2108941"/>
                  </a:cubicBezTo>
                  <a:cubicBezTo>
                    <a:pt x="641003" y="2106497"/>
                    <a:pt x="644261" y="2103240"/>
                    <a:pt x="647519" y="2101611"/>
                  </a:cubicBezTo>
                  <a:cubicBezTo>
                    <a:pt x="652406" y="2098352"/>
                    <a:pt x="653220" y="2095909"/>
                    <a:pt x="651592" y="2091022"/>
                  </a:cubicBezTo>
                  <a:cubicBezTo>
                    <a:pt x="649962" y="2085321"/>
                    <a:pt x="649962" y="2080434"/>
                    <a:pt x="655664" y="2073918"/>
                  </a:cubicBezTo>
                  <a:cubicBezTo>
                    <a:pt x="658922" y="2069845"/>
                    <a:pt x="662180" y="2064144"/>
                    <a:pt x="661365" y="2059257"/>
                  </a:cubicBezTo>
                  <a:cubicBezTo>
                    <a:pt x="661365" y="2054370"/>
                    <a:pt x="662180" y="2051112"/>
                    <a:pt x="664623" y="2047854"/>
                  </a:cubicBezTo>
                  <a:cubicBezTo>
                    <a:pt x="664623" y="2047854"/>
                    <a:pt x="664623" y="2048669"/>
                    <a:pt x="665438" y="2048669"/>
                  </a:cubicBezTo>
                  <a:cubicBezTo>
                    <a:pt x="667067" y="2047854"/>
                    <a:pt x="667881" y="2047040"/>
                    <a:pt x="669510" y="2046225"/>
                  </a:cubicBezTo>
                  <a:cubicBezTo>
                    <a:pt x="668696" y="2048669"/>
                    <a:pt x="668696" y="2051112"/>
                    <a:pt x="671139" y="2053555"/>
                  </a:cubicBezTo>
                  <a:cubicBezTo>
                    <a:pt x="679284" y="2050298"/>
                    <a:pt x="683357" y="2044596"/>
                    <a:pt x="686614" y="2036451"/>
                  </a:cubicBezTo>
                  <a:cubicBezTo>
                    <a:pt x="687429" y="2034822"/>
                    <a:pt x="686614" y="2032379"/>
                    <a:pt x="684985" y="2032379"/>
                  </a:cubicBezTo>
                  <a:cubicBezTo>
                    <a:pt x="684171" y="2031565"/>
                    <a:pt x="681727" y="2032379"/>
                    <a:pt x="680913" y="2032379"/>
                  </a:cubicBezTo>
                  <a:cubicBezTo>
                    <a:pt x="680913" y="2032379"/>
                    <a:pt x="680913" y="2031565"/>
                    <a:pt x="680913" y="2031565"/>
                  </a:cubicBezTo>
                  <a:cubicBezTo>
                    <a:pt x="681727" y="2029936"/>
                    <a:pt x="680913" y="2027492"/>
                    <a:pt x="679284" y="2027492"/>
                  </a:cubicBezTo>
                  <a:cubicBezTo>
                    <a:pt x="678470" y="2026677"/>
                    <a:pt x="676026" y="2027492"/>
                    <a:pt x="674397" y="2028307"/>
                  </a:cubicBezTo>
                  <a:cubicBezTo>
                    <a:pt x="672768" y="2029121"/>
                    <a:pt x="671139" y="2030750"/>
                    <a:pt x="668696" y="2032379"/>
                  </a:cubicBezTo>
                  <a:cubicBezTo>
                    <a:pt x="667067" y="2029936"/>
                    <a:pt x="665438" y="2028307"/>
                    <a:pt x="662994" y="2027492"/>
                  </a:cubicBezTo>
                  <a:cubicBezTo>
                    <a:pt x="661365" y="2024234"/>
                    <a:pt x="658107" y="2022605"/>
                    <a:pt x="654035" y="2020976"/>
                  </a:cubicBezTo>
                  <a:cubicBezTo>
                    <a:pt x="653220" y="2020976"/>
                    <a:pt x="652406" y="2020162"/>
                    <a:pt x="651592" y="2020162"/>
                  </a:cubicBezTo>
                  <a:cubicBezTo>
                    <a:pt x="651592" y="2017718"/>
                    <a:pt x="653220" y="2015275"/>
                    <a:pt x="656478" y="2010388"/>
                  </a:cubicBezTo>
                  <a:cubicBezTo>
                    <a:pt x="660551" y="2004686"/>
                    <a:pt x="666252" y="2000614"/>
                    <a:pt x="669510" y="1994913"/>
                  </a:cubicBezTo>
                  <a:cubicBezTo>
                    <a:pt x="675212" y="1985953"/>
                    <a:pt x="682542" y="1983510"/>
                    <a:pt x="692316" y="1985139"/>
                  </a:cubicBezTo>
                  <a:cubicBezTo>
                    <a:pt x="693130" y="1985139"/>
                    <a:pt x="694759" y="1985953"/>
                    <a:pt x="695574" y="1985953"/>
                  </a:cubicBezTo>
                  <a:cubicBezTo>
                    <a:pt x="702904" y="1985953"/>
                    <a:pt x="710235" y="1986768"/>
                    <a:pt x="717565" y="1985953"/>
                  </a:cubicBezTo>
                  <a:cubicBezTo>
                    <a:pt x="720823" y="1985953"/>
                    <a:pt x="724081" y="1985139"/>
                    <a:pt x="726524" y="1984324"/>
                  </a:cubicBezTo>
                  <a:cubicBezTo>
                    <a:pt x="725710" y="1985139"/>
                    <a:pt x="724896" y="1985953"/>
                    <a:pt x="724081" y="1987582"/>
                  </a:cubicBezTo>
                  <a:cubicBezTo>
                    <a:pt x="723266" y="1990840"/>
                    <a:pt x="724081" y="1994098"/>
                    <a:pt x="724081" y="1997356"/>
                  </a:cubicBezTo>
                  <a:cubicBezTo>
                    <a:pt x="722452" y="1998985"/>
                    <a:pt x="718379" y="1998170"/>
                    <a:pt x="719194" y="2002243"/>
                  </a:cubicBezTo>
                  <a:cubicBezTo>
                    <a:pt x="723266" y="2004686"/>
                    <a:pt x="728153" y="2006315"/>
                    <a:pt x="732226" y="2008759"/>
                  </a:cubicBezTo>
                  <a:cubicBezTo>
                    <a:pt x="730597" y="2010388"/>
                    <a:pt x="729782" y="2013646"/>
                    <a:pt x="731411" y="2016089"/>
                  </a:cubicBezTo>
                  <a:cubicBezTo>
                    <a:pt x="732226" y="2017718"/>
                    <a:pt x="733855" y="2018533"/>
                    <a:pt x="735484" y="2019347"/>
                  </a:cubicBezTo>
                  <a:cubicBezTo>
                    <a:pt x="737113" y="2021791"/>
                    <a:pt x="738742" y="2024234"/>
                    <a:pt x="738742" y="2026677"/>
                  </a:cubicBezTo>
                  <a:cubicBezTo>
                    <a:pt x="733040" y="2030750"/>
                    <a:pt x="729782" y="2024234"/>
                    <a:pt x="724081" y="2024234"/>
                  </a:cubicBezTo>
                  <a:cubicBezTo>
                    <a:pt x="718379" y="2025863"/>
                    <a:pt x="715936" y="2029936"/>
                    <a:pt x="715936" y="2035637"/>
                  </a:cubicBezTo>
                  <a:cubicBezTo>
                    <a:pt x="715936" y="2041338"/>
                    <a:pt x="716751" y="2047040"/>
                    <a:pt x="722452" y="2050298"/>
                  </a:cubicBezTo>
                  <a:cubicBezTo>
                    <a:pt x="723266" y="2051112"/>
                    <a:pt x="723266" y="2051927"/>
                    <a:pt x="724081" y="2053555"/>
                  </a:cubicBezTo>
                  <a:cubicBezTo>
                    <a:pt x="720823" y="2054370"/>
                    <a:pt x="717565" y="2055185"/>
                    <a:pt x="715122" y="2055999"/>
                  </a:cubicBezTo>
                  <a:cubicBezTo>
                    <a:pt x="715122" y="2057628"/>
                    <a:pt x="715122" y="2059257"/>
                    <a:pt x="715122" y="2060072"/>
                  </a:cubicBezTo>
                  <a:cubicBezTo>
                    <a:pt x="714307" y="2069031"/>
                    <a:pt x="716751" y="2078805"/>
                    <a:pt x="710235" y="2087764"/>
                  </a:cubicBezTo>
                  <a:cubicBezTo>
                    <a:pt x="709420" y="2088579"/>
                    <a:pt x="709420" y="2091837"/>
                    <a:pt x="710235" y="2092651"/>
                  </a:cubicBezTo>
                  <a:cubicBezTo>
                    <a:pt x="715122" y="2097538"/>
                    <a:pt x="715122" y="2103240"/>
                    <a:pt x="715122" y="2108941"/>
                  </a:cubicBezTo>
                  <a:cubicBezTo>
                    <a:pt x="715122" y="2110570"/>
                    <a:pt x="716751" y="2112199"/>
                    <a:pt x="717565" y="2113014"/>
                  </a:cubicBezTo>
                  <a:cubicBezTo>
                    <a:pt x="723266" y="2113014"/>
                    <a:pt x="728153" y="2110570"/>
                    <a:pt x="733040" y="2109756"/>
                  </a:cubicBezTo>
                  <a:cubicBezTo>
                    <a:pt x="733040" y="2109756"/>
                    <a:pt x="732226" y="2109756"/>
                    <a:pt x="732226" y="2110570"/>
                  </a:cubicBezTo>
                  <a:cubicBezTo>
                    <a:pt x="731411" y="2110570"/>
                    <a:pt x="731411" y="2113014"/>
                    <a:pt x="731411" y="2113828"/>
                  </a:cubicBezTo>
                  <a:cubicBezTo>
                    <a:pt x="733040" y="2113828"/>
                    <a:pt x="734669" y="2114642"/>
                    <a:pt x="736298" y="2113828"/>
                  </a:cubicBezTo>
                  <a:cubicBezTo>
                    <a:pt x="736298" y="2113828"/>
                    <a:pt x="737113" y="2112199"/>
                    <a:pt x="737113" y="2110570"/>
                  </a:cubicBezTo>
                  <a:cubicBezTo>
                    <a:pt x="738742" y="2114642"/>
                    <a:pt x="741185" y="2117900"/>
                    <a:pt x="740371" y="2121159"/>
                  </a:cubicBezTo>
                  <a:cubicBezTo>
                    <a:pt x="739556" y="2129303"/>
                    <a:pt x="744443" y="2134190"/>
                    <a:pt x="748516" y="2139892"/>
                  </a:cubicBezTo>
                  <a:cubicBezTo>
                    <a:pt x="750959" y="2143149"/>
                    <a:pt x="753403" y="2147222"/>
                    <a:pt x="758289" y="2148851"/>
                  </a:cubicBezTo>
                  <a:cubicBezTo>
                    <a:pt x="756661" y="2152109"/>
                    <a:pt x="756661" y="2156182"/>
                    <a:pt x="759104" y="2157811"/>
                  </a:cubicBezTo>
                  <a:cubicBezTo>
                    <a:pt x="759918" y="2158625"/>
                    <a:pt x="761548" y="2159439"/>
                    <a:pt x="763176" y="2159439"/>
                  </a:cubicBezTo>
                  <a:cubicBezTo>
                    <a:pt x="763176" y="2161068"/>
                    <a:pt x="763991" y="2161883"/>
                    <a:pt x="764805" y="2162697"/>
                  </a:cubicBezTo>
                  <a:cubicBezTo>
                    <a:pt x="766434" y="2165141"/>
                    <a:pt x="771322" y="2164326"/>
                    <a:pt x="774579" y="2161883"/>
                  </a:cubicBezTo>
                  <a:cubicBezTo>
                    <a:pt x="777837" y="2159439"/>
                    <a:pt x="779466" y="2152923"/>
                    <a:pt x="777023" y="2150480"/>
                  </a:cubicBezTo>
                  <a:cubicBezTo>
                    <a:pt x="776208" y="2149666"/>
                    <a:pt x="774579" y="2148851"/>
                    <a:pt x="772950" y="2148851"/>
                  </a:cubicBezTo>
                  <a:cubicBezTo>
                    <a:pt x="772950" y="2147222"/>
                    <a:pt x="772950" y="2146408"/>
                    <a:pt x="772136" y="2145593"/>
                  </a:cubicBezTo>
                  <a:cubicBezTo>
                    <a:pt x="772136" y="2145593"/>
                    <a:pt x="771322" y="2144778"/>
                    <a:pt x="771322" y="2144778"/>
                  </a:cubicBezTo>
                  <a:cubicBezTo>
                    <a:pt x="772136" y="2144778"/>
                    <a:pt x="772950" y="2143964"/>
                    <a:pt x="773765" y="2143964"/>
                  </a:cubicBezTo>
                  <a:cubicBezTo>
                    <a:pt x="773765" y="2143964"/>
                    <a:pt x="773765" y="2143964"/>
                    <a:pt x="773765" y="2143964"/>
                  </a:cubicBezTo>
                  <a:cubicBezTo>
                    <a:pt x="778652" y="2145593"/>
                    <a:pt x="783539" y="2143964"/>
                    <a:pt x="786797" y="2139077"/>
                  </a:cubicBezTo>
                  <a:cubicBezTo>
                    <a:pt x="787611" y="2137448"/>
                    <a:pt x="788426" y="2136634"/>
                    <a:pt x="789240" y="2135004"/>
                  </a:cubicBezTo>
                  <a:cubicBezTo>
                    <a:pt x="791684" y="2133376"/>
                    <a:pt x="793312" y="2131747"/>
                    <a:pt x="794941" y="2129303"/>
                  </a:cubicBezTo>
                  <a:cubicBezTo>
                    <a:pt x="794941" y="2129303"/>
                    <a:pt x="794941" y="2129303"/>
                    <a:pt x="794941" y="2129303"/>
                  </a:cubicBezTo>
                  <a:cubicBezTo>
                    <a:pt x="795756" y="2131747"/>
                    <a:pt x="799014" y="2131747"/>
                    <a:pt x="800643" y="2130118"/>
                  </a:cubicBezTo>
                  <a:cubicBezTo>
                    <a:pt x="802272" y="2128489"/>
                    <a:pt x="802272" y="2126045"/>
                    <a:pt x="803901" y="2122787"/>
                  </a:cubicBezTo>
                  <a:cubicBezTo>
                    <a:pt x="803086" y="2122787"/>
                    <a:pt x="802272" y="2122787"/>
                    <a:pt x="801457" y="2122787"/>
                  </a:cubicBezTo>
                  <a:cubicBezTo>
                    <a:pt x="805530" y="2118715"/>
                    <a:pt x="808788" y="2115457"/>
                    <a:pt x="812860" y="2112199"/>
                  </a:cubicBezTo>
                  <a:cubicBezTo>
                    <a:pt x="810417" y="2120344"/>
                    <a:pt x="808788" y="2127674"/>
                    <a:pt x="811231" y="2135819"/>
                  </a:cubicBezTo>
                  <a:cubicBezTo>
                    <a:pt x="811231" y="2137448"/>
                    <a:pt x="811231" y="2139077"/>
                    <a:pt x="810417" y="2140706"/>
                  </a:cubicBezTo>
                  <a:cubicBezTo>
                    <a:pt x="810417" y="2140706"/>
                    <a:pt x="810417" y="2140706"/>
                    <a:pt x="810417" y="2140706"/>
                  </a:cubicBezTo>
                  <a:cubicBezTo>
                    <a:pt x="807974" y="2140706"/>
                    <a:pt x="804715" y="2141521"/>
                    <a:pt x="803086" y="2143149"/>
                  </a:cubicBezTo>
                  <a:cubicBezTo>
                    <a:pt x="799014" y="2146408"/>
                    <a:pt x="798200" y="2150480"/>
                    <a:pt x="800643" y="2153738"/>
                  </a:cubicBezTo>
                  <a:cubicBezTo>
                    <a:pt x="802272" y="2155367"/>
                    <a:pt x="803901" y="2156996"/>
                    <a:pt x="805530" y="2157811"/>
                  </a:cubicBezTo>
                  <a:cubicBezTo>
                    <a:pt x="805530" y="2157811"/>
                    <a:pt x="805530" y="2158625"/>
                    <a:pt x="806344" y="2158625"/>
                  </a:cubicBezTo>
                  <a:cubicBezTo>
                    <a:pt x="807974" y="2160254"/>
                    <a:pt x="809602" y="2161883"/>
                    <a:pt x="811231" y="2162697"/>
                  </a:cubicBezTo>
                  <a:cubicBezTo>
                    <a:pt x="812860" y="2167584"/>
                    <a:pt x="814489" y="2172471"/>
                    <a:pt x="814489" y="2177358"/>
                  </a:cubicBezTo>
                  <a:cubicBezTo>
                    <a:pt x="814489" y="2178173"/>
                    <a:pt x="815304" y="2179801"/>
                    <a:pt x="816118" y="2179801"/>
                  </a:cubicBezTo>
                  <a:cubicBezTo>
                    <a:pt x="823449" y="2183060"/>
                    <a:pt x="825078" y="2193648"/>
                    <a:pt x="834852" y="2194463"/>
                  </a:cubicBezTo>
                  <a:cubicBezTo>
                    <a:pt x="842996" y="2202607"/>
                    <a:pt x="853585" y="2202607"/>
                    <a:pt x="864173" y="2203422"/>
                  </a:cubicBezTo>
                  <a:cubicBezTo>
                    <a:pt x="867431" y="2203422"/>
                    <a:pt x="870689" y="2204236"/>
                    <a:pt x="872318" y="2205865"/>
                  </a:cubicBezTo>
                  <a:cubicBezTo>
                    <a:pt x="872318" y="2205865"/>
                    <a:pt x="872318" y="2205865"/>
                    <a:pt x="872318" y="2205865"/>
                  </a:cubicBezTo>
                  <a:cubicBezTo>
                    <a:pt x="869875" y="2205865"/>
                    <a:pt x="868245" y="2205865"/>
                    <a:pt x="867431" y="2209123"/>
                  </a:cubicBezTo>
                  <a:cubicBezTo>
                    <a:pt x="867431" y="2209123"/>
                    <a:pt x="867431" y="2209938"/>
                    <a:pt x="868245" y="2209938"/>
                  </a:cubicBezTo>
                  <a:cubicBezTo>
                    <a:pt x="869875" y="2210752"/>
                    <a:pt x="870689" y="2210752"/>
                    <a:pt x="874761" y="2207494"/>
                  </a:cubicBezTo>
                  <a:cubicBezTo>
                    <a:pt x="882092" y="2212381"/>
                    <a:pt x="891051" y="2214825"/>
                    <a:pt x="900011" y="2216453"/>
                  </a:cubicBezTo>
                  <a:cubicBezTo>
                    <a:pt x="902454" y="2217268"/>
                    <a:pt x="905712" y="2217268"/>
                    <a:pt x="908156" y="2216453"/>
                  </a:cubicBezTo>
                  <a:cubicBezTo>
                    <a:pt x="917930" y="2214825"/>
                    <a:pt x="926889" y="2211567"/>
                    <a:pt x="935848" y="2205051"/>
                  </a:cubicBezTo>
                  <a:cubicBezTo>
                    <a:pt x="950509" y="2194463"/>
                    <a:pt x="966799" y="2187946"/>
                    <a:pt x="982274" y="2180616"/>
                  </a:cubicBezTo>
                  <a:cubicBezTo>
                    <a:pt x="982274" y="2180616"/>
                    <a:pt x="982274" y="2180616"/>
                    <a:pt x="983089" y="2181430"/>
                  </a:cubicBezTo>
                  <a:cubicBezTo>
                    <a:pt x="986346" y="2184689"/>
                    <a:pt x="992862" y="2184689"/>
                    <a:pt x="998564" y="2180616"/>
                  </a:cubicBezTo>
                  <a:cubicBezTo>
                    <a:pt x="999379" y="2179801"/>
                    <a:pt x="1000193" y="2178987"/>
                    <a:pt x="1001007" y="2178173"/>
                  </a:cubicBezTo>
                  <a:cubicBezTo>
                    <a:pt x="1001822" y="2178173"/>
                    <a:pt x="1002636" y="2178173"/>
                    <a:pt x="1002636" y="2178173"/>
                  </a:cubicBezTo>
                  <a:cubicBezTo>
                    <a:pt x="1005894" y="2187946"/>
                    <a:pt x="1010781" y="2196091"/>
                    <a:pt x="1017297" y="2204236"/>
                  </a:cubicBezTo>
                  <a:cubicBezTo>
                    <a:pt x="1015668" y="2209938"/>
                    <a:pt x="1014039" y="2214825"/>
                    <a:pt x="1012410" y="2220526"/>
                  </a:cubicBezTo>
                  <a:cubicBezTo>
                    <a:pt x="1011596" y="2222155"/>
                    <a:pt x="1012410" y="2224598"/>
                    <a:pt x="1013224" y="2227042"/>
                  </a:cubicBezTo>
                  <a:cubicBezTo>
                    <a:pt x="1014039" y="2230300"/>
                    <a:pt x="1018112" y="2230300"/>
                    <a:pt x="1020555" y="2227042"/>
                  </a:cubicBezTo>
                  <a:cubicBezTo>
                    <a:pt x="1021369" y="2226227"/>
                    <a:pt x="1021369" y="2224598"/>
                    <a:pt x="1022184" y="2223784"/>
                  </a:cubicBezTo>
                  <a:cubicBezTo>
                    <a:pt x="1022184" y="2225413"/>
                    <a:pt x="1023813" y="2226227"/>
                    <a:pt x="1025442" y="2226227"/>
                  </a:cubicBezTo>
                  <a:cubicBezTo>
                    <a:pt x="1027071" y="2226227"/>
                    <a:pt x="1028700" y="2222970"/>
                    <a:pt x="1031143" y="2226227"/>
                  </a:cubicBezTo>
                  <a:cubicBezTo>
                    <a:pt x="1030329" y="2227856"/>
                    <a:pt x="1028700" y="2230300"/>
                    <a:pt x="1027886" y="2232743"/>
                  </a:cubicBezTo>
                  <a:cubicBezTo>
                    <a:pt x="1027886" y="2234372"/>
                    <a:pt x="1027886" y="2236001"/>
                    <a:pt x="1028700" y="2239260"/>
                  </a:cubicBezTo>
                  <a:cubicBezTo>
                    <a:pt x="1032772" y="2235187"/>
                    <a:pt x="1035216" y="2232743"/>
                    <a:pt x="1038474" y="2229486"/>
                  </a:cubicBezTo>
                  <a:cubicBezTo>
                    <a:pt x="1040917" y="2231929"/>
                    <a:pt x="1036031" y="2237630"/>
                    <a:pt x="1042546" y="2237630"/>
                  </a:cubicBezTo>
                  <a:cubicBezTo>
                    <a:pt x="1043361" y="2237630"/>
                    <a:pt x="1044175" y="2240074"/>
                    <a:pt x="1044175" y="2241703"/>
                  </a:cubicBezTo>
                  <a:cubicBezTo>
                    <a:pt x="1044175" y="2243332"/>
                    <a:pt x="1044175" y="2244961"/>
                    <a:pt x="1044175" y="2246590"/>
                  </a:cubicBezTo>
                  <a:cubicBezTo>
                    <a:pt x="1044175" y="2249033"/>
                    <a:pt x="1047433" y="2251477"/>
                    <a:pt x="1049877" y="2250662"/>
                  </a:cubicBezTo>
                  <a:cubicBezTo>
                    <a:pt x="1052320" y="2249848"/>
                    <a:pt x="1054764" y="2249033"/>
                    <a:pt x="1057207" y="2247404"/>
                  </a:cubicBezTo>
                  <a:cubicBezTo>
                    <a:pt x="1057207" y="2247404"/>
                    <a:pt x="1057207" y="2247404"/>
                    <a:pt x="1057207" y="2247404"/>
                  </a:cubicBezTo>
                  <a:cubicBezTo>
                    <a:pt x="1059650" y="2245775"/>
                    <a:pt x="1062094" y="2243332"/>
                    <a:pt x="1063723" y="2240888"/>
                  </a:cubicBezTo>
                  <a:cubicBezTo>
                    <a:pt x="1064538" y="2241703"/>
                    <a:pt x="1065352" y="2241703"/>
                    <a:pt x="1066166" y="2242517"/>
                  </a:cubicBezTo>
                  <a:cubicBezTo>
                    <a:pt x="1063723" y="2245775"/>
                    <a:pt x="1062094" y="2249033"/>
                    <a:pt x="1058836" y="2253920"/>
                  </a:cubicBezTo>
                  <a:cubicBezTo>
                    <a:pt x="1064538" y="2252291"/>
                    <a:pt x="1066981" y="2249848"/>
                    <a:pt x="1070239" y="2247404"/>
                  </a:cubicBezTo>
                  <a:cubicBezTo>
                    <a:pt x="1070239" y="2247404"/>
                    <a:pt x="1071054" y="2247404"/>
                    <a:pt x="1071054" y="2248219"/>
                  </a:cubicBezTo>
                  <a:cubicBezTo>
                    <a:pt x="1068610" y="2251477"/>
                    <a:pt x="1066981" y="2254735"/>
                    <a:pt x="1063723" y="2259622"/>
                  </a:cubicBezTo>
                  <a:cubicBezTo>
                    <a:pt x="1070239" y="2257993"/>
                    <a:pt x="1072683" y="2253920"/>
                    <a:pt x="1076755" y="2251477"/>
                  </a:cubicBezTo>
                  <a:cubicBezTo>
                    <a:pt x="1082456" y="2250662"/>
                    <a:pt x="1087343" y="2249033"/>
                    <a:pt x="1091416" y="2245775"/>
                  </a:cubicBezTo>
                  <a:cubicBezTo>
                    <a:pt x="1094673" y="2243332"/>
                    <a:pt x="1097117" y="2240888"/>
                    <a:pt x="1102004" y="2240888"/>
                  </a:cubicBezTo>
                  <a:cubicBezTo>
                    <a:pt x="1101190" y="2242517"/>
                    <a:pt x="1100375" y="2244146"/>
                    <a:pt x="1100375" y="2244961"/>
                  </a:cubicBezTo>
                  <a:cubicBezTo>
                    <a:pt x="1103633" y="2243332"/>
                    <a:pt x="1107706" y="2242517"/>
                    <a:pt x="1110963" y="2240888"/>
                  </a:cubicBezTo>
                  <a:cubicBezTo>
                    <a:pt x="1121552" y="2233558"/>
                    <a:pt x="1132955" y="2228671"/>
                    <a:pt x="1145172" y="2223784"/>
                  </a:cubicBezTo>
                  <a:cubicBezTo>
                    <a:pt x="1145987" y="2222970"/>
                    <a:pt x="1147615" y="2222970"/>
                    <a:pt x="1148430" y="2222970"/>
                  </a:cubicBezTo>
                  <a:cubicBezTo>
                    <a:pt x="1153317" y="2227856"/>
                    <a:pt x="1154132" y="2228671"/>
                    <a:pt x="1159018" y="2226227"/>
                  </a:cubicBezTo>
                  <a:cubicBezTo>
                    <a:pt x="1165534" y="2222970"/>
                    <a:pt x="1172050" y="2218082"/>
                    <a:pt x="1179381" y="2215639"/>
                  </a:cubicBezTo>
                  <a:cubicBezTo>
                    <a:pt x="1185896" y="2213196"/>
                    <a:pt x="1193227" y="2210752"/>
                    <a:pt x="1198928" y="2207494"/>
                  </a:cubicBezTo>
                  <a:cubicBezTo>
                    <a:pt x="1201372" y="2205865"/>
                    <a:pt x="1204629" y="2205051"/>
                    <a:pt x="1205444" y="2203422"/>
                  </a:cubicBezTo>
                  <a:cubicBezTo>
                    <a:pt x="1207073" y="2196906"/>
                    <a:pt x="1213589" y="2195277"/>
                    <a:pt x="1219291" y="2193648"/>
                  </a:cubicBezTo>
                  <a:cubicBezTo>
                    <a:pt x="1220105" y="2193648"/>
                    <a:pt x="1220105" y="2192834"/>
                    <a:pt x="1220919" y="2192834"/>
                  </a:cubicBezTo>
                  <a:cubicBezTo>
                    <a:pt x="1221734" y="2192834"/>
                    <a:pt x="1221734" y="2193648"/>
                    <a:pt x="1222548" y="2193648"/>
                  </a:cubicBezTo>
                  <a:cubicBezTo>
                    <a:pt x="1228250" y="2196091"/>
                    <a:pt x="1233137" y="2194463"/>
                    <a:pt x="1236395" y="2188761"/>
                  </a:cubicBezTo>
                  <a:cubicBezTo>
                    <a:pt x="1237209" y="2187132"/>
                    <a:pt x="1238024" y="2186318"/>
                    <a:pt x="1238024" y="2184689"/>
                  </a:cubicBezTo>
                  <a:cubicBezTo>
                    <a:pt x="1242096" y="2182245"/>
                    <a:pt x="1246983" y="2180616"/>
                    <a:pt x="1251055" y="2178173"/>
                  </a:cubicBezTo>
                  <a:cubicBezTo>
                    <a:pt x="1250241" y="2179801"/>
                    <a:pt x="1249426" y="2182245"/>
                    <a:pt x="1249426" y="2183060"/>
                  </a:cubicBezTo>
                  <a:cubicBezTo>
                    <a:pt x="1250241" y="2185503"/>
                    <a:pt x="1253499" y="2185503"/>
                    <a:pt x="1255128" y="2183874"/>
                  </a:cubicBezTo>
                  <a:cubicBezTo>
                    <a:pt x="1256757" y="2182245"/>
                    <a:pt x="1256757" y="2179801"/>
                    <a:pt x="1258386" y="2176544"/>
                  </a:cubicBezTo>
                  <a:cubicBezTo>
                    <a:pt x="1256757" y="2176544"/>
                    <a:pt x="1255128" y="2176544"/>
                    <a:pt x="1254314" y="2176544"/>
                  </a:cubicBezTo>
                  <a:cubicBezTo>
                    <a:pt x="1257571" y="2175729"/>
                    <a:pt x="1260015" y="2174100"/>
                    <a:pt x="1263273" y="2173286"/>
                  </a:cubicBezTo>
                  <a:cubicBezTo>
                    <a:pt x="1268974" y="2171657"/>
                    <a:pt x="1275490" y="2169213"/>
                    <a:pt x="1281192" y="2166770"/>
                  </a:cubicBezTo>
                  <a:cubicBezTo>
                    <a:pt x="1281192" y="2166770"/>
                    <a:pt x="1281192" y="2166770"/>
                    <a:pt x="1281192" y="2166770"/>
                  </a:cubicBezTo>
                  <a:cubicBezTo>
                    <a:pt x="1281192" y="2166770"/>
                    <a:pt x="1281192" y="2166770"/>
                    <a:pt x="1281192" y="2166770"/>
                  </a:cubicBezTo>
                  <a:lnTo>
                    <a:pt x="1281192" y="2166770"/>
                  </a:lnTo>
                  <a:cubicBezTo>
                    <a:pt x="1283635" y="2164326"/>
                    <a:pt x="1285264" y="2161883"/>
                    <a:pt x="1287708" y="2160254"/>
                  </a:cubicBezTo>
                  <a:cubicBezTo>
                    <a:pt x="1286078" y="2160254"/>
                    <a:pt x="1284450" y="2160254"/>
                    <a:pt x="1283635" y="2160254"/>
                  </a:cubicBezTo>
                  <a:cubicBezTo>
                    <a:pt x="1282821" y="2160254"/>
                    <a:pt x="1282006" y="2160254"/>
                    <a:pt x="1281192" y="2159439"/>
                  </a:cubicBezTo>
                  <a:cubicBezTo>
                    <a:pt x="1283635" y="2159439"/>
                    <a:pt x="1286078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9337" y="2161068"/>
                    <a:pt x="1290966" y="2161883"/>
                    <a:pt x="1290966" y="2161068"/>
                  </a:cubicBezTo>
                  <a:cubicBezTo>
                    <a:pt x="1291780" y="2160254"/>
                    <a:pt x="1292595" y="2160254"/>
                    <a:pt x="1292595" y="2159439"/>
                  </a:cubicBezTo>
                  <a:cubicBezTo>
                    <a:pt x="1294223" y="2159439"/>
                    <a:pt x="1296667" y="2158625"/>
                    <a:pt x="1298296" y="2158625"/>
                  </a:cubicBezTo>
                  <a:cubicBezTo>
                    <a:pt x="1303997" y="2156996"/>
                    <a:pt x="1308885" y="2157811"/>
                    <a:pt x="1312957" y="2160254"/>
                  </a:cubicBezTo>
                  <a:cubicBezTo>
                    <a:pt x="1321102" y="2165955"/>
                    <a:pt x="1330875" y="2162697"/>
                    <a:pt x="1339020" y="2159439"/>
                  </a:cubicBezTo>
                  <a:cubicBezTo>
                    <a:pt x="1347165" y="2156996"/>
                    <a:pt x="1354496" y="2150480"/>
                    <a:pt x="1362641" y="2148037"/>
                  </a:cubicBezTo>
                  <a:cubicBezTo>
                    <a:pt x="1373229" y="2144778"/>
                    <a:pt x="1378930" y="2137448"/>
                    <a:pt x="1384632" y="2129303"/>
                  </a:cubicBezTo>
                  <a:cubicBezTo>
                    <a:pt x="1387890" y="2124416"/>
                    <a:pt x="1391962" y="2119529"/>
                    <a:pt x="1396034" y="2115457"/>
                  </a:cubicBezTo>
                  <a:cubicBezTo>
                    <a:pt x="1396034" y="2115457"/>
                    <a:pt x="1396034" y="2115457"/>
                    <a:pt x="1396034" y="2115457"/>
                  </a:cubicBezTo>
                  <a:cubicBezTo>
                    <a:pt x="1396034" y="2115457"/>
                    <a:pt x="1396034" y="2115457"/>
                    <a:pt x="1396034" y="2115457"/>
                  </a:cubicBezTo>
                  <a:cubicBezTo>
                    <a:pt x="1404179" y="2107312"/>
                    <a:pt x="1413139" y="2101611"/>
                    <a:pt x="1424542" y="2096724"/>
                  </a:cubicBezTo>
                  <a:cubicBezTo>
                    <a:pt x="1430243" y="2094280"/>
                    <a:pt x="1435945" y="2091837"/>
                    <a:pt x="1441646" y="2088579"/>
                  </a:cubicBezTo>
                  <a:cubicBezTo>
                    <a:pt x="1442460" y="2089393"/>
                    <a:pt x="1442460" y="2091022"/>
                    <a:pt x="1443275" y="2091837"/>
                  </a:cubicBezTo>
                  <a:cubicBezTo>
                    <a:pt x="1448162" y="2091022"/>
                    <a:pt x="1587439" y="2051927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lnTo>
                    <a:pt x="1589883" y="2048669"/>
                  </a:ln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7040"/>
                    <a:pt x="1589883" y="2045411"/>
                    <a:pt x="1590698" y="2043782"/>
                  </a:cubicBezTo>
                  <a:cubicBezTo>
                    <a:pt x="1590698" y="2043782"/>
                    <a:pt x="1590698" y="2042967"/>
                    <a:pt x="1591512" y="2042967"/>
                  </a:cubicBezTo>
                  <a:cubicBezTo>
                    <a:pt x="1591512" y="2042967"/>
                    <a:pt x="1591512" y="2042967"/>
                    <a:pt x="1592327" y="2042967"/>
                  </a:cubicBezTo>
                  <a:cubicBezTo>
                    <a:pt x="1595584" y="2040524"/>
                    <a:pt x="1598028" y="2038080"/>
                    <a:pt x="1600472" y="2035637"/>
                  </a:cubicBezTo>
                  <a:cubicBezTo>
                    <a:pt x="1600472" y="2036451"/>
                    <a:pt x="1600472" y="2038080"/>
                    <a:pt x="1599657" y="2038895"/>
                  </a:cubicBezTo>
                  <a:cubicBezTo>
                    <a:pt x="1602915" y="2037266"/>
                    <a:pt x="1605358" y="2035637"/>
                    <a:pt x="1607802" y="2034822"/>
                  </a:cubicBezTo>
                  <a:cubicBezTo>
                    <a:pt x="1608617" y="2034822"/>
                    <a:pt x="1608617" y="2034008"/>
                    <a:pt x="1609431" y="2034008"/>
                  </a:cubicBezTo>
                  <a:cubicBezTo>
                    <a:pt x="1606987" y="2034822"/>
                    <a:pt x="1606173" y="2037266"/>
                    <a:pt x="1605358" y="2043782"/>
                  </a:cubicBezTo>
                  <a:cubicBezTo>
                    <a:pt x="1606987" y="2042967"/>
                    <a:pt x="1607802" y="2042153"/>
                    <a:pt x="1609431" y="2041338"/>
                  </a:cubicBezTo>
                  <a:cubicBezTo>
                    <a:pt x="1610246" y="2042967"/>
                    <a:pt x="1611060" y="2042967"/>
                    <a:pt x="1612689" y="2042967"/>
                  </a:cubicBezTo>
                  <a:cubicBezTo>
                    <a:pt x="1614318" y="2042967"/>
                    <a:pt x="1615947" y="2042153"/>
                    <a:pt x="1617576" y="2042153"/>
                  </a:cubicBezTo>
                  <a:cubicBezTo>
                    <a:pt x="1616761" y="2042967"/>
                    <a:pt x="1615132" y="2044596"/>
                    <a:pt x="1614318" y="2045411"/>
                  </a:cubicBezTo>
                  <a:cubicBezTo>
                    <a:pt x="1614318" y="2047854"/>
                    <a:pt x="1615947" y="2047854"/>
                    <a:pt x="1618390" y="2047854"/>
                  </a:cubicBezTo>
                  <a:cubicBezTo>
                    <a:pt x="1626535" y="2047040"/>
                    <a:pt x="1633051" y="2043782"/>
                    <a:pt x="1639567" y="2039710"/>
                  </a:cubicBezTo>
                  <a:cubicBezTo>
                    <a:pt x="1643639" y="2037266"/>
                    <a:pt x="1646898" y="2036451"/>
                    <a:pt x="1650970" y="2037266"/>
                  </a:cubicBezTo>
                  <a:cubicBezTo>
                    <a:pt x="1650970" y="2037266"/>
                    <a:pt x="1650970" y="2037266"/>
                    <a:pt x="1650155" y="2038080"/>
                  </a:cubicBezTo>
                  <a:cubicBezTo>
                    <a:pt x="1650155" y="2038080"/>
                    <a:pt x="1650970" y="2038080"/>
                    <a:pt x="1650970" y="2037266"/>
                  </a:cubicBezTo>
                  <a:cubicBezTo>
                    <a:pt x="1650970" y="2037266"/>
                    <a:pt x="1650970" y="2037266"/>
                    <a:pt x="1650970" y="2037266"/>
                  </a:cubicBezTo>
                  <a:cubicBezTo>
                    <a:pt x="1652599" y="2036451"/>
                    <a:pt x="1655042" y="2036451"/>
                    <a:pt x="1656671" y="2035637"/>
                  </a:cubicBezTo>
                  <a:cubicBezTo>
                    <a:pt x="1665631" y="2028307"/>
                    <a:pt x="1674590" y="2024234"/>
                    <a:pt x="1686807" y="2024234"/>
                  </a:cubicBezTo>
                  <a:cubicBezTo>
                    <a:pt x="1690065" y="2024234"/>
                    <a:pt x="1693323" y="2023420"/>
                    <a:pt x="1696581" y="2021791"/>
                  </a:cubicBezTo>
                  <a:cubicBezTo>
                    <a:pt x="1706355" y="2017718"/>
                    <a:pt x="1715314" y="2012831"/>
                    <a:pt x="1724274" y="2007944"/>
                  </a:cubicBezTo>
                  <a:cubicBezTo>
                    <a:pt x="1724274" y="2005501"/>
                    <a:pt x="1722645" y="2006315"/>
                    <a:pt x="1721016" y="2005501"/>
                  </a:cubicBezTo>
                  <a:cubicBezTo>
                    <a:pt x="1722645" y="2004686"/>
                    <a:pt x="1723459" y="2003058"/>
                    <a:pt x="1725088" y="2002243"/>
                  </a:cubicBezTo>
                  <a:cubicBezTo>
                    <a:pt x="1725088" y="2002243"/>
                    <a:pt x="1725088" y="2003058"/>
                    <a:pt x="1725088" y="2003058"/>
                  </a:cubicBezTo>
                  <a:cubicBezTo>
                    <a:pt x="1729161" y="2001428"/>
                    <a:pt x="1731604" y="1999799"/>
                    <a:pt x="1734048" y="1998985"/>
                  </a:cubicBezTo>
                  <a:cubicBezTo>
                    <a:pt x="1734048" y="1998985"/>
                    <a:pt x="1734048" y="1998985"/>
                    <a:pt x="1734048" y="1998985"/>
                  </a:cubicBezTo>
                  <a:cubicBezTo>
                    <a:pt x="1734048" y="2000614"/>
                    <a:pt x="1734048" y="2002243"/>
                    <a:pt x="1734048" y="2003058"/>
                  </a:cubicBezTo>
                  <a:cubicBezTo>
                    <a:pt x="1734048" y="2003058"/>
                    <a:pt x="1733233" y="2003058"/>
                    <a:pt x="1733233" y="2003872"/>
                  </a:cubicBezTo>
                  <a:cubicBezTo>
                    <a:pt x="1732419" y="2003872"/>
                    <a:pt x="1732419" y="2005501"/>
                    <a:pt x="1730790" y="2007944"/>
                  </a:cubicBezTo>
                  <a:cubicBezTo>
                    <a:pt x="1732419" y="2007130"/>
                    <a:pt x="1734048" y="2006315"/>
                    <a:pt x="1735677" y="2005501"/>
                  </a:cubicBezTo>
                  <a:cubicBezTo>
                    <a:pt x="1737306" y="2007944"/>
                    <a:pt x="1740564" y="2009573"/>
                    <a:pt x="1743007" y="2010388"/>
                  </a:cubicBezTo>
                  <a:cubicBezTo>
                    <a:pt x="1744636" y="2011202"/>
                    <a:pt x="1747894" y="2010388"/>
                    <a:pt x="1749523" y="2009573"/>
                  </a:cubicBezTo>
                  <a:cubicBezTo>
                    <a:pt x="1750337" y="2008759"/>
                    <a:pt x="1751152" y="2005501"/>
                    <a:pt x="1751152" y="2003872"/>
                  </a:cubicBezTo>
                  <a:cubicBezTo>
                    <a:pt x="1751152" y="1999799"/>
                    <a:pt x="1749523" y="1995727"/>
                    <a:pt x="1745451" y="1994098"/>
                  </a:cubicBezTo>
                  <a:cubicBezTo>
                    <a:pt x="1744636" y="1994098"/>
                    <a:pt x="1744636" y="1993284"/>
                    <a:pt x="1743822" y="1991654"/>
                  </a:cubicBezTo>
                  <a:cubicBezTo>
                    <a:pt x="1746265" y="1989211"/>
                    <a:pt x="1747894" y="1987582"/>
                    <a:pt x="1750337" y="1985139"/>
                  </a:cubicBezTo>
                  <a:cubicBezTo>
                    <a:pt x="1755225" y="1990840"/>
                    <a:pt x="1760111" y="1996541"/>
                    <a:pt x="1764184" y="2002243"/>
                  </a:cubicBezTo>
                  <a:cubicBezTo>
                    <a:pt x="1764999" y="2003058"/>
                    <a:pt x="1764184" y="2004686"/>
                    <a:pt x="1764999" y="2006315"/>
                  </a:cubicBezTo>
                  <a:cubicBezTo>
                    <a:pt x="1764999" y="2007130"/>
                    <a:pt x="1765813" y="2008759"/>
                    <a:pt x="1765813" y="2009573"/>
                  </a:cubicBezTo>
                  <a:cubicBezTo>
                    <a:pt x="1764999" y="2012017"/>
                    <a:pt x="1764184" y="2013646"/>
                    <a:pt x="1763369" y="2016089"/>
                  </a:cubicBezTo>
                  <a:cubicBezTo>
                    <a:pt x="1767442" y="2014460"/>
                    <a:pt x="1767442" y="2013646"/>
                    <a:pt x="1765813" y="2009573"/>
                  </a:cubicBezTo>
                  <a:cubicBezTo>
                    <a:pt x="1767442" y="2012831"/>
                    <a:pt x="1769885" y="2013646"/>
                    <a:pt x="1774772" y="2012831"/>
                  </a:cubicBezTo>
                  <a:cubicBezTo>
                    <a:pt x="1778030" y="2012017"/>
                    <a:pt x="1782103" y="2012831"/>
                    <a:pt x="1785361" y="2012831"/>
                  </a:cubicBezTo>
                  <a:cubicBezTo>
                    <a:pt x="1790248" y="2013646"/>
                    <a:pt x="1794320" y="2014460"/>
                    <a:pt x="1798392" y="2014460"/>
                  </a:cubicBezTo>
                  <a:cubicBezTo>
                    <a:pt x="1803279" y="2014460"/>
                    <a:pt x="1808166" y="2014460"/>
                    <a:pt x="1812239" y="2010388"/>
                  </a:cubicBezTo>
                  <a:cubicBezTo>
                    <a:pt x="1815496" y="2007130"/>
                    <a:pt x="1819569" y="2003872"/>
                    <a:pt x="1823641" y="2000614"/>
                  </a:cubicBezTo>
                  <a:cubicBezTo>
                    <a:pt x="1830158" y="1999799"/>
                    <a:pt x="1833415" y="1997356"/>
                    <a:pt x="1842375" y="1987582"/>
                  </a:cubicBezTo>
                  <a:cubicBezTo>
                    <a:pt x="1841560" y="1985139"/>
                    <a:pt x="1839931" y="1985953"/>
                    <a:pt x="1838303" y="1986768"/>
                  </a:cubicBezTo>
                  <a:cubicBezTo>
                    <a:pt x="1833415" y="1990025"/>
                    <a:pt x="1828529" y="1993284"/>
                    <a:pt x="1822827" y="1997356"/>
                  </a:cubicBezTo>
                  <a:cubicBezTo>
                    <a:pt x="1820384" y="1993284"/>
                    <a:pt x="1818755" y="1988396"/>
                    <a:pt x="1815496" y="1985139"/>
                  </a:cubicBezTo>
                  <a:cubicBezTo>
                    <a:pt x="1809795" y="1980251"/>
                    <a:pt x="1801651" y="1979437"/>
                    <a:pt x="1792691" y="1982695"/>
                  </a:cubicBezTo>
                  <a:cubicBezTo>
                    <a:pt x="1792691" y="1981881"/>
                    <a:pt x="1792691" y="1981066"/>
                    <a:pt x="1792691" y="1980251"/>
                  </a:cubicBezTo>
                  <a:cubicBezTo>
                    <a:pt x="1795134" y="1979437"/>
                    <a:pt x="1797578" y="1978623"/>
                    <a:pt x="1800836" y="1978623"/>
                  </a:cubicBezTo>
                  <a:cubicBezTo>
                    <a:pt x="1804908" y="1978623"/>
                    <a:pt x="1808166" y="1976994"/>
                    <a:pt x="1812239" y="1976179"/>
                  </a:cubicBezTo>
                  <a:cubicBezTo>
                    <a:pt x="1818755" y="1974550"/>
                    <a:pt x="1824456" y="1972107"/>
                    <a:pt x="1830158" y="1969663"/>
                  </a:cubicBezTo>
                  <a:cubicBezTo>
                    <a:pt x="1834230" y="1968034"/>
                    <a:pt x="1838303" y="1966406"/>
                    <a:pt x="1841560" y="1963962"/>
                  </a:cubicBezTo>
                  <a:cubicBezTo>
                    <a:pt x="1844818" y="1961518"/>
                    <a:pt x="1848076" y="1959889"/>
                    <a:pt x="1852149" y="1959889"/>
                  </a:cubicBezTo>
                  <a:cubicBezTo>
                    <a:pt x="1853778" y="1959889"/>
                    <a:pt x="1855407" y="1959889"/>
                    <a:pt x="1857850" y="1959075"/>
                  </a:cubicBezTo>
                  <a:cubicBezTo>
                    <a:pt x="1857850" y="1959075"/>
                    <a:pt x="1857850" y="1959075"/>
                    <a:pt x="1857850" y="1959075"/>
                  </a:cubicBezTo>
                  <a:cubicBezTo>
                    <a:pt x="1857850" y="1959075"/>
                    <a:pt x="1857850" y="1959075"/>
                    <a:pt x="1857850" y="1959075"/>
                  </a:cubicBezTo>
                  <a:cubicBezTo>
                    <a:pt x="1858665" y="1959075"/>
                    <a:pt x="1860293" y="1958261"/>
                    <a:pt x="1861108" y="1958261"/>
                  </a:cubicBezTo>
                  <a:cubicBezTo>
                    <a:pt x="1862737" y="1959889"/>
                    <a:pt x="1863552" y="1959889"/>
                    <a:pt x="1865181" y="1956632"/>
                  </a:cubicBezTo>
                  <a:cubicBezTo>
                    <a:pt x="1866810" y="1955817"/>
                    <a:pt x="1869253" y="1955002"/>
                    <a:pt x="1870882" y="1954188"/>
                  </a:cubicBezTo>
                  <a:cubicBezTo>
                    <a:pt x="1871696" y="1954188"/>
                    <a:pt x="1872511" y="1953373"/>
                    <a:pt x="1873326" y="1953373"/>
                  </a:cubicBezTo>
                  <a:cubicBezTo>
                    <a:pt x="1872511" y="1954188"/>
                    <a:pt x="1872511" y="1954188"/>
                    <a:pt x="1871696" y="1955002"/>
                  </a:cubicBezTo>
                  <a:cubicBezTo>
                    <a:pt x="1870067" y="1956632"/>
                    <a:pt x="1870067" y="1958261"/>
                    <a:pt x="1868438" y="1959889"/>
                  </a:cubicBezTo>
                  <a:cubicBezTo>
                    <a:pt x="1869253" y="1960704"/>
                    <a:pt x="1870067" y="1960704"/>
                    <a:pt x="1870067" y="1960704"/>
                  </a:cubicBezTo>
                  <a:cubicBezTo>
                    <a:pt x="1873326" y="1959075"/>
                    <a:pt x="1876583" y="1958261"/>
                    <a:pt x="1880656" y="1956632"/>
                  </a:cubicBezTo>
                  <a:cubicBezTo>
                    <a:pt x="1879027" y="1957446"/>
                    <a:pt x="1878212" y="1958261"/>
                    <a:pt x="1876583" y="1959889"/>
                  </a:cubicBezTo>
                  <a:cubicBezTo>
                    <a:pt x="1874955" y="1961518"/>
                    <a:pt x="1874955" y="1963147"/>
                    <a:pt x="1873326" y="1964776"/>
                  </a:cubicBezTo>
                  <a:cubicBezTo>
                    <a:pt x="1874140" y="1965591"/>
                    <a:pt x="1874955" y="1965591"/>
                    <a:pt x="1874955" y="1965591"/>
                  </a:cubicBezTo>
                  <a:cubicBezTo>
                    <a:pt x="1877398" y="1963962"/>
                    <a:pt x="1880656" y="1963147"/>
                    <a:pt x="1883100" y="1962333"/>
                  </a:cubicBezTo>
                  <a:cubicBezTo>
                    <a:pt x="1882285" y="1963147"/>
                    <a:pt x="1880656" y="1963962"/>
                    <a:pt x="1879841" y="1964776"/>
                  </a:cubicBezTo>
                  <a:cubicBezTo>
                    <a:pt x="1878212" y="1965591"/>
                    <a:pt x="1878212" y="1968034"/>
                    <a:pt x="1877398" y="1969663"/>
                  </a:cubicBezTo>
                  <a:cubicBezTo>
                    <a:pt x="1880656" y="1968034"/>
                    <a:pt x="1883914" y="1965591"/>
                    <a:pt x="1888801" y="1964776"/>
                  </a:cubicBezTo>
                  <a:cubicBezTo>
                    <a:pt x="1888801" y="1965591"/>
                    <a:pt x="1888801" y="1966406"/>
                    <a:pt x="1887986" y="1967220"/>
                  </a:cubicBezTo>
                  <a:cubicBezTo>
                    <a:pt x="1887172" y="1968034"/>
                    <a:pt x="1885543" y="1968849"/>
                    <a:pt x="1884728" y="1969663"/>
                  </a:cubicBezTo>
                  <a:cubicBezTo>
                    <a:pt x="1884728" y="1969663"/>
                    <a:pt x="1884728" y="1969663"/>
                    <a:pt x="1884728" y="1969663"/>
                  </a:cubicBezTo>
                  <a:cubicBezTo>
                    <a:pt x="1883100" y="1970478"/>
                    <a:pt x="1880656" y="1971292"/>
                    <a:pt x="1879841" y="1973736"/>
                  </a:cubicBezTo>
                  <a:cubicBezTo>
                    <a:pt x="1880656" y="1974550"/>
                    <a:pt x="1881470" y="1974550"/>
                    <a:pt x="1882285" y="1975365"/>
                  </a:cubicBezTo>
                  <a:cubicBezTo>
                    <a:pt x="1879841" y="1977808"/>
                    <a:pt x="1877398" y="1980251"/>
                    <a:pt x="1874955" y="1981881"/>
                  </a:cubicBezTo>
                  <a:cubicBezTo>
                    <a:pt x="1875769" y="1985139"/>
                    <a:pt x="1877398" y="1985139"/>
                    <a:pt x="1879841" y="1983510"/>
                  </a:cubicBezTo>
                  <a:cubicBezTo>
                    <a:pt x="1882285" y="1981066"/>
                    <a:pt x="1883100" y="1978623"/>
                    <a:pt x="1883100" y="1975365"/>
                  </a:cubicBezTo>
                  <a:cubicBezTo>
                    <a:pt x="1883914" y="1976179"/>
                    <a:pt x="1884728" y="1976179"/>
                    <a:pt x="1886357" y="1976994"/>
                  </a:cubicBezTo>
                  <a:cubicBezTo>
                    <a:pt x="1885543" y="1978623"/>
                    <a:pt x="1883914" y="1981066"/>
                    <a:pt x="1883100" y="1982695"/>
                  </a:cubicBezTo>
                  <a:cubicBezTo>
                    <a:pt x="1885543" y="1982695"/>
                    <a:pt x="1887172" y="1981066"/>
                    <a:pt x="1888801" y="1979437"/>
                  </a:cubicBezTo>
                  <a:cubicBezTo>
                    <a:pt x="1889615" y="1980251"/>
                    <a:pt x="1890430" y="1981066"/>
                    <a:pt x="1892059" y="1981881"/>
                  </a:cubicBezTo>
                  <a:cubicBezTo>
                    <a:pt x="1891244" y="1983510"/>
                    <a:pt x="1889615" y="1985953"/>
                    <a:pt x="1888801" y="1987582"/>
                  </a:cubicBezTo>
                  <a:cubicBezTo>
                    <a:pt x="1892059" y="1987582"/>
                    <a:pt x="1893688" y="1985139"/>
                    <a:pt x="1895317" y="1982695"/>
                  </a:cubicBezTo>
                  <a:cubicBezTo>
                    <a:pt x="1900204" y="1975365"/>
                    <a:pt x="1906719" y="1972107"/>
                    <a:pt x="1914050" y="1971292"/>
                  </a:cubicBezTo>
                  <a:cubicBezTo>
                    <a:pt x="1913235" y="1975365"/>
                    <a:pt x="1909978" y="1978623"/>
                    <a:pt x="1905090" y="1982695"/>
                  </a:cubicBezTo>
                  <a:cubicBezTo>
                    <a:pt x="1908348" y="1982695"/>
                    <a:pt x="1909978" y="1983510"/>
                    <a:pt x="1910792" y="1982695"/>
                  </a:cubicBezTo>
                  <a:cubicBezTo>
                    <a:pt x="1912421" y="1981881"/>
                    <a:pt x="1914050" y="1981066"/>
                    <a:pt x="1916493" y="1980251"/>
                  </a:cubicBezTo>
                  <a:cubicBezTo>
                    <a:pt x="1916493" y="1981066"/>
                    <a:pt x="1916493" y="1981066"/>
                    <a:pt x="1915679" y="1981881"/>
                  </a:cubicBezTo>
                  <a:cubicBezTo>
                    <a:pt x="1915679" y="1981066"/>
                    <a:pt x="1916493" y="1981066"/>
                    <a:pt x="1916493" y="1980251"/>
                  </a:cubicBezTo>
                  <a:lnTo>
                    <a:pt x="1916493" y="1980251"/>
                  </a:lnTo>
                  <a:cubicBezTo>
                    <a:pt x="1916493" y="1977808"/>
                    <a:pt x="1916493" y="1975365"/>
                    <a:pt x="1917308" y="1973736"/>
                  </a:cubicBezTo>
                  <a:cubicBezTo>
                    <a:pt x="1918122" y="1972921"/>
                    <a:pt x="1918937" y="1972107"/>
                    <a:pt x="1918937" y="1971292"/>
                  </a:cubicBezTo>
                  <a:cubicBezTo>
                    <a:pt x="1918937" y="1971292"/>
                    <a:pt x="1918937" y="1971292"/>
                    <a:pt x="1918937" y="1971292"/>
                  </a:cubicBezTo>
                  <a:cubicBezTo>
                    <a:pt x="1919752" y="1977808"/>
                    <a:pt x="1916493" y="1982695"/>
                    <a:pt x="1909978" y="1987582"/>
                  </a:cubicBezTo>
                  <a:cubicBezTo>
                    <a:pt x="1913235" y="1987582"/>
                    <a:pt x="1914864" y="1988396"/>
                    <a:pt x="1915679" y="1987582"/>
                  </a:cubicBezTo>
                  <a:cubicBezTo>
                    <a:pt x="1917308" y="1986768"/>
                    <a:pt x="1918937" y="1985953"/>
                    <a:pt x="1921380" y="1985139"/>
                  </a:cubicBezTo>
                  <a:cubicBezTo>
                    <a:pt x="1921380" y="1985953"/>
                    <a:pt x="1921380" y="1985953"/>
                    <a:pt x="1920566" y="1986768"/>
                  </a:cubicBezTo>
                  <a:cubicBezTo>
                    <a:pt x="1920566" y="1985953"/>
                    <a:pt x="1921380" y="1985953"/>
                    <a:pt x="1921380" y="1985139"/>
                  </a:cubicBezTo>
                  <a:lnTo>
                    <a:pt x="1921380" y="1985139"/>
                  </a:lnTo>
                  <a:cubicBezTo>
                    <a:pt x="1921380" y="1982695"/>
                    <a:pt x="1921380" y="1980251"/>
                    <a:pt x="1922195" y="1978623"/>
                  </a:cubicBezTo>
                  <a:cubicBezTo>
                    <a:pt x="1924638" y="1975365"/>
                    <a:pt x="1925453" y="1972107"/>
                    <a:pt x="1927082" y="1968034"/>
                  </a:cubicBezTo>
                  <a:cubicBezTo>
                    <a:pt x="1927896" y="1969663"/>
                    <a:pt x="1928711" y="1971292"/>
                    <a:pt x="1930340" y="1973736"/>
                  </a:cubicBezTo>
                  <a:cubicBezTo>
                    <a:pt x="1931154" y="1972921"/>
                    <a:pt x="1931969" y="1972107"/>
                    <a:pt x="1932783" y="1971292"/>
                  </a:cubicBezTo>
                  <a:cubicBezTo>
                    <a:pt x="1932783" y="1973736"/>
                    <a:pt x="1934412" y="1976179"/>
                    <a:pt x="1936041" y="1978623"/>
                  </a:cubicBezTo>
                  <a:cubicBezTo>
                    <a:pt x="1940928" y="1972921"/>
                    <a:pt x="1944186" y="1965591"/>
                    <a:pt x="1951516" y="1963147"/>
                  </a:cubicBezTo>
                  <a:cubicBezTo>
                    <a:pt x="1953960" y="1956632"/>
                    <a:pt x="1956404" y="1951745"/>
                    <a:pt x="1958032" y="1946043"/>
                  </a:cubicBezTo>
                  <a:cubicBezTo>
                    <a:pt x="1955589" y="1945229"/>
                    <a:pt x="1954774" y="1946858"/>
                    <a:pt x="1953960" y="1947672"/>
                  </a:cubicBezTo>
                  <a:cubicBezTo>
                    <a:pt x="1953145" y="1948487"/>
                    <a:pt x="1952331" y="1949301"/>
                    <a:pt x="1951516" y="1950930"/>
                  </a:cubicBezTo>
                  <a:cubicBezTo>
                    <a:pt x="1950702" y="1950115"/>
                    <a:pt x="1949887" y="1950115"/>
                    <a:pt x="1949887" y="1949301"/>
                  </a:cubicBezTo>
                  <a:cubicBezTo>
                    <a:pt x="1950702" y="1946858"/>
                    <a:pt x="1951516" y="1944414"/>
                    <a:pt x="1952331" y="1941971"/>
                  </a:cubicBezTo>
                  <a:cubicBezTo>
                    <a:pt x="1957218" y="1940342"/>
                    <a:pt x="1962105" y="1937898"/>
                    <a:pt x="1966177" y="1934640"/>
                  </a:cubicBezTo>
                  <a:cubicBezTo>
                    <a:pt x="1966992" y="1934640"/>
                    <a:pt x="1966992" y="1933826"/>
                    <a:pt x="1967806" y="1933826"/>
                  </a:cubicBezTo>
                  <a:cubicBezTo>
                    <a:pt x="1966992" y="1934640"/>
                    <a:pt x="1965363" y="1935455"/>
                    <a:pt x="1963734" y="1936269"/>
                  </a:cubicBezTo>
                  <a:cubicBezTo>
                    <a:pt x="1962105" y="1941156"/>
                    <a:pt x="1959661" y="1946858"/>
                    <a:pt x="1957218" y="1954188"/>
                  </a:cubicBezTo>
                  <a:cubicBezTo>
                    <a:pt x="1959661" y="1953373"/>
                    <a:pt x="1962919" y="1953373"/>
                    <a:pt x="1965363" y="1952559"/>
                  </a:cubicBezTo>
                  <a:cubicBezTo>
                    <a:pt x="1964548" y="1955002"/>
                    <a:pt x="1963734" y="1956632"/>
                    <a:pt x="1962919" y="1959075"/>
                  </a:cubicBezTo>
                  <a:cubicBezTo>
                    <a:pt x="1966992" y="1958261"/>
                    <a:pt x="1971064" y="1957446"/>
                    <a:pt x="1975137" y="1956632"/>
                  </a:cubicBezTo>
                  <a:cubicBezTo>
                    <a:pt x="1974322" y="1955817"/>
                    <a:pt x="1973508" y="1955002"/>
                    <a:pt x="1974322" y="1954188"/>
                  </a:cubicBezTo>
                  <a:cubicBezTo>
                    <a:pt x="1975137" y="1952559"/>
                    <a:pt x="1976766" y="1952559"/>
                    <a:pt x="1978394" y="1952559"/>
                  </a:cubicBezTo>
                  <a:cubicBezTo>
                    <a:pt x="1978394" y="1952559"/>
                    <a:pt x="1978394" y="1952559"/>
                    <a:pt x="1978394" y="1952559"/>
                  </a:cubicBezTo>
                  <a:lnTo>
                    <a:pt x="1978394" y="1952559"/>
                  </a:lnTo>
                  <a:cubicBezTo>
                    <a:pt x="1977580" y="1954188"/>
                    <a:pt x="1976766" y="1955002"/>
                    <a:pt x="1975951" y="1956632"/>
                  </a:cubicBezTo>
                  <a:cubicBezTo>
                    <a:pt x="1979209" y="1957446"/>
                    <a:pt x="1981653" y="1957446"/>
                    <a:pt x="1984096" y="1954188"/>
                  </a:cubicBezTo>
                  <a:cubicBezTo>
                    <a:pt x="1985725" y="1951745"/>
                    <a:pt x="1984911" y="1950930"/>
                    <a:pt x="1983282" y="1949301"/>
                  </a:cubicBezTo>
                  <a:cubicBezTo>
                    <a:pt x="1983282" y="1949301"/>
                    <a:pt x="1983282" y="1949301"/>
                    <a:pt x="1983282" y="1949301"/>
                  </a:cubicBezTo>
                  <a:lnTo>
                    <a:pt x="1983282" y="1949301"/>
                  </a:lnTo>
                  <a:cubicBezTo>
                    <a:pt x="1993056" y="1945229"/>
                    <a:pt x="2002015" y="1941156"/>
                    <a:pt x="2011789" y="1937084"/>
                  </a:cubicBezTo>
                  <a:cubicBezTo>
                    <a:pt x="2015046" y="1935455"/>
                    <a:pt x="2018305" y="1934640"/>
                    <a:pt x="2020748" y="1932197"/>
                  </a:cubicBezTo>
                  <a:cubicBezTo>
                    <a:pt x="2024820" y="1928124"/>
                    <a:pt x="2029708" y="1925681"/>
                    <a:pt x="2034594" y="1924052"/>
                  </a:cubicBezTo>
                  <a:cubicBezTo>
                    <a:pt x="2041925" y="1921608"/>
                    <a:pt x="2048441" y="1919165"/>
                    <a:pt x="2054957" y="1916721"/>
                  </a:cubicBezTo>
                  <a:cubicBezTo>
                    <a:pt x="2059029" y="1915093"/>
                    <a:pt x="2061472" y="1913463"/>
                    <a:pt x="2063916" y="1909391"/>
                  </a:cubicBezTo>
                  <a:cubicBezTo>
                    <a:pt x="2067988" y="1902875"/>
                    <a:pt x="2073690" y="1897174"/>
                    <a:pt x="2086722" y="1902061"/>
                  </a:cubicBezTo>
                  <a:cubicBezTo>
                    <a:pt x="2088350" y="1900432"/>
                    <a:pt x="2089980" y="1898803"/>
                    <a:pt x="2092423" y="1897174"/>
                  </a:cubicBezTo>
                  <a:cubicBezTo>
                    <a:pt x="2095681" y="1897174"/>
                    <a:pt x="2098939" y="1897988"/>
                    <a:pt x="2102197" y="1897174"/>
                  </a:cubicBezTo>
                  <a:cubicBezTo>
                    <a:pt x="2104640" y="1896359"/>
                    <a:pt x="2107084" y="1893101"/>
                    <a:pt x="2110342" y="1891472"/>
                  </a:cubicBezTo>
                  <a:cubicBezTo>
                    <a:pt x="2111157" y="1893101"/>
                    <a:pt x="2112785" y="1894730"/>
                    <a:pt x="2113600" y="1895545"/>
                  </a:cubicBezTo>
                  <a:cubicBezTo>
                    <a:pt x="2115229" y="1895545"/>
                    <a:pt x="2117672" y="1894730"/>
                    <a:pt x="2119301" y="1893916"/>
                  </a:cubicBezTo>
                  <a:cubicBezTo>
                    <a:pt x="2121745" y="1891472"/>
                    <a:pt x="2124188" y="1889029"/>
                    <a:pt x="2125817" y="1886585"/>
                  </a:cubicBezTo>
                  <a:cubicBezTo>
                    <a:pt x="2134776" y="1888214"/>
                    <a:pt x="2141292" y="1884142"/>
                    <a:pt x="2148623" y="1880069"/>
                  </a:cubicBezTo>
                  <a:cubicBezTo>
                    <a:pt x="2151066" y="1879255"/>
                    <a:pt x="2152695" y="1878441"/>
                    <a:pt x="2155139" y="1877626"/>
                  </a:cubicBezTo>
                  <a:cubicBezTo>
                    <a:pt x="2155139" y="1877626"/>
                    <a:pt x="2155139" y="1877626"/>
                    <a:pt x="2155953" y="1878441"/>
                  </a:cubicBezTo>
                  <a:cubicBezTo>
                    <a:pt x="2155953" y="1878441"/>
                    <a:pt x="2155953" y="1877626"/>
                    <a:pt x="2155953" y="1877626"/>
                  </a:cubicBezTo>
                  <a:lnTo>
                    <a:pt x="2155953" y="1877626"/>
                  </a:lnTo>
                  <a:cubicBezTo>
                    <a:pt x="2160026" y="1875997"/>
                    <a:pt x="2164098" y="1873554"/>
                    <a:pt x="2166542" y="1878441"/>
                  </a:cubicBezTo>
                  <a:cubicBezTo>
                    <a:pt x="2172243" y="1879255"/>
                    <a:pt x="2178759" y="1879255"/>
                    <a:pt x="2183646" y="1875183"/>
                  </a:cubicBezTo>
                  <a:cubicBezTo>
                    <a:pt x="2182017" y="1873554"/>
                    <a:pt x="2180388" y="1871924"/>
                    <a:pt x="2178759" y="1870296"/>
                  </a:cubicBezTo>
                  <a:cubicBezTo>
                    <a:pt x="2178759" y="1870296"/>
                    <a:pt x="2178759" y="1870296"/>
                    <a:pt x="2178759" y="1870296"/>
                  </a:cubicBezTo>
                  <a:cubicBezTo>
                    <a:pt x="2178759" y="1870296"/>
                    <a:pt x="2178759" y="1870296"/>
                    <a:pt x="2178759" y="1870296"/>
                  </a:cubicBezTo>
                  <a:cubicBezTo>
                    <a:pt x="2177944" y="1869481"/>
                    <a:pt x="2177130" y="1868667"/>
                    <a:pt x="2176316" y="1867852"/>
                  </a:cubicBezTo>
                  <a:cubicBezTo>
                    <a:pt x="2180388" y="1867038"/>
                    <a:pt x="2184461" y="1867038"/>
                    <a:pt x="2187718" y="1866223"/>
                  </a:cubicBezTo>
                  <a:cubicBezTo>
                    <a:pt x="2187718" y="1866223"/>
                    <a:pt x="2187718" y="1866223"/>
                    <a:pt x="2186904" y="1867038"/>
                  </a:cubicBezTo>
                  <a:cubicBezTo>
                    <a:pt x="2187718" y="1871110"/>
                    <a:pt x="2190162" y="1871110"/>
                    <a:pt x="2192606" y="1869481"/>
                  </a:cubicBezTo>
                  <a:cubicBezTo>
                    <a:pt x="2194234" y="1867852"/>
                    <a:pt x="2196678" y="1867852"/>
                    <a:pt x="2198307" y="1867038"/>
                  </a:cubicBezTo>
                  <a:cubicBezTo>
                    <a:pt x="2195863" y="1868667"/>
                    <a:pt x="2194234" y="1870296"/>
                    <a:pt x="2192606" y="1871924"/>
                  </a:cubicBezTo>
                  <a:cubicBezTo>
                    <a:pt x="2193420" y="1875997"/>
                    <a:pt x="2195863" y="1875997"/>
                    <a:pt x="2198307" y="1874368"/>
                  </a:cubicBezTo>
                  <a:cubicBezTo>
                    <a:pt x="2203194" y="1871110"/>
                    <a:pt x="2208081" y="1871110"/>
                    <a:pt x="2213782" y="1871110"/>
                  </a:cubicBezTo>
                  <a:cubicBezTo>
                    <a:pt x="2221113" y="1871110"/>
                    <a:pt x="2227628" y="1870296"/>
                    <a:pt x="2234959" y="1870296"/>
                  </a:cubicBezTo>
                  <a:cubicBezTo>
                    <a:pt x="2242289" y="1869481"/>
                    <a:pt x="2246362" y="1866223"/>
                    <a:pt x="2247991" y="1859707"/>
                  </a:cubicBezTo>
                  <a:cubicBezTo>
                    <a:pt x="2249620" y="1859707"/>
                    <a:pt x="2250434" y="1858893"/>
                    <a:pt x="2252063" y="1858893"/>
                  </a:cubicBezTo>
                  <a:cubicBezTo>
                    <a:pt x="2252877" y="1859707"/>
                    <a:pt x="2253692" y="1861336"/>
                    <a:pt x="2254507" y="1862965"/>
                  </a:cubicBezTo>
                  <a:cubicBezTo>
                    <a:pt x="2255321" y="1862965"/>
                    <a:pt x="2256950" y="1862151"/>
                    <a:pt x="2257765" y="1862151"/>
                  </a:cubicBezTo>
                  <a:cubicBezTo>
                    <a:pt x="2257765" y="1862151"/>
                    <a:pt x="2256950" y="1862965"/>
                    <a:pt x="2256950" y="1862965"/>
                  </a:cubicBezTo>
                  <a:cubicBezTo>
                    <a:pt x="2257765" y="1864594"/>
                    <a:pt x="2259393" y="1866223"/>
                    <a:pt x="2260208" y="1867852"/>
                  </a:cubicBezTo>
                  <a:cubicBezTo>
                    <a:pt x="2271611" y="1865409"/>
                    <a:pt x="2283014" y="1864594"/>
                    <a:pt x="2293602" y="1864594"/>
                  </a:cubicBezTo>
                  <a:cubicBezTo>
                    <a:pt x="2299303" y="1864594"/>
                    <a:pt x="2305005" y="1864594"/>
                    <a:pt x="2311521" y="1862965"/>
                  </a:cubicBezTo>
                  <a:cubicBezTo>
                    <a:pt x="2316408" y="1862151"/>
                    <a:pt x="2322109" y="1861336"/>
                    <a:pt x="2326181" y="1862965"/>
                  </a:cubicBezTo>
                  <a:cubicBezTo>
                    <a:pt x="2333512" y="1864594"/>
                    <a:pt x="2338399" y="1862965"/>
                    <a:pt x="2343286" y="1857264"/>
                  </a:cubicBezTo>
                  <a:cubicBezTo>
                    <a:pt x="2347358" y="1859707"/>
                    <a:pt x="2352245" y="1860522"/>
                    <a:pt x="2357132" y="1858078"/>
                  </a:cubicBezTo>
                  <a:cubicBezTo>
                    <a:pt x="2362833" y="1855635"/>
                    <a:pt x="2369349" y="1854820"/>
                    <a:pt x="2375866" y="1853191"/>
                  </a:cubicBezTo>
                  <a:cubicBezTo>
                    <a:pt x="2379123" y="1852377"/>
                    <a:pt x="2381567" y="1851562"/>
                    <a:pt x="2384825" y="1850748"/>
                  </a:cubicBezTo>
                  <a:cubicBezTo>
                    <a:pt x="2384825" y="1849119"/>
                    <a:pt x="2384011" y="1847490"/>
                    <a:pt x="2384011" y="1845861"/>
                  </a:cubicBezTo>
                  <a:cubicBezTo>
                    <a:pt x="2388083" y="1844232"/>
                    <a:pt x="2391341" y="1842603"/>
                    <a:pt x="2395413" y="1840974"/>
                  </a:cubicBezTo>
                  <a:cubicBezTo>
                    <a:pt x="2394599" y="1839345"/>
                    <a:pt x="2394599" y="1838531"/>
                    <a:pt x="2396228" y="1837716"/>
                  </a:cubicBezTo>
                  <a:cubicBezTo>
                    <a:pt x="2397856" y="1836902"/>
                    <a:pt x="2399486" y="1836902"/>
                    <a:pt x="2401115" y="1836902"/>
                  </a:cubicBezTo>
                  <a:cubicBezTo>
                    <a:pt x="2399486" y="1838531"/>
                    <a:pt x="2397856" y="1839345"/>
                    <a:pt x="2395413" y="1840974"/>
                  </a:cubicBezTo>
                  <a:cubicBezTo>
                    <a:pt x="2397042" y="1840974"/>
                    <a:pt x="2398671" y="1841789"/>
                    <a:pt x="2399486" y="1841789"/>
                  </a:cubicBezTo>
                  <a:cubicBezTo>
                    <a:pt x="2401115" y="1841789"/>
                    <a:pt x="2401929" y="1840159"/>
                    <a:pt x="2403558" y="1840159"/>
                  </a:cubicBezTo>
                  <a:cubicBezTo>
                    <a:pt x="2402744" y="1839345"/>
                    <a:pt x="2401929" y="1838531"/>
                    <a:pt x="2401115" y="1836902"/>
                  </a:cubicBezTo>
                  <a:cubicBezTo>
                    <a:pt x="2408445" y="1834458"/>
                    <a:pt x="2416590" y="1834458"/>
                    <a:pt x="2423920" y="1835272"/>
                  </a:cubicBezTo>
                  <a:cubicBezTo>
                    <a:pt x="2427993" y="1834458"/>
                    <a:pt x="2431251" y="1832829"/>
                    <a:pt x="2435323" y="1832015"/>
                  </a:cubicBezTo>
                  <a:cubicBezTo>
                    <a:pt x="2439396" y="1831200"/>
                    <a:pt x="2443468" y="1830386"/>
                    <a:pt x="2445912" y="1827128"/>
                  </a:cubicBezTo>
                  <a:cubicBezTo>
                    <a:pt x="2448355" y="1823870"/>
                    <a:pt x="2452427" y="1824684"/>
                    <a:pt x="2456500" y="1824684"/>
                  </a:cubicBezTo>
                  <a:cubicBezTo>
                    <a:pt x="2458943" y="1823870"/>
                    <a:pt x="2461387" y="1823055"/>
                    <a:pt x="2463830" y="1823055"/>
                  </a:cubicBezTo>
                  <a:cubicBezTo>
                    <a:pt x="2473604" y="1821426"/>
                    <a:pt x="2482564" y="1818983"/>
                    <a:pt x="2490708" y="1812467"/>
                  </a:cubicBezTo>
                  <a:cubicBezTo>
                    <a:pt x="2490708" y="1810023"/>
                    <a:pt x="2488265" y="1810023"/>
                    <a:pt x="2485822" y="1810023"/>
                  </a:cubicBezTo>
                  <a:cubicBezTo>
                    <a:pt x="2484193" y="1810023"/>
                    <a:pt x="2482564" y="1810023"/>
                    <a:pt x="2480934" y="1810023"/>
                  </a:cubicBezTo>
                  <a:cubicBezTo>
                    <a:pt x="2482564" y="1809209"/>
                    <a:pt x="2483378" y="1808394"/>
                    <a:pt x="2485007" y="1807580"/>
                  </a:cubicBezTo>
                  <a:cubicBezTo>
                    <a:pt x="2485007" y="1805136"/>
                    <a:pt x="2482564" y="1805136"/>
                    <a:pt x="2480120" y="1805136"/>
                  </a:cubicBezTo>
                  <a:cubicBezTo>
                    <a:pt x="2471160" y="1805951"/>
                    <a:pt x="2463016" y="1805136"/>
                    <a:pt x="2454056" y="1801879"/>
                  </a:cubicBezTo>
                  <a:cubicBezTo>
                    <a:pt x="2445912" y="1799435"/>
                    <a:pt x="2436952" y="1799435"/>
                    <a:pt x="2427993" y="1798620"/>
                  </a:cubicBezTo>
                  <a:cubicBezTo>
                    <a:pt x="2427178" y="1798620"/>
                    <a:pt x="2427178" y="1798620"/>
                    <a:pt x="2426364" y="1798620"/>
                  </a:cubicBezTo>
                  <a:cubicBezTo>
                    <a:pt x="2427178" y="1797806"/>
                    <a:pt x="2427993" y="1796992"/>
                    <a:pt x="2428807" y="1796992"/>
                  </a:cubicBezTo>
                  <a:cubicBezTo>
                    <a:pt x="2432880" y="1796177"/>
                    <a:pt x="2436952" y="1794548"/>
                    <a:pt x="2441025" y="1795363"/>
                  </a:cubicBezTo>
                  <a:cubicBezTo>
                    <a:pt x="2447541" y="1796177"/>
                    <a:pt x="2452427" y="1792919"/>
                    <a:pt x="2458129" y="1792105"/>
                  </a:cubicBezTo>
                  <a:cubicBezTo>
                    <a:pt x="2459758" y="1792105"/>
                    <a:pt x="2460572" y="1789661"/>
                    <a:pt x="2462201" y="1788847"/>
                  </a:cubicBezTo>
                  <a:cubicBezTo>
                    <a:pt x="2458943" y="1787218"/>
                    <a:pt x="2456500" y="1786403"/>
                    <a:pt x="2454871" y="1786403"/>
                  </a:cubicBezTo>
                  <a:cubicBezTo>
                    <a:pt x="2455685" y="1785589"/>
                    <a:pt x="2456500" y="1784774"/>
                    <a:pt x="2457315" y="1783960"/>
                  </a:cubicBezTo>
                  <a:cubicBezTo>
                    <a:pt x="2448355" y="1780702"/>
                    <a:pt x="2448355" y="1780702"/>
                    <a:pt x="2441839" y="1781516"/>
                  </a:cubicBezTo>
                  <a:cubicBezTo>
                    <a:pt x="2440210" y="1781516"/>
                    <a:pt x="2439396" y="1782331"/>
                    <a:pt x="2437767" y="1782331"/>
                  </a:cubicBezTo>
                  <a:cubicBezTo>
                    <a:pt x="2436952" y="1782331"/>
                    <a:pt x="2436138" y="1782331"/>
                    <a:pt x="2436138" y="1782331"/>
                  </a:cubicBezTo>
                  <a:cubicBezTo>
                    <a:pt x="2436138" y="1779887"/>
                    <a:pt x="2437767" y="1778258"/>
                    <a:pt x="2440210" y="1777444"/>
                  </a:cubicBezTo>
                  <a:cubicBezTo>
                    <a:pt x="2446726" y="1773371"/>
                    <a:pt x="2452427" y="1770113"/>
                    <a:pt x="2460572" y="1770113"/>
                  </a:cubicBezTo>
                  <a:cubicBezTo>
                    <a:pt x="2467903" y="1770113"/>
                    <a:pt x="2476048" y="1768484"/>
                    <a:pt x="2483378" y="1767670"/>
                  </a:cubicBezTo>
                  <a:cubicBezTo>
                    <a:pt x="2485822" y="1767670"/>
                    <a:pt x="2488265" y="1767670"/>
                    <a:pt x="2489894" y="1766041"/>
                  </a:cubicBezTo>
                  <a:cubicBezTo>
                    <a:pt x="2496410" y="1761968"/>
                    <a:pt x="2503740" y="1761968"/>
                    <a:pt x="2511071" y="1761968"/>
                  </a:cubicBezTo>
                  <a:cubicBezTo>
                    <a:pt x="2515143" y="1761968"/>
                    <a:pt x="2519216" y="1762783"/>
                    <a:pt x="2523288" y="1758711"/>
                  </a:cubicBezTo>
                  <a:cubicBezTo>
                    <a:pt x="2524102" y="1757896"/>
                    <a:pt x="2525731" y="1757896"/>
                    <a:pt x="2526546" y="1757896"/>
                  </a:cubicBezTo>
                  <a:cubicBezTo>
                    <a:pt x="2529804" y="1759525"/>
                    <a:pt x="2533062" y="1757082"/>
                    <a:pt x="2536320" y="1756267"/>
                  </a:cubicBezTo>
                  <a:cubicBezTo>
                    <a:pt x="2540392" y="1754638"/>
                    <a:pt x="2545279" y="1754638"/>
                    <a:pt x="2550166" y="1753824"/>
                  </a:cubicBezTo>
                  <a:cubicBezTo>
                    <a:pt x="2559940" y="1751380"/>
                    <a:pt x="2568899" y="1748937"/>
                    <a:pt x="2578673" y="1750566"/>
                  </a:cubicBezTo>
                  <a:cubicBezTo>
                    <a:pt x="2578673" y="1750566"/>
                    <a:pt x="2578673" y="1750566"/>
                    <a:pt x="2578673" y="1750566"/>
                  </a:cubicBezTo>
                  <a:cubicBezTo>
                    <a:pt x="2577859" y="1753824"/>
                    <a:pt x="2577044" y="1757082"/>
                    <a:pt x="2576230" y="1760340"/>
                  </a:cubicBezTo>
                  <a:cubicBezTo>
                    <a:pt x="2562383" y="1760340"/>
                    <a:pt x="2549352" y="1766041"/>
                    <a:pt x="2535505" y="1765227"/>
                  </a:cubicBezTo>
                  <a:cubicBezTo>
                    <a:pt x="2534691" y="1765227"/>
                    <a:pt x="2533062" y="1765227"/>
                    <a:pt x="2531433" y="1766041"/>
                  </a:cubicBezTo>
                  <a:cubicBezTo>
                    <a:pt x="2520030" y="1770928"/>
                    <a:pt x="2506998" y="1770113"/>
                    <a:pt x="2495595" y="1772557"/>
                  </a:cubicBezTo>
                  <a:cubicBezTo>
                    <a:pt x="2490708" y="1773371"/>
                    <a:pt x="2486636" y="1772557"/>
                    <a:pt x="2481749" y="1773371"/>
                  </a:cubicBezTo>
                  <a:cubicBezTo>
                    <a:pt x="2476048" y="1773371"/>
                    <a:pt x="2474419" y="1775000"/>
                    <a:pt x="2471160" y="1782331"/>
                  </a:cubicBezTo>
                  <a:cubicBezTo>
                    <a:pt x="2473604" y="1782331"/>
                    <a:pt x="2476862" y="1782331"/>
                    <a:pt x="2479305" y="1782331"/>
                  </a:cubicBezTo>
                  <a:cubicBezTo>
                    <a:pt x="2478491" y="1783960"/>
                    <a:pt x="2477677" y="1785589"/>
                    <a:pt x="2476862" y="1787218"/>
                  </a:cubicBezTo>
                  <a:cubicBezTo>
                    <a:pt x="2481749" y="1787218"/>
                    <a:pt x="2487450" y="1786403"/>
                    <a:pt x="2491523" y="1787218"/>
                  </a:cubicBezTo>
                  <a:cubicBezTo>
                    <a:pt x="2499668" y="1789661"/>
                    <a:pt x="2507812" y="1787218"/>
                    <a:pt x="2516772" y="1786403"/>
                  </a:cubicBezTo>
                  <a:cubicBezTo>
                    <a:pt x="2520845" y="1786403"/>
                    <a:pt x="2521659" y="1783960"/>
                    <a:pt x="2523288" y="1780702"/>
                  </a:cubicBezTo>
                  <a:cubicBezTo>
                    <a:pt x="2525731" y="1780702"/>
                    <a:pt x="2528990" y="1781516"/>
                    <a:pt x="2531433" y="1781516"/>
                  </a:cubicBezTo>
                  <a:cubicBezTo>
                    <a:pt x="2538763" y="1781516"/>
                    <a:pt x="2545279" y="1782331"/>
                    <a:pt x="2551795" y="1776629"/>
                  </a:cubicBezTo>
                  <a:cubicBezTo>
                    <a:pt x="2554238" y="1774186"/>
                    <a:pt x="2558311" y="1772557"/>
                    <a:pt x="2562383" y="1775000"/>
                  </a:cubicBezTo>
                  <a:cubicBezTo>
                    <a:pt x="2563198" y="1775815"/>
                    <a:pt x="2564827" y="1775000"/>
                    <a:pt x="2565642" y="1775000"/>
                  </a:cubicBezTo>
                  <a:cubicBezTo>
                    <a:pt x="2572157" y="1773371"/>
                    <a:pt x="2577859" y="1771742"/>
                    <a:pt x="2584375" y="1770113"/>
                  </a:cubicBezTo>
                  <a:cubicBezTo>
                    <a:pt x="2586818" y="1769299"/>
                    <a:pt x="2589261" y="1767670"/>
                    <a:pt x="2590076" y="1766041"/>
                  </a:cubicBezTo>
                  <a:lnTo>
                    <a:pt x="2590076" y="1766041"/>
                  </a:lnTo>
                  <a:cubicBezTo>
                    <a:pt x="2590076" y="1766041"/>
                    <a:pt x="2590076" y="1766041"/>
                    <a:pt x="2590076" y="1766041"/>
                  </a:cubicBezTo>
                  <a:cubicBezTo>
                    <a:pt x="2593334" y="1768484"/>
                    <a:pt x="2598221" y="1767670"/>
                    <a:pt x="2602294" y="1766855"/>
                  </a:cubicBezTo>
                  <a:cubicBezTo>
                    <a:pt x="2615325" y="1763597"/>
                    <a:pt x="2628357" y="1761968"/>
                    <a:pt x="2641389" y="1757082"/>
                  </a:cubicBezTo>
                  <a:cubicBezTo>
                    <a:pt x="2649534" y="1754638"/>
                    <a:pt x="2657679" y="1753824"/>
                    <a:pt x="2665824" y="1752195"/>
                  </a:cubicBezTo>
                  <a:cubicBezTo>
                    <a:pt x="2668267" y="1751380"/>
                    <a:pt x="2669082" y="1750566"/>
                    <a:pt x="2669082" y="1747308"/>
                  </a:cubicBezTo>
                  <a:cubicBezTo>
                    <a:pt x="2667453" y="1747308"/>
                    <a:pt x="2665009" y="1746493"/>
                    <a:pt x="2663380" y="1745679"/>
                  </a:cubicBezTo>
                  <a:cubicBezTo>
                    <a:pt x="2664195" y="1744864"/>
                    <a:pt x="2664195" y="1744050"/>
                    <a:pt x="2664195" y="1742421"/>
                  </a:cubicBezTo>
                  <a:cubicBezTo>
                    <a:pt x="2663380" y="1742421"/>
                    <a:pt x="2662565" y="1742421"/>
                    <a:pt x="2661751" y="1741606"/>
                  </a:cubicBezTo>
                  <a:cubicBezTo>
                    <a:pt x="2666638" y="1739977"/>
                    <a:pt x="2671525" y="1739163"/>
                    <a:pt x="2677227" y="1739977"/>
                  </a:cubicBezTo>
                  <a:cubicBezTo>
                    <a:pt x="2677227" y="1739977"/>
                    <a:pt x="2677227" y="1740792"/>
                    <a:pt x="2676412" y="1740792"/>
                  </a:cubicBezTo>
                  <a:cubicBezTo>
                    <a:pt x="2676412" y="1741606"/>
                    <a:pt x="2677227" y="1742421"/>
                    <a:pt x="2677227" y="1742421"/>
                  </a:cubicBezTo>
                  <a:cubicBezTo>
                    <a:pt x="2680484" y="1742421"/>
                    <a:pt x="2682928" y="1742421"/>
                    <a:pt x="2686186" y="1741606"/>
                  </a:cubicBezTo>
                  <a:cubicBezTo>
                    <a:pt x="2687000" y="1741606"/>
                    <a:pt x="2687815" y="1741606"/>
                    <a:pt x="2688629" y="1740792"/>
                  </a:cubicBezTo>
                  <a:cubicBezTo>
                    <a:pt x="2687000" y="1743235"/>
                    <a:pt x="2682928" y="1742421"/>
                    <a:pt x="2681299" y="1744864"/>
                  </a:cubicBezTo>
                  <a:cubicBezTo>
                    <a:pt x="2681299" y="1745679"/>
                    <a:pt x="2682113" y="1746493"/>
                    <a:pt x="2682113" y="1746493"/>
                  </a:cubicBezTo>
                  <a:cubicBezTo>
                    <a:pt x="2685372" y="1746493"/>
                    <a:pt x="2687815" y="1746493"/>
                    <a:pt x="2691073" y="1745679"/>
                  </a:cubicBezTo>
                  <a:cubicBezTo>
                    <a:pt x="2697589" y="1744050"/>
                    <a:pt x="2703290" y="1744864"/>
                    <a:pt x="2708991" y="1747308"/>
                  </a:cubicBezTo>
                  <a:cubicBezTo>
                    <a:pt x="2716322" y="1750566"/>
                    <a:pt x="2718765" y="1749751"/>
                    <a:pt x="2725281" y="1743235"/>
                  </a:cubicBezTo>
                  <a:cubicBezTo>
                    <a:pt x="2726096" y="1742421"/>
                    <a:pt x="2727725" y="1740792"/>
                    <a:pt x="2728539" y="1739977"/>
                  </a:cubicBezTo>
                  <a:cubicBezTo>
                    <a:pt x="2732612" y="1736719"/>
                    <a:pt x="2736684" y="1736719"/>
                    <a:pt x="2741571" y="1739163"/>
                  </a:cubicBezTo>
                  <a:cubicBezTo>
                    <a:pt x="2744829" y="1740792"/>
                    <a:pt x="2748087" y="1742421"/>
                    <a:pt x="2751345" y="1743235"/>
                  </a:cubicBezTo>
                  <a:cubicBezTo>
                    <a:pt x="2756232" y="1744864"/>
                    <a:pt x="2758676" y="1742421"/>
                    <a:pt x="2760304" y="1737534"/>
                  </a:cubicBezTo>
                  <a:cubicBezTo>
                    <a:pt x="2758676" y="1736719"/>
                    <a:pt x="2756232" y="1735905"/>
                    <a:pt x="2753788" y="1735090"/>
                  </a:cubicBezTo>
                  <a:cubicBezTo>
                    <a:pt x="2753788" y="1734276"/>
                    <a:pt x="2754603" y="1734276"/>
                    <a:pt x="2754603" y="1733461"/>
                  </a:cubicBezTo>
                  <a:cubicBezTo>
                    <a:pt x="2754603" y="1732647"/>
                    <a:pt x="2755417" y="1732647"/>
                    <a:pt x="2755417" y="1731832"/>
                  </a:cubicBezTo>
                  <a:cubicBezTo>
                    <a:pt x="2756232" y="1731018"/>
                    <a:pt x="2757861" y="1729389"/>
                    <a:pt x="2757047" y="1729389"/>
                  </a:cubicBezTo>
                  <a:cubicBezTo>
                    <a:pt x="2756232" y="1728575"/>
                    <a:pt x="2754603" y="1726945"/>
                    <a:pt x="2753788" y="1726945"/>
                  </a:cubicBezTo>
                  <a:cubicBezTo>
                    <a:pt x="2752159" y="1726945"/>
                    <a:pt x="2751345" y="1726945"/>
                    <a:pt x="2749716" y="1726945"/>
                  </a:cubicBezTo>
                  <a:cubicBezTo>
                    <a:pt x="2749716" y="1726945"/>
                    <a:pt x="2749716" y="1726945"/>
                    <a:pt x="2749716" y="1726945"/>
                  </a:cubicBezTo>
                  <a:cubicBezTo>
                    <a:pt x="2750531" y="1726131"/>
                    <a:pt x="2752159" y="1724502"/>
                    <a:pt x="2751345" y="1724502"/>
                  </a:cubicBezTo>
                  <a:cubicBezTo>
                    <a:pt x="2750531" y="1723688"/>
                    <a:pt x="2748902" y="1722058"/>
                    <a:pt x="2748087" y="1722058"/>
                  </a:cubicBezTo>
                  <a:cubicBezTo>
                    <a:pt x="2745643" y="1722058"/>
                    <a:pt x="2743200" y="1722873"/>
                    <a:pt x="2740757" y="1722873"/>
                  </a:cubicBezTo>
                  <a:cubicBezTo>
                    <a:pt x="2740757" y="1722873"/>
                    <a:pt x="2739942" y="1722873"/>
                    <a:pt x="2739942" y="1722058"/>
                  </a:cubicBezTo>
                  <a:cubicBezTo>
                    <a:pt x="2739942" y="1721244"/>
                    <a:pt x="2739942" y="1720430"/>
                    <a:pt x="2739942" y="1718801"/>
                  </a:cubicBezTo>
                  <a:cubicBezTo>
                    <a:pt x="2738313" y="1717986"/>
                    <a:pt x="2736684" y="1717986"/>
                    <a:pt x="2735055" y="1717986"/>
                  </a:cubicBezTo>
                  <a:cubicBezTo>
                    <a:pt x="2734241" y="1717172"/>
                    <a:pt x="2734241" y="1715543"/>
                    <a:pt x="2735055" y="1713914"/>
                  </a:cubicBezTo>
                  <a:cubicBezTo>
                    <a:pt x="2732612" y="1712285"/>
                    <a:pt x="2729354" y="1713099"/>
                    <a:pt x="2726910" y="1713099"/>
                  </a:cubicBezTo>
                  <a:cubicBezTo>
                    <a:pt x="2726910" y="1711470"/>
                    <a:pt x="2726910" y="1709841"/>
                    <a:pt x="2727725" y="1708212"/>
                  </a:cubicBezTo>
                  <a:cubicBezTo>
                    <a:pt x="2729354" y="1708212"/>
                    <a:pt x="2730983" y="1707398"/>
                    <a:pt x="2733426" y="1706583"/>
                  </a:cubicBezTo>
                  <a:cubicBezTo>
                    <a:pt x="2739128" y="1705769"/>
                    <a:pt x="2744829" y="1704140"/>
                    <a:pt x="2750531" y="1702511"/>
                  </a:cubicBezTo>
                  <a:cubicBezTo>
                    <a:pt x="2753788" y="1700882"/>
                    <a:pt x="2757047" y="1700067"/>
                    <a:pt x="2760304" y="1700067"/>
                  </a:cubicBezTo>
                  <a:cubicBezTo>
                    <a:pt x="2766821" y="1700067"/>
                    <a:pt x="2772522" y="1698438"/>
                    <a:pt x="2779038" y="1695995"/>
                  </a:cubicBezTo>
                  <a:cubicBezTo>
                    <a:pt x="2784739" y="1693551"/>
                    <a:pt x="2792069" y="1693551"/>
                    <a:pt x="2797771" y="1695995"/>
                  </a:cubicBezTo>
                  <a:cubicBezTo>
                    <a:pt x="2798585" y="1696809"/>
                    <a:pt x="2799400" y="1696809"/>
                    <a:pt x="2800214" y="1696809"/>
                  </a:cubicBezTo>
                  <a:cubicBezTo>
                    <a:pt x="2793699" y="1698438"/>
                    <a:pt x="2787997" y="1699253"/>
                    <a:pt x="2781481" y="1700067"/>
                  </a:cubicBezTo>
                  <a:cubicBezTo>
                    <a:pt x="2775780" y="1700882"/>
                    <a:pt x="2770078" y="1702511"/>
                    <a:pt x="2765191" y="1705769"/>
                  </a:cubicBezTo>
                  <a:cubicBezTo>
                    <a:pt x="2777409" y="1706583"/>
                    <a:pt x="2788811" y="1703325"/>
                    <a:pt x="2801029" y="1700882"/>
                  </a:cubicBezTo>
                  <a:cubicBezTo>
                    <a:pt x="2804287" y="1700067"/>
                    <a:pt x="2808359" y="1699253"/>
                    <a:pt x="2811617" y="1699253"/>
                  </a:cubicBezTo>
                  <a:cubicBezTo>
                    <a:pt x="2809988" y="1700067"/>
                    <a:pt x="2808359" y="1700882"/>
                    <a:pt x="2806730" y="1700882"/>
                  </a:cubicBezTo>
                  <a:cubicBezTo>
                    <a:pt x="2800214" y="1702511"/>
                    <a:pt x="2793699" y="1704140"/>
                    <a:pt x="2786368" y="1704954"/>
                  </a:cubicBezTo>
                  <a:cubicBezTo>
                    <a:pt x="2780666" y="1705769"/>
                    <a:pt x="2774965" y="1707398"/>
                    <a:pt x="2770078" y="1710656"/>
                  </a:cubicBezTo>
                  <a:cubicBezTo>
                    <a:pt x="2782296" y="1711470"/>
                    <a:pt x="2793699" y="1708212"/>
                    <a:pt x="2805916" y="1705769"/>
                  </a:cubicBezTo>
                  <a:cubicBezTo>
                    <a:pt x="2810803" y="1704954"/>
                    <a:pt x="2815690" y="1704140"/>
                    <a:pt x="2820577" y="1703325"/>
                  </a:cubicBezTo>
                  <a:cubicBezTo>
                    <a:pt x="2826278" y="1702511"/>
                    <a:pt x="2831165" y="1701696"/>
                    <a:pt x="2837681" y="1698438"/>
                  </a:cubicBezTo>
                  <a:cubicBezTo>
                    <a:pt x="2834423" y="1697624"/>
                    <a:pt x="2831980" y="1696809"/>
                    <a:pt x="2828721" y="1695995"/>
                  </a:cubicBezTo>
                  <a:cubicBezTo>
                    <a:pt x="2828721" y="1695995"/>
                    <a:pt x="2828721" y="1695180"/>
                    <a:pt x="2828721" y="1695180"/>
                  </a:cubicBezTo>
                  <a:cubicBezTo>
                    <a:pt x="2829536" y="1694366"/>
                    <a:pt x="2831165" y="1694366"/>
                    <a:pt x="2831980" y="1693551"/>
                  </a:cubicBezTo>
                  <a:cubicBezTo>
                    <a:pt x="2831165" y="1693551"/>
                    <a:pt x="2829536" y="1692737"/>
                    <a:pt x="2828721" y="1692737"/>
                  </a:cubicBezTo>
                  <a:cubicBezTo>
                    <a:pt x="2828721" y="1691923"/>
                    <a:pt x="2828721" y="1691108"/>
                    <a:pt x="2829536" y="1691108"/>
                  </a:cubicBezTo>
                  <a:cubicBezTo>
                    <a:pt x="2831165" y="1688664"/>
                    <a:pt x="2832794" y="1686221"/>
                    <a:pt x="2834423" y="1684592"/>
                  </a:cubicBezTo>
                  <a:cubicBezTo>
                    <a:pt x="2836866" y="1681334"/>
                    <a:pt x="2834423" y="1678076"/>
                    <a:pt x="2830351" y="1678076"/>
                  </a:cubicBezTo>
                  <a:cubicBezTo>
                    <a:pt x="2830351" y="1678076"/>
                    <a:pt x="2829536" y="1678076"/>
                    <a:pt x="2829536" y="1678076"/>
                  </a:cubicBezTo>
                  <a:cubicBezTo>
                    <a:pt x="2830351" y="1675633"/>
                    <a:pt x="2828721" y="1672375"/>
                    <a:pt x="2825463" y="1673189"/>
                  </a:cubicBezTo>
                  <a:cubicBezTo>
                    <a:pt x="2818948" y="1674004"/>
                    <a:pt x="2813246" y="1675633"/>
                    <a:pt x="2806730" y="1676447"/>
                  </a:cubicBezTo>
                  <a:cubicBezTo>
                    <a:pt x="2805916" y="1676447"/>
                    <a:pt x="2805101" y="1676447"/>
                    <a:pt x="2805101" y="1677262"/>
                  </a:cubicBezTo>
                  <a:cubicBezTo>
                    <a:pt x="2805916" y="1676447"/>
                    <a:pt x="2806730" y="1675633"/>
                    <a:pt x="2806730" y="1674004"/>
                  </a:cubicBezTo>
                  <a:cubicBezTo>
                    <a:pt x="2805916" y="1674004"/>
                    <a:pt x="2804287" y="1673189"/>
                    <a:pt x="2803473" y="1672375"/>
                  </a:cubicBezTo>
                  <a:cubicBezTo>
                    <a:pt x="2802658" y="1672375"/>
                    <a:pt x="2801843" y="1671560"/>
                    <a:pt x="2801029" y="1671560"/>
                  </a:cubicBezTo>
                  <a:cubicBezTo>
                    <a:pt x="2801843" y="1670746"/>
                    <a:pt x="2801843" y="1669931"/>
                    <a:pt x="2801843" y="1669117"/>
                  </a:cubicBezTo>
                  <a:cubicBezTo>
                    <a:pt x="2803473" y="1668302"/>
                    <a:pt x="2805101" y="1668302"/>
                    <a:pt x="2805916" y="1668302"/>
                  </a:cubicBezTo>
                  <a:cubicBezTo>
                    <a:pt x="2817318" y="1669117"/>
                    <a:pt x="2827907" y="1669931"/>
                    <a:pt x="2838495" y="1674004"/>
                  </a:cubicBezTo>
                  <a:cubicBezTo>
                    <a:pt x="2845011" y="1676447"/>
                    <a:pt x="2852342" y="1676447"/>
                    <a:pt x="2858043" y="1670746"/>
                  </a:cubicBezTo>
                  <a:cubicBezTo>
                    <a:pt x="2854785" y="1669931"/>
                    <a:pt x="2851527" y="1669931"/>
                    <a:pt x="2848269" y="1669117"/>
                  </a:cubicBezTo>
                  <a:cubicBezTo>
                    <a:pt x="2849898" y="1668302"/>
                    <a:pt x="2851527" y="1667488"/>
                    <a:pt x="2853156" y="1665859"/>
                  </a:cubicBezTo>
                  <a:cubicBezTo>
                    <a:pt x="2842568" y="1664230"/>
                    <a:pt x="2831980" y="1662601"/>
                    <a:pt x="2821391" y="1660972"/>
                  </a:cubicBezTo>
                  <a:cubicBezTo>
                    <a:pt x="2821391" y="1660972"/>
                    <a:pt x="2821391" y="1660972"/>
                    <a:pt x="2821391" y="1660972"/>
                  </a:cubicBezTo>
                  <a:cubicBezTo>
                    <a:pt x="2828721" y="1658528"/>
                    <a:pt x="2836866" y="1656085"/>
                    <a:pt x="2845011" y="1653641"/>
                  </a:cubicBezTo>
                  <a:cubicBezTo>
                    <a:pt x="2845826" y="1651198"/>
                    <a:pt x="2846640" y="1648754"/>
                    <a:pt x="2847455" y="1646311"/>
                  </a:cubicBezTo>
                  <a:cubicBezTo>
                    <a:pt x="2848269" y="1643867"/>
                    <a:pt x="2848269" y="1641424"/>
                    <a:pt x="2849084" y="1638981"/>
                  </a:cubicBezTo>
                  <a:cubicBezTo>
                    <a:pt x="2850713" y="1638166"/>
                    <a:pt x="2852342" y="1636537"/>
                    <a:pt x="2853970" y="1635723"/>
                  </a:cubicBezTo>
                  <a:cubicBezTo>
                    <a:pt x="2854785" y="1632465"/>
                    <a:pt x="2852342" y="1631650"/>
                    <a:pt x="2849898" y="1630836"/>
                  </a:cubicBezTo>
                  <a:cubicBezTo>
                    <a:pt x="2849084" y="1630836"/>
                    <a:pt x="2849084" y="1630836"/>
                    <a:pt x="2848269" y="1630836"/>
                  </a:cubicBezTo>
                  <a:cubicBezTo>
                    <a:pt x="2849084" y="1627578"/>
                    <a:pt x="2846640" y="1626763"/>
                    <a:pt x="2844197" y="1625949"/>
                  </a:cubicBezTo>
                  <a:cubicBezTo>
                    <a:pt x="2839310" y="1625134"/>
                    <a:pt x="2833608" y="1624320"/>
                    <a:pt x="2827907" y="1623505"/>
                  </a:cubicBezTo>
                  <a:cubicBezTo>
                    <a:pt x="2819762" y="1621876"/>
                    <a:pt x="2809988" y="1621876"/>
                    <a:pt x="2804287" y="1615360"/>
                  </a:cubicBezTo>
                  <a:cubicBezTo>
                    <a:pt x="2803473" y="1614546"/>
                    <a:pt x="2801843" y="1613732"/>
                    <a:pt x="2800214" y="1613732"/>
                  </a:cubicBezTo>
                  <a:cubicBezTo>
                    <a:pt x="2792884" y="1612917"/>
                    <a:pt x="2785554" y="1611288"/>
                    <a:pt x="2779852" y="1607215"/>
                  </a:cubicBezTo>
                  <a:cubicBezTo>
                    <a:pt x="2779038" y="1606401"/>
                    <a:pt x="2776594" y="1606401"/>
                    <a:pt x="2774965" y="1606401"/>
                  </a:cubicBezTo>
                  <a:cubicBezTo>
                    <a:pt x="2760304" y="1606401"/>
                    <a:pt x="2746458" y="1603958"/>
                    <a:pt x="2733426" y="1599885"/>
                  </a:cubicBezTo>
                  <a:cubicBezTo>
                    <a:pt x="2731797" y="1599071"/>
                    <a:pt x="2729354" y="1599071"/>
                    <a:pt x="2727725" y="1599071"/>
                  </a:cubicBezTo>
                  <a:cubicBezTo>
                    <a:pt x="2713064" y="1599885"/>
                    <a:pt x="2699217" y="1597442"/>
                    <a:pt x="2685372" y="1597442"/>
                  </a:cubicBezTo>
                  <a:cubicBezTo>
                    <a:pt x="2674783" y="1596627"/>
                    <a:pt x="2664195" y="1598256"/>
                    <a:pt x="2653606" y="1598256"/>
                  </a:cubicBezTo>
                  <a:cubicBezTo>
                    <a:pt x="2648720" y="1598256"/>
                    <a:pt x="2643832" y="1599071"/>
                    <a:pt x="2638131" y="1599071"/>
                  </a:cubicBezTo>
                  <a:cubicBezTo>
                    <a:pt x="2634058" y="1599071"/>
                    <a:pt x="2632430" y="1596627"/>
                    <a:pt x="2632430" y="1594998"/>
                  </a:cubicBezTo>
                  <a:cubicBezTo>
                    <a:pt x="2629172" y="1595813"/>
                    <a:pt x="2625913" y="1596627"/>
                    <a:pt x="2623470" y="1596627"/>
                  </a:cubicBezTo>
                  <a:cubicBezTo>
                    <a:pt x="2618583" y="1595813"/>
                    <a:pt x="2614511" y="1595813"/>
                    <a:pt x="2609624" y="1596627"/>
                  </a:cubicBezTo>
                  <a:cubicBezTo>
                    <a:pt x="2611253" y="1594184"/>
                    <a:pt x="2610438" y="1592555"/>
                    <a:pt x="2608809" y="1591740"/>
                  </a:cubicBezTo>
                  <a:cubicBezTo>
                    <a:pt x="2607995" y="1590926"/>
                    <a:pt x="2606366" y="1590111"/>
                    <a:pt x="2605551" y="1590111"/>
                  </a:cubicBezTo>
                  <a:cubicBezTo>
                    <a:pt x="2605551" y="1588482"/>
                    <a:pt x="2604737" y="1587668"/>
                    <a:pt x="2603923" y="1586853"/>
                  </a:cubicBezTo>
                  <a:cubicBezTo>
                    <a:pt x="2601479" y="1585224"/>
                    <a:pt x="2599035" y="1583595"/>
                    <a:pt x="2594963" y="1584410"/>
                  </a:cubicBezTo>
                  <a:cubicBezTo>
                    <a:pt x="2586818" y="1587668"/>
                    <a:pt x="2578673" y="1590111"/>
                    <a:pt x="2571343" y="1592555"/>
                  </a:cubicBezTo>
                  <a:cubicBezTo>
                    <a:pt x="2570528" y="1594998"/>
                    <a:pt x="2572157" y="1595813"/>
                    <a:pt x="2573786" y="1596627"/>
                  </a:cubicBezTo>
                  <a:cubicBezTo>
                    <a:pt x="2579488" y="1595813"/>
                    <a:pt x="2584375" y="1594184"/>
                    <a:pt x="2590076" y="1593369"/>
                  </a:cubicBezTo>
                  <a:cubicBezTo>
                    <a:pt x="2590076" y="1593369"/>
                    <a:pt x="2590891" y="1593369"/>
                    <a:pt x="2591705" y="1593369"/>
                  </a:cubicBezTo>
                  <a:cubicBezTo>
                    <a:pt x="2587633" y="1594998"/>
                    <a:pt x="2583560" y="1595813"/>
                    <a:pt x="2580302" y="1597442"/>
                  </a:cubicBezTo>
                  <a:cubicBezTo>
                    <a:pt x="2578673" y="1597442"/>
                    <a:pt x="2577044" y="1597442"/>
                    <a:pt x="2574601" y="1597442"/>
                  </a:cubicBezTo>
                  <a:cubicBezTo>
                    <a:pt x="2570528" y="1599885"/>
                    <a:pt x="2565642" y="1599885"/>
                    <a:pt x="2561569" y="1599071"/>
                  </a:cubicBezTo>
                  <a:cubicBezTo>
                    <a:pt x="2556682" y="1598256"/>
                    <a:pt x="2552609" y="1598256"/>
                    <a:pt x="2547723" y="1599885"/>
                  </a:cubicBezTo>
                  <a:cubicBezTo>
                    <a:pt x="2548537" y="1601514"/>
                    <a:pt x="2549352" y="1602329"/>
                    <a:pt x="2550166" y="1603143"/>
                  </a:cubicBezTo>
                  <a:cubicBezTo>
                    <a:pt x="2532247" y="1608030"/>
                    <a:pt x="2515143" y="1604772"/>
                    <a:pt x="2498039" y="1605587"/>
                  </a:cubicBezTo>
                  <a:cubicBezTo>
                    <a:pt x="2497224" y="1607215"/>
                    <a:pt x="2496410" y="1608030"/>
                    <a:pt x="2495595" y="1609659"/>
                  </a:cubicBezTo>
                  <a:cubicBezTo>
                    <a:pt x="2492337" y="1612917"/>
                    <a:pt x="2490708" y="1612917"/>
                    <a:pt x="2487450" y="1609659"/>
                  </a:cubicBezTo>
                  <a:cubicBezTo>
                    <a:pt x="2486636" y="1608845"/>
                    <a:pt x="2485007" y="1607215"/>
                    <a:pt x="2484193" y="1607215"/>
                  </a:cubicBezTo>
                  <a:cubicBezTo>
                    <a:pt x="2474419" y="1607215"/>
                    <a:pt x="2464645" y="1603958"/>
                    <a:pt x="2454871" y="1607215"/>
                  </a:cubicBezTo>
                  <a:lnTo>
                    <a:pt x="2454871" y="1607215"/>
                  </a:lnTo>
                  <a:cubicBezTo>
                    <a:pt x="2442653" y="1605587"/>
                    <a:pt x="2429622" y="1606401"/>
                    <a:pt x="2417404" y="1608030"/>
                  </a:cubicBezTo>
                  <a:cubicBezTo>
                    <a:pt x="2415775" y="1608030"/>
                    <a:pt x="2414146" y="1608845"/>
                    <a:pt x="2412518" y="1608845"/>
                  </a:cubicBezTo>
                  <a:cubicBezTo>
                    <a:pt x="2397042" y="1608030"/>
                    <a:pt x="2382381" y="1612102"/>
                    <a:pt x="2367721" y="1614546"/>
                  </a:cubicBezTo>
                  <a:cubicBezTo>
                    <a:pt x="2365277" y="1614546"/>
                    <a:pt x="2363648" y="1615360"/>
                    <a:pt x="2361204" y="1616989"/>
                  </a:cubicBezTo>
                  <a:cubicBezTo>
                    <a:pt x="2361204" y="1616989"/>
                    <a:pt x="2361204" y="1616989"/>
                    <a:pt x="2361204" y="1616175"/>
                  </a:cubicBezTo>
                  <a:cubicBezTo>
                    <a:pt x="2360390" y="1616175"/>
                    <a:pt x="2359576" y="1616989"/>
                    <a:pt x="2358761" y="1616989"/>
                  </a:cubicBezTo>
                  <a:cubicBezTo>
                    <a:pt x="2357947" y="1615360"/>
                    <a:pt x="2357132" y="1613732"/>
                    <a:pt x="2356318" y="1611288"/>
                  </a:cubicBezTo>
                  <a:cubicBezTo>
                    <a:pt x="2345729" y="1614546"/>
                    <a:pt x="2336770" y="1621876"/>
                    <a:pt x="2325367" y="1622691"/>
                  </a:cubicBezTo>
                  <a:cubicBezTo>
                    <a:pt x="2326181" y="1624320"/>
                    <a:pt x="2326996" y="1625949"/>
                    <a:pt x="2327811" y="1627578"/>
                  </a:cubicBezTo>
                  <a:cubicBezTo>
                    <a:pt x="2320480" y="1628392"/>
                    <a:pt x="2319666" y="1628392"/>
                    <a:pt x="2315593" y="1631650"/>
                  </a:cubicBezTo>
                  <a:cubicBezTo>
                    <a:pt x="2315593" y="1631650"/>
                    <a:pt x="2315593" y="1631650"/>
                    <a:pt x="2315593" y="1630836"/>
                  </a:cubicBezTo>
                  <a:cubicBezTo>
                    <a:pt x="2314779" y="1630836"/>
                    <a:pt x="2313964" y="1630836"/>
                    <a:pt x="2313964" y="1630836"/>
                  </a:cubicBezTo>
                  <a:cubicBezTo>
                    <a:pt x="2313150" y="1629207"/>
                    <a:pt x="2311521" y="1627578"/>
                    <a:pt x="2310706" y="1625949"/>
                  </a:cubicBezTo>
                  <a:cubicBezTo>
                    <a:pt x="2303376" y="1625949"/>
                    <a:pt x="2299303" y="1630021"/>
                    <a:pt x="2296045" y="1635723"/>
                  </a:cubicBezTo>
                  <a:cubicBezTo>
                    <a:pt x="2291973" y="1634908"/>
                    <a:pt x="2288715" y="1633279"/>
                    <a:pt x="2285457" y="1632465"/>
                  </a:cubicBezTo>
                  <a:cubicBezTo>
                    <a:pt x="2285457" y="1632465"/>
                    <a:pt x="2285457" y="1631650"/>
                    <a:pt x="2284643" y="1631650"/>
                  </a:cubicBezTo>
                  <a:cubicBezTo>
                    <a:pt x="2286272" y="1630836"/>
                    <a:pt x="2287086" y="1630836"/>
                    <a:pt x="2288715" y="1630021"/>
                  </a:cubicBezTo>
                  <a:cubicBezTo>
                    <a:pt x="2291973" y="1628392"/>
                    <a:pt x="2296045" y="1628392"/>
                    <a:pt x="2299303" y="1626763"/>
                  </a:cubicBezTo>
                  <a:cubicBezTo>
                    <a:pt x="2300118" y="1625134"/>
                    <a:pt x="2300933" y="1623505"/>
                    <a:pt x="2301747" y="1621876"/>
                  </a:cubicBezTo>
                  <a:cubicBezTo>
                    <a:pt x="2303376" y="1623505"/>
                    <a:pt x="2306634" y="1624320"/>
                    <a:pt x="2309892" y="1623505"/>
                  </a:cubicBezTo>
                  <a:cubicBezTo>
                    <a:pt x="2313964" y="1622691"/>
                    <a:pt x="2317222" y="1620247"/>
                    <a:pt x="2320480" y="1618618"/>
                  </a:cubicBezTo>
                  <a:cubicBezTo>
                    <a:pt x="2322924" y="1616175"/>
                    <a:pt x="2325367" y="1614546"/>
                    <a:pt x="2326181" y="1612917"/>
                  </a:cubicBezTo>
                  <a:cubicBezTo>
                    <a:pt x="2326996" y="1612102"/>
                    <a:pt x="2326996" y="1611288"/>
                    <a:pt x="2326996" y="1610474"/>
                  </a:cubicBezTo>
                  <a:cubicBezTo>
                    <a:pt x="2329440" y="1608845"/>
                    <a:pt x="2332697" y="1608030"/>
                    <a:pt x="2335141" y="1606401"/>
                  </a:cubicBezTo>
                  <a:cubicBezTo>
                    <a:pt x="2340028" y="1603958"/>
                    <a:pt x="2345729" y="1603958"/>
                    <a:pt x="2350616" y="1605587"/>
                  </a:cubicBezTo>
                  <a:cubicBezTo>
                    <a:pt x="2350616" y="1605587"/>
                    <a:pt x="2350616" y="1605587"/>
                    <a:pt x="2350616" y="1605587"/>
                  </a:cubicBezTo>
                  <a:cubicBezTo>
                    <a:pt x="2350616" y="1605587"/>
                    <a:pt x="2349802" y="1606401"/>
                    <a:pt x="2349802" y="1606401"/>
                  </a:cubicBezTo>
                  <a:cubicBezTo>
                    <a:pt x="2349802" y="1606401"/>
                    <a:pt x="2350616" y="1605587"/>
                    <a:pt x="2350616" y="1605587"/>
                  </a:cubicBezTo>
                  <a:cubicBezTo>
                    <a:pt x="2353874" y="1604772"/>
                    <a:pt x="2357132" y="1603143"/>
                    <a:pt x="2359576" y="1602329"/>
                  </a:cubicBezTo>
                  <a:cubicBezTo>
                    <a:pt x="2359576" y="1601514"/>
                    <a:pt x="2358761" y="1600700"/>
                    <a:pt x="2358761" y="1599071"/>
                  </a:cubicBezTo>
                  <a:cubicBezTo>
                    <a:pt x="2364463" y="1597442"/>
                    <a:pt x="2370164" y="1594998"/>
                    <a:pt x="2375866" y="1596627"/>
                  </a:cubicBezTo>
                  <a:cubicBezTo>
                    <a:pt x="2377494" y="1597442"/>
                    <a:pt x="2379938" y="1597442"/>
                    <a:pt x="2381567" y="1596627"/>
                  </a:cubicBezTo>
                  <a:cubicBezTo>
                    <a:pt x="2387268" y="1597442"/>
                    <a:pt x="2387268" y="1597442"/>
                    <a:pt x="2394599" y="1592555"/>
                  </a:cubicBezTo>
                  <a:cubicBezTo>
                    <a:pt x="2394599" y="1590926"/>
                    <a:pt x="2394599" y="1590111"/>
                    <a:pt x="2393784" y="1587668"/>
                  </a:cubicBezTo>
                  <a:cubicBezTo>
                    <a:pt x="2391341" y="1589297"/>
                    <a:pt x="2388897" y="1590111"/>
                    <a:pt x="2386454" y="1591740"/>
                  </a:cubicBezTo>
                  <a:cubicBezTo>
                    <a:pt x="2385639" y="1590926"/>
                    <a:pt x="2384011" y="1590111"/>
                    <a:pt x="2383196" y="1589297"/>
                  </a:cubicBezTo>
                  <a:cubicBezTo>
                    <a:pt x="2383196" y="1589297"/>
                    <a:pt x="2384011" y="1589297"/>
                    <a:pt x="2384011" y="1588482"/>
                  </a:cubicBezTo>
                  <a:cubicBezTo>
                    <a:pt x="2383196" y="1587668"/>
                    <a:pt x="2382381" y="1586853"/>
                    <a:pt x="2380752" y="1586853"/>
                  </a:cubicBezTo>
                  <a:cubicBezTo>
                    <a:pt x="2391341" y="1582781"/>
                    <a:pt x="2401115" y="1578708"/>
                    <a:pt x="2410074" y="1574636"/>
                  </a:cubicBezTo>
                  <a:cubicBezTo>
                    <a:pt x="2411703" y="1573822"/>
                    <a:pt x="2413332" y="1573822"/>
                    <a:pt x="2414961" y="1572193"/>
                  </a:cubicBezTo>
                  <a:cubicBezTo>
                    <a:pt x="2420663" y="1568120"/>
                    <a:pt x="2426364" y="1565677"/>
                    <a:pt x="2432880" y="1565677"/>
                  </a:cubicBezTo>
                  <a:cubicBezTo>
                    <a:pt x="2429622" y="1567306"/>
                    <a:pt x="2426364" y="1568120"/>
                    <a:pt x="2423106" y="1569749"/>
                  </a:cubicBezTo>
                  <a:cubicBezTo>
                    <a:pt x="2429622" y="1570563"/>
                    <a:pt x="2433694" y="1569749"/>
                    <a:pt x="2438581" y="1564862"/>
                  </a:cubicBezTo>
                  <a:cubicBezTo>
                    <a:pt x="2441839" y="1564862"/>
                    <a:pt x="2445097" y="1564862"/>
                    <a:pt x="2448355" y="1565677"/>
                  </a:cubicBezTo>
                  <a:cubicBezTo>
                    <a:pt x="2448355" y="1565677"/>
                    <a:pt x="2448355" y="1565677"/>
                    <a:pt x="2448355" y="1565677"/>
                  </a:cubicBezTo>
                  <a:cubicBezTo>
                    <a:pt x="2448355" y="1565677"/>
                    <a:pt x="2449170" y="1565677"/>
                    <a:pt x="2449170" y="1565677"/>
                  </a:cubicBezTo>
                  <a:cubicBezTo>
                    <a:pt x="2449170" y="1565677"/>
                    <a:pt x="2449170" y="1565677"/>
                    <a:pt x="2449170" y="1565677"/>
                  </a:cubicBezTo>
                  <a:cubicBezTo>
                    <a:pt x="2449984" y="1566491"/>
                    <a:pt x="2450798" y="1566491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8943" y="1564048"/>
                    <a:pt x="2466274" y="1560790"/>
                    <a:pt x="2472790" y="1557532"/>
                  </a:cubicBezTo>
                  <a:cubicBezTo>
                    <a:pt x="2472790" y="1556717"/>
                    <a:pt x="2472790" y="1555903"/>
                    <a:pt x="2472790" y="1555903"/>
                  </a:cubicBezTo>
                  <a:cubicBezTo>
                    <a:pt x="2476048" y="1555903"/>
                    <a:pt x="2479305" y="1555088"/>
                    <a:pt x="2482564" y="1555088"/>
                  </a:cubicBezTo>
                  <a:cubicBezTo>
                    <a:pt x="2482564" y="1555903"/>
                    <a:pt x="2482564" y="1555903"/>
                    <a:pt x="2482564" y="1556717"/>
                  </a:cubicBezTo>
                  <a:cubicBezTo>
                    <a:pt x="2484193" y="1555903"/>
                    <a:pt x="2485007" y="1555903"/>
                    <a:pt x="2486636" y="1555088"/>
                  </a:cubicBezTo>
                  <a:cubicBezTo>
                    <a:pt x="2493967" y="1555088"/>
                    <a:pt x="2500482" y="1555088"/>
                    <a:pt x="2506998" y="1553459"/>
                  </a:cubicBezTo>
                  <a:cubicBezTo>
                    <a:pt x="2507812" y="1553459"/>
                    <a:pt x="2509442" y="1552645"/>
                    <a:pt x="2510256" y="1552645"/>
                  </a:cubicBezTo>
                  <a:cubicBezTo>
                    <a:pt x="2512700" y="1551830"/>
                    <a:pt x="2515143" y="1551830"/>
                    <a:pt x="2517586" y="1551830"/>
                  </a:cubicBezTo>
                  <a:cubicBezTo>
                    <a:pt x="2523288" y="1551016"/>
                    <a:pt x="2528175" y="1550201"/>
                    <a:pt x="2533876" y="1549387"/>
                  </a:cubicBezTo>
                  <a:cubicBezTo>
                    <a:pt x="2537949" y="1548572"/>
                    <a:pt x="2542021" y="1548572"/>
                    <a:pt x="2546094" y="1546943"/>
                  </a:cubicBezTo>
                  <a:cubicBezTo>
                    <a:pt x="2553424" y="1546129"/>
                    <a:pt x="2559940" y="1546129"/>
                    <a:pt x="2567271" y="1545314"/>
                  </a:cubicBezTo>
                  <a:cubicBezTo>
                    <a:pt x="2568085" y="1545314"/>
                    <a:pt x="2568899" y="1545314"/>
                    <a:pt x="2568899" y="1545314"/>
                  </a:cubicBezTo>
                  <a:cubicBezTo>
                    <a:pt x="2583560" y="1536355"/>
                    <a:pt x="2601479" y="1544500"/>
                    <a:pt x="2616954" y="1536355"/>
                  </a:cubicBezTo>
                  <a:cubicBezTo>
                    <a:pt x="2619398" y="1534726"/>
                    <a:pt x="2622656" y="1536355"/>
                    <a:pt x="2625913" y="1536355"/>
                  </a:cubicBezTo>
                  <a:cubicBezTo>
                    <a:pt x="2628357" y="1536355"/>
                    <a:pt x="2630801" y="1536355"/>
                    <a:pt x="2632430" y="1535540"/>
                  </a:cubicBezTo>
                  <a:cubicBezTo>
                    <a:pt x="2632430" y="1535540"/>
                    <a:pt x="2633244" y="1536355"/>
                    <a:pt x="2633244" y="1536355"/>
                  </a:cubicBezTo>
                  <a:cubicBezTo>
                    <a:pt x="2634873" y="1537984"/>
                    <a:pt x="2635687" y="1538798"/>
                    <a:pt x="2637316" y="1539613"/>
                  </a:cubicBezTo>
                  <a:cubicBezTo>
                    <a:pt x="2637316" y="1540427"/>
                    <a:pt x="2638131" y="1540427"/>
                    <a:pt x="2638131" y="1541242"/>
                  </a:cubicBezTo>
                  <a:cubicBezTo>
                    <a:pt x="2643018" y="1546943"/>
                    <a:pt x="2648720" y="1545314"/>
                    <a:pt x="2655235" y="1543685"/>
                  </a:cubicBezTo>
                  <a:cubicBezTo>
                    <a:pt x="2654421" y="1542056"/>
                    <a:pt x="2653606" y="1540427"/>
                    <a:pt x="2651977" y="1537984"/>
                  </a:cubicBezTo>
                  <a:cubicBezTo>
                    <a:pt x="2657679" y="1537170"/>
                    <a:pt x="2665009" y="1538798"/>
                    <a:pt x="2667453" y="1530653"/>
                  </a:cubicBezTo>
                  <a:cubicBezTo>
                    <a:pt x="2664195" y="1531468"/>
                    <a:pt x="2660937" y="1532283"/>
                    <a:pt x="2658493" y="1532283"/>
                  </a:cubicBezTo>
                  <a:cubicBezTo>
                    <a:pt x="2657679" y="1532283"/>
                    <a:pt x="2656050" y="1532283"/>
                    <a:pt x="2655235" y="1532283"/>
                  </a:cubicBezTo>
                  <a:cubicBezTo>
                    <a:pt x="2656864" y="1532283"/>
                    <a:pt x="2657679" y="1531468"/>
                    <a:pt x="2659308" y="1530653"/>
                  </a:cubicBezTo>
                  <a:cubicBezTo>
                    <a:pt x="2660122" y="1530653"/>
                    <a:pt x="2661751" y="1530653"/>
                    <a:pt x="2662565" y="1530653"/>
                  </a:cubicBezTo>
                  <a:cubicBezTo>
                    <a:pt x="2668267" y="1529839"/>
                    <a:pt x="2671525" y="1526581"/>
                    <a:pt x="2673154" y="1521694"/>
                  </a:cubicBezTo>
                  <a:cubicBezTo>
                    <a:pt x="2673969" y="1522509"/>
                    <a:pt x="2673969" y="1522509"/>
                    <a:pt x="2673969" y="1523323"/>
                  </a:cubicBezTo>
                  <a:cubicBezTo>
                    <a:pt x="2678041" y="1528210"/>
                    <a:pt x="2683742" y="1528210"/>
                    <a:pt x="2690258" y="1526581"/>
                  </a:cubicBezTo>
                  <a:cubicBezTo>
                    <a:pt x="2691073" y="1526581"/>
                    <a:pt x="2692702" y="1525767"/>
                    <a:pt x="2693516" y="1524952"/>
                  </a:cubicBezTo>
                  <a:cubicBezTo>
                    <a:pt x="2697589" y="1519251"/>
                    <a:pt x="2704919" y="1516807"/>
                    <a:pt x="2711435" y="1515993"/>
                  </a:cubicBezTo>
                  <a:cubicBezTo>
                    <a:pt x="2716322" y="1515178"/>
                    <a:pt x="2720395" y="1513549"/>
                    <a:pt x="2724467" y="1510291"/>
                  </a:cubicBezTo>
                  <a:cubicBezTo>
                    <a:pt x="2732612" y="1502961"/>
                    <a:pt x="2742386" y="1500518"/>
                    <a:pt x="2752159" y="1498074"/>
                  </a:cubicBezTo>
                  <a:cubicBezTo>
                    <a:pt x="2768449" y="1494816"/>
                    <a:pt x="2783110" y="1488300"/>
                    <a:pt x="2795328" y="1476897"/>
                  </a:cubicBezTo>
                  <a:cubicBezTo>
                    <a:pt x="2798585" y="1473639"/>
                    <a:pt x="2801843" y="1472010"/>
                    <a:pt x="2805916" y="1472010"/>
                  </a:cubicBezTo>
                  <a:cubicBezTo>
                    <a:pt x="2805101" y="1474454"/>
                    <a:pt x="2804287" y="1476083"/>
                    <a:pt x="2803473" y="1478526"/>
                  </a:cubicBezTo>
                  <a:cubicBezTo>
                    <a:pt x="2804287" y="1480155"/>
                    <a:pt x="2805916" y="1480155"/>
                    <a:pt x="2807545" y="1479341"/>
                  </a:cubicBezTo>
                  <a:cubicBezTo>
                    <a:pt x="2808359" y="1478526"/>
                    <a:pt x="2809988" y="1478526"/>
                    <a:pt x="2810803" y="1478526"/>
                  </a:cubicBezTo>
                  <a:cubicBezTo>
                    <a:pt x="2809988" y="1480155"/>
                    <a:pt x="2809174" y="1481784"/>
                    <a:pt x="2808359" y="1484228"/>
                  </a:cubicBezTo>
                  <a:cubicBezTo>
                    <a:pt x="2809174" y="1485857"/>
                    <a:pt x="2810803" y="1485857"/>
                    <a:pt x="2812432" y="1485042"/>
                  </a:cubicBezTo>
                  <a:cubicBezTo>
                    <a:pt x="2815690" y="1483413"/>
                    <a:pt x="2818948" y="1483413"/>
                    <a:pt x="2822206" y="1485042"/>
                  </a:cubicBezTo>
                  <a:cubicBezTo>
                    <a:pt x="2823835" y="1482599"/>
                    <a:pt x="2824649" y="1480970"/>
                    <a:pt x="2825463" y="1479341"/>
                  </a:cubicBezTo>
                  <a:cubicBezTo>
                    <a:pt x="2829536" y="1479341"/>
                    <a:pt x="2832794" y="1477712"/>
                    <a:pt x="2832794" y="1473639"/>
                  </a:cubicBezTo>
                  <a:cubicBezTo>
                    <a:pt x="2833608" y="1469567"/>
                    <a:pt x="2832794" y="1465494"/>
                    <a:pt x="2829536" y="1462236"/>
                  </a:cubicBezTo>
                  <a:cubicBezTo>
                    <a:pt x="2827907" y="1460607"/>
                    <a:pt x="2826278" y="1458979"/>
                    <a:pt x="2823835" y="1457349"/>
                  </a:cubicBezTo>
                  <a:cubicBezTo>
                    <a:pt x="2826278" y="1454092"/>
                    <a:pt x="2828721" y="1451648"/>
                    <a:pt x="2830351" y="1448390"/>
                  </a:cubicBezTo>
                  <a:cubicBezTo>
                    <a:pt x="2833608" y="1444318"/>
                    <a:pt x="2835237" y="1440245"/>
                    <a:pt x="2832794" y="1435358"/>
                  </a:cubicBezTo>
                  <a:cubicBezTo>
                    <a:pt x="2831980" y="1436173"/>
                    <a:pt x="2830351" y="1436987"/>
                    <a:pt x="2829536" y="1437802"/>
                  </a:cubicBezTo>
                  <a:cubicBezTo>
                    <a:pt x="2828721" y="1436987"/>
                    <a:pt x="2828721" y="1436987"/>
                    <a:pt x="2828721" y="1436173"/>
                  </a:cubicBezTo>
                  <a:cubicBezTo>
                    <a:pt x="2828721" y="1435358"/>
                    <a:pt x="2828721" y="1435358"/>
                    <a:pt x="2828721" y="1434544"/>
                  </a:cubicBezTo>
                  <a:cubicBezTo>
                    <a:pt x="2828721" y="1433729"/>
                    <a:pt x="2829536" y="1433729"/>
                    <a:pt x="2829536" y="1432915"/>
                  </a:cubicBezTo>
                  <a:cubicBezTo>
                    <a:pt x="2829536" y="1432100"/>
                    <a:pt x="2830351" y="1430471"/>
                    <a:pt x="2830351" y="1429657"/>
                  </a:cubicBezTo>
                  <a:cubicBezTo>
                    <a:pt x="2830351" y="1429657"/>
                    <a:pt x="2831165" y="1429657"/>
                    <a:pt x="2831165" y="1429657"/>
                  </a:cubicBezTo>
                  <a:cubicBezTo>
                    <a:pt x="2831165" y="1429657"/>
                    <a:pt x="2831165" y="1428842"/>
                    <a:pt x="2831165" y="1428842"/>
                  </a:cubicBezTo>
                  <a:cubicBezTo>
                    <a:pt x="2831165" y="1428842"/>
                    <a:pt x="2830351" y="1428842"/>
                    <a:pt x="2830351" y="1428842"/>
                  </a:cubicBezTo>
                  <a:cubicBezTo>
                    <a:pt x="2830351" y="1428028"/>
                    <a:pt x="2830351" y="1427214"/>
                    <a:pt x="2830351" y="1426399"/>
                  </a:cubicBezTo>
                  <a:cubicBezTo>
                    <a:pt x="2830351" y="1423955"/>
                    <a:pt x="2827092" y="1423141"/>
                    <a:pt x="2824649" y="1423955"/>
                  </a:cubicBezTo>
                  <a:cubicBezTo>
                    <a:pt x="2824649" y="1423141"/>
                    <a:pt x="2824649" y="1422327"/>
                    <a:pt x="2824649" y="1421512"/>
                  </a:cubicBezTo>
                  <a:cubicBezTo>
                    <a:pt x="2824649" y="1419883"/>
                    <a:pt x="2823020" y="1419069"/>
                    <a:pt x="2821391" y="1419069"/>
                  </a:cubicBezTo>
                  <a:cubicBezTo>
                    <a:pt x="2821391" y="1416625"/>
                    <a:pt x="2819762" y="1414996"/>
                    <a:pt x="2816504" y="1413367"/>
                  </a:cubicBezTo>
                  <a:cubicBezTo>
                    <a:pt x="2816504" y="1413367"/>
                    <a:pt x="2816504" y="1413367"/>
                    <a:pt x="2815690" y="1413367"/>
                  </a:cubicBezTo>
                  <a:cubicBezTo>
                    <a:pt x="2815690" y="1410924"/>
                    <a:pt x="2814061" y="1409295"/>
                    <a:pt x="2810803" y="1408480"/>
                  </a:cubicBezTo>
                  <a:cubicBezTo>
                    <a:pt x="2809174" y="1407666"/>
                    <a:pt x="2806730" y="1407666"/>
                    <a:pt x="2805101" y="1407666"/>
                  </a:cubicBezTo>
                  <a:cubicBezTo>
                    <a:pt x="2801843" y="1407666"/>
                    <a:pt x="2799400" y="1406037"/>
                    <a:pt x="2796956" y="1405222"/>
                  </a:cubicBezTo>
                  <a:cubicBezTo>
                    <a:pt x="2795328" y="1403593"/>
                    <a:pt x="2794513" y="1401964"/>
                    <a:pt x="2792884" y="1400335"/>
                  </a:cubicBezTo>
                  <a:cubicBezTo>
                    <a:pt x="2792069" y="1400335"/>
                    <a:pt x="2792069" y="1400335"/>
                    <a:pt x="2791255" y="1400335"/>
                  </a:cubicBezTo>
                  <a:cubicBezTo>
                    <a:pt x="2789626" y="1398706"/>
                    <a:pt x="2788811" y="1397077"/>
                    <a:pt x="2787183" y="1395448"/>
                  </a:cubicBezTo>
                  <a:cubicBezTo>
                    <a:pt x="2783925" y="1393819"/>
                    <a:pt x="2780666" y="1399521"/>
                    <a:pt x="2776594" y="1397077"/>
                  </a:cubicBezTo>
                  <a:cubicBezTo>
                    <a:pt x="2772522" y="1394634"/>
                    <a:pt x="2768449" y="1399521"/>
                    <a:pt x="2764377" y="1399521"/>
                  </a:cubicBezTo>
                  <a:cubicBezTo>
                    <a:pt x="2761933" y="1399521"/>
                    <a:pt x="2759490" y="1399521"/>
                    <a:pt x="2757047" y="1398706"/>
                  </a:cubicBezTo>
                  <a:cubicBezTo>
                    <a:pt x="2754603" y="1397892"/>
                    <a:pt x="2752159" y="1397077"/>
                    <a:pt x="2748902" y="1396263"/>
                  </a:cubicBezTo>
                  <a:cubicBezTo>
                    <a:pt x="2747273" y="1393005"/>
                    <a:pt x="2745643" y="1389747"/>
                    <a:pt x="2743200" y="1387303"/>
                  </a:cubicBezTo>
                  <a:cubicBezTo>
                    <a:pt x="2739942" y="1384045"/>
                    <a:pt x="2737499" y="1379973"/>
                    <a:pt x="2735055" y="1375901"/>
                  </a:cubicBezTo>
                  <a:cubicBezTo>
                    <a:pt x="2735055" y="1373457"/>
                    <a:pt x="2735055" y="1370199"/>
                    <a:pt x="2735055" y="1367756"/>
                  </a:cubicBezTo>
                  <a:cubicBezTo>
                    <a:pt x="2735055" y="1366127"/>
                    <a:pt x="2735055" y="1364498"/>
                    <a:pt x="2735055" y="1363683"/>
                  </a:cubicBezTo>
                  <a:cubicBezTo>
                    <a:pt x="2735055" y="1363683"/>
                    <a:pt x="2735870" y="1363683"/>
                    <a:pt x="2735870" y="1363683"/>
                  </a:cubicBezTo>
                  <a:cubicBezTo>
                    <a:pt x="2741571" y="1363683"/>
                    <a:pt x="2747273" y="1364498"/>
                    <a:pt x="2752974" y="1364498"/>
                  </a:cubicBezTo>
                  <a:cubicBezTo>
                    <a:pt x="2760304" y="1364498"/>
                    <a:pt x="2766821" y="1365312"/>
                    <a:pt x="2774151" y="1365312"/>
                  </a:cubicBezTo>
                  <a:cubicBezTo>
                    <a:pt x="2775780" y="1362869"/>
                    <a:pt x="2774151" y="1362054"/>
                    <a:pt x="2772522" y="1361240"/>
                  </a:cubicBezTo>
                  <a:cubicBezTo>
                    <a:pt x="2772522" y="1361240"/>
                    <a:pt x="2773336" y="1361240"/>
                    <a:pt x="2773336" y="1361240"/>
                  </a:cubicBezTo>
                  <a:cubicBezTo>
                    <a:pt x="2777409" y="1366941"/>
                    <a:pt x="2783110" y="1368570"/>
                    <a:pt x="2791255" y="1366127"/>
                  </a:cubicBezTo>
                  <a:cubicBezTo>
                    <a:pt x="2795328" y="1364498"/>
                    <a:pt x="2800214" y="1359611"/>
                    <a:pt x="2800214" y="1354724"/>
                  </a:cubicBezTo>
                  <a:cubicBezTo>
                    <a:pt x="2801029" y="1348208"/>
                    <a:pt x="2800214" y="1342506"/>
                    <a:pt x="2797771" y="1336805"/>
                  </a:cubicBezTo>
                  <a:cubicBezTo>
                    <a:pt x="2808359" y="1334362"/>
                    <a:pt x="2819762" y="1331918"/>
                    <a:pt x="2831980" y="1327031"/>
                  </a:cubicBezTo>
                  <a:cubicBezTo>
                    <a:pt x="2823835" y="1324588"/>
                    <a:pt x="2818133" y="1328660"/>
                    <a:pt x="2812432" y="1327846"/>
                  </a:cubicBezTo>
                  <a:cubicBezTo>
                    <a:pt x="2812432" y="1327031"/>
                    <a:pt x="2813246" y="1327031"/>
                    <a:pt x="2813246" y="1326217"/>
                  </a:cubicBezTo>
                  <a:cubicBezTo>
                    <a:pt x="2817318" y="1324588"/>
                    <a:pt x="2822206" y="1323773"/>
                    <a:pt x="2826278" y="1322144"/>
                  </a:cubicBezTo>
                  <a:cubicBezTo>
                    <a:pt x="2822206" y="1321330"/>
                    <a:pt x="2818133" y="1321330"/>
                    <a:pt x="2815690" y="1322144"/>
                  </a:cubicBezTo>
                  <a:cubicBezTo>
                    <a:pt x="2815690" y="1321330"/>
                    <a:pt x="2816504" y="1320515"/>
                    <a:pt x="2816504" y="1320515"/>
                  </a:cubicBezTo>
                  <a:cubicBezTo>
                    <a:pt x="2817318" y="1316443"/>
                    <a:pt x="2814875" y="1313999"/>
                    <a:pt x="2812432" y="1311556"/>
                  </a:cubicBezTo>
                  <a:cubicBezTo>
                    <a:pt x="2814061" y="1308298"/>
                    <a:pt x="2815690" y="1305040"/>
                    <a:pt x="2817318" y="1301782"/>
                  </a:cubicBezTo>
                  <a:cubicBezTo>
                    <a:pt x="2818133" y="1300153"/>
                    <a:pt x="2816504" y="1297710"/>
                    <a:pt x="2815690" y="1296081"/>
                  </a:cubicBezTo>
                  <a:cubicBezTo>
                    <a:pt x="2812432" y="1291194"/>
                    <a:pt x="2812432" y="1291194"/>
                    <a:pt x="2816504" y="1287121"/>
                  </a:cubicBezTo>
                  <a:cubicBezTo>
                    <a:pt x="2817318" y="1286307"/>
                    <a:pt x="2818948" y="1285492"/>
                    <a:pt x="2819762" y="1284678"/>
                  </a:cubicBezTo>
                  <a:cubicBezTo>
                    <a:pt x="2818948" y="1278976"/>
                    <a:pt x="2818133" y="1277347"/>
                    <a:pt x="2817318" y="1274904"/>
                  </a:cubicBezTo>
                  <a:cubicBezTo>
                    <a:pt x="2819762" y="1274904"/>
                    <a:pt x="2822206" y="1274089"/>
                    <a:pt x="2824649" y="1274089"/>
                  </a:cubicBezTo>
                  <a:cubicBezTo>
                    <a:pt x="2831980" y="1273275"/>
                    <a:pt x="2840125" y="1273275"/>
                    <a:pt x="2846640" y="1268388"/>
                  </a:cubicBezTo>
                  <a:cubicBezTo>
                    <a:pt x="2851527" y="1265130"/>
                    <a:pt x="2858043" y="1265130"/>
                    <a:pt x="2864559" y="1265944"/>
                  </a:cubicBezTo>
                  <a:cubicBezTo>
                    <a:pt x="2870260" y="1266759"/>
                    <a:pt x="2875962" y="1268388"/>
                    <a:pt x="2880849" y="1267574"/>
                  </a:cubicBezTo>
                  <a:cubicBezTo>
                    <a:pt x="2893066" y="1266759"/>
                    <a:pt x="2905284" y="1265130"/>
                    <a:pt x="2916686" y="1264316"/>
                  </a:cubicBezTo>
                  <a:cubicBezTo>
                    <a:pt x="2917501" y="1264316"/>
                    <a:pt x="2918315" y="1263501"/>
                    <a:pt x="2921573" y="1261872"/>
                  </a:cubicBezTo>
                  <a:cubicBezTo>
                    <a:pt x="2915872" y="1261057"/>
                    <a:pt x="2912614" y="1259429"/>
                    <a:pt x="2908541" y="1259429"/>
                  </a:cubicBezTo>
                  <a:cubicBezTo>
                    <a:pt x="2904469" y="1259429"/>
                    <a:pt x="2900396" y="1261057"/>
                    <a:pt x="2895510" y="1258614"/>
                  </a:cubicBezTo>
                  <a:cubicBezTo>
                    <a:pt x="2907727" y="1255356"/>
                    <a:pt x="2919130" y="1254542"/>
                    <a:pt x="2928904" y="1256985"/>
                  </a:cubicBezTo>
                  <a:cubicBezTo>
                    <a:pt x="2933791" y="1253727"/>
                    <a:pt x="2937863" y="1251284"/>
                    <a:pt x="2941121" y="1248840"/>
                  </a:cubicBezTo>
                  <a:cubicBezTo>
                    <a:pt x="2940307" y="1247211"/>
                    <a:pt x="2939492" y="1246397"/>
                    <a:pt x="2939492" y="1244768"/>
                  </a:cubicBezTo>
                  <a:cubicBezTo>
                    <a:pt x="2938678" y="1242324"/>
                    <a:pt x="2937048" y="1241510"/>
                    <a:pt x="2934605" y="1242324"/>
                  </a:cubicBezTo>
                  <a:cubicBezTo>
                    <a:pt x="2934605" y="1242324"/>
                    <a:pt x="2934605" y="1242324"/>
                    <a:pt x="2934605" y="1242324"/>
                  </a:cubicBezTo>
                  <a:cubicBezTo>
                    <a:pt x="2924017" y="1241510"/>
                    <a:pt x="2913429" y="1240695"/>
                    <a:pt x="2902840" y="1239066"/>
                  </a:cubicBezTo>
                  <a:cubicBezTo>
                    <a:pt x="2893066" y="1238252"/>
                    <a:pt x="2882478" y="1234994"/>
                    <a:pt x="2872704" y="1240695"/>
                  </a:cubicBezTo>
                  <a:cubicBezTo>
                    <a:pt x="2871889" y="1241510"/>
                    <a:pt x="2870260" y="1240695"/>
                    <a:pt x="2868632" y="1240695"/>
                  </a:cubicBezTo>
                  <a:cubicBezTo>
                    <a:pt x="2849084" y="1241510"/>
                    <a:pt x="2830351" y="1245582"/>
                    <a:pt x="2810803" y="1243953"/>
                  </a:cubicBezTo>
                  <a:cubicBezTo>
                    <a:pt x="2808359" y="1243953"/>
                    <a:pt x="2805101" y="1243953"/>
                    <a:pt x="2803473" y="1244768"/>
                  </a:cubicBezTo>
                  <a:cubicBezTo>
                    <a:pt x="2795328" y="1251284"/>
                    <a:pt x="2786368" y="1250469"/>
                    <a:pt x="2777409" y="1247211"/>
                  </a:cubicBezTo>
                  <a:cubicBezTo>
                    <a:pt x="2776594" y="1245582"/>
                    <a:pt x="2775780" y="1244768"/>
                    <a:pt x="2774965" y="1243953"/>
                  </a:cubicBezTo>
                  <a:cubicBezTo>
                    <a:pt x="2771707" y="1242324"/>
                    <a:pt x="2770078" y="1239066"/>
                    <a:pt x="2769264" y="1236623"/>
                  </a:cubicBezTo>
                  <a:cubicBezTo>
                    <a:pt x="2769264" y="1235809"/>
                    <a:pt x="2767635" y="1234994"/>
                    <a:pt x="2766821" y="1234179"/>
                  </a:cubicBezTo>
                  <a:cubicBezTo>
                    <a:pt x="2766821" y="1234179"/>
                    <a:pt x="2766821" y="1234179"/>
                    <a:pt x="2766821" y="1234179"/>
                  </a:cubicBezTo>
                  <a:cubicBezTo>
                    <a:pt x="2766821" y="1234179"/>
                    <a:pt x="2766821" y="1234179"/>
                    <a:pt x="2766821" y="1234179"/>
                  </a:cubicBezTo>
                  <a:lnTo>
                    <a:pt x="2766821" y="1234179"/>
                  </a:lnTo>
                  <a:cubicBezTo>
                    <a:pt x="2776594" y="1230922"/>
                    <a:pt x="2787183" y="1230922"/>
                    <a:pt x="2797771" y="1228478"/>
                  </a:cubicBezTo>
                  <a:cubicBezTo>
                    <a:pt x="2805101" y="1226849"/>
                    <a:pt x="2812432" y="1226035"/>
                    <a:pt x="2820577" y="1226035"/>
                  </a:cubicBezTo>
                  <a:cubicBezTo>
                    <a:pt x="2825463" y="1226035"/>
                    <a:pt x="2831980" y="1226849"/>
                    <a:pt x="2835237" y="1221148"/>
                  </a:cubicBezTo>
                  <a:cubicBezTo>
                    <a:pt x="2836052" y="1220333"/>
                    <a:pt x="2837681" y="1220333"/>
                    <a:pt x="2838495" y="1220333"/>
                  </a:cubicBezTo>
                  <a:cubicBezTo>
                    <a:pt x="2841753" y="1220333"/>
                    <a:pt x="2844197" y="1220333"/>
                    <a:pt x="2847455" y="1219519"/>
                  </a:cubicBezTo>
                  <a:cubicBezTo>
                    <a:pt x="2857229" y="1217890"/>
                    <a:pt x="2866188" y="1217890"/>
                    <a:pt x="2875962" y="1221148"/>
                  </a:cubicBezTo>
                  <a:cubicBezTo>
                    <a:pt x="2880849" y="1222777"/>
                    <a:pt x="2886550" y="1223591"/>
                    <a:pt x="2892252" y="1224405"/>
                  </a:cubicBezTo>
                  <a:cubicBezTo>
                    <a:pt x="2894695" y="1224405"/>
                    <a:pt x="2897139" y="1222777"/>
                    <a:pt x="2898767" y="1221962"/>
                  </a:cubicBezTo>
                  <a:cubicBezTo>
                    <a:pt x="2897953" y="1216261"/>
                    <a:pt x="2904469" y="1217890"/>
                    <a:pt x="2906098" y="1214632"/>
                  </a:cubicBezTo>
                  <a:cubicBezTo>
                    <a:pt x="2902840" y="1213003"/>
                    <a:pt x="2899582" y="1212188"/>
                    <a:pt x="2896324" y="1211374"/>
                  </a:cubicBezTo>
                  <a:cubicBezTo>
                    <a:pt x="2893066" y="1209745"/>
                    <a:pt x="2890622" y="1207301"/>
                    <a:pt x="2888179" y="1205672"/>
                  </a:cubicBezTo>
                  <a:cubicBezTo>
                    <a:pt x="2891437" y="1202414"/>
                    <a:pt x="2892252" y="1198342"/>
                    <a:pt x="2890622" y="1194270"/>
                  </a:cubicBezTo>
                  <a:cubicBezTo>
                    <a:pt x="2884107" y="1191826"/>
                    <a:pt x="2877591" y="1186939"/>
                    <a:pt x="2872704" y="1182052"/>
                  </a:cubicBezTo>
                  <a:cubicBezTo>
                    <a:pt x="2869446" y="1178794"/>
                    <a:pt x="2866188" y="1177165"/>
                    <a:pt x="2861301" y="1177165"/>
                  </a:cubicBezTo>
                  <a:cubicBezTo>
                    <a:pt x="2860487" y="1177165"/>
                    <a:pt x="2858858" y="1176351"/>
                    <a:pt x="2857229" y="1175536"/>
                  </a:cubicBezTo>
                  <a:cubicBezTo>
                    <a:pt x="2858858" y="1174722"/>
                    <a:pt x="2859672" y="1173093"/>
                    <a:pt x="2860487" y="1173093"/>
                  </a:cubicBezTo>
                  <a:cubicBezTo>
                    <a:pt x="2867003" y="1172278"/>
                    <a:pt x="2873518" y="1172278"/>
                    <a:pt x="2880034" y="1171464"/>
                  </a:cubicBezTo>
                  <a:cubicBezTo>
                    <a:pt x="2883292" y="1171464"/>
                    <a:pt x="2887365" y="1171464"/>
                    <a:pt x="2890622" y="1170649"/>
                  </a:cubicBezTo>
                  <a:cubicBezTo>
                    <a:pt x="2893066" y="1169835"/>
                    <a:pt x="2895510" y="1168206"/>
                    <a:pt x="2893881" y="1164948"/>
                  </a:cubicBezTo>
                  <a:cubicBezTo>
                    <a:pt x="2888994" y="1165762"/>
                    <a:pt x="2883292" y="1166577"/>
                    <a:pt x="2878405" y="1166577"/>
                  </a:cubicBezTo>
                  <a:cubicBezTo>
                    <a:pt x="2853970" y="1167391"/>
                    <a:pt x="2829536" y="1168206"/>
                    <a:pt x="2805916" y="1169020"/>
                  </a:cubicBezTo>
                  <a:cubicBezTo>
                    <a:pt x="2801029" y="1169020"/>
                    <a:pt x="2796956" y="1169835"/>
                    <a:pt x="2792884" y="1172278"/>
                  </a:cubicBezTo>
                  <a:cubicBezTo>
                    <a:pt x="2792069" y="1172278"/>
                    <a:pt x="2792069" y="1171464"/>
                    <a:pt x="2791255" y="1171464"/>
                  </a:cubicBezTo>
                  <a:cubicBezTo>
                    <a:pt x="2790440" y="1170649"/>
                    <a:pt x="2787997" y="1171464"/>
                    <a:pt x="2787183" y="1171464"/>
                  </a:cubicBezTo>
                  <a:cubicBezTo>
                    <a:pt x="2786368" y="1173093"/>
                    <a:pt x="2786368" y="1174722"/>
                    <a:pt x="2787183" y="1176351"/>
                  </a:cubicBezTo>
                  <a:cubicBezTo>
                    <a:pt x="2787183" y="1178794"/>
                    <a:pt x="2787997" y="1181238"/>
                    <a:pt x="2788811" y="1183681"/>
                  </a:cubicBezTo>
                  <a:cubicBezTo>
                    <a:pt x="2775780" y="1184496"/>
                    <a:pt x="2762748" y="1185310"/>
                    <a:pt x="2749716" y="1186125"/>
                  </a:cubicBezTo>
                  <a:cubicBezTo>
                    <a:pt x="2749716" y="1190197"/>
                    <a:pt x="2748902" y="1192640"/>
                    <a:pt x="2745643" y="1191826"/>
                  </a:cubicBezTo>
                  <a:cubicBezTo>
                    <a:pt x="2743200" y="1191826"/>
                    <a:pt x="2741571" y="1190197"/>
                    <a:pt x="2739942" y="1190197"/>
                  </a:cubicBezTo>
                  <a:cubicBezTo>
                    <a:pt x="2738313" y="1189383"/>
                    <a:pt x="2735870" y="1189383"/>
                    <a:pt x="2734241" y="1189383"/>
                  </a:cubicBezTo>
                  <a:cubicBezTo>
                    <a:pt x="2732612" y="1188568"/>
                    <a:pt x="2730983" y="1186939"/>
                    <a:pt x="2730168" y="1186939"/>
                  </a:cubicBezTo>
                  <a:cubicBezTo>
                    <a:pt x="2725281" y="1187753"/>
                    <a:pt x="2719580" y="1187753"/>
                    <a:pt x="2713879" y="1190197"/>
                  </a:cubicBezTo>
                  <a:cubicBezTo>
                    <a:pt x="2715507" y="1191012"/>
                    <a:pt x="2715507" y="1191826"/>
                    <a:pt x="2717136" y="1192640"/>
                  </a:cubicBezTo>
                  <a:cubicBezTo>
                    <a:pt x="2713879" y="1193455"/>
                    <a:pt x="2711435" y="1194270"/>
                    <a:pt x="2708991" y="1195084"/>
                  </a:cubicBezTo>
                  <a:cubicBezTo>
                    <a:pt x="2705734" y="1196713"/>
                    <a:pt x="2700847" y="1195898"/>
                    <a:pt x="2698403" y="1199971"/>
                  </a:cubicBezTo>
                  <a:cubicBezTo>
                    <a:pt x="2696774" y="1203229"/>
                    <a:pt x="2694331" y="1206487"/>
                    <a:pt x="2691887" y="1209745"/>
                  </a:cubicBezTo>
                  <a:cubicBezTo>
                    <a:pt x="2689444" y="1210559"/>
                    <a:pt x="2686186" y="1210559"/>
                    <a:pt x="2683742" y="1211374"/>
                  </a:cubicBezTo>
                  <a:cubicBezTo>
                    <a:pt x="2683742" y="1211374"/>
                    <a:pt x="2683742" y="1211374"/>
                    <a:pt x="2683742" y="1211374"/>
                  </a:cubicBezTo>
                  <a:cubicBezTo>
                    <a:pt x="2685372" y="1205672"/>
                    <a:pt x="2684557" y="1207301"/>
                    <a:pt x="2691073" y="1203229"/>
                  </a:cubicBezTo>
                  <a:cubicBezTo>
                    <a:pt x="2691887" y="1203229"/>
                    <a:pt x="2691887" y="1202414"/>
                    <a:pt x="2692702" y="1202414"/>
                  </a:cubicBezTo>
                  <a:cubicBezTo>
                    <a:pt x="2693516" y="1201600"/>
                    <a:pt x="2694331" y="1200785"/>
                    <a:pt x="2694331" y="1199971"/>
                  </a:cubicBezTo>
                  <a:cubicBezTo>
                    <a:pt x="2695960" y="1198342"/>
                    <a:pt x="2696774" y="1196713"/>
                    <a:pt x="2695960" y="1194270"/>
                  </a:cubicBezTo>
                  <a:cubicBezTo>
                    <a:pt x="2696774" y="1191826"/>
                    <a:pt x="2696774" y="1189383"/>
                    <a:pt x="2697589" y="1186939"/>
                  </a:cubicBezTo>
                  <a:cubicBezTo>
                    <a:pt x="2699217" y="1184496"/>
                    <a:pt x="2696774" y="1181238"/>
                    <a:pt x="2698403" y="1178794"/>
                  </a:cubicBezTo>
                  <a:cubicBezTo>
                    <a:pt x="2699217" y="1176351"/>
                    <a:pt x="2698403" y="1173093"/>
                    <a:pt x="2698403" y="1170649"/>
                  </a:cubicBezTo>
                  <a:cubicBezTo>
                    <a:pt x="2698403" y="1169835"/>
                    <a:pt x="2697589" y="1169020"/>
                    <a:pt x="2695960" y="1168206"/>
                  </a:cubicBezTo>
                  <a:cubicBezTo>
                    <a:pt x="2694331" y="1168206"/>
                    <a:pt x="2693516" y="1167391"/>
                    <a:pt x="2691887" y="1168206"/>
                  </a:cubicBezTo>
                  <a:cubicBezTo>
                    <a:pt x="2691073" y="1168206"/>
                    <a:pt x="2690258" y="1169020"/>
                    <a:pt x="2690258" y="1169020"/>
                  </a:cubicBezTo>
                  <a:cubicBezTo>
                    <a:pt x="2687815" y="1169835"/>
                    <a:pt x="2686186" y="1171464"/>
                    <a:pt x="2683742" y="1172278"/>
                  </a:cubicBezTo>
                  <a:cubicBezTo>
                    <a:pt x="2682113" y="1173093"/>
                    <a:pt x="2680484" y="1173093"/>
                    <a:pt x="2679670" y="1170649"/>
                  </a:cubicBezTo>
                  <a:cubicBezTo>
                    <a:pt x="2678855" y="1169020"/>
                    <a:pt x="2678855" y="1168206"/>
                    <a:pt x="2680484" y="1168206"/>
                  </a:cubicBezTo>
                  <a:cubicBezTo>
                    <a:pt x="2681299" y="1168206"/>
                    <a:pt x="2682113" y="1168206"/>
                    <a:pt x="2682113" y="1168206"/>
                  </a:cubicBezTo>
                  <a:cubicBezTo>
                    <a:pt x="2682928" y="1168206"/>
                    <a:pt x="2682928" y="1167391"/>
                    <a:pt x="2683742" y="1166577"/>
                  </a:cubicBezTo>
                  <a:cubicBezTo>
                    <a:pt x="2683742" y="1165762"/>
                    <a:pt x="2682928" y="1164133"/>
                    <a:pt x="2682113" y="1164133"/>
                  </a:cubicBezTo>
                  <a:cubicBezTo>
                    <a:pt x="2681299" y="1164133"/>
                    <a:pt x="2680484" y="1164133"/>
                    <a:pt x="2680484" y="1164133"/>
                  </a:cubicBezTo>
                  <a:cubicBezTo>
                    <a:pt x="2678855" y="1164133"/>
                    <a:pt x="2677227" y="1163319"/>
                    <a:pt x="2678041" y="1160875"/>
                  </a:cubicBezTo>
                  <a:cubicBezTo>
                    <a:pt x="2678041" y="1159246"/>
                    <a:pt x="2678855" y="1158432"/>
                    <a:pt x="2679670" y="1157617"/>
                  </a:cubicBezTo>
                  <a:cubicBezTo>
                    <a:pt x="2680484" y="1156803"/>
                    <a:pt x="2681299" y="1156803"/>
                    <a:pt x="2682113" y="1155988"/>
                  </a:cubicBezTo>
                  <a:cubicBezTo>
                    <a:pt x="2683742" y="1155174"/>
                    <a:pt x="2684557" y="1153545"/>
                    <a:pt x="2684557" y="1151916"/>
                  </a:cubicBezTo>
                  <a:cubicBezTo>
                    <a:pt x="2684557" y="1151101"/>
                    <a:pt x="2684557" y="1149473"/>
                    <a:pt x="2684557" y="1148658"/>
                  </a:cubicBezTo>
                  <a:cubicBezTo>
                    <a:pt x="2684557" y="1148658"/>
                    <a:pt x="2684557" y="1147844"/>
                    <a:pt x="2685372" y="1147844"/>
                  </a:cubicBezTo>
                  <a:cubicBezTo>
                    <a:pt x="2686186" y="1147844"/>
                    <a:pt x="2687000" y="1147844"/>
                    <a:pt x="2687815" y="1147844"/>
                  </a:cubicBezTo>
                  <a:cubicBezTo>
                    <a:pt x="2688629" y="1147029"/>
                    <a:pt x="2688629" y="1146215"/>
                    <a:pt x="2689444" y="1145400"/>
                  </a:cubicBezTo>
                  <a:cubicBezTo>
                    <a:pt x="2690258" y="1145400"/>
                    <a:pt x="2691887" y="1145400"/>
                    <a:pt x="2691887" y="1144586"/>
                  </a:cubicBezTo>
                  <a:cubicBezTo>
                    <a:pt x="2691887" y="1142957"/>
                    <a:pt x="2692702" y="1142142"/>
                    <a:pt x="2692702" y="1140513"/>
                  </a:cubicBezTo>
                  <a:cubicBezTo>
                    <a:pt x="2692702" y="1138884"/>
                    <a:pt x="2693516" y="1137255"/>
                    <a:pt x="2695960" y="1136441"/>
                  </a:cubicBezTo>
                  <a:cubicBezTo>
                    <a:pt x="2697589" y="1135626"/>
                    <a:pt x="2699217" y="1134812"/>
                    <a:pt x="2700847" y="1133997"/>
                  </a:cubicBezTo>
                  <a:cubicBezTo>
                    <a:pt x="2701661" y="1133997"/>
                    <a:pt x="2702476" y="1133183"/>
                    <a:pt x="2702476" y="1133183"/>
                  </a:cubicBezTo>
                  <a:cubicBezTo>
                    <a:pt x="2703290" y="1132368"/>
                    <a:pt x="2703290" y="1131554"/>
                    <a:pt x="2703290" y="1130739"/>
                  </a:cubicBezTo>
                  <a:cubicBezTo>
                    <a:pt x="2702476" y="1128296"/>
                    <a:pt x="2703290" y="1125852"/>
                    <a:pt x="2705734" y="1124223"/>
                  </a:cubicBezTo>
                  <a:cubicBezTo>
                    <a:pt x="2708177" y="1122594"/>
                    <a:pt x="2709806" y="1121780"/>
                    <a:pt x="2712250" y="1120151"/>
                  </a:cubicBezTo>
                  <a:cubicBezTo>
                    <a:pt x="2713064" y="1120151"/>
                    <a:pt x="2713064" y="1118522"/>
                    <a:pt x="2713064" y="1118522"/>
                  </a:cubicBezTo>
                  <a:cubicBezTo>
                    <a:pt x="2712250" y="1114449"/>
                    <a:pt x="2713064" y="1112821"/>
                    <a:pt x="2716322" y="1110377"/>
                  </a:cubicBezTo>
                  <a:cubicBezTo>
                    <a:pt x="2718765" y="1109563"/>
                    <a:pt x="2720395" y="1107934"/>
                    <a:pt x="2722024" y="1105490"/>
                  </a:cubicBezTo>
                  <a:cubicBezTo>
                    <a:pt x="2722024" y="1104676"/>
                    <a:pt x="2722838" y="1104676"/>
                    <a:pt x="2723652" y="1103861"/>
                  </a:cubicBezTo>
                  <a:cubicBezTo>
                    <a:pt x="2724467" y="1103047"/>
                    <a:pt x="2726096" y="1102232"/>
                    <a:pt x="2726910" y="1101418"/>
                  </a:cubicBezTo>
                  <a:cubicBezTo>
                    <a:pt x="2727725" y="1100603"/>
                    <a:pt x="2726910" y="1098974"/>
                    <a:pt x="2726910" y="1097345"/>
                  </a:cubicBezTo>
                  <a:cubicBezTo>
                    <a:pt x="2726910" y="1096531"/>
                    <a:pt x="2726910" y="1094902"/>
                    <a:pt x="2727725" y="1094087"/>
                  </a:cubicBezTo>
                  <a:cubicBezTo>
                    <a:pt x="2729354" y="1092458"/>
                    <a:pt x="2730168" y="1090829"/>
                    <a:pt x="2730168" y="1088386"/>
                  </a:cubicBezTo>
                  <a:cubicBezTo>
                    <a:pt x="2730983" y="1086757"/>
                    <a:pt x="2731797" y="1085942"/>
                    <a:pt x="2732612" y="1085128"/>
                  </a:cubicBezTo>
                  <a:cubicBezTo>
                    <a:pt x="2733426" y="1084313"/>
                    <a:pt x="2734241" y="1083499"/>
                    <a:pt x="2734241" y="1082684"/>
                  </a:cubicBezTo>
                  <a:cubicBezTo>
                    <a:pt x="2735055" y="1081870"/>
                    <a:pt x="2735055" y="1081870"/>
                    <a:pt x="2735870" y="1081870"/>
                  </a:cubicBezTo>
                  <a:cubicBezTo>
                    <a:pt x="2738313" y="1081870"/>
                    <a:pt x="2739942" y="1081056"/>
                    <a:pt x="2741571" y="1079426"/>
                  </a:cubicBezTo>
                  <a:cubicBezTo>
                    <a:pt x="2743200" y="1076983"/>
                    <a:pt x="2744014" y="1075354"/>
                    <a:pt x="2745643" y="1073725"/>
                  </a:cubicBezTo>
                  <a:cubicBezTo>
                    <a:pt x="2747273" y="1072096"/>
                    <a:pt x="2749716" y="1071282"/>
                    <a:pt x="2752159" y="1069652"/>
                  </a:cubicBezTo>
                  <a:cubicBezTo>
                    <a:pt x="2753788" y="1068838"/>
                    <a:pt x="2756232" y="1067209"/>
                    <a:pt x="2757861" y="1066395"/>
                  </a:cubicBezTo>
                  <a:cubicBezTo>
                    <a:pt x="2758676" y="1066395"/>
                    <a:pt x="2758676" y="1065580"/>
                    <a:pt x="2758676" y="1064766"/>
                  </a:cubicBezTo>
                  <a:cubicBezTo>
                    <a:pt x="2758676" y="1063951"/>
                    <a:pt x="2759490" y="1063951"/>
                    <a:pt x="2760304" y="1063951"/>
                  </a:cubicBezTo>
                  <a:cubicBezTo>
                    <a:pt x="2762748" y="1063951"/>
                    <a:pt x="2765191" y="1062322"/>
                    <a:pt x="2766821" y="1061508"/>
                  </a:cubicBezTo>
                  <a:cubicBezTo>
                    <a:pt x="2766821" y="1061508"/>
                    <a:pt x="2767635" y="1059879"/>
                    <a:pt x="2766821" y="1059879"/>
                  </a:cubicBezTo>
                  <a:cubicBezTo>
                    <a:pt x="2766006" y="1058250"/>
                    <a:pt x="2766821" y="1057435"/>
                    <a:pt x="2767635" y="1056621"/>
                  </a:cubicBezTo>
                  <a:cubicBezTo>
                    <a:pt x="2768449" y="1056621"/>
                    <a:pt x="2769264" y="1055806"/>
                    <a:pt x="2769264" y="1055806"/>
                  </a:cubicBezTo>
                  <a:cubicBezTo>
                    <a:pt x="2770078" y="1052548"/>
                    <a:pt x="2772522" y="1051734"/>
                    <a:pt x="2774965" y="1050105"/>
                  </a:cubicBezTo>
                  <a:cubicBezTo>
                    <a:pt x="2778223" y="1048476"/>
                    <a:pt x="2781481" y="1046032"/>
                    <a:pt x="2784739" y="1044403"/>
                  </a:cubicBezTo>
                  <a:cubicBezTo>
                    <a:pt x="2785554" y="1043589"/>
                    <a:pt x="2786368" y="1042774"/>
                    <a:pt x="2787183" y="1041960"/>
                  </a:cubicBezTo>
                  <a:cubicBezTo>
                    <a:pt x="2787997" y="1041145"/>
                    <a:pt x="2787997" y="1040331"/>
                    <a:pt x="2788811" y="1039517"/>
                  </a:cubicBezTo>
                  <a:cubicBezTo>
                    <a:pt x="2792069" y="1037887"/>
                    <a:pt x="2795328" y="1034630"/>
                    <a:pt x="2799400" y="1035444"/>
                  </a:cubicBezTo>
                  <a:cubicBezTo>
                    <a:pt x="2801843" y="1033815"/>
                    <a:pt x="2805101" y="1033000"/>
                    <a:pt x="2807545" y="1031372"/>
                  </a:cubicBezTo>
                  <a:cubicBezTo>
                    <a:pt x="2809174" y="1030557"/>
                    <a:pt x="2810803" y="1029743"/>
                    <a:pt x="2812432" y="1028928"/>
                  </a:cubicBezTo>
                  <a:cubicBezTo>
                    <a:pt x="2814061" y="1028114"/>
                    <a:pt x="2815690" y="1028928"/>
                    <a:pt x="2817318" y="1028114"/>
                  </a:cubicBezTo>
                  <a:cubicBezTo>
                    <a:pt x="2818133" y="1028114"/>
                    <a:pt x="2818133" y="1027299"/>
                    <a:pt x="2818948" y="1026485"/>
                  </a:cubicBezTo>
                  <a:cubicBezTo>
                    <a:pt x="2819762" y="1025670"/>
                    <a:pt x="2819762" y="1024856"/>
                    <a:pt x="2819762" y="1024856"/>
                  </a:cubicBezTo>
                  <a:cubicBezTo>
                    <a:pt x="2823020" y="1025670"/>
                    <a:pt x="2824649" y="1023227"/>
                    <a:pt x="2827092" y="1022412"/>
                  </a:cubicBezTo>
                  <a:cubicBezTo>
                    <a:pt x="2830351" y="1020783"/>
                    <a:pt x="2832794" y="1019154"/>
                    <a:pt x="2835237" y="1017525"/>
                  </a:cubicBezTo>
                  <a:cubicBezTo>
                    <a:pt x="2836866" y="1016711"/>
                    <a:pt x="2836866" y="1014267"/>
                    <a:pt x="2838495" y="1013453"/>
                  </a:cubicBezTo>
                  <a:cubicBezTo>
                    <a:pt x="2840125" y="1011824"/>
                    <a:pt x="2842568" y="1011009"/>
                    <a:pt x="2845011" y="1009380"/>
                  </a:cubicBezTo>
                  <a:cubicBezTo>
                    <a:pt x="2845826" y="1009380"/>
                    <a:pt x="2846640" y="1008566"/>
                    <a:pt x="2846640" y="1008566"/>
                  </a:cubicBezTo>
                  <a:cubicBezTo>
                    <a:pt x="2849084" y="1008566"/>
                    <a:pt x="2850713" y="1007751"/>
                    <a:pt x="2852342" y="1006937"/>
                  </a:cubicBezTo>
                  <a:cubicBezTo>
                    <a:pt x="2853156" y="1006122"/>
                    <a:pt x="2853970" y="1006122"/>
                    <a:pt x="2854785" y="1005308"/>
                  </a:cubicBezTo>
                  <a:cubicBezTo>
                    <a:pt x="2855600" y="1004493"/>
                    <a:pt x="2855600" y="1003679"/>
                    <a:pt x="2855600" y="1002864"/>
                  </a:cubicBezTo>
                  <a:cubicBezTo>
                    <a:pt x="2854785" y="999607"/>
                    <a:pt x="2855600" y="997163"/>
                    <a:pt x="2858858" y="995534"/>
                  </a:cubicBezTo>
                  <a:cubicBezTo>
                    <a:pt x="2862930" y="993905"/>
                    <a:pt x="2866188" y="991462"/>
                    <a:pt x="2870260" y="989833"/>
                  </a:cubicBezTo>
                  <a:cubicBezTo>
                    <a:pt x="2873518" y="988204"/>
                    <a:pt x="2875962" y="985760"/>
                    <a:pt x="2880034" y="986575"/>
                  </a:cubicBezTo>
                  <a:cubicBezTo>
                    <a:pt x="2882478" y="985760"/>
                    <a:pt x="2885736" y="984946"/>
                    <a:pt x="2887365" y="982502"/>
                  </a:cubicBezTo>
                  <a:cubicBezTo>
                    <a:pt x="2888994" y="980059"/>
                    <a:pt x="2890622" y="978430"/>
                    <a:pt x="2892252" y="977615"/>
                  </a:cubicBezTo>
                  <a:cubicBezTo>
                    <a:pt x="2893881" y="976801"/>
                    <a:pt x="2893881" y="974357"/>
                    <a:pt x="2895510" y="973543"/>
                  </a:cubicBezTo>
                  <a:cubicBezTo>
                    <a:pt x="2897139" y="972728"/>
                    <a:pt x="2896324" y="971099"/>
                    <a:pt x="2896324" y="969470"/>
                  </a:cubicBezTo>
                  <a:cubicBezTo>
                    <a:pt x="2896324" y="967027"/>
                    <a:pt x="2897139" y="964583"/>
                    <a:pt x="2900396" y="963769"/>
                  </a:cubicBezTo>
                  <a:cubicBezTo>
                    <a:pt x="2902840" y="962955"/>
                    <a:pt x="2903655" y="958882"/>
                    <a:pt x="2906098" y="958068"/>
                  </a:cubicBezTo>
                  <a:cubicBezTo>
                    <a:pt x="2906912" y="958068"/>
                    <a:pt x="2906912" y="957253"/>
                    <a:pt x="2907727" y="956439"/>
                  </a:cubicBezTo>
                  <a:cubicBezTo>
                    <a:pt x="2908541" y="953995"/>
                    <a:pt x="2910985" y="952366"/>
                    <a:pt x="2910985" y="949923"/>
                  </a:cubicBezTo>
                  <a:cubicBezTo>
                    <a:pt x="2910985" y="948294"/>
                    <a:pt x="2912614" y="946665"/>
                    <a:pt x="2914243" y="945850"/>
                  </a:cubicBezTo>
                  <a:cubicBezTo>
                    <a:pt x="2915872" y="945036"/>
                    <a:pt x="2915872" y="943407"/>
                    <a:pt x="2915872" y="942592"/>
                  </a:cubicBezTo>
                  <a:cubicBezTo>
                    <a:pt x="2915872" y="940149"/>
                    <a:pt x="2915872" y="936891"/>
                    <a:pt x="2915057" y="934447"/>
                  </a:cubicBezTo>
                  <a:cubicBezTo>
                    <a:pt x="2914243" y="932818"/>
                    <a:pt x="2915057" y="932004"/>
                    <a:pt x="2915872" y="931189"/>
                  </a:cubicBezTo>
                  <a:cubicBezTo>
                    <a:pt x="2918315" y="929560"/>
                    <a:pt x="2921573" y="927931"/>
                    <a:pt x="2924017" y="926303"/>
                  </a:cubicBezTo>
                  <a:cubicBezTo>
                    <a:pt x="2924831" y="925488"/>
                    <a:pt x="2925646" y="924673"/>
                    <a:pt x="2924831" y="923859"/>
                  </a:cubicBezTo>
                  <a:cubicBezTo>
                    <a:pt x="2924017" y="921416"/>
                    <a:pt x="2924831" y="920601"/>
                    <a:pt x="2926460" y="919786"/>
                  </a:cubicBezTo>
                  <a:cubicBezTo>
                    <a:pt x="2928904" y="918158"/>
                    <a:pt x="2932162" y="916529"/>
                    <a:pt x="2934605" y="915714"/>
                  </a:cubicBezTo>
                  <a:cubicBezTo>
                    <a:pt x="2937863" y="914085"/>
                    <a:pt x="2940307" y="912456"/>
                    <a:pt x="2943564" y="910827"/>
                  </a:cubicBezTo>
                  <a:cubicBezTo>
                    <a:pt x="2943564" y="910827"/>
                    <a:pt x="2944379" y="910827"/>
                    <a:pt x="2944379" y="910013"/>
                  </a:cubicBezTo>
                  <a:cubicBezTo>
                    <a:pt x="2944379" y="909198"/>
                    <a:pt x="2945193" y="909198"/>
                    <a:pt x="2945193" y="908384"/>
                  </a:cubicBezTo>
                  <a:cubicBezTo>
                    <a:pt x="2941936" y="902682"/>
                    <a:pt x="2941936" y="902682"/>
                    <a:pt x="2941936" y="902682"/>
                  </a:cubicBezTo>
                  <a:close/>
                  <a:moveTo>
                    <a:pt x="2755417" y="501139"/>
                  </a:moveTo>
                  <a:cubicBezTo>
                    <a:pt x="2755417" y="504397"/>
                    <a:pt x="2753788" y="507655"/>
                    <a:pt x="2751345" y="510913"/>
                  </a:cubicBezTo>
                  <a:cubicBezTo>
                    <a:pt x="2751345" y="509284"/>
                    <a:pt x="2750531" y="507655"/>
                    <a:pt x="2750531" y="506026"/>
                  </a:cubicBezTo>
                  <a:cubicBezTo>
                    <a:pt x="2752974" y="505211"/>
                    <a:pt x="2754603" y="503582"/>
                    <a:pt x="2755417" y="501139"/>
                  </a:cubicBezTo>
                  <a:close/>
                  <a:moveTo>
                    <a:pt x="2708991" y="444939"/>
                  </a:moveTo>
                  <a:cubicBezTo>
                    <a:pt x="2709806" y="447383"/>
                    <a:pt x="2711435" y="448197"/>
                    <a:pt x="2713879" y="448197"/>
                  </a:cubicBezTo>
                  <a:cubicBezTo>
                    <a:pt x="2709806" y="457157"/>
                    <a:pt x="2701661" y="461229"/>
                    <a:pt x="2692702" y="465302"/>
                  </a:cubicBezTo>
                  <a:cubicBezTo>
                    <a:pt x="2695960" y="457971"/>
                    <a:pt x="2702476" y="451455"/>
                    <a:pt x="2708991" y="444939"/>
                  </a:cubicBezTo>
                  <a:close/>
                  <a:moveTo>
                    <a:pt x="2493152" y="469374"/>
                  </a:moveTo>
                  <a:cubicBezTo>
                    <a:pt x="2493967" y="466116"/>
                    <a:pt x="2493967" y="463672"/>
                    <a:pt x="2496410" y="461229"/>
                  </a:cubicBezTo>
                  <a:cubicBezTo>
                    <a:pt x="2498039" y="459600"/>
                    <a:pt x="2498853" y="457157"/>
                    <a:pt x="2498039" y="455528"/>
                  </a:cubicBezTo>
                  <a:cubicBezTo>
                    <a:pt x="2500482" y="455528"/>
                    <a:pt x="2503740" y="454713"/>
                    <a:pt x="2506184" y="453899"/>
                  </a:cubicBezTo>
                  <a:cubicBezTo>
                    <a:pt x="2506184" y="453899"/>
                    <a:pt x="2506184" y="453899"/>
                    <a:pt x="2506998" y="453899"/>
                  </a:cubicBezTo>
                  <a:cubicBezTo>
                    <a:pt x="2506998" y="454713"/>
                    <a:pt x="2506184" y="455528"/>
                    <a:pt x="2506184" y="455528"/>
                  </a:cubicBezTo>
                  <a:cubicBezTo>
                    <a:pt x="2505369" y="455528"/>
                    <a:pt x="2504555" y="456342"/>
                    <a:pt x="2504555" y="456342"/>
                  </a:cubicBezTo>
                  <a:cubicBezTo>
                    <a:pt x="2504555" y="457157"/>
                    <a:pt x="2504555" y="457971"/>
                    <a:pt x="2505369" y="458785"/>
                  </a:cubicBezTo>
                  <a:cubicBezTo>
                    <a:pt x="2506998" y="459600"/>
                    <a:pt x="2507812" y="459600"/>
                    <a:pt x="2509442" y="459600"/>
                  </a:cubicBezTo>
                  <a:cubicBezTo>
                    <a:pt x="2510256" y="459600"/>
                    <a:pt x="2510256" y="459600"/>
                    <a:pt x="2511071" y="459600"/>
                  </a:cubicBezTo>
                  <a:cubicBezTo>
                    <a:pt x="2512700" y="459600"/>
                    <a:pt x="2513514" y="458785"/>
                    <a:pt x="2513514" y="457157"/>
                  </a:cubicBezTo>
                  <a:lnTo>
                    <a:pt x="2513514" y="457157"/>
                  </a:lnTo>
                  <a:lnTo>
                    <a:pt x="2513514" y="457157"/>
                  </a:lnTo>
                  <a:cubicBezTo>
                    <a:pt x="2513514" y="456342"/>
                    <a:pt x="2513514" y="456342"/>
                    <a:pt x="2513514" y="455528"/>
                  </a:cubicBezTo>
                  <a:cubicBezTo>
                    <a:pt x="2513514" y="453899"/>
                    <a:pt x="2513514" y="453084"/>
                    <a:pt x="2512700" y="451455"/>
                  </a:cubicBezTo>
                  <a:cubicBezTo>
                    <a:pt x="2514329" y="451455"/>
                    <a:pt x="2515143" y="451455"/>
                    <a:pt x="2516772" y="450641"/>
                  </a:cubicBezTo>
                  <a:cubicBezTo>
                    <a:pt x="2517586" y="451455"/>
                    <a:pt x="2518401" y="452270"/>
                    <a:pt x="2520030" y="452270"/>
                  </a:cubicBezTo>
                  <a:cubicBezTo>
                    <a:pt x="2521659" y="452270"/>
                    <a:pt x="2524102" y="452270"/>
                    <a:pt x="2525731" y="451455"/>
                  </a:cubicBezTo>
                  <a:cubicBezTo>
                    <a:pt x="2526546" y="450641"/>
                    <a:pt x="2527360" y="447383"/>
                    <a:pt x="2527360" y="446568"/>
                  </a:cubicBezTo>
                  <a:cubicBezTo>
                    <a:pt x="2526546" y="444939"/>
                    <a:pt x="2524917" y="444125"/>
                    <a:pt x="2523288" y="443310"/>
                  </a:cubicBezTo>
                  <a:cubicBezTo>
                    <a:pt x="2522474" y="443310"/>
                    <a:pt x="2521659" y="443310"/>
                    <a:pt x="2520845" y="443310"/>
                  </a:cubicBezTo>
                  <a:cubicBezTo>
                    <a:pt x="2521659" y="442496"/>
                    <a:pt x="2521659" y="442496"/>
                    <a:pt x="2521659" y="441681"/>
                  </a:cubicBezTo>
                  <a:cubicBezTo>
                    <a:pt x="2520845" y="440052"/>
                    <a:pt x="2519216" y="439238"/>
                    <a:pt x="2517586" y="438423"/>
                  </a:cubicBezTo>
                  <a:cubicBezTo>
                    <a:pt x="2516772" y="438423"/>
                    <a:pt x="2515957" y="438423"/>
                    <a:pt x="2514329" y="439238"/>
                  </a:cubicBezTo>
                  <a:cubicBezTo>
                    <a:pt x="2511885" y="438423"/>
                    <a:pt x="2508627" y="438423"/>
                    <a:pt x="2505369" y="437609"/>
                  </a:cubicBezTo>
                  <a:cubicBezTo>
                    <a:pt x="2504555" y="438423"/>
                    <a:pt x="2504555" y="440052"/>
                    <a:pt x="2503740" y="440867"/>
                  </a:cubicBezTo>
                  <a:cubicBezTo>
                    <a:pt x="2501297" y="440052"/>
                    <a:pt x="2498039" y="439238"/>
                    <a:pt x="2495595" y="440052"/>
                  </a:cubicBezTo>
                  <a:cubicBezTo>
                    <a:pt x="2498039" y="437609"/>
                    <a:pt x="2501297" y="435165"/>
                    <a:pt x="2502926" y="432722"/>
                  </a:cubicBezTo>
                  <a:cubicBezTo>
                    <a:pt x="2521659" y="432722"/>
                    <a:pt x="2541207" y="432722"/>
                    <a:pt x="2559940" y="432722"/>
                  </a:cubicBezTo>
                  <a:cubicBezTo>
                    <a:pt x="2559940" y="432722"/>
                    <a:pt x="2560754" y="431907"/>
                    <a:pt x="2560754" y="431907"/>
                  </a:cubicBezTo>
                  <a:cubicBezTo>
                    <a:pt x="2559940" y="430278"/>
                    <a:pt x="2559126" y="429464"/>
                    <a:pt x="2557497" y="427835"/>
                  </a:cubicBezTo>
                  <a:cubicBezTo>
                    <a:pt x="2562383" y="427020"/>
                    <a:pt x="2566456" y="427020"/>
                    <a:pt x="2569714" y="428650"/>
                  </a:cubicBezTo>
                  <a:cubicBezTo>
                    <a:pt x="2569714" y="431093"/>
                    <a:pt x="2569714" y="432722"/>
                    <a:pt x="2568899" y="435165"/>
                  </a:cubicBezTo>
                  <a:cubicBezTo>
                    <a:pt x="2568899" y="435165"/>
                    <a:pt x="2568899" y="435165"/>
                    <a:pt x="2568899" y="435165"/>
                  </a:cubicBezTo>
                  <a:cubicBezTo>
                    <a:pt x="2568899" y="435165"/>
                    <a:pt x="2568899" y="435980"/>
                    <a:pt x="2568085" y="435980"/>
                  </a:cubicBezTo>
                  <a:cubicBezTo>
                    <a:pt x="2568085" y="435980"/>
                    <a:pt x="2568899" y="435165"/>
                    <a:pt x="2568899" y="435165"/>
                  </a:cubicBezTo>
                  <a:cubicBezTo>
                    <a:pt x="2570528" y="434351"/>
                    <a:pt x="2572972" y="433536"/>
                    <a:pt x="2574601" y="433536"/>
                  </a:cubicBezTo>
                  <a:cubicBezTo>
                    <a:pt x="2574601" y="433536"/>
                    <a:pt x="2574601" y="433536"/>
                    <a:pt x="2574601" y="433536"/>
                  </a:cubicBezTo>
                  <a:cubicBezTo>
                    <a:pt x="2574601" y="435980"/>
                    <a:pt x="2574601" y="437609"/>
                    <a:pt x="2573786" y="439238"/>
                  </a:cubicBezTo>
                  <a:cubicBezTo>
                    <a:pt x="2573786" y="439238"/>
                    <a:pt x="2573786" y="439238"/>
                    <a:pt x="2573786" y="439238"/>
                  </a:cubicBezTo>
                  <a:cubicBezTo>
                    <a:pt x="2573786" y="439238"/>
                    <a:pt x="2573786" y="440052"/>
                    <a:pt x="2572972" y="440052"/>
                  </a:cubicBezTo>
                  <a:cubicBezTo>
                    <a:pt x="2572972" y="440052"/>
                    <a:pt x="2573786" y="439238"/>
                    <a:pt x="2573786" y="439238"/>
                  </a:cubicBezTo>
                  <a:cubicBezTo>
                    <a:pt x="2575416" y="438423"/>
                    <a:pt x="2577859" y="437609"/>
                    <a:pt x="2579488" y="437609"/>
                  </a:cubicBezTo>
                  <a:cubicBezTo>
                    <a:pt x="2588447" y="440867"/>
                    <a:pt x="2597406" y="437609"/>
                    <a:pt x="2606366" y="438423"/>
                  </a:cubicBezTo>
                  <a:cubicBezTo>
                    <a:pt x="2611253" y="439238"/>
                    <a:pt x="2613696" y="435980"/>
                    <a:pt x="2617769" y="434351"/>
                  </a:cubicBezTo>
                  <a:cubicBezTo>
                    <a:pt x="2618583" y="435165"/>
                    <a:pt x="2620212" y="435980"/>
                    <a:pt x="2621027" y="437609"/>
                  </a:cubicBezTo>
                  <a:cubicBezTo>
                    <a:pt x="2618583" y="439238"/>
                    <a:pt x="2616140" y="440867"/>
                    <a:pt x="2614511" y="441681"/>
                  </a:cubicBezTo>
                  <a:cubicBezTo>
                    <a:pt x="2607995" y="443310"/>
                    <a:pt x="2600664" y="445754"/>
                    <a:pt x="2594149" y="447383"/>
                  </a:cubicBezTo>
                  <a:cubicBezTo>
                    <a:pt x="2594149" y="447383"/>
                    <a:pt x="2594149" y="446568"/>
                    <a:pt x="2594149" y="446568"/>
                  </a:cubicBezTo>
                  <a:cubicBezTo>
                    <a:pt x="2593334" y="446568"/>
                    <a:pt x="2592520" y="446568"/>
                    <a:pt x="2591705" y="446568"/>
                  </a:cubicBezTo>
                  <a:cubicBezTo>
                    <a:pt x="2591705" y="447383"/>
                    <a:pt x="2591705" y="447383"/>
                    <a:pt x="2591705" y="448197"/>
                  </a:cubicBezTo>
                  <a:cubicBezTo>
                    <a:pt x="2586818" y="449012"/>
                    <a:pt x="2581931" y="449826"/>
                    <a:pt x="2577044" y="450641"/>
                  </a:cubicBezTo>
                  <a:cubicBezTo>
                    <a:pt x="2577044" y="450641"/>
                    <a:pt x="2577044" y="450641"/>
                    <a:pt x="2577044" y="450641"/>
                  </a:cubicBezTo>
                  <a:cubicBezTo>
                    <a:pt x="2574601" y="447383"/>
                    <a:pt x="2571343" y="446568"/>
                    <a:pt x="2567271" y="448197"/>
                  </a:cubicBezTo>
                  <a:cubicBezTo>
                    <a:pt x="2566456" y="444939"/>
                    <a:pt x="2564827" y="442496"/>
                    <a:pt x="2564012" y="440052"/>
                  </a:cubicBezTo>
                  <a:cubicBezTo>
                    <a:pt x="2560754" y="435165"/>
                    <a:pt x="2556682" y="435165"/>
                    <a:pt x="2553424" y="439238"/>
                  </a:cubicBezTo>
                  <a:cubicBezTo>
                    <a:pt x="2551795" y="441681"/>
                    <a:pt x="2549352" y="444125"/>
                    <a:pt x="2547723" y="446568"/>
                  </a:cubicBezTo>
                  <a:cubicBezTo>
                    <a:pt x="2546094" y="449012"/>
                    <a:pt x="2544465" y="450641"/>
                    <a:pt x="2543650" y="453084"/>
                  </a:cubicBezTo>
                  <a:cubicBezTo>
                    <a:pt x="2542836" y="456342"/>
                    <a:pt x="2544465" y="459600"/>
                    <a:pt x="2546094" y="462858"/>
                  </a:cubicBezTo>
                  <a:cubicBezTo>
                    <a:pt x="2541207" y="466930"/>
                    <a:pt x="2535505" y="469374"/>
                    <a:pt x="2528990" y="470189"/>
                  </a:cubicBezTo>
                  <a:cubicBezTo>
                    <a:pt x="2528990" y="470189"/>
                    <a:pt x="2528990" y="470189"/>
                    <a:pt x="2528990" y="470189"/>
                  </a:cubicBezTo>
                  <a:cubicBezTo>
                    <a:pt x="2527360" y="470189"/>
                    <a:pt x="2526546" y="471003"/>
                    <a:pt x="2524917" y="471003"/>
                  </a:cubicBezTo>
                  <a:cubicBezTo>
                    <a:pt x="2524917" y="471003"/>
                    <a:pt x="2524917" y="471003"/>
                    <a:pt x="2524917" y="471003"/>
                  </a:cubicBezTo>
                  <a:cubicBezTo>
                    <a:pt x="2516772" y="472632"/>
                    <a:pt x="2507812" y="475075"/>
                    <a:pt x="2499668" y="471817"/>
                  </a:cubicBezTo>
                  <a:cubicBezTo>
                    <a:pt x="2498039" y="469374"/>
                    <a:pt x="2495595" y="469374"/>
                    <a:pt x="2493152" y="469374"/>
                  </a:cubicBezTo>
                  <a:cubicBezTo>
                    <a:pt x="2493152" y="470189"/>
                    <a:pt x="2493152" y="470189"/>
                    <a:pt x="2493152" y="469374"/>
                  </a:cubicBezTo>
                  <a:close/>
                  <a:moveTo>
                    <a:pt x="2577044" y="450641"/>
                  </a:moveTo>
                  <a:cubicBezTo>
                    <a:pt x="2576230" y="451455"/>
                    <a:pt x="2576230" y="451455"/>
                    <a:pt x="2575416" y="452270"/>
                  </a:cubicBezTo>
                  <a:cubicBezTo>
                    <a:pt x="2574601" y="452270"/>
                    <a:pt x="2573786" y="452270"/>
                    <a:pt x="2572972" y="453084"/>
                  </a:cubicBezTo>
                  <a:cubicBezTo>
                    <a:pt x="2572157" y="453084"/>
                    <a:pt x="2572157" y="453084"/>
                    <a:pt x="2571343" y="452270"/>
                  </a:cubicBezTo>
                  <a:cubicBezTo>
                    <a:pt x="2572972" y="449826"/>
                    <a:pt x="2575416" y="450641"/>
                    <a:pt x="2577044" y="450641"/>
                  </a:cubicBezTo>
                  <a:close/>
                  <a:moveTo>
                    <a:pt x="2477677" y="514985"/>
                  </a:moveTo>
                  <a:cubicBezTo>
                    <a:pt x="2478491" y="514171"/>
                    <a:pt x="2479305" y="511727"/>
                    <a:pt x="2480120" y="510098"/>
                  </a:cubicBezTo>
                  <a:cubicBezTo>
                    <a:pt x="2480934" y="508469"/>
                    <a:pt x="2480934" y="506841"/>
                    <a:pt x="2481749" y="505211"/>
                  </a:cubicBezTo>
                  <a:cubicBezTo>
                    <a:pt x="2482564" y="503582"/>
                    <a:pt x="2483378" y="502768"/>
                    <a:pt x="2484193" y="501139"/>
                  </a:cubicBezTo>
                  <a:cubicBezTo>
                    <a:pt x="2487450" y="500324"/>
                    <a:pt x="2491523" y="498696"/>
                    <a:pt x="2494781" y="497067"/>
                  </a:cubicBezTo>
                  <a:cubicBezTo>
                    <a:pt x="2501297" y="492994"/>
                    <a:pt x="2508627" y="491365"/>
                    <a:pt x="2516772" y="490551"/>
                  </a:cubicBezTo>
                  <a:cubicBezTo>
                    <a:pt x="2534691" y="487293"/>
                    <a:pt x="2553424" y="487293"/>
                    <a:pt x="2570528" y="480777"/>
                  </a:cubicBezTo>
                  <a:cubicBezTo>
                    <a:pt x="2576230" y="480777"/>
                    <a:pt x="2581931" y="479148"/>
                    <a:pt x="2586818" y="477519"/>
                  </a:cubicBezTo>
                  <a:cubicBezTo>
                    <a:pt x="2586818" y="478333"/>
                    <a:pt x="2586004" y="479148"/>
                    <a:pt x="2585189" y="479962"/>
                  </a:cubicBezTo>
                  <a:cubicBezTo>
                    <a:pt x="2589261" y="480777"/>
                    <a:pt x="2590891" y="478333"/>
                    <a:pt x="2591705" y="475890"/>
                  </a:cubicBezTo>
                  <a:cubicBezTo>
                    <a:pt x="2596592" y="474261"/>
                    <a:pt x="2600664" y="471817"/>
                    <a:pt x="2605551" y="470189"/>
                  </a:cubicBezTo>
                  <a:cubicBezTo>
                    <a:pt x="2607995" y="468559"/>
                    <a:pt x="2611253" y="468559"/>
                    <a:pt x="2614511" y="467745"/>
                  </a:cubicBezTo>
                  <a:cubicBezTo>
                    <a:pt x="2617769" y="466930"/>
                    <a:pt x="2621841" y="466116"/>
                    <a:pt x="2625099" y="464487"/>
                  </a:cubicBezTo>
                  <a:cubicBezTo>
                    <a:pt x="2637316" y="457157"/>
                    <a:pt x="2650348" y="453084"/>
                    <a:pt x="2663380" y="448197"/>
                  </a:cubicBezTo>
                  <a:cubicBezTo>
                    <a:pt x="2668267" y="446568"/>
                    <a:pt x="2673154" y="444939"/>
                    <a:pt x="2678041" y="443310"/>
                  </a:cubicBezTo>
                  <a:cubicBezTo>
                    <a:pt x="2679670" y="443310"/>
                    <a:pt x="2680484" y="443310"/>
                    <a:pt x="2682113" y="443310"/>
                  </a:cubicBezTo>
                  <a:cubicBezTo>
                    <a:pt x="2682113" y="445754"/>
                    <a:pt x="2680484" y="449012"/>
                    <a:pt x="2676412" y="451455"/>
                  </a:cubicBezTo>
                  <a:cubicBezTo>
                    <a:pt x="2669082" y="454713"/>
                    <a:pt x="2661751" y="458785"/>
                    <a:pt x="2654421" y="462044"/>
                  </a:cubicBezTo>
                  <a:cubicBezTo>
                    <a:pt x="2652792" y="462858"/>
                    <a:pt x="2650348" y="463672"/>
                    <a:pt x="2648720" y="464487"/>
                  </a:cubicBezTo>
                  <a:cubicBezTo>
                    <a:pt x="2646276" y="463672"/>
                    <a:pt x="2643832" y="463672"/>
                    <a:pt x="2643018" y="466116"/>
                  </a:cubicBezTo>
                  <a:cubicBezTo>
                    <a:pt x="2643018" y="466116"/>
                    <a:pt x="2643018" y="466930"/>
                    <a:pt x="2643018" y="466930"/>
                  </a:cubicBezTo>
                  <a:cubicBezTo>
                    <a:pt x="2638131" y="469374"/>
                    <a:pt x="2633244" y="471003"/>
                    <a:pt x="2628357" y="473446"/>
                  </a:cubicBezTo>
                  <a:cubicBezTo>
                    <a:pt x="2626728" y="472632"/>
                    <a:pt x="2623470" y="472632"/>
                    <a:pt x="2621027" y="473446"/>
                  </a:cubicBezTo>
                  <a:cubicBezTo>
                    <a:pt x="2620212" y="474261"/>
                    <a:pt x="2618583" y="475075"/>
                    <a:pt x="2618583" y="476704"/>
                  </a:cubicBezTo>
                  <a:cubicBezTo>
                    <a:pt x="2616140" y="477519"/>
                    <a:pt x="2612882" y="478333"/>
                    <a:pt x="2610438" y="478333"/>
                  </a:cubicBezTo>
                  <a:cubicBezTo>
                    <a:pt x="2599035" y="479962"/>
                    <a:pt x="2587633" y="484849"/>
                    <a:pt x="2581931" y="495437"/>
                  </a:cubicBezTo>
                  <a:cubicBezTo>
                    <a:pt x="2581931" y="495437"/>
                    <a:pt x="2582746" y="495437"/>
                    <a:pt x="2582746" y="495437"/>
                  </a:cubicBezTo>
                  <a:cubicBezTo>
                    <a:pt x="2586004" y="494623"/>
                    <a:pt x="2588447" y="494623"/>
                    <a:pt x="2591705" y="493809"/>
                  </a:cubicBezTo>
                  <a:cubicBezTo>
                    <a:pt x="2590076" y="495437"/>
                    <a:pt x="2588447" y="497881"/>
                    <a:pt x="2586818" y="500324"/>
                  </a:cubicBezTo>
                  <a:cubicBezTo>
                    <a:pt x="2586818" y="500324"/>
                    <a:pt x="2587633" y="500324"/>
                    <a:pt x="2587633" y="500324"/>
                  </a:cubicBezTo>
                  <a:cubicBezTo>
                    <a:pt x="2590891" y="499510"/>
                    <a:pt x="2593334" y="499510"/>
                    <a:pt x="2596592" y="498696"/>
                  </a:cubicBezTo>
                  <a:cubicBezTo>
                    <a:pt x="2596592" y="498696"/>
                    <a:pt x="2596592" y="498696"/>
                    <a:pt x="2595778" y="498696"/>
                  </a:cubicBezTo>
                  <a:cubicBezTo>
                    <a:pt x="2586004" y="503582"/>
                    <a:pt x="2575416" y="499510"/>
                    <a:pt x="2564827" y="500324"/>
                  </a:cubicBezTo>
                  <a:cubicBezTo>
                    <a:pt x="2564827" y="502768"/>
                    <a:pt x="2564827" y="505211"/>
                    <a:pt x="2564827" y="507655"/>
                  </a:cubicBezTo>
                  <a:cubicBezTo>
                    <a:pt x="2557497" y="511727"/>
                    <a:pt x="2550166" y="510913"/>
                    <a:pt x="2542021" y="512542"/>
                  </a:cubicBezTo>
                  <a:cubicBezTo>
                    <a:pt x="2532247" y="514171"/>
                    <a:pt x="2532247" y="514171"/>
                    <a:pt x="2524917" y="521501"/>
                  </a:cubicBezTo>
                  <a:cubicBezTo>
                    <a:pt x="2523288" y="519872"/>
                    <a:pt x="2520845" y="520687"/>
                    <a:pt x="2519216" y="521501"/>
                  </a:cubicBezTo>
                  <a:cubicBezTo>
                    <a:pt x="2517586" y="521501"/>
                    <a:pt x="2515957" y="521501"/>
                    <a:pt x="2514329" y="521501"/>
                  </a:cubicBezTo>
                  <a:cubicBezTo>
                    <a:pt x="2514329" y="521501"/>
                    <a:pt x="2513514" y="521501"/>
                    <a:pt x="2513514" y="521501"/>
                  </a:cubicBezTo>
                  <a:cubicBezTo>
                    <a:pt x="2512700" y="521501"/>
                    <a:pt x="2511885" y="521501"/>
                    <a:pt x="2511071" y="521501"/>
                  </a:cubicBezTo>
                  <a:cubicBezTo>
                    <a:pt x="2506184" y="521501"/>
                    <a:pt x="2502111" y="521501"/>
                    <a:pt x="2497224" y="522316"/>
                  </a:cubicBezTo>
                  <a:cubicBezTo>
                    <a:pt x="2489079" y="523130"/>
                    <a:pt x="2481749" y="519872"/>
                    <a:pt x="2473604" y="521501"/>
                  </a:cubicBezTo>
                  <a:cubicBezTo>
                    <a:pt x="2473604" y="519058"/>
                    <a:pt x="2475233" y="516614"/>
                    <a:pt x="2477677" y="514985"/>
                  </a:cubicBezTo>
                  <a:close/>
                  <a:moveTo>
                    <a:pt x="2140478" y="23848"/>
                  </a:moveTo>
                  <a:cubicBezTo>
                    <a:pt x="2141292" y="23034"/>
                    <a:pt x="2142107" y="23034"/>
                    <a:pt x="2142107" y="23848"/>
                  </a:cubicBezTo>
                  <a:cubicBezTo>
                    <a:pt x="2142107" y="23848"/>
                    <a:pt x="2142107" y="24663"/>
                    <a:pt x="2142107" y="24663"/>
                  </a:cubicBezTo>
                  <a:cubicBezTo>
                    <a:pt x="2142107" y="25477"/>
                    <a:pt x="2141292" y="26292"/>
                    <a:pt x="2139664" y="25477"/>
                  </a:cubicBezTo>
                  <a:cubicBezTo>
                    <a:pt x="2139664" y="25477"/>
                    <a:pt x="2138849" y="25477"/>
                    <a:pt x="2138849" y="24663"/>
                  </a:cubicBezTo>
                  <a:cubicBezTo>
                    <a:pt x="2139664" y="25477"/>
                    <a:pt x="2139664" y="24663"/>
                    <a:pt x="2140478" y="23848"/>
                  </a:cubicBezTo>
                  <a:close/>
                  <a:moveTo>
                    <a:pt x="386882" y="826935"/>
                  </a:moveTo>
                  <a:cubicBezTo>
                    <a:pt x="384439" y="829378"/>
                    <a:pt x="382810" y="831822"/>
                    <a:pt x="381995" y="835080"/>
                  </a:cubicBezTo>
                  <a:cubicBezTo>
                    <a:pt x="380366" y="832636"/>
                    <a:pt x="378738" y="831822"/>
                    <a:pt x="377108" y="830193"/>
                  </a:cubicBezTo>
                  <a:cubicBezTo>
                    <a:pt x="380366" y="828564"/>
                    <a:pt x="384439" y="828564"/>
                    <a:pt x="386882" y="826935"/>
                  </a:cubicBezTo>
                  <a:cubicBezTo>
                    <a:pt x="386882" y="826935"/>
                    <a:pt x="386882" y="826935"/>
                    <a:pt x="386882" y="826935"/>
                  </a:cubicBezTo>
                  <a:close/>
                  <a:moveTo>
                    <a:pt x="1102004" y="2165141"/>
                  </a:moveTo>
                  <a:cubicBezTo>
                    <a:pt x="1098746" y="2168399"/>
                    <a:pt x="1096303" y="2171657"/>
                    <a:pt x="1093045" y="2175729"/>
                  </a:cubicBezTo>
                  <a:cubicBezTo>
                    <a:pt x="1096303" y="2172471"/>
                    <a:pt x="1097117" y="2166770"/>
                    <a:pt x="1102004" y="2165141"/>
                  </a:cubicBezTo>
                  <a:close/>
                  <a:moveTo>
                    <a:pt x="1109335" y="2152923"/>
                  </a:moveTo>
                  <a:cubicBezTo>
                    <a:pt x="1110149" y="2153738"/>
                    <a:pt x="1110149" y="2154552"/>
                    <a:pt x="1110963" y="2155367"/>
                  </a:cubicBezTo>
                  <a:cubicBezTo>
                    <a:pt x="1107706" y="2156996"/>
                    <a:pt x="1105262" y="2159439"/>
                    <a:pt x="1102818" y="2162697"/>
                  </a:cubicBezTo>
                  <a:cubicBezTo>
                    <a:pt x="1102818" y="2156996"/>
                    <a:pt x="1105262" y="2154552"/>
                    <a:pt x="1109335" y="2152923"/>
                  </a:cubicBezTo>
                  <a:close/>
                  <a:moveTo>
                    <a:pt x="1103633" y="2142335"/>
                  </a:moveTo>
                  <a:cubicBezTo>
                    <a:pt x="1104447" y="2139892"/>
                    <a:pt x="1104447" y="2139077"/>
                    <a:pt x="1104447" y="2137448"/>
                  </a:cubicBezTo>
                  <a:cubicBezTo>
                    <a:pt x="1104447" y="2137448"/>
                    <a:pt x="1104447" y="2137448"/>
                    <a:pt x="1104447" y="2136634"/>
                  </a:cubicBezTo>
                  <a:cubicBezTo>
                    <a:pt x="1104447" y="2138263"/>
                    <a:pt x="1104447" y="2139077"/>
                    <a:pt x="1105262" y="2139892"/>
                  </a:cubicBezTo>
                  <a:cubicBezTo>
                    <a:pt x="1105262" y="2141521"/>
                    <a:pt x="1104447" y="2142335"/>
                    <a:pt x="1103633" y="2142335"/>
                  </a:cubicBezTo>
                  <a:close/>
                  <a:moveTo>
                    <a:pt x="721637" y="642046"/>
                  </a:moveTo>
                  <a:cubicBezTo>
                    <a:pt x="726524" y="637973"/>
                    <a:pt x="730597" y="633901"/>
                    <a:pt x="737927" y="633086"/>
                  </a:cubicBezTo>
                  <a:cubicBezTo>
                    <a:pt x="737113" y="633901"/>
                    <a:pt x="736298" y="634715"/>
                    <a:pt x="736298" y="635530"/>
                  </a:cubicBezTo>
                  <a:cubicBezTo>
                    <a:pt x="731411" y="639602"/>
                    <a:pt x="727339" y="642046"/>
                    <a:pt x="721637" y="642046"/>
                  </a:cubicBezTo>
                  <a:close/>
                  <a:moveTo>
                    <a:pt x="808788" y="598878"/>
                  </a:moveTo>
                  <a:cubicBezTo>
                    <a:pt x="800643" y="607023"/>
                    <a:pt x="790055" y="611910"/>
                    <a:pt x="780281" y="617611"/>
                  </a:cubicBezTo>
                  <a:cubicBezTo>
                    <a:pt x="777837" y="618425"/>
                    <a:pt x="776208" y="620055"/>
                    <a:pt x="773765" y="620869"/>
                  </a:cubicBezTo>
                  <a:cubicBezTo>
                    <a:pt x="768878" y="623312"/>
                    <a:pt x="763991" y="625756"/>
                    <a:pt x="759104" y="628199"/>
                  </a:cubicBezTo>
                  <a:cubicBezTo>
                    <a:pt x="759104" y="628199"/>
                    <a:pt x="758289" y="628199"/>
                    <a:pt x="758289" y="628199"/>
                  </a:cubicBezTo>
                  <a:cubicBezTo>
                    <a:pt x="755846" y="627385"/>
                    <a:pt x="754217" y="627385"/>
                    <a:pt x="751774" y="627385"/>
                  </a:cubicBezTo>
                  <a:cubicBezTo>
                    <a:pt x="763176" y="620869"/>
                    <a:pt x="775394" y="615168"/>
                    <a:pt x="787611" y="610281"/>
                  </a:cubicBezTo>
                  <a:cubicBezTo>
                    <a:pt x="794941" y="606208"/>
                    <a:pt x="802272" y="602136"/>
                    <a:pt x="808788" y="598878"/>
                  </a:cubicBezTo>
                  <a:close/>
                  <a:moveTo>
                    <a:pt x="747701" y="598063"/>
                  </a:moveTo>
                  <a:cubicBezTo>
                    <a:pt x="748516" y="598063"/>
                    <a:pt x="749330" y="598063"/>
                    <a:pt x="749330" y="598063"/>
                  </a:cubicBezTo>
                  <a:cubicBezTo>
                    <a:pt x="752588" y="598063"/>
                    <a:pt x="754217" y="598063"/>
                    <a:pt x="755031" y="599692"/>
                  </a:cubicBezTo>
                  <a:cubicBezTo>
                    <a:pt x="749330" y="602950"/>
                    <a:pt x="743629" y="606208"/>
                    <a:pt x="737113" y="609466"/>
                  </a:cubicBezTo>
                  <a:cubicBezTo>
                    <a:pt x="725710" y="615982"/>
                    <a:pt x="712678" y="620055"/>
                    <a:pt x="701275" y="627385"/>
                  </a:cubicBezTo>
                  <a:cubicBezTo>
                    <a:pt x="703719" y="624942"/>
                    <a:pt x="706162" y="622498"/>
                    <a:pt x="708606" y="620055"/>
                  </a:cubicBezTo>
                  <a:cubicBezTo>
                    <a:pt x="709420" y="619240"/>
                    <a:pt x="710235" y="618425"/>
                    <a:pt x="711864" y="617611"/>
                  </a:cubicBezTo>
                  <a:cubicBezTo>
                    <a:pt x="715936" y="615982"/>
                    <a:pt x="720009" y="614353"/>
                    <a:pt x="724081" y="612724"/>
                  </a:cubicBezTo>
                  <a:cubicBezTo>
                    <a:pt x="730597" y="611095"/>
                    <a:pt x="736298" y="606208"/>
                    <a:pt x="742814" y="602136"/>
                  </a:cubicBezTo>
                  <a:cubicBezTo>
                    <a:pt x="744443" y="599692"/>
                    <a:pt x="746072" y="598878"/>
                    <a:pt x="747701" y="598063"/>
                  </a:cubicBezTo>
                  <a:close/>
                  <a:moveTo>
                    <a:pt x="720823" y="585846"/>
                  </a:moveTo>
                  <a:cubicBezTo>
                    <a:pt x="722452" y="585031"/>
                    <a:pt x="724081" y="585031"/>
                    <a:pt x="724896" y="585031"/>
                  </a:cubicBezTo>
                  <a:cubicBezTo>
                    <a:pt x="724896" y="585031"/>
                    <a:pt x="725710" y="585846"/>
                    <a:pt x="725710" y="585846"/>
                  </a:cubicBezTo>
                  <a:cubicBezTo>
                    <a:pt x="725710" y="585846"/>
                    <a:pt x="725710" y="585846"/>
                    <a:pt x="725710" y="585846"/>
                  </a:cubicBezTo>
                  <a:cubicBezTo>
                    <a:pt x="727339" y="588289"/>
                    <a:pt x="727339" y="590733"/>
                    <a:pt x="724081" y="590733"/>
                  </a:cubicBezTo>
                  <a:cubicBezTo>
                    <a:pt x="718379" y="591547"/>
                    <a:pt x="712678" y="590733"/>
                    <a:pt x="706162" y="590733"/>
                  </a:cubicBezTo>
                  <a:cubicBezTo>
                    <a:pt x="711049" y="589104"/>
                    <a:pt x="715936" y="587475"/>
                    <a:pt x="720823" y="585846"/>
                  </a:cubicBezTo>
                  <a:close/>
                  <a:moveTo>
                    <a:pt x="703719" y="592362"/>
                  </a:moveTo>
                  <a:cubicBezTo>
                    <a:pt x="702904" y="593176"/>
                    <a:pt x="702904" y="594805"/>
                    <a:pt x="702090" y="595620"/>
                  </a:cubicBezTo>
                  <a:cubicBezTo>
                    <a:pt x="699646" y="595620"/>
                    <a:pt x="698017" y="595620"/>
                    <a:pt x="695574" y="596434"/>
                  </a:cubicBezTo>
                  <a:cubicBezTo>
                    <a:pt x="698017" y="594805"/>
                    <a:pt x="701275" y="593176"/>
                    <a:pt x="703719" y="592362"/>
                  </a:cubicBezTo>
                  <a:close/>
                  <a:moveTo>
                    <a:pt x="668696" y="615168"/>
                  </a:moveTo>
                  <a:cubicBezTo>
                    <a:pt x="670325" y="614353"/>
                    <a:pt x="671139" y="614353"/>
                    <a:pt x="671954" y="615168"/>
                  </a:cubicBezTo>
                  <a:cubicBezTo>
                    <a:pt x="667881" y="617611"/>
                    <a:pt x="662994" y="619240"/>
                    <a:pt x="658107" y="620869"/>
                  </a:cubicBezTo>
                  <a:cubicBezTo>
                    <a:pt x="661365" y="618425"/>
                    <a:pt x="665438" y="616797"/>
                    <a:pt x="668696" y="615168"/>
                  </a:cubicBezTo>
                  <a:close/>
                  <a:moveTo>
                    <a:pt x="623899" y="636344"/>
                  </a:moveTo>
                  <a:cubicBezTo>
                    <a:pt x="623899" y="636344"/>
                    <a:pt x="623084" y="637159"/>
                    <a:pt x="623084" y="637159"/>
                  </a:cubicBezTo>
                  <a:cubicBezTo>
                    <a:pt x="620641" y="637973"/>
                    <a:pt x="619012" y="639602"/>
                    <a:pt x="616568" y="640417"/>
                  </a:cubicBezTo>
                  <a:cubicBezTo>
                    <a:pt x="615754" y="640417"/>
                    <a:pt x="614939" y="640417"/>
                    <a:pt x="614125" y="639602"/>
                  </a:cubicBezTo>
                  <a:cubicBezTo>
                    <a:pt x="616568" y="636344"/>
                    <a:pt x="619826" y="635530"/>
                    <a:pt x="623899" y="636344"/>
                  </a:cubicBezTo>
                  <a:close/>
                  <a:moveTo>
                    <a:pt x="456928" y="1620247"/>
                  </a:moveTo>
                  <a:cubicBezTo>
                    <a:pt x="456114" y="1623505"/>
                    <a:pt x="454485" y="1625134"/>
                    <a:pt x="452042" y="1626763"/>
                  </a:cubicBezTo>
                  <a:cubicBezTo>
                    <a:pt x="452042" y="1625134"/>
                    <a:pt x="452042" y="1624320"/>
                    <a:pt x="452042" y="1623505"/>
                  </a:cubicBezTo>
                  <a:cubicBezTo>
                    <a:pt x="453670" y="1622691"/>
                    <a:pt x="455300" y="1621876"/>
                    <a:pt x="456928" y="1620247"/>
                  </a:cubicBezTo>
                  <a:close/>
                  <a:moveTo>
                    <a:pt x="424349" y="1598256"/>
                  </a:moveTo>
                  <a:cubicBezTo>
                    <a:pt x="424349" y="1594998"/>
                    <a:pt x="425163" y="1592555"/>
                    <a:pt x="428421" y="1590926"/>
                  </a:cubicBezTo>
                  <a:cubicBezTo>
                    <a:pt x="429236" y="1590926"/>
                    <a:pt x="429236" y="1591740"/>
                    <a:pt x="430050" y="1591740"/>
                  </a:cubicBezTo>
                  <a:cubicBezTo>
                    <a:pt x="428421" y="1594184"/>
                    <a:pt x="425163" y="1594998"/>
                    <a:pt x="424349" y="1598256"/>
                  </a:cubicBezTo>
                  <a:close/>
                  <a:moveTo>
                    <a:pt x="418647" y="1689479"/>
                  </a:moveTo>
                  <a:cubicBezTo>
                    <a:pt x="417833" y="1690293"/>
                    <a:pt x="416204" y="1691108"/>
                    <a:pt x="414575" y="1691923"/>
                  </a:cubicBezTo>
                  <a:cubicBezTo>
                    <a:pt x="413760" y="1691108"/>
                    <a:pt x="412131" y="1691108"/>
                    <a:pt x="411317" y="1691108"/>
                  </a:cubicBezTo>
                  <a:cubicBezTo>
                    <a:pt x="411317" y="1690293"/>
                    <a:pt x="411317" y="1688664"/>
                    <a:pt x="410503" y="1687850"/>
                  </a:cubicBezTo>
                  <a:cubicBezTo>
                    <a:pt x="413760" y="1686221"/>
                    <a:pt x="416204" y="1683778"/>
                    <a:pt x="419462" y="1682963"/>
                  </a:cubicBezTo>
                  <a:cubicBezTo>
                    <a:pt x="422720" y="1682149"/>
                    <a:pt x="425163" y="1681334"/>
                    <a:pt x="427607" y="1679705"/>
                  </a:cubicBezTo>
                  <a:cubicBezTo>
                    <a:pt x="428421" y="1680519"/>
                    <a:pt x="429236" y="1681334"/>
                    <a:pt x="429236" y="1681334"/>
                  </a:cubicBezTo>
                  <a:cubicBezTo>
                    <a:pt x="425978" y="1684592"/>
                    <a:pt x="422720" y="1687036"/>
                    <a:pt x="418647" y="1689479"/>
                  </a:cubicBezTo>
                  <a:close/>
                  <a:moveTo>
                    <a:pt x="435752" y="1641424"/>
                  </a:moveTo>
                  <a:cubicBezTo>
                    <a:pt x="428421" y="1647126"/>
                    <a:pt x="420276" y="1651198"/>
                    <a:pt x="412946" y="1656085"/>
                  </a:cubicBezTo>
                  <a:cubicBezTo>
                    <a:pt x="412946" y="1655271"/>
                    <a:pt x="412946" y="1654456"/>
                    <a:pt x="413760" y="1654456"/>
                  </a:cubicBezTo>
                  <a:cubicBezTo>
                    <a:pt x="420276" y="1648754"/>
                    <a:pt x="426792" y="1643867"/>
                    <a:pt x="433308" y="1638166"/>
                  </a:cubicBezTo>
                  <a:cubicBezTo>
                    <a:pt x="433308" y="1638166"/>
                    <a:pt x="433308" y="1638166"/>
                    <a:pt x="433308" y="1638166"/>
                  </a:cubicBezTo>
                  <a:cubicBezTo>
                    <a:pt x="433308" y="1638166"/>
                    <a:pt x="433308" y="1638166"/>
                    <a:pt x="433308" y="1637352"/>
                  </a:cubicBezTo>
                  <a:cubicBezTo>
                    <a:pt x="437381" y="1634094"/>
                    <a:pt x="440639" y="1631650"/>
                    <a:pt x="444711" y="1628392"/>
                  </a:cubicBezTo>
                  <a:cubicBezTo>
                    <a:pt x="447155" y="1628392"/>
                    <a:pt x="448783" y="1627578"/>
                    <a:pt x="451227" y="1626763"/>
                  </a:cubicBezTo>
                  <a:cubicBezTo>
                    <a:pt x="451227" y="1626763"/>
                    <a:pt x="451227" y="1626763"/>
                    <a:pt x="451227" y="1626763"/>
                  </a:cubicBezTo>
                  <a:cubicBezTo>
                    <a:pt x="453670" y="1625949"/>
                    <a:pt x="456114" y="1624320"/>
                    <a:pt x="457743" y="1622691"/>
                  </a:cubicBezTo>
                  <a:cubicBezTo>
                    <a:pt x="457743" y="1622691"/>
                    <a:pt x="457743" y="1622691"/>
                    <a:pt x="457743" y="1622691"/>
                  </a:cubicBezTo>
                  <a:cubicBezTo>
                    <a:pt x="451227" y="1629207"/>
                    <a:pt x="443897" y="1635723"/>
                    <a:pt x="435752" y="1641424"/>
                  </a:cubicBezTo>
                  <a:close/>
                  <a:moveTo>
                    <a:pt x="445526" y="1669117"/>
                  </a:moveTo>
                  <a:cubicBezTo>
                    <a:pt x="445526" y="1668302"/>
                    <a:pt x="445526" y="1666673"/>
                    <a:pt x="444711" y="1665859"/>
                  </a:cubicBezTo>
                  <a:cubicBezTo>
                    <a:pt x="446340" y="1664230"/>
                    <a:pt x="447969" y="1663415"/>
                    <a:pt x="449598" y="1661786"/>
                  </a:cubicBezTo>
                  <a:cubicBezTo>
                    <a:pt x="450413" y="1662601"/>
                    <a:pt x="451227" y="1663415"/>
                    <a:pt x="452042" y="1663415"/>
                  </a:cubicBezTo>
                  <a:cubicBezTo>
                    <a:pt x="450413" y="1665859"/>
                    <a:pt x="447969" y="1667488"/>
                    <a:pt x="445526" y="1669117"/>
                  </a:cubicBezTo>
                  <a:close/>
                  <a:moveTo>
                    <a:pt x="452856" y="1683778"/>
                  </a:moveTo>
                  <a:cubicBezTo>
                    <a:pt x="455300" y="1682963"/>
                    <a:pt x="456928" y="1682149"/>
                    <a:pt x="459372" y="1680519"/>
                  </a:cubicBezTo>
                  <a:cubicBezTo>
                    <a:pt x="460186" y="1682149"/>
                    <a:pt x="460186" y="1682963"/>
                    <a:pt x="460186" y="1684592"/>
                  </a:cubicBezTo>
                  <a:cubicBezTo>
                    <a:pt x="456928" y="1687036"/>
                    <a:pt x="455300" y="1685406"/>
                    <a:pt x="452856" y="1683778"/>
                  </a:cubicBezTo>
                  <a:close/>
                  <a:moveTo>
                    <a:pt x="536748" y="1739977"/>
                  </a:moveTo>
                  <a:cubicBezTo>
                    <a:pt x="535119" y="1740792"/>
                    <a:pt x="533491" y="1741606"/>
                    <a:pt x="531861" y="1741606"/>
                  </a:cubicBezTo>
                  <a:cubicBezTo>
                    <a:pt x="531861" y="1741606"/>
                    <a:pt x="531861" y="1741606"/>
                    <a:pt x="531047" y="1740792"/>
                  </a:cubicBezTo>
                  <a:cubicBezTo>
                    <a:pt x="531047" y="1739977"/>
                    <a:pt x="531047" y="1739163"/>
                    <a:pt x="531047" y="1738348"/>
                  </a:cubicBezTo>
                  <a:cubicBezTo>
                    <a:pt x="529418" y="1734276"/>
                    <a:pt x="527789" y="1730203"/>
                    <a:pt x="526160" y="1726945"/>
                  </a:cubicBezTo>
                  <a:cubicBezTo>
                    <a:pt x="526974" y="1725316"/>
                    <a:pt x="527789" y="1723688"/>
                    <a:pt x="528604" y="1722058"/>
                  </a:cubicBezTo>
                  <a:cubicBezTo>
                    <a:pt x="528604" y="1722058"/>
                    <a:pt x="528604" y="1722058"/>
                    <a:pt x="528604" y="1722058"/>
                  </a:cubicBezTo>
                  <a:cubicBezTo>
                    <a:pt x="529418" y="1722873"/>
                    <a:pt x="529418" y="1722873"/>
                    <a:pt x="530232" y="1723688"/>
                  </a:cubicBezTo>
                  <a:cubicBezTo>
                    <a:pt x="532676" y="1725316"/>
                    <a:pt x="534305" y="1725316"/>
                    <a:pt x="536748" y="1724502"/>
                  </a:cubicBezTo>
                  <a:cubicBezTo>
                    <a:pt x="535934" y="1722873"/>
                    <a:pt x="535119" y="1721244"/>
                    <a:pt x="534305" y="1719615"/>
                  </a:cubicBezTo>
                  <a:cubicBezTo>
                    <a:pt x="537563" y="1717172"/>
                    <a:pt x="540821" y="1714728"/>
                    <a:pt x="544079" y="1713099"/>
                  </a:cubicBezTo>
                  <a:cubicBezTo>
                    <a:pt x="544079" y="1713099"/>
                    <a:pt x="544893" y="1713099"/>
                    <a:pt x="544893" y="1713099"/>
                  </a:cubicBezTo>
                  <a:cubicBezTo>
                    <a:pt x="543264" y="1717172"/>
                    <a:pt x="541635" y="1721244"/>
                    <a:pt x="540006" y="1725316"/>
                  </a:cubicBezTo>
                  <a:cubicBezTo>
                    <a:pt x="539192" y="1729389"/>
                    <a:pt x="538377" y="1733461"/>
                    <a:pt x="536748" y="1739977"/>
                  </a:cubicBezTo>
                  <a:close/>
                  <a:moveTo>
                    <a:pt x="550595" y="1722058"/>
                  </a:moveTo>
                  <a:cubicBezTo>
                    <a:pt x="549780" y="1726945"/>
                    <a:pt x="548966" y="1730203"/>
                    <a:pt x="543264" y="1731832"/>
                  </a:cubicBezTo>
                  <a:cubicBezTo>
                    <a:pt x="542450" y="1731832"/>
                    <a:pt x="542450" y="1732647"/>
                    <a:pt x="542450" y="1732647"/>
                  </a:cubicBezTo>
                  <a:cubicBezTo>
                    <a:pt x="544893" y="1728575"/>
                    <a:pt x="547337" y="1724502"/>
                    <a:pt x="550595" y="1722058"/>
                  </a:cubicBezTo>
                  <a:cubicBezTo>
                    <a:pt x="550595" y="1722058"/>
                    <a:pt x="550595" y="1722058"/>
                    <a:pt x="550595" y="1722058"/>
                  </a:cubicBezTo>
                  <a:close/>
                  <a:moveTo>
                    <a:pt x="727339" y="1985953"/>
                  </a:moveTo>
                  <a:cubicBezTo>
                    <a:pt x="726524" y="1985139"/>
                    <a:pt x="725710" y="1983510"/>
                    <a:pt x="725710" y="1982695"/>
                  </a:cubicBezTo>
                  <a:cubicBezTo>
                    <a:pt x="725710" y="1982695"/>
                    <a:pt x="725710" y="1982695"/>
                    <a:pt x="724896" y="1982695"/>
                  </a:cubicBezTo>
                  <a:cubicBezTo>
                    <a:pt x="724896" y="1982695"/>
                    <a:pt x="724896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7339" y="1982695"/>
                    <a:pt x="728153" y="1981881"/>
                    <a:pt x="729782" y="1981881"/>
                  </a:cubicBezTo>
                  <a:cubicBezTo>
                    <a:pt x="731411" y="1981881"/>
                    <a:pt x="732226" y="1981066"/>
                    <a:pt x="733855" y="1981066"/>
                  </a:cubicBezTo>
                  <a:cubicBezTo>
                    <a:pt x="731411" y="1981881"/>
                    <a:pt x="729782" y="1983510"/>
                    <a:pt x="727339" y="1985953"/>
                  </a:cubicBezTo>
                  <a:close/>
                  <a:moveTo>
                    <a:pt x="790055" y="1985953"/>
                  </a:moveTo>
                  <a:cubicBezTo>
                    <a:pt x="785167" y="1989211"/>
                    <a:pt x="780281" y="1993284"/>
                    <a:pt x="777023" y="1998170"/>
                  </a:cubicBezTo>
                  <a:cubicBezTo>
                    <a:pt x="774579" y="2001428"/>
                    <a:pt x="770507" y="2003872"/>
                    <a:pt x="767249" y="2006315"/>
                  </a:cubicBezTo>
                  <a:cubicBezTo>
                    <a:pt x="764805" y="2007944"/>
                    <a:pt x="762362" y="2007944"/>
                    <a:pt x="759104" y="2007130"/>
                  </a:cubicBezTo>
                  <a:lnTo>
                    <a:pt x="759104" y="2007130"/>
                  </a:lnTo>
                  <a:cubicBezTo>
                    <a:pt x="759104" y="2007130"/>
                    <a:pt x="759104" y="2007130"/>
                    <a:pt x="759104" y="2007130"/>
                  </a:cubicBezTo>
                  <a:lnTo>
                    <a:pt x="759104" y="2007130"/>
                  </a:lnTo>
                  <a:cubicBezTo>
                    <a:pt x="757475" y="2009573"/>
                    <a:pt x="755031" y="2011202"/>
                    <a:pt x="753403" y="2012831"/>
                  </a:cubicBezTo>
                  <a:cubicBezTo>
                    <a:pt x="750959" y="2011202"/>
                    <a:pt x="747701" y="2010388"/>
                    <a:pt x="745258" y="2008759"/>
                  </a:cubicBezTo>
                  <a:cubicBezTo>
                    <a:pt x="746887" y="2006315"/>
                    <a:pt x="747701" y="2003872"/>
                    <a:pt x="749330" y="2001428"/>
                  </a:cubicBezTo>
                  <a:cubicBezTo>
                    <a:pt x="746887" y="2001428"/>
                    <a:pt x="743629" y="2003058"/>
                    <a:pt x="741185" y="1998985"/>
                  </a:cubicBezTo>
                  <a:cubicBezTo>
                    <a:pt x="742000" y="1996541"/>
                    <a:pt x="743629" y="1994098"/>
                    <a:pt x="745258" y="1991654"/>
                  </a:cubicBezTo>
                  <a:cubicBezTo>
                    <a:pt x="746887" y="1989211"/>
                    <a:pt x="749330" y="1987582"/>
                    <a:pt x="748516" y="1983510"/>
                  </a:cubicBezTo>
                  <a:cubicBezTo>
                    <a:pt x="747701" y="1981066"/>
                    <a:pt x="747701" y="1977808"/>
                    <a:pt x="746887" y="1975365"/>
                  </a:cubicBezTo>
                  <a:cubicBezTo>
                    <a:pt x="745258" y="1975365"/>
                    <a:pt x="744443" y="1976179"/>
                    <a:pt x="742814" y="1976179"/>
                  </a:cubicBezTo>
                  <a:cubicBezTo>
                    <a:pt x="746887" y="1974550"/>
                    <a:pt x="750959" y="1972107"/>
                    <a:pt x="754217" y="1969663"/>
                  </a:cubicBezTo>
                  <a:cubicBezTo>
                    <a:pt x="755846" y="1968034"/>
                    <a:pt x="758289" y="1967220"/>
                    <a:pt x="759918" y="1965591"/>
                  </a:cubicBezTo>
                  <a:cubicBezTo>
                    <a:pt x="760733" y="1966406"/>
                    <a:pt x="762362" y="1968034"/>
                    <a:pt x="763176" y="1968849"/>
                  </a:cubicBezTo>
                  <a:cubicBezTo>
                    <a:pt x="763176" y="1968849"/>
                    <a:pt x="763991" y="1969663"/>
                    <a:pt x="763991" y="1969663"/>
                  </a:cubicBezTo>
                  <a:cubicBezTo>
                    <a:pt x="765620" y="1971292"/>
                    <a:pt x="766434" y="1972107"/>
                    <a:pt x="768063" y="1973736"/>
                  </a:cubicBezTo>
                  <a:cubicBezTo>
                    <a:pt x="771322" y="1976179"/>
                    <a:pt x="774579" y="1980251"/>
                    <a:pt x="778652" y="1981066"/>
                  </a:cubicBezTo>
                  <a:cubicBezTo>
                    <a:pt x="783539" y="1982695"/>
                    <a:pt x="786797" y="1984324"/>
                    <a:pt x="790055" y="1985953"/>
                  </a:cubicBezTo>
                  <a:cubicBezTo>
                    <a:pt x="790055" y="1985953"/>
                    <a:pt x="790055" y="1985953"/>
                    <a:pt x="790055" y="1985953"/>
                  </a:cubicBezTo>
                  <a:close/>
                  <a:moveTo>
                    <a:pt x="809602" y="1934640"/>
                  </a:moveTo>
                  <a:cubicBezTo>
                    <a:pt x="809602" y="1934640"/>
                    <a:pt x="808788" y="1934640"/>
                    <a:pt x="808788" y="1934640"/>
                  </a:cubicBezTo>
                  <a:cubicBezTo>
                    <a:pt x="808788" y="1933011"/>
                    <a:pt x="807974" y="1932197"/>
                    <a:pt x="807159" y="1931382"/>
                  </a:cubicBezTo>
                  <a:cubicBezTo>
                    <a:pt x="807159" y="1931382"/>
                    <a:pt x="807974" y="1930568"/>
                    <a:pt x="807974" y="1930568"/>
                  </a:cubicBezTo>
                  <a:cubicBezTo>
                    <a:pt x="808788" y="1931382"/>
                    <a:pt x="810417" y="1931382"/>
                    <a:pt x="812046" y="1932197"/>
                  </a:cubicBezTo>
                  <a:cubicBezTo>
                    <a:pt x="811231" y="1933011"/>
                    <a:pt x="810417" y="1933826"/>
                    <a:pt x="809602" y="1934640"/>
                  </a:cubicBezTo>
                  <a:close/>
                  <a:moveTo>
                    <a:pt x="1014854" y="2223784"/>
                  </a:moveTo>
                  <a:cubicBezTo>
                    <a:pt x="1014039" y="2219712"/>
                    <a:pt x="1014854" y="2216453"/>
                    <a:pt x="1018926" y="2212381"/>
                  </a:cubicBezTo>
                  <a:cubicBezTo>
                    <a:pt x="1019741" y="2218082"/>
                    <a:pt x="1014854" y="2219712"/>
                    <a:pt x="1014854" y="2223784"/>
                  </a:cubicBezTo>
                  <a:close/>
                  <a:moveTo>
                    <a:pt x="1057207" y="2238445"/>
                  </a:moveTo>
                  <a:cubicBezTo>
                    <a:pt x="1056393" y="2238445"/>
                    <a:pt x="1055578" y="2239260"/>
                    <a:pt x="1054764" y="2239260"/>
                  </a:cubicBezTo>
                  <a:cubicBezTo>
                    <a:pt x="1054764" y="2243332"/>
                    <a:pt x="1053135" y="2245775"/>
                    <a:pt x="1050691" y="2248219"/>
                  </a:cubicBezTo>
                  <a:cubicBezTo>
                    <a:pt x="1049062" y="2243332"/>
                    <a:pt x="1049062" y="2242517"/>
                    <a:pt x="1054764" y="2238445"/>
                  </a:cubicBezTo>
                  <a:cubicBezTo>
                    <a:pt x="1055578" y="2236001"/>
                    <a:pt x="1057207" y="2233558"/>
                    <a:pt x="1058021" y="2231115"/>
                  </a:cubicBezTo>
                  <a:cubicBezTo>
                    <a:pt x="1058021" y="2231929"/>
                    <a:pt x="1058836" y="2233558"/>
                    <a:pt x="1058836" y="2234372"/>
                  </a:cubicBezTo>
                  <a:cubicBezTo>
                    <a:pt x="1058021" y="2236816"/>
                    <a:pt x="1057207" y="2237630"/>
                    <a:pt x="1057207" y="2238445"/>
                  </a:cubicBezTo>
                  <a:close/>
                  <a:moveTo>
                    <a:pt x="1066166" y="2222970"/>
                  </a:moveTo>
                  <a:cubicBezTo>
                    <a:pt x="1066166" y="2222970"/>
                    <a:pt x="1066166" y="2222970"/>
                    <a:pt x="1066166" y="2222970"/>
                  </a:cubicBezTo>
                  <a:cubicBezTo>
                    <a:pt x="1063723" y="2224598"/>
                    <a:pt x="1062909" y="2224598"/>
                    <a:pt x="1061280" y="2225413"/>
                  </a:cubicBezTo>
                  <a:cubicBezTo>
                    <a:pt x="1063723" y="2221341"/>
                    <a:pt x="1066981" y="2216453"/>
                    <a:pt x="1069424" y="2212381"/>
                  </a:cubicBezTo>
                  <a:cubicBezTo>
                    <a:pt x="1068610" y="2214010"/>
                    <a:pt x="1068610" y="2216453"/>
                    <a:pt x="1069424" y="2218082"/>
                  </a:cubicBezTo>
                  <a:cubicBezTo>
                    <a:pt x="1070239" y="2218897"/>
                    <a:pt x="1071054" y="2219712"/>
                    <a:pt x="1071868" y="2220526"/>
                  </a:cubicBezTo>
                  <a:cubicBezTo>
                    <a:pt x="1070239" y="2220526"/>
                    <a:pt x="1067795" y="2222155"/>
                    <a:pt x="1066166" y="2222970"/>
                  </a:cubicBezTo>
                  <a:close/>
                  <a:moveTo>
                    <a:pt x="1075126" y="2204236"/>
                  </a:moveTo>
                  <a:cubicBezTo>
                    <a:pt x="1074311" y="2204236"/>
                    <a:pt x="1074311" y="2205051"/>
                    <a:pt x="1073497" y="2205865"/>
                  </a:cubicBezTo>
                  <a:cubicBezTo>
                    <a:pt x="1075940" y="2201793"/>
                    <a:pt x="1078384" y="2197720"/>
                    <a:pt x="1080828" y="2193648"/>
                  </a:cubicBezTo>
                  <a:cubicBezTo>
                    <a:pt x="1082456" y="2192019"/>
                    <a:pt x="1084900" y="2190390"/>
                    <a:pt x="1086529" y="2188761"/>
                  </a:cubicBezTo>
                  <a:cubicBezTo>
                    <a:pt x="1086529" y="2189575"/>
                    <a:pt x="1085714" y="2191204"/>
                    <a:pt x="1085714" y="2192019"/>
                  </a:cubicBezTo>
                  <a:cubicBezTo>
                    <a:pt x="1087343" y="2190390"/>
                    <a:pt x="1088972" y="2188761"/>
                    <a:pt x="1090601" y="2187132"/>
                  </a:cubicBezTo>
                  <a:cubicBezTo>
                    <a:pt x="1090601" y="2188761"/>
                    <a:pt x="1090601" y="2191204"/>
                    <a:pt x="1088158" y="2192834"/>
                  </a:cubicBezTo>
                  <a:cubicBezTo>
                    <a:pt x="1084900" y="2195277"/>
                    <a:pt x="1081642" y="2198535"/>
                    <a:pt x="1079198" y="2201793"/>
                  </a:cubicBezTo>
                  <a:cubicBezTo>
                    <a:pt x="1078384" y="2202607"/>
                    <a:pt x="1076755" y="2203422"/>
                    <a:pt x="1075126" y="2204236"/>
                  </a:cubicBezTo>
                  <a:close/>
                  <a:moveTo>
                    <a:pt x="1082456" y="2201793"/>
                  </a:moveTo>
                  <a:cubicBezTo>
                    <a:pt x="1082456" y="2201793"/>
                    <a:pt x="1083271" y="2201793"/>
                    <a:pt x="1083271" y="2200978"/>
                  </a:cubicBezTo>
                  <a:cubicBezTo>
                    <a:pt x="1086529" y="2198535"/>
                    <a:pt x="1088972" y="2196091"/>
                    <a:pt x="1093045" y="2196906"/>
                  </a:cubicBezTo>
                  <a:cubicBezTo>
                    <a:pt x="1093859" y="2196906"/>
                    <a:pt x="1093859" y="2196906"/>
                    <a:pt x="1094673" y="2196906"/>
                  </a:cubicBezTo>
                  <a:cubicBezTo>
                    <a:pt x="1094673" y="2196906"/>
                    <a:pt x="1093859" y="2197720"/>
                    <a:pt x="1093045" y="2197720"/>
                  </a:cubicBezTo>
                  <a:cubicBezTo>
                    <a:pt x="1091416" y="2199349"/>
                    <a:pt x="1088972" y="2200978"/>
                    <a:pt x="1087343" y="2202607"/>
                  </a:cubicBezTo>
                  <a:cubicBezTo>
                    <a:pt x="1086529" y="2201793"/>
                    <a:pt x="1084900" y="2200978"/>
                    <a:pt x="1082456" y="2201793"/>
                  </a:cubicBezTo>
                  <a:close/>
                  <a:moveTo>
                    <a:pt x="1092230" y="2207494"/>
                  </a:moveTo>
                  <a:cubicBezTo>
                    <a:pt x="1091416" y="2207494"/>
                    <a:pt x="1091416" y="2208309"/>
                    <a:pt x="1090601" y="2208309"/>
                  </a:cubicBezTo>
                  <a:cubicBezTo>
                    <a:pt x="1090601" y="2206680"/>
                    <a:pt x="1090601" y="2205865"/>
                    <a:pt x="1089787" y="2204236"/>
                  </a:cubicBezTo>
                  <a:cubicBezTo>
                    <a:pt x="1091416" y="2202607"/>
                    <a:pt x="1093045" y="2200978"/>
                    <a:pt x="1096303" y="2200978"/>
                  </a:cubicBezTo>
                  <a:cubicBezTo>
                    <a:pt x="1094673" y="2203422"/>
                    <a:pt x="1093859" y="2205051"/>
                    <a:pt x="1092230" y="2207494"/>
                  </a:cubicBezTo>
                  <a:close/>
                  <a:moveTo>
                    <a:pt x="1108520" y="2171657"/>
                  </a:moveTo>
                  <a:cubicBezTo>
                    <a:pt x="1108520" y="2171657"/>
                    <a:pt x="1108520" y="2172471"/>
                    <a:pt x="1108520" y="2171657"/>
                  </a:cubicBezTo>
                  <a:cubicBezTo>
                    <a:pt x="1106891" y="2173286"/>
                    <a:pt x="1105262" y="2174915"/>
                    <a:pt x="1103633" y="2175729"/>
                  </a:cubicBezTo>
                  <a:cubicBezTo>
                    <a:pt x="1101190" y="2177358"/>
                    <a:pt x="1099561" y="2178987"/>
                    <a:pt x="1097117" y="2180616"/>
                  </a:cubicBezTo>
                  <a:cubicBezTo>
                    <a:pt x="1099561" y="2176544"/>
                    <a:pt x="1102004" y="2173286"/>
                    <a:pt x="1104447" y="2168399"/>
                  </a:cubicBezTo>
                  <a:cubicBezTo>
                    <a:pt x="1104447" y="2169213"/>
                    <a:pt x="1105262" y="2169213"/>
                    <a:pt x="1105262" y="2170028"/>
                  </a:cubicBezTo>
                  <a:cubicBezTo>
                    <a:pt x="1105262" y="2166770"/>
                    <a:pt x="1106076" y="2165141"/>
                    <a:pt x="1109335" y="2165141"/>
                  </a:cubicBezTo>
                  <a:cubicBezTo>
                    <a:pt x="1110149" y="2164326"/>
                    <a:pt x="1110963" y="2163512"/>
                    <a:pt x="1111778" y="2163512"/>
                  </a:cubicBezTo>
                  <a:cubicBezTo>
                    <a:pt x="1110149" y="2165141"/>
                    <a:pt x="1108520" y="2166770"/>
                    <a:pt x="1106891" y="2168399"/>
                  </a:cubicBezTo>
                  <a:cubicBezTo>
                    <a:pt x="1106891" y="2169213"/>
                    <a:pt x="1107706" y="2170842"/>
                    <a:pt x="1108520" y="2171657"/>
                  </a:cubicBezTo>
                  <a:close/>
                  <a:moveTo>
                    <a:pt x="1130511" y="2176544"/>
                  </a:moveTo>
                  <a:cubicBezTo>
                    <a:pt x="1130511" y="2176544"/>
                    <a:pt x="1130511" y="2175729"/>
                    <a:pt x="1130511" y="2175729"/>
                  </a:cubicBezTo>
                  <a:cubicBezTo>
                    <a:pt x="1132140" y="2174915"/>
                    <a:pt x="1133769" y="2173286"/>
                    <a:pt x="1134584" y="2172471"/>
                  </a:cubicBezTo>
                  <a:cubicBezTo>
                    <a:pt x="1134584" y="2172471"/>
                    <a:pt x="1134584" y="2172471"/>
                    <a:pt x="1134584" y="2172471"/>
                  </a:cubicBezTo>
                  <a:cubicBezTo>
                    <a:pt x="1134584" y="2174915"/>
                    <a:pt x="1132955" y="2176544"/>
                    <a:pt x="1130511" y="2176544"/>
                  </a:cubicBezTo>
                  <a:close/>
                  <a:moveTo>
                    <a:pt x="1150873" y="2165141"/>
                  </a:moveTo>
                  <a:cubicBezTo>
                    <a:pt x="1148430" y="2166770"/>
                    <a:pt x="1145987" y="2168399"/>
                    <a:pt x="1143543" y="2170028"/>
                  </a:cubicBezTo>
                  <a:cubicBezTo>
                    <a:pt x="1143543" y="2168399"/>
                    <a:pt x="1145172" y="2166770"/>
                    <a:pt x="1146801" y="2165141"/>
                  </a:cubicBezTo>
                  <a:cubicBezTo>
                    <a:pt x="1148430" y="2164326"/>
                    <a:pt x="1150059" y="2163512"/>
                    <a:pt x="1151688" y="2162697"/>
                  </a:cubicBezTo>
                  <a:cubicBezTo>
                    <a:pt x="1151688" y="2162697"/>
                    <a:pt x="1152502" y="2162697"/>
                    <a:pt x="1152502" y="2162697"/>
                  </a:cubicBezTo>
                  <a:cubicBezTo>
                    <a:pt x="1152502" y="2163512"/>
                    <a:pt x="1151688" y="2165141"/>
                    <a:pt x="1150873" y="2165141"/>
                  </a:cubicBezTo>
                  <a:close/>
                  <a:moveTo>
                    <a:pt x="1180195" y="2207494"/>
                  </a:moveTo>
                  <a:cubicBezTo>
                    <a:pt x="1181824" y="2206680"/>
                    <a:pt x="1183453" y="2205865"/>
                    <a:pt x="1184267" y="2205865"/>
                  </a:cubicBezTo>
                  <a:cubicBezTo>
                    <a:pt x="1184267" y="2208309"/>
                    <a:pt x="1182639" y="2209938"/>
                    <a:pt x="1180195" y="2207494"/>
                  </a:cubicBezTo>
                  <a:close/>
                  <a:moveTo>
                    <a:pt x="1193227" y="2031565"/>
                  </a:moveTo>
                  <a:cubicBezTo>
                    <a:pt x="1192412" y="2032379"/>
                    <a:pt x="1189969" y="2032379"/>
                    <a:pt x="1188340" y="2033193"/>
                  </a:cubicBezTo>
                  <a:cubicBezTo>
                    <a:pt x="1189154" y="2030750"/>
                    <a:pt x="1189969" y="2028307"/>
                    <a:pt x="1191598" y="2025863"/>
                  </a:cubicBezTo>
                  <a:cubicBezTo>
                    <a:pt x="1195670" y="2024234"/>
                    <a:pt x="1199743" y="2021791"/>
                    <a:pt x="1203815" y="2019347"/>
                  </a:cubicBezTo>
                  <a:cubicBezTo>
                    <a:pt x="1204629" y="2018533"/>
                    <a:pt x="1204629" y="2018533"/>
                    <a:pt x="1205444" y="2017718"/>
                  </a:cubicBezTo>
                  <a:cubicBezTo>
                    <a:pt x="1202186" y="2023420"/>
                    <a:pt x="1198114" y="2027492"/>
                    <a:pt x="1193227" y="2031565"/>
                  </a:cubicBezTo>
                  <a:close/>
                  <a:moveTo>
                    <a:pt x="1195670" y="2195277"/>
                  </a:moveTo>
                  <a:cubicBezTo>
                    <a:pt x="1198114" y="2190390"/>
                    <a:pt x="1203815" y="2189575"/>
                    <a:pt x="1207888" y="2187946"/>
                  </a:cubicBezTo>
                  <a:cubicBezTo>
                    <a:pt x="1208702" y="2187946"/>
                    <a:pt x="1208702" y="2187946"/>
                    <a:pt x="1209517" y="2187132"/>
                  </a:cubicBezTo>
                  <a:cubicBezTo>
                    <a:pt x="1204629" y="2190390"/>
                    <a:pt x="1200557" y="2193648"/>
                    <a:pt x="1195670" y="2195277"/>
                  </a:cubicBezTo>
                  <a:close/>
                  <a:moveTo>
                    <a:pt x="1235580" y="2177358"/>
                  </a:moveTo>
                  <a:cubicBezTo>
                    <a:pt x="1234766" y="2177358"/>
                    <a:pt x="1234766" y="2177358"/>
                    <a:pt x="1233951" y="2177358"/>
                  </a:cubicBezTo>
                  <a:cubicBezTo>
                    <a:pt x="1233951" y="2176544"/>
                    <a:pt x="1233951" y="2175729"/>
                    <a:pt x="1233951" y="2174915"/>
                  </a:cubicBezTo>
                  <a:cubicBezTo>
                    <a:pt x="1238024" y="2173286"/>
                    <a:pt x="1242096" y="2171657"/>
                    <a:pt x="1246169" y="2170028"/>
                  </a:cubicBezTo>
                  <a:cubicBezTo>
                    <a:pt x="1246983" y="2170028"/>
                    <a:pt x="1248612" y="2170842"/>
                    <a:pt x="1250241" y="2170842"/>
                  </a:cubicBezTo>
                  <a:cubicBezTo>
                    <a:pt x="1243725" y="2174100"/>
                    <a:pt x="1239653" y="2175729"/>
                    <a:pt x="1235580" y="2177358"/>
                  </a:cubicBezTo>
                  <a:close/>
                  <a:moveTo>
                    <a:pt x="2639760" y="1732647"/>
                  </a:moveTo>
                  <a:cubicBezTo>
                    <a:pt x="2638946" y="1734276"/>
                    <a:pt x="2640575" y="1735090"/>
                    <a:pt x="2643832" y="1736719"/>
                  </a:cubicBezTo>
                  <a:cubicBezTo>
                    <a:pt x="2645461" y="1735905"/>
                    <a:pt x="2646276" y="1735090"/>
                    <a:pt x="2647905" y="1734276"/>
                  </a:cubicBezTo>
                  <a:cubicBezTo>
                    <a:pt x="2647905" y="1734276"/>
                    <a:pt x="2647905" y="1734276"/>
                    <a:pt x="2647090" y="1735090"/>
                  </a:cubicBezTo>
                  <a:cubicBezTo>
                    <a:pt x="2646276" y="1735905"/>
                    <a:pt x="2646276" y="1735905"/>
                    <a:pt x="2645461" y="1736719"/>
                  </a:cubicBezTo>
                  <a:cubicBezTo>
                    <a:pt x="2644647" y="1736719"/>
                    <a:pt x="2643832" y="1736719"/>
                    <a:pt x="2643832" y="1736719"/>
                  </a:cubicBezTo>
                  <a:cubicBezTo>
                    <a:pt x="2643832" y="1736719"/>
                    <a:pt x="2643832" y="1736719"/>
                    <a:pt x="2643832" y="1736719"/>
                  </a:cubicBezTo>
                  <a:cubicBezTo>
                    <a:pt x="2643832" y="1736719"/>
                    <a:pt x="2643832" y="1736719"/>
                    <a:pt x="2643832" y="1736719"/>
                  </a:cubicBezTo>
                  <a:cubicBezTo>
                    <a:pt x="2639760" y="1736719"/>
                    <a:pt x="2635687" y="1737534"/>
                    <a:pt x="2631615" y="1737534"/>
                  </a:cubicBezTo>
                  <a:cubicBezTo>
                    <a:pt x="2629986" y="1739163"/>
                    <a:pt x="2629172" y="1740792"/>
                    <a:pt x="2627543" y="1741606"/>
                  </a:cubicBezTo>
                  <a:cubicBezTo>
                    <a:pt x="2627543" y="1741606"/>
                    <a:pt x="2627543" y="1741606"/>
                    <a:pt x="2627543" y="1741606"/>
                  </a:cubicBezTo>
                  <a:cubicBezTo>
                    <a:pt x="2627543" y="1741606"/>
                    <a:pt x="2627543" y="1741606"/>
                    <a:pt x="2627543" y="1741606"/>
                  </a:cubicBezTo>
                  <a:cubicBezTo>
                    <a:pt x="2625913" y="1739977"/>
                    <a:pt x="2624285" y="1738348"/>
                    <a:pt x="2622656" y="1736719"/>
                  </a:cubicBezTo>
                  <a:cubicBezTo>
                    <a:pt x="2621841" y="1738348"/>
                    <a:pt x="2621027" y="1739163"/>
                    <a:pt x="2620212" y="1739977"/>
                  </a:cubicBezTo>
                  <a:cubicBezTo>
                    <a:pt x="2618583" y="1737534"/>
                    <a:pt x="2617769" y="1735905"/>
                    <a:pt x="2616140" y="1733461"/>
                  </a:cubicBezTo>
                  <a:cubicBezTo>
                    <a:pt x="2623470" y="1735905"/>
                    <a:pt x="2631615" y="1734276"/>
                    <a:pt x="2639760" y="1732647"/>
                  </a:cubicBezTo>
                  <a:close/>
                  <a:moveTo>
                    <a:pt x="2590891" y="1739163"/>
                  </a:moveTo>
                  <a:cubicBezTo>
                    <a:pt x="2595778" y="1739163"/>
                    <a:pt x="2599850" y="1739163"/>
                    <a:pt x="2604737" y="1739977"/>
                  </a:cubicBezTo>
                  <a:cubicBezTo>
                    <a:pt x="2606366" y="1739977"/>
                    <a:pt x="2607995" y="1743235"/>
                    <a:pt x="2609624" y="1743235"/>
                  </a:cubicBezTo>
                  <a:cubicBezTo>
                    <a:pt x="2612068" y="1743235"/>
                    <a:pt x="2614511" y="1743235"/>
                    <a:pt x="2616954" y="1742421"/>
                  </a:cubicBezTo>
                  <a:cubicBezTo>
                    <a:pt x="2613696" y="1744864"/>
                    <a:pt x="2610438" y="1746493"/>
                    <a:pt x="2606366" y="1745679"/>
                  </a:cubicBezTo>
                  <a:cubicBezTo>
                    <a:pt x="2601479" y="1748937"/>
                    <a:pt x="2596592" y="1748937"/>
                    <a:pt x="2591705" y="1748937"/>
                  </a:cubicBezTo>
                  <a:cubicBezTo>
                    <a:pt x="2591705" y="1748937"/>
                    <a:pt x="2591705" y="1748937"/>
                    <a:pt x="2591705" y="1748122"/>
                  </a:cubicBezTo>
                  <a:cubicBezTo>
                    <a:pt x="2589261" y="1747308"/>
                    <a:pt x="2586818" y="1747308"/>
                    <a:pt x="2584375" y="1748122"/>
                  </a:cubicBezTo>
                  <a:cubicBezTo>
                    <a:pt x="2586004" y="1747308"/>
                    <a:pt x="2586818" y="1745679"/>
                    <a:pt x="2586818" y="1743235"/>
                  </a:cubicBezTo>
                  <a:cubicBezTo>
                    <a:pt x="2582746" y="1741606"/>
                    <a:pt x="2578673" y="1743235"/>
                    <a:pt x="2574601" y="1744050"/>
                  </a:cubicBezTo>
                  <a:cubicBezTo>
                    <a:pt x="2577859" y="1739977"/>
                    <a:pt x="2584375" y="1739163"/>
                    <a:pt x="2590891" y="1739163"/>
                  </a:cubicBezTo>
                  <a:close/>
                  <a:moveTo>
                    <a:pt x="2537949" y="1732647"/>
                  </a:moveTo>
                  <a:cubicBezTo>
                    <a:pt x="2537949" y="1733461"/>
                    <a:pt x="2537134" y="1734276"/>
                    <a:pt x="2537134" y="1735905"/>
                  </a:cubicBezTo>
                  <a:cubicBezTo>
                    <a:pt x="2535505" y="1735090"/>
                    <a:pt x="2533876" y="1734276"/>
                    <a:pt x="2532247" y="1733461"/>
                  </a:cubicBezTo>
                  <a:cubicBezTo>
                    <a:pt x="2533876" y="1733461"/>
                    <a:pt x="2535505" y="1732647"/>
                    <a:pt x="2537949" y="1732647"/>
                  </a:cubicBezTo>
                  <a:close/>
                  <a:moveTo>
                    <a:pt x="2465459" y="1729389"/>
                  </a:moveTo>
                  <a:cubicBezTo>
                    <a:pt x="2469532" y="1726945"/>
                    <a:pt x="2473604" y="1726945"/>
                    <a:pt x="2476048" y="1730203"/>
                  </a:cubicBezTo>
                  <a:cubicBezTo>
                    <a:pt x="2471975" y="1731018"/>
                    <a:pt x="2468717" y="1731018"/>
                    <a:pt x="2465459" y="1729389"/>
                  </a:cubicBezTo>
                  <a:cubicBezTo>
                    <a:pt x="2464645" y="1729389"/>
                    <a:pt x="2464645" y="1729389"/>
                    <a:pt x="2465459" y="1729389"/>
                  </a:cubicBezTo>
                  <a:close/>
                  <a:moveTo>
                    <a:pt x="2436138" y="1745679"/>
                  </a:moveTo>
                  <a:cubicBezTo>
                    <a:pt x="2437767" y="1745679"/>
                    <a:pt x="2438581" y="1746493"/>
                    <a:pt x="2440210" y="1746493"/>
                  </a:cubicBezTo>
                  <a:cubicBezTo>
                    <a:pt x="2437767" y="1748937"/>
                    <a:pt x="2436138" y="1749751"/>
                    <a:pt x="2432880" y="1749751"/>
                  </a:cubicBezTo>
                  <a:cubicBezTo>
                    <a:pt x="2427993" y="1748937"/>
                    <a:pt x="2425549" y="1751380"/>
                    <a:pt x="2422291" y="1754638"/>
                  </a:cubicBezTo>
                  <a:cubicBezTo>
                    <a:pt x="2421477" y="1753009"/>
                    <a:pt x="2419848" y="1752195"/>
                    <a:pt x="2418219" y="1752195"/>
                  </a:cubicBezTo>
                  <a:cubicBezTo>
                    <a:pt x="2424735" y="1751380"/>
                    <a:pt x="2430436" y="1749751"/>
                    <a:pt x="2436138" y="1745679"/>
                  </a:cubicBezTo>
                  <a:close/>
                  <a:moveTo>
                    <a:pt x="2400300" y="1772557"/>
                  </a:moveTo>
                  <a:cubicBezTo>
                    <a:pt x="2406816" y="1771742"/>
                    <a:pt x="2412518" y="1771742"/>
                    <a:pt x="2419033" y="1771742"/>
                  </a:cubicBezTo>
                  <a:cubicBezTo>
                    <a:pt x="2419033" y="1774186"/>
                    <a:pt x="2417404" y="1775815"/>
                    <a:pt x="2414961" y="1776629"/>
                  </a:cubicBezTo>
                  <a:cubicBezTo>
                    <a:pt x="2414961" y="1776629"/>
                    <a:pt x="2414146" y="1776629"/>
                    <a:pt x="2414146" y="1777444"/>
                  </a:cubicBezTo>
                  <a:cubicBezTo>
                    <a:pt x="2410889" y="1778258"/>
                    <a:pt x="2402744" y="1777444"/>
                    <a:pt x="2397856" y="1775815"/>
                  </a:cubicBezTo>
                  <a:cubicBezTo>
                    <a:pt x="2397856" y="1775815"/>
                    <a:pt x="2397856" y="1775000"/>
                    <a:pt x="2397856" y="1775000"/>
                  </a:cubicBezTo>
                  <a:cubicBezTo>
                    <a:pt x="2397856" y="1773371"/>
                    <a:pt x="2398671" y="1772557"/>
                    <a:pt x="2400300" y="1772557"/>
                  </a:cubicBezTo>
                  <a:close/>
                  <a:moveTo>
                    <a:pt x="2820577" y="1466309"/>
                  </a:moveTo>
                  <a:cubicBezTo>
                    <a:pt x="2822206" y="1469567"/>
                    <a:pt x="2820577" y="1472825"/>
                    <a:pt x="2818133" y="1476897"/>
                  </a:cubicBezTo>
                  <a:cubicBezTo>
                    <a:pt x="2818133" y="1475268"/>
                    <a:pt x="2817318" y="1473639"/>
                    <a:pt x="2817318" y="1471196"/>
                  </a:cubicBezTo>
                  <a:cubicBezTo>
                    <a:pt x="2818948" y="1470381"/>
                    <a:pt x="2819762" y="1468752"/>
                    <a:pt x="2820577" y="1466309"/>
                  </a:cubicBezTo>
                  <a:close/>
                  <a:moveTo>
                    <a:pt x="2815690" y="1445132"/>
                  </a:moveTo>
                  <a:cubicBezTo>
                    <a:pt x="2814875" y="1448390"/>
                    <a:pt x="2814061" y="1450019"/>
                    <a:pt x="2813246" y="1450834"/>
                  </a:cubicBezTo>
                  <a:cubicBezTo>
                    <a:pt x="2812432" y="1450019"/>
                    <a:pt x="2812432" y="1450019"/>
                    <a:pt x="2811617" y="1449205"/>
                  </a:cubicBezTo>
                  <a:cubicBezTo>
                    <a:pt x="2813246" y="1447576"/>
                    <a:pt x="2814875" y="1446761"/>
                    <a:pt x="2815690" y="1445132"/>
                  </a:cubicBezTo>
                  <a:close/>
                  <a:moveTo>
                    <a:pt x="2779038" y="1423955"/>
                  </a:moveTo>
                  <a:cubicBezTo>
                    <a:pt x="2779852" y="1425584"/>
                    <a:pt x="2780666" y="1426399"/>
                    <a:pt x="2781481" y="1426399"/>
                  </a:cubicBezTo>
                  <a:cubicBezTo>
                    <a:pt x="2779852" y="1429657"/>
                    <a:pt x="2777409" y="1432915"/>
                    <a:pt x="2774151" y="1435358"/>
                  </a:cubicBezTo>
                  <a:cubicBezTo>
                    <a:pt x="2774151" y="1435358"/>
                    <a:pt x="2774151" y="1435358"/>
                    <a:pt x="2774151" y="1434544"/>
                  </a:cubicBezTo>
                  <a:cubicBezTo>
                    <a:pt x="2772522" y="1435358"/>
                    <a:pt x="2770893" y="1435358"/>
                    <a:pt x="2769264" y="1436173"/>
                  </a:cubicBezTo>
                  <a:cubicBezTo>
                    <a:pt x="2771707" y="1432100"/>
                    <a:pt x="2774965" y="1428028"/>
                    <a:pt x="2779038" y="1423955"/>
                  </a:cubicBezTo>
                  <a:close/>
                  <a:moveTo>
                    <a:pt x="2731797" y="1433729"/>
                  </a:moveTo>
                  <a:cubicBezTo>
                    <a:pt x="2732612" y="1432915"/>
                    <a:pt x="2734241" y="1432915"/>
                    <a:pt x="2735055" y="1432100"/>
                  </a:cubicBezTo>
                  <a:cubicBezTo>
                    <a:pt x="2737499" y="1431286"/>
                    <a:pt x="2739942" y="1429657"/>
                    <a:pt x="2742386" y="1428028"/>
                  </a:cubicBezTo>
                  <a:cubicBezTo>
                    <a:pt x="2745643" y="1426399"/>
                    <a:pt x="2748902" y="1425584"/>
                    <a:pt x="2752159" y="1423955"/>
                  </a:cubicBezTo>
                  <a:cubicBezTo>
                    <a:pt x="2752974" y="1423955"/>
                    <a:pt x="2753788" y="1423955"/>
                    <a:pt x="2754603" y="1423955"/>
                  </a:cubicBezTo>
                  <a:cubicBezTo>
                    <a:pt x="2754603" y="1426399"/>
                    <a:pt x="2752974" y="1428028"/>
                    <a:pt x="2750531" y="1429657"/>
                  </a:cubicBezTo>
                  <a:cubicBezTo>
                    <a:pt x="2744829" y="1432915"/>
                    <a:pt x="2739128" y="1436987"/>
                    <a:pt x="2733426" y="1440245"/>
                  </a:cubicBezTo>
                  <a:cubicBezTo>
                    <a:pt x="2731797" y="1441060"/>
                    <a:pt x="2730983" y="1441874"/>
                    <a:pt x="2729354" y="1442689"/>
                  </a:cubicBezTo>
                  <a:lnTo>
                    <a:pt x="2729354" y="1442689"/>
                  </a:lnTo>
                  <a:cubicBezTo>
                    <a:pt x="2730168" y="1440245"/>
                    <a:pt x="2730983" y="1436987"/>
                    <a:pt x="2731797" y="1433729"/>
                  </a:cubicBezTo>
                  <a:close/>
                  <a:moveTo>
                    <a:pt x="2923202" y="1241510"/>
                  </a:moveTo>
                  <a:cubicBezTo>
                    <a:pt x="2924831" y="1240695"/>
                    <a:pt x="2926460" y="1239881"/>
                    <a:pt x="2928089" y="1239881"/>
                  </a:cubicBezTo>
                  <a:cubicBezTo>
                    <a:pt x="2927275" y="1241510"/>
                    <a:pt x="2926460" y="1243139"/>
                    <a:pt x="2924831" y="1243953"/>
                  </a:cubicBezTo>
                  <a:cubicBezTo>
                    <a:pt x="2924831" y="1243953"/>
                    <a:pt x="2923202" y="1243953"/>
                    <a:pt x="2922388" y="1243139"/>
                  </a:cubicBezTo>
                  <a:cubicBezTo>
                    <a:pt x="2923202" y="1243139"/>
                    <a:pt x="2923202" y="1241510"/>
                    <a:pt x="2923202" y="1241510"/>
                  </a:cubicBezTo>
                  <a:close/>
                  <a:moveTo>
                    <a:pt x="2370978" y="602950"/>
                  </a:moveTo>
                  <a:cubicBezTo>
                    <a:pt x="2373422" y="602950"/>
                    <a:pt x="2375051" y="605394"/>
                    <a:pt x="2375866" y="607837"/>
                  </a:cubicBezTo>
                  <a:cubicBezTo>
                    <a:pt x="2374237" y="608652"/>
                    <a:pt x="2372607" y="610281"/>
                    <a:pt x="2370978" y="608652"/>
                  </a:cubicBezTo>
                  <a:cubicBezTo>
                    <a:pt x="2369349" y="606208"/>
                    <a:pt x="2370164" y="604579"/>
                    <a:pt x="2370978" y="602950"/>
                  </a:cubicBezTo>
                  <a:close/>
                  <a:moveTo>
                    <a:pt x="2362833" y="585846"/>
                  </a:moveTo>
                  <a:cubicBezTo>
                    <a:pt x="2364463" y="585031"/>
                    <a:pt x="2366092" y="584217"/>
                    <a:pt x="2367721" y="582588"/>
                  </a:cubicBezTo>
                  <a:cubicBezTo>
                    <a:pt x="2368535" y="585031"/>
                    <a:pt x="2369349" y="587475"/>
                    <a:pt x="2369349" y="589104"/>
                  </a:cubicBezTo>
                  <a:cubicBezTo>
                    <a:pt x="2367721" y="593176"/>
                    <a:pt x="2366092" y="595620"/>
                    <a:pt x="2365277" y="599692"/>
                  </a:cubicBezTo>
                  <a:cubicBezTo>
                    <a:pt x="2362833" y="598063"/>
                    <a:pt x="2363648" y="595620"/>
                    <a:pt x="2363648" y="593176"/>
                  </a:cubicBezTo>
                  <a:cubicBezTo>
                    <a:pt x="2362833" y="590733"/>
                    <a:pt x="2362833" y="588289"/>
                    <a:pt x="2362833" y="585846"/>
                  </a:cubicBezTo>
                  <a:close/>
                  <a:moveTo>
                    <a:pt x="2326996" y="591547"/>
                  </a:moveTo>
                  <a:cubicBezTo>
                    <a:pt x="2331069" y="593991"/>
                    <a:pt x="2331069" y="593991"/>
                    <a:pt x="2331883" y="598878"/>
                  </a:cubicBezTo>
                  <a:cubicBezTo>
                    <a:pt x="2326181" y="593176"/>
                    <a:pt x="2326181" y="593176"/>
                    <a:pt x="2326996" y="591547"/>
                  </a:cubicBezTo>
                  <a:close/>
                  <a:moveTo>
                    <a:pt x="2645461" y="1250469"/>
                  </a:moveTo>
                  <a:cubicBezTo>
                    <a:pt x="2648720" y="1249655"/>
                    <a:pt x="2651163" y="1249655"/>
                    <a:pt x="2654421" y="1248840"/>
                  </a:cubicBezTo>
                  <a:cubicBezTo>
                    <a:pt x="2654421" y="1250469"/>
                    <a:pt x="2654421" y="1251284"/>
                    <a:pt x="2654421" y="1252913"/>
                  </a:cubicBezTo>
                  <a:cubicBezTo>
                    <a:pt x="2654421" y="1252913"/>
                    <a:pt x="2654421" y="1253727"/>
                    <a:pt x="2655235" y="1253727"/>
                  </a:cubicBezTo>
                  <a:cubicBezTo>
                    <a:pt x="2651163" y="1254542"/>
                    <a:pt x="2647090" y="1256171"/>
                    <a:pt x="2642203" y="1253727"/>
                  </a:cubicBezTo>
                  <a:cubicBezTo>
                    <a:pt x="2643832" y="1252098"/>
                    <a:pt x="2644647" y="1250469"/>
                    <a:pt x="2645461" y="1250469"/>
                  </a:cubicBezTo>
                  <a:close/>
                  <a:moveTo>
                    <a:pt x="2449170" y="516614"/>
                  </a:moveTo>
                  <a:cubicBezTo>
                    <a:pt x="2451613" y="522316"/>
                    <a:pt x="2458943" y="519872"/>
                    <a:pt x="2461387" y="523130"/>
                  </a:cubicBezTo>
                  <a:cubicBezTo>
                    <a:pt x="2462201" y="526388"/>
                    <a:pt x="2463016" y="528832"/>
                    <a:pt x="2463830" y="532090"/>
                  </a:cubicBezTo>
                  <a:cubicBezTo>
                    <a:pt x="2458129" y="529646"/>
                    <a:pt x="2451613" y="528832"/>
                    <a:pt x="2445912" y="528832"/>
                  </a:cubicBezTo>
                  <a:cubicBezTo>
                    <a:pt x="2445912" y="527203"/>
                    <a:pt x="2445097" y="525574"/>
                    <a:pt x="2443468" y="523945"/>
                  </a:cubicBezTo>
                  <a:cubicBezTo>
                    <a:pt x="2441025" y="522316"/>
                    <a:pt x="2438581" y="519872"/>
                    <a:pt x="2434508" y="516614"/>
                  </a:cubicBezTo>
                  <a:cubicBezTo>
                    <a:pt x="2441025" y="516614"/>
                    <a:pt x="2445097" y="523945"/>
                    <a:pt x="2449170" y="516614"/>
                  </a:cubicBezTo>
                  <a:close/>
                  <a:moveTo>
                    <a:pt x="2456500" y="545121"/>
                  </a:moveTo>
                  <a:cubicBezTo>
                    <a:pt x="2456500" y="544307"/>
                    <a:pt x="2455685" y="543493"/>
                    <a:pt x="2455685" y="542678"/>
                  </a:cubicBezTo>
                  <a:cubicBezTo>
                    <a:pt x="2458129" y="542678"/>
                    <a:pt x="2460572" y="542678"/>
                    <a:pt x="2462201" y="542678"/>
                  </a:cubicBezTo>
                  <a:cubicBezTo>
                    <a:pt x="2462201" y="542678"/>
                    <a:pt x="2462201" y="542678"/>
                    <a:pt x="2462201" y="543493"/>
                  </a:cubicBezTo>
                  <a:cubicBezTo>
                    <a:pt x="2462201" y="544307"/>
                    <a:pt x="2462201" y="545121"/>
                    <a:pt x="2462201" y="545121"/>
                  </a:cubicBezTo>
                  <a:cubicBezTo>
                    <a:pt x="2459758" y="545121"/>
                    <a:pt x="2458129" y="545121"/>
                    <a:pt x="2456500" y="545121"/>
                  </a:cubicBezTo>
                  <a:close/>
                  <a:moveTo>
                    <a:pt x="2459758" y="558153"/>
                  </a:moveTo>
                  <a:cubicBezTo>
                    <a:pt x="2458129" y="560597"/>
                    <a:pt x="2457315" y="563855"/>
                    <a:pt x="2455685" y="566298"/>
                  </a:cubicBezTo>
                  <a:cubicBezTo>
                    <a:pt x="2454871" y="566298"/>
                    <a:pt x="2454871" y="565484"/>
                    <a:pt x="2454056" y="565484"/>
                  </a:cubicBezTo>
                  <a:cubicBezTo>
                    <a:pt x="2455685" y="563040"/>
                    <a:pt x="2456500" y="559782"/>
                    <a:pt x="2458129" y="557339"/>
                  </a:cubicBezTo>
                  <a:cubicBezTo>
                    <a:pt x="2458943" y="558153"/>
                    <a:pt x="2458943" y="558153"/>
                    <a:pt x="2459758" y="558153"/>
                  </a:cubicBezTo>
                  <a:close/>
                  <a:moveTo>
                    <a:pt x="2432065" y="568742"/>
                  </a:moveTo>
                  <a:cubicBezTo>
                    <a:pt x="2432065" y="568742"/>
                    <a:pt x="2431251" y="569556"/>
                    <a:pt x="2431251" y="569556"/>
                  </a:cubicBezTo>
                  <a:cubicBezTo>
                    <a:pt x="2425549" y="569556"/>
                    <a:pt x="2420663" y="570371"/>
                    <a:pt x="2414961" y="570371"/>
                  </a:cubicBezTo>
                  <a:cubicBezTo>
                    <a:pt x="2414961" y="568742"/>
                    <a:pt x="2414961" y="567113"/>
                    <a:pt x="2414961" y="564669"/>
                  </a:cubicBezTo>
                  <a:cubicBezTo>
                    <a:pt x="2417404" y="566298"/>
                    <a:pt x="2418219" y="567113"/>
                    <a:pt x="2419848" y="567927"/>
                  </a:cubicBezTo>
                  <a:cubicBezTo>
                    <a:pt x="2419848" y="565484"/>
                    <a:pt x="2419848" y="562226"/>
                    <a:pt x="2419033" y="560597"/>
                  </a:cubicBezTo>
                  <a:cubicBezTo>
                    <a:pt x="2423106" y="558968"/>
                    <a:pt x="2427178" y="558153"/>
                    <a:pt x="2431251" y="557339"/>
                  </a:cubicBezTo>
                  <a:cubicBezTo>
                    <a:pt x="2429622" y="559782"/>
                    <a:pt x="2428807" y="563040"/>
                    <a:pt x="2427178" y="565484"/>
                  </a:cubicBezTo>
                  <a:cubicBezTo>
                    <a:pt x="2429622" y="564669"/>
                    <a:pt x="2432065" y="563040"/>
                    <a:pt x="2433694" y="563040"/>
                  </a:cubicBezTo>
                  <a:cubicBezTo>
                    <a:pt x="2436952" y="562226"/>
                    <a:pt x="2435323" y="566298"/>
                    <a:pt x="2437767" y="567113"/>
                  </a:cubicBezTo>
                  <a:cubicBezTo>
                    <a:pt x="2438581" y="566298"/>
                    <a:pt x="2440210" y="564669"/>
                    <a:pt x="2440210" y="564669"/>
                  </a:cubicBezTo>
                  <a:cubicBezTo>
                    <a:pt x="2439396" y="562226"/>
                    <a:pt x="2437767" y="560597"/>
                    <a:pt x="2436138" y="558153"/>
                  </a:cubicBezTo>
                  <a:cubicBezTo>
                    <a:pt x="2436138" y="558153"/>
                    <a:pt x="2436952" y="557339"/>
                    <a:pt x="2436952" y="557339"/>
                  </a:cubicBezTo>
                  <a:cubicBezTo>
                    <a:pt x="2438581" y="557339"/>
                    <a:pt x="2440210" y="557339"/>
                    <a:pt x="2441839" y="557339"/>
                  </a:cubicBezTo>
                  <a:cubicBezTo>
                    <a:pt x="2441839" y="558153"/>
                    <a:pt x="2442653" y="558968"/>
                    <a:pt x="2442653" y="560597"/>
                  </a:cubicBezTo>
                  <a:cubicBezTo>
                    <a:pt x="2443468" y="560597"/>
                    <a:pt x="2445097" y="560597"/>
                    <a:pt x="2445912" y="559782"/>
                  </a:cubicBezTo>
                  <a:cubicBezTo>
                    <a:pt x="2446726" y="563040"/>
                    <a:pt x="2447541" y="565484"/>
                    <a:pt x="2448355" y="568742"/>
                  </a:cubicBezTo>
                  <a:cubicBezTo>
                    <a:pt x="2442653" y="568742"/>
                    <a:pt x="2436952" y="568742"/>
                    <a:pt x="2432065" y="569556"/>
                  </a:cubicBezTo>
                  <a:cubicBezTo>
                    <a:pt x="2432065" y="569556"/>
                    <a:pt x="2432065" y="568742"/>
                    <a:pt x="2432065" y="568742"/>
                  </a:cubicBezTo>
                  <a:cubicBezTo>
                    <a:pt x="2432880" y="568742"/>
                    <a:pt x="2432065" y="568742"/>
                    <a:pt x="2432065" y="568742"/>
                  </a:cubicBezTo>
                  <a:close/>
                  <a:moveTo>
                    <a:pt x="2431251" y="519872"/>
                  </a:moveTo>
                  <a:cubicBezTo>
                    <a:pt x="2432065" y="522316"/>
                    <a:pt x="2432065" y="524759"/>
                    <a:pt x="2432880" y="527203"/>
                  </a:cubicBezTo>
                  <a:cubicBezTo>
                    <a:pt x="2429622" y="527203"/>
                    <a:pt x="2427178" y="527203"/>
                    <a:pt x="2424735" y="527203"/>
                  </a:cubicBezTo>
                  <a:cubicBezTo>
                    <a:pt x="2424735" y="522316"/>
                    <a:pt x="2427178" y="521501"/>
                    <a:pt x="2431251" y="519872"/>
                  </a:cubicBezTo>
                  <a:close/>
                  <a:moveTo>
                    <a:pt x="2409259" y="542678"/>
                  </a:moveTo>
                  <a:cubicBezTo>
                    <a:pt x="2413332" y="547565"/>
                    <a:pt x="2416590" y="547565"/>
                    <a:pt x="2420663" y="545121"/>
                  </a:cubicBezTo>
                  <a:cubicBezTo>
                    <a:pt x="2420663" y="547565"/>
                    <a:pt x="2421477" y="548379"/>
                    <a:pt x="2423106" y="549194"/>
                  </a:cubicBezTo>
                  <a:cubicBezTo>
                    <a:pt x="2422291" y="549194"/>
                    <a:pt x="2421477" y="550008"/>
                    <a:pt x="2421477" y="550008"/>
                  </a:cubicBezTo>
                  <a:cubicBezTo>
                    <a:pt x="2419848" y="550823"/>
                    <a:pt x="2417404" y="551637"/>
                    <a:pt x="2415775" y="551637"/>
                  </a:cubicBezTo>
                  <a:cubicBezTo>
                    <a:pt x="2411703" y="551637"/>
                    <a:pt x="2406816" y="551637"/>
                    <a:pt x="2402744" y="551637"/>
                  </a:cubicBezTo>
                  <a:cubicBezTo>
                    <a:pt x="2401115" y="544307"/>
                    <a:pt x="2409259" y="548379"/>
                    <a:pt x="2409259" y="542678"/>
                  </a:cubicBezTo>
                  <a:close/>
                  <a:moveTo>
                    <a:pt x="2366092" y="469374"/>
                  </a:moveTo>
                  <a:cubicBezTo>
                    <a:pt x="2366906" y="469374"/>
                    <a:pt x="2368535" y="468559"/>
                    <a:pt x="2370164" y="468559"/>
                  </a:cubicBezTo>
                  <a:cubicBezTo>
                    <a:pt x="2370978" y="471003"/>
                    <a:pt x="2370978" y="473446"/>
                    <a:pt x="2371793" y="476704"/>
                  </a:cubicBezTo>
                  <a:cubicBezTo>
                    <a:pt x="2369349" y="474261"/>
                    <a:pt x="2366906" y="472632"/>
                    <a:pt x="2365277" y="471003"/>
                  </a:cubicBezTo>
                  <a:cubicBezTo>
                    <a:pt x="2365277" y="470189"/>
                    <a:pt x="2366092" y="469374"/>
                    <a:pt x="2366092" y="469374"/>
                  </a:cubicBezTo>
                  <a:close/>
                  <a:moveTo>
                    <a:pt x="2369349" y="568742"/>
                  </a:moveTo>
                  <a:cubicBezTo>
                    <a:pt x="2369349" y="569556"/>
                    <a:pt x="2369349" y="569556"/>
                    <a:pt x="2369349" y="570371"/>
                  </a:cubicBezTo>
                  <a:cubicBezTo>
                    <a:pt x="2370978" y="569556"/>
                    <a:pt x="2371793" y="569556"/>
                    <a:pt x="2373422" y="568742"/>
                  </a:cubicBezTo>
                  <a:cubicBezTo>
                    <a:pt x="2374237" y="571185"/>
                    <a:pt x="2374237" y="572814"/>
                    <a:pt x="2375051" y="574443"/>
                  </a:cubicBezTo>
                  <a:cubicBezTo>
                    <a:pt x="2379938" y="574443"/>
                    <a:pt x="2379938" y="571185"/>
                    <a:pt x="2379938" y="568742"/>
                  </a:cubicBezTo>
                  <a:cubicBezTo>
                    <a:pt x="2380752" y="568742"/>
                    <a:pt x="2381567" y="568742"/>
                    <a:pt x="2381567" y="568742"/>
                  </a:cubicBezTo>
                  <a:cubicBezTo>
                    <a:pt x="2382381" y="570371"/>
                    <a:pt x="2383196" y="572000"/>
                    <a:pt x="2384011" y="572814"/>
                  </a:cubicBezTo>
                  <a:cubicBezTo>
                    <a:pt x="2384825" y="573629"/>
                    <a:pt x="2385639" y="575258"/>
                    <a:pt x="2385639" y="576072"/>
                  </a:cubicBezTo>
                  <a:cubicBezTo>
                    <a:pt x="2385639" y="576072"/>
                    <a:pt x="2384825" y="576886"/>
                    <a:pt x="2384011" y="576886"/>
                  </a:cubicBezTo>
                  <a:cubicBezTo>
                    <a:pt x="2384825" y="576886"/>
                    <a:pt x="2384825" y="577701"/>
                    <a:pt x="2385639" y="577701"/>
                  </a:cubicBezTo>
                  <a:cubicBezTo>
                    <a:pt x="2385639" y="577701"/>
                    <a:pt x="2385639" y="578516"/>
                    <a:pt x="2385639" y="578516"/>
                  </a:cubicBezTo>
                  <a:cubicBezTo>
                    <a:pt x="2384825" y="580959"/>
                    <a:pt x="2384825" y="582588"/>
                    <a:pt x="2386454" y="585031"/>
                  </a:cubicBezTo>
                  <a:cubicBezTo>
                    <a:pt x="2388083" y="586660"/>
                    <a:pt x="2388083" y="589918"/>
                    <a:pt x="2388897" y="591547"/>
                  </a:cubicBezTo>
                  <a:cubicBezTo>
                    <a:pt x="2389712" y="593176"/>
                    <a:pt x="2389712" y="593991"/>
                    <a:pt x="2390526" y="595620"/>
                  </a:cubicBezTo>
                  <a:cubicBezTo>
                    <a:pt x="2393784" y="594805"/>
                    <a:pt x="2396228" y="593991"/>
                    <a:pt x="2397856" y="593176"/>
                  </a:cubicBezTo>
                  <a:cubicBezTo>
                    <a:pt x="2397856" y="593176"/>
                    <a:pt x="2398671" y="593991"/>
                    <a:pt x="2399486" y="594805"/>
                  </a:cubicBezTo>
                  <a:cubicBezTo>
                    <a:pt x="2397856" y="595620"/>
                    <a:pt x="2397042" y="596434"/>
                    <a:pt x="2395413" y="597249"/>
                  </a:cubicBezTo>
                  <a:cubicBezTo>
                    <a:pt x="2398671" y="601321"/>
                    <a:pt x="2401115" y="597249"/>
                    <a:pt x="2403558" y="596434"/>
                  </a:cubicBezTo>
                  <a:cubicBezTo>
                    <a:pt x="2404373" y="597249"/>
                    <a:pt x="2405187" y="598878"/>
                    <a:pt x="2406816" y="599692"/>
                  </a:cubicBezTo>
                  <a:cubicBezTo>
                    <a:pt x="2414146" y="597249"/>
                    <a:pt x="2421477" y="593991"/>
                    <a:pt x="2424735" y="585846"/>
                  </a:cubicBezTo>
                  <a:cubicBezTo>
                    <a:pt x="2423106" y="586660"/>
                    <a:pt x="2421477" y="587475"/>
                    <a:pt x="2419848" y="588289"/>
                  </a:cubicBezTo>
                  <a:cubicBezTo>
                    <a:pt x="2420663" y="586660"/>
                    <a:pt x="2420663" y="585031"/>
                    <a:pt x="2420663" y="584217"/>
                  </a:cubicBezTo>
                  <a:cubicBezTo>
                    <a:pt x="2424735" y="584217"/>
                    <a:pt x="2428807" y="583402"/>
                    <a:pt x="2432880" y="583402"/>
                  </a:cubicBezTo>
                  <a:cubicBezTo>
                    <a:pt x="2440210" y="582588"/>
                    <a:pt x="2445912" y="583402"/>
                    <a:pt x="2450798" y="587475"/>
                  </a:cubicBezTo>
                  <a:cubicBezTo>
                    <a:pt x="2452427" y="589104"/>
                    <a:pt x="2454056" y="589918"/>
                    <a:pt x="2456500" y="589918"/>
                  </a:cubicBezTo>
                  <a:cubicBezTo>
                    <a:pt x="2455685" y="591547"/>
                    <a:pt x="2455685" y="593176"/>
                    <a:pt x="2454871" y="593991"/>
                  </a:cubicBezTo>
                  <a:cubicBezTo>
                    <a:pt x="2454056" y="597249"/>
                    <a:pt x="2449984" y="598878"/>
                    <a:pt x="2451613" y="603765"/>
                  </a:cubicBezTo>
                  <a:cubicBezTo>
                    <a:pt x="2454056" y="602136"/>
                    <a:pt x="2455685" y="600507"/>
                    <a:pt x="2458943" y="598878"/>
                  </a:cubicBezTo>
                  <a:cubicBezTo>
                    <a:pt x="2458943" y="601321"/>
                    <a:pt x="2458943" y="603765"/>
                    <a:pt x="2458943" y="605394"/>
                  </a:cubicBezTo>
                  <a:cubicBezTo>
                    <a:pt x="2459758" y="604579"/>
                    <a:pt x="2460572" y="604579"/>
                    <a:pt x="2463016" y="603765"/>
                  </a:cubicBezTo>
                  <a:cubicBezTo>
                    <a:pt x="2462201" y="607837"/>
                    <a:pt x="2463016" y="610281"/>
                    <a:pt x="2466274" y="611910"/>
                  </a:cubicBezTo>
                  <a:cubicBezTo>
                    <a:pt x="2467903" y="612724"/>
                    <a:pt x="2468717" y="615168"/>
                    <a:pt x="2467903" y="616797"/>
                  </a:cubicBezTo>
                  <a:cubicBezTo>
                    <a:pt x="2467088" y="616797"/>
                    <a:pt x="2465459" y="616797"/>
                    <a:pt x="2464645" y="616797"/>
                  </a:cubicBezTo>
                  <a:cubicBezTo>
                    <a:pt x="2457315" y="618425"/>
                    <a:pt x="2449984" y="620869"/>
                    <a:pt x="2442653" y="622498"/>
                  </a:cubicBezTo>
                  <a:cubicBezTo>
                    <a:pt x="2441839" y="620869"/>
                    <a:pt x="2441839" y="618425"/>
                    <a:pt x="2441839" y="615982"/>
                  </a:cubicBezTo>
                  <a:cubicBezTo>
                    <a:pt x="2440210" y="615168"/>
                    <a:pt x="2439396" y="613538"/>
                    <a:pt x="2437767" y="612724"/>
                  </a:cubicBezTo>
                  <a:cubicBezTo>
                    <a:pt x="2429622" y="607023"/>
                    <a:pt x="2421477" y="603765"/>
                    <a:pt x="2411703" y="607023"/>
                  </a:cubicBezTo>
                  <a:cubicBezTo>
                    <a:pt x="2409259" y="607837"/>
                    <a:pt x="2406816" y="608652"/>
                    <a:pt x="2404373" y="608652"/>
                  </a:cubicBezTo>
                  <a:cubicBezTo>
                    <a:pt x="2398671" y="608652"/>
                    <a:pt x="2395413" y="611095"/>
                    <a:pt x="2393784" y="615982"/>
                  </a:cubicBezTo>
                  <a:cubicBezTo>
                    <a:pt x="2392155" y="619240"/>
                    <a:pt x="2392155" y="622498"/>
                    <a:pt x="2391341" y="625756"/>
                  </a:cubicBezTo>
                  <a:cubicBezTo>
                    <a:pt x="2391341" y="625756"/>
                    <a:pt x="2391341" y="625756"/>
                    <a:pt x="2391341" y="625756"/>
                  </a:cubicBezTo>
                  <a:cubicBezTo>
                    <a:pt x="2386454" y="627385"/>
                    <a:pt x="2381567" y="627385"/>
                    <a:pt x="2375051" y="626570"/>
                  </a:cubicBezTo>
                  <a:cubicBezTo>
                    <a:pt x="2375051" y="624127"/>
                    <a:pt x="2375866" y="623312"/>
                    <a:pt x="2377494" y="620055"/>
                  </a:cubicBezTo>
                  <a:cubicBezTo>
                    <a:pt x="2378309" y="619240"/>
                    <a:pt x="2378309" y="617611"/>
                    <a:pt x="2378309" y="616797"/>
                  </a:cubicBezTo>
                  <a:cubicBezTo>
                    <a:pt x="2377494" y="613538"/>
                    <a:pt x="2377494" y="610281"/>
                    <a:pt x="2376680" y="607023"/>
                  </a:cubicBezTo>
                  <a:cubicBezTo>
                    <a:pt x="2381567" y="602950"/>
                    <a:pt x="2379123" y="596434"/>
                    <a:pt x="2381567" y="592362"/>
                  </a:cubicBezTo>
                  <a:cubicBezTo>
                    <a:pt x="2381567" y="591547"/>
                    <a:pt x="2380752" y="591547"/>
                    <a:pt x="2380752" y="590733"/>
                  </a:cubicBezTo>
                  <a:cubicBezTo>
                    <a:pt x="2377494" y="587475"/>
                    <a:pt x="2377494" y="587475"/>
                    <a:pt x="2379938" y="582588"/>
                  </a:cubicBezTo>
                  <a:cubicBezTo>
                    <a:pt x="2380752" y="580959"/>
                    <a:pt x="2381567" y="578516"/>
                    <a:pt x="2382381" y="576072"/>
                  </a:cubicBezTo>
                  <a:cubicBezTo>
                    <a:pt x="2376680" y="574443"/>
                    <a:pt x="2375866" y="580145"/>
                    <a:pt x="2374237" y="580959"/>
                  </a:cubicBezTo>
                  <a:cubicBezTo>
                    <a:pt x="2370978" y="578516"/>
                    <a:pt x="2368535" y="576886"/>
                    <a:pt x="2366092" y="574443"/>
                  </a:cubicBezTo>
                  <a:cubicBezTo>
                    <a:pt x="2366906" y="572000"/>
                    <a:pt x="2365277" y="570371"/>
                    <a:pt x="2363648" y="567927"/>
                  </a:cubicBezTo>
                  <a:cubicBezTo>
                    <a:pt x="2364463" y="568742"/>
                    <a:pt x="2366906" y="568742"/>
                    <a:pt x="2369349" y="568742"/>
                  </a:cubicBezTo>
                  <a:close/>
                  <a:moveTo>
                    <a:pt x="2359576" y="541863"/>
                  </a:moveTo>
                  <a:cubicBezTo>
                    <a:pt x="2358761" y="543493"/>
                    <a:pt x="2357947" y="545121"/>
                    <a:pt x="2357132" y="545936"/>
                  </a:cubicBezTo>
                  <a:cubicBezTo>
                    <a:pt x="2357132" y="545936"/>
                    <a:pt x="2356318" y="545936"/>
                    <a:pt x="2356318" y="545936"/>
                  </a:cubicBezTo>
                  <a:cubicBezTo>
                    <a:pt x="2356318" y="545936"/>
                    <a:pt x="2356318" y="546750"/>
                    <a:pt x="2356318" y="546750"/>
                  </a:cubicBezTo>
                  <a:cubicBezTo>
                    <a:pt x="2356318" y="546750"/>
                    <a:pt x="2356318" y="546750"/>
                    <a:pt x="2357132" y="546750"/>
                  </a:cubicBezTo>
                  <a:cubicBezTo>
                    <a:pt x="2356318" y="548379"/>
                    <a:pt x="2355503" y="549194"/>
                    <a:pt x="2355503" y="550823"/>
                  </a:cubicBezTo>
                  <a:cubicBezTo>
                    <a:pt x="2354689" y="550823"/>
                    <a:pt x="2354689" y="550008"/>
                    <a:pt x="2353874" y="550008"/>
                  </a:cubicBezTo>
                  <a:cubicBezTo>
                    <a:pt x="2352245" y="545121"/>
                    <a:pt x="2355503" y="544307"/>
                    <a:pt x="2359576" y="541863"/>
                  </a:cubicBezTo>
                  <a:close/>
                  <a:moveTo>
                    <a:pt x="2353874" y="585031"/>
                  </a:moveTo>
                  <a:cubicBezTo>
                    <a:pt x="2353874" y="584217"/>
                    <a:pt x="2354689" y="582588"/>
                    <a:pt x="2355503" y="581773"/>
                  </a:cubicBezTo>
                  <a:cubicBezTo>
                    <a:pt x="2357132" y="580145"/>
                    <a:pt x="2358761" y="579330"/>
                    <a:pt x="2362019" y="577701"/>
                  </a:cubicBezTo>
                  <a:cubicBezTo>
                    <a:pt x="2362833" y="582588"/>
                    <a:pt x="2358761" y="582588"/>
                    <a:pt x="2357132" y="585031"/>
                  </a:cubicBezTo>
                  <a:cubicBezTo>
                    <a:pt x="2360390" y="589918"/>
                    <a:pt x="2357947" y="594805"/>
                    <a:pt x="2355503" y="599692"/>
                  </a:cubicBezTo>
                  <a:cubicBezTo>
                    <a:pt x="2354689" y="598878"/>
                    <a:pt x="2353060" y="597249"/>
                    <a:pt x="2352245" y="596434"/>
                  </a:cubicBezTo>
                  <a:cubicBezTo>
                    <a:pt x="2354689" y="593176"/>
                    <a:pt x="2356318" y="589918"/>
                    <a:pt x="2353874" y="585031"/>
                  </a:cubicBezTo>
                  <a:close/>
                  <a:moveTo>
                    <a:pt x="2344915" y="577701"/>
                  </a:moveTo>
                  <a:cubicBezTo>
                    <a:pt x="2346544" y="573629"/>
                    <a:pt x="2346544" y="573629"/>
                    <a:pt x="2351431" y="573629"/>
                  </a:cubicBezTo>
                  <a:cubicBezTo>
                    <a:pt x="2348987" y="575258"/>
                    <a:pt x="2347358" y="576072"/>
                    <a:pt x="2344915" y="577701"/>
                  </a:cubicBezTo>
                  <a:close/>
                  <a:moveTo>
                    <a:pt x="2348173" y="526388"/>
                  </a:moveTo>
                  <a:cubicBezTo>
                    <a:pt x="2348987" y="528017"/>
                    <a:pt x="2349802" y="528832"/>
                    <a:pt x="2349802" y="529646"/>
                  </a:cubicBezTo>
                  <a:cubicBezTo>
                    <a:pt x="2348987" y="535348"/>
                    <a:pt x="2347358" y="541863"/>
                    <a:pt x="2345729" y="547565"/>
                  </a:cubicBezTo>
                  <a:cubicBezTo>
                    <a:pt x="2344100" y="542678"/>
                    <a:pt x="2345729" y="530461"/>
                    <a:pt x="2348173" y="526388"/>
                  </a:cubicBezTo>
                  <a:close/>
                  <a:moveTo>
                    <a:pt x="2349802" y="554081"/>
                  </a:moveTo>
                  <a:cubicBezTo>
                    <a:pt x="2348173" y="554081"/>
                    <a:pt x="2345729" y="554081"/>
                    <a:pt x="2344100" y="553266"/>
                  </a:cubicBezTo>
                  <a:cubicBezTo>
                    <a:pt x="2344100" y="552452"/>
                    <a:pt x="2343286" y="550823"/>
                    <a:pt x="2343286" y="550008"/>
                  </a:cubicBezTo>
                  <a:cubicBezTo>
                    <a:pt x="2347358" y="550008"/>
                    <a:pt x="2348987" y="551637"/>
                    <a:pt x="2349802" y="554081"/>
                  </a:cubicBezTo>
                  <a:close/>
                  <a:moveTo>
                    <a:pt x="2340028" y="538606"/>
                  </a:moveTo>
                  <a:cubicBezTo>
                    <a:pt x="2339214" y="536977"/>
                    <a:pt x="2338399" y="535348"/>
                    <a:pt x="2337585" y="532904"/>
                  </a:cubicBezTo>
                  <a:cubicBezTo>
                    <a:pt x="2342471" y="534533"/>
                    <a:pt x="2342471" y="534533"/>
                    <a:pt x="2340028" y="538606"/>
                  </a:cubicBezTo>
                  <a:close/>
                  <a:moveTo>
                    <a:pt x="2333512" y="542678"/>
                  </a:moveTo>
                  <a:cubicBezTo>
                    <a:pt x="2332697" y="541863"/>
                    <a:pt x="2331883" y="541049"/>
                    <a:pt x="2331069" y="540234"/>
                  </a:cubicBezTo>
                  <a:cubicBezTo>
                    <a:pt x="2331883" y="538606"/>
                    <a:pt x="2333512" y="536977"/>
                    <a:pt x="2334326" y="535348"/>
                  </a:cubicBezTo>
                  <a:cubicBezTo>
                    <a:pt x="2335141" y="537791"/>
                    <a:pt x="2335141" y="537791"/>
                    <a:pt x="2333512" y="542678"/>
                  </a:cubicBezTo>
                  <a:close/>
                  <a:moveTo>
                    <a:pt x="2329440" y="533719"/>
                  </a:moveTo>
                  <a:cubicBezTo>
                    <a:pt x="2329440" y="532090"/>
                    <a:pt x="2328625" y="530461"/>
                    <a:pt x="2328625" y="528832"/>
                  </a:cubicBezTo>
                  <a:cubicBezTo>
                    <a:pt x="2331883" y="531275"/>
                    <a:pt x="2331069" y="532090"/>
                    <a:pt x="2329440" y="533719"/>
                  </a:cubicBezTo>
                  <a:close/>
                  <a:moveTo>
                    <a:pt x="2329440" y="534533"/>
                  </a:moveTo>
                  <a:cubicBezTo>
                    <a:pt x="2329440" y="536162"/>
                    <a:pt x="2330254" y="538606"/>
                    <a:pt x="2330254" y="540234"/>
                  </a:cubicBezTo>
                  <a:cubicBezTo>
                    <a:pt x="2329440" y="541049"/>
                    <a:pt x="2327811" y="541863"/>
                    <a:pt x="2327811" y="539420"/>
                  </a:cubicBezTo>
                  <a:cubicBezTo>
                    <a:pt x="2327811" y="537791"/>
                    <a:pt x="2329440" y="536162"/>
                    <a:pt x="2329440" y="534533"/>
                  </a:cubicBezTo>
                  <a:close/>
                  <a:moveTo>
                    <a:pt x="2323738" y="555710"/>
                  </a:moveTo>
                  <a:cubicBezTo>
                    <a:pt x="2325367" y="554895"/>
                    <a:pt x="2326996" y="554895"/>
                    <a:pt x="2329440" y="554895"/>
                  </a:cubicBezTo>
                  <a:cubicBezTo>
                    <a:pt x="2326181" y="556524"/>
                    <a:pt x="2323738" y="559782"/>
                    <a:pt x="2322924" y="564669"/>
                  </a:cubicBezTo>
                  <a:cubicBezTo>
                    <a:pt x="2322109" y="564669"/>
                    <a:pt x="2322109" y="563855"/>
                    <a:pt x="2321295" y="563040"/>
                  </a:cubicBezTo>
                  <a:cubicBezTo>
                    <a:pt x="2318851" y="560597"/>
                    <a:pt x="2320480" y="556524"/>
                    <a:pt x="2323738" y="555710"/>
                  </a:cubicBezTo>
                  <a:close/>
                  <a:moveTo>
                    <a:pt x="2318037" y="595620"/>
                  </a:moveTo>
                  <a:cubicBezTo>
                    <a:pt x="2321295" y="597249"/>
                    <a:pt x="2320480" y="598878"/>
                    <a:pt x="2318037" y="599692"/>
                  </a:cubicBezTo>
                  <a:cubicBezTo>
                    <a:pt x="2318037" y="598878"/>
                    <a:pt x="2318037" y="597249"/>
                    <a:pt x="2318037" y="595620"/>
                  </a:cubicBezTo>
                  <a:close/>
                  <a:moveTo>
                    <a:pt x="2313150" y="509284"/>
                  </a:moveTo>
                  <a:cubicBezTo>
                    <a:pt x="2313150" y="510098"/>
                    <a:pt x="2313964" y="510913"/>
                    <a:pt x="2313964" y="512542"/>
                  </a:cubicBezTo>
                  <a:cubicBezTo>
                    <a:pt x="2313964" y="513356"/>
                    <a:pt x="2312335" y="516614"/>
                    <a:pt x="2311521" y="520687"/>
                  </a:cubicBezTo>
                  <a:cubicBezTo>
                    <a:pt x="2310706" y="517429"/>
                    <a:pt x="2309892" y="514171"/>
                    <a:pt x="2309892" y="510913"/>
                  </a:cubicBezTo>
                  <a:cubicBezTo>
                    <a:pt x="2311521" y="510098"/>
                    <a:pt x="2312335" y="510098"/>
                    <a:pt x="2313150" y="509284"/>
                  </a:cubicBezTo>
                  <a:close/>
                  <a:moveTo>
                    <a:pt x="2309077" y="607837"/>
                  </a:moveTo>
                  <a:cubicBezTo>
                    <a:pt x="2309077" y="610281"/>
                    <a:pt x="2309892" y="613538"/>
                    <a:pt x="2309892" y="615982"/>
                  </a:cubicBezTo>
                  <a:cubicBezTo>
                    <a:pt x="2309077" y="615982"/>
                    <a:pt x="2308263" y="615982"/>
                    <a:pt x="2308263" y="615982"/>
                  </a:cubicBezTo>
                  <a:cubicBezTo>
                    <a:pt x="2308263" y="613538"/>
                    <a:pt x="2308263" y="611095"/>
                    <a:pt x="2307448" y="607837"/>
                  </a:cubicBezTo>
                  <a:cubicBezTo>
                    <a:pt x="2307448" y="607837"/>
                    <a:pt x="2308263" y="607837"/>
                    <a:pt x="2309077" y="607837"/>
                  </a:cubicBezTo>
                  <a:close/>
                  <a:moveTo>
                    <a:pt x="2313150" y="819604"/>
                  </a:moveTo>
                  <a:cubicBezTo>
                    <a:pt x="2312335" y="820419"/>
                    <a:pt x="2312335" y="821233"/>
                    <a:pt x="2311521" y="821233"/>
                  </a:cubicBezTo>
                  <a:cubicBezTo>
                    <a:pt x="2309077" y="821233"/>
                    <a:pt x="2307448" y="822048"/>
                    <a:pt x="2305819" y="822862"/>
                  </a:cubicBezTo>
                  <a:cubicBezTo>
                    <a:pt x="2305819" y="822862"/>
                    <a:pt x="2305819" y="822862"/>
                    <a:pt x="2305819" y="822862"/>
                  </a:cubicBezTo>
                  <a:cubicBezTo>
                    <a:pt x="2305819" y="822048"/>
                    <a:pt x="2305005" y="820419"/>
                    <a:pt x="2305005" y="819604"/>
                  </a:cubicBezTo>
                  <a:cubicBezTo>
                    <a:pt x="2307448" y="819604"/>
                    <a:pt x="2309892" y="819604"/>
                    <a:pt x="2313150" y="819604"/>
                  </a:cubicBezTo>
                  <a:close/>
                  <a:moveTo>
                    <a:pt x="2281385" y="230728"/>
                  </a:moveTo>
                  <a:cubicBezTo>
                    <a:pt x="2280570" y="227471"/>
                    <a:pt x="2280570" y="225842"/>
                    <a:pt x="2279755" y="223398"/>
                  </a:cubicBezTo>
                  <a:cubicBezTo>
                    <a:pt x="2281385" y="225842"/>
                    <a:pt x="2284643" y="227471"/>
                    <a:pt x="2281385" y="230728"/>
                  </a:cubicBezTo>
                  <a:close/>
                  <a:moveTo>
                    <a:pt x="2276498" y="602136"/>
                  </a:moveTo>
                  <a:cubicBezTo>
                    <a:pt x="2278941" y="605394"/>
                    <a:pt x="2278127" y="607837"/>
                    <a:pt x="2277312" y="610281"/>
                  </a:cubicBezTo>
                  <a:cubicBezTo>
                    <a:pt x="2273240" y="608652"/>
                    <a:pt x="2273240" y="608652"/>
                    <a:pt x="2276498" y="602136"/>
                  </a:cubicBezTo>
                  <a:close/>
                  <a:moveTo>
                    <a:pt x="2271611" y="617611"/>
                  </a:moveTo>
                  <a:cubicBezTo>
                    <a:pt x="2269167" y="615982"/>
                    <a:pt x="2267538" y="614353"/>
                    <a:pt x="2264280" y="611910"/>
                  </a:cubicBezTo>
                  <a:cubicBezTo>
                    <a:pt x="2272425" y="611095"/>
                    <a:pt x="2273240" y="611910"/>
                    <a:pt x="2271611" y="617611"/>
                  </a:cubicBezTo>
                  <a:close/>
                  <a:moveTo>
                    <a:pt x="2262651" y="599692"/>
                  </a:moveTo>
                  <a:cubicBezTo>
                    <a:pt x="2261022" y="602136"/>
                    <a:pt x="2262651" y="606208"/>
                    <a:pt x="2256950" y="607837"/>
                  </a:cubicBezTo>
                  <a:cubicBezTo>
                    <a:pt x="2259393" y="604579"/>
                    <a:pt x="2261022" y="602136"/>
                    <a:pt x="2262651" y="599692"/>
                  </a:cubicBezTo>
                  <a:close/>
                  <a:moveTo>
                    <a:pt x="2223556" y="95523"/>
                  </a:moveTo>
                  <a:cubicBezTo>
                    <a:pt x="2222741" y="98781"/>
                    <a:pt x="2221927" y="101225"/>
                    <a:pt x="2221113" y="103668"/>
                  </a:cubicBezTo>
                  <a:cubicBezTo>
                    <a:pt x="2217854" y="99596"/>
                    <a:pt x="2217854" y="99596"/>
                    <a:pt x="2223556" y="95523"/>
                  </a:cubicBezTo>
                  <a:close/>
                  <a:moveTo>
                    <a:pt x="2219484" y="591547"/>
                  </a:moveTo>
                  <a:cubicBezTo>
                    <a:pt x="2219484" y="592362"/>
                    <a:pt x="2219484" y="592362"/>
                    <a:pt x="2219484" y="593176"/>
                  </a:cubicBezTo>
                  <a:cubicBezTo>
                    <a:pt x="2219484" y="594805"/>
                    <a:pt x="2217854" y="596434"/>
                    <a:pt x="2217040" y="597249"/>
                  </a:cubicBezTo>
                  <a:cubicBezTo>
                    <a:pt x="2214596" y="599692"/>
                    <a:pt x="2212153" y="601321"/>
                    <a:pt x="2209710" y="603765"/>
                  </a:cubicBezTo>
                  <a:cubicBezTo>
                    <a:pt x="2209710" y="603765"/>
                    <a:pt x="2209710" y="603765"/>
                    <a:pt x="2209710" y="603765"/>
                  </a:cubicBezTo>
                  <a:cubicBezTo>
                    <a:pt x="2209710" y="602950"/>
                    <a:pt x="2208895" y="602136"/>
                    <a:pt x="2208895" y="601321"/>
                  </a:cubicBezTo>
                  <a:cubicBezTo>
                    <a:pt x="2210524" y="598878"/>
                    <a:pt x="2212153" y="596434"/>
                    <a:pt x="2212968" y="593176"/>
                  </a:cubicBezTo>
                  <a:cubicBezTo>
                    <a:pt x="2214596" y="593176"/>
                    <a:pt x="2217040" y="592362"/>
                    <a:pt x="2219484" y="591547"/>
                  </a:cubicBezTo>
                  <a:close/>
                  <a:moveTo>
                    <a:pt x="2212968" y="111813"/>
                  </a:moveTo>
                  <a:cubicBezTo>
                    <a:pt x="2212968" y="114257"/>
                    <a:pt x="2212153" y="116700"/>
                    <a:pt x="2212153" y="118329"/>
                  </a:cubicBezTo>
                  <a:cubicBezTo>
                    <a:pt x="2207266" y="117514"/>
                    <a:pt x="2207266" y="117514"/>
                    <a:pt x="2212968" y="111813"/>
                  </a:cubicBezTo>
                  <a:close/>
                  <a:moveTo>
                    <a:pt x="2206451" y="90636"/>
                  </a:moveTo>
                  <a:cubicBezTo>
                    <a:pt x="2207266" y="90636"/>
                    <a:pt x="2208081" y="89822"/>
                    <a:pt x="2208895" y="89007"/>
                  </a:cubicBezTo>
                  <a:cubicBezTo>
                    <a:pt x="2209710" y="89007"/>
                    <a:pt x="2210524" y="89007"/>
                    <a:pt x="2211339" y="89007"/>
                  </a:cubicBezTo>
                  <a:cubicBezTo>
                    <a:pt x="2213782" y="89007"/>
                    <a:pt x="2215411" y="89822"/>
                    <a:pt x="2215411" y="92265"/>
                  </a:cubicBezTo>
                  <a:cubicBezTo>
                    <a:pt x="2215411" y="94709"/>
                    <a:pt x="2213782" y="95523"/>
                    <a:pt x="2211339" y="95523"/>
                  </a:cubicBezTo>
                  <a:cubicBezTo>
                    <a:pt x="2210524" y="95523"/>
                    <a:pt x="2209710" y="95523"/>
                    <a:pt x="2209710" y="95523"/>
                  </a:cubicBezTo>
                  <a:cubicBezTo>
                    <a:pt x="2209710" y="93894"/>
                    <a:pt x="2209710" y="93080"/>
                    <a:pt x="2209710" y="92265"/>
                  </a:cubicBezTo>
                  <a:cubicBezTo>
                    <a:pt x="2207266" y="92265"/>
                    <a:pt x="2205637" y="92265"/>
                    <a:pt x="2202379" y="91451"/>
                  </a:cubicBezTo>
                  <a:cubicBezTo>
                    <a:pt x="2204008" y="91451"/>
                    <a:pt x="2204823" y="91451"/>
                    <a:pt x="2206451" y="90636"/>
                  </a:cubicBezTo>
                  <a:close/>
                  <a:moveTo>
                    <a:pt x="2204823" y="104483"/>
                  </a:moveTo>
                  <a:cubicBezTo>
                    <a:pt x="2204008" y="102854"/>
                    <a:pt x="2203194" y="101225"/>
                    <a:pt x="2201565" y="100410"/>
                  </a:cubicBezTo>
                  <a:cubicBezTo>
                    <a:pt x="2206451" y="99596"/>
                    <a:pt x="2210524" y="101225"/>
                    <a:pt x="2214596" y="104483"/>
                  </a:cubicBezTo>
                  <a:cubicBezTo>
                    <a:pt x="2208081" y="108555"/>
                    <a:pt x="2203194" y="109370"/>
                    <a:pt x="2198307" y="105297"/>
                  </a:cubicBezTo>
                  <a:cubicBezTo>
                    <a:pt x="2200750" y="105297"/>
                    <a:pt x="2202379" y="105297"/>
                    <a:pt x="2204823" y="104483"/>
                  </a:cubicBezTo>
                  <a:close/>
                  <a:moveTo>
                    <a:pt x="2155953" y="128103"/>
                  </a:moveTo>
                  <a:cubicBezTo>
                    <a:pt x="2156768" y="128103"/>
                    <a:pt x="2156768" y="128103"/>
                    <a:pt x="2157582" y="128917"/>
                  </a:cubicBezTo>
                  <a:cubicBezTo>
                    <a:pt x="2156768" y="131361"/>
                    <a:pt x="2156768" y="133804"/>
                    <a:pt x="2155953" y="135433"/>
                  </a:cubicBezTo>
                  <a:cubicBezTo>
                    <a:pt x="2154324" y="132175"/>
                    <a:pt x="2153510" y="129732"/>
                    <a:pt x="2155953" y="128103"/>
                  </a:cubicBezTo>
                  <a:close/>
                  <a:moveTo>
                    <a:pt x="2146180" y="117514"/>
                  </a:moveTo>
                  <a:cubicBezTo>
                    <a:pt x="2146994" y="117514"/>
                    <a:pt x="2146994" y="117514"/>
                    <a:pt x="2147809" y="116700"/>
                  </a:cubicBezTo>
                  <a:cubicBezTo>
                    <a:pt x="2147809" y="117514"/>
                    <a:pt x="2147809" y="118329"/>
                    <a:pt x="2148623" y="119958"/>
                  </a:cubicBezTo>
                  <a:cubicBezTo>
                    <a:pt x="2149437" y="120772"/>
                    <a:pt x="2149437" y="122401"/>
                    <a:pt x="2149437" y="123216"/>
                  </a:cubicBezTo>
                  <a:cubicBezTo>
                    <a:pt x="2148623" y="122401"/>
                    <a:pt x="2146994" y="121587"/>
                    <a:pt x="2146180" y="120772"/>
                  </a:cubicBezTo>
                  <a:cubicBezTo>
                    <a:pt x="2145365" y="120772"/>
                    <a:pt x="2145365" y="119144"/>
                    <a:pt x="2145365" y="119144"/>
                  </a:cubicBezTo>
                  <a:cubicBezTo>
                    <a:pt x="2144550" y="119144"/>
                    <a:pt x="2145365" y="118329"/>
                    <a:pt x="2146180" y="117514"/>
                  </a:cubicBezTo>
                  <a:close/>
                  <a:moveTo>
                    <a:pt x="2140478" y="135433"/>
                  </a:moveTo>
                  <a:cubicBezTo>
                    <a:pt x="2140478" y="136248"/>
                    <a:pt x="2141292" y="136248"/>
                    <a:pt x="2141292" y="137062"/>
                  </a:cubicBezTo>
                  <a:cubicBezTo>
                    <a:pt x="2140478" y="136248"/>
                    <a:pt x="2140478" y="136248"/>
                    <a:pt x="2140478" y="135433"/>
                  </a:cubicBezTo>
                  <a:cubicBezTo>
                    <a:pt x="2140478" y="136248"/>
                    <a:pt x="2140478" y="135433"/>
                    <a:pt x="2140478" y="135433"/>
                  </a:cubicBezTo>
                  <a:close/>
                  <a:moveTo>
                    <a:pt x="2125817" y="54799"/>
                  </a:moveTo>
                  <a:cubicBezTo>
                    <a:pt x="2126632" y="54799"/>
                    <a:pt x="2126632" y="54799"/>
                    <a:pt x="2127446" y="55613"/>
                  </a:cubicBezTo>
                  <a:cubicBezTo>
                    <a:pt x="2127446" y="55613"/>
                    <a:pt x="2127446" y="56428"/>
                    <a:pt x="2126632" y="56428"/>
                  </a:cubicBezTo>
                  <a:cubicBezTo>
                    <a:pt x="2124188" y="57242"/>
                    <a:pt x="2121745" y="58057"/>
                    <a:pt x="2120116" y="58871"/>
                  </a:cubicBezTo>
                  <a:cubicBezTo>
                    <a:pt x="2117672" y="59686"/>
                    <a:pt x="2116043" y="59686"/>
                    <a:pt x="2114414" y="60500"/>
                  </a:cubicBezTo>
                  <a:cubicBezTo>
                    <a:pt x="2114414" y="60500"/>
                    <a:pt x="2113600" y="60500"/>
                    <a:pt x="2113600" y="60500"/>
                  </a:cubicBezTo>
                  <a:cubicBezTo>
                    <a:pt x="2113600" y="59686"/>
                    <a:pt x="2114414" y="58871"/>
                    <a:pt x="2114414" y="58871"/>
                  </a:cubicBezTo>
                  <a:cubicBezTo>
                    <a:pt x="2118487" y="56428"/>
                    <a:pt x="2122559" y="55613"/>
                    <a:pt x="2125817" y="54799"/>
                  </a:cubicBezTo>
                  <a:close/>
                  <a:moveTo>
                    <a:pt x="2101383" y="21405"/>
                  </a:moveTo>
                  <a:cubicBezTo>
                    <a:pt x="2102197" y="20590"/>
                    <a:pt x="2103826" y="20590"/>
                    <a:pt x="2104640" y="20590"/>
                  </a:cubicBezTo>
                  <a:cubicBezTo>
                    <a:pt x="2107084" y="21405"/>
                    <a:pt x="2109528" y="20590"/>
                    <a:pt x="2111971" y="20590"/>
                  </a:cubicBezTo>
                  <a:cubicBezTo>
                    <a:pt x="2112785" y="20590"/>
                    <a:pt x="2112785" y="21405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4414" y="22219"/>
                    <a:pt x="2115229" y="22219"/>
                    <a:pt x="2114414" y="23034"/>
                  </a:cubicBezTo>
                  <a:cubicBezTo>
                    <a:pt x="2114414" y="23034"/>
                    <a:pt x="2113600" y="23034"/>
                    <a:pt x="2113600" y="23034"/>
                  </a:cubicBezTo>
                  <a:cubicBezTo>
                    <a:pt x="2112785" y="23034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1971" y="22219"/>
                    <a:pt x="2111971" y="22219"/>
                  </a:cubicBezTo>
                  <a:cubicBezTo>
                    <a:pt x="2109528" y="23034"/>
                    <a:pt x="2107898" y="23848"/>
                    <a:pt x="2105455" y="23848"/>
                  </a:cubicBezTo>
                  <a:cubicBezTo>
                    <a:pt x="2103826" y="23848"/>
                    <a:pt x="2102197" y="22219"/>
                    <a:pt x="2099754" y="23034"/>
                  </a:cubicBezTo>
                  <a:cubicBezTo>
                    <a:pt x="2099754" y="23034"/>
                    <a:pt x="2098939" y="23034"/>
                    <a:pt x="2098939" y="22219"/>
                  </a:cubicBezTo>
                  <a:cubicBezTo>
                    <a:pt x="2100568" y="22219"/>
                    <a:pt x="2101383" y="21405"/>
                    <a:pt x="2101383" y="21405"/>
                  </a:cubicBezTo>
                  <a:close/>
                  <a:moveTo>
                    <a:pt x="2086722" y="63758"/>
                  </a:moveTo>
                  <a:cubicBezTo>
                    <a:pt x="2088350" y="62129"/>
                    <a:pt x="2089980" y="62129"/>
                    <a:pt x="2091609" y="61315"/>
                  </a:cubicBezTo>
                  <a:cubicBezTo>
                    <a:pt x="2092423" y="61315"/>
                    <a:pt x="2093238" y="60500"/>
                    <a:pt x="2093238" y="59686"/>
                  </a:cubicBezTo>
                  <a:cubicBezTo>
                    <a:pt x="2094052" y="58057"/>
                    <a:pt x="2095681" y="58057"/>
                    <a:pt x="2096495" y="58871"/>
                  </a:cubicBezTo>
                  <a:cubicBezTo>
                    <a:pt x="2097310" y="59686"/>
                    <a:pt x="2098939" y="58871"/>
                    <a:pt x="2099754" y="58057"/>
                  </a:cubicBezTo>
                  <a:cubicBezTo>
                    <a:pt x="2101383" y="55613"/>
                    <a:pt x="2103012" y="54799"/>
                    <a:pt x="2105455" y="56428"/>
                  </a:cubicBezTo>
                  <a:cubicBezTo>
                    <a:pt x="2106269" y="57242"/>
                    <a:pt x="2107898" y="56428"/>
                    <a:pt x="2108713" y="57242"/>
                  </a:cubicBezTo>
                  <a:cubicBezTo>
                    <a:pt x="2108713" y="57242"/>
                    <a:pt x="2109528" y="58057"/>
                    <a:pt x="2109528" y="58057"/>
                  </a:cubicBezTo>
                  <a:cubicBezTo>
                    <a:pt x="2109528" y="58057"/>
                    <a:pt x="2109528" y="58871"/>
                    <a:pt x="2108713" y="58871"/>
                  </a:cubicBezTo>
                  <a:cubicBezTo>
                    <a:pt x="2106269" y="59686"/>
                    <a:pt x="2103012" y="60500"/>
                    <a:pt x="2099754" y="61315"/>
                  </a:cubicBezTo>
                  <a:cubicBezTo>
                    <a:pt x="2095681" y="62129"/>
                    <a:pt x="2091609" y="63758"/>
                    <a:pt x="2086722" y="64573"/>
                  </a:cubicBezTo>
                  <a:cubicBezTo>
                    <a:pt x="2086722" y="64573"/>
                    <a:pt x="2085907" y="64573"/>
                    <a:pt x="2085907" y="63758"/>
                  </a:cubicBezTo>
                  <a:cubicBezTo>
                    <a:pt x="2086722" y="64573"/>
                    <a:pt x="2086722" y="64573"/>
                    <a:pt x="2086722" y="63758"/>
                  </a:cubicBezTo>
                  <a:close/>
                  <a:moveTo>
                    <a:pt x="2077762" y="63758"/>
                  </a:moveTo>
                  <a:cubicBezTo>
                    <a:pt x="2079391" y="62944"/>
                    <a:pt x="2081020" y="63758"/>
                    <a:pt x="2082649" y="65387"/>
                  </a:cubicBezTo>
                  <a:cubicBezTo>
                    <a:pt x="2082649" y="65387"/>
                    <a:pt x="2082649" y="66202"/>
                    <a:pt x="2082649" y="66202"/>
                  </a:cubicBezTo>
                  <a:cubicBezTo>
                    <a:pt x="2082649" y="66202"/>
                    <a:pt x="2081835" y="67016"/>
                    <a:pt x="2081835" y="67016"/>
                  </a:cubicBezTo>
                  <a:cubicBezTo>
                    <a:pt x="2080206" y="67831"/>
                    <a:pt x="2078577" y="67016"/>
                    <a:pt x="2076948" y="65387"/>
                  </a:cubicBezTo>
                  <a:cubicBezTo>
                    <a:pt x="2076948" y="65387"/>
                    <a:pt x="2076133" y="64573"/>
                    <a:pt x="2076948" y="64573"/>
                  </a:cubicBezTo>
                  <a:cubicBezTo>
                    <a:pt x="2076948" y="64573"/>
                    <a:pt x="2076948" y="63758"/>
                    <a:pt x="2077762" y="63758"/>
                  </a:cubicBezTo>
                  <a:close/>
                  <a:moveTo>
                    <a:pt x="1637124" y="114257"/>
                  </a:moveTo>
                  <a:cubicBezTo>
                    <a:pt x="1630608" y="115886"/>
                    <a:pt x="1624906" y="117514"/>
                    <a:pt x="1618390" y="119958"/>
                  </a:cubicBezTo>
                  <a:cubicBezTo>
                    <a:pt x="1615947" y="119144"/>
                    <a:pt x="1614318" y="119144"/>
                    <a:pt x="1611874" y="118329"/>
                  </a:cubicBezTo>
                  <a:cubicBezTo>
                    <a:pt x="1628164" y="114257"/>
                    <a:pt x="1632236" y="113442"/>
                    <a:pt x="1637124" y="114257"/>
                  </a:cubicBezTo>
                  <a:close/>
                  <a:moveTo>
                    <a:pt x="1623277" y="2022605"/>
                  </a:moveTo>
                  <a:cubicBezTo>
                    <a:pt x="1623277" y="2023420"/>
                    <a:pt x="1622463" y="2023420"/>
                    <a:pt x="1623277" y="2022605"/>
                  </a:cubicBezTo>
                  <a:cubicBezTo>
                    <a:pt x="1622463" y="2023420"/>
                    <a:pt x="1621648" y="2023420"/>
                    <a:pt x="1621648" y="2024234"/>
                  </a:cubicBezTo>
                  <a:cubicBezTo>
                    <a:pt x="1620019" y="2025048"/>
                    <a:pt x="1618390" y="2024234"/>
                    <a:pt x="1616761" y="2023420"/>
                  </a:cubicBezTo>
                  <a:cubicBezTo>
                    <a:pt x="1613503" y="2024234"/>
                    <a:pt x="1609431" y="2025863"/>
                    <a:pt x="1606173" y="2026677"/>
                  </a:cubicBezTo>
                  <a:cubicBezTo>
                    <a:pt x="1609431" y="2025048"/>
                    <a:pt x="1613503" y="2024234"/>
                    <a:pt x="1616761" y="2022605"/>
                  </a:cubicBezTo>
                  <a:cubicBezTo>
                    <a:pt x="1616761" y="2022605"/>
                    <a:pt x="1616761" y="2022605"/>
                    <a:pt x="1616761" y="2023420"/>
                  </a:cubicBezTo>
                  <a:cubicBezTo>
                    <a:pt x="1616761" y="2023420"/>
                    <a:pt x="1616761" y="2022605"/>
                    <a:pt x="1616761" y="2022605"/>
                  </a:cubicBezTo>
                  <a:cubicBezTo>
                    <a:pt x="1618390" y="2021791"/>
                    <a:pt x="1620834" y="2020976"/>
                    <a:pt x="1622463" y="2020162"/>
                  </a:cubicBezTo>
                  <a:cubicBezTo>
                    <a:pt x="1623277" y="2019347"/>
                    <a:pt x="1624906" y="2019347"/>
                    <a:pt x="1625721" y="2019347"/>
                  </a:cubicBezTo>
                  <a:cubicBezTo>
                    <a:pt x="1624906" y="2020162"/>
                    <a:pt x="1624092" y="2021791"/>
                    <a:pt x="1623277" y="2022605"/>
                  </a:cubicBezTo>
                  <a:close/>
                  <a:moveTo>
                    <a:pt x="1642010" y="2017718"/>
                  </a:moveTo>
                  <a:cubicBezTo>
                    <a:pt x="1638753" y="2019347"/>
                    <a:pt x="1635495" y="2020976"/>
                    <a:pt x="1633051" y="2022605"/>
                  </a:cubicBezTo>
                  <a:cubicBezTo>
                    <a:pt x="1632236" y="2024234"/>
                    <a:pt x="1630608" y="2025863"/>
                    <a:pt x="1629793" y="2027492"/>
                  </a:cubicBezTo>
                  <a:cubicBezTo>
                    <a:pt x="1629793" y="2027492"/>
                    <a:pt x="1629793" y="2027492"/>
                    <a:pt x="1629793" y="2027492"/>
                  </a:cubicBezTo>
                  <a:cubicBezTo>
                    <a:pt x="1630608" y="2025048"/>
                    <a:pt x="1631422" y="2024234"/>
                    <a:pt x="1632236" y="2022605"/>
                  </a:cubicBezTo>
                  <a:cubicBezTo>
                    <a:pt x="1633051" y="2022605"/>
                    <a:pt x="1633051" y="2022605"/>
                    <a:pt x="1633865" y="2022605"/>
                  </a:cubicBezTo>
                  <a:cubicBezTo>
                    <a:pt x="1634680" y="2021791"/>
                    <a:pt x="1635495" y="2020976"/>
                    <a:pt x="1637124" y="2020162"/>
                  </a:cubicBezTo>
                  <a:cubicBezTo>
                    <a:pt x="1637938" y="2018533"/>
                    <a:pt x="1640381" y="2017718"/>
                    <a:pt x="1642010" y="2017718"/>
                  </a:cubicBezTo>
                  <a:cubicBezTo>
                    <a:pt x="1642825" y="2016903"/>
                    <a:pt x="1642010" y="2016903"/>
                    <a:pt x="1642010" y="2017718"/>
                  </a:cubicBezTo>
                  <a:close/>
                  <a:moveTo>
                    <a:pt x="1649341" y="2025863"/>
                  </a:moveTo>
                  <a:cubicBezTo>
                    <a:pt x="1655042" y="2021791"/>
                    <a:pt x="1661558" y="2018533"/>
                    <a:pt x="1668888" y="2017718"/>
                  </a:cubicBezTo>
                  <a:cubicBezTo>
                    <a:pt x="1662373" y="2020976"/>
                    <a:pt x="1655857" y="2023420"/>
                    <a:pt x="1649341" y="2025863"/>
                  </a:cubicBezTo>
                  <a:close/>
                  <a:moveTo>
                    <a:pt x="1672961" y="2008759"/>
                  </a:moveTo>
                  <a:cubicBezTo>
                    <a:pt x="1675405" y="2006315"/>
                    <a:pt x="1677848" y="2004686"/>
                    <a:pt x="1681106" y="2002243"/>
                  </a:cubicBezTo>
                  <a:cubicBezTo>
                    <a:pt x="1681921" y="2003058"/>
                    <a:pt x="1682735" y="2003058"/>
                    <a:pt x="1683550" y="2003872"/>
                  </a:cubicBezTo>
                  <a:cubicBezTo>
                    <a:pt x="1680291" y="2005501"/>
                    <a:pt x="1677033" y="2007130"/>
                    <a:pt x="1672961" y="2008759"/>
                  </a:cubicBezTo>
                  <a:close/>
                  <a:moveTo>
                    <a:pt x="1669703" y="2003058"/>
                  </a:moveTo>
                  <a:cubicBezTo>
                    <a:pt x="1672147" y="2001428"/>
                    <a:pt x="1673776" y="1999799"/>
                    <a:pt x="1676219" y="1998170"/>
                  </a:cubicBezTo>
                  <a:cubicBezTo>
                    <a:pt x="1677033" y="1998985"/>
                    <a:pt x="1678662" y="1998985"/>
                    <a:pt x="1679477" y="1999799"/>
                  </a:cubicBezTo>
                  <a:cubicBezTo>
                    <a:pt x="1675405" y="2000614"/>
                    <a:pt x="1672961" y="2001428"/>
                    <a:pt x="1669703" y="2003058"/>
                  </a:cubicBezTo>
                  <a:close/>
                  <a:moveTo>
                    <a:pt x="1700654" y="1995727"/>
                  </a:moveTo>
                  <a:cubicBezTo>
                    <a:pt x="1699025" y="1995727"/>
                    <a:pt x="1697396" y="1994098"/>
                    <a:pt x="1694138" y="1992469"/>
                  </a:cubicBezTo>
                  <a:cubicBezTo>
                    <a:pt x="1690065" y="1992469"/>
                    <a:pt x="1685178" y="1995727"/>
                    <a:pt x="1680291" y="1993284"/>
                  </a:cubicBezTo>
                  <a:cubicBezTo>
                    <a:pt x="1679477" y="1992469"/>
                    <a:pt x="1677033" y="1993284"/>
                    <a:pt x="1675405" y="1994098"/>
                  </a:cubicBezTo>
                  <a:cubicBezTo>
                    <a:pt x="1664002" y="1998170"/>
                    <a:pt x="1652599" y="2003058"/>
                    <a:pt x="1641196" y="2007944"/>
                  </a:cubicBezTo>
                  <a:cubicBezTo>
                    <a:pt x="1640381" y="2007944"/>
                    <a:pt x="1639567" y="2008759"/>
                    <a:pt x="1639567" y="2009573"/>
                  </a:cubicBezTo>
                  <a:cubicBezTo>
                    <a:pt x="1639567" y="2009573"/>
                    <a:pt x="1639567" y="2009573"/>
                    <a:pt x="1639567" y="2009573"/>
                  </a:cubicBezTo>
                  <a:cubicBezTo>
                    <a:pt x="1639567" y="2009573"/>
                    <a:pt x="1639567" y="2009573"/>
                    <a:pt x="1638753" y="2009573"/>
                  </a:cubicBezTo>
                  <a:cubicBezTo>
                    <a:pt x="1638753" y="2009573"/>
                    <a:pt x="1638753" y="2009573"/>
                    <a:pt x="1638753" y="2009573"/>
                  </a:cubicBezTo>
                  <a:cubicBezTo>
                    <a:pt x="1638753" y="2011202"/>
                    <a:pt x="1637938" y="2012831"/>
                    <a:pt x="1637124" y="2012831"/>
                  </a:cubicBezTo>
                  <a:cubicBezTo>
                    <a:pt x="1635495" y="2013646"/>
                    <a:pt x="1633051" y="2015275"/>
                    <a:pt x="1631422" y="2016089"/>
                  </a:cubicBezTo>
                  <a:cubicBezTo>
                    <a:pt x="1632236" y="2015275"/>
                    <a:pt x="1633051" y="2014460"/>
                    <a:pt x="1633865" y="2012831"/>
                  </a:cubicBezTo>
                  <a:cubicBezTo>
                    <a:pt x="1635495" y="2012017"/>
                    <a:pt x="1637124" y="2010388"/>
                    <a:pt x="1638753" y="2009573"/>
                  </a:cubicBezTo>
                  <a:cubicBezTo>
                    <a:pt x="1637938" y="2009573"/>
                    <a:pt x="1637124" y="2009573"/>
                    <a:pt x="1636309" y="2009573"/>
                  </a:cubicBezTo>
                  <a:cubicBezTo>
                    <a:pt x="1636309" y="2009573"/>
                    <a:pt x="1637124" y="2008759"/>
                    <a:pt x="1637124" y="2008759"/>
                  </a:cubicBezTo>
                  <a:cubicBezTo>
                    <a:pt x="1640381" y="2004686"/>
                    <a:pt x="1642825" y="2001428"/>
                    <a:pt x="1649341" y="2001428"/>
                  </a:cubicBezTo>
                  <a:cubicBezTo>
                    <a:pt x="1655857" y="2001428"/>
                    <a:pt x="1659929" y="1994913"/>
                    <a:pt x="1666445" y="1993284"/>
                  </a:cubicBezTo>
                  <a:cubicBezTo>
                    <a:pt x="1669703" y="1989211"/>
                    <a:pt x="1674590" y="1987582"/>
                    <a:pt x="1678662" y="1986768"/>
                  </a:cubicBezTo>
                  <a:cubicBezTo>
                    <a:pt x="1677848" y="1987582"/>
                    <a:pt x="1677848" y="1987582"/>
                    <a:pt x="1677033" y="1988396"/>
                  </a:cubicBezTo>
                  <a:cubicBezTo>
                    <a:pt x="1680291" y="1990840"/>
                    <a:pt x="1682735" y="1988396"/>
                    <a:pt x="1684364" y="1986768"/>
                  </a:cubicBezTo>
                  <a:cubicBezTo>
                    <a:pt x="1685178" y="1986768"/>
                    <a:pt x="1686807" y="1986768"/>
                    <a:pt x="1687622" y="1986768"/>
                  </a:cubicBezTo>
                  <a:cubicBezTo>
                    <a:pt x="1690065" y="1986768"/>
                    <a:pt x="1690065" y="1989211"/>
                    <a:pt x="1690065" y="1990840"/>
                  </a:cubicBezTo>
                  <a:cubicBezTo>
                    <a:pt x="1691695" y="1990840"/>
                    <a:pt x="1694138" y="1990840"/>
                    <a:pt x="1695767" y="1990840"/>
                  </a:cubicBezTo>
                  <a:cubicBezTo>
                    <a:pt x="1697396" y="1991654"/>
                    <a:pt x="1699025" y="1993284"/>
                    <a:pt x="1700654" y="1995727"/>
                  </a:cubicBezTo>
                  <a:cubicBezTo>
                    <a:pt x="1700654" y="1994913"/>
                    <a:pt x="1700654" y="1994913"/>
                    <a:pt x="1700654" y="1995727"/>
                  </a:cubicBezTo>
                  <a:cubicBezTo>
                    <a:pt x="1700654" y="1995727"/>
                    <a:pt x="1700654" y="1995727"/>
                    <a:pt x="1700654" y="1995727"/>
                  </a:cubicBezTo>
                  <a:close/>
                  <a:moveTo>
                    <a:pt x="1909978" y="1949301"/>
                  </a:moveTo>
                  <a:cubicBezTo>
                    <a:pt x="1909978" y="1948487"/>
                    <a:pt x="1909978" y="1947672"/>
                    <a:pt x="1910792" y="1946858"/>
                  </a:cubicBezTo>
                  <a:cubicBezTo>
                    <a:pt x="1909978" y="1946858"/>
                    <a:pt x="1909163" y="1946858"/>
                    <a:pt x="1909163" y="1946858"/>
                  </a:cubicBezTo>
                  <a:cubicBezTo>
                    <a:pt x="1907534" y="1948487"/>
                    <a:pt x="1905905" y="1949301"/>
                    <a:pt x="1905090" y="1950930"/>
                  </a:cubicBezTo>
                  <a:cubicBezTo>
                    <a:pt x="1905905" y="1950930"/>
                    <a:pt x="1907534" y="1950115"/>
                    <a:pt x="1908348" y="1950115"/>
                  </a:cubicBezTo>
                  <a:cubicBezTo>
                    <a:pt x="1906719" y="1950930"/>
                    <a:pt x="1905090" y="1951745"/>
                    <a:pt x="1903462" y="1952559"/>
                  </a:cubicBezTo>
                  <a:cubicBezTo>
                    <a:pt x="1903462" y="1952559"/>
                    <a:pt x="1904276" y="1951745"/>
                    <a:pt x="1904276" y="1951745"/>
                  </a:cubicBezTo>
                  <a:cubicBezTo>
                    <a:pt x="1903462" y="1951745"/>
                    <a:pt x="1902647" y="1950930"/>
                    <a:pt x="1902647" y="1950930"/>
                  </a:cubicBezTo>
                  <a:cubicBezTo>
                    <a:pt x="1897760" y="1950930"/>
                    <a:pt x="1893688" y="1955002"/>
                    <a:pt x="1888801" y="1952559"/>
                  </a:cubicBezTo>
                  <a:cubicBezTo>
                    <a:pt x="1891244" y="1951745"/>
                    <a:pt x="1894502" y="1950115"/>
                    <a:pt x="1896945" y="1949301"/>
                  </a:cubicBezTo>
                  <a:cubicBezTo>
                    <a:pt x="1897760" y="1948487"/>
                    <a:pt x="1898575" y="1947672"/>
                    <a:pt x="1899389" y="1946858"/>
                  </a:cubicBezTo>
                  <a:cubicBezTo>
                    <a:pt x="1898575" y="1946858"/>
                    <a:pt x="1897760" y="1946043"/>
                    <a:pt x="1897760" y="1946043"/>
                  </a:cubicBezTo>
                  <a:cubicBezTo>
                    <a:pt x="1892873" y="1946043"/>
                    <a:pt x="1887986" y="1950115"/>
                    <a:pt x="1883914" y="1947672"/>
                  </a:cubicBezTo>
                  <a:cubicBezTo>
                    <a:pt x="1888801" y="1946043"/>
                    <a:pt x="1893688" y="1944414"/>
                    <a:pt x="1899389" y="1942785"/>
                  </a:cubicBezTo>
                  <a:cubicBezTo>
                    <a:pt x="1899389" y="1942785"/>
                    <a:pt x="1900204" y="1942785"/>
                    <a:pt x="1900204" y="1942785"/>
                  </a:cubicBezTo>
                  <a:cubicBezTo>
                    <a:pt x="1901018" y="1942785"/>
                    <a:pt x="1901018" y="1942785"/>
                    <a:pt x="1901833" y="1942785"/>
                  </a:cubicBezTo>
                  <a:cubicBezTo>
                    <a:pt x="1901833" y="1943600"/>
                    <a:pt x="1901833" y="1944414"/>
                    <a:pt x="1901833" y="1945229"/>
                  </a:cubicBezTo>
                  <a:cubicBezTo>
                    <a:pt x="1901833" y="1945229"/>
                    <a:pt x="1901018" y="1946043"/>
                    <a:pt x="1901018" y="1946043"/>
                  </a:cubicBezTo>
                  <a:cubicBezTo>
                    <a:pt x="1901018" y="1946043"/>
                    <a:pt x="1901833" y="1946043"/>
                    <a:pt x="1901833" y="1946043"/>
                  </a:cubicBezTo>
                  <a:cubicBezTo>
                    <a:pt x="1901833" y="1946858"/>
                    <a:pt x="1901833" y="1946858"/>
                    <a:pt x="1901833" y="1947672"/>
                  </a:cubicBezTo>
                  <a:cubicBezTo>
                    <a:pt x="1905090" y="1947672"/>
                    <a:pt x="1907534" y="1947672"/>
                    <a:pt x="1910792" y="1946858"/>
                  </a:cubicBezTo>
                  <a:cubicBezTo>
                    <a:pt x="1913235" y="1946043"/>
                    <a:pt x="1915679" y="1944414"/>
                    <a:pt x="1917308" y="1943600"/>
                  </a:cubicBezTo>
                  <a:cubicBezTo>
                    <a:pt x="1918122" y="1944414"/>
                    <a:pt x="1918937" y="1945229"/>
                    <a:pt x="1919752" y="1946043"/>
                  </a:cubicBezTo>
                  <a:cubicBezTo>
                    <a:pt x="1915679" y="1946858"/>
                    <a:pt x="1913235" y="1947672"/>
                    <a:pt x="1909978" y="1949301"/>
                  </a:cubicBezTo>
                  <a:close/>
                  <a:moveTo>
                    <a:pt x="2019119" y="1919980"/>
                  </a:moveTo>
                  <a:cubicBezTo>
                    <a:pt x="2019934" y="1919165"/>
                    <a:pt x="2021563" y="1918350"/>
                    <a:pt x="2022377" y="1917536"/>
                  </a:cubicBezTo>
                  <a:cubicBezTo>
                    <a:pt x="2022377" y="1917536"/>
                    <a:pt x="2023191" y="1917536"/>
                    <a:pt x="2023191" y="1917536"/>
                  </a:cubicBezTo>
                  <a:cubicBezTo>
                    <a:pt x="2026449" y="1916721"/>
                    <a:pt x="2030522" y="1915093"/>
                    <a:pt x="2033780" y="1914278"/>
                  </a:cubicBezTo>
                  <a:cubicBezTo>
                    <a:pt x="2034594" y="1915093"/>
                    <a:pt x="2034594" y="1915093"/>
                    <a:pt x="2035409" y="1915907"/>
                  </a:cubicBezTo>
                  <a:cubicBezTo>
                    <a:pt x="2029708" y="1916721"/>
                    <a:pt x="2025635" y="1917536"/>
                    <a:pt x="2019119" y="1919980"/>
                  </a:cubicBezTo>
                  <a:close/>
                  <a:moveTo>
                    <a:pt x="2234959" y="1608845"/>
                  </a:moveTo>
                  <a:cubicBezTo>
                    <a:pt x="2239031" y="1603143"/>
                    <a:pt x="2244733" y="1599071"/>
                    <a:pt x="2252063" y="1600700"/>
                  </a:cubicBezTo>
                  <a:cubicBezTo>
                    <a:pt x="2247991" y="1606401"/>
                    <a:pt x="2241475" y="1606401"/>
                    <a:pt x="2234959" y="1608845"/>
                  </a:cubicBezTo>
                  <a:close/>
                  <a:moveTo>
                    <a:pt x="2261022" y="1600700"/>
                  </a:moveTo>
                  <a:cubicBezTo>
                    <a:pt x="2260208" y="1601514"/>
                    <a:pt x="2258579" y="1602329"/>
                    <a:pt x="2257765" y="1602329"/>
                  </a:cubicBezTo>
                  <a:cubicBezTo>
                    <a:pt x="2256136" y="1602329"/>
                    <a:pt x="2254507" y="1601514"/>
                    <a:pt x="2252877" y="1600700"/>
                  </a:cubicBezTo>
                  <a:cubicBezTo>
                    <a:pt x="2254507" y="1599885"/>
                    <a:pt x="2255321" y="1598256"/>
                    <a:pt x="2256950" y="1597442"/>
                  </a:cubicBezTo>
                  <a:cubicBezTo>
                    <a:pt x="2257765" y="1597442"/>
                    <a:pt x="2259393" y="1597442"/>
                    <a:pt x="2260208" y="1598256"/>
                  </a:cubicBezTo>
                  <a:cubicBezTo>
                    <a:pt x="2261837" y="1598256"/>
                    <a:pt x="2261837" y="1599885"/>
                    <a:pt x="2261022" y="1600700"/>
                  </a:cubicBezTo>
                  <a:close/>
                  <a:moveTo>
                    <a:pt x="2446726" y="1559975"/>
                  </a:moveTo>
                  <a:cubicBezTo>
                    <a:pt x="2445912" y="1561604"/>
                    <a:pt x="2445097" y="1563233"/>
                    <a:pt x="2444282" y="1564862"/>
                  </a:cubicBezTo>
                  <a:cubicBezTo>
                    <a:pt x="2444282" y="1562419"/>
                    <a:pt x="2444282" y="1560790"/>
                    <a:pt x="2442653" y="1559161"/>
                  </a:cubicBezTo>
                  <a:cubicBezTo>
                    <a:pt x="2442653" y="1559161"/>
                    <a:pt x="2443468" y="1559161"/>
                    <a:pt x="2443468" y="1559161"/>
                  </a:cubicBezTo>
                  <a:cubicBezTo>
                    <a:pt x="2444282" y="1559161"/>
                    <a:pt x="2445912" y="1559161"/>
                    <a:pt x="2446726" y="1559975"/>
                  </a:cubicBezTo>
                  <a:cubicBezTo>
                    <a:pt x="2446726" y="1559975"/>
                    <a:pt x="2446726" y="1559975"/>
                    <a:pt x="2446726" y="1559975"/>
                  </a:cubicBezTo>
                  <a:close/>
                  <a:moveTo>
                    <a:pt x="2592520" y="1523323"/>
                  </a:moveTo>
                  <a:cubicBezTo>
                    <a:pt x="2591705" y="1523323"/>
                    <a:pt x="2590076" y="1523323"/>
                    <a:pt x="2589261" y="1524138"/>
                  </a:cubicBezTo>
                  <a:cubicBezTo>
                    <a:pt x="2588447" y="1523323"/>
                    <a:pt x="2588447" y="1523323"/>
                    <a:pt x="2587633" y="1523323"/>
                  </a:cubicBezTo>
                  <a:cubicBezTo>
                    <a:pt x="2584375" y="1524138"/>
                    <a:pt x="2581117" y="1524138"/>
                    <a:pt x="2577859" y="1524138"/>
                  </a:cubicBezTo>
                  <a:cubicBezTo>
                    <a:pt x="2583560" y="1522509"/>
                    <a:pt x="2589261" y="1521694"/>
                    <a:pt x="2594963" y="1520065"/>
                  </a:cubicBezTo>
                  <a:cubicBezTo>
                    <a:pt x="2596592" y="1520880"/>
                    <a:pt x="2597406" y="1520880"/>
                    <a:pt x="2599035" y="1520065"/>
                  </a:cubicBezTo>
                  <a:cubicBezTo>
                    <a:pt x="2596592" y="1521694"/>
                    <a:pt x="2594149" y="1522509"/>
                    <a:pt x="2592520" y="1523323"/>
                  </a:cubicBezTo>
                  <a:close/>
                  <a:moveTo>
                    <a:pt x="2654421" y="1511920"/>
                  </a:moveTo>
                  <a:cubicBezTo>
                    <a:pt x="2647905" y="1513549"/>
                    <a:pt x="2641389" y="1514364"/>
                    <a:pt x="2634873" y="1515993"/>
                  </a:cubicBezTo>
                  <a:cubicBezTo>
                    <a:pt x="2635687" y="1515178"/>
                    <a:pt x="2636502" y="1514364"/>
                    <a:pt x="2637316" y="1513549"/>
                  </a:cubicBezTo>
                  <a:cubicBezTo>
                    <a:pt x="2639760" y="1513549"/>
                    <a:pt x="2643018" y="1512735"/>
                    <a:pt x="2645461" y="1511920"/>
                  </a:cubicBezTo>
                  <a:cubicBezTo>
                    <a:pt x="2646276" y="1510291"/>
                    <a:pt x="2646276" y="1508662"/>
                    <a:pt x="2645461" y="1507848"/>
                  </a:cubicBezTo>
                  <a:cubicBezTo>
                    <a:pt x="2647090" y="1507033"/>
                    <a:pt x="2649534" y="1506219"/>
                    <a:pt x="2651163" y="1506219"/>
                  </a:cubicBezTo>
                  <a:cubicBezTo>
                    <a:pt x="2650348" y="1507033"/>
                    <a:pt x="2649534" y="1507033"/>
                    <a:pt x="2648720" y="1507848"/>
                  </a:cubicBezTo>
                  <a:cubicBezTo>
                    <a:pt x="2650348" y="1508662"/>
                    <a:pt x="2652792" y="1510291"/>
                    <a:pt x="2654421" y="1511920"/>
                  </a:cubicBezTo>
                  <a:cubicBezTo>
                    <a:pt x="2654421" y="1511920"/>
                    <a:pt x="2654421" y="1511920"/>
                    <a:pt x="2654421" y="1511920"/>
                  </a:cubicBezTo>
                  <a:close/>
                  <a:moveTo>
                    <a:pt x="2654421" y="1261872"/>
                  </a:moveTo>
                  <a:cubicBezTo>
                    <a:pt x="2653606" y="1261872"/>
                    <a:pt x="2653606" y="1261872"/>
                    <a:pt x="2652792" y="1262687"/>
                  </a:cubicBezTo>
                  <a:cubicBezTo>
                    <a:pt x="2647905" y="1264316"/>
                    <a:pt x="2642203" y="1265944"/>
                    <a:pt x="2636502" y="1266759"/>
                  </a:cubicBezTo>
                  <a:cubicBezTo>
                    <a:pt x="2634873" y="1265944"/>
                    <a:pt x="2632430" y="1265130"/>
                    <a:pt x="2630801" y="1265130"/>
                  </a:cubicBezTo>
                  <a:cubicBezTo>
                    <a:pt x="2630801" y="1265130"/>
                    <a:pt x="2629986" y="1265130"/>
                    <a:pt x="2629986" y="1265130"/>
                  </a:cubicBezTo>
                  <a:cubicBezTo>
                    <a:pt x="2638946" y="1261872"/>
                    <a:pt x="2647090" y="1260243"/>
                    <a:pt x="2655235" y="1257800"/>
                  </a:cubicBezTo>
                  <a:cubicBezTo>
                    <a:pt x="2655235" y="1258614"/>
                    <a:pt x="2655235" y="1260243"/>
                    <a:pt x="2654421" y="1261872"/>
                  </a:cubicBezTo>
                  <a:close/>
                  <a:moveTo>
                    <a:pt x="2676412" y="1271646"/>
                  </a:moveTo>
                  <a:cubicBezTo>
                    <a:pt x="2676412" y="1271646"/>
                    <a:pt x="2676412" y="1270831"/>
                    <a:pt x="2675598" y="1270831"/>
                  </a:cubicBezTo>
                  <a:cubicBezTo>
                    <a:pt x="2682113" y="1268388"/>
                    <a:pt x="2689444" y="1267574"/>
                    <a:pt x="2695960" y="1265944"/>
                  </a:cubicBezTo>
                  <a:cubicBezTo>
                    <a:pt x="2689444" y="1267574"/>
                    <a:pt x="2682928" y="1269202"/>
                    <a:pt x="2676412" y="1271646"/>
                  </a:cubicBezTo>
                  <a:close/>
                  <a:moveTo>
                    <a:pt x="2686186" y="1255356"/>
                  </a:moveTo>
                  <a:cubicBezTo>
                    <a:pt x="2686186" y="1254542"/>
                    <a:pt x="2686186" y="1253727"/>
                    <a:pt x="2687000" y="1252913"/>
                  </a:cubicBezTo>
                  <a:cubicBezTo>
                    <a:pt x="2687000" y="1252098"/>
                    <a:pt x="2687815" y="1252098"/>
                    <a:pt x="2688629" y="1251284"/>
                  </a:cubicBezTo>
                  <a:cubicBezTo>
                    <a:pt x="2691073" y="1252098"/>
                    <a:pt x="2693516" y="1252913"/>
                    <a:pt x="2696774" y="1252913"/>
                  </a:cubicBezTo>
                  <a:cubicBezTo>
                    <a:pt x="2696774" y="1252913"/>
                    <a:pt x="2697589" y="1252913"/>
                    <a:pt x="2697589" y="1252913"/>
                  </a:cubicBezTo>
                  <a:cubicBezTo>
                    <a:pt x="2692702" y="1253727"/>
                    <a:pt x="2689444" y="1254542"/>
                    <a:pt x="2686186" y="1255356"/>
                  </a:cubicBezTo>
                  <a:close/>
                  <a:moveTo>
                    <a:pt x="2683742" y="1243953"/>
                  </a:moveTo>
                  <a:cubicBezTo>
                    <a:pt x="2685372" y="1243953"/>
                    <a:pt x="2687000" y="1243139"/>
                    <a:pt x="2688629" y="1242324"/>
                  </a:cubicBezTo>
                  <a:cubicBezTo>
                    <a:pt x="2689444" y="1241510"/>
                    <a:pt x="2691073" y="1241510"/>
                    <a:pt x="2691887" y="1240695"/>
                  </a:cubicBezTo>
                  <a:cubicBezTo>
                    <a:pt x="2691073" y="1243139"/>
                    <a:pt x="2689444" y="1245582"/>
                    <a:pt x="2687815" y="1248026"/>
                  </a:cubicBezTo>
                  <a:cubicBezTo>
                    <a:pt x="2686186" y="1247211"/>
                    <a:pt x="2685372" y="1245582"/>
                    <a:pt x="2683742" y="1243953"/>
                  </a:cubicBezTo>
                  <a:close/>
                  <a:moveTo>
                    <a:pt x="2752974" y="1246397"/>
                  </a:moveTo>
                  <a:cubicBezTo>
                    <a:pt x="2752159" y="1248026"/>
                    <a:pt x="2751345" y="1250469"/>
                    <a:pt x="2749716" y="1252098"/>
                  </a:cubicBezTo>
                  <a:cubicBezTo>
                    <a:pt x="2745643" y="1252098"/>
                    <a:pt x="2741571" y="1252098"/>
                    <a:pt x="2736684" y="1252913"/>
                  </a:cubicBezTo>
                  <a:cubicBezTo>
                    <a:pt x="2741571" y="1251284"/>
                    <a:pt x="2746458" y="1250469"/>
                    <a:pt x="2749716" y="1248026"/>
                  </a:cubicBezTo>
                  <a:cubicBezTo>
                    <a:pt x="2750531" y="1247211"/>
                    <a:pt x="2752159" y="1246397"/>
                    <a:pt x="2752974" y="1246397"/>
                  </a:cubicBezTo>
                  <a:cubicBezTo>
                    <a:pt x="2752974" y="1246397"/>
                    <a:pt x="2752974" y="1246397"/>
                    <a:pt x="2752974" y="1246397"/>
                  </a:cubicBezTo>
                  <a:close/>
                  <a:moveTo>
                    <a:pt x="2761119" y="1231736"/>
                  </a:moveTo>
                  <a:cubicBezTo>
                    <a:pt x="2761119" y="1231736"/>
                    <a:pt x="2761119" y="1231736"/>
                    <a:pt x="2761119" y="1231736"/>
                  </a:cubicBezTo>
                  <a:cubicBezTo>
                    <a:pt x="2761119" y="1231736"/>
                    <a:pt x="2761119" y="1231736"/>
                    <a:pt x="2761119" y="1231736"/>
                  </a:cubicBezTo>
                  <a:cubicBezTo>
                    <a:pt x="2759490" y="1234179"/>
                    <a:pt x="2758676" y="1237437"/>
                    <a:pt x="2757047" y="1239881"/>
                  </a:cubicBezTo>
                  <a:cubicBezTo>
                    <a:pt x="2749716" y="1240695"/>
                    <a:pt x="2743200" y="1242324"/>
                    <a:pt x="2735870" y="1243139"/>
                  </a:cubicBezTo>
                  <a:cubicBezTo>
                    <a:pt x="2736684" y="1239881"/>
                    <a:pt x="2736684" y="1236623"/>
                    <a:pt x="2735870" y="1233365"/>
                  </a:cubicBezTo>
                  <a:cubicBezTo>
                    <a:pt x="2741571" y="1232550"/>
                    <a:pt x="2748087" y="1231736"/>
                    <a:pt x="2753788" y="1230922"/>
                  </a:cubicBezTo>
                  <a:cubicBezTo>
                    <a:pt x="2756232" y="1230922"/>
                    <a:pt x="2758676" y="1231736"/>
                    <a:pt x="2761119" y="1231736"/>
                  </a:cubicBezTo>
                  <a:cubicBezTo>
                    <a:pt x="2761119" y="1231736"/>
                    <a:pt x="2761119" y="1231736"/>
                    <a:pt x="2761119" y="1231736"/>
                  </a:cubicBezTo>
                  <a:close/>
                  <a:moveTo>
                    <a:pt x="2801029" y="1218704"/>
                  </a:moveTo>
                  <a:cubicBezTo>
                    <a:pt x="2802658" y="1215446"/>
                    <a:pt x="2802658" y="1215446"/>
                    <a:pt x="2806730" y="1215446"/>
                  </a:cubicBezTo>
                  <a:cubicBezTo>
                    <a:pt x="2805101" y="1216261"/>
                    <a:pt x="2803473" y="1217075"/>
                    <a:pt x="2801029" y="1218704"/>
                  </a:cubicBezTo>
                  <a:close/>
                  <a:moveTo>
                    <a:pt x="2795328" y="1174722"/>
                  </a:moveTo>
                  <a:cubicBezTo>
                    <a:pt x="2796142" y="1174722"/>
                    <a:pt x="2796956" y="1174722"/>
                    <a:pt x="2797771" y="1174722"/>
                  </a:cubicBezTo>
                  <a:cubicBezTo>
                    <a:pt x="2803473" y="1174722"/>
                    <a:pt x="2809174" y="1174722"/>
                    <a:pt x="2814061" y="1177165"/>
                  </a:cubicBezTo>
                  <a:cubicBezTo>
                    <a:pt x="2807545" y="1177165"/>
                    <a:pt x="2801029" y="1177980"/>
                    <a:pt x="2795328" y="1177980"/>
                  </a:cubicBezTo>
                  <a:cubicBezTo>
                    <a:pt x="2795328" y="1177165"/>
                    <a:pt x="2795328" y="1175536"/>
                    <a:pt x="2795328" y="1174722"/>
                  </a:cubicBezTo>
                  <a:close/>
                  <a:moveTo>
                    <a:pt x="2797771" y="1185310"/>
                  </a:moveTo>
                  <a:cubicBezTo>
                    <a:pt x="2796142" y="1185310"/>
                    <a:pt x="2793699" y="1186125"/>
                    <a:pt x="2791255" y="1186125"/>
                  </a:cubicBezTo>
                  <a:cubicBezTo>
                    <a:pt x="2793699" y="1183681"/>
                    <a:pt x="2796142" y="1184496"/>
                    <a:pt x="2797771" y="1185310"/>
                  </a:cubicBezTo>
                  <a:close/>
                  <a:moveTo>
                    <a:pt x="2798585" y="1204858"/>
                  </a:moveTo>
                  <a:cubicBezTo>
                    <a:pt x="2798585" y="1204043"/>
                    <a:pt x="2798585" y="1202414"/>
                    <a:pt x="2798585" y="1200785"/>
                  </a:cubicBezTo>
                  <a:cubicBezTo>
                    <a:pt x="2801843" y="1199971"/>
                    <a:pt x="2805916" y="1199156"/>
                    <a:pt x="2809988" y="1199156"/>
                  </a:cubicBezTo>
                  <a:cubicBezTo>
                    <a:pt x="2809174" y="1198342"/>
                    <a:pt x="2809174" y="1197527"/>
                    <a:pt x="2808359" y="1196713"/>
                  </a:cubicBezTo>
                  <a:cubicBezTo>
                    <a:pt x="2805101" y="1195898"/>
                    <a:pt x="2801843" y="1195898"/>
                    <a:pt x="2797771" y="1195084"/>
                  </a:cubicBezTo>
                  <a:cubicBezTo>
                    <a:pt x="2801843" y="1191012"/>
                    <a:pt x="2805101" y="1188568"/>
                    <a:pt x="2808359" y="1185310"/>
                  </a:cubicBezTo>
                  <a:cubicBezTo>
                    <a:pt x="2808359" y="1185310"/>
                    <a:pt x="2808359" y="1185310"/>
                    <a:pt x="2808359" y="1185310"/>
                  </a:cubicBezTo>
                  <a:cubicBezTo>
                    <a:pt x="2810803" y="1184496"/>
                    <a:pt x="2813246" y="1182867"/>
                    <a:pt x="2815690" y="1182052"/>
                  </a:cubicBezTo>
                  <a:cubicBezTo>
                    <a:pt x="2822206" y="1181238"/>
                    <a:pt x="2828721" y="1181238"/>
                    <a:pt x="2834423" y="1178794"/>
                  </a:cubicBezTo>
                  <a:cubicBezTo>
                    <a:pt x="2840125" y="1177165"/>
                    <a:pt x="2844197" y="1178794"/>
                    <a:pt x="2849898" y="1182052"/>
                  </a:cubicBezTo>
                  <a:cubicBezTo>
                    <a:pt x="2848269" y="1182867"/>
                    <a:pt x="2847455" y="1184496"/>
                    <a:pt x="2845826" y="1185310"/>
                  </a:cubicBezTo>
                  <a:cubicBezTo>
                    <a:pt x="2840125" y="1186125"/>
                    <a:pt x="2834423" y="1186125"/>
                    <a:pt x="2827907" y="1186125"/>
                  </a:cubicBezTo>
                  <a:cubicBezTo>
                    <a:pt x="2825463" y="1187753"/>
                    <a:pt x="2822206" y="1191012"/>
                    <a:pt x="2818133" y="1194270"/>
                  </a:cubicBezTo>
                  <a:cubicBezTo>
                    <a:pt x="2827092" y="1199156"/>
                    <a:pt x="2835237" y="1196713"/>
                    <a:pt x="2842568" y="1197527"/>
                  </a:cubicBezTo>
                  <a:cubicBezTo>
                    <a:pt x="2843382" y="1199971"/>
                    <a:pt x="2841753" y="1200785"/>
                    <a:pt x="2840125" y="1200785"/>
                  </a:cubicBezTo>
                  <a:cubicBezTo>
                    <a:pt x="2837681" y="1201600"/>
                    <a:pt x="2834423" y="1199971"/>
                    <a:pt x="2832794" y="1204043"/>
                  </a:cubicBezTo>
                  <a:cubicBezTo>
                    <a:pt x="2834423" y="1204858"/>
                    <a:pt x="2836052" y="1205672"/>
                    <a:pt x="2838495" y="1206487"/>
                  </a:cubicBezTo>
                  <a:cubicBezTo>
                    <a:pt x="2837681" y="1207301"/>
                    <a:pt x="2837681" y="1208116"/>
                    <a:pt x="2836866" y="1208116"/>
                  </a:cubicBezTo>
                  <a:cubicBezTo>
                    <a:pt x="2827092" y="1208116"/>
                    <a:pt x="2817318" y="1208116"/>
                    <a:pt x="2806730" y="1208930"/>
                  </a:cubicBezTo>
                  <a:cubicBezTo>
                    <a:pt x="2783925" y="1209745"/>
                    <a:pt x="2761119" y="1211374"/>
                    <a:pt x="2737499" y="1213003"/>
                  </a:cubicBezTo>
                  <a:cubicBezTo>
                    <a:pt x="2732612" y="1213003"/>
                    <a:pt x="2727725" y="1213003"/>
                    <a:pt x="2720395" y="1213003"/>
                  </a:cubicBezTo>
                  <a:cubicBezTo>
                    <a:pt x="2724467" y="1208930"/>
                    <a:pt x="2726910" y="1205672"/>
                    <a:pt x="2729354" y="1202414"/>
                  </a:cubicBezTo>
                  <a:cubicBezTo>
                    <a:pt x="2739942" y="1204858"/>
                    <a:pt x="2751345" y="1202414"/>
                    <a:pt x="2762748" y="1207301"/>
                  </a:cubicBezTo>
                  <a:cubicBezTo>
                    <a:pt x="2762748" y="1207301"/>
                    <a:pt x="2763562" y="1207301"/>
                    <a:pt x="2764377" y="1207301"/>
                  </a:cubicBezTo>
                  <a:cubicBezTo>
                    <a:pt x="2774965" y="1203229"/>
                    <a:pt x="2787183" y="1206487"/>
                    <a:pt x="2798585" y="1204858"/>
                  </a:cubicBezTo>
                  <a:close/>
                  <a:moveTo>
                    <a:pt x="2769264" y="1195898"/>
                  </a:moveTo>
                  <a:cubicBezTo>
                    <a:pt x="2760304" y="1199156"/>
                    <a:pt x="2751345" y="1198342"/>
                    <a:pt x="2742386" y="1199156"/>
                  </a:cubicBezTo>
                  <a:cubicBezTo>
                    <a:pt x="2753788" y="1195084"/>
                    <a:pt x="2760304" y="1194270"/>
                    <a:pt x="2769264" y="1195898"/>
                  </a:cubicBezTo>
                  <a:close/>
                  <a:moveTo>
                    <a:pt x="2706548" y="1206487"/>
                  </a:moveTo>
                  <a:cubicBezTo>
                    <a:pt x="2707362" y="1206487"/>
                    <a:pt x="2708177" y="1204858"/>
                    <a:pt x="2709806" y="1204043"/>
                  </a:cubicBezTo>
                  <a:cubicBezTo>
                    <a:pt x="2704919" y="1200785"/>
                    <a:pt x="2700032" y="1204043"/>
                    <a:pt x="2695960" y="1201600"/>
                  </a:cubicBezTo>
                  <a:cubicBezTo>
                    <a:pt x="2697589" y="1195898"/>
                    <a:pt x="2699217" y="1194270"/>
                    <a:pt x="2702476" y="1194270"/>
                  </a:cubicBezTo>
                  <a:cubicBezTo>
                    <a:pt x="2704919" y="1194270"/>
                    <a:pt x="2706548" y="1195084"/>
                    <a:pt x="2708991" y="1195898"/>
                  </a:cubicBezTo>
                  <a:cubicBezTo>
                    <a:pt x="2717951" y="1199971"/>
                    <a:pt x="2726910" y="1199156"/>
                    <a:pt x="2735055" y="1195084"/>
                  </a:cubicBezTo>
                  <a:cubicBezTo>
                    <a:pt x="2736684" y="1194270"/>
                    <a:pt x="2738313" y="1194270"/>
                    <a:pt x="2740757" y="1192640"/>
                  </a:cubicBezTo>
                  <a:cubicBezTo>
                    <a:pt x="2741571" y="1195084"/>
                    <a:pt x="2742386" y="1196713"/>
                    <a:pt x="2742386" y="1199156"/>
                  </a:cubicBezTo>
                  <a:cubicBezTo>
                    <a:pt x="2736684" y="1199971"/>
                    <a:pt x="2730168" y="1199971"/>
                    <a:pt x="2724467" y="1200785"/>
                  </a:cubicBezTo>
                  <a:cubicBezTo>
                    <a:pt x="2722838" y="1200785"/>
                    <a:pt x="2720395" y="1202414"/>
                    <a:pt x="2720395" y="1203229"/>
                  </a:cubicBezTo>
                  <a:cubicBezTo>
                    <a:pt x="2722024" y="1208930"/>
                    <a:pt x="2713879" y="1208930"/>
                    <a:pt x="2713879" y="1213817"/>
                  </a:cubicBezTo>
                  <a:cubicBezTo>
                    <a:pt x="2702476" y="1215446"/>
                    <a:pt x="2691887" y="1216261"/>
                    <a:pt x="2681299" y="1217890"/>
                  </a:cubicBezTo>
                  <a:cubicBezTo>
                    <a:pt x="2678041" y="1218704"/>
                    <a:pt x="2673969" y="1218704"/>
                    <a:pt x="2670710" y="1219519"/>
                  </a:cubicBezTo>
                  <a:cubicBezTo>
                    <a:pt x="2670710" y="1219519"/>
                    <a:pt x="2670710" y="1218704"/>
                    <a:pt x="2670710" y="1218704"/>
                  </a:cubicBezTo>
                  <a:cubicBezTo>
                    <a:pt x="2671525" y="1217075"/>
                    <a:pt x="2672339" y="1214632"/>
                    <a:pt x="2673154" y="1213003"/>
                  </a:cubicBezTo>
                  <a:cubicBezTo>
                    <a:pt x="2673154" y="1212188"/>
                    <a:pt x="2673969" y="1212188"/>
                    <a:pt x="2674783" y="1211374"/>
                  </a:cubicBezTo>
                  <a:cubicBezTo>
                    <a:pt x="2675598" y="1210559"/>
                    <a:pt x="2675598" y="1209745"/>
                    <a:pt x="2676412" y="1209745"/>
                  </a:cubicBezTo>
                  <a:cubicBezTo>
                    <a:pt x="2686186" y="1208930"/>
                    <a:pt x="2696774" y="1208116"/>
                    <a:pt x="2706548" y="1206487"/>
                  </a:cubicBezTo>
                  <a:close/>
                </a:path>
              </a:pathLst>
            </a:custGeom>
            <a:grpFill/>
            <a:ln w="81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58BBB2-F31A-8DF4-53AB-BBA4A7CED3EB}"/>
                </a:ext>
              </a:extLst>
            </p:cNvPr>
            <p:cNvSpPr/>
            <p:nvPr/>
          </p:nvSpPr>
          <p:spPr>
            <a:xfrm>
              <a:off x="865560" y="3768101"/>
              <a:ext cx="1629" cy="1176"/>
            </a:xfrm>
            <a:custGeom>
              <a:avLst/>
              <a:gdLst>
                <a:gd name="connsiteX0" fmla="*/ 1629 w 1629"/>
                <a:gd name="connsiteY0" fmla="*/ 814 h 1176"/>
                <a:gd name="connsiteX1" fmla="*/ 815 w 1629"/>
                <a:gd name="connsiteY1" fmla="*/ 0 h 1176"/>
                <a:gd name="connsiteX2" fmla="*/ 0 w 1629"/>
                <a:gd name="connsiteY2" fmla="*/ 814 h 1176"/>
                <a:gd name="connsiteX3" fmla="*/ 1629 w 1629"/>
                <a:gd name="connsiteY3" fmla="*/ 814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9" h="1176">
                  <a:moveTo>
                    <a:pt x="1629" y="814"/>
                  </a:moveTo>
                  <a:cubicBezTo>
                    <a:pt x="1629" y="814"/>
                    <a:pt x="815" y="814"/>
                    <a:pt x="815" y="0"/>
                  </a:cubicBezTo>
                  <a:cubicBezTo>
                    <a:pt x="815" y="814"/>
                    <a:pt x="0" y="814"/>
                    <a:pt x="0" y="814"/>
                  </a:cubicBezTo>
                  <a:cubicBezTo>
                    <a:pt x="0" y="1629"/>
                    <a:pt x="815" y="814"/>
                    <a:pt x="1629" y="814"/>
                  </a:cubicBezTo>
                  <a:close/>
                </a:path>
              </a:pathLst>
            </a:custGeom>
            <a:grpFill/>
            <a:ln w="81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grpSp>
        <p:nvGrpSpPr>
          <p:cNvPr id="8" name="Graphic 7">
            <a:extLst>
              <a:ext uri="{FF2B5EF4-FFF2-40B4-BE49-F238E27FC236}">
                <a16:creationId xmlns:a16="http://schemas.microsoft.com/office/drawing/2014/main" id="{59CB643F-9BC3-4E5B-BAF9-CC952F7D2A3E}"/>
              </a:ext>
            </a:extLst>
          </p:cNvPr>
          <p:cNvGrpSpPr/>
          <p:nvPr/>
        </p:nvGrpSpPr>
        <p:grpSpPr>
          <a:xfrm>
            <a:off x="218202" y="544322"/>
            <a:ext cx="7130864" cy="5470961"/>
            <a:chOff x="431438" y="2068033"/>
            <a:chExt cx="2945193" cy="2259621"/>
          </a:xfrm>
          <a:solidFill>
            <a:srgbClr val="00AF9A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A5A186C-0C87-6487-4D24-BB8D323238EB}"/>
                </a:ext>
              </a:extLst>
            </p:cNvPr>
            <p:cNvSpPr/>
            <p:nvPr/>
          </p:nvSpPr>
          <p:spPr>
            <a:xfrm>
              <a:off x="431438" y="2068033"/>
              <a:ext cx="2945193" cy="2259621"/>
            </a:xfrm>
            <a:custGeom>
              <a:avLst/>
              <a:gdLst>
                <a:gd name="connsiteX0" fmla="*/ 2941936 w 2945193"/>
                <a:gd name="connsiteY0" fmla="*/ 902682 h 2259621"/>
                <a:gd name="connsiteX1" fmla="*/ 2937863 w 2945193"/>
                <a:gd name="connsiteY1" fmla="*/ 904311 h 2259621"/>
                <a:gd name="connsiteX2" fmla="*/ 2932976 w 2945193"/>
                <a:gd name="connsiteY2" fmla="*/ 905126 h 2259621"/>
                <a:gd name="connsiteX3" fmla="*/ 2923202 w 2945193"/>
                <a:gd name="connsiteY3" fmla="*/ 908384 h 2259621"/>
                <a:gd name="connsiteX4" fmla="*/ 2921573 w 2945193"/>
                <a:gd name="connsiteY4" fmla="*/ 909198 h 2259621"/>
                <a:gd name="connsiteX5" fmla="*/ 2913429 w 2945193"/>
                <a:gd name="connsiteY5" fmla="*/ 911642 h 2259621"/>
                <a:gd name="connsiteX6" fmla="*/ 2910170 w 2945193"/>
                <a:gd name="connsiteY6" fmla="*/ 912456 h 2259621"/>
                <a:gd name="connsiteX7" fmla="*/ 2905284 w 2945193"/>
                <a:gd name="connsiteY7" fmla="*/ 913271 h 2259621"/>
                <a:gd name="connsiteX8" fmla="*/ 2898767 w 2945193"/>
                <a:gd name="connsiteY8" fmla="*/ 914085 h 2259621"/>
                <a:gd name="connsiteX9" fmla="*/ 2896324 w 2945193"/>
                <a:gd name="connsiteY9" fmla="*/ 914085 h 2259621"/>
                <a:gd name="connsiteX10" fmla="*/ 2890622 w 2945193"/>
                <a:gd name="connsiteY10" fmla="*/ 916529 h 2259621"/>
                <a:gd name="connsiteX11" fmla="*/ 2883292 w 2945193"/>
                <a:gd name="connsiteY11" fmla="*/ 918158 h 2259621"/>
                <a:gd name="connsiteX12" fmla="*/ 2877591 w 2945193"/>
                <a:gd name="connsiteY12" fmla="*/ 919786 h 2259621"/>
                <a:gd name="connsiteX13" fmla="*/ 2872704 w 2945193"/>
                <a:gd name="connsiteY13" fmla="*/ 920601 h 2259621"/>
                <a:gd name="connsiteX14" fmla="*/ 2867817 w 2945193"/>
                <a:gd name="connsiteY14" fmla="*/ 923044 h 2259621"/>
                <a:gd name="connsiteX15" fmla="*/ 2862115 w 2945193"/>
                <a:gd name="connsiteY15" fmla="*/ 923859 h 2259621"/>
                <a:gd name="connsiteX16" fmla="*/ 2860487 w 2945193"/>
                <a:gd name="connsiteY16" fmla="*/ 924673 h 2259621"/>
                <a:gd name="connsiteX17" fmla="*/ 2858043 w 2945193"/>
                <a:gd name="connsiteY17" fmla="*/ 923859 h 2259621"/>
                <a:gd name="connsiteX18" fmla="*/ 2854785 w 2945193"/>
                <a:gd name="connsiteY18" fmla="*/ 923044 h 2259621"/>
                <a:gd name="connsiteX19" fmla="*/ 2847455 w 2945193"/>
                <a:gd name="connsiteY19" fmla="*/ 924673 h 2259621"/>
                <a:gd name="connsiteX20" fmla="*/ 2842568 w 2945193"/>
                <a:gd name="connsiteY20" fmla="*/ 924673 h 2259621"/>
                <a:gd name="connsiteX21" fmla="*/ 2837681 w 2945193"/>
                <a:gd name="connsiteY21" fmla="*/ 927117 h 2259621"/>
                <a:gd name="connsiteX22" fmla="*/ 2831165 w 2945193"/>
                <a:gd name="connsiteY22" fmla="*/ 930375 h 2259621"/>
                <a:gd name="connsiteX23" fmla="*/ 2829536 w 2945193"/>
                <a:gd name="connsiteY23" fmla="*/ 931189 h 2259621"/>
                <a:gd name="connsiteX24" fmla="*/ 2822206 w 2945193"/>
                <a:gd name="connsiteY24" fmla="*/ 932818 h 2259621"/>
                <a:gd name="connsiteX25" fmla="*/ 2820577 w 2945193"/>
                <a:gd name="connsiteY25" fmla="*/ 932818 h 2259621"/>
                <a:gd name="connsiteX26" fmla="*/ 2815690 w 2945193"/>
                <a:gd name="connsiteY26" fmla="*/ 932818 h 2259621"/>
                <a:gd name="connsiteX27" fmla="*/ 2811617 w 2945193"/>
                <a:gd name="connsiteY27" fmla="*/ 933633 h 2259621"/>
                <a:gd name="connsiteX28" fmla="*/ 2806730 w 2945193"/>
                <a:gd name="connsiteY28" fmla="*/ 936076 h 2259621"/>
                <a:gd name="connsiteX29" fmla="*/ 2801843 w 2945193"/>
                <a:gd name="connsiteY29" fmla="*/ 936076 h 2259621"/>
                <a:gd name="connsiteX30" fmla="*/ 2795328 w 2945193"/>
                <a:gd name="connsiteY30" fmla="*/ 936076 h 2259621"/>
                <a:gd name="connsiteX31" fmla="*/ 2792069 w 2945193"/>
                <a:gd name="connsiteY31" fmla="*/ 936891 h 2259621"/>
                <a:gd name="connsiteX32" fmla="*/ 2784739 w 2945193"/>
                <a:gd name="connsiteY32" fmla="*/ 937705 h 2259621"/>
                <a:gd name="connsiteX33" fmla="*/ 2779852 w 2945193"/>
                <a:gd name="connsiteY33" fmla="*/ 937705 h 2259621"/>
                <a:gd name="connsiteX34" fmla="*/ 2767635 w 2945193"/>
                <a:gd name="connsiteY34" fmla="*/ 940963 h 2259621"/>
                <a:gd name="connsiteX35" fmla="*/ 2760304 w 2945193"/>
                <a:gd name="connsiteY35" fmla="*/ 945036 h 2259621"/>
                <a:gd name="connsiteX36" fmla="*/ 2752974 w 2945193"/>
                <a:gd name="connsiteY36" fmla="*/ 946665 h 2259621"/>
                <a:gd name="connsiteX37" fmla="*/ 2748087 w 2945193"/>
                <a:gd name="connsiteY37" fmla="*/ 947479 h 2259621"/>
                <a:gd name="connsiteX38" fmla="*/ 2742386 w 2945193"/>
                <a:gd name="connsiteY38" fmla="*/ 950737 h 2259621"/>
                <a:gd name="connsiteX39" fmla="*/ 2737499 w 2945193"/>
                <a:gd name="connsiteY39" fmla="*/ 952366 h 2259621"/>
                <a:gd name="connsiteX40" fmla="*/ 2736684 w 2945193"/>
                <a:gd name="connsiteY40" fmla="*/ 952366 h 2259621"/>
                <a:gd name="connsiteX41" fmla="*/ 2726910 w 2945193"/>
                <a:gd name="connsiteY41" fmla="*/ 959696 h 2259621"/>
                <a:gd name="connsiteX42" fmla="*/ 2725281 w 2945193"/>
                <a:gd name="connsiteY42" fmla="*/ 960511 h 2259621"/>
                <a:gd name="connsiteX43" fmla="*/ 2719580 w 2945193"/>
                <a:gd name="connsiteY43" fmla="*/ 962140 h 2259621"/>
                <a:gd name="connsiteX44" fmla="*/ 2715507 w 2945193"/>
                <a:gd name="connsiteY44" fmla="*/ 963769 h 2259621"/>
                <a:gd name="connsiteX45" fmla="*/ 2706548 w 2945193"/>
                <a:gd name="connsiteY45" fmla="*/ 966212 h 2259621"/>
                <a:gd name="connsiteX46" fmla="*/ 2704919 w 2945193"/>
                <a:gd name="connsiteY46" fmla="*/ 967027 h 2259621"/>
                <a:gd name="connsiteX47" fmla="*/ 2698403 w 2945193"/>
                <a:gd name="connsiteY47" fmla="*/ 969470 h 2259621"/>
                <a:gd name="connsiteX48" fmla="*/ 2687000 w 2945193"/>
                <a:gd name="connsiteY48" fmla="*/ 974357 h 2259621"/>
                <a:gd name="connsiteX49" fmla="*/ 2685372 w 2945193"/>
                <a:gd name="connsiteY49" fmla="*/ 975172 h 2259621"/>
                <a:gd name="connsiteX50" fmla="*/ 2669896 w 2945193"/>
                <a:gd name="connsiteY50" fmla="*/ 984131 h 2259621"/>
                <a:gd name="connsiteX51" fmla="*/ 2665824 w 2945193"/>
                <a:gd name="connsiteY51" fmla="*/ 984946 h 2259621"/>
                <a:gd name="connsiteX52" fmla="*/ 2664195 w 2945193"/>
                <a:gd name="connsiteY52" fmla="*/ 985760 h 2259621"/>
                <a:gd name="connsiteX53" fmla="*/ 2660122 w 2945193"/>
                <a:gd name="connsiteY53" fmla="*/ 988204 h 2259621"/>
                <a:gd name="connsiteX54" fmla="*/ 2657679 w 2945193"/>
                <a:gd name="connsiteY54" fmla="*/ 989833 h 2259621"/>
                <a:gd name="connsiteX55" fmla="*/ 2644647 w 2945193"/>
                <a:gd name="connsiteY55" fmla="*/ 995534 h 2259621"/>
                <a:gd name="connsiteX56" fmla="*/ 2643018 w 2945193"/>
                <a:gd name="connsiteY56" fmla="*/ 996348 h 2259621"/>
                <a:gd name="connsiteX57" fmla="*/ 2642203 w 2945193"/>
                <a:gd name="connsiteY57" fmla="*/ 996348 h 2259621"/>
                <a:gd name="connsiteX58" fmla="*/ 2635687 w 2945193"/>
                <a:gd name="connsiteY58" fmla="*/ 997978 h 2259621"/>
                <a:gd name="connsiteX59" fmla="*/ 2632430 w 2945193"/>
                <a:gd name="connsiteY59" fmla="*/ 998792 h 2259621"/>
                <a:gd name="connsiteX60" fmla="*/ 2622656 w 2945193"/>
                <a:gd name="connsiteY60" fmla="*/ 1001235 h 2259621"/>
                <a:gd name="connsiteX61" fmla="*/ 2622656 w 2945193"/>
                <a:gd name="connsiteY61" fmla="*/ 1000421 h 2259621"/>
                <a:gd name="connsiteX62" fmla="*/ 2612882 w 2945193"/>
                <a:gd name="connsiteY62" fmla="*/ 996348 h 2259621"/>
                <a:gd name="connsiteX63" fmla="*/ 2607180 w 2945193"/>
                <a:gd name="connsiteY63" fmla="*/ 1002050 h 2259621"/>
                <a:gd name="connsiteX64" fmla="*/ 2587633 w 2945193"/>
                <a:gd name="connsiteY64" fmla="*/ 982502 h 2259621"/>
                <a:gd name="connsiteX65" fmla="*/ 2564012 w 2945193"/>
                <a:gd name="connsiteY65" fmla="*/ 962955 h 2259621"/>
                <a:gd name="connsiteX66" fmla="*/ 2502111 w 2945193"/>
                <a:gd name="connsiteY66" fmla="*/ 946665 h 2259621"/>
                <a:gd name="connsiteX67" fmla="*/ 2488265 w 2945193"/>
                <a:gd name="connsiteY67" fmla="*/ 947479 h 2259621"/>
                <a:gd name="connsiteX68" fmla="*/ 2489079 w 2945193"/>
                <a:gd name="connsiteY68" fmla="*/ 946665 h 2259621"/>
                <a:gd name="connsiteX69" fmla="*/ 2483378 w 2945193"/>
                <a:gd name="connsiteY69" fmla="*/ 946665 h 2259621"/>
                <a:gd name="connsiteX70" fmla="*/ 2483378 w 2945193"/>
                <a:gd name="connsiteY70" fmla="*/ 945036 h 2259621"/>
                <a:gd name="connsiteX71" fmla="*/ 2483378 w 2945193"/>
                <a:gd name="connsiteY71" fmla="*/ 936891 h 2259621"/>
                <a:gd name="connsiteX72" fmla="*/ 2480934 w 2945193"/>
                <a:gd name="connsiteY72" fmla="*/ 934447 h 2259621"/>
                <a:gd name="connsiteX73" fmla="*/ 2476862 w 2945193"/>
                <a:gd name="connsiteY73" fmla="*/ 934447 h 2259621"/>
                <a:gd name="connsiteX74" fmla="*/ 2475233 w 2945193"/>
                <a:gd name="connsiteY74" fmla="*/ 935262 h 2259621"/>
                <a:gd name="connsiteX75" fmla="*/ 2468717 w 2945193"/>
                <a:gd name="connsiteY75" fmla="*/ 938520 h 2259621"/>
                <a:gd name="connsiteX76" fmla="*/ 2464645 w 2945193"/>
                <a:gd name="connsiteY76" fmla="*/ 936891 h 2259621"/>
                <a:gd name="connsiteX77" fmla="*/ 2465459 w 2945193"/>
                <a:gd name="connsiteY77" fmla="*/ 934447 h 2259621"/>
                <a:gd name="connsiteX78" fmla="*/ 2467088 w 2945193"/>
                <a:gd name="connsiteY78" fmla="*/ 934447 h 2259621"/>
                <a:gd name="connsiteX79" fmla="*/ 2468717 w 2945193"/>
                <a:gd name="connsiteY79" fmla="*/ 932818 h 2259621"/>
                <a:gd name="connsiteX80" fmla="*/ 2467088 w 2945193"/>
                <a:gd name="connsiteY80" fmla="*/ 930375 h 2259621"/>
                <a:gd name="connsiteX81" fmla="*/ 2465459 w 2945193"/>
                <a:gd name="connsiteY81" fmla="*/ 930375 h 2259621"/>
                <a:gd name="connsiteX82" fmla="*/ 2463016 w 2945193"/>
                <a:gd name="connsiteY82" fmla="*/ 927117 h 2259621"/>
                <a:gd name="connsiteX83" fmla="*/ 2464645 w 2945193"/>
                <a:gd name="connsiteY83" fmla="*/ 923859 h 2259621"/>
                <a:gd name="connsiteX84" fmla="*/ 2467088 w 2945193"/>
                <a:gd name="connsiteY84" fmla="*/ 922230 h 2259621"/>
                <a:gd name="connsiteX85" fmla="*/ 2469532 w 2945193"/>
                <a:gd name="connsiteY85" fmla="*/ 918158 h 2259621"/>
                <a:gd name="connsiteX86" fmla="*/ 2469532 w 2945193"/>
                <a:gd name="connsiteY86" fmla="*/ 914899 h 2259621"/>
                <a:gd name="connsiteX87" fmla="*/ 2470346 w 2945193"/>
                <a:gd name="connsiteY87" fmla="*/ 914085 h 2259621"/>
                <a:gd name="connsiteX88" fmla="*/ 2472790 w 2945193"/>
                <a:gd name="connsiteY88" fmla="*/ 914085 h 2259621"/>
                <a:gd name="connsiteX89" fmla="*/ 2474419 w 2945193"/>
                <a:gd name="connsiteY89" fmla="*/ 911642 h 2259621"/>
                <a:gd name="connsiteX90" fmla="*/ 2476862 w 2945193"/>
                <a:gd name="connsiteY90" fmla="*/ 910827 h 2259621"/>
                <a:gd name="connsiteX91" fmla="*/ 2477677 w 2945193"/>
                <a:gd name="connsiteY91" fmla="*/ 906755 h 2259621"/>
                <a:gd name="connsiteX92" fmla="*/ 2480934 w 2945193"/>
                <a:gd name="connsiteY92" fmla="*/ 902682 h 2259621"/>
                <a:gd name="connsiteX93" fmla="*/ 2485822 w 2945193"/>
                <a:gd name="connsiteY93" fmla="*/ 900239 h 2259621"/>
                <a:gd name="connsiteX94" fmla="*/ 2487450 w 2945193"/>
                <a:gd name="connsiteY94" fmla="*/ 899424 h 2259621"/>
                <a:gd name="connsiteX95" fmla="*/ 2488265 w 2945193"/>
                <a:gd name="connsiteY95" fmla="*/ 896981 h 2259621"/>
                <a:gd name="connsiteX96" fmla="*/ 2490708 w 2945193"/>
                <a:gd name="connsiteY96" fmla="*/ 890465 h 2259621"/>
                <a:gd name="connsiteX97" fmla="*/ 2497224 w 2945193"/>
                <a:gd name="connsiteY97" fmla="*/ 886392 h 2259621"/>
                <a:gd name="connsiteX98" fmla="*/ 2498039 w 2945193"/>
                <a:gd name="connsiteY98" fmla="*/ 884764 h 2259621"/>
                <a:gd name="connsiteX99" fmla="*/ 2501297 w 2945193"/>
                <a:gd name="connsiteY99" fmla="*/ 876619 h 2259621"/>
                <a:gd name="connsiteX100" fmla="*/ 2506998 w 2945193"/>
                <a:gd name="connsiteY100" fmla="*/ 871732 h 2259621"/>
                <a:gd name="connsiteX101" fmla="*/ 2508627 w 2945193"/>
                <a:gd name="connsiteY101" fmla="*/ 870103 h 2259621"/>
                <a:gd name="connsiteX102" fmla="*/ 2511885 w 2945193"/>
                <a:gd name="connsiteY102" fmla="*/ 867659 h 2259621"/>
                <a:gd name="connsiteX103" fmla="*/ 2511885 w 2945193"/>
                <a:gd name="connsiteY103" fmla="*/ 863587 h 2259621"/>
                <a:gd name="connsiteX104" fmla="*/ 2512700 w 2945193"/>
                <a:gd name="connsiteY104" fmla="*/ 860329 h 2259621"/>
                <a:gd name="connsiteX105" fmla="*/ 2515143 w 2945193"/>
                <a:gd name="connsiteY105" fmla="*/ 854627 h 2259621"/>
                <a:gd name="connsiteX106" fmla="*/ 2517586 w 2945193"/>
                <a:gd name="connsiteY106" fmla="*/ 851369 h 2259621"/>
                <a:gd name="connsiteX107" fmla="*/ 2519216 w 2945193"/>
                <a:gd name="connsiteY107" fmla="*/ 848926 h 2259621"/>
                <a:gd name="connsiteX108" fmla="*/ 2520845 w 2945193"/>
                <a:gd name="connsiteY108" fmla="*/ 848112 h 2259621"/>
                <a:gd name="connsiteX109" fmla="*/ 2526546 w 2945193"/>
                <a:gd name="connsiteY109" fmla="*/ 845668 h 2259621"/>
                <a:gd name="connsiteX110" fmla="*/ 2530619 w 2945193"/>
                <a:gd name="connsiteY110" fmla="*/ 839967 h 2259621"/>
                <a:gd name="connsiteX111" fmla="*/ 2537134 w 2945193"/>
                <a:gd name="connsiteY111" fmla="*/ 835894 h 2259621"/>
                <a:gd name="connsiteX112" fmla="*/ 2542836 w 2945193"/>
                <a:gd name="connsiteY112" fmla="*/ 832636 h 2259621"/>
                <a:gd name="connsiteX113" fmla="*/ 2543650 w 2945193"/>
                <a:gd name="connsiteY113" fmla="*/ 831007 h 2259621"/>
                <a:gd name="connsiteX114" fmla="*/ 2545279 w 2945193"/>
                <a:gd name="connsiteY114" fmla="*/ 830193 h 2259621"/>
                <a:gd name="connsiteX115" fmla="*/ 2551795 w 2945193"/>
                <a:gd name="connsiteY115" fmla="*/ 827749 h 2259621"/>
                <a:gd name="connsiteX116" fmla="*/ 2551795 w 2945193"/>
                <a:gd name="connsiteY116" fmla="*/ 826120 h 2259621"/>
                <a:gd name="connsiteX117" fmla="*/ 2552609 w 2945193"/>
                <a:gd name="connsiteY117" fmla="*/ 822862 h 2259621"/>
                <a:gd name="connsiteX118" fmla="*/ 2554238 w 2945193"/>
                <a:gd name="connsiteY118" fmla="*/ 822048 h 2259621"/>
                <a:gd name="connsiteX119" fmla="*/ 2559940 w 2945193"/>
                <a:gd name="connsiteY119" fmla="*/ 816346 h 2259621"/>
                <a:gd name="connsiteX120" fmla="*/ 2568899 w 2945193"/>
                <a:gd name="connsiteY120" fmla="*/ 811460 h 2259621"/>
                <a:gd name="connsiteX121" fmla="*/ 2575416 w 2945193"/>
                <a:gd name="connsiteY121" fmla="*/ 814717 h 2259621"/>
                <a:gd name="connsiteX122" fmla="*/ 2585189 w 2945193"/>
                <a:gd name="connsiteY122" fmla="*/ 817161 h 2259621"/>
                <a:gd name="connsiteX123" fmla="*/ 2603108 w 2945193"/>
                <a:gd name="connsiteY123" fmla="*/ 817161 h 2259621"/>
                <a:gd name="connsiteX124" fmla="*/ 2607180 w 2945193"/>
                <a:gd name="connsiteY124" fmla="*/ 813903 h 2259621"/>
                <a:gd name="connsiteX125" fmla="*/ 2611253 w 2945193"/>
                <a:gd name="connsiteY125" fmla="*/ 809830 h 2259621"/>
                <a:gd name="connsiteX126" fmla="*/ 2626728 w 2945193"/>
                <a:gd name="connsiteY126" fmla="*/ 810645 h 2259621"/>
                <a:gd name="connsiteX127" fmla="*/ 2636502 w 2945193"/>
                <a:gd name="connsiteY127" fmla="*/ 815532 h 2259621"/>
                <a:gd name="connsiteX128" fmla="*/ 2646276 w 2945193"/>
                <a:gd name="connsiteY128" fmla="*/ 814717 h 2259621"/>
                <a:gd name="connsiteX129" fmla="*/ 2649534 w 2945193"/>
                <a:gd name="connsiteY129" fmla="*/ 810645 h 2259621"/>
                <a:gd name="connsiteX130" fmla="*/ 2643018 w 2945193"/>
                <a:gd name="connsiteY130" fmla="*/ 807387 h 2259621"/>
                <a:gd name="connsiteX131" fmla="*/ 2643832 w 2945193"/>
                <a:gd name="connsiteY131" fmla="*/ 805758 h 2259621"/>
                <a:gd name="connsiteX132" fmla="*/ 2643018 w 2945193"/>
                <a:gd name="connsiteY132" fmla="*/ 804943 h 2259621"/>
                <a:gd name="connsiteX133" fmla="*/ 2644647 w 2945193"/>
                <a:gd name="connsiteY133" fmla="*/ 803315 h 2259621"/>
                <a:gd name="connsiteX134" fmla="*/ 2647090 w 2945193"/>
                <a:gd name="connsiteY134" fmla="*/ 800057 h 2259621"/>
                <a:gd name="connsiteX135" fmla="*/ 2643018 w 2945193"/>
                <a:gd name="connsiteY135" fmla="*/ 796799 h 2259621"/>
                <a:gd name="connsiteX136" fmla="*/ 2640575 w 2945193"/>
                <a:gd name="connsiteY136" fmla="*/ 796799 h 2259621"/>
                <a:gd name="connsiteX137" fmla="*/ 2641389 w 2945193"/>
                <a:gd name="connsiteY137" fmla="*/ 795170 h 2259621"/>
                <a:gd name="connsiteX138" fmla="*/ 2637316 w 2945193"/>
                <a:gd name="connsiteY138" fmla="*/ 791912 h 2259621"/>
                <a:gd name="connsiteX139" fmla="*/ 2628357 w 2945193"/>
                <a:gd name="connsiteY139" fmla="*/ 791912 h 2259621"/>
                <a:gd name="connsiteX140" fmla="*/ 2626728 w 2945193"/>
                <a:gd name="connsiteY140" fmla="*/ 791097 h 2259621"/>
                <a:gd name="connsiteX141" fmla="*/ 2626728 w 2945193"/>
                <a:gd name="connsiteY141" fmla="*/ 786210 h 2259621"/>
                <a:gd name="connsiteX142" fmla="*/ 2621027 w 2945193"/>
                <a:gd name="connsiteY142" fmla="*/ 784581 h 2259621"/>
                <a:gd name="connsiteX143" fmla="*/ 2621841 w 2945193"/>
                <a:gd name="connsiteY143" fmla="*/ 781323 h 2259621"/>
                <a:gd name="connsiteX144" fmla="*/ 2621027 w 2945193"/>
                <a:gd name="connsiteY144" fmla="*/ 781323 h 2259621"/>
                <a:gd name="connsiteX145" fmla="*/ 2623470 w 2945193"/>
                <a:gd name="connsiteY145" fmla="*/ 778065 h 2259621"/>
                <a:gd name="connsiteX146" fmla="*/ 2626728 w 2945193"/>
                <a:gd name="connsiteY146" fmla="*/ 776436 h 2259621"/>
                <a:gd name="connsiteX147" fmla="*/ 2634873 w 2945193"/>
                <a:gd name="connsiteY147" fmla="*/ 777251 h 2259621"/>
                <a:gd name="connsiteX148" fmla="*/ 2630801 w 2945193"/>
                <a:gd name="connsiteY148" fmla="*/ 778880 h 2259621"/>
                <a:gd name="connsiteX149" fmla="*/ 2638131 w 2945193"/>
                <a:gd name="connsiteY149" fmla="*/ 777251 h 2259621"/>
                <a:gd name="connsiteX150" fmla="*/ 2665009 w 2945193"/>
                <a:gd name="connsiteY150" fmla="*/ 778880 h 2259621"/>
                <a:gd name="connsiteX151" fmla="*/ 2664195 w 2945193"/>
                <a:gd name="connsiteY151" fmla="*/ 779694 h 2259621"/>
                <a:gd name="connsiteX152" fmla="*/ 2682113 w 2945193"/>
                <a:gd name="connsiteY152" fmla="*/ 780509 h 2259621"/>
                <a:gd name="connsiteX153" fmla="*/ 2687815 w 2945193"/>
                <a:gd name="connsiteY153" fmla="*/ 780509 h 2259621"/>
                <a:gd name="connsiteX154" fmla="*/ 2724467 w 2945193"/>
                <a:gd name="connsiteY154" fmla="*/ 782138 h 2259621"/>
                <a:gd name="connsiteX155" fmla="*/ 2733426 w 2945193"/>
                <a:gd name="connsiteY155" fmla="*/ 782138 h 2259621"/>
                <a:gd name="connsiteX156" fmla="*/ 2732612 w 2945193"/>
                <a:gd name="connsiteY156" fmla="*/ 782138 h 2259621"/>
                <a:gd name="connsiteX157" fmla="*/ 2730983 w 2945193"/>
                <a:gd name="connsiteY157" fmla="*/ 783767 h 2259621"/>
                <a:gd name="connsiteX158" fmla="*/ 2734241 w 2945193"/>
                <a:gd name="connsiteY158" fmla="*/ 782952 h 2259621"/>
                <a:gd name="connsiteX159" fmla="*/ 2744829 w 2945193"/>
                <a:gd name="connsiteY159" fmla="*/ 782138 h 2259621"/>
                <a:gd name="connsiteX160" fmla="*/ 2741571 w 2945193"/>
                <a:gd name="connsiteY160" fmla="*/ 781323 h 2259621"/>
                <a:gd name="connsiteX161" fmla="*/ 2779038 w 2945193"/>
                <a:gd name="connsiteY161" fmla="*/ 776436 h 2259621"/>
                <a:gd name="connsiteX162" fmla="*/ 2783110 w 2945193"/>
                <a:gd name="connsiteY162" fmla="*/ 773178 h 2259621"/>
                <a:gd name="connsiteX163" fmla="*/ 2766821 w 2945193"/>
                <a:gd name="connsiteY163" fmla="*/ 769106 h 2259621"/>
                <a:gd name="connsiteX164" fmla="*/ 2739128 w 2945193"/>
                <a:gd name="connsiteY164" fmla="*/ 766663 h 2259621"/>
                <a:gd name="connsiteX165" fmla="*/ 2737499 w 2945193"/>
                <a:gd name="connsiteY165" fmla="*/ 765848 h 2259621"/>
                <a:gd name="connsiteX166" fmla="*/ 2739128 w 2945193"/>
                <a:gd name="connsiteY166" fmla="*/ 762590 h 2259621"/>
                <a:gd name="connsiteX167" fmla="*/ 2741571 w 2945193"/>
                <a:gd name="connsiteY167" fmla="*/ 760147 h 2259621"/>
                <a:gd name="connsiteX168" fmla="*/ 2742386 w 2945193"/>
                <a:gd name="connsiteY168" fmla="*/ 760147 h 2259621"/>
                <a:gd name="connsiteX169" fmla="*/ 2748087 w 2945193"/>
                <a:gd name="connsiteY169" fmla="*/ 757703 h 2259621"/>
                <a:gd name="connsiteX170" fmla="*/ 2745643 w 2945193"/>
                <a:gd name="connsiteY170" fmla="*/ 756074 h 2259621"/>
                <a:gd name="connsiteX171" fmla="*/ 2746458 w 2945193"/>
                <a:gd name="connsiteY171" fmla="*/ 755260 h 2259621"/>
                <a:gd name="connsiteX172" fmla="*/ 2742386 w 2945193"/>
                <a:gd name="connsiteY172" fmla="*/ 747929 h 2259621"/>
                <a:gd name="connsiteX173" fmla="*/ 2742386 w 2945193"/>
                <a:gd name="connsiteY173" fmla="*/ 747929 h 2259621"/>
                <a:gd name="connsiteX174" fmla="*/ 2737499 w 2945193"/>
                <a:gd name="connsiteY174" fmla="*/ 743042 h 2259621"/>
                <a:gd name="connsiteX175" fmla="*/ 2724467 w 2945193"/>
                <a:gd name="connsiteY175" fmla="*/ 743857 h 2259621"/>
                <a:gd name="connsiteX176" fmla="*/ 2713879 w 2945193"/>
                <a:gd name="connsiteY176" fmla="*/ 741413 h 2259621"/>
                <a:gd name="connsiteX177" fmla="*/ 2713879 w 2945193"/>
                <a:gd name="connsiteY177" fmla="*/ 740599 h 2259621"/>
                <a:gd name="connsiteX178" fmla="*/ 2709806 w 2945193"/>
                <a:gd name="connsiteY178" fmla="*/ 738970 h 2259621"/>
                <a:gd name="connsiteX179" fmla="*/ 2708177 w 2945193"/>
                <a:gd name="connsiteY179" fmla="*/ 738155 h 2259621"/>
                <a:gd name="connsiteX180" fmla="*/ 2708991 w 2945193"/>
                <a:gd name="connsiteY180" fmla="*/ 735712 h 2259621"/>
                <a:gd name="connsiteX181" fmla="*/ 2707362 w 2945193"/>
                <a:gd name="connsiteY181" fmla="*/ 734898 h 2259621"/>
                <a:gd name="connsiteX182" fmla="*/ 2707362 w 2945193"/>
                <a:gd name="connsiteY182" fmla="*/ 734898 h 2259621"/>
                <a:gd name="connsiteX183" fmla="*/ 2713064 w 2945193"/>
                <a:gd name="connsiteY183" fmla="*/ 734083 h 2259621"/>
                <a:gd name="connsiteX184" fmla="*/ 2752159 w 2945193"/>
                <a:gd name="connsiteY184" fmla="*/ 744671 h 2259621"/>
                <a:gd name="connsiteX185" fmla="*/ 2776594 w 2945193"/>
                <a:gd name="connsiteY185" fmla="*/ 743042 h 2259621"/>
                <a:gd name="connsiteX186" fmla="*/ 2766821 w 2945193"/>
                <a:gd name="connsiteY186" fmla="*/ 740599 h 2259621"/>
                <a:gd name="connsiteX187" fmla="*/ 2770893 w 2945193"/>
                <a:gd name="connsiteY187" fmla="*/ 738155 h 2259621"/>
                <a:gd name="connsiteX188" fmla="*/ 2730983 w 2945193"/>
                <a:gd name="connsiteY188" fmla="*/ 728381 h 2259621"/>
                <a:gd name="connsiteX189" fmla="*/ 2732612 w 2945193"/>
                <a:gd name="connsiteY189" fmla="*/ 727567 h 2259621"/>
                <a:gd name="connsiteX190" fmla="*/ 2761933 w 2945193"/>
                <a:gd name="connsiteY190" fmla="*/ 721051 h 2259621"/>
                <a:gd name="connsiteX191" fmla="*/ 2765191 w 2945193"/>
                <a:gd name="connsiteY191" fmla="*/ 712092 h 2259621"/>
                <a:gd name="connsiteX192" fmla="*/ 2767635 w 2945193"/>
                <a:gd name="connsiteY192" fmla="*/ 703947 h 2259621"/>
                <a:gd name="connsiteX193" fmla="*/ 2774151 w 2945193"/>
                <a:gd name="connsiteY193" fmla="*/ 700689 h 2259621"/>
                <a:gd name="connsiteX194" fmla="*/ 2770078 w 2945193"/>
                <a:gd name="connsiteY194" fmla="*/ 694173 h 2259621"/>
                <a:gd name="connsiteX195" fmla="*/ 2769264 w 2945193"/>
                <a:gd name="connsiteY195" fmla="*/ 694173 h 2259621"/>
                <a:gd name="connsiteX196" fmla="*/ 2765191 w 2945193"/>
                <a:gd name="connsiteY196" fmla="*/ 689286 h 2259621"/>
                <a:gd name="connsiteX197" fmla="*/ 2746458 w 2945193"/>
                <a:gd name="connsiteY197" fmla="*/ 684399 h 2259621"/>
                <a:gd name="connsiteX198" fmla="*/ 2725281 w 2945193"/>
                <a:gd name="connsiteY198" fmla="*/ 677883 h 2259621"/>
                <a:gd name="connsiteX199" fmla="*/ 2730168 w 2945193"/>
                <a:gd name="connsiteY199" fmla="*/ 675440 h 2259621"/>
                <a:gd name="connsiteX200" fmla="*/ 2730983 w 2945193"/>
                <a:gd name="connsiteY200" fmla="*/ 674625 h 2259621"/>
                <a:gd name="connsiteX201" fmla="*/ 2731797 w 2945193"/>
                <a:gd name="connsiteY201" fmla="*/ 672996 h 2259621"/>
                <a:gd name="connsiteX202" fmla="*/ 2730983 w 2945193"/>
                <a:gd name="connsiteY202" fmla="*/ 672996 h 2259621"/>
                <a:gd name="connsiteX203" fmla="*/ 2726910 w 2945193"/>
                <a:gd name="connsiteY203" fmla="*/ 674625 h 2259621"/>
                <a:gd name="connsiteX204" fmla="*/ 2722024 w 2945193"/>
                <a:gd name="connsiteY204" fmla="*/ 675440 h 2259621"/>
                <a:gd name="connsiteX205" fmla="*/ 2722024 w 2945193"/>
                <a:gd name="connsiteY205" fmla="*/ 675440 h 2259621"/>
                <a:gd name="connsiteX206" fmla="*/ 2718765 w 2945193"/>
                <a:gd name="connsiteY206" fmla="*/ 672996 h 2259621"/>
                <a:gd name="connsiteX207" fmla="*/ 2713879 w 2945193"/>
                <a:gd name="connsiteY207" fmla="*/ 670553 h 2259621"/>
                <a:gd name="connsiteX208" fmla="*/ 2690258 w 2945193"/>
                <a:gd name="connsiteY208" fmla="*/ 660779 h 2259621"/>
                <a:gd name="connsiteX209" fmla="*/ 2684557 w 2945193"/>
                <a:gd name="connsiteY209" fmla="*/ 659150 h 2259621"/>
                <a:gd name="connsiteX210" fmla="*/ 2634873 w 2945193"/>
                <a:gd name="connsiteY210" fmla="*/ 647747 h 2259621"/>
                <a:gd name="connsiteX211" fmla="*/ 2627543 w 2945193"/>
                <a:gd name="connsiteY211" fmla="*/ 646118 h 2259621"/>
                <a:gd name="connsiteX212" fmla="*/ 2576230 w 2945193"/>
                <a:gd name="connsiteY212" fmla="*/ 639602 h 2259621"/>
                <a:gd name="connsiteX213" fmla="*/ 2547723 w 2945193"/>
                <a:gd name="connsiteY213" fmla="*/ 637973 h 2259621"/>
                <a:gd name="connsiteX214" fmla="*/ 2544465 w 2945193"/>
                <a:gd name="connsiteY214" fmla="*/ 637159 h 2259621"/>
                <a:gd name="connsiteX215" fmla="*/ 2542021 w 2945193"/>
                <a:gd name="connsiteY215" fmla="*/ 635530 h 2259621"/>
                <a:gd name="connsiteX216" fmla="*/ 2537949 w 2945193"/>
                <a:gd name="connsiteY216" fmla="*/ 635530 h 2259621"/>
                <a:gd name="connsiteX217" fmla="*/ 2536320 w 2945193"/>
                <a:gd name="connsiteY217" fmla="*/ 635530 h 2259621"/>
                <a:gd name="connsiteX218" fmla="*/ 2536320 w 2945193"/>
                <a:gd name="connsiteY218" fmla="*/ 629828 h 2259621"/>
                <a:gd name="connsiteX219" fmla="*/ 2546094 w 2945193"/>
                <a:gd name="connsiteY219" fmla="*/ 619240 h 2259621"/>
                <a:gd name="connsiteX220" fmla="*/ 2544465 w 2945193"/>
                <a:gd name="connsiteY220" fmla="*/ 611910 h 2259621"/>
                <a:gd name="connsiteX221" fmla="*/ 2543650 w 2945193"/>
                <a:gd name="connsiteY221" fmla="*/ 608652 h 2259621"/>
                <a:gd name="connsiteX222" fmla="*/ 2546908 w 2945193"/>
                <a:gd name="connsiteY222" fmla="*/ 607023 h 2259621"/>
                <a:gd name="connsiteX223" fmla="*/ 2542836 w 2945193"/>
                <a:gd name="connsiteY223" fmla="*/ 607023 h 2259621"/>
                <a:gd name="connsiteX224" fmla="*/ 2541207 w 2945193"/>
                <a:gd name="connsiteY224" fmla="*/ 602136 h 2259621"/>
                <a:gd name="connsiteX225" fmla="*/ 2541207 w 2945193"/>
                <a:gd name="connsiteY225" fmla="*/ 602136 h 2259621"/>
                <a:gd name="connsiteX226" fmla="*/ 2541207 w 2945193"/>
                <a:gd name="connsiteY226" fmla="*/ 602136 h 2259621"/>
                <a:gd name="connsiteX227" fmla="*/ 2535505 w 2945193"/>
                <a:gd name="connsiteY227" fmla="*/ 585031 h 2259621"/>
                <a:gd name="connsiteX228" fmla="*/ 2518401 w 2945193"/>
                <a:gd name="connsiteY228" fmla="*/ 569556 h 2259621"/>
                <a:gd name="connsiteX229" fmla="*/ 2505369 w 2945193"/>
                <a:gd name="connsiteY229" fmla="*/ 566298 h 2259621"/>
                <a:gd name="connsiteX230" fmla="*/ 2495595 w 2945193"/>
                <a:gd name="connsiteY230" fmla="*/ 565484 h 2259621"/>
                <a:gd name="connsiteX231" fmla="*/ 2486636 w 2945193"/>
                <a:gd name="connsiteY231" fmla="*/ 565484 h 2259621"/>
                <a:gd name="connsiteX232" fmla="*/ 2485007 w 2945193"/>
                <a:gd name="connsiteY232" fmla="*/ 561411 h 2259621"/>
                <a:gd name="connsiteX233" fmla="*/ 2478491 w 2945193"/>
                <a:gd name="connsiteY233" fmla="*/ 551637 h 2259621"/>
                <a:gd name="connsiteX234" fmla="*/ 2476048 w 2945193"/>
                <a:gd name="connsiteY234" fmla="*/ 549194 h 2259621"/>
                <a:gd name="connsiteX235" fmla="*/ 2474419 w 2945193"/>
                <a:gd name="connsiteY235" fmla="*/ 549194 h 2259621"/>
                <a:gd name="connsiteX236" fmla="*/ 2472790 w 2945193"/>
                <a:gd name="connsiteY236" fmla="*/ 547565 h 2259621"/>
                <a:gd name="connsiteX237" fmla="*/ 2473604 w 2945193"/>
                <a:gd name="connsiteY237" fmla="*/ 546750 h 2259621"/>
                <a:gd name="connsiteX238" fmla="*/ 2471160 w 2945193"/>
                <a:gd name="connsiteY238" fmla="*/ 544307 h 2259621"/>
                <a:gd name="connsiteX239" fmla="*/ 2469532 w 2945193"/>
                <a:gd name="connsiteY239" fmla="*/ 544307 h 2259621"/>
                <a:gd name="connsiteX240" fmla="*/ 2467903 w 2945193"/>
                <a:gd name="connsiteY240" fmla="*/ 541863 h 2259621"/>
                <a:gd name="connsiteX241" fmla="*/ 2477677 w 2945193"/>
                <a:gd name="connsiteY241" fmla="*/ 538606 h 2259621"/>
                <a:gd name="connsiteX242" fmla="*/ 2469532 w 2945193"/>
                <a:gd name="connsiteY242" fmla="*/ 535348 h 2259621"/>
                <a:gd name="connsiteX243" fmla="*/ 2470346 w 2945193"/>
                <a:gd name="connsiteY243" fmla="*/ 534533 h 2259621"/>
                <a:gd name="connsiteX244" fmla="*/ 2470346 w 2945193"/>
                <a:gd name="connsiteY244" fmla="*/ 534533 h 2259621"/>
                <a:gd name="connsiteX245" fmla="*/ 2471975 w 2945193"/>
                <a:gd name="connsiteY245" fmla="*/ 533719 h 2259621"/>
                <a:gd name="connsiteX246" fmla="*/ 2471160 w 2945193"/>
                <a:gd name="connsiteY246" fmla="*/ 533719 h 2259621"/>
                <a:gd name="connsiteX247" fmla="*/ 2473604 w 2945193"/>
                <a:gd name="connsiteY247" fmla="*/ 532904 h 2259621"/>
                <a:gd name="connsiteX248" fmla="*/ 2472790 w 2945193"/>
                <a:gd name="connsiteY248" fmla="*/ 533719 h 2259621"/>
                <a:gd name="connsiteX249" fmla="*/ 2480934 w 2945193"/>
                <a:gd name="connsiteY249" fmla="*/ 535348 h 2259621"/>
                <a:gd name="connsiteX250" fmla="*/ 2477677 w 2945193"/>
                <a:gd name="connsiteY250" fmla="*/ 538606 h 2259621"/>
                <a:gd name="connsiteX251" fmla="*/ 2489079 w 2945193"/>
                <a:gd name="connsiteY251" fmla="*/ 539420 h 2259621"/>
                <a:gd name="connsiteX252" fmla="*/ 2499668 w 2945193"/>
                <a:gd name="connsiteY252" fmla="*/ 536162 h 2259621"/>
                <a:gd name="connsiteX253" fmla="*/ 2499668 w 2945193"/>
                <a:gd name="connsiteY253" fmla="*/ 536977 h 2259621"/>
                <a:gd name="connsiteX254" fmla="*/ 2499668 w 2945193"/>
                <a:gd name="connsiteY254" fmla="*/ 537791 h 2259621"/>
                <a:gd name="connsiteX255" fmla="*/ 2495595 w 2945193"/>
                <a:gd name="connsiteY255" fmla="*/ 541049 h 2259621"/>
                <a:gd name="connsiteX256" fmla="*/ 2499668 w 2945193"/>
                <a:gd name="connsiteY256" fmla="*/ 541863 h 2259621"/>
                <a:gd name="connsiteX257" fmla="*/ 2501297 w 2945193"/>
                <a:gd name="connsiteY257" fmla="*/ 545936 h 2259621"/>
                <a:gd name="connsiteX258" fmla="*/ 2501297 w 2945193"/>
                <a:gd name="connsiteY258" fmla="*/ 545936 h 2259621"/>
                <a:gd name="connsiteX259" fmla="*/ 2501297 w 2945193"/>
                <a:gd name="connsiteY259" fmla="*/ 545936 h 2259621"/>
                <a:gd name="connsiteX260" fmla="*/ 2505369 w 2945193"/>
                <a:gd name="connsiteY260" fmla="*/ 550823 h 2259621"/>
                <a:gd name="connsiteX261" fmla="*/ 2517586 w 2945193"/>
                <a:gd name="connsiteY261" fmla="*/ 554081 h 2259621"/>
                <a:gd name="connsiteX262" fmla="*/ 2514329 w 2945193"/>
                <a:gd name="connsiteY262" fmla="*/ 561411 h 2259621"/>
                <a:gd name="connsiteX263" fmla="*/ 2517586 w 2945193"/>
                <a:gd name="connsiteY263" fmla="*/ 564669 h 2259621"/>
                <a:gd name="connsiteX264" fmla="*/ 2517586 w 2945193"/>
                <a:gd name="connsiteY264" fmla="*/ 564669 h 2259621"/>
                <a:gd name="connsiteX265" fmla="*/ 2517586 w 2945193"/>
                <a:gd name="connsiteY265" fmla="*/ 564669 h 2259621"/>
                <a:gd name="connsiteX266" fmla="*/ 2519216 w 2945193"/>
                <a:gd name="connsiteY266" fmla="*/ 565484 h 2259621"/>
                <a:gd name="connsiteX267" fmla="*/ 2519216 w 2945193"/>
                <a:gd name="connsiteY267" fmla="*/ 566298 h 2259621"/>
                <a:gd name="connsiteX268" fmla="*/ 2533062 w 2945193"/>
                <a:gd name="connsiteY268" fmla="*/ 572000 h 2259621"/>
                <a:gd name="connsiteX269" fmla="*/ 2542836 w 2945193"/>
                <a:gd name="connsiteY269" fmla="*/ 576886 h 2259621"/>
                <a:gd name="connsiteX270" fmla="*/ 2538763 w 2945193"/>
                <a:gd name="connsiteY270" fmla="*/ 569556 h 2259621"/>
                <a:gd name="connsiteX271" fmla="*/ 2536320 w 2945193"/>
                <a:gd name="connsiteY271" fmla="*/ 564669 h 2259621"/>
                <a:gd name="connsiteX272" fmla="*/ 2555868 w 2945193"/>
                <a:gd name="connsiteY272" fmla="*/ 557339 h 2259621"/>
                <a:gd name="connsiteX273" fmla="*/ 2545279 w 2945193"/>
                <a:gd name="connsiteY273" fmla="*/ 558153 h 2259621"/>
                <a:gd name="connsiteX274" fmla="*/ 2550166 w 2945193"/>
                <a:gd name="connsiteY274" fmla="*/ 552452 h 2259621"/>
                <a:gd name="connsiteX275" fmla="*/ 2538763 w 2945193"/>
                <a:gd name="connsiteY275" fmla="*/ 553266 h 2259621"/>
                <a:gd name="connsiteX276" fmla="*/ 2528175 w 2945193"/>
                <a:gd name="connsiteY276" fmla="*/ 552452 h 2259621"/>
                <a:gd name="connsiteX277" fmla="*/ 2517586 w 2945193"/>
                <a:gd name="connsiteY277" fmla="*/ 554081 h 2259621"/>
                <a:gd name="connsiteX278" fmla="*/ 2520030 w 2945193"/>
                <a:gd name="connsiteY278" fmla="*/ 553266 h 2259621"/>
                <a:gd name="connsiteX279" fmla="*/ 2530619 w 2945193"/>
                <a:gd name="connsiteY279" fmla="*/ 552452 h 2259621"/>
                <a:gd name="connsiteX280" fmla="*/ 2532247 w 2945193"/>
                <a:gd name="connsiteY280" fmla="*/ 536977 h 2259621"/>
                <a:gd name="connsiteX281" fmla="*/ 2533876 w 2945193"/>
                <a:gd name="connsiteY281" fmla="*/ 533719 h 2259621"/>
                <a:gd name="connsiteX282" fmla="*/ 2533876 w 2945193"/>
                <a:gd name="connsiteY282" fmla="*/ 531275 h 2259621"/>
                <a:gd name="connsiteX283" fmla="*/ 2555053 w 2945193"/>
                <a:gd name="connsiteY283" fmla="*/ 525574 h 2259621"/>
                <a:gd name="connsiteX284" fmla="*/ 2594149 w 2945193"/>
                <a:gd name="connsiteY284" fmla="*/ 515800 h 2259621"/>
                <a:gd name="connsiteX285" fmla="*/ 2601479 w 2945193"/>
                <a:gd name="connsiteY285" fmla="*/ 514171 h 2259621"/>
                <a:gd name="connsiteX286" fmla="*/ 2580302 w 2945193"/>
                <a:gd name="connsiteY286" fmla="*/ 522316 h 2259621"/>
                <a:gd name="connsiteX287" fmla="*/ 2555868 w 2945193"/>
                <a:gd name="connsiteY287" fmla="*/ 527203 h 2259621"/>
                <a:gd name="connsiteX288" fmla="*/ 2542021 w 2945193"/>
                <a:gd name="connsiteY288" fmla="*/ 532090 h 2259621"/>
                <a:gd name="connsiteX289" fmla="*/ 2548537 w 2945193"/>
                <a:gd name="connsiteY289" fmla="*/ 536162 h 2259621"/>
                <a:gd name="connsiteX290" fmla="*/ 2546908 w 2945193"/>
                <a:gd name="connsiteY290" fmla="*/ 536977 h 2259621"/>
                <a:gd name="connsiteX291" fmla="*/ 2553424 w 2945193"/>
                <a:gd name="connsiteY291" fmla="*/ 541049 h 2259621"/>
                <a:gd name="connsiteX292" fmla="*/ 2556682 w 2945193"/>
                <a:gd name="connsiteY292" fmla="*/ 544307 h 2259621"/>
                <a:gd name="connsiteX293" fmla="*/ 2561569 w 2945193"/>
                <a:gd name="connsiteY293" fmla="*/ 548379 h 2259621"/>
                <a:gd name="connsiteX294" fmla="*/ 2562383 w 2945193"/>
                <a:gd name="connsiteY294" fmla="*/ 549194 h 2259621"/>
                <a:gd name="connsiteX295" fmla="*/ 2581931 w 2945193"/>
                <a:gd name="connsiteY295" fmla="*/ 554895 h 2259621"/>
                <a:gd name="connsiteX296" fmla="*/ 2586004 w 2945193"/>
                <a:gd name="connsiteY296" fmla="*/ 553266 h 2259621"/>
                <a:gd name="connsiteX297" fmla="*/ 2608809 w 2945193"/>
                <a:gd name="connsiteY297" fmla="*/ 544307 h 2259621"/>
                <a:gd name="connsiteX298" fmla="*/ 2625099 w 2945193"/>
                <a:gd name="connsiteY298" fmla="*/ 538606 h 2259621"/>
                <a:gd name="connsiteX299" fmla="*/ 2660122 w 2945193"/>
                <a:gd name="connsiteY299" fmla="*/ 527203 h 2259621"/>
                <a:gd name="connsiteX300" fmla="*/ 2714693 w 2945193"/>
                <a:gd name="connsiteY300" fmla="*/ 506841 h 2259621"/>
                <a:gd name="connsiteX301" fmla="*/ 2730168 w 2945193"/>
                <a:gd name="connsiteY301" fmla="*/ 501954 h 2259621"/>
                <a:gd name="connsiteX302" fmla="*/ 2726096 w 2945193"/>
                <a:gd name="connsiteY302" fmla="*/ 510098 h 2259621"/>
                <a:gd name="connsiteX303" fmla="*/ 2730983 w 2945193"/>
                <a:gd name="connsiteY303" fmla="*/ 510913 h 2259621"/>
                <a:gd name="connsiteX304" fmla="*/ 2733426 w 2945193"/>
                <a:gd name="connsiteY304" fmla="*/ 510098 h 2259621"/>
                <a:gd name="connsiteX305" fmla="*/ 2730983 w 2945193"/>
                <a:gd name="connsiteY305" fmla="*/ 514985 h 2259621"/>
                <a:gd name="connsiteX306" fmla="*/ 2735870 w 2945193"/>
                <a:gd name="connsiteY306" fmla="*/ 515800 h 2259621"/>
                <a:gd name="connsiteX307" fmla="*/ 2748087 w 2945193"/>
                <a:gd name="connsiteY307" fmla="*/ 516614 h 2259621"/>
                <a:gd name="connsiteX308" fmla="*/ 2752974 w 2945193"/>
                <a:gd name="connsiteY308" fmla="*/ 510913 h 2259621"/>
                <a:gd name="connsiteX309" fmla="*/ 2762748 w 2945193"/>
                <a:gd name="connsiteY309" fmla="*/ 504397 h 2259621"/>
                <a:gd name="connsiteX310" fmla="*/ 2759490 w 2945193"/>
                <a:gd name="connsiteY310" fmla="*/ 490551 h 2259621"/>
                <a:gd name="connsiteX311" fmla="*/ 2752974 w 2945193"/>
                <a:gd name="connsiteY311" fmla="*/ 484035 h 2259621"/>
                <a:gd name="connsiteX312" fmla="*/ 2761933 w 2945193"/>
                <a:gd name="connsiteY312" fmla="*/ 474261 h 2259621"/>
                <a:gd name="connsiteX313" fmla="*/ 2766006 w 2945193"/>
                <a:gd name="connsiteY313" fmla="*/ 458785 h 2259621"/>
                <a:gd name="connsiteX314" fmla="*/ 2761933 w 2945193"/>
                <a:gd name="connsiteY314" fmla="*/ 462044 h 2259621"/>
                <a:gd name="connsiteX315" fmla="*/ 2761119 w 2945193"/>
                <a:gd name="connsiteY315" fmla="*/ 461229 h 2259621"/>
                <a:gd name="connsiteX316" fmla="*/ 2761119 w 2945193"/>
                <a:gd name="connsiteY316" fmla="*/ 457157 h 2259621"/>
                <a:gd name="connsiteX317" fmla="*/ 2761119 w 2945193"/>
                <a:gd name="connsiteY317" fmla="*/ 457157 h 2259621"/>
                <a:gd name="connsiteX318" fmla="*/ 2762748 w 2945193"/>
                <a:gd name="connsiteY318" fmla="*/ 449012 h 2259621"/>
                <a:gd name="connsiteX319" fmla="*/ 2757047 w 2945193"/>
                <a:gd name="connsiteY319" fmla="*/ 444939 h 2259621"/>
                <a:gd name="connsiteX320" fmla="*/ 2757047 w 2945193"/>
                <a:gd name="connsiteY320" fmla="*/ 444125 h 2259621"/>
                <a:gd name="connsiteX321" fmla="*/ 2752974 w 2945193"/>
                <a:gd name="connsiteY321" fmla="*/ 440052 h 2259621"/>
                <a:gd name="connsiteX322" fmla="*/ 2748087 w 2945193"/>
                <a:gd name="connsiteY322" fmla="*/ 431907 h 2259621"/>
                <a:gd name="connsiteX323" fmla="*/ 2748087 w 2945193"/>
                <a:gd name="connsiteY323" fmla="*/ 431907 h 2259621"/>
                <a:gd name="connsiteX324" fmla="*/ 2743200 w 2945193"/>
                <a:gd name="connsiteY324" fmla="*/ 427020 h 2259621"/>
                <a:gd name="connsiteX325" fmla="*/ 2735870 w 2945193"/>
                <a:gd name="connsiteY325" fmla="*/ 425392 h 2259621"/>
                <a:gd name="connsiteX326" fmla="*/ 2727725 w 2945193"/>
                <a:gd name="connsiteY326" fmla="*/ 422133 h 2259621"/>
                <a:gd name="connsiteX327" fmla="*/ 2722024 w 2945193"/>
                <a:gd name="connsiteY327" fmla="*/ 413989 h 2259621"/>
                <a:gd name="connsiteX328" fmla="*/ 2719580 w 2945193"/>
                <a:gd name="connsiteY328" fmla="*/ 413989 h 2259621"/>
                <a:gd name="connsiteX329" fmla="*/ 2716322 w 2945193"/>
                <a:gd name="connsiteY329" fmla="*/ 409102 h 2259621"/>
                <a:gd name="connsiteX330" fmla="*/ 2703290 w 2945193"/>
                <a:gd name="connsiteY330" fmla="*/ 409916 h 2259621"/>
                <a:gd name="connsiteX331" fmla="*/ 2688629 w 2945193"/>
                <a:gd name="connsiteY331" fmla="*/ 411545 h 2259621"/>
                <a:gd name="connsiteX332" fmla="*/ 2687815 w 2945193"/>
                <a:gd name="connsiteY332" fmla="*/ 411545 h 2259621"/>
                <a:gd name="connsiteX333" fmla="*/ 2689444 w 2945193"/>
                <a:gd name="connsiteY333" fmla="*/ 409102 h 2259621"/>
                <a:gd name="connsiteX334" fmla="*/ 2682928 w 2945193"/>
                <a:gd name="connsiteY334" fmla="*/ 410731 h 2259621"/>
                <a:gd name="connsiteX335" fmla="*/ 2680484 w 2945193"/>
                <a:gd name="connsiteY335" fmla="*/ 409916 h 2259621"/>
                <a:gd name="connsiteX336" fmla="*/ 2637316 w 2945193"/>
                <a:gd name="connsiteY336" fmla="*/ 400957 h 2259621"/>
                <a:gd name="connsiteX337" fmla="*/ 2591705 w 2945193"/>
                <a:gd name="connsiteY337" fmla="*/ 394441 h 2259621"/>
                <a:gd name="connsiteX338" fmla="*/ 2573786 w 2945193"/>
                <a:gd name="connsiteY338" fmla="*/ 393626 h 2259621"/>
                <a:gd name="connsiteX339" fmla="*/ 2555053 w 2945193"/>
                <a:gd name="connsiteY339" fmla="*/ 393626 h 2259621"/>
                <a:gd name="connsiteX340" fmla="*/ 2549352 w 2945193"/>
                <a:gd name="connsiteY340" fmla="*/ 392812 h 2259621"/>
                <a:gd name="connsiteX341" fmla="*/ 2528990 w 2945193"/>
                <a:gd name="connsiteY341" fmla="*/ 393626 h 2259621"/>
                <a:gd name="connsiteX342" fmla="*/ 2529804 w 2945193"/>
                <a:gd name="connsiteY342" fmla="*/ 391997 h 2259621"/>
                <a:gd name="connsiteX343" fmla="*/ 2524917 w 2945193"/>
                <a:gd name="connsiteY343" fmla="*/ 390368 h 2259621"/>
                <a:gd name="connsiteX344" fmla="*/ 2523288 w 2945193"/>
                <a:gd name="connsiteY344" fmla="*/ 391997 h 2259621"/>
                <a:gd name="connsiteX345" fmla="*/ 2524102 w 2945193"/>
                <a:gd name="connsiteY345" fmla="*/ 392812 h 2259621"/>
                <a:gd name="connsiteX346" fmla="*/ 2506998 w 2945193"/>
                <a:gd name="connsiteY346" fmla="*/ 390368 h 2259621"/>
                <a:gd name="connsiteX347" fmla="*/ 2505369 w 2945193"/>
                <a:gd name="connsiteY347" fmla="*/ 382224 h 2259621"/>
                <a:gd name="connsiteX348" fmla="*/ 2512700 w 2945193"/>
                <a:gd name="connsiteY348" fmla="*/ 379780 h 2259621"/>
                <a:gd name="connsiteX349" fmla="*/ 2561569 w 2945193"/>
                <a:gd name="connsiteY349" fmla="*/ 372450 h 2259621"/>
                <a:gd name="connsiteX350" fmla="*/ 2582746 w 2945193"/>
                <a:gd name="connsiteY350" fmla="*/ 368377 h 2259621"/>
                <a:gd name="connsiteX351" fmla="*/ 2597406 w 2945193"/>
                <a:gd name="connsiteY351" fmla="*/ 365934 h 2259621"/>
                <a:gd name="connsiteX352" fmla="*/ 2589261 w 2945193"/>
                <a:gd name="connsiteY352" fmla="*/ 370821 h 2259621"/>
                <a:gd name="connsiteX353" fmla="*/ 2591705 w 2945193"/>
                <a:gd name="connsiteY353" fmla="*/ 391183 h 2259621"/>
                <a:gd name="connsiteX354" fmla="*/ 2609624 w 2945193"/>
                <a:gd name="connsiteY354" fmla="*/ 388740 h 2259621"/>
                <a:gd name="connsiteX355" fmla="*/ 2612068 w 2945193"/>
                <a:gd name="connsiteY355" fmla="*/ 369192 h 2259621"/>
                <a:gd name="connsiteX356" fmla="*/ 2608809 w 2945193"/>
                <a:gd name="connsiteY356" fmla="*/ 365119 h 2259621"/>
                <a:gd name="connsiteX357" fmla="*/ 2627543 w 2945193"/>
                <a:gd name="connsiteY357" fmla="*/ 362676 h 2259621"/>
                <a:gd name="connsiteX358" fmla="*/ 2657679 w 2945193"/>
                <a:gd name="connsiteY358" fmla="*/ 362676 h 2259621"/>
                <a:gd name="connsiteX359" fmla="*/ 2678855 w 2945193"/>
                <a:gd name="connsiteY359" fmla="*/ 365119 h 2259621"/>
                <a:gd name="connsiteX360" fmla="*/ 2704105 w 2945193"/>
                <a:gd name="connsiteY360" fmla="*/ 368377 h 2259621"/>
                <a:gd name="connsiteX361" fmla="*/ 2702476 w 2945193"/>
                <a:gd name="connsiteY361" fmla="*/ 363490 h 2259621"/>
                <a:gd name="connsiteX362" fmla="*/ 2718765 w 2945193"/>
                <a:gd name="connsiteY362" fmla="*/ 359418 h 2259621"/>
                <a:gd name="connsiteX363" fmla="*/ 2713879 w 2945193"/>
                <a:gd name="connsiteY363" fmla="*/ 353716 h 2259621"/>
                <a:gd name="connsiteX364" fmla="*/ 2711435 w 2945193"/>
                <a:gd name="connsiteY364" fmla="*/ 350458 h 2259621"/>
                <a:gd name="connsiteX365" fmla="*/ 2708177 w 2945193"/>
                <a:gd name="connsiteY365" fmla="*/ 341499 h 2259621"/>
                <a:gd name="connsiteX366" fmla="*/ 2779038 w 2945193"/>
                <a:gd name="connsiteY366" fmla="*/ 328467 h 2259621"/>
                <a:gd name="connsiteX367" fmla="*/ 2755417 w 2945193"/>
                <a:gd name="connsiteY367" fmla="*/ 327653 h 2259621"/>
                <a:gd name="connsiteX368" fmla="*/ 2755417 w 2945193"/>
                <a:gd name="connsiteY368" fmla="*/ 327653 h 2259621"/>
                <a:gd name="connsiteX369" fmla="*/ 2773336 w 2945193"/>
                <a:gd name="connsiteY369" fmla="*/ 323580 h 2259621"/>
                <a:gd name="connsiteX370" fmla="*/ 2758676 w 2945193"/>
                <a:gd name="connsiteY370" fmla="*/ 322766 h 2259621"/>
                <a:gd name="connsiteX371" fmla="*/ 2760304 w 2945193"/>
                <a:gd name="connsiteY371" fmla="*/ 318693 h 2259621"/>
                <a:gd name="connsiteX372" fmla="*/ 2756232 w 2945193"/>
                <a:gd name="connsiteY372" fmla="*/ 307291 h 2259621"/>
                <a:gd name="connsiteX373" fmla="*/ 2748902 w 2945193"/>
                <a:gd name="connsiteY373" fmla="*/ 299146 h 2259621"/>
                <a:gd name="connsiteX374" fmla="*/ 2747273 w 2945193"/>
                <a:gd name="connsiteY374" fmla="*/ 298331 h 2259621"/>
                <a:gd name="connsiteX375" fmla="*/ 2743200 w 2945193"/>
                <a:gd name="connsiteY375" fmla="*/ 294259 h 2259621"/>
                <a:gd name="connsiteX376" fmla="*/ 2733426 w 2945193"/>
                <a:gd name="connsiteY376" fmla="*/ 291001 h 2259621"/>
                <a:gd name="connsiteX377" fmla="*/ 2656864 w 2945193"/>
                <a:gd name="connsiteY377" fmla="*/ 286928 h 2259621"/>
                <a:gd name="connsiteX378" fmla="*/ 2608809 w 2945193"/>
                <a:gd name="connsiteY378" fmla="*/ 290186 h 2259621"/>
                <a:gd name="connsiteX379" fmla="*/ 2607995 w 2945193"/>
                <a:gd name="connsiteY379" fmla="*/ 290186 h 2259621"/>
                <a:gd name="connsiteX380" fmla="*/ 2637316 w 2945193"/>
                <a:gd name="connsiteY380" fmla="*/ 286928 h 2259621"/>
                <a:gd name="connsiteX381" fmla="*/ 2669896 w 2945193"/>
                <a:gd name="connsiteY381" fmla="*/ 283670 h 2259621"/>
                <a:gd name="connsiteX382" fmla="*/ 2701661 w 2945193"/>
                <a:gd name="connsiteY382" fmla="*/ 281227 h 2259621"/>
                <a:gd name="connsiteX383" fmla="*/ 2697589 w 2945193"/>
                <a:gd name="connsiteY383" fmla="*/ 274711 h 2259621"/>
                <a:gd name="connsiteX384" fmla="*/ 2696774 w 2945193"/>
                <a:gd name="connsiteY384" fmla="*/ 274711 h 2259621"/>
                <a:gd name="connsiteX385" fmla="*/ 2696774 w 2945193"/>
                <a:gd name="connsiteY385" fmla="*/ 273082 h 2259621"/>
                <a:gd name="connsiteX386" fmla="*/ 2607180 w 2945193"/>
                <a:gd name="connsiteY386" fmla="*/ 273082 h 2259621"/>
                <a:gd name="connsiteX387" fmla="*/ 2590891 w 2945193"/>
                <a:gd name="connsiteY387" fmla="*/ 270639 h 2259621"/>
                <a:gd name="connsiteX388" fmla="*/ 2590076 w 2945193"/>
                <a:gd name="connsiteY388" fmla="*/ 270639 h 2259621"/>
                <a:gd name="connsiteX389" fmla="*/ 2526546 w 2945193"/>
                <a:gd name="connsiteY389" fmla="*/ 275525 h 2259621"/>
                <a:gd name="connsiteX390" fmla="*/ 2500482 w 2945193"/>
                <a:gd name="connsiteY390" fmla="*/ 277969 h 2259621"/>
                <a:gd name="connsiteX391" fmla="*/ 2499668 w 2945193"/>
                <a:gd name="connsiteY391" fmla="*/ 273082 h 2259621"/>
                <a:gd name="connsiteX392" fmla="*/ 2497224 w 2945193"/>
                <a:gd name="connsiteY392" fmla="*/ 251905 h 2259621"/>
                <a:gd name="connsiteX393" fmla="*/ 2502111 w 2945193"/>
                <a:gd name="connsiteY393" fmla="*/ 243760 h 2259621"/>
                <a:gd name="connsiteX394" fmla="*/ 2504555 w 2945193"/>
                <a:gd name="connsiteY394" fmla="*/ 240502 h 2259621"/>
                <a:gd name="connsiteX395" fmla="*/ 2502111 w 2945193"/>
                <a:gd name="connsiteY395" fmla="*/ 237245 h 2259621"/>
                <a:gd name="connsiteX396" fmla="*/ 2496410 w 2945193"/>
                <a:gd name="connsiteY396" fmla="*/ 229100 h 2259621"/>
                <a:gd name="connsiteX397" fmla="*/ 2494781 w 2945193"/>
                <a:gd name="connsiteY397" fmla="*/ 213624 h 2259621"/>
                <a:gd name="connsiteX398" fmla="*/ 2493967 w 2945193"/>
                <a:gd name="connsiteY398" fmla="*/ 204665 h 2259621"/>
                <a:gd name="connsiteX399" fmla="*/ 2486636 w 2945193"/>
                <a:gd name="connsiteY399" fmla="*/ 176972 h 2259621"/>
                <a:gd name="connsiteX400" fmla="*/ 2482564 w 2945193"/>
                <a:gd name="connsiteY400" fmla="*/ 168827 h 2259621"/>
                <a:gd name="connsiteX401" fmla="*/ 2474419 w 2945193"/>
                <a:gd name="connsiteY401" fmla="*/ 152538 h 2259621"/>
                <a:gd name="connsiteX402" fmla="*/ 2469532 w 2945193"/>
                <a:gd name="connsiteY402" fmla="*/ 143578 h 2259621"/>
                <a:gd name="connsiteX403" fmla="*/ 2469532 w 2945193"/>
                <a:gd name="connsiteY403" fmla="*/ 137877 h 2259621"/>
                <a:gd name="connsiteX404" fmla="*/ 2449984 w 2945193"/>
                <a:gd name="connsiteY404" fmla="*/ 124845 h 2259621"/>
                <a:gd name="connsiteX405" fmla="*/ 2443468 w 2945193"/>
                <a:gd name="connsiteY405" fmla="*/ 124845 h 2259621"/>
                <a:gd name="connsiteX406" fmla="*/ 2414146 w 2945193"/>
                <a:gd name="connsiteY406" fmla="*/ 123216 h 2259621"/>
                <a:gd name="connsiteX407" fmla="*/ 2392970 w 2945193"/>
                <a:gd name="connsiteY407" fmla="*/ 134619 h 2259621"/>
                <a:gd name="connsiteX408" fmla="*/ 2382381 w 2945193"/>
                <a:gd name="connsiteY408" fmla="*/ 142764 h 2259621"/>
                <a:gd name="connsiteX409" fmla="*/ 2376680 w 2945193"/>
                <a:gd name="connsiteY409" fmla="*/ 145207 h 2259621"/>
                <a:gd name="connsiteX410" fmla="*/ 2369349 w 2945193"/>
                <a:gd name="connsiteY410" fmla="*/ 154981 h 2259621"/>
                <a:gd name="connsiteX411" fmla="*/ 2366092 w 2945193"/>
                <a:gd name="connsiteY411" fmla="*/ 156610 h 2259621"/>
                <a:gd name="connsiteX412" fmla="*/ 2335141 w 2945193"/>
                <a:gd name="connsiteY412" fmla="*/ 164755 h 2259621"/>
                <a:gd name="connsiteX413" fmla="*/ 2296860 w 2945193"/>
                <a:gd name="connsiteY413" fmla="*/ 154167 h 2259621"/>
                <a:gd name="connsiteX414" fmla="*/ 2293602 w 2945193"/>
                <a:gd name="connsiteY414" fmla="*/ 151723 h 2259621"/>
                <a:gd name="connsiteX415" fmla="*/ 2283828 w 2945193"/>
                <a:gd name="connsiteY415" fmla="*/ 140320 h 2259621"/>
                <a:gd name="connsiteX416" fmla="*/ 2251248 w 2945193"/>
                <a:gd name="connsiteY416" fmla="*/ 84120 h 2259621"/>
                <a:gd name="connsiteX417" fmla="*/ 2225999 w 2945193"/>
                <a:gd name="connsiteY417" fmla="*/ 79234 h 2259621"/>
                <a:gd name="connsiteX418" fmla="*/ 2212153 w 2945193"/>
                <a:gd name="connsiteY418" fmla="*/ 79234 h 2259621"/>
                <a:gd name="connsiteX419" fmla="*/ 2212968 w 2945193"/>
                <a:gd name="connsiteY419" fmla="*/ 78419 h 2259621"/>
                <a:gd name="connsiteX420" fmla="*/ 2215411 w 2945193"/>
                <a:gd name="connsiteY420" fmla="*/ 68645 h 2259621"/>
                <a:gd name="connsiteX421" fmla="*/ 2217040 w 2945193"/>
                <a:gd name="connsiteY421" fmla="*/ 67016 h 2259621"/>
                <a:gd name="connsiteX422" fmla="*/ 2218669 w 2945193"/>
                <a:gd name="connsiteY422" fmla="*/ 63758 h 2259621"/>
                <a:gd name="connsiteX423" fmla="*/ 2219484 w 2945193"/>
                <a:gd name="connsiteY423" fmla="*/ 54799 h 2259621"/>
                <a:gd name="connsiteX424" fmla="*/ 2220298 w 2945193"/>
                <a:gd name="connsiteY424" fmla="*/ 53984 h 2259621"/>
                <a:gd name="connsiteX425" fmla="*/ 2220298 w 2945193"/>
                <a:gd name="connsiteY425" fmla="*/ 53170 h 2259621"/>
                <a:gd name="connsiteX426" fmla="*/ 2218669 w 2945193"/>
                <a:gd name="connsiteY426" fmla="*/ 50727 h 2259621"/>
                <a:gd name="connsiteX427" fmla="*/ 2208895 w 2945193"/>
                <a:gd name="connsiteY427" fmla="*/ 49097 h 2259621"/>
                <a:gd name="connsiteX428" fmla="*/ 2204823 w 2945193"/>
                <a:gd name="connsiteY428" fmla="*/ 46654 h 2259621"/>
                <a:gd name="connsiteX429" fmla="*/ 2200750 w 2945193"/>
                <a:gd name="connsiteY429" fmla="*/ 46654 h 2259621"/>
                <a:gd name="connsiteX430" fmla="*/ 2185275 w 2945193"/>
                <a:gd name="connsiteY430" fmla="*/ 50727 h 2259621"/>
                <a:gd name="connsiteX431" fmla="*/ 2182832 w 2945193"/>
                <a:gd name="connsiteY431" fmla="*/ 50727 h 2259621"/>
                <a:gd name="connsiteX432" fmla="*/ 2173872 w 2945193"/>
                <a:gd name="connsiteY432" fmla="*/ 51541 h 2259621"/>
                <a:gd name="connsiteX433" fmla="*/ 2170614 w 2945193"/>
                <a:gd name="connsiteY433" fmla="*/ 52355 h 2259621"/>
                <a:gd name="connsiteX434" fmla="*/ 2168171 w 2945193"/>
                <a:gd name="connsiteY434" fmla="*/ 52355 h 2259621"/>
                <a:gd name="connsiteX435" fmla="*/ 2164098 w 2945193"/>
                <a:gd name="connsiteY435" fmla="*/ 52355 h 2259621"/>
                <a:gd name="connsiteX436" fmla="*/ 2149437 w 2945193"/>
                <a:gd name="connsiteY436" fmla="*/ 56428 h 2259621"/>
                <a:gd name="connsiteX437" fmla="*/ 2145365 w 2945193"/>
                <a:gd name="connsiteY437" fmla="*/ 56428 h 2259621"/>
                <a:gd name="connsiteX438" fmla="*/ 2138849 w 2945193"/>
                <a:gd name="connsiteY438" fmla="*/ 54799 h 2259621"/>
                <a:gd name="connsiteX439" fmla="*/ 2135591 w 2945193"/>
                <a:gd name="connsiteY439" fmla="*/ 53170 h 2259621"/>
                <a:gd name="connsiteX440" fmla="*/ 2135591 w 2945193"/>
                <a:gd name="connsiteY440" fmla="*/ 50727 h 2259621"/>
                <a:gd name="connsiteX441" fmla="*/ 2142921 w 2945193"/>
                <a:gd name="connsiteY441" fmla="*/ 45840 h 2259621"/>
                <a:gd name="connsiteX442" fmla="*/ 2153510 w 2945193"/>
                <a:gd name="connsiteY442" fmla="*/ 42582 h 2259621"/>
                <a:gd name="connsiteX443" fmla="*/ 2160026 w 2945193"/>
                <a:gd name="connsiteY443" fmla="*/ 42582 h 2259621"/>
                <a:gd name="connsiteX444" fmla="*/ 2165727 w 2945193"/>
                <a:gd name="connsiteY444" fmla="*/ 43396 h 2259621"/>
                <a:gd name="connsiteX445" fmla="*/ 2171428 w 2945193"/>
                <a:gd name="connsiteY445" fmla="*/ 41767 h 2259621"/>
                <a:gd name="connsiteX446" fmla="*/ 2175501 w 2945193"/>
                <a:gd name="connsiteY446" fmla="*/ 40953 h 2259621"/>
                <a:gd name="connsiteX447" fmla="*/ 2177944 w 2945193"/>
                <a:gd name="connsiteY447" fmla="*/ 40953 h 2259621"/>
                <a:gd name="connsiteX448" fmla="*/ 2182017 w 2945193"/>
                <a:gd name="connsiteY448" fmla="*/ 40953 h 2259621"/>
                <a:gd name="connsiteX449" fmla="*/ 2187718 w 2945193"/>
                <a:gd name="connsiteY449" fmla="*/ 40953 h 2259621"/>
                <a:gd name="connsiteX450" fmla="*/ 2190976 w 2945193"/>
                <a:gd name="connsiteY450" fmla="*/ 40953 h 2259621"/>
                <a:gd name="connsiteX451" fmla="*/ 2195049 w 2945193"/>
                <a:gd name="connsiteY451" fmla="*/ 40138 h 2259621"/>
                <a:gd name="connsiteX452" fmla="*/ 2201565 w 2945193"/>
                <a:gd name="connsiteY452" fmla="*/ 40138 h 2259621"/>
                <a:gd name="connsiteX453" fmla="*/ 2208895 w 2945193"/>
                <a:gd name="connsiteY453" fmla="*/ 37695 h 2259621"/>
                <a:gd name="connsiteX454" fmla="*/ 2218669 w 2945193"/>
                <a:gd name="connsiteY454" fmla="*/ 35251 h 2259621"/>
                <a:gd name="connsiteX455" fmla="*/ 2222741 w 2945193"/>
                <a:gd name="connsiteY455" fmla="*/ 35251 h 2259621"/>
                <a:gd name="connsiteX456" fmla="*/ 2225185 w 2945193"/>
                <a:gd name="connsiteY456" fmla="*/ 35251 h 2259621"/>
                <a:gd name="connsiteX457" fmla="*/ 2249620 w 2945193"/>
                <a:gd name="connsiteY457" fmla="*/ 27921 h 2259621"/>
                <a:gd name="connsiteX458" fmla="*/ 2250434 w 2945193"/>
                <a:gd name="connsiteY458" fmla="*/ 25477 h 2259621"/>
                <a:gd name="connsiteX459" fmla="*/ 2247176 w 2945193"/>
                <a:gd name="connsiteY459" fmla="*/ 21405 h 2259621"/>
                <a:gd name="connsiteX460" fmla="*/ 2236588 w 2945193"/>
                <a:gd name="connsiteY460" fmla="*/ 18147 h 2259621"/>
                <a:gd name="connsiteX461" fmla="*/ 2234144 w 2945193"/>
                <a:gd name="connsiteY461" fmla="*/ 18147 h 2259621"/>
                <a:gd name="connsiteX462" fmla="*/ 2224370 w 2945193"/>
                <a:gd name="connsiteY462" fmla="*/ 17332 h 2259621"/>
                <a:gd name="connsiteX463" fmla="*/ 2221113 w 2945193"/>
                <a:gd name="connsiteY463" fmla="*/ 17332 h 2259621"/>
                <a:gd name="connsiteX464" fmla="*/ 2217040 w 2945193"/>
                <a:gd name="connsiteY464" fmla="*/ 17332 h 2259621"/>
                <a:gd name="connsiteX465" fmla="*/ 2210524 w 2945193"/>
                <a:gd name="connsiteY465" fmla="*/ 16518 h 2259621"/>
                <a:gd name="connsiteX466" fmla="*/ 2202379 w 2945193"/>
                <a:gd name="connsiteY466" fmla="*/ 16518 h 2259621"/>
                <a:gd name="connsiteX467" fmla="*/ 2193420 w 2945193"/>
                <a:gd name="connsiteY467" fmla="*/ 16518 h 2259621"/>
                <a:gd name="connsiteX468" fmla="*/ 2190976 w 2945193"/>
                <a:gd name="connsiteY468" fmla="*/ 16518 h 2259621"/>
                <a:gd name="connsiteX469" fmla="*/ 2183646 w 2945193"/>
                <a:gd name="connsiteY469" fmla="*/ 14074 h 2259621"/>
                <a:gd name="connsiteX470" fmla="*/ 2177944 w 2945193"/>
                <a:gd name="connsiteY470" fmla="*/ 10816 h 2259621"/>
                <a:gd name="connsiteX471" fmla="*/ 2177130 w 2945193"/>
                <a:gd name="connsiteY471" fmla="*/ 10002 h 2259621"/>
                <a:gd name="connsiteX472" fmla="*/ 2177130 w 2945193"/>
                <a:gd name="connsiteY472" fmla="*/ 9188 h 2259621"/>
                <a:gd name="connsiteX473" fmla="*/ 2179573 w 2945193"/>
                <a:gd name="connsiteY473" fmla="*/ 5115 h 2259621"/>
                <a:gd name="connsiteX474" fmla="*/ 2182832 w 2945193"/>
                <a:gd name="connsiteY474" fmla="*/ 5930 h 2259621"/>
                <a:gd name="connsiteX475" fmla="*/ 2184461 w 2945193"/>
                <a:gd name="connsiteY475" fmla="*/ 5115 h 2259621"/>
                <a:gd name="connsiteX476" fmla="*/ 2183646 w 2945193"/>
                <a:gd name="connsiteY476" fmla="*/ 3486 h 2259621"/>
                <a:gd name="connsiteX477" fmla="*/ 2179573 w 2945193"/>
                <a:gd name="connsiteY477" fmla="*/ 2671 h 2259621"/>
                <a:gd name="connsiteX478" fmla="*/ 2172243 w 2945193"/>
                <a:gd name="connsiteY478" fmla="*/ 5115 h 2259621"/>
                <a:gd name="connsiteX479" fmla="*/ 2168985 w 2945193"/>
                <a:gd name="connsiteY479" fmla="*/ 4301 h 2259621"/>
                <a:gd name="connsiteX480" fmla="*/ 2167356 w 2945193"/>
                <a:gd name="connsiteY480" fmla="*/ 2671 h 2259621"/>
                <a:gd name="connsiteX481" fmla="*/ 2157582 w 2945193"/>
                <a:gd name="connsiteY481" fmla="*/ 1043 h 2259621"/>
                <a:gd name="connsiteX482" fmla="*/ 2153510 w 2945193"/>
                <a:gd name="connsiteY482" fmla="*/ 1043 h 2259621"/>
                <a:gd name="connsiteX483" fmla="*/ 2149437 w 2945193"/>
                <a:gd name="connsiteY483" fmla="*/ 1043 h 2259621"/>
                <a:gd name="connsiteX484" fmla="*/ 2143736 w 2945193"/>
                <a:gd name="connsiteY484" fmla="*/ 228 h 2259621"/>
                <a:gd name="connsiteX485" fmla="*/ 2137220 w 2945193"/>
                <a:gd name="connsiteY485" fmla="*/ 1043 h 2259621"/>
                <a:gd name="connsiteX486" fmla="*/ 2136406 w 2945193"/>
                <a:gd name="connsiteY486" fmla="*/ 1043 h 2259621"/>
                <a:gd name="connsiteX487" fmla="*/ 2129890 w 2945193"/>
                <a:gd name="connsiteY487" fmla="*/ 1043 h 2259621"/>
                <a:gd name="connsiteX488" fmla="*/ 2126632 w 2945193"/>
                <a:gd name="connsiteY488" fmla="*/ 1043 h 2259621"/>
                <a:gd name="connsiteX489" fmla="*/ 2120930 w 2945193"/>
                <a:gd name="connsiteY489" fmla="*/ 1043 h 2259621"/>
                <a:gd name="connsiteX490" fmla="*/ 2116858 w 2945193"/>
                <a:gd name="connsiteY490" fmla="*/ 1043 h 2259621"/>
                <a:gd name="connsiteX491" fmla="*/ 2113600 w 2945193"/>
                <a:gd name="connsiteY491" fmla="*/ 1043 h 2259621"/>
                <a:gd name="connsiteX492" fmla="*/ 2103826 w 2945193"/>
                <a:gd name="connsiteY492" fmla="*/ 1857 h 2259621"/>
                <a:gd name="connsiteX493" fmla="*/ 2101383 w 2945193"/>
                <a:gd name="connsiteY493" fmla="*/ 2671 h 2259621"/>
                <a:gd name="connsiteX494" fmla="*/ 2094867 w 2945193"/>
                <a:gd name="connsiteY494" fmla="*/ 2671 h 2259621"/>
                <a:gd name="connsiteX495" fmla="*/ 2092423 w 2945193"/>
                <a:gd name="connsiteY495" fmla="*/ 3486 h 2259621"/>
                <a:gd name="connsiteX496" fmla="*/ 2086722 w 2945193"/>
                <a:gd name="connsiteY496" fmla="*/ 6744 h 2259621"/>
                <a:gd name="connsiteX497" fmla="*/ 2081020 w 2945193"/>
                <a:gd name="connsiteY497" fmla="*/ 8373 h 2259621"/>
                <a:gd name="connsiteX498" fmla="*/ 2078577 w 2945193"/>
                <a:gd name="connsiteY498" fmla="*/ 8373 h 2259621"/>
                <a:gd name="connsiteX499" fmla="*/ 2072875 w 2945193"/>
                <a:gd name="connsiteY499" fmla="*/ 8373 h 2259621"/>
                <a:gd name="connsiteX500" fmla="*/ 2069617 w 2945193"/>
                <a:gd name="connsiteY500" fmla="*/ 8373 h 2259621"/>
                <a:gd name="connsiteX501" fmla="*/ 2063101 w 2945193"/>
                <a:gd name="connsiteY501" fmla="*/ 8373 h 2259621"/>
                <a:gd name="connsiteX502" fmla="*/ 2050070 w 2945193"/>
                <a:gd name="connsiteY502" fmla="*/ 12445 h 2259621"/>
                <a:gd name="connsiteX503" fmla="*/ 2046812 w 2945193"/>
                <a:gd name="connsiteY503" fmla="*/ 12445 h 2259621"/>
                <a:gd name="connsiteX504" fmla="*/ 2042739 w 2945193"/>
                <a:gd name="connsiteY504" fmla="*/ 12445 h 2259621"/>
                <a:gd name="connsiteX505" fmla="*/ 2031336 w 2945193"/>
                <a:gd name="connsiteY505" fmla="*/ 12445 h 2259621"/>
                <a:gd name="connsiteX506" fmla="*/ 2023191 w 2945193"/>
                <a:gd name="connsiteY506" fmla="*/ 12445 h 2259621"/>
                <a:gd name="connsiteX507" fmla="*/ 2014232 w 2945193"/>
                <a:gd name="connsiteY507" fmla="*/ 14074 h 2259621"/>
                <a:gd name="connsiteX508" fmla="*/ 2006087 w 2945193"/>
                <a:gd name="connsiteY508" fmla="*/ 14889 h 2259621"/>
                <a:gd name="connsiteX509" fmla="*/ 1912421 w 2945193"/>
                <a:gd name="connsiteY509" fmla="*/ 41767 h 2259621"/>
                <a:gd name="connsiteX510" fmla="*/ 1874955 w 2945193"/>
                <a:gd name="connsiteY510" fmla="*/ 52355 h 2259621"/>
                <a:gd name="connsiteX511" fmla="*/ 1870882 w 2945193"/>
                <a:gd name="connsiteY511" fmla="*/ 52355 h 2259621"/>
                <a:gd name="connsiteX512" fmla="*/ 1868438 w 2945193"/>
                <a:gd name="connsiteY512" fmla="*/ 52355 h 2259621"/>
                <a:gd name="connsiteX513" fmla="*/ 1855407 w 2945193"/>
                <a:gd name="connsiteY513" fmla="*/ 56428 h 2259621"/>
                <a:gd name="connsiteX514" fmla="*/ 1853778 w 2945193"/>
                <a:gd name="connsiteY514" fmla="*/ 58057 h 2259621"/>
                <a:gd name="connsiteX515" fmla="*/ 1851334 w 2945193"/>
                <a:gd name="connsiteY515" fmla="*/ 59686 h 2259621"/>
                <a:gd name="connsiteX516" fmla="*/ 1838303 w 2945193"/>
                <a:gd name="connsiteY516" fmla="*/ 63758 h 2259621"/>
                <a:gd name="connsiteX517" fmla="*/ 1834230 w 2945193"/>
                <a:gd name="connsiteY517" fmla="*/ 63758 h 2259621"/>
                <a:gd name="connsiteX518" fmla="*/ 1833415 w 2945193"/>
                <a:gd name="connsiteY518" fmla="*/ 63758 h 2259621"/>
                <a:gd name="connsiteX519" fmla="*/ 1821198 w 2945193"/>
                <a:gd name="connsiteY519" fmla="*/ 68645 h 2259621"/>
                <a:gd name="connsiteX520" fmla="*/ 1812239 w 2945193"/>
                <a:gd name="connsiteY520" fmla="*/ 70274 h 2259621"/>
                <a:gd name="connsiteX521" fmla="*/ 1808981 w 2945193"/>
                <a:gd name="connsiteY521" fmla="*/ 69460 h 2259621"/>
                <a:gd name="connsiteX522" fmla="*/ 1808166 w 2945193"/>
                <a:gd name="connsiteY522" fmla="*/ 68645 h 2259621"/>
                <a:gd name="connsiteX523" fmla="*/ 1808981 w 2945193"/>
                <a:gd name="connsiteY523" fmla="*/ 67831 h 2259621"/>
                <a:gd name="connsiteX524" fmla="*/ 1815496 w 2945193"/>
                <a:gd name="connsiteY524" fmla="*/ 65387 h 2259621"/>
                <a:gd name="connsiteX525" fmla="*/ 1821198 w 2945193"/>
                <a:gd name="connsiteY525" fmla="*/ 62129 h 2259621"/>
                <a:gd name="connsiteX526" fmla="*/ 1855407 w 2945193"/>
                <a:gd name="connsiteY526" fmla="*/ 52355 h 2259621"/>
                <a:gd name="connsiteX527" fmla="*/ 1861108 w 2945193"/>
                <a:gd name="connsiteY527" fmla="*/ 50727 h 2259621"/>
                <a:gd name="connsiteX528" fmla="*/ 1864366 w 2945193"/>
                <a:gd name="connsiteY528" fmla="*/ 48283 h 2259621"/>
                <a:gd name="connsiteX529" fmla="*/ 1865995 w 2945193"/>
                <a:gd name="connsiteY529" fmla="*/ 48283 h 2259621"/>
                <a:gd name="connsiteX530" fmla="*/ 1868438 w 2945193"/>
                <a:gd name="connsiteY530" fmla="*/ 48283 h 2259621"/>
                <a:gd name="connsiteX531" fmla="*/ 1890430 w 2945193"/>
                <a:gd name="connsiteY531" fmla="*/ 41767 h 2259621"/>
                <a:gd name="connsiteX532" fmla="*/ 1893688 w 2945193"/>
                <a:gd name="connsiteY532" fmla="*/ 38509 h 2259621"/>
                <a:gd name="connsiteX533" fmla="*/ 1893688 w 2945193"/>
                <a:gd name="connsiteY533" fmla="*/ 37695 h 2259621"/>
                <a:gd name="connsiteX534" fmla="*/ 1892873 w 2945193"/>
                <a:gd name="connsiteY534" fmla="*/ 37695 h 2259621"/>
                <a:gd name="connsiteX535" fmla="*/ 1879841 w 2945193"/>
                <a:gd name="connsiteY535" fmla="*/ 40953 h 2259621"/>
                <a:gd name="connsiteX536" fmla="*/ 1876583 w 2945193"/>
                <a:gd name="connsiteY536" fmla="*/ 40953 h 2259621"/>
                <a:gd name="connsiteX537" fmla="*/ 1874140 w 2945193"/>
                <a:gd name="connsiteY537" fmla="*/ 41767 h 2259621"/>
                <a:gd name="connsiteX538" fmla="*/ 1872511 w 2945193"/>
                <a:gd name="connsiteY538" fmla="*/ 43396 h 2259621"/>
                <a:gd name="connsiteX539" fmla="*/ 1855407 w 2945193"/>
                <a:gd name="connsiteY539" fmla="*/ 49097 h 2259621"/>
                <a:gd name="connsiteX540" fmla="*/ 1822013 w 2945193"/>
                <a:gd name="connsiteY540" fmla="*/ 58057 h 2259621"/>
                <a:gd name="connsiteX541" fmla="*/ 1817126 w 2945193"/>
                <a:gd name="connsiteY541" fmla="*/ 61315 h 2259621"/>
                <a:gd name="connsiteX542" fmla="*/ 1810610 w 2945193"/>
                <a:gd name="connsiteY542" fmla="*/ 63758 h 2259621"/>
                <a:gd name="connsiteX543" fmla="*/ 1800836 w 2945193"/>
                <a:gd name="connsiteY543" fmla="*/ 64573 h 2259621"/>
                <a:gd name="connsiteX544" fmla="*/ 1751152 w 2945193"/>
                <a:gd name="connsiteY544" fmla="*/ 79234 h 2259621"/>
                <a:gd name="connsiteX545" fmla="*/ 1744636 w 2945193"/>
                <a:gd name="connsiteY545" fmla="*/ 82492 h 2259621"/>
                <a:gd name="connsiteX546" fmla="*/ 1734048 w 2945193"/>
                <a:gd name="connsiteY546" fmla="*/ 84935 h 2259621"/>
                <a:gd name="connsiteX547" fmla="*/ 1732419 w 2945193"/>
                <a:gd name="connsiteY547" fmla="*/ 85749 h 2259621"/>
                <a:gd name="connsiteX548" fmla="*/ 1728347 w 2945193"/>
                <a:gd name="connsiteY548" fmla="*/ 87379 h 2259621"/>
                <a:gd name="connsiteX549" fmla="*/ 1723459 w 2945193"/>
                <a:gd name="connsiteY549" fmla="*/ 89007 h 2259621"/>
                <a:gd name="connsiteX550" fmla="*/ 1722645 w 2945193"/>
                <a:gd name="connsiteY550" fmla="*/ 89822 h 2259621"/>
                <a:gd name="connsiteX551" fmla="*/ 1710428 w 2945193"/>
                <a:gd name="connsiteY551" fmla="*/ 93080 h 2259621"/>
                <a:gd name="connsiteX552" fmla="*/ 1707170 w 2945193"/>
                <a:gd name="connsiteY552" fmla="*/ 92265 h 2259621"/>
                <a:gd name="connsiteX553" fmla="*/ 1703912 w 2945193"/>
                <a:gd name="connsiteY553" fmla="*/ 93080 h 2259621"/>
                <a:gd name="connsiteX554" fmla="*/ 1697396 w 2945193"/>
                <a:gd name="connsiteY554" fmla="*/ 95523 h 2259621"/>
                <a:gd name="connsiteX555" fmla="*/ 1694138 w 2945193"/>
                <a:gd name="connsiteY555" fmla="*/ 95523 h 2259621"/>
                <a:gd name="connsiteX556" fmla="*/ 1685178 w 2945193"/>
                <a:gd name="connsiteY556" fmla="*/ 97967 h 2259621"/>
                <a:gd name="connsiteX557" fmla="*/ 1678662 w 2945193"/>
                <a:gd name="connsiteY557" fmla="*/ 102039 h 2259621"/>
                <a:gd name="connsiteX558" fmla="*/ 1676219 w 2945193"/>
                <a:gd name="connsiteY558" fmla="*/ 102039 h 2259621"/>
                <a:gd name="connsiteX559" fmla="*/ 1672147 w 2945193"/>
                <a:gd name="connsiteY559" fmla="*/ 102854 h 2259621"/>
                <a:gd name="connsiteX560" fmla="*/ 1668888 w 2945193"/>
                <a:gd name="connsiteY560" fmla="*/ 103668 h 2259621"/>
                <a:gd name="connsiteX561" fmla="*/ 1659929 w 2945193"/>
                <a:gd name="connsiteY561" fmla="*/ 105297 h 2259621"/>
                <a:gd name="connsiteX562" fmla="*/ 1657486 w 2945193"/>
                <a:gd name="connsiteY562" fmla="*/ 106926 h 2259621"/>
                <a:gd name="connsiteX563" fmla="*/ 1589883 w 2945193"/>
                <a:gd name="connsiteY563" fmla="*/ 107741 h 2259621"/>
                <a:gd name="connsiteX564" fmla="*/ 1400107 w 2945193"/>
                <a:gd name="connsiteY564" fmla="*/ 154981 h 2259621"/>
                <a:gd name="connsiteX565" fmla="*/ 1349609 w 2945193"/>
                <a:gd name="connsiteY565" fmla="*/ 161497 h 2259621"/>
                <a:gd name="connsiteX566" fmla="*/ 1294223 w 2945193"/>
                <a:gd name="connsiteY566" fmla="*/ 172085 h 2259621"/>
                <a:gd name="connsiteX567" fmla="*/ 1202186 w 2945193"/>
                <a:gd name="connsiteY567" fmla="*/ 211995 h 2259621"/>
                <a:gd name="connsiteX568" fmla="*/ 1018926 w 2945193"/>
                <a:gd name="connsiteY568" fmla="*/ 269010 h 2259621"/>
                <a:gd name="connsiteX569" fmla="*/ 935848 w 2945193"/>
                <a:gd name="connsiteY569" fmla="*/ 294259 h 2259621"/>
                <a:gd name="connsiteX570" fmla="*/ 866616 w 2945193"/>
                <a:gd name="connsiteY570" fmla="*/ 331725 h 2259621"/>
                <a:gd name="connsiteX571" fmla="*/ 720823 w 2945193"/>
                <a:gd name="connsiteY571" fmla="*/ 358603 h 2259621"/>
                <a:gd name="connsiteX572" fmla="*/ 676026 w 2945193"/>
                <a:gd name="connsiteY572" fmla="*/ 360232 h 2259621"/>
                <a:gd name="connsiteX573" fmla="*/ 672768 w 2945193"/>
                <a:gd name="connsiteY573" fmla="*/ 361047 h 2259621"/>
                <a:gd name="connsiteX574" fmla="*/ 648333 w 2945193"/>
                <a:gd name="connsiteY574" fmla="*/ 370821 h 2259621"/>
                <a:gd name="connsiteX575" fmla="*/ 636116 w 2945193"/>
                <a:gd name="connsiteY575" fmla="*/ 377337 h 2259621"/>
                <a:gd name="connsiteX576" fmla="*/ 588876 w 2945193"/>
                <a:gd name="connsiteY576" fmla="*/ 397699 h 2259621"/>
                <a:gd name="connsiteX577" fmla="*/ 572586 w 2945193"/>
                <a:gd name="connsiteY577" fmla="*/ 396070 h 2259621"/>
                <a:gd name="connsiteX578" fmla="*/ 564441 w 2945193"/>
                <a:gd name="connsiteY578" fmla="*/ 396884 h 2259621"/>
                <a:gd name="connsiteX579" fmla="*/ 563627 w 2945193"/>
                <a:gd name="connsiteY579" fmla="*/ 406658 h 2259621"/>
                <a:gd name="connsiteX580" fmla="*/ 562812 w 2945193"/>
                <a:gd name="connsiteY580" fmla="*/ 409916 h 2259621"/>
                <a:gd name="connsiteX581" fmla="*/ 548151 w 2945193"/>
                <a:gd name="connsiteY581" fmla="*/ 418061 h 2259621"/>
                <a:gd name="connsiteX582" fmla="*/ 517201 w 2945193"/>
                <a:gd name="connsiteY582" fmla="*/ 433536 h 2259621"/>
                <a:gd name="connsiteX583" fmla="*/ 467517 w 2945193"/>
                <a:gd name="connsiteY583" fmla="*/ 471817 h 2259621"/>
                <a:gd name="connsiteX584" fmla="*/ 394213 w 2945193"/>
                <a:gd name="connsiteY584" fmla="*/ 505211 h 2259621"/>
                <a:gd name="connsiteX585" fmla="*/ 342086 w 2945193"/>
                <a:gd name="connsiteY585" fmla="*/ 550008 h 2259621"/>
                <a:gd name="connsiteX586" fmla="*/ 279370 w 2945193"/>
                <a:gd name="connsiteY586" fmla="*/ 567113 h 2259621"/>
                <a:gd name="connsiteX587" fmla="*/ 180002 w 2945193"/>
                <a:gd name="connsiteY587" fmla="*/ 673811 h 2259621"/>
                <a:gd name="connsiteX588" fmla="*/ 171857 w 2945193"/>
                <a:gd name="connsiteY588" fmla="*/ 677883 h 2259621"/>
                <a:gd name="connsiteX589" fmla="*/ 166156 w 2945193"/>
                <a:gd name="connsiteY589" fmla="*/ 706390 h 2259621"/>
                <a:gd name="connsiteX590" fmla="*/ 165341 w 2945193"/>
                <a:gd name="connsiteY590" fmla="*/ 716979 h 2259621"/>
                <a:gd name="connsiteX591" fmla="*/ 170228 w 2945193"/>
                <a:gd name="connsiteY591" fmla="*/ 751187 h 2259621"/>
                <a:gd name="connsiteX592" fmla="*/ 160454 w 2945193"/>
                <a:gd name="connsiteY592" fmla="*/ 761776 h 2259621"/>
                <a:gd name="connsiteX593" fmla="*/ 168599 w 2945193"/>
                <a:gd name="connsiteY593" fmla="*/ 775622 h 2259621"/>
                <a:gd name="connsiteX594" fmla="*/ 182446 w 2945193"/>
                <a:gd name="connsiteY594" fmla="*/ 805758 h 2259621"/>
                <a:gd name="connsiteX595" fmla="*/ 206066 w 2945193"/>
                <a:gd name="connsiteY595" fmla="*/ 844854 h 2259621"/>
                <a:gd name="connsiteX596" fmla="*/ 238645 w 2945193"/>
                <a:gd name="connsiteY596" fmla="*/ 865216 h 2259621"/>
                <a:gd name="connsiteX597" fmla="*/ 288329 w 2945193"/>
                <a:gd name="connsiteY597" fmla="*/ 859514 h 2259621"/>
                <a:gd name="connsiteX598" fmla="*/ 322538 w 2945193"/>
                <a:gd name="connsiteY598" fmla="*/ 840781 h 2259621"/>
                <a:gd name="connsiteX599" fmla="*/ 375479 w 2945193"/>
                <a:gd name="connsiteY599" fmla="*/ 792726 h 2259621"/>
                <a:gd name="connsiteX600" fmla="*/ 395842 w 2945193"/>
                <a:gd name="connsiteY600" fmla="*/ 765034 h 2259621"/>
                <a:gd name="connsiteX601" fmla="*/ 403987 w 2945193"/>
                <a:gd name="connsiteY601" fmla="*/ 765034 h 2259621"/>
                <a:gd name="connsiteX602" fmla="*/ 412131 w 2945193"/>
                <a:gd name="connsiteY602" fmla="*/ 761776 h 2259621"/>
                <a:gd name="connsiteX603" fmla="*/ 403987 w 2945193"/>
                <a:gd name="connsiteY603" fmla="*/ 757703 h 2259621"/>
                <a:gd name="connsiteX604" fmla="*/ 404801 w 2945193"/>
                <a:gd name="connsiteY604" fmla="*/ 756889 h 2259621"/>
                <a:gd name="connsiteX605" fmla="*/ 419462 w 2945193"/>
                <a:gd name="connsiteY605" fmla="*/ 745486 h 2259621"/>
                <a:gd name="connsiteX606" fmla="*/ 421905 w 2945193"/>
                <a:gd name="connsiteY606" fmla="*/ 747929 h 2259621"/>
                <a:gd name="connsiteX607" fmla="*/ 435752 w 2945193"/>
                <a:gd name="connsiteY607" fmla="*/ 747115 h 2259621"/>
                <a:gd name="connsiteX608" fmla="*/ 439010 w 2945193"/>
                <a:gd name="connsiteY608" fmla="*/ 726753 h 2259621"/>
                <a:gd name="connsiteX609" fmla="*/ 439010 w 2945193"/>
                <a:gd name="connsiteY609" fmla="*/ 726753 h 2259621"/>
                <a:gd name="connsiteX610" fmla="*/ 446340 w 2945193"/>
                <a:gd name="connsiteY610" fmla="*/ 716164 h 2259621"/>
                <a:gd name="connsiteX611" fmla="*/ 461001 w 2945193"/>
                <a:gd name="connsiteY611" fmla="*/ 708834 h 2259621"/>
                <a:gd name="connsiteX612" fmla="*/ 504169 w 2945193"/>
                <a:gd name="connsiteY612" fmla="*/ 687657 h 2259621"/>
                <a:gd name="connsiteX613" fmla="*/ 545708 w 2945193"/>
                <a:gd name="connsiteY613" fmla="*/ 666480 h 2259621"/>
                <a:gd name="connsiteX614" fmla="*/ 600279 w 2945193"/>
                <a:gd name="connsiteY614" fmla="*/ 640417 h 2259621"/>
                <a:gd name="connsiteX615" fmla="*/ 601908 w 2945193"/>
                <a:gd name="connsiteY615" fmla="*/ 640417 h 2259621"/>
                <a:gd name="connsiteX616" fmla="*/ 601908 w 2945193"/>
                <a:gd name="connsiteY616" fmla="*/ 639602 h 2259621"/>
                <a:gd name="connsiteX617" fmla="*/ 614939 w 2945193"/>
                <a:gd name="connsiteY617" fmla="*/ 633901 h 2259621"/>
                <a:gd name="connsiteX618" fmla="*/ 659736 w 2945193"/>
                <a:gd name="connsiteY618" fmla="*/ 612724 h 2259621"/>
                <a:gd name="connsiteX619" fmla="*/ 667881 w 2945193"/>
                <a:gd name="connsiteY619" fmla="*/ 608652 h 2259621"/>
                <a:gd name="connsiteX620" fmla="*/ 680913 w 2945193"/>
                <a:gd name="connsiteY620" fmla="*/ 604579 h 2259621"/>
                <a:gd name="connsiteX621" fmla="*/ 654849 w 2945193"/>
                <a:gd name="connsiteY621" fmla="*/ 617611 h 2259621"/>
                <a:gd name="connsiteX622" fmla="*/ 645075 w 2945193"/>
                <a:gd name="connsiteY622" fmla="*/ 624127 h 2259621"/>
                <a:gd name="connsiteX623" fmla="*/ 645075 w 2945193"/>
                <a:gd name="connsiteY623" fmla="*/ 624127 h 2259621"/>
                <a:gd name="connsiteX624" fmla="*/ 645075 w 2945193"/>
                <a:gd name="connsiteY624" fmla="*/ 624127 h 2259621"/>
                <a:gd name="connsiteX625" fmla="*/ 612496 w 2945193"/>
                <a:gd name="connsiteY625" fmla="*/ 637159 h 2259621"/>
                <a:gd name="connsiteX626" fmla="*/ 617383 w 2945193"/>
                <a:gd name="connsiteY626" fmla="*/ 639602 h 2259621"/>
                <a:gd name="connsiteX627" fmla="*/ 610052 w 2945193"/>
                <a:gd name="connsiteY627" fmla="*/ 646118 h 2259621"/>
                <a:gd name="connsiteX628" fmla="*/ 611681 w 2945193"/>
                <a:gd name="connsiteY628" fmla="*/ 650190 h 2259621"/>
                <a:gd name="connsiteX629" fmla="*/ 605980 w 2945193"/>
                <a:gd name="connsiteY629" fmla="*/ 655077 h 2259621"/>
                <a:gd name="connsiteX630" fmla="*/ 595392 w 2945193"/>
                <a:gd name="connsiteY630" fmla="*/ 664037 h 2259621"/>
                <a:gd name="connsiteX631" fmla="*/ 588061 w 2945193"/>
                <a:gd name="connsiteY631" fmla="*/ 669738 h 2259621"/>
                <a:gd name="connsiteX632" fmla="*/ 570143 w 2945193"/>
                <a:gd name="connsiteY632" fmla="*/ 686028 h 2259621"/>
                <a:gd name="connsiteX633" fmla="*/ 566884 w 2945193"/>
                <a:gd name="connsiteY633" fmla="*/ 688472 h 2259621"/>
                <a:gd name="connsiteX634" fmla="*/ 532676 w 2945193"/>
                <a:gd name="connsiteY634" fmla="*/ 710463 h 2259621"/>
                <a:gd name="connsiteX635" fmla="*/ 517201 w 2945193"/>
                <a:gd name="connsiteY635" fmla="*/ 732454 h 2259621"/>
                <a:gd name="connsiteX636" fmla="*/ 503354 w 2945193"/>
                <a:gd name="connsiteY636" fmla="*/ 759332 h 2259621"/>
                <a:gd name="connsiteX637" fmla="*/ 488694 w 2945193"/>
                <a:gd name="connsiteY637" fmla="*/ 769921 h 2259621"/>
                <a:gd name="connsiteX638" fmla="*/ 464259 w 2945193"/>
                <a:gd name="connsiteY638" fmla="*/ 779694 h 2259621"/>
                <a:gd name="connsiteX639" fmla="*/ 454485 w 2945193"/>
                <a:gd name="connsiteY639" fmla="*/ 784581 h 2259621"/>
                <a:gd name="connsiteX640" fmla="*/ 448783 w 2945193"/>
                <a:gd name="connsiteY640" fmla="*/ 782138 h 2259621"/>
                <a:gd name="connsiteX641" fmla="*/ 425163 w 2945193"/>
                <a:gd name="connsiteY641" fmla="*/ 796799 h 2259621"/>
                <a:gd name="connsiteX642" fmla="*/ 408059 w 2945193"/>
                <a:gd name="connsiteY642" fmla="*/ 803315 h 2259621"/>
                <a:gd name="connsiteX643" fmla="*/ 403987 w 2945193"/>
                <a:gd name="connsiteY643" fmla="*/ 805758 h 2259621"/>
                <a:gd name="connsiteX644" fmla="*/ 377108 w 2945193"/>
                <a:gd name="connsiteY644" fmla="*/ 816346 h 2259621"/>
                <a:gd name="connsiteX645" fmla="*/ 352674 w 2945193"/>
                <a:gd name="connsiteY645" fmla="*/ 828564 h 2259621"/>
                <a:gd name="connsiteX646" fmla="*/ 331497 w 2945193"/>
                <a:gd name="connsiteY646" fmla="*/ 838338 h 2259621"/>
                <a:gd name="connsiteX647" fmla="*/ 311135 w 2945193"/>
                <a:gd name="connsiteY647" fmla="*/ 858700 h 2259621"/>
                <a:gd name="connsiteX648" fmla="*/ 320909 w 2945193"/>
                <a:gd name="connsiteY648" fmla="*/ 855442 h 2259621"/>
                <a:gd name="connsiteX649" fmla="*/ 316022 w 2945193"/>
                <a:gd name="connsiteY649" fmla="*/ 863587 h 2259621"/>
                <a:gd name="connsiteX650" fmla="*/ 329868 w 2945193"/>
                <a:gd name="connsiteY650" fmla="*/ 859514 h 2259621"/>
                <a:gd name="connsiteX651" fmla="*/ 343714 w 2945193"/>
                <a:gd name="connsiteY651" fmla="*/ 854627 h 2259621"/>
                <a:gd name="connsiteX652" fmla="*/ 347787 w 2945193"/>
                <a:gd name="connsiteY652" fmla="*/ 851369 h 2259621"/>
                <a:gd name="connsiteX653" fmla="*/ 355932 w 2945193"/>
                <a:gd name="connsiteY653" fmla="*/ 846482 h 2259621"/>
                <a:gd name="connsiteX654" fmla="*/ 381995 w 2945193"/>
                <a:gd name="connsiteY654" fmla="*/ 836709 h 2259621"/>
                <a:gd name="connsiteX655" fmla="*/ 384439 w 2945193"/>
                <a:gd name="connsiteY655" fmla="*/ 845668 h 2259621"/>
                <a:gd name="connsiteX656" fmla="*/ 399100 w 2945193"/>
                <a:gd name="connsiteY656" fmla="*/ 846482 h 2259621"/>
                <a:gd name="connsiteX657" fmla="*/ 407245 w 2945193"/>
                <a:gd name="connsiteY657" fmla="*/ 845668 h 2259621"/>
                <a:gd name="connsiteX658" fmla="*/ 430050 w 2945193"/>
                <a:gd name="connsiteY658" fmla="*/ 840781 h 2259621"/>
                <a:gd name="connsiteX659" fmla="*/ 440639 w 2945193"/>
                <a:gd name="connsiteY659" fmla="*/ 840781 h 2259621"/>
                <a:gd name="connsiteX660" fmla="*/ 440639 w 2945193"/>
                <a:gd name="connsiteY660" fmla="*/ 840781 h 2259621"/>
                <a:gd name="connsiteX661" fmla="*/ 440639 w 2945193"/>
                <a:gd name="connsiteY661" fmla="*/ 840781 h 2259621"/>
                <a:gd name="connsiteX662" fmla="*/ 447155 w 2945193"/>
                <a:gd name="connsiteY662" fmla="*/ 840781 h 2259621"/>
                <a:gd name="connsiteX663" fmla="*/ 447155 w 2945193"/>
                <a:gd name="connsiteY663" fmla="*/ 840781 h 2259621"/>
                <a:gd name="connsiteX664" fmla="*/ 448783 w 2945193"/>
                <a:gd name="connsiteY664" fmla="*/ 839967 h 2259621"/>
                <a:gd name="connsiteX665" fmla="*/ 447155 w 2945193"/>
                <a:gd name="connsiteY665" fmla="*/ 840781 h 2259621"/>
                <a:gd name="connsiteX666" fmla="*/ 447155 w 2945193"/>
                <a:gd name="connsiteY666" fmla="*/ 840781 h 2259621"/>
                <a:gd name="connsiteX667" fmla="*/ 447155 w 2945193"/>
                <a:gd name="connsiteY667" fmla="*/ 840781 h 2259621"/>
                <a:gd name="connsiteX668" fmla="*/ 443082 w 2945193"/>
                <a:gd name="connsiteY668" fmla="*/ 844039 h 2259621"/>
                <a:gd name="connsiteX669" fmla="*/ 443082 w 2945193"/>
                <a:gd name="connsiteY669" fmla="*/ 844854 h 2259621"/>
                <a:gd name="connsiteX670" fmla="*/ 434123 w 2945193"/>
                <a:gd name="connsiteY670" fmla="*/ 852184 h 2259621"/>
                <a:gd name="connsiteX671" fmla="*/ 430865 w 2945193"/>
                <a:gd name="connsiteY671" fmla="*/ 853813 h 2259621"/>
                <a:gd name="connsiteX672" fmla="*/ 420276 w 2945193"/>
                <a:gd name="connsiteY672" fmla="*/ 845668 h 2259621"/>
                <a:gd name="connsiteX673" fmla="*/ 415390 w 2945193"/>
                <a:gd name="connsiteY673" fmla="*/ 854627 h 2259621"/>
                <a:gd name="connsiteX674" fmla="*/ 409688 w 2945193"/>
                <a:gd name="connsiteY674" fmla="*/ 866030 h 2259621"/>
                <a:gd name="connsiteX675" fmla="*/ 408874 w 2945193"/>
                <a:gd name="connsiteY675" fmla="*/ 866030 h 2259621"/>
                <a:gd name="connsiteX676" fmla="*/ 408874 w 2945193"/>
                <a:gd name="connsiteY676" fmla="*/ 866030 h 2259621"/>
                <a:gd name="connsiteX677" fmla="*/ 403172 w 2945193"/>
                <a:gd name="connsiteY677" fmla="*/ 870103 h 2259621"/>
                <a:gd name="connsiteX678" fmla="*/ 396656 w 2945193"/>
                <a:gd name="connsiteY678" fmla="*/ 875804 h 2259621"/>
                <a:gd name="connsiteX679" fmla="*/ 377923 w 2945193"/>
                <a:gd name="connsiteY679" fmla="*/ 883134 h 2259621"/>
                <a:gd name="connsiteX680" fmla="*/ 370593 w 2945193"/>
                <a:gd name="connsiteY680" fmla="*/ 887207 h 2259621"/>
                <a:gd name="connsiteX681" fmla="*/ 363262 w 2945193"/>
                <a:gd name="connsiteY681" fmla="*/ 891279 h 2259621"/>
                <a:gd name="connsiteX682" fmla="*/ 341271 w 2945193"/>
                <a:gd name="connsiteY682" fmla="*/ 908384 h 2259621"/>
                <a:gd name="connsiteX683" fmla="*/ 329054 w 2945193"/>
                <a:gd name="connsiteY683" fmla="*/ 925488 h 2259621"/>
                <a:gd name="connsiteX684" fmla="*/ 324981 w 2945193"/>
                <a:gd name="connsiteY684" fmla="*/ 929560 h 2259621"/>
                <a:gd name="connsiteX685" fmla="*/ 324981 w 2945193"/>
                <a:gd name="connsiteY685" fmla="*/ 929560 h 2259621"/>
                <a:gd name="connsiteX686" fmla="*/ 311949 w 2945193"/>
                <a:gd name="connsiteY686" fmla="*/ 927931 h 2259621"/>
                <a:gd name="connsiteX687" fmla="*/ 311135 w 2945193"/>
                <a:gd name="connsiteY687" fmla="*/ 940963 h 2259621"/>
                <a:gd name="connsiteX688" fmla="*/ 283442 w 2945193"/>
                <a:gd name="connsiteY688" fmla="*/ 962140 h 2259621"/>
                <a:gd name="connsiteX689" fmla="*/ 276112 w 2945193"/>
                <a:gd name="connsiteY689" fmla="*/ 970285 h 2259621"/>
                <a:gd name="connsiteX690" fmla="*/ 261451 w 2945193"/>
                <a:gd name="connsiteY690" fmla="*/ 984131 h 2259621"/>
                <a:gd name="connsiteX691" fmla="*/ 239460 w 2945193"/>
                <a:gd name="connsiteY691" fmla="*/ 1002864 h 2259621"/>
                <a:gd name="connsiteX692" fmla="*/ 232944 w 2945193"/>
                <a:gd name="connsiteY692" fmla="*/ 1008566 h 2259621"/>
                <a:gd name="connsiteX693" fmla="*/ 226428 w 2945193"/>
                <a:gd name="connsiteY693" fmla="*/ 997978 h 2259621"/>
                <a:gd name="connsiteX694" fmla="*/ 232944 w 2945193"/>
                <a:gd name="connsiteY694" fmla="*/ 1008566 h 2259621"/>
                <a:gd name="connsiteX695" fmla="*/ 185703 w 2945193"/>
                <a:gd name="connsiteY695" fmla="*/ 1054177 h 2259621"/>
                <a:gd name="connsiteX696" fmla="*/ 137649 w 2945193"/>
                <a:gd name="connsiteY696" fmla="*/ 1099789 h 2259621"/>
                <a:gd name="connsiteX697" fmla="*/ 135205 w 2945193"/>
                <a:gd name="connsiteY697" fmla="*/ 1102232 h 2259621"/>
                <a:gd name="connsiteX698" fmla="*/ 135205 w 2945193"/>
                <a:gd name="connsiteY698" fmla="*/ 1102232 h 2259621"/>
                <a:gd name="connsiteX699" fmla="*/ 134391 w 2945193"/>
                <a:gd name="connsiteY699" fmla="*/ 1097345 h 2259621"/>
                <a:gd name="connsiteX700" fmla="*/ 131133 w 2945193"/>
                <a:gd name="connsiteY700" fmla="*/ 1094087 h 2259621"/>
                <a:gd name="connsiteX701" fmla="*/ 127875 w 2945193"/>
                <a:gd name="connsiteY701" fmla="*/ 1096531 h 2259621"/>
                <a:gd name="connsiteX702" fmla="*/ 127875 w 2945193"/>
                <a:gd name="connsiteY702" fmla="*/ 1105490 h 2259621"/>
                <a:gd name="connsiteX703" fmla="*/ 129504 w 2945193"/>
                <a:gd name="connsiteY703" fmla="*/ 1107934 h 2259621"/>
                <a:gd name="connsiteX704" fmla="*/ 123802 w 2945193"/>
                <a:gd name="connsiteY704" fmla="*/ 1113635 h 2259621"/>
                <a:gd name="connsiteX705" fmla="*/ 120544 w 2945193"/>
                <a:gd name="connsiteY705" fmla="*/ 1116893 h 2259621"/>
                <a:gd name="connsiteX706" fmla="*/ 114843 w 2945193"/>
                <a:gd name="connsiteY706" fmla="*/ 1121780 h 2259621"/>
                <a:gd name="connsiteX707" fmla="*/ 75747 w 2945193"/>
                <a:gd name="connsiteY707" fmla="*/ 1161690 h 2259621"/>
                <a:gd name="connsiteX708" fmla="*/ 62716 w 2945193"/>
                <a:gd name="connsiteY708" fmla="*/ 1174722 h 2259621"/>
                <a:gd name="connsiteX709" fmla="*/ 32580 w 2945193"/>
                <a:gd name="connsiteY709" fmla="*/ 1204043 h 2259621"/>
                <a:gd name="connsiteX710" fmla="*/ 28507 w 2945193"/>
                <a:gd name="connsiteY710" fmla="*/ 1210559 h 2259621"/>
                <a:gd name="connsiteX711" fmla="*/ 13846 w 2945193"/>
                <a:gd name="connsiteY711" fmla="*/ 1234994 h 2259621"/>
                <a:gd name="connsiteX712" fmla="*/ 8959 w 2945193"/>
                <a:gd name="connsiteY712" fmla="*/ 1243953 h 2259621"/>
                <a:gd name="connsiteX713" fmla="*/ 7330 w 2945193"/>
                <a:gd name="connsiteY713" fmla="*/ 1256171 h 2259621"/>
                <a:gd name="connsiteX714" fmla="*/ 14661 w 2945193"/>
                <a:gd name="connsiteY714" fmla="*/ 1265944 h 2259621"/>
                <a:gd name="connsiteX715" fmla="*/ 0 w 2945193"/>
                <a:gd name="connsiteY715" fmla="*/ 1278976 h 2259621"/>
                <a:gd name="connsiteX716" fmla="*/ 1629 w 2945193"/>
                <a:gd name="connsiteY716" fmla="*/ 1289565 h 2259621"/>
                <a:gd name="connsiteX717" fmla="*/ 2443 w 2945193"/>
                <a:gd name="connsiteY717" fmla="*/ 1292008 h 2259621"/>
                <a:gd name="connsiteX718" fmla="*/ 27693 w 2945193"/>
                <a:gd name="connsiteY718" fmla="*/ 1318886 h 2259621"/>
                <a:gd name="connsiteX719" fmla="*/ 30950 w 2945193"/>
                <a:gd name="connsiteY719" fmla="*/ 1379158 h 2259621"/>
                <a:gd name="connsiteX720" fmla="*/ 52127 w 2945193"/>
                <a:gd name="connsiteY720" fmla="*/ 1412553 h 2259621"/>
                <a:gd name="connsiteX721" fmla="*/ 52127 w 2945193"/>
                <a:gd name="connsiteY721" fmla="*/ 1414182 h 2259621"/>
                <a:gd name="connsiteX722" fmla="*/ 54571 w 2945193"/>
                <a:gd name="connsiteY722" fmla="*/ 1415810 h 2259621"/>
                <a:gd name="connsiteX723" fmla="*/ 80634 w 2945193"/>
                <a:gd name="connsiteY723" fmla="*/ 1435358 h 2259621"/>
                <a:gd name="connsiteX724" fmla="*/ 107512 w 2945193"/>
                <a:gd name="connsiteY724" fmla="*/ 1430471 h 2259621"/>
                <a:gd name="connsiteX725" fmla="*/ 115657 w 2945193"/>
                <a:gd name="connsiteY725" fmla="*/ 1427214 h 2259621"/>
                <a:gd name="connsiteX726" fmla="*/ 130318 w 2945193"/>
                <a:gd name="connsiteY726" fmla="*/ 1417440 h 2259621"/>
                <a:gd name="connsiteX727" fmla="*/ 147422 w 2945193"/>
                <a:gd name="connsiteY727" fmla="*/ 1410109 h 2259621"/>
                <a:gd name="connsiteX728" fmla="*/ 145794 w 2945193"/>
                <a:gd name="connsiteY728" fmla="*/ 1413367 h 2259621"/>
                <a:gd name="connsiteX729" fmla="*/ 144164 w 2945193"/>
                <a:gd name="connsiteY729" fmla="*/ 1415810 h 2259621"/>
                <a:gd name="connsiteX730" fmla="*/ 141721 w 2945193"/>
                <a:gd name="connsiteY730" fmla="*/ 1419069 h 2259621"/>
                <a:gd name="connsiteX731" fmla="*/ 140092 w 2945193"/>
                <a:gd name="connsiteY731" fmla="*/ 1423141 h 2259621"/>
                <a:gd name="connsiteX732" fmla="*/ 136834 w 2945193"/>
                <a:gd name="connsiteY732" fmla="*/ 1428028 h 2259621"/>
                <a:gd name="connsiteX733" fmla="*/ 134391 w 2945193"/>
                <a:gd name="connsiteY733" fmla="*/ 1431286 h 2259621"/>
                <a:gd name="connsiteX734" fmla="*/ 134391 w 2945193"/>
                <a:gd name="connsiteY734" fmla="*/ 1432915 h 2259621"/>
                <a:gd name="connsiteX735" fmla="*/ 136834 w 2945193"/>
                <a:gd name="connsiteY735" fmla="*/ 1441874 h 2259621"/>
                <a:gd name="connsiteX736" fmla="*/ 136834 w 2945193"/>
                <a:gd name="connsiteY736" fmla="*/ 1443503 h 2259621"/>
                <a:gd name="connsiteX737" fmla="*/ 132762 w 2945193"/>
                <a:gd name="connsiteY737" fmla="*/ 1448390 h 2259621"/>
                <a:gd name="connsiteX738" fmla="*/ 131133 w 2945193"/>
                <a:gd name="connsiteY738" fmla="*/ 1450019 h 2259621"/>
                <a:gd name="connsiteX739" fmla="*/ 127060 w 2945193"/>
                <a:gd name="connsiteY739" fmla="*/ 1457349 h 2259621"/>
                <a:gd name="connsiteX740" fmla="*/ 126246 w 2945193"/>
                <a:gd name="connsiteY740" fmla="*/ 1458979 h 2259621"/>
                <a:gd name="connsiteX741" fmla="*/ 126246 w 2945193"/>
                <a:gd name="connsiteY741" fmla="*/ 1462236 h 2259621"/>
                <a:gd name="connsiteX742" fmla="*/ 127060 w 2945193"/>
                <a:gd name="connsiteY742" fmla="*/ 1467123 h 2259621"/>
                <a:gd name="connsiteX743" fmla="*/ 126246 w 2945193"/>
                <a:gd name="connsiteY743" fmla="*/ 1471196 h 2259621"/>
                <a:gd name="connsiteX744" fmla="*/ 122173 w 2945193"/>
                <a:gd name="connsiteY744" fmla="*/ 1485857 h 2259621"/>
                <a:gd name="connsiteX745" fmla="*/ 122988 w 2945193"/>
                <a:gd name="connsiteY745" fmla="*/ 1494001 h 2259621"/>
                <a:gd name="connsiteX746" fmla="*/ 123802 w 2945193"/>
                <a:gd name="connsiteY746" fmla="*/ 1498888 h 2259621"/>
                <a:gd name="connsiteX747" fmla="*/ 121359 w 2945193"/>
                <a:gd name="connsiteY747" fmla="*/ 1507033 h 2259621"/>
                <a:gd name="connsiteX748" fmla="*/ 125431 w 2945193"/>
                <a:gd name="connsiteY748" fmla="*/ 1515178 h 2259621"/>
                <a:gd name="connsiteX749" fmla="*/ 126246 w 2945193"/>
                <a:gd name="connsiteY749" fmla="*/ 1518436 h 2259621"/>
                <a:gd name="connsiteX750" fmla="*/ 127875 w 2945193"/>
                <a:gd name="connsiteY750" fmla="*/ 1521694 h 2259621"/>
                <a:gd name="connsiteX751" fmla="*/ 135205 w 2945193"/>
                <a:gd name="connsiteY751" fmla="*/ 1527396 h 2259621"/>
                <a:gd name="connsiteX752" fmla="*/ 142536 w 2945193"/>
                <a:gd name="connsiteY752" fmla="*/ 1533097 h 2259621"/>
                <a:gd name="connsiteX753" fmla="*/ 143350 w 2945193"/>
                <a:gd name="connsiteY753" fmla="*/ 1533911 h 2259621"/>
                <a:gd name="connsiteX754" fmla="*/ 149051 w 2945193"/>
                <a:gd name="connsiteY754" fmla="*/ 1538798 h 2259621"/>
                <a:gd name="connsiteX755" fmla="*/ 154753 w 2945193"/>
                <a:gd name="connsiteY755" fmla="*/ 1542871 h 2259621"/>
                <a:gd name="connsiteX756" fmla="*/ 162083 w 2945193"/>
                <a:gd name="connsiteY756" fmla="*/ 1548572 h 2259621"/>
                <a:gd name="connsiteX757" fmla="*/ 163712 w 2945193"/>
                <a:gd name="connsiteY757" fmla="*/ 1549387 h 2259621"/>
                <a:gd name="connsiteX758" fmla="*/ 173486 w 2945193"/>
                <a:gd name="connsiteY758" fmla="*/ 1555088 h 2259621"/>
                <a:gd name="connsiteX759" fmla="*/ 181631 w 2945193"/>
                <a:gd name="connsiteY759" fmla="*/ 1559161 h 2259621"/>
                <a:gd name="connsiteX760" fmla="*/ 184074 w 2945193"/>
                <a:gd name="connsiteY760" fmla="*/ 1561604 h 2259621"/>
                <a:gd name="connsiteX761" fmla="*/ 186518 w 2945193"/>
                <a:gd name="connsiteY761" fmla="*/ 1564862 h 2259621"/>
                <a:gd name="connsiteX762" fmla="*/ 188961 w 2945193"/>
                <a:gd name="connsiteY762" fmla="*/ 1566491 h 2259621"/>
                <a:gd name="connsiteX763" fmla="*/ 193848 w 2945193"/>
                <a:gd name="connsiteY763" fmla="*/ 1568120 h 2259621"/>
                <a:gd name="connsiteX764" fmla="*/ 201993 w 2945193"/>
                <a:gd name="connsiteY764" fmla="*/ 1574636 h 2259621"/>
                <a:gd name="connsiteX765" fmla="*/ 206066 w 2945193"/>
                <a:gd name="connsiteY765" fmla="*/ 1581152 h 2259621"/>
                <a:gd name="connsiteX766" fmla="*/ 207695 w 2945193"/>
                <a:gd name="connsiteY766" fmla="*/ 1582781 h 2259621"/>
                <a:gd name="connsiteX767" fmla="*/ 210953 w 2945193"/>
                <a:gd name="connsiteY767" fmla="*/ 1585224 h 2259621"/>
                <a:gd name="connsiteX768" fmla="*/ 219098 w 2945193"/>
                <a:gd name="connsiteY768" fmla="*/ 1594184 h 2259621"/>
                <a:gd name="connsiteX769" fmla="*/ 223985 w 2945193"/>
                <a:gd name="connsiteY769" fmla="*/ 1599071 h 2259621"/>
                <a:gd name="connsiteX770" fmla="*/ 230500 w 2945193"/>
                <a:gd name="connsiteY770" fmla="*/ 1607215 h 2259621"/>
                <a:gd name="connsiteX771" fmla="*/ 231315 w 2945193"/>
                <a:gd name="connsiteY771" fmla="*/ 1609659 h 2259621"/>
                <a:gd name="connsiteX772" fmla="*/ 234573 w 2945193"/>
                <a:gd name="connsiteY772" fmla="*/ 1612102 h 2259621"/>
                <a:gd name="connsiteX773" fmla="*/ 239460 w 2945193"/>
                <a:gd name="connsiteY773" fmla="*/ 1620247 h 2259621"/>
                <a:gd name="connsiteX774" fmla="*/ 241089 w 2945193"/>
                <a:gd name="connsiteY774" fmla="*/ 1622691 h 2259621"/>
                <a:gd name="connsiteX775" fmla="*/ 245161 w 2945193"/>
                <a:gd name="connsiteY775" fmla="*/ 1626763 h 2259621"/>
                <a:gd name="connsiteX776" fmla="*/ 248419 w 2945193"/>
                <a:gd name="connsiteY776" fmla="*/ 1632465 h 2259621"/>
                <a:gd name="connsiteX777" fmla="*/ 253306 w 2945193"/>
                <a:gd name="connsiteY777" fmla="*/ 1635723 h 2259621"/>
                <a:gd name="connsiteX778" fmla="*/ 259008 w 2945193"/>
                <a:gd name="connsiteY778" fmla="*/ 1639795 h 2259621"/>
                <a:gd name="connsiteX779" fmla="*/ 262265 w 2945193"/>
                <a:gd name="connsiteY779" fmla="*/ 1640610 h 2259621"/>
                <a:gd name="connsiteX780" fmla="*/ 267152 w 2945193"/>
                <a:gd name="connsiteY780" fmla="*/ 1641424 h 2259621"/>
                <a:gd name="connsiteX781" fmla="*/ 269596 w 2945193"/>
                <a:gd name="connsiteY781" fmla="*/ 1641424 h 2259621"/>
                <a:gd name="connsiteX782" fmla="*/ 280999 w 2945193"/>
                <a:gd name="connsiteY782" fmla="*/ 1633279 h 2259621"/>
                <a:gd name="connsiteX783" fmla="*/ 283442 w 2945193"/>
                <a:gd name="connsiteY783" fmla="*/ 1631650 h 2259621"/>
                <a:gd name="connsiteX784" fmla="*/ 285886 w 2945193"/>
                <a:gd name="connsiteY784" fmla="*/ 1630021 h 2259621"/>
                <a:gd name="connsiteX785" fmla="*/ 291587 w 2945193"/>
                <a:gd name="connsiteY785" fmla="*/ 1625134 h 2259621"/>
                <a:gd name="connsiteX786" fmla="*/ 295660 w 2945193"/>
                <a:gd name="connsiteY786" fmla="*/ 1621876 h 2259621"/>
                <a:gd name="connsiteX787" fmla="*/ 297289 w 2945193"/>
                <a:gd name="connsiteY787" fmla="*/ 1620247 h 2259621"/>
                <a:gd name="connsiteX788" fmla="*/ 303804 w 2945193"/>
                <a:gd name="connsiteY788" fmla="*/ 1616175 h 2259621"/>
                <a:gd name="connsiteX789" fmla="*/ 306248 w 2945193"/>
                <a:gd name="connsiteY789" fmla="*/ 1613732 h 2259621"/>
                <a:gd name="connsiteX790" fmla="*/ 314393 w 2945193"/>
                <a:gd name="connsiteY790" fmla="*/ 1611288 h 2259621"/>
                <a:gd name="connsiteX791" fmla="*/ 319280 w 2945193"/>
                <a:gd name="connsiteY791" fmla="*/ 1613732 h 2259621"/>
                <a:gd name="connsiteX792" fmla="*/ 324981 w 2945193"/>
                <a:gd name="connsiteY792" fmla="*/ 1615360 h 2259621"/>
                <a:gd name="connsiteX793" fmla="*/ 332312 w 2945193"/>
                <a:gd name="connsiteY793" fmla="*/ 1619433 h 2259621"/>
                <a:gd name="connsiteX794" fmla="*/ 336384 w 2945193"/>
                <a:gd name="connsiteY794" fmla="*/ 1622691 h 2259621"/>
                <a:gd name="connsiteX795" fmla="*/ 341271 w 2945193"/>
                <a:gd name="connsiteY795" fmla="*/ 1626763 h 2259621"/>
                <a:gd name="connsiteX796" fmla="*/ 347787 w 2945193"/>
                <a:gd name="connsiteY796" fmla="*/ 1627578 h 2259621"/>
                <a:gd name="connsiteX797" fmla="*/ 353488 w 2945193"/>
                <a:gd name="connsiteY797" fmla="*/ 1626763 h 2259621"/>
                <a:gd name="connsiteX798" fmla="*/ 360819 w 2945193"/>
                <a:gd name="connsiteY798" fmla="*/ 1625134 h 2259621"/>
                <a:gd name="connsiteX799" fmla="*/ 368149 w 2945193"/>
                <a:gd name="connsiteY799" fmla="*/ 1623505 h 2259621"/>
                <a:gd name="connsiteX800" fmla="*/ 374665 w 2945193"/>
                <a:gd name="connsiteY800" fmla="*/ 1620247 h 2259621"/>
                <a:gd name="connsiteX801" fmla="*/ 387697 w 2945193"/>
                <a:gd name="connsiteY801" fmla="*/ 1612917 h 2259621"/>
                <a:gd name="connsiteX802" fmla="*/ 398285 w 2945193"/>
                <a:gd name="connsiteY802" fmla="*/ 1604772 h 2259621"/>
                <a:gd name="connsiteX803" fmla="*/ 399914 w 2945193"/>
                <a:gd name="connsiteY803" fmla="*/ 1603143 h 2259621"/>
                <a:gd name="connsiteX804" fmla="*/ 417833 w 2945193"/>
                <a:gd name="connsiteY804" fmla="*/ 1593369 h 2259621"/>
                <a:gd name="connsiteX805" fmla="*/ 421091 w 2945193"/>
                <a:gd name="connsiteY805" fmla="*/ 1593369 h 2259621"/>
                <a:gd name="connsiteX806" fmla="*/ 421905 w 2945193"/>
                <a:gd name="connsiteY806" fmla="*/ 1593369 h 2259621"/>
                <a:gd name="connsiteX807" fmla="*/ 421905 w 2945193"/>
                <a:gd name="connsiteY807" fmla="*/ 1598256 h 2259621"/>
                <a:gd name="connsiteX808" fmla="*/ 428421 w 2945193"/>
                <a:gd name="connsiteY808" fmla="*/ 1599885 h 2259621"/>
                <a:gd name="connsiteX809" fmla="*/ 430050 w 2945193"/>
                <a:gd name="connsiteY809" fmla="*/ 1597442 h 2259621"/>
                <a:gd name="connsiteX810" fmla="*/ 432494 w 2945193"/>
                <a:gd name="connsiteY810" fmla="*/ 1599885 h 2259621"/>
                <a:gd name="connsiteX811" fmla="*/ 437381 w 2945193"/>
                <a:gd name="connsiteY811" fmla="*/ 1600700 h 2259621"/>
                <a:gd name="connsiteX812" fmla="*/ 429236 w 2945193"/>
                <a:gd name="connsiteY812" fmla="*/ 1608030 h 2259621"/>
                <a:gd name="connsiteX813" fmla="*/ 430050 w 2945193"/>
                <a:gd name="connsiteY813" fmla="*/ 1600700 h 2259621"/>
                <a:gd name="connsiteX814" fmla="*/ 404801 w 2945193"/>
                <a:gd name="connsiteY814" fmla="*/ 1624320 h 2259621"/>
                <a:gd name="connsiteX815" fmla="*/ 405616 w 2945193"/>
                <a:gd name="connsiteY815" fmla="*/ 1630836 h 2259621"/>
                <a:gd name="connsiteX816" fmla="*/ 409688 w 2945193"/>
                <a:gd name="connsiteY816" fmla="*/ 1628392 h 2259621"/>
                <a:gd name="connsiteX817" fmla="*/ 410503 w 2945193"/>
                <a:gd name="connsiteY817" fmla="*/ 1630836 h 2259621"/>
                <a:gd name="connsiteX818" fmla="*/ 421091 w 2945193"/>
                <a:gd name="connsiteY818" fmla="*/ 1622691 h 2259621"/>
                <a:gd name="connsiteX819" fmla="*/ 425163 w 2945193"/>
                <a:gd name="connsiteY819" fmla="*/ 1627578 h 2259621"/>
                <a:gd name="connsiteX820" fmla="*/ 444711 w 2945193"/>
                <a:gd name="connsiteY820" fmla="*/ 1614546 h 2259621"/>
                <a:gd name="connsiteX821" fmla="*/ 445526 w 2945193"/>
                <a:gd name="connsiteY821" fmla="*/ 1613732 h 2259621"/>
                <a:gd name="connsiteX822" fmla="*/ 445526 w 2945193"/>
                <a:gd name="connsiteY822" fmla="*/ 1613732 h 2259621"/>
                <a:gd name="connsiteX823" fmla="*/ 446340 w 2945193"/>
                <a:gd name="connsiteY823" fmla="*/ 1616175 h 2259621"/>
                <a:gd name="connsiteX824" fmla="*/ 437381 w 2945193"/>
                <a:gd name="connsiteY824" fmla="*/ 1623505 h 2259621"/>
                <a:gd name="connsiteX825" fmla="*/ 437381 w 2945193"/>
                <a:gd name="connsiteY825" fmla="*/ 1623505 h 2259621"/>
                <a:gd name="connsiteX826" fmla="*/ 437381 w 2945193"/>
                <a:gd name="connsiteY826" fmla="*/ 1623505 h 2259621"/>
                <a:gd name="connsiteX827" fmla="*/ 407245 w 2945193"/>
                <a:gd name="connsiteY827" fmla="*/ 1652012 h 2259621"/>
                <a:gd name="connsiteX828" fmla="*/ 393398 w 2945193"/>
                <a:gd name="connsiteY828" fmla="*/ 1666673 h 2259621"/>
                <a:gd name="connsiteX829" fmla="*/ 387697 w 2945193"/>
                <a:gd name="connsiteY829" fmla="*/ 1673189 h 2259621"/>
                <a:gd name="connsiteX830" fmla="*/ 389326 w 2945193"/>
                <a:gd name="connsiteY830" fmla="*/ 1678891 h 2259621"/>
                <a:gd name="connsiteX831" fmla="*/ 412131 w 2945193"/>
                <a:gd name="connsiteY831" fmla="*/ 1659343 h 2259621"/>
                <a:gd name="connsiteX832" fmla="*/ 417833 w 2945193"/>
                <a:gd name="connsiteY832" fmla="*/ 1654456 h 2259621"/>
                <a:gd name="connsiteX833" fmla="*/ 414575 w 2945193"/>
                <a:gd name="connsiteY833" fmla="*/ 1661786 h 2259621"/>
                <a:gd name="connsiteX834" fmla="*/ 408874 w 2945193"/>
                <a:gd name="connsiteY834" fmla="*/ 1672375 h 2259621"/>
                <a:gd name="connsiteX835" fmla="*/ 413760 w 2945193"/>
                <a:gd name="connsiteY835" fmla="*/ 1677262 h 2259621"/>
                <a:gd name="connsiteX836" fmla="*/ 428421 w 2945193"/>
                <a:gd name="connsiteY836" fmla="*/ 1669117 h 2259621"/>
                <a:gd name="connsiteX837" fmla="*/ 415390 w 2945193"/>
                <a:gd name="connsiteY837" fmla="*/ 1681334 h 2259621"/>
                <a:gd name="connsiteX838" fmla="*/ 412946 w 2945193"/>
                <a:gd name="connsiteY838" fmla="*/ 1683778 h 2259621"/>
                <a:gd name="connsiteX839" fmla="*/ 401543 w 2945193"/>
                <a:gd name="connsiteY839" fmla="*/ 1685406 h 2259621"/>
                <a:gd name="connsiteX840" fmla="*/ 400729 w 2945193"/>
                <a:gd name="connsiteY840" fmla="*/ 1695995 h 2259621"/>
                <a:gd name="connsiteX841" fmla="*/ 403172 w 2945193"/>
                <a:gd name="connsiteY841" fmla="*/ 1697624 h 2259621"/>
                <a:gd name="connsiteX842" fmla="*/ 396656 w 2945193"/>
                <a:gd name="connsiteY842" fmla="*/ 1701696 h 2259621"/>
                <a:gd name="connsiteX843" fmla="*/ 390955 w 2945193"/>
                <a:gd name="connsiteY843" fmla="*/ 1704140 h 2259621"/>
                <a:gd name="connsiteX844" fmla="*/ 383624 w 2945193"/>
                <a:gd name="connsiteY844" fmla="*/ 1711470 h 2259621"/>
                <a:gd name="connsiteX845" fmla="*/ 390140 w 2945193"/>
                <a:gd name="connsiteY845" fmla="*/ 1720430 h 2259621"/>
                <a:gd name="connsiteX846" fmla="*/ 390140 w 2945193"/>
                <a:gd name="connsiteY846" fmla="*/ 1720430 h 2259621"/>
                <a:gd name="connsiteX847" fmla="*/ 395842 w 2945193"/>
                <a:gd name="connsiteY847" fmla="*/ 1725316 h 2259621"/>
                <a:gd name="connsiteX848" fmla="*/ 404801 w 2945193"/>
                <a:gd name="connsiteY848" fmla="*/ 1720430 h 2259621"/>
                <a:gd name="connsiteX849" fmla="*/ 406430 w 2945193"/>
                <a:gd name="connsiteY849" fmla="*/ 1717172 h 2259621"/>
                <a:gd name="connsiteX850" fmla="*/ 412946 w 2945193"/>
                <a:gd name="connsiteY850" fmla="*/ 1717172 h 2259621"/>
                <a:gd name="connsiteX851" fmla="*/ 426792 w 2945193"/>
                <a:gd name="connsiteY851" fmla="*/ 1713099 h 2259621"/>
                <a:gd name="connsiteX852" fmla="*/ 428421 w 2945193"/>
                <a:gd name="connsiteY852" fmla="*/ 1717986 h 2259621"/>
                <a:gd name="connsiteX853" fmla="*/ 438195 w 2945193"/>
                <a:gd name="connsiteY853" fmla="*/ 1718801 h 2259621"/>
                <a:gd name="connsiteX854" fmla="*/ 440639 w 2945193"/>
                <a:gd name="connsiteY854" fmla="*/ 1707398 h 2259621"/>
                <a:gd name="connsiteX855" fmla="*/ 439010 w 2945193"/>
                <a:gd name="connsiteY855" fmla="*/ 1705769 h 2259621"/>
                <a:gd name="connsiteX856" fmla="*/ 435752 w 2945193"/>
                <a:gd name="connsiteY856" fmla="*/ 1703325 h 2259621"/>
                <a:gd name="connsiteX857" fmla="*/ 434123 w 2945193"/>
                <a:gd name="connsiteY857" fmla="*/ 1702511 h 2259621"/>
                <a:gd name="connsiteX858" fmla="*/ 431679 w 2945193"/>
                <a:gd name="connsiteY858" fmla="*/ 1698438 h 2259621"/>
                <a:gd name="connsiteX859" fmla="*/ 445526 w 2945193"/>
                <a:gd name="connsiteY859" fmla="*/ 1689479 h 2259621"/>
                <a:gd name="connsiteX860" fmla="*/ 445526 w 2945193"/>
                <a:gd name="connsiteY860" fmla="*/ 1690293 h 2259621"/>
                <a:gd name="connsiteX861" fmla="*/ 451227 w 2945193"/>
                <a:gd name="connsiteY861" fmla="*/ 1706583 h 2259621"/>
                <a:gd name="connsiteX862" fmla="*/ 452856 w 2945193"/>
                <a:gd name="connsiteY862" fmla="*/ 1709841 h 2259621"/>
                <a:gd name="connsiteX863" fmla="*/ 443897 w 2945193"/>
                <a:gd name="connsiteY863" fmla="*/ 1711470 h 2259621"/>
                <a:gd name="connsiteX864" fmla="*/ 443897 w 2945193"/>
                <a:gd name="connsiteY864" fmla="*/ 1715543 h 2259621"/>
                <a:gd name="connsiteX865" fmla="*/ 439824 w 2945193"/>
                <a:gd name="connsiteY865" fmla="*/ 1743235 h 2259621"/>
                <a:gd name="connsiteX866" fmla="*/ 439824 w 2945193"/>
                <a:gd name="connsiteY866" fmla="*/ 1748122 h 2259621"/>
                <a:gd name="connsiteX867" fmla="*/ 442268 w 2945193"/>
                <a:gd name="connsiteY867" fmla="*/ 1751380 h 2259621"/>
                <a:gd name="connsiteX868" fmla="*/ 441453 w 2945193"/>
                <a:gd name="connsiteY868" fmla="*/ 1761968 h 2259621"/>
                <a:gd name="connsiteX869" fmla="*/ 432494 w 2945193"/>
                <a:gd name="connsiteY869" fmla="*/ 1765227 h 2259621"/>
                <a:gd name="connsiteX870" fmla="*/ 434123 w 2945193"/>
                <a:gd name="connsiteY870" fmla="*/ 1770113 h 2259621"/>
                <a:gd name="connsiteX871" fmla="*/ 427607 w 2945193"/>
                <a:gd name="connsiteY871" fmla="*/ 1774186 h 2259621"/>
                <a:gd name="connsiteX872" fmla="*/ 408874 w 2945193"/>
                <a:gd name="connsiteY872" fmla="*/ 1786403 h 2259621"/>
                <a:gd name="connsiteX873" fmla="*/ 401543 w 2945193"/>
                <a:gd name="connsiteY873" fmla="*/ 1796177 h 2259621"/>
                <a:gd name="connsiteX874" fmla="*/ 403987 w 2945193"/>
                <a:gd name="connsiteY874" fmla="*/ 1839345 h 2259621"/>
                <a:gd name="connsiteX875" fmla="*/ 364077 w 2945193"/>
                <a:gd name="connsiteY875" fmla="*/ 1924052 h 2259621"/>
                <a:gd name="connsiteX876" fmla="*/ 377923 w 2945193"/>
                <a:gd name="connsiteY876" fmla="*/ 1956632 h 2259621"/>
                <a:gd name="connsiteX877" fmla="*/ 379552 w 2945193"/>
                <a:gd name="connsiteY877" fmla="*/ 1961518 h 2259621"/>
                <a:gd name="connsiteX878" fmla="*/ 395027 w 2945193"/>
                <a:gd name="connsiteY878" fmla="*/ 1994913 h 2259621"/>
                <a:gd name="connsiteX879" fmla="*/ 407245 w 2945193"/>
                <a:gd name="connsiteY879" fmla="*/ 2020976 h 2259621"/>
                <a:gd name="connsiteX880" fmla="*/ 480549 w 2945193"/>
                <a:gd name="connsiteY880" fmla="*/ 2112199 h 2259621"/>
                <a:gd name="connsiteX881" fmla="*/ 477291 w 2945193"/>
                <a:gd name="connsiteY881" fmla="*/ 2118715 h 2259621"/>
                <a:gd name="connsiteX882" fmla="*/ 487065 w 2945193"/>
                <a:gd name="connsiteY882" fmla="*/ 2133376 h 2259621"/>
                <a:gd name="connsiteX883" fmla="*/ 516386 w 2945193"/>
                <a:gd name="connsiteY883" fmla="*/ 2141521 h 2259621"/>
                <a:gd name="connsiteX884" fmla="*/ 536748 w 2945193"/>
                <a:gd name="connsiteY884" fmla="*/ 2131747 h 2259621"/>
                <a:gd name="connsiteX885" fmla="*/ 545708 w 2945193"/>
                <a:gd name="connsiteY885" fmla="*/ 2130118 h 2259621"/>
                <a:gd name="connsiteX886" fmla="*/ 597835 w 2945193"/>
                <a:gd name="connsiteY886" fmla="*/ 2125231 h 2259621"/>
                <a:gd name="connsiteX887" fmla="*/ 613310 w 2945193"/>
                <a:gd name="connsiteY887" fmla="*/ 2121973 h 2259621"/>
                <a:gd name="connsiteX888" fmla="*/ 638560 w 2945193"/>
                <a:gd name="connsiteY888" fmla="*/ 2108941 h 2259621"/>
                <a:gd name="connsiteX889" fmla="*/ 647519 w 2945193"/>
                <a:gd name="connsiteY889" fmla="*/ 2101611 h 2259621"/>
                <a:gd name="connsiteX890" fmla="*/ 651592 w 2945193"/>
                <a:gd name="connsiteY890" fmla="*/ 2091022 h 2259621"/>
                <a:gd name="connsiteX891" fmla="*/ 655664 w 2945193"/>
                <a:gd name="connsiteY891" fmla="*/ 2073918 h 2259621"/>
                <a:gd name="connsiteX892" fmla="*/ 661365 w 2945193"/>
                <a:gd name="connsiteY892" fmla="*/ 2059257 h 2259621"/>
                <a:gd name="connsiteX893" fmla="*/ 664623 w 2945193"/>
                <a:gd name="connsiteY893" fmla="*/ 2047854 h 2259621"/>
                <a:gd name="connsiteX894" fmla="*/ 665438 w 2945193"/>
                <a:gd name="connsiteY894" fmla="*/ 2048669 h 2259621"/>
                <a:gd name="connsiteX895" fmla="*/ 669510 w 2945193"/>
                <a:gd name="connsiteY895" fmla="*/ 2046225 h 2259621"/>
                <a:gd name="connsiteX896" fmla="*/ 671139 w 2945193"/>
                <a:gd name="connsiteY896" fmla="*/ 2053555 h 2259621"/>
                <a:gd name="connsiteX897" fmla="*/ 686614 w 2945193"/>
                <a:gd name="connsiteY897" fmla="*/ 2036451 h 2259621"/>
                <a:gd name="connsiteX898" fmla="*/ 684985 w 2945193"/>
                <a:gd name="connsiteY898" fmla="*/ 2032379 h 2259621"/>
                <a:gd name="connsiteX899" fmla="*/ 680913 w 2945193"/>
                <a:gd name="connsiteY899" fmla="*/ 2032379 h 2259621"/>
                <a:gd name="connsiteX900" fmla="*/ 680913 w 2945193"/>
                <a:gd name="connsiteY900" fmla="*/ 2031565 h 2259621"/>
                <a:gd name="connsiteX901" fmla="*/ 679284 w 2945193"/>
                <a:gd name="connsiteY901" fmla="*/ 2027492 h 2259621"/>
                <a:gd name="connsiteX902" fmla="*/ 674397 w 2945193"/>
                <a:gd name="connsiteY902" fmla="*/ 2028307 h 2259621"/>
                <a:gd name="connsiteX903" fmla="*/ 668696 w 2945193"/>
                <a:gd name="connsiteY903" fmla="*/ 2032379 h 2259621"/>
                <a:gd name="connsiteX904" fmla="*/ 662994 w 2945193"/>
                <a:gd name="connsiteY904" fmla="*/ 2027492 h 2259621"/>
                <a:gd name="connsiteX905" fmla="*/ 654035 w 2945193"/>
                <a:gd name="connsiteY905" fmla="*/ 2020976 h 2259621"/>
                <a:gd name="connsiteX906" fmla="*/ 651592 w 2945193"/>
                <a:gd name="connsiteY906" fmla="*/ 2020162 h 2259621"/>
                <a:gd name="connsiteX907" fmla="*/ 656478 w 2945193"/>
                <a:gd name="connsiteY907" fmla="*/ 2010388 h 2259621"/>
                <a:gd name="connsiteX908" fmla="*/ 669510 w 2945193"/>
                <a:gd name="connsiteY908" fmla="*/ 1994913 h 2259621"/>
                <a:gd name="connsiteX909" fmla="*/ 692316 w 2945193"/>
                <a:gd name="connsiteY909" fmla="*/ 1985139 h 2259621"/>
                <a:gd name="connsiteX910" fmla="*/ 695574 w 2945193"/>
                <a:gd name="connsiteY910" fmla="*/ 1985953 h 2259621"/>
                <a:gd name="connsiteX911" fmla="*/ 717565 w 2945193"/>
                <a:gd name="connsiteY911" fmla="*/ 1985953 h 2259621"/>
                <a:gd name="connsiteX912" fmla="*/ 726524 w 2945193"/>
                <a:gd name="connsiteY912" fmla="*/ 1984324 h 2259621"/>
                <a:gd name="connsiteX913" fmla="*/ 724081 w 2945193"/>
                <a:gd name="connsiteY913" fmla="*/ 1987582 h 2259621"/>
                <a:gd name="connsiteX914" fmla="*/ 724081 w 2945193"/>
                <a:gd name="connsiteY914" fmla="*/ 1997356 h 2259621"/>
                <a:gd name="connsiteX915" fmla="*/ 719194 w 2945193"/>
                <a:gd name="connsiteY915" fmla="*/ 2002243 h 2259621"/>
                <a:gd name="connsiteX916" fmla="*/ 732226 w 2945193"/>
                <a:gd name="connsiteY916" fmla="*/ 2008759 h 2259621"/>
                <a:gd name="connsiteX917" fmla="*/ 731411 w 2945193"/>
                <a:gd name="connsiteY917" fmla="*/ 2016089 h 2259621"/>
                <a:gd name="connsiteX918" fmla="*/ 735484 w 2945193"/>
                <a:gd name="connsiteY918" fmla="*/ 2019347 h 2259621"/>
                <a:gd name="connsiteX919" fmla="*/ 738742 w 2945193"/>
                <a:gd name="connsiteY919" fmla="*/ 2026677 h 2259621"/>
                <a:gd name="connsiteX920" fmla="*/ 724081 w 2945193"/>
                <a:gd name="connsiteY920" fmla="*/ 2024234 h 2259621"/>
                <a:gd name="connsiteX921" fmla="*/ 715936 w 2945193"/>
                <a:gd name="connsiteY921" fmla="*/ 2035637 h 2259621"/>
                <a:gd name="connsiteX922" fmla="*/ 722452 w 2945193"/>
                <a:gd name="connsiteY922" fmla="*/ 2050298 h 2259621"/>
                <a:gd name="connsiteX923" fmla="*/ 724081 w 2945193"/>
                <a:gd name="connsiteY923" fmla="*/ 2053555 h 2259621"/>
                <a:gd name="connsiteX924" fmla="*/ 715122 w 2945193"/>
                <a:gd name="connsiteY924" fmla="*/ 2055999 h 2259621"/>
                <a:gd name="connsiteX925" fmla="*/ 715122 w 2945193"/>
                <a:gd name="connsiteY925" fmla="*/ 2060072 h 2259621"/>
                <a:gd name="connsiteX926" fmla="*/ 710235 w 2945193"/>
                <a:gd name="connsiteY926" fmla="*/ 2087764 h 2259621"/>
                <a:gd name="connsiteX927" fmla="*/ 710235 w 2945193"/>
                <a:gd name="connsiteY927" fmla="*/ 2092651 h 2259621"/>
                <a:gd name="connsiteX928" fmla="*/ 715122 w 2945193"/>
                <a:gd name="connsiteY928" fmla="*/ 2108941 h 2259621"/>
                <a:gd name="connsiteX929" fmla="*/ 717565 w 2945193"/>
                <a:gd name="connsiteY929" fmla="*/ 2113014 h 2259621"/>
                <a:gd name="connsiteX930" fmla="*/ 733040 w 2945193"/>
                <a:gd name="connsiteY930" fmla="*/ 2109756 h 2259621"/>
                <a:gd name="connsiteX931" fmla="*/ 732226 w 2945193"/>
                <a:gd name="connsiteY931" fmla="*/ 2110570 h 2259621"/>
                <a:gd name="connsiteX932" fmla="*/ 731411 w 2945193"/>
                <a:gd name="connsiteY932" fmla="*/ 2113828 h 2259621"/>
                <a:gd name="connsiteX933" fmla="*/ 736298 w 2945193"/>
                <a:gd name="connsiteY933" fmla="*/ 2113828 h 2259621"/>
                <a:gd name="connsiteX934" fmla="*/ 737113 w 2945193"/>
                <a:gd name="connsiteY934" fmla="*/ 2110570 h 2259621"/>
                <a:gd name="connsiteX935" fmla="*/ 740371 w 2945193"/>
                <a:gd name="connsiteY935" fmla="*/ 2121159 h 2259621"/>
                <a:gd name="connsiteX936" fmla="*/ 748516 w 2945193"/>
                <a:gd name="connsiteY936" fmla="*/ 2139892 h 2259621"/>
                <a:gd name="connsiteX937" fmla="*/ 758289 w 2945193"/>
                <a:gd name="connsiteY937" fmla="*/ 2148851 h 2259621"/>
                <a:gd name="connsiteX938" fmla="*/ 759104 w 2945193"/>
                <a:gd name="connsiteY938" fmla="*/ 2157811 h 2259621"/>
                <a:gd name="connsiteX939" fmla="*/ 763176 w 2945193"/>
                <a:gd name="connsiteY939" fmla="*/ 2159439 h 2259621"/>
                <a:gd name="connsiteX940" fmla="*/ 764805 w 2945193"/>
                <a:gd name="connsiteY940" fmla="*/ 2162697 h 2259621"/>
                <a:gd name="connsiteX941" fmla="*/ 774579 w 2945193"/>
                <a:gd name="connsiteY941" fmla="*/ 2161883 h 2259621"/>
                <a:gd name="connsiteX942" fmla="*/ 777023 w 2945193"/>
                <a:gd name="connsiteY942" fmla="*/ 2150480 h 2259621"/>
                <a:gd name="connsiteX943" fmla="*/ 772950 w 2945193"/>
                <a:gd name="connsiteY943" fmla="*/ 2148851 h 2259621"/>
                <a:gd name="connsiteX944" fmla="*/ 772136 w 2945193"/>
                <a:gd name="connsiteY944" fmla="*/ 2145593 h 2259621"/>
                <a:gd name="connsiteX945" fmla="*/ 771322 w 2945193"/>
                <a:gd name="connsiteY945" fmla="*/ 2144778 h 2259621"/>
                <a:gd name="connsiteX946" fmla="*/ 773765 w 2945193"/>
                <a:gd name="connsiteY946" fmla="*/ 2143964 h 2259621"/>
                <a:gd name="connsiteX947" fmla="*/ 773765 w 2945193"/>
                <a:gd name="connsiteY947" fmla="*/ 2143964 h 2259621"/>
                <a:gd name="connsiteX948" fmla="*/ 786797 w 2945193"/>
                <a:gd name="connsiteY948" fmla="*/ 2139077 h 2259621"/>
                <a:gd name="connsiteX949" fmla="*/ 789240 w 2945193"/>
                <a:gd name="connsiteY949" fmla="*/ 2135004 h 2259621"/>
                <a:gd name="connsiteX950" fmla="*/ 794941 w 2945193"/>
                <a:gd name="connsiteY950" fmla="*/ 2129303 h 2259621"/>
                <a:gd name="connsiteX951" fmla="*/ 794941 w 2945193"/>
                <a:gd name="connsiteY951" fmla="*/ 2129303 h 2259621"/>
                <a:gd name="connsiteX952" fmla="*/ 800643 w 2945193"/>
                <a:gd name="connsiteY952" fmla="*/ 2130118 h 2259621"/>
                <a:gd name="connsiteX953" fmla="*/ 803901 w 2945193"/>
                <a:gd name="connsiteY953" fmla="*/ 2122787 h 2259621"/>
                <a:gd name="connsiteX954" fmla="*/ 801457 w 2945193"/>
                <a:gd name="connsiteY954" fmla="*/ 2122787 h 2259621"/>
                <a:gd name="connsiteX955" fmla="*/ 812860 w 2945193"/>
                <a:gd name="connsiteY955" fmla="*/ 2112199 h 2259621"/>
                <a:gd name="connsiteX956" fmla="*/ 811231 w 2945193"/>
                <a:gd name="connsiteY956" fmla="*/ 2135819 h 2259621"/>
                <a:gd name="connsiteX957" fmla="*/ 810417 w 2945193"/>
                <a:gd name="connsiteY957" fmla="*/ 2140706 h 2259621"/>
                <a:gd name="connsiteX958" fmla="*/ 810417 w 2945193"/>
                <a:gd name="connsiteY958" fmla="*/ 2140706 h 2259621"/>
                <a:gd name="connsiteX959" fmla="*/ 803086 w 2945193"/>
                <a:gd name="connsiteY959" fmla="*/ 2143149 h 2259621"/>
                <a:gd name="connsiteX960" fmla="*/ 800643 w 2945193"/>
                <a:gd name="connsiteY960" fmla="*/ 2153738 h 2259621"/>
                <a:gd name="connsiteX961" fmla="*/ 805530 w 2945193"/>
                <a:gd name="connsiteY961" fmla="*/ 2157811 h 2259621"/>
                <a:gd name="connsiteX962" fmla="*/ 806344 w 2945193"/>
                <a:gd name="connsiteY962" fmla="*/ 2158625 h 2259621"/>
                <a:gd name="connsiteX963" fmla="*/ 811231 w 2945193"/>
                <a:gd name="connsiteY963" fmla="*/ 2162697 h 2259621"/>
                <a:gd name="connsiteX964" fmla="*/ 814489 w 2945193"/>
                <a:gd name="connsiteY964" fmla="*/ 2177358 h 2259621"/>
                <a:gd name="connsiteX965" fmla="*/ 816118 w 2945193"/>
                <a:gd name="connsiteY965" fmla="*/ 2179801 h 2259621"/>
                <a:gd name="connsiteX966" fmla="*/ 834852 w 2945193"/>
                <a:gd name="connsiteY966" fmla="*/ 2194463 h 2259621"/>
                <a:gd name="connsiteX967" fmla="*/ 864173 w 2945193"/>
                <a:gd name="connsiteY967" fmla="*/ 2203422 h 2259621"/>
                <a:gd name="connsiteX968" fmla="*/ 872318 w 2945193"/>
                <a:gd name="connsiteY968" fmla="*/ 2205865 h 2259621"/>
                <a:gd name="connsiteX969" fmla="*/ 872318 w 2945193"/>
                <a:gd name="connsiteY969" fmla="*/ 2205865 h 2259621"/>
                <a:gd name="connsiteX970" fmla="*/ 867431 w 2945193"/>
                <a:gd name="connsiteY970" fmla="*/ 2209123 h 2259621"/>
                <a:gd name="connsiteX971" fmla="*/ 868245 w 2945193"/>
                <a:gd name="connsiteY971" fmla="*/ 2209938 h 2259621"/>
                <a:gd name="connsiteX972" fmla="*/ 874761 w 2945193"/>
                <a:gd name="connsiteY972" fmla="*/ 2207494 h 2259621"/>
                <a:gd name="connsiteX973" fmla="*/ 900011 w 2945193"/>
                <a:gd name="connsiteY973" fmla="*/ 2216453 h 2259621"/>
                <a:gd name="connsiteX974" fmla="*/ 908156 w 2945193"/>
                <a:gd name="connsiteY974" fmla="*/ 2216453 h 2259621"/>
                <a:gd name="connsiteX975" fmla="*/ 935848 w 2945193"/>
                <a:gd name="connsiteY975" fmla="*/ 2205051 h 2259621"/>
                <a:gd name="connsiteX976" fmla="*/ 982274 w 2945193"/>
                <a:gd name="connsiteY976" fmla="*/ 2180616 h 2259621"/>
                <a:gd name="connsiteX977" fmla="*/ 983089 w 2945193"/>
                <a:gd name="connsiteY977" fmla="*/ 2181430 h 2259621"/>
                <a:gd name="connsiteX978" fmla="*/ 998564 w 2945193"/>
                <a:gd name="connsiteY978" fmla="*/ 2180616 h 2259621"/>
                <a:gd name="connsiteX979" fmla="*/ 1001007 w 2945193"/>
                <a:gd name="connsiteY979" fmla="*/ 2178173 h 2259621"/>
                <a:gd name="connsiteX980" fmla="*/ 1002636 w 2945193"/>
                <a:gd name="connsiteY980" fmla="*/ 2178173 h 2259621"/>
                <a:gd name="connsiteX981" fmla="*/ 1017297 w 2945193"/>
                <a:gd name="connsiteY981" fmla="*/ 2204236 h 2259621"/>
                <a:gd name="connsiteX982" fmla="*/ 1012410 w 2945193"/>
                <a:gd name="connsiteY982" fmla="*/ 2220526 h 2259621"/>
                <a:gd name="connsiteX983" fmla="*/ 1013224 w 2945193"/>
                <a:gd name="connsiteY983" fmla="*/ 2227042 h 2259621"/>
                <a:gd name="connsiteX984" fmla="*/ 1020555 w 2945193"/>
                <a:gd name="connsiteY984" fmla="*/ 2227042 h 2259621"/>
                <a:gd name="connsiteX985" fmla="*/ 1022184 w 2945193"/>
                <a:gd name="connsiteY985" fmla="*/ 2223784 h 2259621"/>
                <a:gd name="connsiteX986" fmla="*/ 1025442 w 2945193"/>
                <a:gd name="connsiteY986" fmla="*/ 2226227 h 2259621"/>
                <a:gd name="connsiteX987" fmla="*/ 1031143 w 2945193"/>
                <a:gd name="connsiteY987" fmla="*/ 2226227 h 2259621"/>
                <a:gd name="connsiteX988" fmla="*/ 1027886 w 2945193"/>
                <a:gd name="connsiteY988" fmla="*/ 2232743 h 2259621"/>
                <a:gd name="connsiteX989" fmla="*/ 1028700 w 2945193"/>
                <a:gd name="connsiteY989" fmla="*/ 2239260 h 2259621"/>
                <a:gd name="connsiteX990" fmla="*/ 1038474 w 2945193"/>
                <a:gd name="connsiteY990" fmla="*/ 2229486 h 2259621"/>
                <a:gd name="connsiteX991" fmla="*/ 1042546 w 2945193"/>
                <a:gd name="connsiteY991" fmla="*/ 2237630 h 2259621"/>
                <a:gd name="connsiteX992" fmla="*/ 1044175 w 2945193"/>
                <a:gd name="connsiteY992" fmla="*/ 2241703 h 2259621"/>
                <a:gd name="connsiteX993" fmla="*/ 1044175 w 2945193"/>
                <a:gd name="connsiteY993" fmla="*/ 2246590 h 2259621"/>
                <a:gd name="connsiteX994" fmla="*/ 1049877 w 2945193"/>
                <a:gd name="connsiteY994" fmla="*/ 2250662 h 2259621"/>
                <a:gd name="connsiteX995" fmla="*/ 1057207 w 2945193"/>
                <a:gd name="connsiteY995" fmla="*/ 2247404 h 2259621"/>
                <a:gd name="connsiteX996" fmla="*/ 1057207 w 2945193"/>
                <a:gd name="connsiteY996" fmla="*/ 2247404 h 2259621"/>
                <a:gd name="connsiteX997" fmla="*/ 1063723 w 2945193"/>
                <a:gd name="connsiteY997" fmla="*/ 2240888 h 2259621"/>
                <a:gd name="connsiteX998" fmla="*/ 1066166 w 2945193"/>
                <a:gd name="connsiteY998" fmla="*/ 2242517 h 2259621"/>
                <a:gd name="connsiteX999" fmla="*/ 1058836 w 2945193"/>
                <a:gd name="connsiteY999" fmla="*/ 2253920 h 2259621"/>
                <a:gd name="connsiteX1000" fmla="*/ 1070239 w 2945193"/>
                <a:gd name="connsiteY1000" fmla="*/ 2247404 h 2259621"/>
                <a:gd name="connsiteX1001" fmla="*/ 1071054 w 2945193"/>
                <a:gd name="connsiteY1001" fmla="*/ 2248219 h 2259621"/>
                <a:gd name="connsiteX1002" fmla="*/ 1063723 w 2945193"/>
                <a:gd name="connsiteY1002" fmla="*/ 2259622 h 2259621"/>
                <a:gd name="connsiteX1003" fmla="*/ 1076755 w 2945193"/>
                <a:gd name="connsiteY1003" fmla="*/ 2251477 h 2259621"/>
                <a:gd name="connsiteX1004" fmla="*/ 1091416 w 2945193"/>
                <a:gd name="connsiteY1004" fmla="*/ 2245775 h 2259621"/>
                <a:gd name="connsiteX1005" fmla="*/ 1102004 w 2945193"/>
                <a:gd name="connsiteY1005" fmla="*/ 2240888 h 2259621"/>
                <a:gd name="connsiteX1006" fmla="*/ 1100375 w 2945193"/>
                <a:gd name="connsiteY1006" fmla="*/ 2244961 h 2259621"/>
                <a:gd name="connsiteX1007" fmla="*/ 1110963 w 2945193"/>
                <a:gd name="connsiteY1007" fmla="*/ 2240888 h 2259621"/>
                <a:gd name="connsiteX1008" fmla="*/ 1145172 w 2945193"/>
                <a:gd name="connsiteY1008" fmla="*/ 2223784 h 2259621"/>
                <a:gd name="connsiteX1009" fmla="*/ 1148430 w 2945193"/>
                <a:gd name="connsiteY1009" fmla="*/ 2222970 h 2259621"/>
                <a:gd name="connsiteX1010" fmla="*/ 1159018 w 2945193"/>
                <a:gd name="connsiteY1010" fmla="*/ 2226227 h 2259621"/>
                <a:gd name="connsiteX1011" fmla="*/ 1179381 w 2945193"/>
                <a:gd name="connsiteY1011" fmla="*/ 2215639 h 2259621"/>
                <a:gd name="connsiteX1012" fmla="*/ 1198928 w 2945193"/>
                <a:gd name="connsiteY1012" fmla="*/ 2207494 h 2259621"/>
                <a:gd name="connsiteX1013" fmla="*/ 1205444 w 2945193"/>
                <a:gd name="connsiteY1013" fmla="*/ 2203422 h 2259621"/>
                <a:gd name="connsiteX1014" fmla="*/ 1219291 w 2945193"/>
                <a:gd name="connsiteY1014" fmla="*/ 2193648 h 2259621"/>
                <a:gd name="connsiteX1015" fmla="*/ 1220919 w 2945193"/>
                <a:gd name="connsiteY1015" fmla="*/ 2192834 h 2259621"/>
                <a:gd name="connsiteX1016" fmla="*/ 1222548 w 2945193"/>
                <a:gd name="connsiteY1016" fmla="*/ 2193648 h 2259621"/>
                <a:gd name="connsiteX1017" fmla="*/ 1236395 w 2945193"/>
                <a:gd name="connsiteY1017" fmla="*/ 2188761 h 2259621"/>
                <a:gd name="connsiteX1018" fmla="*/ 1238024 w 2945193"/>
                <a:gd name="connsiteY1018" fmla="*/ 2184689 h 2259621"/>
                <a:gd name="connsiteX1019" fmla="*/ 1251055 w 2945193"/>
                <a:gd name="connsiteY1019" fmla="*/ 2178173 h 2259621"/>
                <a:gd name="connsiteX1020" fmla="*/ 1249426 w 2945193"/>
                <a:gd name="connsiteY1020" fmla="*/ 2183060 h 2259621"/>
                <a:gd name="connsiteX1021" fmla="*/ 1255128 w 2945193"/>
                <a:gd name="connsiteY1021" fmla="*/ 2183874 h 2259621"/>
                <a:gd name="connsiteX1022" fmla="*/ 1258386 w 2945193"/>
                <a:gd name="connsiteY1022" fmla="*/ 2176544 h 2259621"/>
                <a:gd name="connsiteX1023" fmla="*/ 1254314 w 2945193"/>
                <a:gd name="connsiteY1023" fmla="*/ 2176544 h 2259621"/>
                <a:gd name="connsiteX1024" fmla="*/ 1263273 w 2945193"/>
                <a:gd name="connsiteY1024" fmla="*/ 2173286 h 2259621"/>
                <a:gd name="connsiteX1025" fmla="*/ 1281192 w 2945193"/>
                <a:gd name="connsiteY1025" fmla="*/ 2166770 h 2259621"/>
                <a:gd name="connsiteX1026" fmla="*/ 1281192 w 2945193"/>
                <a:gd name="connsiteY1026" fmla="*/ 2166770 h 2259621"/>
                <a:gd name="connsiteX1027" fmla="*/ 1281192 w 2945193"/>
                <a:gd name="connsiteY1027" fmla="*/ 2166770 h 2259621"/>
                <a:gd name="connsiteX1028" fmla="*/ 1281192 w 2945193"/>
                <a:gd name="connsiteY1028" fmla="*/ 2166770 h 2259621"/>
                <a:gd name="connsiteX1029" fmla="*/ 1287708 w 2945193"/>
                <a:gd name="connsiteY1029" fmla="*/ 2160254 h 2259621"/>
                <a:gd name="connsiteX1030" fmla="*/ 1283635 w 2945193"/>
                <a:gd name="connsiteY1030" fmla="*/ 2160254 h 2259621"/>
                <a:gd name="connsiteX1031" fmla="*/ 1281192 w 2945193"/>
                <a:gd name="connsiteY1031" fmla="*/ 2159439 h 2259621"/>
                <a:gd name="connsiteX1032" fmla="*/ 1288522 w 2945193"/>
                <a:gd name="connsiteY1032" fmla="*/ 2160254 h 2259621"/>
                <a:gd name="connsiteX1033" fmla="*/ 1288522 w 2945193"/>
                <a:gd name="connsiteY1033" fmla="*/ 2160254 h 2259621"/>
                <a:gd name="connsiteX1034" fmla="*/ 1288522 w 2945193"/>
                <a:gd name="connsiteY1034" fmla="*/ 2160254 h 2259621"/>
                <a:gd name="connsiteX1035" fmla="*/ 1288522 w 2945193"/>
                <a:gd name="connsiteY1035" fmla="*/ 2160254 h 2259621"/>
                <a:gd name="connsiteX1036" fmla="*/ 1288522 w 2945193"/>
                <a:gd name="connsiteY1036" fmla="*/ 2160254 h 2259621"/>
                <a:gd name="connsiteX1037" fmla="*/ 1290966 w 2945193"/>
                <a:gd name="connsiteY1037" fmla="*/ 2161068 h 2259621"/>
                <a:gd name="connsiteX1038" fmla="*/ 1292595 w 2945193"/>
                <a:gd name="connsiteY1038" fmla="*/ 2159439 h 2259621"/>
                <a:gd name="connsiteX1039" fmla="*/ 1298296 w 2945193"/>
                <a:gd name="connsiteY1039" fmla="*/ 2158625 h 2259621"/>
                <a:gd name="connsiteX1040" fmla="*/ 1312957 w 2945193"/>
                <a:gd name="connsiteY1040" fmla="*/ 2160254 h 2259621"/>
                <a:gd name="connsiteX1041" fmla="*/ 1339020 w 2945193"/>
                <a:gd name="connsiteY1041" fmla="*/ 2159439 h 2259621"/>
                <a:gd name="connsiteX1042" fmla="*/ 1362641 w 2945193"/>
                <a:gd name="connsiteY1042" fmla="*/ 2148037 h 2259621"/>
                <a:gd name="connsiteX1043" fmla="*/ 1384632 w 2945193"/>
                <a:gd name="connsiteY1043" fmla="*/ 2129303 h 2259621"/>
                <a:gd name="connsiteX1044" fmla="*/ 1396034 w 2945193"/>
                <a:gd name="connsiteY1044" fmla="*/ 2115457 h 2259621"/>
                <a:gd name="connsiteX1045" fmla="*/ 1396034 w 2945193"/>
                <a:gd name="connsiteY1045" fmla="*/ 2115457 h 2259621"/>
                <a:gd name="connsiteX1046" fmla="*/ 1396034 w 2945193"/>
                <a:gd name="connsiteY1046" fmla="*/ 2115457 h 2259621"/>
                <a:gd name="connsiteX1047" fmla="*/ 1424542 w 2945193"/>
                <a:gd name="connsiteY1047" fmla="*/ 2096724 h 2259621"/>
                <a:gd name="connsiteX1048" fmla="*/ 1441646 w 2945193"/>
                <a:gd name="connsiteY1048" fmla="*/ 2088579 h 2259621"/>
                <a:gd name="connsiteX1049" fmla="*/ 1443275 w 2945193"/>
                <a:gd name="connsiteY1049" fmla="*/ 2091837 h 2259621"/>
                <a:gd name="connsiteX1050" fmla="*/ 1589883 w 2945193"/>
                <a:gd name="connsiteY1050" fmla="*/ 2048669 h 2259621"/>
                <a:gd name="connsiteX1051" fmla="*/ 1589883 w 2945193"/>
                <a:gd name="connsiteY1051" fmla="*/ 2048669 h 2259621"/>
                <a:gd name="connsiteX1052" fmla="*/ 1589883 w 2945193"/>
                <a:gd name="connsiteY1052" fmla="*/ 2048669 h 2259621"/>
                <a:gd name="connsiteX1053" fmla="*/ 1589883 w 2945193"/>
                <a:gd name="connsiteY1053" fmla="*/ 2048669 h 2259621"/>
                <a:gd name="connsiteX1054" fmla="*/ 1589883 w 2945193"/>
                <a:gd name="connsiteY1054" fmla="*/ 2048669 h 2259621"/>
                <a:gd name="connsiteX1055" fmla="*/ 1589883 w 2945193"/>
                <a:gd name="connsiteY1055" fmla="*/ 2048669 h 2259621"/>
                <a:gd name="connsiteX1056" fmla="*/ 1589883 w 2945193"/>
                <a:gd name="connsiteY1056" fmla="*/ 2048669 h 2259621"/>
                <a:gd name="connsiteX1057" fmla="*/ 1590698 w 2945193"/>
                <a:gd name="connsiteY1057" fmla="*/ 2043782 h 2259621"/>
                <a:gd name="connsiteX1058" fmla="*/ 1591512 w 2945193"/>
                <a:gd name="connsiteY1058" fmla="*/ 2042967 h 2259621"/>
                <a:gd name="connsiteX1059" fmla="*/ 1592327 w 2945193"/>
                <a:gd name="connsiteY1059" fmla="*/ 2042967 h 2259621"/>
                <a:gd name="connsiteX1060" fmla="*/ 1600472 w 2945193"/>
                <a:gd name="connsiteY1060" fmla="*/ 2035637 h 2259621"/>
                <a:gd name="connsiteX1061" fmla="*/ 1599657 w 2945193"/>
                <a:gd name="connsiteY1061" fmla="*/ 2038895 h 2259621"/>
                <a:gd name="connsiteX1062" fmla="*/ 1607802 w 2945193"/>
                <a:gd name="connsiteY1062" fmla="*/ 2034822 h 2259621"/>
                <a:gd name="connsiteX1063" fmla="*/ 1609431 w 2945193"/>
                <a:gd name="connsiteY1063" fmla="*/ 2034008 h 2259621"/>
                <a:gd name="connsiteX1064" fmla="*/ 1605358 w 2945193"/>
                <a:gd name="connsiteY1064" fmla="*/ 2043782 h 2259621"/>
                <a:gd name="connsiteX1065" fmla="*/ 1609431 w 2945193"/>
                <a:gd name="connsiteY1065" fmla="*/ 2041338 h 2259621"/>
                <a:gd name="connsiteX1066" fmla="*/ 1612689 w 2945193"/>
                <a:gd name="connsiteY1066" fmla="*/ 2042967 h 2259621"/>
                <a:gd name="connsiteX1067" fmla="*/ 1617576 w 2945193"/>
                <a:gd name="connsiteY1067" fmla="*/ 2042153 h 2259621"/>
                <a:gd name="connsiteX1068" fmla="*/ 1614318 w 2945193"/>
                <a:gd name="connsiteY1068" fmla="*/ 2045411 h 2259621"/>
                <a:gd name="connsiteX1069" fmla="*/ 1618390 w 2945193"/>
                <a:gd name="connsiteY1069" fmla="*/ 2047854 h 2259621"/>
                <a:gd name="connsiteX1070" fmla="*/ 1639567 w 2945193"/>
                <a:gd name="connsiteY1070" fmla="*/ 2039710 h 2259621"/>
                <a:gd name="connsiteX1071" fmla="*/ 1650970 w 2945193"/>
                <a:gd name="connsiteY1071" fmla="*/ 2037266 h 2259621"/>
                <a:gd name="connsiteX1072" fmla="*/ 1650155 w 2945193"/>
                <a:gd name="connsiteY1072" fmla="*/ 2038080 h 2259621"/>
                <a:gd name="connsiteX1073" fmla="*/ 1650970 w 2945193"/>
                <a:gd name="connsiteY1073" fmla="*/ 2037266 h 2259621"/>
                <a:gd name="connsiteX1074" fmla="*/ 1650970 w 2945193"/>
                <a:gd name="connsiteY1074" fmla="*/ 2037266 h 2259621"/>
                <a:gd name="connsiteX1075" fmla="*/ 1656671 w 2945193"/>
                <a:gd name="connsiteY1075" fmla="*/ 2035637 h 2259621"/>
                <a:gd name="connsiteX1076" fmla="*/ 1686807 w 2945193"/>
                <a:gd name="connsiteY1076" fmla="*/ 2024234 h 2259621"/>
                <a:gd name="connsiteX1077" fmla="*/ 1696581 w 2945193"/>
                <a:gd name="connsiteY1077" fmla="*/ 2021791 h 2259621"/>
                <a:gd name="connsiteX1078" fmla="*/ 1724274 w 2945193"/>
                <a:gd name="connsiteY1078" fmla="*/ 2007944 h 2259621"/>
                <a:gd name="connsiteX1079" fmla="*/ 1721016 w 2945193"/>
                <a:gd name="connsiteY1079" fmla="*/ 2005501 h 2259621"/>
                <a:gd name="connsiteX1080" fmla="*/ 1725088 w 2945193"/>
                <a:gd name="connsiteY1080" fmla="*/ 2002243 h 2259621"/>
                <a:gd name="connsiteX1081" fmla="*/ 1725088 w 2945193"/>
                <a:gd name="connsiteY1081" fmla="*/ 2003058 h 2259621"/>
                <a:gd name="connsiteX1082" fmla="*/ 1734048 w 2945193"/>
                <a:gd name="connsiteY1082" fmla="*/ 1998985 h 2259621"/>
                <a:gd name="connsiteX1083" fmla="*/ 1734048 w 2945193"/>
                <a:gd name="connsiteY1083" fmla="*/ 1998985 h 2259621"/>
                <a:gd name="connsiteX1084" fmla="*/ 1734048 w 2945193"/>
                <a:gd name="connsiteY1084" fmla="*/ 2003058 h 2259621"/>
                <a:gd name="connsiteX1085" fmla="*/ 1733233 w 2945193"/>
                <a:gd name="connsiteY1085" fmla="*/ 2003872 h 2259621"/>
                <a:gd name="connsiteX1086" fmla="*/ 1730790 w 2945193"/>
                <a:gd name="connsiteY1086" fmla="*/ 2007944 h 2259621"/>
                <a:gd name="connsiteX1087" fmla="*/ 1735677 w 2945193"/>
                <a:gd name="connsiteY1087" fmla="*/ 2005501 h 2259621"/>
                <a:gd name="connsiteX1088" fmla="*/ 1743007 w 2945193"/>
                <a:gd name="connsiteY1088" fmla="*/ 2010388 h 2259621"/>
                <a:gd name="connsiteX1089" fmla="*/ 1749523 w 2945193"/>
                <a:gd name="connsiteY1089" fmla="*/ 2009573 h 2259621"/>
                <a:gd name="connsiteX1090" fmla="*/ 1751152 w 2945193"/>
                <a:gd name="connsiteY1090" fmla="*/ 2003872 h 2259621"/>
                <a:gd name="connsiteX1091" fmla="*/ 1745451 w 2945193"/>
                <a:gd name="connsiteY1091" fmla="*/ 1994098 h 2259621"/>
                <a:gd name="connsiteX1092" fmla="*/ 1743822 w 2945193"/>
                <a:gd name="connsiteY1092" fmla="*/ 1991654 h 2259621"/>
                <a:gd name="connsiteX1093" fmla="*/ 1750337 w 2945193"/>
                <a:gd name="connsiteY1093" fmla="*/ 1985139 h 2259621"/>
                <a:gd name="connsiteX1094" fmla="*/ 1764184 w 2945193"/>
                <a:gd name="connsiteY1094" fmla="*/ 2002243 h 2259621"/>
                <a:gd name="connsiteX1095" fmla="*/ 1764999 w 2945193"/>
                <a:gd name="connsiteY1095" fmla="*/ 2006315 h 2259621"/>
                <a:gd name="connsiteX1096" fmla="*/ 1765813 w 2945193"/>
                <a:gd name="connsiteY1096" fmla="*/ 2009573 h 2259621"/>
                <a:gd name="connsiteX1097" fmla="*/ 1763369 w 2945193"/>
                <a:gd name="connsiteY1097" fmla="*/ 2016089 h 2259621"/>
                <a:gd name="connsiteX1098" fmla="*/ 1765813 w 2945193"/>
                <a:gd name="connsiteY1098" fmla="*/ 2009573 h 2259621"/>
                <a:gd name="connsiteX1099" fmla="*/ 1774772 w 2945193"/>
                <a:gd name="connsiteY1099" fmla="*/ 2012831 h 2259621"/>
                <a:gd name="connsiteX1100" fmla="*/ 1785361 w 2945193"/>
                <a:gd name="connsiteY1100" fmla="*/ 2012831 h 2259621"/>
                <a:gd name="connsiteX1101" fmla="*/ 1798392 w 2945193"/>
                <a:gd name="connsiteY1101" fmla="*/ 2014460 h 2259621"/>
                <a:gd name="connsiteX1102" fmla="*/ 1812239 w 2945193"/>
                <a:gd name="connsiteY1102" fmla="*/ 2010388 h 2259621"/>
                <a:gd name="connsiteX1103" fmla="*/ 1823641 w 2945193"/>
                <a:gd name="connsiteY1103" fmla="*/ 2000614 h 2259621"/>
                <a:gd name="connsiteX1104" fmla="*/ 1842375 w 2945193"/>
                <a:gd name="connsiteY1104" fmla="*/ 1987582 h 2259621"/>
                <a:gd name="connsiteX1105" fmla="*/ 1838303 w 2945193"/>
                <a:gd name="connsiteY1105" fmla="*/ 1986768 h 2259621"/>
                <a:gd name="connsiteX1106" fmla="*/ 1822827 w 2945193"/>
                <a:gd name="connsiteY1106" fmla="*/ 1997356 h 2259621"/>
                <a:gd name="connsiteX1107" fmla="*/ 1815496 w 2945193"/>
                <a:gd name="connsiteY1107" fmla="*/ 1985139 h 2259621"/>
                <a:gd name="connsiteX1108" fmla="*/ 1792691 w 2945193"/>
                <a:gd name="connsiteY1108" fmla="*/ 1982695 h 2259621"/>
                <a:gd name="connsiteX1109" fmla="*/ 1792691 w 2945193"/>
                <a:gd name="connsiteY1109" fmla="*/ 1980251 h 2259621"/>
                <a:gd name="connsiteX1110" fmla="*/ 1800836 w 2945193"/>
                <a:gd name="connsiteY1110" fmla="*/ 1978623 h 2259621"/>
                <a:gd name="connsiteX1111" fmla="*/ 1812239 w 2945193"/>
                <a:gd name="connsiteY1111" fmla="*/ 1976179 h 2259621"/>
                <a:gd name="connsiteX1112" fmla="*/ 1830158 w 2945193"/>
                <a:gd name="connsiteY1112" fmla="*/ 1969663 h 2259621"/>
                <a:gd name="connsiteX1113" fmla="*/ 1841560 w 2945193"/>
                <a:gd name="connsiteY1113" fmla="*/ 1963962 h 2259621"/>
                <a:gd name="connsiteX1114" fmla="*/ 1852149 w 2945193"/>
                <a:gd name="connsiteY1114" fmla="*/ 1959889 h 2259621"/>
                <a:gd name="connsiteX1115" fmla="*/ 1857850 w 2945193"/>
                <a:gd name="connsiteY1115" fmla="*/ 1959075 h 2259621"/>
                <a:gd name="connsiteX1116" fmla="*/ 1857850 w 2945193"/>
                <a:gd name="connsiteY1116" fmla="*/ 1959075 h 2259621"/>
                <a:gd name="connsiteX1117" fmla="*/ 1857850 w 2945193"/>
                <a:gd name="connsiteY1117" fmla="*/ 1959075 h 2259621"/>
                <a:gd name="connsiteX1118" fmla="*/ 1861108 w 2945193"/>
                <a:gd name="connsiteY1118" fmla="*/ 1958261 h 2259621"/>
                <a:gd name="connsiteX1119" fmla="*/ 1865181 w 2945193"/>
                <a:gd name="connsiteY1119" fmla="*/ 1956632 h 2259621"/>
                <a:gd name="connsiteX1120" fmla="*/ 1870882 w 2945193"/>
                <a:gd name="connsiteY1120" fmla="*/ 1954188 h 2259621"/>
                <a:gd name="connsiteX1121" fmla="*/ 1873326 w 2945193"/>
                <a:gd name="connsiteY1121" fmla="*/ 1953373 h 2259621"/>
                <a:gd name="connsiteX1122" fmla="*/ 1871696 w 2945193"/>
                <a:gd name="connsiteY1122" fmla="*/ 1955002 h 2259621"/>
                <a:gd name="connsiteX1123" fmla="*/ 1868438 w 2945193"/>
                <a:gd name="connsiteY1123" fmla="*/ 1959889 h 2259621"/>
                <a:gd name="connsiteX1124" fmla="*/ 1870067 w 2945193"/>
                <a:gd name="connsiteY1124" fmla="*/ 1960704 h 2259621"/>
                <a:gd name="connsiteX1125" fmla="*/ 1880656 w 2945193"/>
                <a:gd name="connsiteY1125" fmla="*/ 1956632 h 2259621"/>
                <a:gd name="connsiteX1126" fmla="*/ 1876583 w 2945193"/>
                <a:gd name="connsiteY1126" fmla="*/ 1959889 h 2259621"/>
                <a:gd name="connsiteX1127" fmla="*/ 1873326 w 2945193"/>
                <a:gd name="connsiteY1127" fmla="*/ 1964776 h 2259621"/>
                <a:gd name="connsiteX1128" fmla="*/ 1874955 w 2945193"/>
                <a:gd name="connsiteY1128" fmla="*/ 1965591 h 2259621"/>
                <a:gd name="connsiteX1129" fmla="*/ 1883100 w 2945193"/>
                <a:gd name="connsiteY1129" fmla="*/ 1962333 h 2259621"/>
                <a:gd name="connsiteX1130" fmla="*/ 1879841 w 2945193"/>
                <a:gd name="connsiteY1130" fmla="*/ 1964776 h 2259621"/>
                <a:gd name="connsiteX1131" fmla="*/ 1877398 w 2945193"/>
                <a:gd name="connsiteY1131" fmla="*/ 1969663 h 2259621"/>
                <a:gd name="connsiteX1132" fmla="*/ 1888801 w 2945193"/>
                <a:gd name="connsiteY1132" fmla="*/ 1964776 h 2259621"/>
                <a:gd name="connsiteX1133" fmla="*/ 1887986 w 2945193"/>
                <a:gd name="connsiteY1133" fmla="*/ 1967220 h 2259621"/>
                <a:gd name="connsiteX1134" fmla="*/ 1884728 w 2945193"/>
                <a:gd name="connsiteY1134" fmla="*/ 1969663 h 2259621"/>
                <a:gd name="connsiteX1135" fmla="*/ 1884728 w 2945193"/>
                <a:gd name="connsiteY1135" fmla="*/ 1969663 h 2259621"/>
                <a:gd name="connsiteX1136" fmla="*/ 1879841 w 2945193"/>
                <a:gd name="connsiteY1136" fmla="*/ 1973736 h 2259621"/>
                <a:gd name="connsiteX1137" fmla="*/ 1882285 w 2945193"/>
                <a:gd name="connsiteY1137" fmla="*/ 1975365 h 2259621"/>
                <a:gd name="connsiteX1138" fmla="*/ 1874955 w 2945193"/>
                <a:gd name="connsiteY1138" fmla="*/ 1981881 h 2259621"/>
                <a:gd name="connsiteX1139" fmla="*/ 1879841 w 2945193"/>
                <a:gd name="connsiteY1139" fmla="*/ 1983510 h 2259621"/>
                <a:gd name="connsiteX1140" fmla="*/ 1883100 w 2945193"/>
                <a:gd name="connsiteY1140" fmla="*/ 1975365 h 2259621"/>
                <a:gd name="connsiteX1141" fmla="*/ 1886357 w 2945193"/>
                <a:gd name="connsiteY1141" fmla="*/ 1976994 h 2259621"/>
                <a:gd name="connsiteX1142" fmla="*/ 1883100 w 2945193"/>
                <a:gd name="connsiteY1142" fmla="*/ 1982695 h 2259621"/>
                <a:gd name="connsiteX1143" fmla="*/ 1888801 w 2945193"/>
                <a:gd name="connsiteY1143" fmla="*/ 1979437 h 2259621"/>
                <a:gd name="connsiteX1144" fmla="*/ 1892059 w 2945193"/>
                <a:gd name="connsiteY1144" fmla="*/ 1981881 h 2259621"/>
                <a:gd name="connsiteX1145" fmla="*/ 1888801 w 2945193"/>
                <a:gd name="connsiteY1145" fmla="*/ 1987582 h 2259621"/>
                <a:gd name="connsiteX1146" fmla="*/ 1895317 w 2945193"/>
                <a:gd name="connsiteY1146" fmla="*/ 1982695 h 2259621"/>
                <a:gd name="connsiteX1147" fmla="*/ 1914050 w 2945193"/>
                <a:gd name="connsiteY1147" fmla="*/ 1971292 h 2259621"/>
                <a:gd name="connsiteX1148" fmla="*/ 1905090 w 2945193"/>
                <a:gd name="connsiteY1148" fmla="*/ 1982695 h 2259621"/>
                <a:gd name="connsiteX1149" fmla="*/ 1910792 w 2945193"/>
                <a:gd name="connsiteY1149" fmla="*/ 1982695 h 2259621"/>
                <a:gd name="connsiteX1150" fmla="*/ 1916493 w 2945193"/>
                <a:gd name="connsiteY1150" fmla="*/ 1980251 h 2259621"/>
                <a:gd name="connsiteX1151" fmla="*/ 1915679 w 2945193"/>
                <a:gd name="connsiteY1151" fmla="*/ 1981881 h 2259621"/>
                <a:gd name="connsiteX1152" fmla="*/ 1916493 w 2945193"/>
                <a:gd name="connsiteY1152" fmla="*/ 1980251 h 2259621"/>
                <a:gd name="connsiteX1153" fmla="*/ 1916493 w 2945193"/>
                <a:gd name="connsiteY1153" fmla="*/ 1980251 h 2259621"/>
                <a:gd name="connsiteX1154" fmla="*/ 1917308 w 2945193"/>
                <a:gd name="connsiteY1154" fmla="*/ 1973736 h 2259621"/>
                <a:gd name="connsiteX1155" fmla="*/ 1918937 w 2945193"/>
                <a:gd name="connsiteY1155" fmla="*/ 1971292 h 2259621"/>
                <a:gd name="connsiteX1156" fmla="*/ 1918937 w 2945193"/>
                <a:gd name="connsiteY1156" fmla="*/ 1971292 h 2259621"/>
                <a:gd name="connsiteX1157" fmla="*/ 1909978 w 2945193"/>
                <a:gd name="connsiteY1157" fmla="*/ 1987582 h 2259621"/>
                <a:gd name="connsiteX1158" fmla="*/ 1915679 w 2945193"/>
                <a:gd name="connsiteY1158" fmla="*/ 1987582 h 2259621"/>
                <a:gd name="connsiteX1159" fmla="*/ 1921380 w 2945193"/>
                <a:gd name="connsiteY1159" fmla="*/ 1985139 h 2259621"/>
                <a:gd name="connsiteX1160" fmla="*/ 1920566 w 2945193"/>
                <a:gd name="connsiteY1160" fmla="*/ 1986768 h 2259621"/>
                <a:gd name="connsiteX1161" fmla="*/ 1921380 w 2945193"/>
                <a:gd name="connsiteY1161" fmla="*/ 1985139 h 2259621"/>
                <a:gd name="connsiteX1162" fmla="*/ 1921380 w 2945193"/>
                <a:gd name="connsiteY1162" fmla="*/ 1985139 h 2259621"/>
                <a:gd name="connsiteX1163" fmla="*/ 1922195 w 2945193"/>
                <a:gd name="connsiteY1163" fmla="*/ 1978623 h 2259621"/>
                <a:gd name="connsiteX1164" fmla="*/ 1927082 w 2945193"/>
                <a:gd name="connsiteY1164" fmla="*/ 1968034 h 2259621"/>
                <a:gd name="connsiteX1165" fmla="*/ 1930340 w 2945193"/>
                <a:gd name="connsiteY1165" fmla="*/ 1973736 h 2259621"/>
                <a:gd name="connsiteX1166" fmla="*/ 1932783 w 2945193"/>
                <a:gd name="connsiteY1166" fmla="*/ 1971292 h 2259621"/>
                <a:gd name="connsiteX1167" fmla="*/ 1936041 w 2945193"/>
                <a:gd name="connsiteY1167" fmla="*/ 1978623 h 2259621"/>
                <a:gd name="connsiteX1168" fmla="*/ 1951516 w 2945193"/>
                <a:gd name="connsiteY1168" fmla="*/ 1963147 h 2259621"/>
                <a:gd name="connsiteX1169" fmla="*/ 1958032 w 2945193"/>
                <a:gd name="connsiteY1169" fmla="*/ 1946043 h 2259621"/>
                <a:gd name="connsiteX1170" fmla="*/ 1953960 w 2945193"/>
                <a:gd name="connsiteY1170" fmla="*/ 1947672 h 2259621"/>
                <a:gd name="connsiteX1171" fmla="*/ 1951516 w 2945193"/>
                <a:gd name="connsiteY1171" fmla="*/ 1950930 h 2259621"/>
                <a:gd name="connsiteX1172" fmla="*/ 1949887 w 2945193"/>
                <a:gd name="connsiteY1172" fmla="*/ 1949301 h 2259621"/>
                <a:gd name="connsiteX1173" fmla="*/ 1952331 w 2945193"/>
                <a:gd name="connsiteY1173" fmla="*/ 1941971 h 2259621"/>
                <a:gd name="connsiteX1174" fmla="*/ 1966177 w 2945193"/>
                <a:gd name="connsiteY1174" fmla="*/ 1934640 h 2259621"/>
                <a:gd name="connsiteX1175" fmla="*/ 1967806 w 2945193"/>
                <a:gd name="connsiteY1175" fmla="*/ 1933826 h 2259621"/>
                <a:gd name="connsiteX1176" fmla="*/ 1963734 w 2945193"/>
                <a:gd name="connsiteY1176" fmla="*/ 1936269 h 2259621"/>
                <a:gd name="connsiteX1177" fmla="*/ 1957218 w 2945193"/>
                <a:gd name="connsiteY1177" fmla="*/ 1954188 h 2259621"/>
                <a:gd name="connsiteX1178" fmla="*/ 1965363 w 2945193"/>
                <a:gd name="connsiteY1178" fmla="*/ 1952559 h 2259621"/>
                <a:gd name="connsiteX1179" fmla="*/ 1962919 w 2945193"/>
                <a:gd name="connsiteY1179" fmla="*/ 1959075 h 2259621"/>
                <a:gd name="connsiteX1180" fmla="*/ 1975137 w 2945193"/>
                <a:gd name="connsiteY1180" fmla="*/ 1956632 h 2259621"/>
                <a:gd name="connsiteX1181" fmla="*/ 1974322 w 2945193"/>
                <a:gd name="connsiteY1181" fmla="*/ 1954188 h 2259621"/>
                <a:gd name="connsiteX1182" fmla="*/ 1978394 w 2945193"/>
                <a:gd name="connsiteY1182" fmla="*/ 1952559 h 2259621"/>
                <a:gd name="connsiteX1183" fmla="*/ 1978394 w 2945193"/>
                <a:gd name="connsiteY1183" fmla="*/ 1952559 h 2259621"/>
                <a:gd name="connsiteX1184" fmla="*/ 1978394 w 2945193"/>
                <a:gd name="connsiteY1184" fmla="*/ 1952559 h 2259621"/>
                <a:gd name="connsiteX1185" fmla="*/ 1975951 w 2945193"/>
                <a:gd name="connsiteY1185" fmla="*/ 1956632 h 2259621"/>
                <a:gd name="connsiteX1186" fmla="*/ 1984096 w 2945193"/>
                <a:gd name="connsiteY1186" fmla="*/ 1954188 h 2259621"/>
                <a:gd name="connsiteX1187" fmla="*/ 1983282 w 2945193"/>
                <a:gd name="connsiteY1187" fmla="*/ 1949301 h 2259621"/>
                <a:gd name="connsiteX1188" fmla="*/ 1983282 w 2945193"/>
                <a:gd name="connsiteY1188" fmla="*/ 1949301 h 2259621"/>
                <a:gd name="connsiteX1189" fmla="*/ 1983282 w 2945193"/>
                <a:gd name="connsiteY1189" fmla="*/ 1949301 h 2259621"/>
                <a:gd name="connsiteX1190" fmla="*/ 2011789 w 2945193"/>
                <a:gd name="connsiteY1190" fmla="*/ 1937084 h 2259621"/>
                <a:gd name="connsiteX1191" fmla="*/ 2020748 w 2945193"/>
                <a:gd name="connsiteY1191" fmla="*/ 1932197 h 2259621"/>
                <a:gd name="connsiteX1192" fmla="*/ 2034594 w 2945193"/>
                <a:gd name="connsiteY1192" fmla="*/ 1924052 h 2259621"/>
                <a:gd name="connsiteX1193" fmla="*/ 2054957 w 2945193"/>
                <a:gd name="connsiteY1193" fmla="*/ 1916721 h 2259621"/>
                <a:gd name="connsiteX1194" fmla="*/ 2063916 w 2945193"/>
                <a:gd name="connsiteY1194" fmla="*/ 1909391 h 2259621"/>
                <a:gd name="connsiteX1195" fmla="*/ 2086722 w 2945193"/>
                <a:gd name="connsiteY1195" fmla="*/ 1902061 h 2259621"/>
                <a:gd name="connsiteX1196" fmla="*/ 2092423 w 2945193"/>
                <a:gd name="connsiteY1196" fmla="*/ 1897174 h 2259621"/>
                <a:gd name="connsiteX1197" fmla="*/ 2102197 w 2945193"/>
                <a:gd name="connsiteY1197" fmla="*/ 1897174 h 2259621"/>
                <a:gd name="connsiteX1198" fmla="*/ 2110342 w 2945193"/>
                <a:gd name="connsiteY1198" fmla="*/ 1891472 h 2259621"/>
                <a:gd name="connsiteX1199" fmla="*/ 2113600 w 2945193"/>
                <a:gd name="connsiteY1199" fmla="*/ 1895545 h 2259621"/>
                <a:gd name="connsiteX1200" fmla="*/ 2119301 w 2945193"/>
                <a:gd name="connsiteY1200" fmla="*/ 1893916 h 2259621"/>
                <a:gd name="connsiteX1201" fmla="*/ 2125817 w 2945193"/>
                <a:gd name="connsiteY1201" fmla="*/ 1886585 h 2259621"/>
                <a:gd name="connsiteX1202" fmla="*/ 2148623 w 2945193"/>
                <a:gd name="connsiteY1202" fmla="*/ 1880069 h 2259621"/>
                <a:gd name="connsiteX1203" fmla="*/ 2155139 w 2945193"/>
                <a:gd name="connsiteY1203" fmla="*/ 1877626 h 2259621"/>
                <a:gd name="connsiteX1204" fmla="*/ 2155953 w 2945193"/>
                <a:gd name="connsiteY1204" fmla="*/ 1878441 h 2259621"/>
                <a:gd name="connsiteX1205" fmla="*/ 2155953 w 2945193"/>
                <a:gd name="connsiteY1205" fmla="*/ 1877626 h 2259621"/>
                <a:gd name="connsiteX1206" fmla="*/ 2155953 w 2945193"/>
                <a:gd name="connsiteY1206" fmla="*/ 1877626 h 2259621"/>
                <a:gd name="connsiteX1207" fmla="*/ 2166542 w 2945193"/>
                <a:gd name="connsiteY1207" fmla="*/ 1878441 h 2259621"/>
                <a:gd name="connsiteX1208" fmla="*/ 2183646 w 2945193"/>
                <a:gd name="connsiteY1208" fmla="*/ 1875183 h 2259621"/>
                <a:gd name="connsiteX1209" fmla="*/ 2178759 w 2945193"/>
                <a:gd name="connsiteY1209" fmla="*/ 1870296 h 2259621"/>
                <a:gd name="connsiteX1210" fmla="*/ 2178759 w 2945193"/>
                <a:gd name="connsiteY1210" fmla="*/ 1870296 h 2259621"/>
                <a:gd name="connsiteX1211" fmla="*/ 2178759 w 2945193"/>
                <a:gd name="connsiteY1211" fmla="*/ 1870296 h 2259621"/>
                <a:gd name="connsiteX1212" fmla="*/ 2176316 w 2945193"/>
                <a:gd name="connsiteY1212" fmla="*/ 1867852 h 2259621"/>
                <a:gd name="connsiteX1213" fmla="*/ 2187718 w 2945193"/>
                <a:gd name="connsiteY1213" fmla="*/ 1866223 h 2259621"/>
                <a:gd name="connsiteX1214" fmla="*/ 2186904 w 2945193"/>
                <a:gd name="connsiteY1214" fmla="*/ 1867038 h 2259621"/>
                <a:gd name="connsiteX1215" fmla="*/ 2192606 w 2945193"/>
                <a:gd name="connsiteY1215" fmla="*/ 1869481 h 2259621"/>
                <a:gd name="connsiteX1216" fmla="*/ 2198307 w 2945193"/>
                <a:gd name="connsiteY1216" fmla="*/ 1867038 h 2259621"/>
                <a:gd name="connsiteX1217" fmla="*/ 2192606 w 2945193"/>
                <a:gd name="connsiteY1217" fmla="*/ 1871924 h 2259621"/>
                <a:gd name="connsiteX1218" fmla="*/ 2198307 w 2945193"/>
                <a:gd name="connsiteY1218" fmla="*/ 1874368 h 2259621"/>
                <a:gd name="connsiteX1219" fmla="*/ 2213782 w 2945193"/>
                <a:gd name="connsiteY1219" fmla="*/ 1871110 h 2259621"/>
                <a:gd name="connsiteX1220" fmla="*/ 2234959 w 2945193"/>
                <a:gd name="connsiteY1220" fmla="*/ 1870296 h 2259621"/>
                <a:gd name="connsiteX1221" fmla="*/ 2247991 w 2945193"/>
                <a:gd name="connsiteY1221" fmla="*/ 1859707 h 2259621"/>
                <a:gd name="connsiteX1222" fmla="*/ 2252063 w 2945193"/>
                <a:gd name="connsiteY1222" fmla="*/ 1858893 h 2259621"/>
                <a:gd name="connsiteX1223" fmla="*/ 2254507 w 2945193"/>
                <a:gd name="connsiteY1223" fmla="*/ 1862965 h 2259621"/>
                <a:gd name="connsiteX1224" fmla="*/ 2257765 w 2945193"/>
                <a:gd name="connsiteY1224" fmla="*/ 1862151 h 2259621"/>
                <a:gd name="connsiteX1225" fmla="*/ 2256950 w 2945193"/>
                <a:gd name="connsiteY1225" fmla="*/ 1862965 h 2259621"/>
                <a:gd name="connsiteX1226" fmla="*/ 2260208 w 2945193"/>
                <a:gd name="connsiteY1226" fmla="*/ 1867852 h 2259621"/>
                <a:gd name="connsiteX1227" fmla="*/ 2293602 w 2945193"/>
                <a:gd name="connsiteY1227" fmla="*/ 1864594 h 2259621"/>
                <a:gd name="connsiteX1228" fmla="*/ 2311521 w 2945193"/>
                <a:gd name="connsiteY1228" fmla="*/ 1862965 h 2259621"/>
                <a:gd name="connsiteX1229" fmla="*/ 2326181 w 2945193"/>
                <a:gd name="connsiteY1229" fmla="*/ 1862965 h 2259621"/>
                <a:gd name="connsiteX1230" fmla="*/ 2343286 w 2945193"/>
                <a:gd name="connsiteY1230" fmla="*/ 1857264 h 2259621"/>
                <a:gd name="connsiteX1231" fmla="*/ 2357132 w 2945193"/>
                <a:gd name="connsiteY1231" fmla="*/ 1858078 h 2259621"/>
                <a:gd name="connsiteX1232" fmla="*/ 2375866 w 2945193"/>
                <a:gd name="connsiteY1232" fmla="*/ 1853191 h 2259621"/>
                <a:gd name="connsiteX1233" fmla="*/ 2384825 w 2945193"/>
                <a:gd name="connsiteY1233" fmla="*/ 1850748 h 2259621"/>
                <a:gd name="connsiteX1234" fmla="*/ 2384011 w 2945193"/>
                <a:gd name="connsiteY1234" fmla="*/ 1845861 h 2259621"/>
                <a:gd name="connsiteX1235" fmla="*/ 2395413 w 2945193"/>
                <a:gd name="connsiteY1235" fmla="*/ 1840974 h 2259621"/>
                <a:gd name="connsiteX1236" fmla="*/ 2396228 w 2945193"/>
                <a:gd name="connsiteY1236" fmla="*/ 1837716 h 2259621"/>
                <a:gd name="connsiteX1237" fmla="*/ 2401115 w 2945193"/>
                <a:gd name="connsiteY1237" fmla="*/ 1836902 h 2259621"/>
                <a:gd name="connsiteX1238" fmla="*/ 2395413 w 2945193"/>
                <a:gd name="connsiteY1238" fmla="*/ 1840974 h 2259621"/>
                <a:gd name="connsiteX1239" fmla="*/ 2399486 w 2945193"/>
                <a:gd name="connsiteY1239" fmla="*/ 1841789 h 2259621"/>
                <a:gd name="connsiteX1240" fmla="*/ 2403558 w 2945193"/>
                <a:gd name="connsiteY1240" fmla="*/ 1840159 h 2259621"/>
                <a:gd name="connsiteX1241" fmla="*/ 2401115 w 2945193"/>
                <a:gd name="connsiteY1241" fmla="*/ 1836902 h 2259621"/>
                <a:gd name="connsiteX1242" fmla="*/ 2423920 w 2945193"/>
                <a:gd name="connsiteY1242" fmla="*/ 1835272 h 2259621"/>
                <a:gd name="connsiteX1243" fmla="*/ 2435323 w 2945193"/>
                <a:gd name="connsiteY1243" fmla="*/ 1832015 h 2259621"/>
                <a:gd name="connsiteX1244" fmla="*/ 2445912 w 2945193"/>
                <a:gd name="connsiteY1244" fmla="*/ 1827128 h 2259621"/>
                <a:gd name="connsiteX1245" fmla="*/ 2456500 w 2945193"/>
                <a:gd name="connsiteY1245" fmla="*/ 1824684 h 2259621"/>
                <a:gd name="connsiteX1246" fmla="*/ 2463830 w 2945193"/>
                <a:gd name="connsiteY1246" fmla="*/ 1823055 h 2259621"/>
                <a:gd name="connsiteX1247" fmla="*/ 2490708 w 2945193"/>
                <a:gd name="connsiteY1247" fmla="*/ 1812467 h 2259621"/>
                <a:gd name="connsiteX1248" fmla="*/ 2485822 w 2945193"/>
                <a:gd name="connsiteY1248" fmla="*/ 1810023 h 2259621"/>
                <a:gd name="connsiteX1249" fmla="*/ 2480934 w 2945193"/>
                <a:gd name="connsiteY1249" fmla="*/ 1810023 h 2259621"/>
                <a:gd name="connsiteX1250" fmla="*/ 2485007 w 2945193"/>
                <a:gd name="connsiteY1250" fmla="*/ 1807580 h 2259621"/>
                <a:gd name="connsiteX1251" fmla="*/ 2480120 w 2945193"/>
                <a:gd name="connsiteY1251" fmla="*/ 1805136 h 2259621"/>
                <a:gd name="connsiteX1252" fmla="*/ 2454056 w 2945193"/>
                <a:gd name="connsiteY1252" fmla="*/ 1801879 h 2259621"/>
                <a:gd name="connsiteX1253" fmla="*/ 2427993 w 2945193"/>
                <a:gd name="connsiteY1253" fmla="*/ 1798620 h 2259621"/>
                <a:gd name="connsiteX1254" fmla="*/ 2426364 w 2945193"/>
                <a:gd name="connsiteY1254" fmla="*/ 1798620 h 2259621"/>
                <a:gd name="connsiteX1255" fmla="*/ 2428807 w 2945193"/>
                <a:gd name="connsiteY1255" fmla="*/ 1796992 h 2259621"/>
                <a:gd name="connsiteX1256" fmla="*/ 2441025 w 2945193"/>
                <a:gd name="connsiteY1256" fmla="*/ 1795363 h 2259621"/>
                <a:gd name="connsiteX1257" fmla="*/ 2458129 w 2945193"/>
                <a:gd name="connsiteY1257" fmla="*/ 1792105 h 2259621"/>
                <a:gd name="connsiteX1258" fmla="*/ 2462201 w 2945193"/>
                <a:gd name="connsiteY1258" fmla="*/ 1788847 h 2259621"/>
                <a:gd name="connsiteX1259" fmla="*/ 2454871 w 2945193"/>
                <a:gd name="connsiteY1259" fmla="*/ 1786403 h 2259621"/>
                <a:gd name="connsiteX1260" fmla="*/ 2457315 w 2945193"/>
                <a:gd name="connsiteY1260" fmla="*/ 1783960 h 2259621"/>
                <a:gd name="connsiteX1261" fmla="*/ 2441839 w 2945193"/>
                <a:gd name="connsiteY1261" fmla="*/ 1781516 h 2259621"/>
                <a:gd name="connsiteX1262" fmla="*/ 2437767 w 2945193"/>
                <a:gd name="connsiteY1262" fmla="*/ 1782331 h 2259621"/>
                <a:gd name="connsiteX1263" fmla="*/ 2436138 w 2945193"/>
                <a:gd name="connsiteY1263" fmla="*/ 1782331 h 2259621"/>
                <a:gd name="connsiteX1264" fmla="*/ 2440210 w 2945193"/>
                <a:gd name="connsiteY1264" fmla="*/ 1777444 h 2259621"/>
                <a:gd name="connsiteX1265" fmla="*/ 2460572 w 2945193"/>
                <a:gd name="connsiteY1265" fmla="*/ 1770113 h 2259621"/>
                <a:gd name="connsiteX1266" fmla="*/ 2483378 w 2945193"/>
                <a:gd name="connsiteY1266" fmla="*/ 1767670 h 2259621"/>
                <a:gd name="connsiteX1267" fmla="*/ 2489894 w 2945193"/>
                <a:gd name="connsiteY1267" fmla="*/ 1766041 h 2259621"/>
                <a:gd name="connsiteX1268" fmla="*/ 2511071 w 2945193"/>
                <a:gd name="connsiteY1268" fmla="*/ 1761968 h 2259621"/>
                <a:gd name="connsiteX1269" fmla="*/ 2523288 w 2945193"/>
                <a:gd name="connsiteY1269" fmla="*/ 1758711 h 2259621"/>
                <a:gd name="connsiteX1270" fmla="*/ 2526546 w 2945193"/>
                <a:gd name="connsiteY1270" fmla="*/ 1757896 h 2259621"/>
                <a:gd name="connsiteX1271" fmla="*/ 2536320 w 2945193"/>
                <a:gd name="connsiteY1271" fmla="*/ 1756267 h 2259621"/>
                <a:gd name="connsiteX1272" fmla="*/ 2550166 w 2945193"/>
                <a:gd name="connsiteY1272" fmla="*/ 1753824 h 2259621"/>
                <a:gd name="connsiteX1273" fmla="*/ 2578673 w 2945193"/>
                <a:gd name="connsiteY1273" fmla="*/ 1750566 h 2259621"/>
                <a:gd name="connsiteX1274" fmla="*/ 2578673 w 2945193"/>
                <a:gd name="connsiteY1274" fmla="*/ 1750566 h 2259621"/>
                <a:gd name="connsiteX1275" fmla="*/ 2576230 w 2945193"/>
                <a:gd name="connsiteY1275" fmla="*/ 1760340 h 2259621"/>
                <a:gd name="connsiteX1276" fmla="*/ 2535505 w 2945193"/>
                <a:gd name="connsiteY1276" fmla="*/ 1765227 h 2259621"/>
                <a:gd name="connsiteX1277" fmla="*/ 2531433 w 2945193"/>
                <a:gd name="connsiteY1277" fmla="*/ 1766041 h 2259621"/>
                <a:gd name="connsiteX1278" fmla="*/ 2495595 w 2945193"/>
                <a:gd name="connsiteY1278" fmla="*/ 1772557 h 2259621"/>
                <a:gd name="connsiteX1279" fmla="*/ 2481749 w 2945193"/>
                <a:gd name="connsiteY1279" fmla="*/ 1773371 h 2259621"/>
                <a:gd name="connsiteX1280" fmla="*/ 2471160 w 2945193"/>
                <a:gd name="connsiteY1280" fmla="*/ 1782331 h 2259621"/>
                <a:gd name="connsiteX1281" fmla="*/ 2479305 w 2945193"/>
                <a:gd name="connsiteY1281" fmla="*/ 1782331 h 2259621"/>
                <a:gd name="connsiteX1282" fmla="*/ 2476862 w 2945193"/>
                <a:gd name="connsiteY1282" fmla="*/ 1787218 h 2259621"/>
                <a:gd name="connsiteX1283" fmla="*/ 2491523 w 2945193"/>
                <a:gd name="connsiteY1283" fmla="*/ 1787218 h 2259621"/>
                <a:gd name="connsiteX1284" fmla="*/ 2516772 w 2945193"/>
                <a:gd name="connsiteY1284" fmla="*/ 1786403 h 2259621"/>
                <a:gd name="connsiteX1285" fmla="*/ 2523288 w 2945193"/>
                <a:gd name="connsiteY1285" fmla="*/ 1780702 h 2259621"/>
                <a:gd name="connsiteX1286" fmla="*/ 2531433 w 2945193"/>
                <a:gd name="connsiteY1286" fmla="*/ 1781516 h 2259621"/>
                <a:gd name="connsiteX1287" fmla="*/ 2551795 w 2945193"/>
                <a:gd name="connsiteY1287" fmla="*/ 1776629 h 2259621"/>
                <a:gd name="connsiteX1288" fmla="*/ 2562383 w 2945193"/>
                <a:gd name="connsiteY1288" fmla="*/ 1775000 h 2259621"/>
                <a:gd name="connsiteX1289" fmla="*/ 2565642 w 2945193"/>
                <a:gd name="connsiteY1289" fmla="*/ 1775000 h 2259621"/>
                <a:gd name="connsiteX1290" fmla="*/ 2584375 w 2945193"/>
                <a:gd name="connsiteY1290" fmla="*/ 1770113 h 2259621"/>
                <a:gd name="connsiteX1291" fmla="*/ 2590076 w 2945193"/>
                <a:gd name="connsiteY1291" fmla="*/ 1766041 h 2259621"/>
                <a:gd name="connsiteX1292" fmla="*/ 2590076 w 2945193"/>
                <a:gd name="connsiteY1292" fmla="*/ 1766041 h 2259621"/>
                <a:gd name="connsiteX1293" fmla="*/ 2590076 w 2945193"/>
                <a:gd name="connsiteY1293" fmla="*/ 1766041 h 2259621"/>
                <a:gd name="connsiteX1294" fmla="*/ 2602294 w 2945193"/>
                <a:gd name="connsiteY1294" fmla="*/ 1766855 h 2259621"/>
                <a:gd name="connsiteX1295" fmla="*/ 2641389 w 2945193"/>
                <a:gd name="connsiteY1295" fmla="*/ 1757082 h 2259621"/>
                <a:gd name="connsiteX1296" fmla="*/ 2665824 w 2945193"/>
                <a:gd name="connsiteY1296" fmla="*/ 1752195 h 2259621"/>
                <a:gd name="connsiteX1297" fmla="*/ 2669082 w 2945193"/>
                <a:gd name="connsiteY1297" fmla="*/ 1747308 h 2259621"/>
                <a:gd name="connsiteX1298" fmla="*/ 2663380 w 2945193"/>
                <a:gd name="connsiteY1298" fmla="*/ 1745679 h 2259621"/>
                <a:gd name="connsiteX1299" fmla="*/ 2664195 w 2945193"/>
                <a:gd name="connsiteY1299" fmla="*/ 1742421 h 2259621"/>
                <a:gd name="connsiteX1300" fmla="*/ 2661751 w 2945193"/>
                <a:gd name="connsiteY1300" fmla="*/ 1741606 h 2259621"/>
                <a:gd name="connsiteX1301" fmla="*/ 2677227 w 2945193"/>
                <a:gd name="connsiteY1301" fmla="*/ 1739977 h 2259621"/>
                <a:gd name="connsiteX1302" fmla="*/ 2676412 w 2945193"/>
                <a:gd name="connsiteY1302" fmla="*/ 1740792 h 2259621"/>
                <a:gd name="connsiteX1303" fmla="*/ 2677227 w 2945193"/>
                <a:gd name="connsiteY1303" fmla="*/ 1742421 h 2259621"/>
                <a:gd name="connsiteX1304" fmla="*/ 2686186 w 2945193"/>
                <a:gd name="connsiteY1304" fmla="*/ 1741606 h 2259621"/>
                <a:gd name="connsiteX1305" fmla="*/ 2688629 w 2945193"/>
                <a:gd name="connsiteY1305" fmla="*/ 1740792 h 2259621"/>
                <a:gd name="connsiteX1306" fmla="*/ 2681299 w 2945193"/>
                <a:gd name="connsiteY1306" fmla="*/ 1744864 h 2259621"/>
                <a:gd name="connsiteX1307" fmla="*/ 2682113 w 2945193"/>
                <a:gd name="connsiteY1307" fmla="*/ 1746493 h 2259621"/>
                <a:gd name="connsiteX1308" fmla="*/ 2691073 w 2945193"/>
                <a:gd name="connsiteY1308" fmla="*/ 1745679 h 2259621"/>
                <a:gd name="connsiteX1309" fmla="*/ 2708991 w 2945193"/>
                <a:gd name="connsiteY1309" fmla="*/ 1747308 h 2259621"/>
                <a:gd name="connsiteX1310" fmla="*/ 2725281 w 2945193"/>
                <a:gd name="connsiteY1310" fmla="*/ 1743235 h 2259621"/>
                <a:gd name="connsiteX1311" fmla="*/ 2728539 w 2945193"/>
                <a:gd name="connsiteY1311" fmla="*/ 1739977 h 2259621"/>
                <a:gd name="connsiteX1312" fmla="*/ 2741571 w 2945193"/>
                <a:gd name="connsiteY1312" fmla="*/ 1739163 h 2259621"/>
                <a:gd name="connsiteX1313" fmla="*/ 2751345 w 2945193"/>
                <a:gd name="connsiteY1313" fmla="*/ 1743235 h 2259621"/>
                <a:gd name="connsiteX1314" fmla="*/ 2760304 w 2945193"/>
                <a:gd name="connsiteY1314" fmla="*/ 1737534 h 2259621"/>
                <a:gd name="connsiteX1315" fmla="*/ 2753788 w 2945193"/>
                <a:gd name="connsiteY1315" fmla="*/ 1735090 h 2259621"/>
                <a:gd name="connsiteX1316" fmla="*/ 2754603 w 2945193"/>
                <a:gd name="connsiteY1316" fmla="*/ 1733461 h 2259621"/>
                <a:gd name="connsiteX1317" fmla="*/ 2755417 w 2945193"/>
                <a:gd name="connsiteY1317" fmla="*/ 1731832 h 2259621"/>
                <a:gd name="connsiteX1318" fmla="*/ 2757047 w 2945193"/>
                <a:gd name="connsiteY1318" fmla="*/ 1729389 h 2259621"/>
                <a:gd name="connsiteX1319" fmla="*/ 2753788 w 2945193"/>
                <a:gd name="connsiteY1319" fmla="*/ 1726945 h 2259621"/>
                <a:gd name="connsiteX1320" fmla="*/ 2749716 w 2945193"/>
                <a:gd name="connsiteY1320" fmla="*/ 1726945 h 2259621"/>
                <a:gd name="connsiteX1321" fmla="*/ 2749716 w 2945193"/>
                <a:gd name="connsiteY1321" fmla="*/ 1726945 h 2259621"/>
                <a:gd name="connsiteX1322" fmla="*/ 2751345 w 2945193"/>
                <a:gd name="connsiteY1322" fmla="*/ 1724502 h 2259621"/>
                <a:gd name="connsiteX1323" fmla="*/ 2748087 w 2945193"/>
                <a:gd name="connsiteY1323" fmla="*/ 1722058 h 2259621"/>
                <a:gd name="connsiteX1324" fmla="*/ 2740757 w 2945193"/>
                <a:gd name="connsiteY1324" fmla="*/ 1722873 h 2259621"/>
                <a:gd name="connsiteX1325" fmla="*/ 2739942 w 2945193"/>
                <a:gd name="connsiteY1325" fmla="*/ 1722058 h 2259621"/>
                <a:gd name="connsiteX1326" fmla="*/ 2739942 w 2945193"/>
                <a:gd name="connsiteY1326" fmla="*/ 1718801 h 2259621"/>
                <a:gd name="connsiteX1327" fmla="*/ 2735055 w 2945193"/>
                <a:gd name="connsiteY1327" fmla="*/ 1717986 h 2259621"/>
                <a:gd name="connsiteX1328" fmla="*/ 2735055 w 2945193"/>
                <a:gd name="connsiteY1328" fmla="*/ 1713914 h 2259621"/>
                <a:gd name="connsiteX1329" fmla="*/ 2726910 w 2945193"/>
                <a:gd name="connsiteY1329" fmla="*/ 1713099 h 2259621"/>
                <a:gd name="connsiteX1330" fmla="*/ 2727725 w 2945193"/>
                <a:gd name="connsiteY1330" fmla="*/ 1708212 h 2259621"/>
                <a:gd name="connsiteX1331" fmla="*/ 2733426 w 2945193"/>
                <a:gd name="connsiteY1331" fmla="*/ 1706583 h 2259621"/>
                <a:gd name="connsiteX1332" fmla="*/ 2750531 w 2945193"/>
                <a:gd name="connsiteY1332" fmla="*/ 1702511 h 2259621"/>
                <a:gd name="connsiteX1333" fmla="*/ 2760304 w 2945193"/>
                <a:gd name="connsiteY1333" fmla="*/ 1700067 h 2259621"/>
                <a:gd name="connsiteX1334" fmla="*/ 2779038 w 2945193"/>
                <a:gd name="connsiteY1334" fmla="*/ 1695995 h 2259621"/>
                <a:gd name="connsiteX1335" fmla="*/ 2797771 w 2945193"/>
                <a:gd name="connsiteY1335" fmla="*/ 1695995 h 2259621"/>
                <a:gd name="connsiteX1336" fmla="*/ 2800214 w 2945193"/>
                <a:gd name="connsiteY1336" fmla="*/ 1696809 h 2259621"/>
                <a:gd name="connsiteX1337" fmla="*/ 2781481 w 2945193"/>
                <a:gd name="connsiteY1337" fmla="*/ 1700067 h 2259621"/>
                <a:gd name="connsiteX1338" fmla="*/ 2765191 w 2945193"/>
                <a:gd name="connsiteY1338" fmla="*/ 1705769 h 2259621"/>
                <a:gd name="connsiteX1339" fmla="*/ 2801029 w 2945193"/>
                <a:gd name="connsiteY1339" fmla="*/ 1700882 h 2259621"/>
                <a:gd name="connsiteX1340" fmla="*/ 2811617 w 2945193"/>
                <a:gd name="connsiteY1340" fmla="*/ 1699253 h 2259621"/>
                <a:gd name="connsiteX1341" fmla="*/ 2806730 w 2945193"/>
                <a:gd name="connsiteY1341" fmla="*/ 1700882 h 2259621"/>
                <a:gd name="connsiteX1342" fmla="*/ 2786368 w 2945193"/>
                <a:gd name="connsiteY1342" fmla="*/ 1704954 h 2259621"/>
                <a:gd name="connsiteX1343" fmla="*/ 2770078 w 2945193"/>
                <a:gd name="connsiteY1343" fmla="*/ 1710656 h 2259621"/>
                <a:gd name="connsiteX1344" fmla="*/ 2805916 w 2945193"/>
                <a:gd name="connsiteY1344" fmla="*/ 1705769 h 2259621"/>
                <a:gd name="connsiteX1345" fmla="*/ 2820577 w 2945193"/>
                <a:gd name="connsiteY1345" fmla="*/ 1703325 h 2259621"/>
                <a:gd name="connsiteX1346" fmla="*/ 2837681 w 2945193"/>
                <a:gd name="connsiteY1346" fmla="*/ 1698438 h 2259621"/>
                <a:gd name="connsiteX1347" fmla="*/ 2828721 w 2945193"/>
                <a:gd name="connsiteY1347" fmla="*/ 1695995 h 2259621"/>
                <a:gd name="connsiteX1348" fmla="*/ 2828721 w 2945193"/>
                <a:gd name="connsiteY1348" fmla="*/ 1695180 h 2259621"/>
                <a:gd name="connsiteX1349" fmla="*/ 2831980 w 2945193"/>
                <a:gd name="connsiteY1349" fmla="*/ 1693551 h 2259621"/>
                <a:gd name="connsiteX1350" fmla="*/ 2828721 w 2945193"/>
                <a:gd name="connsiteY1350" fmla="*/ 1692737 h 2259621"/>
                <a:gd name="connsiteX1351" fmla="*/ 2829536 w 2945193"/>
                <a:gd name="connsiteY1351" fmla="*/ 1691108 h 2259621"/>
                <a:gd name="connsiteX1352" fmla="*/ 2834423 w 2945193"/>
                <a:gd name="connsiteY1352" fmla="*/ 1684592 h 2259621"/>
                <a:gd name="connsiteX1353" fmla="*/ 2830351 w 2945193"/>
                <a:gd name="connsiteY1353" fmla="*/ 1678076 h 2259621"/>
                <a:gd name="connsiteX1354" fmla="*/ 2829536 w 2945193"/>
                <a:gd name="connsiteY1354" fmla="*/ 1678076 h 2259621"/>
                <a:gd name="connsiteX1355" fmla="*/ 2825463 w 2945193"/>
                <a:gd name="connsiteY1355" fmla="*/ 1673189 h 2259621"/>
                <a:gd name="connsiteX1356" fmla="*/ 2806730 w 2945193"/>
                <a:gd name="connsiteY1356" fmla="*/ 1676447 h 2259621"/>
                <a:gd name="connsiteX1357" fmla="*/ 2805101 w 2945193"/>
                <a:gd name="connsiteY1357" fmla="*/ 1677262 h 2259621"/>
                <a:gd name="connsiteX1358" fmla="*/ 2806730 w 2945193"/>
                <a:gd name="connsiteY1358" fmla="*/ 1674004 h 2259621"/>
                <a:gd name="connsiteX1359" fmla="*/ 2803473 w 2945193"/>
                <a:gd name="connsiteY1359" fmla="*/ 1672375 h 2259621"/>
                <a:gd name="connsiteX1360" fmla="*/ 2801029 w 2945193"/>
                <a:gd name="connsiteY1360" fmla="*/ 1671560 h 2259621"/>
                <a:gd name="connsiteX1361" fmla="*/ 2801843 w 2945193"/>
                <a:gd name="connsiteY1361" fmla="*/ 1669117 h 2259621"/>
                <a:gd name="connsiteX1362" fmla="*/ 2805916 w 2945193"/>
                <a:gd name="connsiteY1362" fmla="*/ 1668302 h 2259621"/>
                <a:gd name="connsiteX1363" fmla="*/ 2838495 w 2945193"/>
                <a:gd name="connsiteY1363" fmla="*/ 1674004 h 2259621"/>
                <a:gd name="connsiteX1364" fmla="*/ 2858043 w 2945193"/>
                <a:gd name="connsiteY1364" fmla="*/ 1670746 h 2259621"/>
                <a:gd name="connsiteX1365" fmla="*/ 2848269 w 2945193"/>
                <a:gd name="connsiteY1365" fmla="*/ 1669117 h 2259621"/>
                <a:gd name="connsiteX1366" fmla="*/ 2853156 w 2945193"/>
                <a:gd name="connsiteY1366" fmla="*/ 1665859 h 2259621"/>
                <a:gd name="connsiteX1367" fmla="*/ 2821391 w 2945193"/>
                <a:gd name="connsiteY1367" fmla="*/ 1660972 h 2259621"/>
                <a:gd name="connsiteX1368" fmla="*/ 2821391 w 2945193"/>
                <a:gd name="connsiteY1368" fmla="*/ 1660972 h 2259621"/>
                <a:gd name="connsiteX1369" fmla="*/ 2845011 w 2945193"/>
                <a:gd name="connsiteY1369" fmla="*/ 1653641 h 2259621"/>
                <a:gd name="connsiteX1370" fmla="*/ 2847455 w 2945193"/>
                <a:gd name="connsiteY1370" fmla="*/ 1646311 h 2259621"/>
                <a:gd name="connsiteX1371" fmla="*/ 2849084 w 2945193"/>
                <a:gd name="connsiteY1371" fmla="*/ 1638981 h 2259621"/>
                <a:gd name="connsiteX1372" fmla="*/ 2853970 w 2945193"/>
                <a:gd name="connsiteY1372" fmla="*/ 1635723 h 2259621"/>
                <a:gd name="connsiteX1373" fmla="*/ 2849898 w 2945193"/>
                <a:gd name="connsiteY1373" fmla="*/ 1630836 h 2259621"/>
                <a:gd name="connsiteX1374" fmla="*/ 2848269 w 2945193"/>
                <a:gd name="connsiteY1374" fmla="*/ 1630836 h 2259621"/>
                <a:gd name="connsiteX1375" fmla="*/ 2844197 w 2945193"/>
                <a:gd name="connsiteY1375" fmla="*/ 1625949 h 2259621"/>
                <a:gd name="connsiteX1376" fmla="*/ 2827907 w 2945193"/>
                <a:gd name="connsiteY1376" fmla="*/ 1623505 h 2259621"/>
                <a:gd name="connsiteX1377" fmla="*/ 2804287 w 2945193"/>
                <a:gd name="connsiteY1377" fmla="*/ 1615360 h 2259621"/>
                <a:gd name="connsiteX1378" fmla="*/ 2800214 w 2945193"/>
                <a:gd name="connsiteY1378" fmla="*/ 1613732 h 2259621"/>
                <a:gd name="connsiteX1379" fmla="*/ 2779852 w 2945193"/>
                <a:gd name="connsiteY1379" fmla="*/ 1607215 h 2259621"/>
                <a:gd name="connsiteX1380" fmla="*/ 2774965 w 2945193"/>
                <a:gd name="connsiteY1380" fmla="*/ 1606401 h 2259621"/>
                <a:gd name="connsiteX1381" fmla="*/ 2733426 w 2945193"/>
                <a:gd name="connsiteY1381" fmla="*/ 1599885 h 2259621"/>
                <a:gd name="connsiteX1382" fmla="*/ 2727725 w 2945193"/>
                <a:gd name="connsiteY1382" fmla="*/ 1599071 h 2259621"/>
                <a:gd name="connsiteX1383" fmla="*/ 2685372 w 2945193"/>
                <a:gd name="connsiteY1383" fmla="*/ 1597442 h 2259621"/>
                <a:gd name="connsiteX1384" fmla="*/ 2653606 w 2945193"/>
                <a:gd name="connsiteY1384" fmla="*/ 1598256 h 2259621"/>
                <a:gd name="connsiteX1385" fmla="*/ 2638131 w 2945193"/>
                <a:gd name="connsiteY1385" fmla="*/ 1599071 h 2259621"/>
                <a:gd name="connsiteX1386" fmla="*/ 2632430 w 2945193"/>
                <a:gd name="connsiteY1386" fmla="*/ 1594998 h 2259621"/>
                <a:gd name="connsiteX1387" fmla="*/ 2623470 w 2945193"/>
                <a:gd name="connsiteY1387" fmla="*/ 1596627 h 2259621"/>
                <a:gd name="connsiteX1388" fmla="*/ 2609624 w 2945193"/>
                <a:gd name="connsiteY1388" fmla="*/ 1596627 h 2259621"/>
                <a:gd name="connsiteX1389" fmla="*/ 2608809 w 2945193"/>
                <a:gd name="connsiteY1389" fmla="*/ 1591740 h 2259621"/>
                <a:gd name="connsiteX1390" fmla="*/ 2605551 w 2945193"/>
                <a:gd name="connsiteY1390" fmla="*/ 1590111 h 2259621"/>
                <a:gd name="connsiteX1391" fmla="*/ 2603923 w 2945193"/>
                <a:gd name="connsiteY1391" fmla="*/ 1586853 h 2259621"/>
                <a:gd name="connsiteX1392" fmla="*/ 2594963 w 2945193"/>
                <a:gd name="connsiteY1392" fmla="*/ 1584410 h 2259621"/>
                <a:gd name="connsiteX1393" fmla="*/ 2571343 w 2945193"/>
                <a:gd name="connsiteY1393" fmla="*/ 1592555 h 2259621"/>
                <a:gd name="connsiteX1394" fmla="*/ 2573786 w 2945193"/>
                <a:gd name="connsiteY1394" fmla="*/ 1596627 h 2259621"/>
                <a:gd name="connsiteX1395" fmla="*/ 2590076 w 2945193"/>
                <a:gd name="connsiteY1395" fmla="*/ 1593369 h 2259621"/>
                <a:gd name="connsiteX1396" fmla="*/ 2591705 w 2945193"/>
                <a:gd name="connsiteY1396" fmla="*/ 1593369 h 2259621"/>
                <a:gd name="connsiteX1397" fmla="*/ 2580302 w 2945193"/>
                <a:gd name="connsiteY1397" fmla="*/ 1597442 h 2259621"/>
                <a:gd name="connsiteX1398" fmla="*/ 2574601 w 2945193"/>
                <a:gd name="connsiteY1398" fmla="*/ 1597442 h 2259621"/>
                <a:gd name="connsiteX1399" fmla="*/ 2561569 w 2945193"/>
                <a:gd name="connsiteY1399" fmla="*/ 1599071 h 2259621"/>
                <a:gd name="connsiteX1400" fmla="*/ 2547723 w 2945193"/>
                <a:gd name="connsiteY1400" fmla="*/ 1599885 h 2259621"/>
                <a:gd name="connsiteX1401" fmla="*/ 2550166 w 2945193"/>
                <a:gd name="connsiteY1401" fmla="*/ 1603143 h 2259621"/>
                <a:gd name="connsiteX1402" fmla="*/ 2498039 w 2945193"/>
                <a:gd name="connsiteY1402" fmla="*/ 1605587 h 2259621"/>
                <a:gd name="connsiteX1403" fmla="*/ 2495595 w 2945193"/>
                <a:gd name="connsiteY1403" fmla="*/ 1609659 h 2259621"/>
                <a:gd name="connsiteX1404" fmla="*/ 2487450 w 2945193"/>
                <a:gd name="connsiteY1404" fmla="*/ 1609659 h 2259621"/>
                <a:gd name="connsiteX1405" fmla="*/ 2484193 w 2945193"/>
                <a:gd name="connsiteY1405" fmla="*/ 1607215 h 2259621"/>
                <a:gd name="connsiteX1406" fmla="*/ 2454871 w 2945193"/>
                <a:gd name="connsiteY1406" fmla="*/ 1607215 h 2259621"/>
                <a:gd name="connsiteX1407" fmla="*/ 2454871 w 2945193"/>
                <a:gd name="connsiteY1407" fmla="*/ 1607215 h 2259621"/>
                <a:gd name="connsiteX1408" fmla="*/ 2417404 w 2945193"/>
                <a:gd name="connsiteY1408" fmla="*/ 1608030 h 2259621"/>
                <a:gd name="connsiteX1409" fmla="*/ 2412518 w 2945193"/>
                <a:gd name="connsiteY1409" fmla="*/ 1608845 h 2259621"/>
                <a:gd name="connsiteX1410" fmla="*/ 2367721 w 2945193"/>
                <a:gd name="connsiteY1410" fmla="*/ 1614546 h 2259621"/>
                <a:gd name="connsiteX1411" fmla="*/ 2361204 w 2945193"/>
                <a:gd name="connsiteY1411" fmla="*/ 1616989 h 2259621"/>
                <a:gd name="connsiteX1412" fmla="*/ 2361204 w 2945193"/>
                <a:gd name="connsiteY1412" fmla="*/ 1616175 h 2259621"/>
                <a:gd name="connsiteX1413" fmla="*/ 2358761 w 2945193"/>
                <a:gd name="connsiteY1413" fmla="*/ 1616989 h 2259621"/>
                <a:gd name="connsiteX1414" fmla="*/ 2356318 w 2945193"/>
                <a:gd name="connsiteY1414" fmla="*/ 1611288 h 2259621"/>
                <a:gd name="connsiteX1415" fmla="*/ 2325367 w 2945193"/>
                <a:gd name="connsiteY1415" fmla="*/ 1622691 h 2259621"/>
                <a:gd name="connsiteX1416" fmla="*/ 2327811 w 2945193"/>
                <a:gd name="connsiteY1416" fmla="*/ 1627578 h 2259621"/>
                <a:gd name="connsiteX1417" fmla="*/ 2315593 w 2945193"/>
                <a:gd name="connsiteY1417" fmla="*/ 1631650 h 2259621"/>
                <a:gd name="connsiteX1418" fmla="*/ 2315593 w 2945193"/>
                <a:gd name="connsiteY1418" fmla="*/ 1630836 h 2259621"/>
                <a:gd name="connsiteX1419" fmla="*/ 2313964 w 2945193"/>
                <a:gd name="connsiteY1419" fmla="*/ 1630836 h 2259621"/>
                <a:gd name="connsiteX1420" fmla="*/ 2310706 w 2945193"/>
                <a:gd name="connsiteY1420" fmla="*/ 1625949 h 2259621"/>
                <a:gd name="connsiteX1421" fmla="*/ 2296045 w 2945193"/>
                <a:gd name="connsiteY1421" fmla="*/ 1635723 h 2259621"/>
                <a:gd name="connsiteX1422" fmla="*/ 2285457 w 2945193"/>
                <a:gd name="connsiteY1422" fmla="*/ 1632465 h 2259621"/>
                <a:gd name="connsiteX1423" fmla="*/ 2284643 w 2945193"/>
                <a:gd name="connsiteY1423" fmla="*/ 1631650 h 2259621"/>
                <a:gd name="connsiteX1424" fmla="*/ 2288715 w 2945193"/>
                <a:gd name="connsiteY1424" fmla="*/ 1630021 h 2259621"/>
                <a:gd name="connsiteX1425" fmla="*/ 2299303 w 2945193"/>
                <a:gd name="connsiteY1425" fmla="*/ 1626763 h 2259621"/>
                <a:gd name="connsiteX1426" fmla="*/ 2301747 w 2945193"/>
                <a:gd name="connsiteY1426" fmla="*/ 1621876 h 2259621"/>
                <a:gd name="connsiteX1427" fmla="*/ 2309892 w 2945193"/>
                <a:gd name="connsiteY1427" fmla="*/ 1623505 h 2259621"/>
                <a:gd name="connsiteX1428" fmla="*/ 2320480 w 2945193"/>
                <a:gd name="connsiteY1428" fmla="*/ 1618618 h 2259621"/>
                <a:gd name="connsiteX1429" fmla="*/ 2326181 w 2945193"/>
                <a:gd name="connsiteY1429" fmla="*/ 1612917 h 2259621"/>
                <a:gd name="connsiteX1430" fmla="*/ 2326996 w 2945193"/>
                <a:gd name="connsiteY1430" fmla="*/ 1610474 h 2259621"/>
                <a:gd name="connsiteX1431" fmla="*/ 2335141 w 2945193"/>
                <a:gd name="connsiteY1431" fmla="*/ 1606401 h 2259621"/>
                <a:gd name="connsiteX1432" fmla="*/ 2350616 w 2945193"/>
                <a:gd name="connsiteY1432" fmla="*/ 1605587 h 2259621"/>
                <a:gd name="connsiteX1433" fmla="*/ 2350616 w 2945193"/>
                <a:gd name="connsiteY1433" fmla="*/ 1605587 h 2259621"/>
                <a:gd name="connsiteX1434" fmla="*/ 2349802 w 2945193"/>
                <a:gd name="connsiteY1434" fmla="*/ 1606401 h 2259621"/>
                <a:gd name="connsiteX1435" fmla="*/ 2350616 w 2945193"/>
                <a:gd name="connsiteY1435" fmla="*/ 1605587 h 2259621"/>
                <a:gd name="connsiteX1436" fmla="*/ 2359576 w 2945193"/>
                <a:gd name="connsiteY1436" fmla="*/ 1602329 h 2259621"/>
                <a:gd name="connsiteX1437" fmla="*/ 2358761 w 2945193"/>
                <a:gd name="connsiteY1437" fmla="*/ 1599071 h 2259621"/>
                <a:gd name="connsiteX1438" fmla="*/ 2375866 w 2945193"/>
                <a:gd name="connsiteY1438" fmla="*/ 1596627 h 2259621"/>
                <a:gd name="connsiteX1439" fmla="*/ 2381567 w 2945193"/>
                <a:gd name="connsiteY1439" fmla="*/ 1596627 h 2259621"/>
                <a:gd name="connsiteX1440" fmla="*/ 2394599 w 2945193"/>
                <a:gd name="connsiteY1440" fmla="*/ 1592555 h 2259621"/>
                <a:gd name="connsiteX1441" fmla="*/ 2393784 w 2945193"/>
                <a:gd name="connsiteY1441" fmla="*/ 1587668 h 2259621"/>
                <a:gd name="connsiteX1442" fmla="*/ 2386454 w 2945193"/>
                <a:gd name="connsiteY1442" fmla="*/ 1591740 h 2259621"/>
                <a:gd name="connsiteX1443" fmla="*/ 2383196 w 2945193"/>
                <a:gd name="connsiteY1443" fmla="*/ 1589297 h 2259621"/>
                <a:gd name="connsiteX1444" fmla="*/ 2384011 w 2945193"/>
                <a:gd name="connsiteY1444" fmla="*/ 1588482 h 2259621"/>
                <a:gd name="connsiteX1445" fmla="*/ 2380752 w 2945193"/>
                <a:gd name="connsiteY1445" fmla="*/ 1586853 h 2259621"/>
                <a:gd name="connsiteX1446" fmla="*/ 2410074 w 2945193"/>
                <a:gd name="connsiteY1446" fmla="*/ 1574636 h 2259621"/>
                <a:gd name="connsiteX1447" fmla="*/ 2414961 w 2945193"/>
                <a:gd name="connsiteY1447" fmla="*/ 1572193 h 2259621"/>
                <a:gd name="connsiteX1448" fmla="*/ 2432880 w 2945193"/>
                <a:gd name="connsiteY1448" fmla="*/ 1565677 h 2259621"/>
                <a:gd name="connsiteX1449" fmla="*/ 2423106 w 2945193"/>
                <a:gd name="connsiteY1449" fmla="*/ 1569749 h 2259621"/>
                <a:gd name="connsiteX1450" fmla="*/ 2438581 w 2945193"/>
                <a:gd name="connsiteY1450" fmla="*/ 1564862 h 2259621"/>
                <a:gd name="connsiteX1451" fmla="*/ 2448355 w 2945193"/>
                <a:gd name="connsiteY1451" fmla="*/ 1565677 h 2259621"/>
                <a:gd name="connsiteX1452" fmla="*/ 2448355 w 2945193"/>
                <a:gd name="connsiteY1452" fmla="*/ 1565677 h 2259621"/>
                <a:gd name="connsiteX1453" fmla="*/ 2449170 w 2945193"/>
                <a:gd name="connsiteY1453" fmla="*/ 1565677 h 2259621"/>
                <a:gd name="connsiteX1454" fmla="*/ 2449170 w 2945193"/>
                <a:gd name="connsiteY1454" fmla="*/ 1565677 h 2259621"/>
                <a:gd name="connsiteX1455" fmla="*/ 2451613 w 2945193"/>
                <a:gd name="connsiteY1455" fmla="*/ 1567306 h 2259621"/>
                <a:gd name="connsiteX1456" fmla="*/ 2451613 w 2945193"/>
                <a:gd name="connsiteY1456" fmla="*/ 1567306 h 2259621"/>
                <a:gd name="connsiteX1457" fmla="*/ 2451613 w 2945193"/>
                <a:gd name="connsiteY1457" fmla="*/ 1567306 h 2259621"/>
                <a:gd name="connsiteX1458" fmla="*/ 2451613 w 2945193"/>
                <a:gd name="connsiteY1458" fmla="*/ 1567306 h 2259621"/>
                <a:gd name="connsiteX1459" fmla="*/ 2451613 w 2945193"/>
                <a:gd name="connsiteY1459" fmla="*/ 1567306 h 2259621"/>
                <a:gd name="connsiteX1460" fmla="*/ 2472790 w 2945193"/>
                <a:gd name="connsiteY1460" fmla="*/ 1557532 h 2259621"/>
                <a:gd name="connsiteX1461" fmla="*/ 2472790 w 2945193"/>
                <a:gd name="connsiteY1461" fmla="*/ 1555903 h 2259621"/>
                <a:gd name="connsiteX1462" fmla="*/ 2482564 w 2945193"/>
                <a:gd name="connsiteY1462" fmla="*/ 1555088 h 2259621"/>
                <a:gd name="connsiteX1463" fmla="*/ 2482564 w 2945193"/>
                <a:gd name="connsiteY1463" fmla="*/ 1556717 h 2259621"/>
                <a:gd name="connsiteX1464" fmla="*/ 2486636 w 2945193"/>
                <a:gd name="connsiteY1464" fmla="*/ 1555088 h 2259621"/>
                <a:gd name="connsiteX1465" fmla="*/ 2506998 w 2945193"/>
                <a:gd name="connsiteY1465" fmla="*/ 1553459 h 2259621"/>
                <a:gd name="connsiteX1466" fmla="*/ 2510256 w 2945193"/>
                <a:gd name="connsiteY1466" fmla="*/ 1552645 h 2259621"/>
                <a:gd name="connsiteX1467" fmla="*/ 2517586 w 2945193"/>
                <a:gd name="connsiteY1467" fmla="*/ 1551830 h 2259621"/>
                <a:gd name="connsiteX1468" fmla="*/ 2533876 w 2945193"/>
                <a:gd name="connsiteY1468" fmla="*/ 1549387 h 2259621"/>
                <a:gd name="connsiteX1469" fmla="*/ 2546094 w 2945193"/>
                <a:gd name="connsiteY1469" fmla="*/ 1546943 h 2259621"/>
                <a:gd name="connsiteX1470" fmla="*/ 2567271 w 2945193"/>
                <a:gd name="connsiteY1470" fmla="*/ 1545314 h 2259621"/>
                <a:gd name="connsiteX1471" fmla="*/ 2568899 w 2945193"/>
                <a:gd name="connsiteY1471" fmla="*/ 1545314 h 2259621"/>
                <a:gd name="connsiteX1472" fmla="*/ 2616954 w 2945193"/>
                <a:gd name="connsiteY1472" fmla="*/ 1536355 h 2259621"/>
                <a:gd name="connsiteX1473" fmla="*/ 2625913 w 2945193"/>
                <a:gd name="connsiteY1473" fmla="*/ 1536355 h 2259621"/>
                <a:gd name="connsiteX1474" fmla="*/ 2632430 w 2945193"/>
                <a:gd name="connsiteY1474" fmla="*/ 1535540 h 2259621"/>
                <a:gd name="connsiteX1475" fmla="*/ 2633244 w 2945193"/>
                <a:gd name="connsiteY1475" fmla="*/ 1536355 h 2259621"/>
                <a:gd name="connsiteX1476" fmla="*/ 2637316 w 2945193"/>
                <a:gd name="connsiteY1476" fmla="*/ 1539613 h 2259621"/>
                <a:gd name="connsiteX1477" fmla="*/ 2638131 w 2945193"/>
                <a:gd name="connsiteY1477" fmla="*/ 1541242 h 2259621"/>
                <a:gd name="connsiteX1478" fmla="*/ 2655235 w 2945193"/>
                <a:gd name="connsiteY1478" fmla="*/ 1543685 h 2259621"/>
                <a:gd name="connsiteX1479" fmla="*/ 2651977 w 2945193"/>
                <a:gd name="connsiteY1479" fmla="*/ 1537984 h 2259621"/>
                <a:gd name="connsiteX1480" fmla="*/ 2667453 w 2945193"/>
                <a:gd name="connsiteY1480" fmla="*/ 1530653 h 2259621"/>
                <a:gd name="connsiteX1481" fmla="*/ 2658493 w 2945193"/>
                <a:gd name="connsiteY1481" fmla="*/ 1532283 h 2259621"/>
                <a:gd name="connsiteX1482" fmla="*/ 2655235 w 2945193"/>
                <a:gd name="connsiteY1482" fmla="*/ 1532283 h 2259621"/>
                <a:gd name="connsiteX1483" fmla="*/ 2659308 w 2945193"/>
                <a:gd name="connsiteY1483" fmla="*/ 1530653 h 2259621"/>
                <a:gd name="connsiteX1484" fmla="*/ 2662565 w 2945193"/>
                <a:gd name="connsiteY1484" fmla="*/ 1530653 h 2259621"/>
                <a:gd name="connsiteX1485" fmla="*/ 2673154 w 2945193"/>
                <a:gd name="connsiteY1485" fmla="*/ 1521694 h 2259621"/>
                <a:gd name="connsiteX1486" fmla="*/ 2673969 w 2945193"/>
                <a:gd name="connsiteY1486" fmla="*/ 1523323 h 2259621"/>
                <a:gd name="connsiteX1487" fmla="*/ 2690258 w 2945193"/>
                <a:gd name="connsiteY1487" fmla="*/ 1526581 h 2259621"/>
                <a:gd name="connsiteX1488" fmla="*/ 2693516 w 2945193"/>
                <a:gd name="connsiteY1488" fmla="*/ 1524952 h 2259621"/>
                <a:gd name="connsiteX1489" fmla="*/ 2711435 w 2945193"/>
                <a:gd name="connsiteY1489" fmla="*/ 1515993 h 2259621"/>
                <a:gd name="connsiteX1490" fmla="*/ 2724467 w 2945193"/>
                <a:gd name="connsiteY1490" fmla="*/ 1510291 h 2259621"/>
                <a:gd name="connsiteX1491" fmla="*/ 2752159 w 2945193"/>
                <a:gd name="connsiteY1491" fmla="*/ 1498074 h 2259621"/>
                <a:gd name="connsiteX1492" fmla="*/ 2795328 w 2945193"/>
                <a:gd name="connsiteY1492" fmla="*/ 1476897 h 2259621"/>
                <a:gd name="connsiteX1493" fmla="*/ 2805916 w 2945193"/>
                <a:gd name="connsiteY1493" fmla="*/ 1472010 h 2259621"/>
                <a:gd name="connsiteX1494" fmla="*/ 2803473 w 2945193"/>
                <a:gd name="connsiteY1494" fmla="*/ 1478526 h 2259621"/>
                <a:gd name="connsiteX1495" fmla="*/ 2807545 w 2945193"/>
                <a:gd name="connsiteY1495" fmla="*/ 1479341 h 2259621"/>
                <a:gd name="connsiteX1496" fmla="*/ 2810803 w 2945193"/>
                <a:gd name="connsiteY1496" fmla="*/ 1478526 h 2259621"/>
                <a:gd name="connsiteX1497" fmla="*/ 2808359 w 2945193"/>
                <a:gd name="connsiteY1497" fmla="*/ 1484228 h 2259621"/>
                <a:gd name="connsiteX1498" fmla="*/ 2812432 w 2945193"/>
                <a:gd name="connsiteY1498" fmla="*/ 1485042 h 2259621"/>
                <a:gd name="connsiteX1499" fmla="*/ 2822206 w 2945193"/>
                <a:gd name="connsiteY1499" fmla="*/ 1485042 h 2259621"/>
                <a:gd name="connsiteX1500" fmla="*/ 2825463 w 2945193"/>
                <a:gd name="connsiteY1500" fmla="*/ 1479341 h 2259621"/>
                <a:gd name="connsiteX1501" fmla="*/ 2832794 w 2945193"/>
                <a:gd name="connsiteY1501" fmla="*/ 1473639 h 2259621"/>
                <a:gd name="connsiteX1502" fmla="*/ 2829536 w 2945193"/>
                <a:gd name="connsiteY1502" fmla="*/ 1462236 h 2259621"/>
                <a:gd name="connsiteX1503" fmla="*/ 2823835 w 2945193"/>
                <a:gd name="connsiteY1503" fmla="*/ 1457349 h 2259621"/>
                <a:gd name="connsiteX1504" fmla="*/ 2830351 w 2945193"/>
                <a:gd name="connsiteY1504" fmla="*/ 1448390 h 2259621"/>
                <a:gd name="connsiteX1505" fmla="*/ 2832794 w 2945193"/>
                <a:gd name="connsiteY1505" fmla="*/ 1435358 h 2259621"/>
                <a:gd name="connsiteX1506" fmla="*/ 2829536 w 2945193"/>
                <a:gd name="connsiteY1506" fmla="*/ 1437802 h 2259621"/>
                <a:gd name="connsiteX1507" fmla="*/ 2828721 w 2945193"/>
                <a:gd name="connsiteY1507" fmla="*/ 1436173 h 2259621"/>
                <a:gd name="connsiteX1508" fmla="*/ 2828721 w 2945193"/>
                <a:gd name="connsiteY1508" fmla="*/ 1434544 h 2259621"/>
                <a:gd name="connsiteX1509" fmla="*/ 2829536 w 2945193"/>
                <a:gd name="connsiteY1509" fmla="*/ 1432915 h 2259621"/>
                <a:gd name="connsiteX1510" fmla="*/ 2830351 w 2945193"/>
                <a:gd name="connsiteY1510" fmla="*/ 1429657 h 2259621"/>
                <a:gd name="connsiteX1511" fmla="*/ 2831165 w 2945193"/>
                <a:gd name="connsiteY1511" fmla="*/ 1429657 h 2259621"/>
                <a:gd name="connsiteX1512" fmla="*/ 2831165 w 2945193"/>
                <a:gd name="connsiteY1512" fmla="*/ 1428842 h 2259621"/>
                <a:gd name="connsiteX1513" fmla="*/ 2830351 w 2945193"/>
                <a:gd name="connsiteY1513" fmla="*/ 1428842 h 2259621"/>
                <a:gd name="connsiteX1514" fmla="*/ 2830351 w 2945193"/>
                <a:gd name="connsiteY1514" fmla="*/ 1426399 h 2259621"/>
                <a:gd name="connsiteX1515" fmla="*/ 2824649 w 2945193"/>
                <a:gd name="connsiteY1515" fmla="*/ 1423955 h 2259621"/>
                <a:gd name="connsiteX1516" fmla="*/ 2824649 w 2945193"/>
                <a:gd name="connsiteY1516" fmla="*/ 1421512 h 2259621"/>
                <a:gd name="connsiteX1517" fmla="*/ 2821391 w 2945193"/>
                <a:gd name="connsiteY1517" fmla="*/ 1419069 h 2259621"/>
                <a:gd name="connsiteX1518" fmla="*/ 2816504 w 2945193"/>
                <a:gd name="connsiteY1518" fmla="*/ 1413367 h 2259621"/>
                <a:gd name="connsiteX1519" fmla="*/ 2815690 w 2945193"/>
                <a:gd name="connsiteY1519" fmla="*/ 1413367 h 2259621"/>
                <a:gd name="connsiteX1520" fmla="*/ 2810803 w 2945193"/>
                <a:gd name="connsiteY1520" fmla="*/ 1408480 h 2259621"/>
                <a:gd name="connsiteX1521" fmla="*/ 2805101 w 2945193"/>
                <a:gd name="connsiteY1521" fmla="*/ 1407666 h 2259621"/>
                <a:gd name="connsiteX1522" fmla="*/ 2796956 w 2945193"/>
                <a:gd name="connsiteY1522" fmla="*/ 1405222 h 2259621"/>
                <a:gd name="connsiteX1523" fmla="*/ 2792884 w 2945193"/>
                <a:gd name="connsiteY1523" fmla="*/ 1400335 h 2259621"/>
                <a:gd name="connsiteX1524" fmla="*/ 2791255 w 2945193"/>
                <a:gd name="connsiteY1524" fmla="*/ 1400335 h 2259621"/>
                <a:gd name="connsiteX1525" fmla="*/ 2787183 w 2945193"/>
                <a:gd name="connsiteY1525" fmla="*/ 1395448 h 2259621"/>
                <a:gd name="connsiteX1526" fmla="*/ 2776594 w 2945193"/>
                <a:gd name="connsiteY1526" fmla="*/ 1397077 h 2259621"/>
                <a:gd name="connsiteX1527" fmla="*/ 2764377 w 2945193"/>
                <a:gd name="connsiteY1527" fmla="*/ 1399521 h 2259621"/>
                <a:gd name="connsiteX1528" fmla="*/ 2757047 w 2945193"/>
                <a:gd name="connsiteY1528" fmla="*/ 1398706 h 2259621"/>
                <a:gd name="connsiteX1529" fmla="*/ 2748902 w 2945193"/>
                <a:gd name="connsiteY1529" fmla="*/ 1396263 h 2259621"/>
                <a:gd name="connsiteX1530" fmla="*/ 2743200 w 2945193"/>
                <a:gd name="connsiteY1530" fmla="*/ 1387303 h 2259621"/>
                <a:gd name="connsiteX1531" fmla="*/ 2735055 w 2945193"/>
                <a:gd name="connsiteY1531" fmla="*/ 1375901 h 2259621"/>
                <a:gd name="connsiteX1532" fmla="*/ 2735055 w 2945193"/>
                <a:gd name="connsiteY1532" fmla="*/ 1367756 h 2259621"/>
                <a:gd name="connsiteX1533" fmla="*/ 2735055 w 2945193"/>
                <a:gd name="connsiteY1533" fmla="*/ 1363683 h 2259621"/>
                <a:gd name="connsiteX1534" fmla="*/ 2735870 w 2945193"/>
                <a:gd name="connsiteY1534" fmla="*/ 1363683 h 2259621"/>
                <a:gd name="connsiteX1535" fmla="*/ 2752974 w 2945193"/>
                <a:gd name="connsiteY1535" fmla="*/ 1364498 h 2259621"/>
                <a:gd name="connsiteX1536" fmla="*/ 2774151 w 2945193"/>
                <a:gd name="connsiteY1536" fmla="*/ 1365312 h 2259621"/>
                <a:gd name="connsiteX1537" fmla="*/ 2772522 w 2945193"/>
                <a:gd name="connsiteY1537" fmla="*/ 1361240 h 2259621"/>
                <a:gd name="connsiteX1538" fmla="*/ 2773336 w 2945193"/>
                <a:gd name="connsiteY1538" fmla="*/ 1361240 h 2259621"/>
                <a:gd name="connsiteX1539" fmla="*/ 2791255 w 2945193"/>
                <a:gd name="connsiteY1539" fmla="*/ 1366127 h 2259621"/>
                <a:gd name="connsiteX1540" fmla="*/ 2800214 w 2945193"/>
                <a:gd name="connsiteY1540" fmla="*/ 1354724 h 2259621"/>
                <a:gd name="connsiteX1541" fmla="*/ 2797771 w 2945193"/>
                <a:gd name="connsiteY1541" fmla="*/ 1336805 h 2259621"/>
                <a:gd name="connsiteX1542" fmla="*/ 2831980 w 2945193"/>
                <a:gd name="connsiteY1542" fmla="*/ 1327031 h 2259621"/>
                <a:gd name="connsiteX1543" fmla="*/ 2812432 w 2945193"/>
                <a:gd name="connsiteY1543" fmla="*/ 1327846 h 2259621"/>
                <a:gd name="connsiteX1544" fmla="*/ 2813246 w 2945193"/>
                <a:gd name="connsiteY1544" fmla="*/ 1326217 h 2259621"/>
                <a:gd name="connsiteX1545" fmla="*/ 2826278 w 2945193"/>
                <a:gd name="connsiteY1545" fmla="*/ 1322144 h 2259621"/>
                <a:gd name="connsiteX1546" fmla="*/ 2815690 w 2945193"/>
                <a:gd name="connsiteY1546" fmla="*/ 1322144 h 2259621"/>
                <a:gd name="connsiteX1547" fmla="*/ 2816504 w 2945193"/>
                <a:gd name="connsiteY1547" fmla="*/ 1320515 h 2259621"/>
                <a:gd name="connsiteX1548" fmla="*/ 2812432 w 2945193"/>
                <a:gd name="connsiteY1548" fmla="*/ 1311556 h 2259621"/>
                <a:gd name="connsiteX1549" fmla="*/ 2817318 w 2945193"/>
                <a:gd name="connsiteY1549" fmla="*/ 1301782 h 2259621"/>
                <a:gd name="connsiteX1550" fmla="*/ 2815690 w 2945193"/>
                <a:gd name="connsiteY1550" fmla="*/ 1296081 h 2259621"/>
                <a:gd name="connsiteX1551" fmla="*/ 2816504 w 2945193"/>
                <a:gd name="connsiteY1551" fmla="*/ 1287121 h 2259621"/>
                <a:gd name="connsiteX1552" fmla="*/ 2819762 w 2945193"/>
                <a:gd name="connsiteY1552" fmla="*/ 1284678 h 2259621"/>
                <a:gd name="connsiteX1553" fmla="*/ 2817318 w 2945193"/>
                <a:gd name="connsiteY1553" fmla="*/ 1274904 h 2259621"/>
                <a:gd name="connsiteX1554" fmla="*/ 2824649 w 2945193"/>
                <a:gd name="connsiteY1554" fmla="*/ 1274089 h 2259621"/>
                <a:gd name="connsiteX1555" fmla="*/ 2846640 w 2945193"/>
                <a:gd name="connsiteY1555" fmla="*/ 1268388 h 2259621"/>
                <a:gd name="connsiteX1556" fmla="*/ 2864559 w 2945193"/>
                <a:gd name="connsiteY1556" fmla="*/ 1265944 h 2259621"/>
                <a:gd name="connsiteX1557" fmla="*/ 2880849 w 2945193"/>
                <a:gd name="connsiteY1557" fmla="*/ 1267574 h 2259621"/>
                <a:gd name="connsiteX1558" fmla="*/ 2916686 w 2945193"/>
                <a:gd name="connsiteY1558" fmla="*/ 1264316 h 2259621"/>
                <a:gd name="connsiteX1559" fmla="*/ 2921573 w 2945193"/>
                <a:gd name="connsiteY1559" fmla="*/ 1261872 h 2259621"/>
                <a:gd name="connsiteX1560" fmla="*/ 2908541 w 2945193"/>
                <a:gd name="connsiteY1560" fmla="*/ 1259429 h 2259621"/>
                <a:gd name="connsiteX1561" fmla="*/ 2895510 w 2945193"/>
                <a:gd name="connsiteY1561" fmla="*/ 1258614 h 2259621"/>
                <a:gd name="connsiteX1562" fmla="*/ 2928904 w 2945193"/>
                <a:gd name="connsiteY1562" fmla="*/ 1256985 h 2259621"/>
                <a:gd name="connsiteX1563" fmla="*/ 2941121 w 2945193"/>
                <a:gd name="connsiteY1563" fmla="*/ 1248840 h 2259621"/>
                <a:gd name="connsiteX1564" fmla="*/ 2939492 w 2945193"/>
                <a:gd name="connsiteY1564" fmla="*/ 1244768 h 2259621"/>
                <a:gd name="connsiteX1565" fmla="*/ 2934605 w 2945193"/>
                <a:gd name="connsiteY1565" fmla="*/ 1242324 h 2259621"/>
                <a:gd name="connsiteX1566" fmla="*/ 2934605 w 2945193"/>
                <a:gd name="connsiteY1566" fmla="*/ 1242324 h 2259621"/>
                <a:gd name="connsiteX1567" fmla="*/ 2902840 w 2945193"/>
                <a:gd name="connsiteY1567" fmla="*/ 1239066 h 2259621"/>
                <a:gd name="connsiteX1568" fmla="*/ 2872704 w 2945193"/>
                <a:gd name="connsiteY1568" fmla="*/ 1240695 h 2259621"/>
                <a:gd name="connsiteX1569" fmla="*/ 2868632 w 2945193"/>
                <a:gd name="connsiteY1569" fmla="*/ 1240695 h 2259621"/>
                <a:gd name="connsiteX1570" fmla="*/ 2810803 w 2945193"/>
                <a:gd name="connsiteY1570" fmla="*/ 1243953 h 2259621"/>
                <a:gd name="connsiteX1571" fmla="*/ 2803473 w 2945193"/>
                <a:gd name="connsiteY1571" fmla="*/ 1244768 h 2259621"/>
                <a:gd name="connsiteX1572" fmla="*/ 2777409 w 2945193"/>
                <a:gd name="connsiteY1572" fmla="*/ 1247211 h 2259621"/>
                <a:gd name="connsiteX1573" fmla="*/ 2774965 w 2945193"/>
                <a:gd name="connsiteY1573" fmla="*/ 1243953 h 2259621"/>
                <a:gd name="connsiteX1574" fmla="*/ 2769264 w 2945193"/>
                <a:gd name="connsiteY1574" fmla="*/ 1236623 h 2259621"/>
                <a:gd name="connsiteX1575" fmla="*/ 2766821 w 2945193"/>
                <a:gd name="connsiteY1575" fmla="*/ 1234179 h 2259621"/>
                <a:gd name="connsiteX1576" fmla="*/ 2766821 w 2945193"/>
                <a:gd name="connsiteY1576" fmla="*/ 1234179 h 2259621"/>
                <a:gd name="connsiteX1577" fmla="*/ 2766821 w 2945193"/>
                <a:gd name="connsiteY1577" fmla="*/ 1234179 h 2259621"/>
                <a:gd name="connsiteX1578" fmla="*/ 2766821 w 2945193"/>
                <a:gd name="connsiteY1578" fmla="*/ 1234179 h 2259621"/>
                <a:gd name="connsiteX1579" fmla="*/ 2797771 w 2945193"/>
                <a:gd name="connsiteY1579" fmla="*/ 1228478 h 2259621"/>
                <a:gd name="connsiteX1580" fmla="*/ 2820577 w 2945193"/>
                <a:gd name="connsiteY1580" fmla="*/ 1226035 h 2259621"/>
                <a:gd name="connsiteX1581" fmla="*/ 2835237 w 2945193"/>
                <a:gd name="connsiteY1581" fmla="*/ 1221148 h 2259621"/>
                <a:gd name="connsiteX1582" fmla="*/ 2838495 w 2945193"/>
                <a:gd name="connsiteY1582" fmla="*/ 1220333 h 2259621"/>
                <a:gd name="connsiteX1583" fmla="*/ 2847455 w 2945193"/>
                <a:gd name="connsiteY1583" fmla="*/ 1219519 h 2259621"/>
                <a:gd name="connsiteX1584" fmla="*/ 2875962 w 2945193"/>
                <a:gd name="connsiteY1584" fmla="*/ 1221148 h 2259621"/>
                <a:gd name="connsiteX1585" fmla="*/ 2892252 w 2945193"/>
                <a:gd name="connsiteY1585" fmla="*/ 1224405 h 2259621"/>
                <a:gd name="connsiteX1586" fmla="*/ 2898767 w 2945193"/>
                <a:gd name="connsiteY1586" fmla="*/ 1221962 h 2259621"/>
                <a:gd name="connsiteX1587" fmla="*/ 2906098 w 2945193"/>
                <a:gd name="connsiteY1587" fmla="*/ 1214632 h 2259621"/>
                <a:gd name="connsiteX1588" fmla="*/ 2896324 w 2945193"/>
                <a:gd name="connsiteY1588" fmla="*/ 1211374 h 2259621"/>
                <a:gd name="connsiteX1589" fmla="*/ 2888179 w 2945193"/>
                <a:gd name="connsiteY1589" fmla="*/ 1205672 h 2259621"/>
                <a:gd name="connsiteX1590" fmla="*/ 2890622 w 2945193"/>
                <a:gd name="connsiteY1590" fmla="*/ 1194270 h 2259621"/>
                <a:gd name="connsiteX1591" fmla="*/ 2872704 w 2945193"/>
                <a:gd name="connsiteY1591" fmla="*/ 1182052 h 2259621"/>
                <a:gd name="connsiteX1592" fmla="*/ 2861301 w 2945193"/>
                <a:gd name="connsiteY1592" fmla="*/ 1177165 h 2259621"/>
                <a:gd name="connsiteX1593" fmla="*/ 2857229 w 2945193"/>
                <a:gd name="connsiteY1593" fmla="*/ 1175536 h 2259621"/>
                <a:gd name="connsiteX1594" fmla="*/ 2860487 w 2945193"/>
                <a:gd name="connsiteY1594" fmla="*/ 1173093 h 2259621"/>
                <a:gd name="connsiteX1595" fmla="*/ 2880034 w 2945193"/>
                <a:gd name="connsiteY1595" fmla="*/ 1171464 h 2259621"/>
                <a:gd name="connsiteX1596" fmla="*/ 2890622 w 2945193"/>
                <a:gd name="connsiteY1596" fmla="*/ 1170649 h 2259621"/>
                <a:gd name="connsiteX1597" fmla="*/ 2893881 w 2945193"/>
                <a:gd name="connsiteY1597" fmla="*/ 1164948 h 2259621"/>
                <a:gd name="connsiteX1598" fmla="*/ 2878405 w 2945193"/>
                <a:gd name="connsiteY1598" fmla="*/ 1166577 h 2259621"/>
                <a:gd name="connsiteX1599" fmla="*/ 2805916 w 2945193"/>
                <a:gd name="connsiteY1599" fmla="*/ 1169020 h 2259621"/>
                <a:gd name="connsiteX1600" fmla="*/ 2792884 w 2945193"/>
                <a:gd name="connsiteY1600" fmla="*/ 1172278 h 2259621"/>
                <a:gd name="connsiteX1601" fmla="*/ 2791255 w 2945193"/>
                <a:gd name="connsiteY1601" fmla="*/ 1171464 h 2259621"/>
                <a:gd name="connsiteX1602" fmla="*/ 2787183 w 2945193"/>
                <a:gd name="connsiteY1602" fmla="*/ 1171464 h 2259621"/>
                <a:gd name="connsiteX1603" fmla="*/ 2787183 w 2945193"/>
                <a:gd name="connsiteY1603" fmla="*/ 1176351 h 2259621"/>
                <a:gd name="connsiteX1604" fmla="*/ 2788811 w 2945193"/>
                <a:gd name="connsiteY1604" fmla="*/ 1183681 h 2259621"/>
                <a:gd name="connsiteX1605" fmla="*/ 2749716 w 2945193"/>
                <a:gd name="connsiteY1605" fmla="*/ 1186125 h 2259621"/>
                <a:gd name="connsiteX1606" fmla="*/ 2745643 w 2945193"/>
                <a:gd name="connsiteY1606" fmla="*/ 1191826 h 2259621"/>
                <a:gd name="connsiteX1607" fmla="*/ 2739942 w 2945193"/>
                <a:gd name="connsiteY1607" fmla="*/ 1190197 h 2259621"/>
                <a:gd name="connsiteX1608" fmla="*/ 2734241 w 2945193"/>
                <a:gd name="connsiteY1608" fmla="*/ 1189383 h 2259621"/>
                <a:gd name="connsiteX1609" fmla="*/ 2730168 w 2945193"/>
                <a:gd name="connsiteY1609" fmla="*/ 1186939 h 2259621"/>
                <a:gd name="connsiteX1610" fmla="*/ 2713879 w 2945193"/>
                <a:gd name="connsiteY1610" fmla="*/ 1190197 h 2259621"/>
                <a:gd name="connsiteX1611" fmla="*/ 2717136 w 2945193"/>
                <a:gd name="connsiteY1611" fmla="*/ 1192640 h 2259621"/>
                <a:gd name="connsiteX1612" fmla="*/ 2708991 w 2945193"/>
                <a:gd name="connsiteY1612" fmla="*/ 1195084 h 2259621"/>
                <a:gd name="connsiteX1613" fmla="*/ 2698403 w 2945193"/>
                <a:gd name="connsiteY1613" fmla="*/ 1199971 h 2259621"/>
                <a:gd name="connsiteX1614" fmla="*/ 2691887 w 2945193"/>
                <a:gd name="connsiteY1614" fmla="*/ 1209745 h 2259621"/>
                <a:gd name="connsiteX1615" fmla="*/ 2683742 w 2945193"/>
                <a:gd name="connsiteY1615" fmla="*/ 1211374 h 2259621"/>
                <a:gd name="connsiteX1616" fmla="*/ 2683742 w 2945193"/>
                <a:gd name="connsiteY1616" fmla="*/ 1211374 h 2259621"/>
                <a:gd name="connsiteX1617" fmla="*/ 2691073 w 2945193"/>
                <a:gd name="connsiteY1617" fmla="*/ 1203229 h 2259621"/>
                <a:gd name="connsiteX1618" fmla="*/ 2692702 w 2945193"/>
                <a:gd name="connsiteY1618" fmla="*/ 1202414 h 2259621"/>
                <a:gd name="connsiteX1619" fmla="*/ 2694331 w 2945193"/>
                <a:gd name="connsiteY1619" fmla="*/ 1199971 h 2259621"/>
                <a:gd name="connsiteX1620" fmla="*/ 2695960 w 2945193"/>
                <a:gd name="connsiteY1620" fmla="*/ 1194270 h 2259621"/>
                <a:gd name="connsiteX1621" fmla="*/ 2697589 w 2945193"/>
                <a:gd name="connsiteY1621" fmla="*/ 1186939 h 2259621"/>
                <a:gd name="connsiteX1622" fmla="*/ 2698403 w 2945193"/>
                <a:gd name="connsiteY1622" fmla="*/ 1178794 h 2259621"/>
                <a:gd name="connsiteX1623" fmla="*/ 2698403 w 2945193"/>
                <a:gd name="connsiteY1623" fmla="*/ 1170649 h 2259621"/>
                <a:gd name="connsiteX1624" fmla="*/ 2695960 w 2945193"/>
                <a:gd name="connsiteY1624" fmla="*/ 1168206 h 2259621"/>
                <a:gd name="connsiteX1625" fmla="*/ 2691887 w 2945193"/>
                <a:gd name="connsiteY1625" fmla="*/ 1168206 h 2259621"/>
                <a:gd name="connsiteX1626" fmla="*/ 2690258 w 2945193"/>
                <a:gd name="connsiteY1626" fmla="*/ 1169020 h 2259621"/>
                <a:gd name="connsiteX1627" fmla="*/ 2683742 w 2945193"/>
                <a:gd name="connsiteY1627" fmla="*/ 1172278 h 2259621"/>
                <a:gd name="connsiteX1628" fmla="*/ 2679670 w 2945193"/>
                <a:gd name="connsiteY1628" fmla="*/ 1170649 h 2259621"/>
                <a:gd name="connsiteX1629" fmla="*/ 2680484 w 2945193"/>
                <a:gd name="connsiteY1629" fmla="*/ 1168206 h 2259621"/>
                <a:gd name="connsiteX1630" fmla="*/ 2682113 w 2945193"/>
                <a:gd name="connsiteY1630" fmla="*/ 1168206 h 2259621"/>
                <a:gd name="connsiteX1631" fmla="*/ 2683742 w 2945193"/>
                <a:gd name="connsiteY1631" fmla="*/ 1166577 h 2259621"/>
                <a:gd name="connsiteX1632" fmla="*/ 2682113 w 2945193"/>
                <a:gd name="connsiteY1632" fmla="*/ 1164133 h 2259621"/>
                <a:gd name="connsiteX1633" fmla="*/ 2680484 w 2945193"/>
                <a:gd name="connsiteY1633" fmla="*/ 1164133 h 2259621"/>
                <a:gd name="connsiteX1634" fmla="*/ 2678041 w 2945193"/>
                <a:gd name="connsiteY1634" fmla="*/ 1160875 h 2259621"/>
                <a:gd name="connsiteX1635" fmla="*/ 2679670 w 2945193"/>
                <a:gd name="connsiteY1635" fmla="*/ 1157617 h 2259621"/>
                <a:gd name="connsiteX1636" fmla="*/ 2682113 w 2945193"/>
                <a:gd name="connsiteY1636" fmla="*/ 1155988 h 2259621"/>
                <a:gd name="connsiteX1637" fmla="*/ 2684557 w 2945193"/>
                <a:gd name="connsiteY1637" fmla="*/ 1151916 h 2259621"/>
                <a:gd name="connsiteX1638" fmla="*/ 2684557 w 2945193"/>
                <a:gd name="connsiteY1638" fmla="*/ 1148658 h 2259621"/>
                <a:gd name="connsiteX1639" fmla="*/ 2685372 w 2945193"/>
                <a:gd name="connsiteY1639" fmla="*/ 1147844 h 2259621"/>
                <a:gd name="connsiteX1640" fmla="*/ 2687815 w 2945193"/>
                <a:gd name="connsiteY1640" fmla="*/ 1147844 h 2259621"/>
                <a:gd name="connsiteX1641" fmla="*/ 2689444 w 2945193"/>
                <a:gd name="connsiteY1641" fmla="*/ 1145400 h 2259621"/>
                <a:gd name="connsiteX1642" fmla="*/ 2691887 w 2945193"/>
                <a:gd name="connsiteY1642" fmla="*/ 1144586 h 2259621"/>
                <a:gd name="connsiteX1643" fmla="*/ 2692702 w 2945193"/>
                <a:gd name="connsiteY1643" fmla="*/ 1140513 h 2259621"/>
                <a:gd name="connsiteX1644" fmla="*/ 2695960 w 2945193"/>
                <a:gd name="connsiteY1644" fmla="*/ 1136441 h 2259621"/>
                <a:gd name="connsiteX1645" fmla="*/ 2700847 w 2945193"/>
                <a:gd name="connsiteY1645" fmla="*/ 1133997 h 2259621"/>
                <a:gd name="connsiteX1646" fmla="*/ 2702476 w 2945193"/>
                <a:gd name="connsiteY1646" fmla="*/ 1133183 h 2259621"/>
                <a:gd name="connsiteX1647" fmla="*/ 2703290 w 2945193"/>
                <a:gd name="connsiteY1647" fmla="*/ 1130739 h 2259621"/>
                <a:gd name="connsiteX1648" fmla="*/ 2705734 w 2945193"/>
                <a:gd name="connsiteY1648" fmla="*/ 1124223 h 2259621"/>
                <a:gd name="connsiteX1649" fmla="*/ 2712250 w 2945193"/>
                <a:gd name="connsiteY1649" fmla="*/ 1120151 h 2259621"/>
                <a:gd name="connsiteX1650" fmla="*/ 2713064 w 2945193"/>
                <a:gd name="connsiteY1650" fmla="*/ 1118522 h 2259621"/>
                <a:gd name="connsiteX1651" fmla="*/ 2716322 w 2945193"/>
                <a:gd name="connsiteY1651" fmla="*/ 1110377 h 2259621"/>
                <a:gd name="connsiteX1652" fmla="*/ 2722024 w 2945193"/>
                <a:gd name="connsiteY1652" fmla="*/ 1105490 h 2259621"/>
                <a:gd name="connsiteX1653" fmla="*/ 2723652 w 2945193"/>
                <a:gd name="connsiteY1653" fmla="*/ 1103861 h 2259621"/>
                <a:gd name="connsiteX1654" fmla="*/ 2726910 w 2945193"/>
                <a:gd name="connsiteY1654" fmla="*/ 1101418 h 2259621"/>
                <a:gd name="connsiteX1655" fmla="*/ 2726910 w 2945193"/>
                <a:gd name="connsiteY1655" fmla="*/ 1097345 h 2259621"/>
                <a:gd name="connsiteX1656" fmla="*/ 2727725 w 2945193"/>
                <a:gd name="connsiteY1656" fmla="*/ 1094087 h 2259621"/>
                <a:gd name="connsiteX1657" fmla="*/ 2730168 w 2945193"/>
                <a:gd name="connsiteY1657" fmla="*/ 1088386 h 2259621"/>
                <a:gd name="connsiteX1658" fmla="*/ 2732612 w 2945193"/>
                <a:gd name="connsiteY1658" fmla="*/ 1085128 h 2259621"/>
                <a:gd name="connsiteX1659" fmla="*/ 2734241 w 2945193"/>
                <a:gd name="connsiteY1659" fmla="*/ 1082684 h 2259621"/>
                <a:gd name="connsiteX1660" fmla="*/ 2735870 w 2945193"/>
                <a:gd name="connsiteY1660" fmla="*/ 1081870 h 2259621"/>
                <a:gd name="connsiteX1661" fmla="*/ 2741571 w 2945193"/>
                <a:gd name="connsiteY1661" fmla="*/ 1079426 h 2259621"/>
                <a:gd name="connsiteX1662" fmla="*/ 2745643 w 2945193"/>
                <a:gd name="connsiteY1662" fmla="*/ 1073725 h 2259621"/>
                <a:gd name="connsiteX1663" fmla="*/ 2752159 w 2945193"/>
                <a:gd name="connsiteY1663" fmla="*/ 1069652 h 2259621"/>
                <a:gd name="connsiteX1664" fmla="*/ 2757861 w 2945193"/>
                <a:gd name="connsiteY1664" fmla="*/ 1066395 h 2259621"/>
                <a:gd name="connsiteX1665" fmla="*/ 2758676 w 2945193"/>
                <a:gd name="connsiteY1665" fmla="*/ 1064766 h 2259621"/>
                <a:gd name="connsiteX1666" fmla="*/ 2760304 w 2945193"/>
                <a:gd name="connsiteY1666" fmla="*/ 1063951 h 2259621"/>
                <a:gd name="connsiteX1667" fmla="*/ 2766821 w 2945193"/>
                <a:gd name="connsiteY1667" fmla="*/ 1061508 h 2259621"/>
                <a:gd name="connsiteX1668" fmla="*/ 2766821 w 2945193"/>
                <a:gd name="connsiteY1668" fmla="*/ 1059879 h 2259621"/>
                <a:gd name="connsiteX1669" fmla="*/ 2767635 w 2945193"/>
                <a:gd name="connsiteY1669" fmla="*/ 1056621 h 2259621"/>
                <a:gd name="connsiteX1670" fmla="*/ 2769264 w 2945193"/>
                <a:gd name="connsiteY1670" fmla="*/ 1055806 h 2259621"/>
                <a:gd name="connsiteX1671" fmla="*/ 2774965 w 2945193"/>
                <a:gd name="connsiteY1671" fmla="*/ 1050105 h 2259621"/>
                <a:gd name="connsiteX1672" fmla="*/ 2784739 w 2945193"/>
                <a:gd name="connsiteY1672" fmla="*/ 1044403 h 2259621"/>
                <a:gd name="connsiteX1673" fmla="*/ 2787183 w 2945193"/>
                <a:gd name="connsiteY1673" fmla="*/ 1041960 h 2259621"/>
                <a:gd name="connsiteX1674" fmla="*/ 2788811 w 2945193"/>
                <a:gd name="connsiteY1674" fmla="*/ 1039517 h 2259621"/>
                <a:gd name="connsiteX1675" fmla="*/ 2799400 w 2945193"/>
                <a:gd name="connsiteY1675" fmla="*/ 1035444 h 2259621"/>
                <a:gd name="connsiteX1676" fmla="*/ 2807545 w 2945193"/>
                <a:gd name="connsiteY1676" fmla="*/ 1031372 h 2259621"/>
                <a:gd name="connsiteX1677" fmla="*/ 2812432 w 2945193"/>
                <a:gd name="connsiteY1677" fmla="*/ 1028928 h 2259621"/>
                <a:gd name="connsiteX1678" fmla="*/ 2817318 w 2945193"/>
                <a:gd name="connsiteY1678" fmla="*/ 1028114 h 2259621"/>
                <a:gd name="connsiteX1679" fmla="*/ 2818948 w 2945193"/>
                <a:gd name="connsiteY1679" fmla="*/ 1026485 h 2259621"/>
                <a:gd name="connsiteX1680" fmla="*/ 2819762 w 2945193"/>
                <a:gd name="connsiteY1680" fmla="*/ 1024856 h 2259621"/>
                <a:gd name="connsiteX1681" fmla="*/ 2827092 w 2945193"/>
                <a:gd name="connsiteY1681" fmla="*/ 1022412 h 2259621"/>
                <a:gd name="connsiteX1682" fmla="*/ 2835237 w 2945193"/>
                <a:gd name="connsiteY1682" fmla="*/ 1017525 h 2259621"/>
                <a:gd name="connsiteX1683" fmla="*/ 2838495 w 2945193"/>
                <a:gd name="connsiteY1683" fmla="*/ 1013453 h 2259621"/>
                <a:gd name="connsiteX1684" fmla="*/ 2845011 w 2945193"/>
                <a:gd name="connsiteY1684" fmla="*/ 1009380 h 2259621"/>
                <a:gd name="connsiteX1685" fmla="*/ 2846640 w 2945193"/>
                <a:gd name="connsiteY1685" fmla="*/ 1008566 h 2259621"/>
                <a:gd name="connsiteX1686" fmla="*/ 2852342 w 2945193"/>
                <a:gd name="connsiteY1686" fmla="*/ 1006937 h 2259621"/>
                <a:gd name="connsiteX1687" fmla="*/ 2854785 w 2945193"/>
                <a:gd name="connsiteY1687" fmla="*/ 1005308 h 2259621"/>
                <a:gd name="connsiteX1688" fmla="*/ 2855600 w 2945193"/>
                <a:gd name="connsiteY1688" fmla="*/ 1002864 h 2259621"/>
                <a:gd name="connsiteX1689" fmla="*/ 2858858 w 2945193"/>
                <a:gd name="connsiteY1689" fmla="*/ 995534 h 2259621"/>
                <a:gd name="connsiteX1690" fmla="*/ 2870260 w 2945193"/>
                <a:gd name="connsiteY1690" fmla="*/ 989833 h 2259621"/>
                <a:gd name="connsiteX1691" fmla="*/ 2880034 w 2945193"/>
                <a:gd name="connsiteY1691" fmla="*/ 986575 h 2259621"/>
                <a:gd name="connsiteX1692" fmla="*/ 2887365 w 2945193"/>
                <a:gd name="connsiteY1692" fmla="*/ 982502 h 2259621"/>
                <a:gd name="connsiteX1693" fmla="*/ 2892252 w 2945193"/>
                <a:gd name="connsiteY1693" fmla="*/ 977615 h 2259621"/>
                <a:gd name="connsiteX1694" fmla="*/ 2895510 w 2945193"/>
                <a:gd name="connsiteY1694" fmla="*/ 973543 h 2259621"/>
                <a:gd name="connsiteX1695" fmla="*/ 2896324 w 2945193"/>
                <a:gd name="connsiteY1695" fmla="*/ 969470 h 2259621"/>
                <a:gd name="connsiteX1696" fmla="*/ 2900396 w 2945193"/>
                <a:gd name="connsiteY1696" fmla="*/ 963769 h 2259621"/>
                <a:gd name="connsiteX1697" fmla="*/ 2906098 w 2945193"/>
                <a:gd name="connsiteY1697" fmla="*/ 958068 h 2259621"/>
                <a:gd name="connsiteX1698" fmla="*/ 2907727 w 2945193"/>
                <a:gd name="connsiteY1698" fmla="*/ 956439 h 2259621"/>
                <a:gd name="connsiteX1699" fmla="*/ 2910985 w 2945193"/>
                <a:gd name="connsiteY1699" fmla="*/ 949923 h 2259621"/>
                <a:gd name="connsiteX1700" fmla="*/ 2914243 w 2945193"/>
                <a:gd name="connsiteY1700" fmla="*/ 945850 h 2259621"/>
                <a:gd name="connsiteX1701" fmla="*/ 2915872 w 2945193"/>
                <a:gd name="connsiteY1701" fmla="*/ 942592 h 2259621"/>
                <a:gd name="connsiteX1702" fmla="*/ 2915057 w 2945193"/>
                <a:gd name="connsiteY1702" fmla="*/ 934447 h 2259621"/>
                <a:gd name="connsiteX1703" fmla="*/ 2915872 w 2945193"/>
                <a:gd name="connsiteY1703" fmla="*/ 931189 h 2259621"/>
                <a:gd name="connsiteX1704" fmla="*/ 2924017 w 2945193"/>
                <a:gd name="connsiteY1704" fmla="*/ 926303 h 2259621"/>
                <a:gd name="connsiteX1705" fmla="*/ 2924831 w 2945193"/>
                <a:gd name="connsiteY1705" fmla="*/ 923859 h 2259621"/>
                <a:gd name="connsiteX1706" fmla="*/ 2926460 w 2945193"/>
                <a:gd name="connsiteY1706" fmla="*/ 919786 h 2259621"/>
                <a:gd name="connsiteX1707" fmla="*/ 2934605 w 2945193"/>
                <a:gd name="connsiteY1707" fmla="*/ 915714 h 2259621"/>
                <a:gd name="connsiteX1708" fmla="*/ 2943564 w 2945193"/>
                <a:gd name="connsiteY1708" fmla="*/ 910827 h 2259621"/>
                <a:gd name="connsiteX1709" fmla="*/ 2944379 w 2945193"/>
                <a:gd name="connsiteY1709" fmla="*/ 910013 h 2259621"/>
                <a:gd name="connsiteX1710" fmla="*/ 2945193 w 2945193"/>
                <a:gd name="connsiteY1710" fmla="*/ 908384 h 2259621"/>
                <a:gd name="connsiteX1711" fmla="*/ 2941936 w 2945193"/>
                <a:gd name="connsiteY1711" fmla="*/ 902682 h 2259621"/>
                <a:gd name="connsiteX1712" fmla="*/ 2755417 w 2945193"/>
                <a:gd name="connsiteY1712" fmla="*/ 501139 h 2259621"/>
                <a:gd name="connsiteX1713" fmla="*/ 2751345 w 2945193"/>
                <a:gd name="connsiteY1713" fmla="*/ 510913 h 2259621"/>
                <a:gd name="connsiteX1714" fmla="*/ 2750531 w 2945193"/>
                <a:gd name="connsiteY1714" fmla="*/ 506026 h 2259621"/>
                <a:gd name="connsiteX1715" fmla="*/ 2755417 w 2945193"/>
                <a:gd name="connsiteY1715" fmla="*/ 501139 h 2259621"/>
                <a:gd name="connsiteX1716" fmla="*/ 2708991 w 2945193"/>
                <a:gd name="connsiteY1716" fmla="*/ 444939 h 2259621"/>
                <a:gd name="connsiteX1717" fmla="*/ 2713879 w 2945193"/>
                <a:gd name="connsiteY1717" fmla="*/ 448197 h 2259621"/>
                <a:gd name="connsiteX1718" fmla="*/ 2692702 w 2945193"/>
                <a:gd name="connsiteY1718" fmla="*/ 465302 h 2259621"/>
                <a:gd name="connsiteX1719" fmla="*/ 2708991 w 2945193"/>
                <a:gd name="connsiteY1719" fmla="*/ 444939 h 2259621"/>
                <a:gd name="connsiteX1720" fmla="*/ 2493152 w 2945193"/>
                <a:gd name="connsiteY1720" fmla="*/ 469374 h 2259621"/>
                <a:gd name="connsiteX1721" fmla="*/ 2496410 w 2945193"/>
                <a:gd name="connsiteY1721" fmla="*/ 461229 h 2259621"/>
                <a:gd name="connsiteX1722" fmla="*/ 2498039 w 2945193"/>
                <a:gd name="connsiteY1722" fmla="*/ 455528 h 2259621"/>
                <a:gd name="connsiteX1723" fmla="*/ 2506184 w 2945193"/>
                <a:gd name="connsiteY1723" fmla="*/ 453899 h 2259621"/>
                <a:gd name="connsiteX1724" fmla="*/ 2506998 w 2945193"/>
                <a:gd name="connsiteY1724" fmla="*/ 453899 h 2259621"/>
                <a:gd name="connsiteX1725" fmla="*/ 2506184 w 2945193"/>
                <a:gd name="connsiteY1725" fmla="*/ 455528 h 2259621"/>
                <a:gd name="connsiteX1726" fmla="*/ 2504555 w 2945193"/>
                <a:gd name="connsiteY1726" fmla="*/ 456342 h 2259621"/>
                <a:gd name="connsiteX1727" fmla="*/ 2505369 w 2945193"/>
                <a:gd name="connsiteY1727" fmla="*/ 458785 h 2259621"/>
                <a:gd name="connsiteX1728" fmla="*/ 2509442 w 2945193"/>
                <a:gd name="connsiteY1728" fmla="*/ 459600 h 2259621"/>
                <a:gd name="connsiteX1729" fmla="*/ 2511071 w 2945193"/>
                <a:gd name="connsiteY1729" fmla="*/ 459600 h 2259621"/>
                <a:gd name="connsiteX1730" fmla="*/ 2513514 w 2945193"/>
                <a:gd name="connsiteY1730" fmla="*/ 457157 h 2259621"/>
                <a:gd name="connsiteX1731" fmla="*/ 2513514 w 2945193"/>
                <a:gd name="connsiteY1731" fmla="*/ 457157 h 2259621"/>
                <a:gd name="connsiteX1732" fmla="*/ 2513514 w 2945193"/>
                <a:gd name="connsiteY1732" fmla="*/ 457157 h 2259621"/>
                <a:gd name="connsiteX1733" fmla="*/ 2513514 w 2945193"/>
                <a:gd name="connsiteY1733" fmla="*/ 455528 h 2259621"/>
                <a:gd name="connsiteX1734" fmla="*/ 2512700 w 2945193"/>
                <a:gd name="connsiteY1734" fmla="*/ 451455 h 2259621"/>
                <a:gd name="connsiteX1735" fmla="*/ 2516772 w 2945193"/>
                <a:gd name="connsiteY1735" fmla="*/ 450641 h 2259621"/>
                <a:gd name="connsiteX1736" fmla="*/ 2520030 w 2945193"/>
                <a:gd name="connsiteY1736" fmla="*/ 452270 h 2259621"/>
                <a:gd name="connsiteX1737" fmla="*/ 2525731 w 2945193"/>
                <a:gd name="connsiteY1737" fmla="*/ 451455 h 2259621"/>
                <a:gd name="connsiteX1738" fmla="*/ 2527360 w 2945193"/>
                <a:gd name="connsiteY1738" fmla="*/ 446568 h 2259621"/>
                <a:gd name="connsiteX1739" fmla="*/ 2523288 w 2945193"/>
                <a:gd name="connsiteY1739" fmla="*/ 443310 h 2259621"/>
                <a:gd name="connsiteX1740" fmla="*/ 2520845 w 2945193"/>
                <a:gd name="connsiteY1740" fmla="*/ 443310 h 2259621"/>
                <a:gd name="connsiteX1741" fmla="*/ 2521659 w 2945193"/>
                <a:gd name="connsiteY1741" fmla="*/ 441681 h 2259621"/>
                <a:gd name="connsiteX1742" fmla="*/ 2517586 w 2945193"/>
                <a:gd name="connsiteY1742" fmla="*/ 438423 h 2259621"/>
                <a:gd name="connsiteX1743" fmla="*/ 2514329 w 2945193"/>
                <a:gd name="connsiteY1743" fmla="*/ 439238 h 2259621"/>
                <a:gd name="connsiteX1744" fmla="*/ 2505369 w 2945193"/>
                <a:gd name="connsiteY1744" fmla="*/ 437609 h 2259621"/>
                <a:gd name="connsiteX1745" fmla="*/ 2503740 w 2945193"/>
                <a:gd name="connsiteY1745" fmla="*/ 440867 h 2259621"/>
                <a:gd name="connsiteX1746" fmla="*/ 2495595 w 2945193"/>
                <a:gd name="connsiteY1746" fmla="*/ 440052 h 2259621"/>
                <a:gd name="connsiteX1747" fmla="*/ 2502926 w 2945193"/>
                <a:gd name="connsiteY1747" fmla="*/ 432722 h 2259621"/>
                <a:gd name="connsiteX1748" fmla="*/ 2559940 w 2945193"/>
                <a:gd name="connsiteY1748" fmla="*/ 432722 h 2259621"/>
                <a:gd name="connsiteX1749" fmla="*/ 2560754 w 2945193"/>
                <a:gd name="connsiteY1749" fmla="*/ 431907 h 2259621"/>
                <a:gd name="connsiteX1750" fmla="*/ 2557497 w 2945193"/>
                <a:gd name="connsiteY1750" fmla="*/ 427835 h 2259621"/>
                <a:gd name="connsiteX1751" fmla="*/ 2569714 w 2945193"/>
                <a:gd name="connsiteY1751" fmla="*/ 428650 h 2259621"/>
                <a:gd name="connsiteX1752" fmla="*/ 2568899 w 2945193"/>
                <a:gd name="connsiteY1752" fmla="*/ 435165 h 2259621"/>
                <a:gd name="connsiteX1753" fmla="*/ 2568899 w 2945193"/>
                <a:gd name="connsiteY1753" fmla="*/ 435165 h 2259621"/>
                <a:gd name="connsiteX1754" fmla="*/ 2568085 w 2945193"/>
                <a:gd name="connsiteY1754" fmla="*/ 435980 h 2259621"/>
                <a:gd name="connsiteX1755" fmla="*/ 2568899 w 2945193"/>
                <a:gd name="connsiteY1755" fmla="*/ 435165 h 2259621"/>
                <a:gd name="connsiteX1756" fmla="*/ 2574601 w 2945193"/>
                <a:gd name="connsiteY1756" fmla="*/ 433536 h 2259621"/>
                <a:gd name="connsiteX1757" fmla="*/ 2574601 w 2945193"/>
                <a:gd name="connsiteY1757" fmla="*/ 433536 h 2259621"/>
                <a:gd name="connsiteX1758" fmla="*/ 2573786 w 2945193"/>
                <a:gd name="connsiteY1758" fmla="*/ 439238 h 2259621"/>
                <a:gd name="connsiteX1759" fmla="*/ 2573786 w 2945193"/>
                <a:gd name="connsiteY1759" fmla="*/ 439238 h 2259621"/>
                <a:gd name="connsiteX1760" fmla="*/ 2572972 w 2945193"/>
                <a:gd name="connsiteY1760" fmla="*/ 440052 h 2259621"/>
                <a:gd name="connsiteX1761" fmla="*/ 2573786 w 2945193"/>
                <a:gd name="connsiteY1761" fmla="*/ 439238 h 2259621"/>
                <a:gd name="connsiteX1762" fmla="*/ 2579488 w 2945193"/>
                <a:gd name="connsiteY1762" fmla="*/ 437609 h 2259621"/>
                <a:gd name="connsiteX1763" fmla="*/ 2606366 w 2945193"/>
                <a:gd name="connsiteY1763" fmla="*/ 438423 h 2259621"/>
                <a:gd name="connsiteX1764" fmla="*/ 2617769 w 2945193"/>
                <a:gd name="connsiteY1764" fmla="*/ 434351 h 2259621"/>
                <a:gd name="connsiteX1765" fmla="*/ 2621027 w 2945193"/>
                <a:gd name="connsiteY1765" fmla="*/ 437609 h 2259621"/>
                <a:gd name="connsiteX1766" fmla="*/ 2614511 w 2945193"/>
                <a:gd name="connsiteY1766" fmla="*/ 441681 h 2259621"/>
                <a:gd name="connsiteX1767" fmla="*/ 2594149 w 2945193"/>
                <a:gd name="connsiteY1767" fmla="*/ 447383 h 2259621"/>
                <a:gd name="connsiteX1768" fmla="*/ 2594149 w 2945193"/>
                <a:gd name="connsiteY1768" fmla="*/ 446568 h 2259621"/>
                <a:gd name="connsiteX1769" fmla="*/ 2591705 w 2945193"/>
                <a:gd name="connsiteY1769" fmla="*/ 446568 h 2259621"/>
                <a:gd name="connsiteX1770" fmla="*/ 2591705 w 2945193"/>
                <a:gd name="connsiteY1770" fmla="*/ 448197 h 2259621"/>
                <a:gd name="connsiteX1771" fmla="*/ 2577044 w 2945193"/>
                <a:gd name="connsiteY1771" fmla="*/ 450641 h 2259621"/>
                <a:gd name="connsiteX1772" fmla="*/ 2577044 w 2945193"/>
                <a:gd name="connsiteY1772" fmla="*/ 450641 h 2259621"/>
                <a:gd name="connsiteX1773" fmla="*/ 2567271 w 2945193"/>
                <a:gd name="connsiteY1773" fmla="*/ 448197 h 2259621"/>
                <a:gd name="connsiteX1774" fmla="*/ 2564012 w 2945193"/>
                <a:gd name="connsiteY1774" fmla="*/ 440052 h 2259621"/>
                <a:gd name="connsiteX1775" fmla="*/ 2553424 w 2945193"/>
                <a:gd name="connsiteY1775" fmla="*/ 439238 h 2259621"/>
                <a:gd name="connsiteX1776" fmla="*/ 2547723 w 2945193"/>
                <a:gd name="connsiteY1776" fmla="*/ 446568 h 2259621"/>
                <a:gd name="connsiteX1777" fmla="*/ 2543650 w 2945193"/>
                <a:gd name="connsiteY1777" fmla="*/ 453084 h 2259621"/>
                <a:gd name="connsiteX1778" fmla="*/ 2546094 w 2945193"/>
                <a:gd name="connsiteY1778" fmla="*/ 462858 h 2259621"/>
                <a:gd name="connsiteX1779" fmla="*/ 2528990 w 2945193"/>
                <a:gd name="connsiteY1779" fmla="*/ 470189 h 2259621"/>
                <a:gd name="connsiteX1780" fmla="*/ 2528990 w 2945193"/>
                <a:gd name="connsiteY1780" fmla="*/ 470189 h 2259621"/>
                <a:gd name="connsiteX1781" fmla="*/ 2524917 w 2945193"/>
                <a:gd name="connsiteY1781" fmla="*/ 471003 h 2259621"/>
                <a:gd name="connsiteX1782" fmla="*/ 2524917 w 2945193"/>
                <a:gd name="connsiteY1782" fmla="*/ 471003 h 2259621"/>
                <a:gd name="connsiteX1783" fmla="*/ 2499668 w 2945193"/>
                <a:gd name="connsiteY1783" fmla="*/ 471817 h 2259621"/>
                <a:gd name="connsiteX1784" fmla="*/ 2493152 w 2945193"/>
                <a:gd name="connsiteY1784" fmla="*/ 469374 h 2259621"/>
                <a:gd name="connsiteX1785" fmla="*/ 2493152 w 2945193"/>
                <a:gd name="connsiteY1785" fmla="*/ 469374 h 2259621"/>
                <a:gd name="connsiteX1786" fmla="*/ 2577044 w 2945193"/>
                <a:gd name="connsiteY1786" fmla="*/ 450641 h 2259621"/>
                <a:gd name="connsiteX1787" fmla="*/ 2575416 w 2945193"/>
                <a:gd name="connsiteY1787" fmla="*/ 452270 h 2259621"/>
                <a:gd name="connsiteX1788" fmla="*/ 2572972 w 2945193"/>
                <a:gd name="connsiteY1788" fmla="*/ 453084 h 2259621"/>
                <a:gd name="connsiteX1789" fmla="*/ 2571343 w 2945193"/>
                <a:gd name="connsiteY1789" fmla="*/ 452270 h 2259621"/>
                <a:gd name="connsiteX1790" fmla="*/ 2577044 w 2945193"/>
                <a:gd name="connsiteY1790" fmla="*/ 450641 h 2259621"/>
                <a:gd name="connsiteX1791" fmla="*/ 2477677 w 2945193"/>
                <a:gd name="connsiteY1791" fmla="*/ 514985 h 2259621"/>
                <a:gd name="connsiteX1792" fmla="*/ 2480120 w 2945193"/>
                <a:gd name="connsiteY1792" fmla="*/ 510098 h 2259621"/>
                <a:gd name="connsiteX1793" fmla="*/ 2481749 w 2945193"/>
                <a:gd name="connsiteY1793" fmla="*/ 505211 h 2259621"/>
                <a:gd name="connsiteX1794" fmla="*/ 2484193 w 2945193"/>
                <a:gd name="connsiteY1794" fmla="*/ 501139 h 2259621"/>
                <a:gd name="connsiteX1795" fmla="*/ 2494781 w 2945193"/>
                <a:gd name="connsiteY1795" fmla="*/ 497067 h 2259621"/>
                <a:gd name="connsiteX1796" fmla="*/ 2516772 w 2945193"/>
                <a:gd name="connsiteY1796" fmla="*/ 490551 h 2259621"/>
                <a:gd name="connsiteX1797" fmla="*/ 2570528 w 2945193"/>
                <a:gd name="connsiteY1797" fmla="*/ 480777 h 2259621"/>
                <a:gd name="connsiteX1798" fmla="*/ 2586818 w 2945193"/>
                <a:gd name="connsiteY1798" fmla="*/ 477519 h 2259621"/>
                <a:gd name="connsiteX1799" fmla="*/ 2585189 w 2945193"/>
                <a:gd name="connsiteY1799" fmla="*/ 479962 h 2259621"/>
                <a:gd name="connsiteX1800" fmla="*/ 2591705 w 2945193"/>
                <a:gd name="connsiteY1800" fmla="*/ 475890 h 2259621"/>
                <a:gd name="connsiteX1801" fmla="*/ 2605551 w 2945193"/>
                <a:gd name="connsiteY1801" fmla="*/ 470189 h 2259621"/>
                <a:gd name="connsiteX1802" fmla="*/ 2614511 w 2945193"/>
                <a:gd name="connsiteY1802" fmla="*/ 467745 h 2259621"/>
                <a:gd name="connsiteX1803" fmla="*/ 2625099 w 2945193"/>
                <a:gd name="connsiteY1803" fmla="*/ 464487 h 2259621"/>
                <a:gd name="connsiteX1804" fmla="*/ 2663380 w 2945193"/>
                <a:gd name="connsiteY1804" fmla="*/ 448197 h 2259621"/>
                <a:gd name="connsiteX1805" fmla="*/ 2678041 w 2945193"/>
                <a:gd name="connsiteY1805" fmla="*/ 443310 h 2259621"/>
                <a:gd name="connsiteX1806" fmla="*/ 2682113 w 2945193"/>
                <a:gd name="connsiteY1806" fmla="*/ 443310 h 2259621"/>
                <a:gd name="connsiteX1807" fmla="*/ 2676412 w 2945193"/>
                <a:gd name="connsiteY1807" fmla="*/ 451455 h 2259621"/>
                <a:gd name="connsiteX1808" fmla="*/ 2654421 w 2945193"/>
                <a:gd name="connsiteY1808" fmla="*/ 462044 h 2259621"/>
                <a:gd name="connsiteX1809" fmla="*/ 2648720 w 2945193"/>
                <a:gd name="connsiteY1809" fmla="*/ 464487 h 2259621"/>
                <a:gd name="connsiteX1810" fmla="*/ 2643018 w 2945193"/>
                <a:gd name="connsiteY1810" fmla="*/ 466116 h 2259621"/>
                <a:gd name="connsiteX1811" fmla="*/ 2643018 w 2945193"/>
                <a:gd name="connsiteY1811" fmla="*/ 466930 h 2259621"/>
                <a:gd name="connsiteX1812" fmla="*/ 2628357 w 2945193"/>
                <a:gd name="connsiteY1812" fmla="*/ 473446 h 2259621"/>
                <a:gd name="connsiteX1813" fmla="*/ 2621027 w 2945193"/>
                <a:gd name="connsiteY1813" fmla="*/ 473446 h 2259621"/>
                <a:gd name="connsiteX1814" fmla="*/ 2618583 w 2945193"/>
                <a:gd name="connsiteY1814" fmla="*/ 476704 h 2259621"/>
                <a:gd name="connsiteX1815" fmla="*/ 2610438 w 2945193"/>
                <a:gd name="connsiteY1815" fmla="*/ 478333 h 2259621"/>
                <a:gd name="connsiteX1816" fmla="*/ 2581931 w 2945193"/>
                <a:gd name="connsiteY1816" fmla="*/ 495437 h 2259621"/>
                <a:gd name="connsiteX1817" fmla="*/ 2582746 w 2945193"/>
                <a:gd name="connsiteY1817" fmla="*/ 495437 h 2259621"/>
                <a:gd name="connsiteX1818" fmla="*/ 2591705 w 2945193"/>
                <a:gd name="connsiteY1818" fmla="*/ 493809 h 2259621"/>
                <a:gd name="connsiteX1819" fmla="*/ 2586818 w 2945193"/>
                <a:gd name="connsiteY1819" fmla="*/ 500324 h 2259621"/>
                <a:gd name="connsiteX1820" fmla="*/ 2587633 w 2945193"/>
                <a:gd name="connsiteY1820" fmla="*/ 500324 h 2259621"/>
                <a:gd name="connsiteX1821" fmla="*/ 2596592 w 2945193"/>
                <a:gd name="connsiteY1821" fmla="*/ 498696 h 2259621"/>
                <a:gd name="connsiteX1822" fmla="*/ 2595778 w 2945193"/>
                <a:gd name="connsiteY1822" fmla="*/ 498696 h 2259621"/>
                <a:gd name="connsiteX1823" fmla="*/ 2564827 w 2945193"/>
                <a:gd name="connsiteY1823" fmla="*/ 500324 h 2259621"/>
                <a:gd name="connsiteX1824" fmla="*/ 2564827 w 2945193"/>
                <a:gd name="connsiteY1824" fmla="*/ 507655 h 2259621"/>
                <a:gd name="connsiteX1825" fmla="*/ 2542021 w 2945193"/>
                <a:gd name="connsiteY1825" fmla="*/ 512542 h 2259621"/>
                <a:gd name="connsiteX1826" fmla="*/ 2524917 w 2945193"/>
                <a:gd name="connsiteY1826" fmla="*/ 521501 h 2259621"/>
                <a:gd name="connsiteX1827" fmla="*/ 2519216 w 2945193"/>
                <a:gd name="connsiteY1827" fmla="*/ 521501 h 2259621"/>
                <a:gd name="connsiteX1828" fmla="*/ 2514329 w 2945193"/>
                <a:gd name="connsiteY1828" fmla="*/ 521501 h 2259621"/>
                <a:gd name="connsiteX1829" fmla="*/ 2513514 w 2945193"/>
                <a:gd name="connsiteY1829" fmla="*/ 521501 h 2259621"/>
                <a:gd name="connsiteX1830" fmla="*/ 2511071 w 2945193"/>
                <a:gd name="connsiteY1830" fmla="*/ 521501 h 2259621"/>
                <a:gd name="connsiteX1831" fmla="*/ 2497224 w 2945193"/>
                <a:gd name="connsiteY1831" fmla="*/ 522316 h 2259621"/>
                <a:gd name="connsiteX1832" fmla="*/ 2473604 w 2945193"/>
                <a:gd name="connsiteY1832" fmla="*/ 521501 h 2259621"/>
                <a:gd name="connsiteX1833" fmla="*/ 2477677 w 2945193"/>
                <a:gd name="connsiteY1833" fmla="*/ 514985 h 2259621"/>
                <a:gd name="connsiteX1834" fmla="*/ 2140478 w 2945193"/>
                <a:gd name="connsiteY1834" fmla="*/ 23848 h 2259621"/>
                <a:gd name="connsiteX1835" fmla="*/ 2142107 w 2945193"/>
                <a:gd name="connsiteY1835" fmla="*/ 23848 h 2259621"/>
                <a:gd name="connsiteX1836" fmla="*/ 2142107 w 2945193"/>
                <a:gd name="connsiteY1836" fmla="*/ 24663 h 2259621"/>
                <a:gd name="connsiteX1837" fmla="*/ 2139664 w 2945193"/>
                <a:gd name="connsiteY1837" fmla="*/ 25477 h 2259621"/>
                <a:gd name="connsiteX1838" fmla="*/ 2138849 w 2945193"/>
                <a:gd name="connsiteY1838" fmla="*/ 24663 h 2259621"/>
                <a:gd name="connsiteX1839" fmla="*/ 2140478 w 2945193"/>
                <a:gd name="connsiteY1839" fmla="*/ 23848 h 2259621"/>
                <a:gd name="connsiteX1840" fmla="*/ 386882 w 2945193"/>
                <a:gd name="connsiteY1840" fmla="*/ 826935 h 2259621"/>
                <a:gd name="connsiteX1841" fmla="*/ 381995 w 2945193"/>
                <a:gd name="connsiteY1841" fmla="*/ 835080 h 2259621"/>
                <a:gd name="connsiteX1842" fmla="*/ 377108 w 2945193"/>
                <a:gd name="connsiteY1842" fmla="*/ 830193 h 2259621"/>
                <a:gd name="connsiteX1843" fmla="*/ 386882 w 2945193"/>
                <a:gd name="connsiteY1843" fmla="*/ 826935 h 2259621"/>
                <a:gd name="connsiteX1844" fmla="*/ 386882 w 2945193"/>
                <a:gd name="connsiteY1844" fmla="*/ 826935 h 2259621"/>
                <a:gd name="connsiteX1845" fmla="*/ 1102004 w 2945193"/>
                <a:gd name="connsiteY1845" fmla="*/ 2165141 h 2259621"/>
                <a:gd name="connsiteX1846" fmla="*/ 1093045 w 2945193"/>
                <a:gd name="connsiteY1846" fmla="*/ 2175729 h 2259621"/>
                <a:gd name="connsiteX1847" fmla="*/ 1102004 w 2945193"/>
                <a:gd name="connsiteY1847" fmla="*/ 2165141 h 2259621"/>
                <a:gd name="connsiteX1848" fmla="*/ 1109335 w 2945193"/>
                <a:gd name="connsiteY1848" fmla="*/ 2152923 h 2259621"/>
                <a:gd name="connsiteX1849" fmla="*/ 1110963 w 2945193"/>
                <a:gd name="connsiteY1849" fmla="*/ 2155367 h 2259621"/>
                <a:gd name="connsiteX1850" fmla="*/ 1102818 w 2945193"/>
                <a:gd name="connsiteY1850" fmla="*/ 2162697 h 2259621"/>
                <a:gd name="connsiteX1851" fmla="*/ 1109335 w 2945193"/>
                <a:gd name="connsiteY1851" fmla="*/ 2152923 h 2259621"/>
                <a:gd name="connsiteX1852" fmla="*/ 1103633 w 2945193"/>
                <a:gd name="connsiteY1852" fmla="*/ 2142335 h 2259621"/>
                <a:gd name="connsiteX1853" fmla="*/ 1104447 w 2945193"/>
                <a:gd name="connsiteY1853" fmla="*/ 2137448 h 2259621"/>
                <a:gd name="connsiteX1854" fmla="*/ 1104447 w 2945193"/>
                <a:gd name="connsiteY1854" fmla="*/ 2136634 h 2259621"/>
                <a:gd name="connsiteX1855" fmla="*/ 1105262 w 2945193"/>
                <a:gd name="connsiteY1855" fmla="*/ 2139892 h 2259621"/>
                <a:gd name="connsiteX1856" fmla="*/ 1103633 w 2945193"/>
                <a:gd name="connsiteY1856" fmla="*/ 2142335 h 2259621"/>
                <a:gd name="connsiteX1857" fmla="*/ 721637 w 2945193"/>
                <a:gd name="connsiteY1857" fmla="*/ 642046 h 2259621"/>
                <a:gd name="connsiteX1858" fmla="*/ 737927 w 2945193"/>
                <a:gd name="connsiteY1858" fmla="*/ 633086 h 2259621"/>
                <a:gd name="connsiteX1859" fmla="*/ 736298 w 2945193"/>
                <a:gd name="connsiteY1859" fmla="*/ 635530 h 2259621"/>
                <a:gd name="connsiteX1860" fmla="*/ 721637 w 2945193"/>
                <a:gd name="connsiteY1860" fmla="*/ 642046 h 2259621"/>
                <a:gd name="connsiteX1861" fmla="*/ 808788 w 2945193"/>
                <a:gd name="connsiteY1861" fmla="*/ 598878 h 2259621"/>
                <a:gd name="connsiteX1862" fmla="*/ 780281 w 2945193"/>
                <a:gd name="connsiteY1862" fmla="*/ 617611 h 2259621"/>
                <a:gd name="connsiteX1863" fmla="*/ 773765 w 2945193"/>
                <a:gd name="connsiteY1863" fmla="*/ 620869 h 2259621"/>
                <a:gd name="connsiteX1864" fmla="*/ 759104 w 2945193"/>
                <a:gd name="connsiteY1864" fmla="*/ 628199 h 2259621"/>
                <a:gd name="connsiteX1865" fmla="*/ 758289 w 2945193"/>
                <a:gd name="connsiteY1865" fmla="*/ 628199 h 2259621"/>
                <a:gd name="connsiteX1866" fmla="*/ 751774 w 2945193"/>
                <a:gd name="connsiteY1866" fmla="*/ 627385 h 2259621"/>
                <a:gd name="connsiteX1867" fmla="*/ 787611 w 2945193"/>
                <a:gd name="connsiteY1867" fmla="*/ 610281 h 2259621"/>
                <a:gd name="connsiteX1868" fmla="*/ 808788 w 2945193"/>
                <a:gd name="connsiteY1868" fmla="*/ 598878 h 2259621"/>
                <a:gd name="connsiteX1869" fmla="*/ 747701 w 2945193"/>
                <a:gd name="connsiteY1869" fmla="*/ 598063 h 2259621"/>
                <a:gd name="connsiteX1870" fmla="*/ 749330 w 2945193"/>
                <a:gd name="connsiteY1870" fmla="*/ 598063 h 2259621"/>
                <a:gd name="connsiteX1871" fmla="*/ 755031 w 2945193"/>
                <a:gd name="connsiteY1871" fmla="*/ 599692 h 2259621"/>
                <a:gd name="connsiteX1872" fmla="*/ 737113 w 2945193"/>
                <a:gd name="connsiteY1872" fmla="*/ 609466 h 2259621"/>
                <a:gd name="connsiteX1873" fmla="*/ 701275 w 2945193"/>
                <a:gd name="connsiteY1873" fmla="*/ 627385 h 2259621"/>
                <a:gd name="connsiteX1874" fmla="*/ 708606 w 2945193"/>
                <a:gd name="connsiteY1874" fmla="*/ 620055 h 2259621"/>
                <a:gd name="connsiteX1875" fmla="*/ 711864 w 2945193"/>
                <a:gd name="connsiteY1875" fmla="*/ 617611 h 2259621"/>
                <a:gd name="connsiteX1876" fmla="*/ 724081 w 2945193"/>
                <a:gd name="connsiteY1876" fmla="*/ 612724 h 2259621"/>
                <a:gd name="connsiteX1877" fmla="*/ 742814 w 2945193"/>
                <a:gd name="connsiteY1877" fmla="*/ 602136 h 2259621"/>
                <a:gd name="connsiteX1878" fmla="*/ 747701 w 2945193"/>
                <a:gd name="connsiteY1878" fmla="*/ 598063 h 2259621"/>
                <a:gd name="connsiteX1879" fmla="*/ 720823 w 2945193"/>
                <a:gd name="connsiteY1879" fmla="*/ 585846 h 2259621"/>
                <a:gd name="connsiteX1880" fmla="*/ 724896 w 2945193"/>
                <a:gd name="connsiteY1880" fmla="*/ 585031 h 2259621"/>
                <a:gd name="connsiteX1881" fmla="*/ 725710 w 2945193"/>
                <a:gd name="connsiteY1881" fmla="*/ 585846 h 2259621"/>
                <a:gd name="connsiteX1882" fmla="*/ 725710 w 2945193"/>
                <a:gd name="connsiteY1882" fmla="*/ 585846 h 2259621"/>
                <a:gd name="connsiteX1883" fmla="*/ 724081 w 2945193"/>
                <a:gd name="connsiteY1883" fmla="*/ 590733 h 2259621"/>
                <a:gd name="connsiteX1884" fmla="*/ 706162 w 2945193"/>
                <a:gd name="connsiteY1884" fmla="*/ 590733 h 2259621"/>
                <a:gd name="connsiteX1885" fmla="*/ 720823 w 2945193"/>
                <a:gd name="connsiteY1885" fmla="*/ 585846 h 2259621"/>
                <a:gd name="connsiteX1886" fmla="*/ 703719 w 2945193"/>
                <a:gd name="connsiteY1886" fmla="*/ 592362 h 2259621"/>
                <a:gd name="connsiteX1887" fmla="*/ 702090 w 2945193"/>
                <a:gd name="connsiteY1887" fmla="*/ 595620 h 2259621"/>
                <a:gd name="connsiteX1888" fmla="*/ 695574 w 2945193"/>
                <a:gd name="connsiteY1888" fmla="*/ 596434 h 2259621"/>
                <a:gd name="connsiteX1889" fmla="*/ 703719 w 2945193"/>
                <a:gd name="connsiteY1889" fmla="*/ 592362 h 2259621"/>
                <a:gd name="connsiteX1890" fmla="*/ 668696 w 2945193"/>
                <a:gd name="connsiteY1890" fmla="*/ 615168 h 2259621"/>
                <a:gd name="connsiteX1891" fmla="*/ 671954 w 2945193"/>
                <a:gd name="connsiteY1891" fmla="*/ 615168 h 2259621"/>
                <a:gd name="connsiteX1892" fmla="*/ 658107 w 2945193"/>
                <a:gd name="connsiteY1892" fmla="*/ 620869 h 2259621"/>
                <a:gd name="connsiteX1893" fmla="*/ 668696 w 2945193"/>
                <a:gd name="connsiteY1893" fmla="*/ 615168 h 2259621"/>
                <a:gd name="connsiteX1894" fmla="*/ 623899 w 2945193"/>
                <a:gd name="connsiteY1894" fmla="*/ 636344 h 2259621"/>
                <a:gd name="connsiteX1895" fmla="*/ 623084 w 2945193"/>
                <a:gd name="connsiteY1895" fmla="*/ 637159 h 2259621"/>
                <a:gd name="connsiteX1896" fmla="*/ 616568 w 2945193"/>
                <a:gd name="connsiteY1896" fmla="*/ 640417 h 2259621"/>
                <a:gd name="connsiteX1897" fmla="*/ 614125 w 2945193"/>
                <a:gd name="connsiteY1897" fmla="*/ 639602 h 2259621"/>
                <a:gd name="connsiteX1898" fmla="*/ 623899 w 2945193"/>
                <a:gd name="connsiteY1898" fmla="*/ 636344 h 2259621"/>
                <a:gd name="connsiteX1899" fmla="*/ 456928 w 2945193"/>
                <a:gd name="connsiteY1899" fmla="*/ 1620247 h 2259621"/>
                <a:gd name="connsiteX1900" fmla="*/ 452042 w 2945193"/>
                <a:gd name="connsiteY1900" fmla="*/ 1626763 h 2259621"/>
                <a:gd name="connsiteX1901" fmla="*/ 452042 w 2945193"/>
                <a:gd name="connsiteY1901" fmla="*/ 1623505 h 2259621"/>
                <a:gd name="connsiteX1902" fmla="*/ 456928 w 2945193"/>
                <a:gd name="connsiteY1902" fmla="*/ 1620247 h 2259621"/>
                <a:gd name="connsiteX1903" fmla="*/ 424349 w 2945193"/>
                <a:gd name="connsiteY1903" fmla="*/ 1598256 h 2259621"/>
                <a:gd name="connsiteX1904" fmla="*/ 428421 w 2945193"/>
                <a:gd name="connsiteY1904" fmla="*/ 1590926 h 2259621"/>
                <a:gd name="connsiteX1905" fmla="*/ 430050 w 2945193"/>
                <a:gd name="connsiteY1905" fmla="*/ 1591740 h 2259621"/>
                <a:gd name="connsiteX1906" fmla="*/ 424349 w 2945193"/>
                <a:gd name="connsiteY1906" fmla="*/ 1598256 h 2259621"/>
                <a:gd name="connsiteX1907" fmla="*/ 418647 w 2945193"/>
                <a:gd name="connsiteY1907" fmla="*/ 1689479 h 2259621"/>
                <a:gd name="connsiteX1908" fmla="*/ 414575 w 2945193"/>
                <a:gd name="connsiteY1908" fmla="*/ 1691923 h 2259621"/>
                <a:gd name="connsiteX1909" fmla="*/ 411317 w 2945193"/>
                <a:gd name="connsiteY1909" fmla="*/ 1691108 h 2259621"/>
                <a:gd name="connsiteX1910" fmla="*/ 410503 w 2945193"/>
                <a:gd name="connsiteY1910" fmla="*/ 1687850 h 2259621"/>
                <a:gd name="connsiteX1911" fmla="*/ 419462 w 2945193"/>
                <a:gd name="connsiteY1911" fmla="*/ 1682963 h 2259621"/>
                <a:gd name="connsiteX1912" fmla="*/ 427607 w 2945193"/>
                <a:gd name="connsiteY1912" fmla="*/ 1679705 h 2259621"/>
                <a:gd name="connsiteX1913" fmla="*/ 429236 w 2945193"/>
                <a:gd name="connsiteY1913" fmla="*/ 1681334 h 2259621"/>
                <a:gd name="connsiteX1914" fmla="*/ 418647 w 2945193"/>
                <a:gd name="connsiteY1914" fmla="*/ 1689479 h 2259621"/>
                <a:gd name="connsiteX1915" fmla="*/ 435752 w 2945193"/>
                <a:gd name="connsiteY1915" fmla="*/ 1641424 h 2259621"/>
                <a:gd name="connsiteX1916" fmla="*/ 412946 w 2945193"/>
                <a:gd name="connsiteY1916" fmla="*/ 1656085 h 2259621"/>
                <a:gd name="connsiteX1917" fmla="*/ 413760 w 2945193"/>
                <a:gd name="connsiteY1917" fmla="*/ 1654456 h 2259621"/>
                <a:gd name="connsiteX1918" fmla="*/ 433308 w 2945193"/>
                <a:gd name="connsiteY1918" fmla="*/ 1638166 h 2259621"/>
                <a:gd name="connsiteX1919" fmla="*/ 433308 w 2945193"/>
                <a:gd name="connsiteY1919" fmla="*/ 1638166 h 2259621"/>
                <a:gd name="connsiteX1920" fmla="*/ 433308 w 2945193"/>
                <a:gd name="connsiteY1920" fmla="*/ 1637352 h 2259621"/>
                <a:gd name="connsiteX1921" fmla="*/ 444711 w 2945193"/>
                <a:gd name="connsiteY1921" fmla="*/ 1628392 h 2259621"/>
                <a:gd name="connsiteX1922" fmla="*/ 451227 w 2945193"/>
                <a:gd name="connsiteY1922" fmla="*/ 1626763 h 2259621"/>
                <a:gd name="connsiteX1923" fmla="*/ 451227 w 2945193"/>
                <a:gd name="connsiteY1923" fmla="*/ 1626763 h 2259621"/>
                <a:gd name="connsiteX1924" fmla="*/ 457743 w 2945193"/>
                <a:gd name="connsiteY1924" fmla="*/ 1622691 h 2259621"/>
                <a:gd name="connsiteX1925" fmla="*/ 457743 w 2945193"/>
                <a:gd name="connsiteY1925" fmla="*/ 1622691 h 2259621"/>
                <a:gd name="connsiteX1926" fmla="*/ 435752 w 2945193"/>
                <a:gd name="connsiteY1926" fmla="*/ 1641424 h 2259621"/>
                <a:gd name="connsiteX1927" fmla="*/ 445526 w 2945193"/>
                <a:gd name="connsiteY1927" fmla="*/ 1669117 h 2259621"/>
                <a:gd name="connsiteX1928" fmla="*/ 444711 w 2945193"/>
                <a:gd name="connsiteY1928" fmla="*/ 1665859 h 2259621"/>
                <a:gd name="connsiteX1929" fmla="*/ 449598 w 2945193"/>
                <a:gd name="connsiteY1929" fmla="*/ 1661786 h 2259621"/>
                <a:gd name="connsiteX1930" fmla="*/ 452042 w 2945193"/>
                <a:gd name="connsiteY1930" fmla="*/ 1663415 h 2259621"/>
                <a:gd name="connsiteX1931" fmla="*/ 445526 w 2945193"/>
                <a:gd name="connsiteY1931" fmla="*/ 1669117 h 2259621"/>
                <a:gd name="connsiteX1932" fmla="*/ 452856 w 2945193"/>
                <a:gd name="connsiteY1932" fmla="*/ 1683778 h 2259621"/>
                <a:gd name="connsiteX1933" fmla="*/ 459372 w 2945193"/>
                <a:gd name="connsiteY1933" fmla="*/ 1680519 h 2259621"/>
                <a:gd name="connsiteX1934" fmla="*/ 460186 w 2945193"/>
                <a:gd name="connsiteY1934" fmla="*/ 1684592 h 2259621"/>
                <a:gd name="connsiteX1935" fmla="*/ 452856 w 2945193"/>
                <a:gd name="connsiteY1935" fmla="*/ 1683778 h 2259621"/>
                <a:gd name="connsiteX1936" fmla="*/ 536748 w 2945193"/>
                <a:gd name="connsiteY1936" fmla="*/ 1739977 h 2259621"/>
                <a:gd name="connsiteX1937" fmla="*/ 531861 w 2945193"/>
                <a:gd name="connsiteY1937" fmla="*/ 1741606 h 2259621"/>
                <a:gd name="connsiteX1938" fmla="*/ 531047 w 2945193"/>
                <a:gd name="connsiteY1938" fmla="*/ 1740792 h 2259621"/>
                <a:gd name="connsiteX1939" fmla="*/ 531047 w 2945193"/>
                <a:gd name="connsiteY1939" fmla="*/ 1738348 h 2259621"/>
                <a:gd name="connsiteX1940" fmla="*/ 526160 w 2945193"/>
                <a:gd name="connsiteY1940" fmla="*/ 1726945 h 2259621"/>
                <a:gd name="connsiteX1941" fmla="*/ 528604 w 2945193"/>
                <a:gd name="connsiteY1941" fmla="*/ 1722058 h 2259621"/>
                <a:gd name="connsiteX1942" fmla="*/ 528604 w 2945193"/>
                <a:gd name="connsiteY1942" fmla="*/ 1722058 h 2259621"/>
                <a:gd name="connsiteX1943" fmla="*/ 530232 w 2945193"/>
                <a:gd name="connsiteY1943" fmla="*/ 1723688 h 2259621"/>
                <a:gd name="connsiteX1944" fmla="*/ 536748 w 2945193"/>
                <a:gd name="connsiteY1944" fmla="*/ 1724502 h 2259621"/>
                <a:gd name="connsiteX1945" fmla="*/ 534305 w 2945193"/>
                <a:gd name="connsiteY1945" fmla="*/ 1719615 h 2259621"/>
                <a:gd name="connsiteX1946" fmla="*/ 544079 w 2945193"/>
                <a:gd name="connsiteY1946" fmla="*/ 1713099 h 2259621"/>
                <a:gd name="connsiteX1947" fmla="*/ 544893 w 2945193"/>
                <a:gd name="connsiteY1947" fmla="*/ 1713099 h 2259621"/>
                <a:gd name="connsiteX1948" fmla="*/ 540006 w 2945193"/>
                <a:gd name="connsiteY1948" fmla="*/ 1725316 h 2259621"/>
                <a:gd name="connsiteX1949" fmla="*/ 536748 w 2945193"/>
                <a:gd name="connsiteY1949" fmla="*/ 1739977 h 2259621"/>
                <a:gd name="connsiteX1950" fmla="*/ 550595 w 2945193"/>
                <a:gd name="connsiteY1950" fmla="*/ 1722058 h 2259621"/>
                <a:gd name="connsiteX1951" fmla="*/ 543264 w 2945193"/>
                <a:gd name="connsiteY1951" fmla="*/ 1731832 h 2259621"/>
                <a:gd name="connsiteX1952" fmla="*/ 542450 w 2945193"/>
                <a:gd name="connsiteY1952" fmla="*/ 1732647 h 2259621"/>
                <a:gd name="connsiteX1953" fmla="*/ 550595 w 2945193"/>
                <a:gd name="connsiteY1953" fmla="*/ 1722058 h 2259621"/>
                <a:gd name="connsiteX1954" fmla="*/ 550595 w 2945193"/>
                <a:gd name="connsiteY1954" fmla="*/ 1722058 h 2259621"/>
                <a:gd name="connsiteX1955" fmla="*/ 727339 w 2945193"/>
                <a:gd name="connsiteY1955" fmla="*/ 1985953 h 2259621"/>
                <a:gd name="connsiteX1956" fmla="*/ 725710 w 2945193"/>
                <a:gd name="connsiteY1956" fmla="*/ 1982695 h 2259621"/>
                <a:gd name="connsiteX1957" fmla="*/ 724896 w 2945193"/>
                <a:gd name="connsiteY1957" fmla="*/ 1982695 h 2259621"/>
                <a:gd name="connsiteX1958" fmla="*/ 725710 w 2945193"/>
                <a:gd name="connsiteY1958" fmla="*/ 1982695 h 2259621"/>
                <a:gd name="connsiteX1959" fmla="*/ 725710 w 2945193"/>
                <a:gd name="connsiteY1959" fmla="*/ 1982695 h 2259621"/>
                <a:gd name="connsiteX1960" fmla="*/ 725710 w 2945193"/>
                <a:gd name="connsiteY1960" fmla="*/ 1982695 h 2259621"/>
                <a:gd name="connsiteX1961" fmla="*/ 725710 w 2945193"/>
                <a:gd name="connsiteY1961" fmla="*/ 1982695 h 2259621"/>
                <a:gd name="connsiteX1962" fmla="*/ 725710 w 2945193"/>
                <a:gd name="connsiteY1962" fmla="*/ 1982695 h 2259621"/>
                <a:gd name="connsiteX1963" fmla="*/ 725710 w 2945193"/>
                <a:gd name="connsiteY1963" fmla="*/ 1982695 h 2259621"/>
                <a:gd name="connsiteX1964" fmla="*/ 729782 w 2945193"/>
                <a:gd name="connsiteY1964" fmla="*/ 1981881 h 2259621"/>
                <a:gd name="connsiteX1965" fmla="*/ 733855 w 2945193"/>
                <a:gd name="connsiteY1965" fmla="*/ 1981066 h 2259621"/>
                <a:gd name="connsiteX1966" fmla="*/ 727339 w 2945193"/>
                <a:gd name="connsiteY1966" fmla="*/ 1985953 h 2259621"/>
                <a:gd name="connsiteX1967" fmla="*/ 790055 w 2945193"/>
                <a:gd name="connsiteY1967" fmla="*/ 1985953 h 2259621"/>
                <a:gd name="connsiteX1968" fmla="*/ 777023 w 2945193"/>
                <a:gd name="connsiteY1968" fmla="*/ 1998170 h 2259621"/>
                <a:gd name="connsiteX1969" fmla="*/ 767249 w 2945193"/>
                <a:gd name="connsiteY1969" fmla="*/ 2006315 h 2259621"/>
                <a:gd name="connsiteX1970" fmla="*/ 759104 w 2945193"/>
                <a:gd name="connsiteY1970" fmla="*/ 2007130 h 2259621"/>
                <a:gd name="connsiteX1971" fmla="*/ 759104 w 2945193"/>
                <a:gd name="connsiteY1971" fmla="*/ 2007130 h 2259621"/>
                <a:gd name="connsiteX1972" fmla="*/ 759104 w 2945193"/>
                <a:gd name="connsiteY1972" fmla="*/ 2007130 h 2259621"/>
                <a:gd name="connsiteX1973" fmla="*/ 759104 w 2945193"/>
                <a:gd name="connsiteY1973" fmla="*/ 2007130 h 2259621"/>
                <a:gd name="connsiteX1974" fmla="*/ 753403 w 2945193"/>
                <a:gd name="connsiteY1974" fmla="*/ 2012831 h 2259621"/>
                <a:gd name="connsiteX1975" fmla="*/ 745258 w 2945193"/>
                <a:gd name="connsiteY1975" fmla="*/ 2008759 h 2259621"/>
                <a:gd name="connsiteX1976" fmla="*/ 749330 w 2945193"/>
                <a:gd name="connsiteY1976" fmla="*/ 2001428 h 2259621"/>
                <a:gd name="connsiteX1977" fmla="*/ 741185 w 2945193"/>
                <a:gd name="connsiteY1977" fmla="*/ 1998985 h 2259621"/>
                <a:gd name="connsiteX1978" fmla="*/ 745258 w 2945193"/>
                <a:gd name="connsiteY1978" fmla="*/ 1991654 h 2259621"/>
                <a:gd name="connsiteX1979" fmla="*/ 748516 w 2945193"/>
                <a:gd name="connsiteY1979" fmla="*/ 1983510 h 2259621"/>
                <a:gd name="connsiteX1980" fmla="*/ 746887 w 2945193"/>
                <a:gd name="connsiteY1980" fmla="*/ 1975365 h 2259621"/>
                <a:gd name="connsiteX1981" fmla="*/ 742814 w 2945193"/>
                <a:gd name="connsiteY1981" fmla="*/ 1976179 h 2259621"/>
                <a:gd name="connsiteX1982" fmla="*/ 754217 w 2945193"/>
                <a:gd name="connsiteY1982" fmla="*/ 1969663 h 2259621"/>
                <a:gd name="connsiteX1983" fmla="*/ 759918 w 2945193"/>
                <a:gd name="connsiteY1983" fmla="*/ 1965591 h 2259621"/>
                <a:gd name="connsiteX1984" fmla="*/ 763176 w 2945193"/>
                <a:gd name="connsiteY1984" fmla="*/ 1968849 h 2259621"/>
                <a:gd name="connsiteX1985" fmla="*/ 763991 w 2945193"/>
                <a:gd name="connsiteY1985" fmla="*/ 1969663 h 2259621"/>
                <a:gd name="connsiteX1986" fmla="*/ 768063 w 2945193"/>
                <a:gd name="connsiteY1986" fmla="*/ 1973736 h 2259621"/>
                <a:gd name="connsiteX1987" fmla="*/ 778652 w 2945193"/>
                <a:gd name="connsiteY1987" fmla="*/ 1981066 h 2259621"/>
                <a:gd name="connsiteX1988" fmla="*/ 790055 w 2945193"/>
                <a:gd name="connsiteY1988" fmla="*/ 1985953 h 2259621"/>
                <a:gd name="connsiteX1989" fmla="*/ 790055 w 2945193"/>
                <a:gd name="connsiteY1989" fmla="*/ 1985953 h 2259621"/>
                <a:gd name="connsiteX1990" fmla="*/ 809602 w 2945193"/>
                <a:gd name="connsiteY1990" fmla="*/ 1934640 h 2259621"/>
                <a:gd name="connsiteX1991" fmla="*/ 808788 w 2945193"/>
                <a:gd name="connsiteY1991" fmla="*/ 1934640 h 2259621"/>
                <a:gd name="connsiteX1992" fmla="*/ 807159 w 2945193"/>
                <a:gd name="connsiteY1992" fmla="*/ 1931382 h 2259621"/>
                <a:gd name="connsiteX1993" fmla="*/ 807974 w 2945193"/>
                <a:gd name="connsiteY1993" fmla="*/ 1930568 h 2259621"/>
                <a:gd name="connsiteX1994" fmla="*/ 812046 w 2945193"/>
                <a:gd name="connsiteY1994" fmla="*/ 1932197 h 2259621"/>
                <a:gd name="connsiteX1995" fmla="*/ 809602 w 2945193"/>
                <a:gd name="connsiteY1995" fmla="*/ 1934640 h 2259621"/>
                <a:gd name="connsiteX1996" fmla="*/ 1014854 w 2945193"/>
                <a:gd name="connsiteY1996" fmla="*/ 2223784 h 2259621"/>
                <a:gd name="connsiteX1997" fmla="*/ 1018926 w 2945193"/>
                <a:gd name="connsiteY1997" fmla="*/ 2212381 h 2259621"/>
                <a:gd name="connsiteX1998" fmla="*/ 1014854 w 2945193"/>
                <a:gd name="connsiteY1998" fmla="*/ 2223784 h 2259621"/>
                <a:gd name="connsiteX1999" fmla="*/ 1057207 w 2945193"/>
                <a:gd name="connsiteY1999" fmla="*/ 2238445 h 2259621"/>
                <a:gd name="connsiteX2000" fmla="*/ 1054764 w 2945193"/>
                <a:gd name="connsiteY2000" fmla="*/ 2239260 h 2259621"/>
                <a:gd name="connsiteX2001" fmla="*/ 1050691 w 2945193"/>
                <a:gd name="connsiteY2001" fmla="*/ 2248219 h 2259621"/>
                <a:gd name="connsiteX2002" fmla="*/ 1054764 w 2945193"/>
                <a:gd name="connsiteY2002" fmla="*/ 2238445 h 2259621"/>
                <a:gd name="connsiteX2003" fmla="*/ 1058021 w 2945193"/>
                <a:gd name="connsiteY2003" fmla="*/ 2231115 h 2259621"/>
                <a:gd name="connsiteX2004" fmla="*/ 1058836 w 2945193"/>
                <a:gd name="connsiteY2004" fmla="*/ 2234372 h 2259621"/>
                <a:gd name="connsiteX2005" fmla="*/ 1057207 w 2945193"/>
                <a:gd name="connsiteY2005" fmla="*/ 2238445 h 2259621"/>
                <a:gd name="connsiteX2006" fmla="*/ 1066166 w 2945193"/>
                <a:gd name="connsiteY2006" fmla="*/ 2222970 h 2259621"/>
                <a:gd name="connsiteX2007" fmla="*/ 1066166 w 2945193"/>
                <a:gd name="connsiteY2007" fmla="*/ 2222970 h 2259621"/>
                <a:gd name="connsiteX2008" fmla="*/ 1061280 w 2945193"/>
                <a:gd name="connsiteY2008" fmla="*/ 2225413 h 2259621"/>
                <a:gd name="connsiteX2009" fmla="*/ 1069424 w 2945193"/>
                <a:gd name="connsiteY2009" fmla="*/ 2212381 h 2259621"/>
                <a:gd name="connsiteX2010" fmla="*/ 1069424 w 2945193"/>
                <a:gd name="connsiteY2010" fmla="*/ 2218082 h 2259621"/>
                <a:gd name="connsiteX2011" fmla="*/ 1071868 w 2945193"/>
                <a:gd name="connsiteY2011" fmla="*/ 2220526 h 2259621"/>
                <a:gd name="connsiteX2012" fmla="*/ 1066166 w 2945193"/>
                <a:gd name="connsiteY2012" fmla="*/ 2222970 h 2259621"/>
                <a:gd name="connsiteX2013" fmla="*/ 1075126 w 2945193"/>
                <a:gd name="connsiteY2013" fmla="*/ 2204236 h 2259621"/>
                <a:gd name="connsiteX2014" fmla="*/ 1073497 w 2945193"/>
                <a:gd name="connsiteY2014" fmla="*/ 2205865 h 2259621"/>
                <a:gd name="connsiteX2015" fmla="*/ 1080828 w 2945193"/>
                <a:gd name="connsiteY2015" fmla="*/ 2193648 h 2259621"/>
                <a:gd name="connsiteX2016" fmla="*/ 1086529 w 2945193"/>
                <a:gd name="connsiteY2016" fmla="*/ 2188761 h 2259621"/>
                <a:gd name="connsiteX2017" fmla="*/ 1085714 w 2945193"/>
                <a:gd name="connsiteY2017" fmla="*/ 2192019 h 2259621"/>
                <a:gd name="connsiteX2018" fmla="*/ 1090601 w 2945193"/>
                <a:gd name="connsiteY2018" fmla="*/ 2187132 h 2259621"/>
                <a:gd name="connsiteX2019" fmla="*/ 1088158 w 2945193"/>
                <a:gd name="connsiteY2019" fmla="*/ 2192834 h 2259621"/>
                <a:gd name="connsiteX2020" fmla="*/ 1079198 w 2945193"/>
                <a:gd name="connsiteY2020" fmla="*/ 2201793 h 2259621"/>
                <a:gd name="connsiteX2021" fmla="*/ 1075126 w 2945193"/>
                <a:gd name="connsiteY2021" fmla="*/ 2204236 h 2259621"/>
                <a:gd name="connsiteX2022" fmla="*/ 1082456 w 2945193"/>
                <a:gd name="connsiteY2022" fmla="*/ 2201793 h 2259621"/>
                <a:gd name="connsiteX2023" fmla="*/ 1083271 w 2945193"/>
                <a:gd name="connsiteY2023" fmla="*/ 2200978 h 2259621"/>
                <a:gd name="connsiteX2024" fmla="*/ 1093045 w 2945193"/>
                <a:gd name="connsiteY2024" fmla="*/ 2196906 h 2259621"/>
                <a:gd name="connsiteX2025" fmla="*/ 1094673 w 2945193"/>
                <a:gd name="connsiteY2025" fmla="*/ 2196906 h 2259621"/>
                <a:gd name="connsiteX2026" fmla="*/ 1093045 w 2945193"/>
                <a:gd name="connsiteY2026" fmla="*/ 2197720 h 2259621"/>
                <a:gd name="connsiteX2027" fmla="*/ 1087343 w 2945193"/>
                <a:gd name="connsiteY2027" fmla="*/ 2202607 h 2259621"/>
                <a:gd name="connsiteX2028" fmla="*/ 1082456 w 2945193"/>
                <a:gd name="connsiteY2028" fmla="*/ 2201793 h 2259621"/>
                <a:gd name="connsiteX2029" fmla="*/ 1092230 w 2945193"/>
                <a:gd name="connsiteY2029" fmla="*/ 2207494 h 2259621"/>
                <a:gd name="connsiteX2030" fmla="*/ 1090601 w 2945193"/>
                <a:gd name="connsiteY2030" fmla="*/ 2208309 h 2259621"/>
                <a:gd name="connsiteX2031" fmla="*/ 1089787 w 2945193"/>
                <a:gd name="connsiteY2031" fmla="*/ 2204236 h 2259621"/>
                <a:gd name="connsiteX2032" fmla="*/ 1096303 w 2945193"/>
                <a:gd name="connsiteY2032" fmla="*/ 2200978 h 2259621"/>
                <a:gd name="connsiteX2033" fmla="*/ 1092230 w 2945193"/>
                <a:gd name="connsiteY2033" fmla="*/ 2207494 h 2259621"/>
                <a:gd name="connsiteX2034" fmla="*/ 1108520 w 2945193"/>
                <a:gd name="connsiteY2034" fmla="*/ 2171657 h 2259621"/>
                <a:gd name="connsiteX2035" fmla="*/ 1108520 w 2945193"/>
                <a:gd name="connsiteY2035" fmla="*/ 2171657 h 2259621"/>
                <a:gd name="connsiteX2036" fmla="*/ 1103633 w 2945193"/>
                <a:gd name="connsiteY2036" fmla="*/ 2175729 h 2259621"/>
                <a:gd name="connsiteX2037" fmla="*/ 1097117 w 2945193"/>
                <a:gd name="connsiteY2037" fmla="*/ 2180616 h 2259621"/>
                <a:gd name="connsiteX2038" fmla="*/ 1104447 w 2945193"/>
                <a:gd name="connsiteY2038" fmla="*/ 2168399 h 2259621"/>
                <a:gd name="connsiteX2039" fmla="*/ 1105262 w 2945193"/>
                <a:gd name="connsiteY2039" fmla="*/ 2170028 h 2259621"/>
                <a:gd name="connsiteX2040" fmla="*/ 1109335 w 2945193"/>
                <a:gd name="connsiteY2040" fmla="*/ 2165141 h 2259621"/>
                <a:gd name="connsiteX2041" fmla="*/ 1111778 w 2945193"/>
                <a:gd name="connsiteY2041" fmla="*/ 2163512 h 2259621"/>
                <a:gd name="connsiteX2042" fmla="*/ 1106891 w 2945193"/>
                <a:gd name="connsiteY2042" fmla="*/ 2168399 h 2259621"/>
                <a:gd name="connsiteX2043" fmla="*/ 1108520 w 2945193"/>
                <a:gd name="connsiteY2043" fmla="*/ 2171657 h 2259621"/>
                <a:gd name="connsiteX2044" fmla="*/ 1130511 w 2945193"/>
                <a:gd name="connsiteY2044" fmla="*/ 2176544 h 2259621"/>
                <a:gd name="connsiteX2045" fmla="*/ 1130511 w 2945193"/>
                <a:gd name="connsiteY2045" fmla="*/ 2175729 h 2259621"/>
                <a:gd name="connsiteX2046" fmla="*/ 1134584 w 2945193"/>
                <a:gd name="connsiteY2046" fmla="*/ 2172471 h 2259621"/>
                <a:gd name="connsiteX2047" fmla="*/ 1134584 w 2945193"/>
                <a:gd name="connsiteY2047" fmla="*/ 2172471 h 2259621"/>
                <a:gd name="connsiteX2048" fmla="*/ 1130511 w 2945193"/>
                <a:gd name="connsiteY2048" fmla="*/ 2176544 h 2259621"/>
                <a:gd name="connsiteX2049" fmla="*/ 1150873 w 2945193"/>
                <a:gd name="connsiteY2049" fmla="*/ 2165141 h 2259621"/>
                <a:gd name="connsiteX2050" fmla="*/ 1143543 w 2945193"/>
                <a:gd name="connsiteY2050" fmla="*/ 2170028 h 2259621"/>
                <a:gd name="connsiteX2051" fmla="*/ 1146801 w 2945193"/>
                <a:gd name="connsiteY2051" fmla="*/ 2165141 h 2259621"/>
                <a:gd name="connsiteX2052" fmla="*/ 1151688 w 2945193"/>
                <a:gd name="connsiteY2052" fmla="*/ 2162697 h 2259621"/>
                <a:gd name="connsiteX2053" fmla="*/ 1152502 w 2945193"/>
                <a:gd name="connsiteY2053" fmla="*/ 2162697 h 2259621"/>
                <a:gd name="connsiteX2054" fmla="*/ 1150873 w 2945193"/>
                <a:gd name="connsiteY2054" fmla="*/ 2165141 h 2259621"/>
                <a:gd name="connsiteX2055" fmla="*/ 1180195 w 2945193"/>
                <a:gd name="connsiteY2055" fmla="*/ 2207494 h 2259621"/>
                <a:gd name="connsiteX2056" fmla="*/ 1184267 w 2945193"/>
                <a:gd name="connsiteY2056" fmla="*/ 2205865 h 2259621"/>
                <a:gd name="connsiteX2057" fmla="*/ 1180195 w 2945193"/>
                <a:gd name="connsiteY2057" fmla="*/ 2207494 h 2259621"/>
                <a:gd name="connsiteX2058" fmla="*/ 1193227 w 2945193"/>
                <a:gd name="connsiteY2058" fmla="*/ 2031565 h 2259621"/>
                <a:gd name="connsiteX2059" fmla="*/ 1188340 w 2945193"/>
                <a:gd name="connsiteY2059" fmla="*/ 2033193 h 2259621"/>
                <a:gd name="connsiteX2060" fmla="*/ 1191598 w 2945193"/>
                <a:gd name="connsiteY2060" fmla="*/ 2025863 h 2259621"/>
                <a:gd name="connsiteX2061" fmla="*/ 1203815 w 2945193"/>
                <a:gd name="connsiteY2061" fmla="*/ 2019347 h 2259621"/>
                <a:gd name="connsiteX2062" fmla="*/ 1205444 w 2945193"/>
                <a:gd name="connsiteY2062" fmla="*/ 2017718 h 2259621"/>
                <a:gd name="connsiteX2063" fmla="*/ 1193227 w 2945193"/>
                <a:gd name="connsiteY2063" fmla="*/ 2031565 h 2259621"/>
                <a:gd name="connsiteX2064" fmla="*/ 1195670 w 2945193"/>
                <a:gd name="connsiteY2064" fmla="*/ 2195277 h 2259621"/>
                <a:gd name="connsiteX2065" fmla="*/ 1207888 w 2945193"/>
                <a:gd name="connsiteY2065" fmla="*/ 2187946 h 2259621"/>
                <a:gd name="connsiteX2066" fmla="*/ 1209517 w 2945193"/>
                <a:gd name="connsiteY2066" fmla="*/ 2187132 h 2259621"/>
                <a:gd name="connsiteX2067" fmla="*/ 1195670 w 2945193"/>
                <a:gd name="connsiteY2067" fmla="*/ 2195277 h 2259621"/>
                <a:gd name="connsiteX2068" fmla="*/ 1235580 w 2945193"/>
                <a:gd name="connsiteY2068" fmla="*/ 2177358 h 2259621"/>
                <a:gd name="connsiteX2069" fmla="*/ 1233951 w 2945193"/>
                <a:gd name="connsiteY2069" fmla="*/ 2177358 h 2259621"/>
                <a:gd name="connsiteX2070" fmla="*/ 1233951 w 2945193"/>
                <a:gd name="connsiteY2070" fmla="*/ 2174915 h 2259621"/>
                <a:gd name="connsiteX2071" fmla="*/ 1246169 w 2945193"/>
                <a:gd name="connsiteY2071" fmla="*/ 2170028 h 2259621"/>
                <a:gd name="connsiteX2072" fmla="*/ 1250241 w 2945193"/>
                <a:gd name="connsiteY2072" fmla="*/ 2170842 h 2259621"/>
                <a:gd name="connsiteX2073" fmla="*/ 1235580 w 2945193"/>
                <a:gd name="connsiteY2073" fmla="*/ 2177358 h 2259621"/>
                <a:gd name="connsiteX2074" fmla="*/ 2639760 w 2945193"/>
                <a:gd name="connsiteY2074" fmla="*/ 1732647 h 2259621"/>
                <a:gd name="connsiteX2075" fmla="*/ 2643832 w 2945193"/>
                <a:gd name="connsiteY2075" fmla="*/ 1736719 h 2259621"/>
                <a:gd name="connsiteX2076" fmla="*/ 2647905 w 2945193"/>
                <a:gd name="connsiteY2076" fmla="*/ 1734276 h 2259621"/>
                <a:gd name="connsiteX2077" fmla="*/ 2647090 w 2945193"/>
                <a:gd name="connsiteY2077" fmla="*/ 1735090 h 2259621"/>
                <a:gd name="connsiteX2078" fmla="*/ 2645461 w 2945193"/>
                <a:gd name="connsiteY2078" fmla="*/ 1736719 h 2259621"/>
                <a:gd name="connsiteX2079" fmla="*/ 2643832 w 2945193"/>
                <a:gd name="connsiteY2079" fmla="*/ 1736719 h 2259621"/>
                <a:gd name="connsiteX2080" fmla="*/ 2643832 w 2945193"/>
                <a:gd name="connsiteY2080" fmla="*/ 1736719 h 2259621"/>
                <a:gd name="connsiteX2081" fmla="*/ 2643832 w 2945193"/>
                <a:gd name="connsiteY2081" fmla="*/ 1736719 h 2259621"/>
                <a:gd name="connsiteX2082" fmla="*/ 2631615 w 2945193"/>
                <a:gd name="connsiteY2082" fmla="*/ 1737534 h 2259621"/>
                <a:gd name="connsiteX2083" fmla="*/ 2627543 w 2945193"/>
                <a:gd name="connsiteY2083" fmla="*/ 1741606 h 2259621"/>
                <a:gd name="connsiteX2084" fmla="*/ 2627543 w 2945193"/>
                <a:gd name="connsiteY2084" fmla="*/ 1741606 h 2259621"/>
                <a:gd name="connsiteX2085" fmla="*/ 2627543 w 2945193"/>
                <a:gd name="connsiteY2085" fmla="*/ 1741606 h 2259621"/>
                <a:gd name="connsiteX2086" fmla="*/ 2622656 w 2945193"/>
                <a:gd name="connsiteY2086" fmla="*/ 1736719 h 2259621"/>
                <a:gd name="connsiteX2087" fmla="*/ 2620212 w 2945193"/>
                <a:gd name="connsiteY2087" fmla="*/ 1739977 h 2259621"/>
                <a:gd name="connsiteX2088" fmla="*/ 2616140 w 2945193"/>
                <a:gd name="connsiteY2088" fmla="*/ 1733461 h 2259621"/>
                <a:gd name="connsiteX2089" fmla="*/ 2639760 w 2945193"/>
                <a:gd name="connsiteY2089" fmla="*/ 1732647 h 2259621"/>
                <a:gd name="connsiteX2090" fmla="*/ 2590891 w 2945193"/>
                <a:gd name="connsiteY2090" fmla="*/ 1739163 h 2259621"/>
                <a:gd name="connsiteX2091" fmla="*/ 2604737 w 2945193"/>
                <a:gd name="connsiteY2091" fmla="*/ 1739977 h 2259621"/>
                <a:gd name="connsiteX2092" fmla="*/ 2609624 w 2945193"/>
                <a:gd name="connsiteY2092" fmla="*/ 1743235 h 2259621"/>
                <a:gd name="connsiteX2093" fmla="*/ 2616954 w 2945193"/>
                <a:gd name="connsiteY2093" fmla="*/ 1742421 h 2259621"/>
                <a:gd name="connsiteX2094" fmla="*/ 2606366 w 2945193"/>
                <a:gd name="connsiteY2094" fmla="*/ 1745679 h 2259621"/>
                <a:gd name="connsiteX2095" fmla="*/ 2591705 w 2945193"/>
                <a:gd name="connsiteY2095" fmla="*/ 1748937 h 2259621"/>
                <a:gd name="connsiteX2096" fmla="*/ 2591705 w 2945193"/>
                <a:gd name="connsiteY2096" fmla="*/ 1748122 h 2259621"/>
                <a:gd name="connsiteX2097" fmla="*/ 2584375 w 2945193"/>
                <a:gd name="connsiteY2097" fmla="*/ 1748122 h 2259621"/>
                <a:gd name="connsiteX2098" fmla="*/ 2586818 w 2945193"/>
                <a:gd name="connsiteY2098" fmla="*/ 1743235 h 2259621"/>
                <a:gd name="connsiteX2099" fmla="*/ 2574601 w 2945193"/>
                <a:gd name="connsiteY2099" fmla="*/ 1744050 h 2259621"/>
                <a:gd name="connsiteX2100" fmla="*/ 2590891 w 2945193"/>
                <a:gd name="connsiteY2100" fmla="*/ 1739163 h 2259621"/>
                <a:gd name="connsiteX2101" fmla="*/ 2537949 w 2945193"/>
                <a:gd name="connsiteY2101" fmla="*/ 1732647 h 2259621"/>
                <a:gd name="connsiteX2102" fmla="*/ 2537134 w 2945193"/>
                <a:gd name="connsiteY2102" fmla="*/ 1735905 h 2259621"/>
                <a:gd name="connsiteX2103" fmla="*/ 2532247 w 2945193"/>
                <a:gd name="connsiteY2103" fmla="*/ 1733461 h 2259621"/>
                <a:gd name="connsiteX2104" fmla="*/ 2537949 w 2945193"/>
                <a:gd name="connsiteY2104" fmla="*/ 1732647 h 2259621"/>
                <a:gd name="connsiteX2105" fmla="*/ 2465459 w 2945193"/>
                <a:gd name="connsiteY2105" fmla="*/ 1729389 h 2259621"/>
                <a:gd name="connsiteX2106" fmla="*/ 2476048 w 2945193"/>
                <a:gd name="connsiteY2106" fmla="*/ 1730203 h 2259621"/>
                <a:gd name="connsiteX2107" fmla="*/ 2465459 w 2945193"/>
                <a:gd name="connsiteY2107" fmla="*/ 1729389 h 2259621"/>
                <a:gd name="connsiteX2108" fmla="*/ 2465459 w 2945193"/>
                <a:gd name="connsiteY2108" fmla="*/ 1729389 h 2259621"/>
                <a:gd name="connsiteX2109" fmla="*/ 2436138 w 2945193"/>
                <a:gd name="connsiteY2109" fmla="*/ 1745679 h 2259621"/>
                <a:gd name="connsiteX2110" fmla="*/ 2440210 w 2945193"/>
                <a:gd name="connsiteY2110" fmla="*/ 1746493 h 2259621"/>
                <a:gd name="connsiteX2111" fmla="*/ 2432880 w 2945193"/>
                <a:gd name="connsiteY2111" fmla="*/ 1749751 h 2259621"/>
                <a:gd name="connsiteX2112" fmla="*/ 2422291 w 2945193"/>
                <a:gd name="connsiteY2112" fmla="*/ 1754638 h 2259621"/>
                <a:gd name="connsiteX2113" fmla="*/ 2418219 w 2945193"/>
                <a:gd name="connsiteY2113" fmla="*/ 1752195 h 2259621"/>
                <a:gd name="connsiteX2114" fmla="*/ 2436138 w 2945193"/>
                <a:gd name="connsiteY2114" fmla="*/ 1745679 h 2259621"/>
                <a:gd name="connsiteX2115" fmla="*/ 2400300 w 2945193"/>
                <a:gd name="connsiteY2115" fmla="*/ 1772557 h 2259621"/>
                <a:gd name="connsiteX2116" fmla="*/ 2419033 w 2945193"/>
                <a:gd name="connsiteY2116" fmla="*/ 1771742 h 2259621"/>
                <a:gd name="connsiteX2117" fmla="*/ 2414961 w 2945193"/>
                <a:gd name="connsiteY2117" fmla="*/ 1776629 h 2259621"/>
                <a:gd name="connsiteX2118" fmla="*/ 2414146 w 2945193"/>
                <a:gd name="connsiteY2118" fmla="*/ 1777444 h 2259621"/>
                <a:gd name="connsiteX2119" fmla="*/ 2397856 w 2945193"/>
                <a:gd name="connsiteY2119" fmla="*/ 1775815 h 2259621"/>
                <a:gd name="connsiteX2120" fmla="*/ 2397856 w 2945193"/>
                <a:gd name="connsiteY2120" fmla="*/ 1775000 h 2259621"/>
                <a:gd name="connsiteX2121" fmla="*/ 2400300 w 2945193"/>
                <a:gd name="connsiteY2121" fmla="*/ 1772557 h 2259621"/>
                <a:gd name="connsiteX2122" fmla="*/ 2820577 w 2945193"/>
                <a:gd name="connsiteY2122" fmla="*/ 1466309 h 2259621"/>
                <a:gd name="connsiteX2123" fmla="*/ 2818133 w 2945193"/>
                <a:gd name="connsiteY2123" fmla="*/ 1476897 h 2259621"/>
                <a:gd name="connsiteX2124" fmla="*/ 2817318 w 2945193"/>
                <a:gd name="connsiteY2124" fmla="*/ 1471196 h 2259621"/>
                <a:gd name="connsiteX2125" fmla="*/ 2820577 w 2945193"/>
                <a:gd name="connsiteY2125" fmla="*/ 1466309 h 2259621"/>
                <a:gd name="connsiteX2126" fmla="*/ 2815690 w 2945193"/>
                <a:gd name="connsiteY2126" fmla="*/ 1445132 h 2259621"/>
                <a:gd name="connsiteX2127" fmla="*/ 2813246 w 2945193"/>
                <a:gd name="connsiteY2127" fmla="*/ 1450834 h 2259621"/>
                <a:gd name="connsiteX2128" fmla="*/ 2811617 w 2945193"/>
                <a:gd name="connsiteY2128" fmla="*/ 1449205 h 2259621"/>
                <a:gd name="connsiteX2129" fmla="*/ 2815690 w 2945193"/>
                <a:gd name="connsiteY2129" fmla="*/ 1445132 h 2259621"/>
                <a:gd name="connsiteX2130" fmla="*/ 2779038 w 2945193"/>
                <a:gd name="connsiteY2130" fmla="*/ 1423955 h 2259621"/>
                <a:gd name="connsiteX2131" fmla="*/ 2781481 w 2945193"/>
                <a:gd name="connsiteY2131" fmla="*/ 1426399 h 2259621"/>
                <a:gd name="connsiteX2132" fmla="*/ 2774151 w 2945193"/>
                <a:gd name="connsiteY2132" fmla="*/ 1435358 h 2259621"/>
                <a:gd name="connsiteX2133" fmla="*/ 2774151 w 2945193"/>
                <a:gd name="connsiteY2133" fmla="*/ 1434544 h 2259621"/>
                <a:gd name="connsiteX2134" fmla="*/ 2769264 w 2945193"/>
                <a:gd name="connsiteY2134" fmla="*/ 1436173 h 2259621"/>
                <a:gd name="connsiteX2135" fmla="*/ 2779038 w 2945193"/>
                <a:gd name="connsiteY2135" fmla="*/ 1423955 h 2259621"/>
                <a:gd name="connsiteX2136" fmla="*/ 2731797 w 2945193"/>
                <a:gd name="connsiteY2136" fmla="*/ 1433729 h 2259621"/>
                <a:gd name="connsiteX2137" fmla="*/ 2735055 w 2945193"/>
                <a:gd name="connsiteY2137" fmla="*/ 1432100 h 2259621"/>
                <a:gd name="connsiteX2138" fmla="*/ 2742386 w 2945193"/>
                <a:gd name="connsiteY2138" fmla="*/ 1428028 h 2259621"/>
                <a:gd name="connsiteX2139" fmla="*/ 2752159 w 2945193"/>
                <a:gd name="connsiteY2139" fmla="*/ 1423955 h 2259621"/>
                <a:gd name="connsiteX2140" fmla="*/ 2754603 w 2945193"/>
                <a:gd name="connsiteY2140" fmla="*/ 1423955 h 2259621"/>
                <a:gd name="connsiteX2141" fmla="*/ 2750531 w 2945193"/>
                <a:gd name="connsiteY2141" fmla="*/ 1429657 h 2259621"/>
                <a:gd name="connsiteX2142" fmla="*/ 2733426 w 2945193"/>
                <a:gd name="connsiteY2142" fmla="*/ 1440245 h 2259621"/>
                <a:gd name="connsiteX2143" fmla="*/ 2729354 w 2945193"/>
                <a:gd name="connsiteY2143" fmla="*/ 1442689 h 2259621"/>
                <a:gd name="connsiteX2144" fmla="*/ 2729354 w 2945193"/>
                <a:gd name="connsiteY2144" fmla="*/ 1442689 h 2259621"/>
                <a:gd name="connsiteX2145" fmla="*/ 2731797 w 2945193"/>
                <a:gd name="connsiteY2145" fmla="*/ 1433729 h 2259621"/>
                <a:gd name="connsiteX2146" fmla="*/ 2923202 w 2945193"/>
                <a:gd name="connsiteY2146" fmla="*/ 1241510 h 2259621"/>
                <a:gd name="connsiteX2147" fmla="*/ 2928089 w 2945193"/>
                <a:gd name="connsiteY2147" fmla="*/ 1239881 h 2259621"/>
                <a:gd name="connsiteX2148" fmla="*/ 2924831 w 2945193"/>
                <a:gd name="connsiteY2148" fmla="*/ 1243953 h 2259621"/>
                <a:gd name="connsiteX2149" fmla="*/ 2922388 w 2945193"/>
                <a:gd name="connsiteY2149" fmla="*/ 1243139 h 2259621"/>
                <a:gd name="connsiteX2150" fmla="*/ 2923202 w 2945193"/>
                <a:gd name="connsiteY2150" fmla="*/ 1241510 h 2259621"/>
                <a:gd name="connsiteX2151" fmla="*/ 2370978 w 2945193"/>
                <a:gd name="connsiteY2151" fmla="*/ 602950 h 2259621"/>
                <a:gd name="connsiteX2152" fmla="*/ 2375866 w 2945193"/>
                <a:gd name="connsiteY2152" fmla="*/ 607837 h 2259621"/>
                <a:gd name="connsiteX2153" fmla="*/ 2370978 w 2945193"/>
                <a:gd name="connsiteY2153" fmla="*/ 608652 h 2259621"/>
                <a:gd name="connsiteX2154" fmla="*/ 2370978 w 2945193"/>
                <a:gd name="connsiteY2154" fmla="*/ 602950 h 2259621"/>
                <a:gd name="connsiteX2155" fmla="*/ 2362833 w 2945193"/>
                <a:gd name="connsiteY2155" fmla="*/ 585846 h 2259621"/>
                <a:gd name="connsiteX2156" fmla="*/ 2367721 w 2945193"/>
                <a:gd name="connsiteY2156" fmla="*/ 582588 h 2259621"/>
                <a:gd name="connsiteX2157" fmla="*/ 2369349 w 2945193"/>
                <a:gd name="connsiteY2157" fmla="*/ 589104 h 2259621"/>
                <a:gd name="connsiteX2158" fmla="*/ 2365277 w 2945193"/>
                <a:gd name="connsiteY2158" fmla="*/ 599692 h 2259621"/>
                <a:gd name="connsiteX2159" fmla="*/ 2363648 w 2945193"/>
                <a:gd name="connsiteY2159" fmla="*/ 593176 h 2259621"/>
                <a:gd name="connsiteX2160" fmla="*/ 2362833 w 2945193"/>
                <a:gd name="connsiteY2160" fmla="*/ 585846 h 2259621"/>
                <a:gd name="connsiteX2161" fmla="*/ 2326996 w 2945193"/>
                <a:gd name="connsiteY2161" fmla="*/ 591547 h 2259621"/>
                <a:gd name="connsiteX2162" fmla="*/ 2331883 w 2945193"/>
                <a:gd name="connsiteY2162" fmla="*/ 598878 h 2259621"/>
                <a:gd name="connsiteX2163" fmla="*/ 2326996 w 2945193"/>
                <a:gd name="connsiteY2163" fmla="*/ 591547 h 2259621"/>
                <a:gd name="connsiteX2164" fmla="*/ 2645461 w 2945193"/>
                <a:gd name="connsiteY2164" fmla="*/ 1250469 h 2259621"/>
                <a:gd name="connsiteX2165" fmla="*/ 2654421 w 2945193"/>
                <a:gd name="connsiteY2165" fmla="*/ 1248840 h 2259621"/>
                <a:gd name="connsiteX2166" fmla="*/ 2654421 w 2945193"/>
                <a:gd name="connsiteY2166" fmla="*/ 1252913 h 2259621"/>
                <a:gd name="connsiteX2167" fmla="*/ 2655235 w 2945193"/>
                <a:gd name="connsiteY2167" fmla="*/ 1253727 h 2259621"/>
                <a:gd name="connsiteX2168" fmla="*/ 2642203 w 2945193"/>
                <a:gd name="connsiteY2168" fmla="*/ 1253727 h 2259621"/>
                <a:gd name="connsiteX2169" fmla="*/ 2645461 w 2945193"/>
                <a:gd name="connsiteY2169" fmla="*/ 1250469 h 2259621"/>
                <a:gd name="connsiteX2170" fmla="*/ 2449170 w 2945193"/>
                <a:gd name="connsiteY2170" fmla="*/ 516614 h 2259621"/>
                <a:gd name="connsiteX2171" fmla="*/ 2461387 w 2945193"/>
                <a:gd name="connsiteY2171" fmla="*/ 523130 h 2259621"/>
                <a:gd name="connsiteX2172" fmla="*/ 2463830 w 2945193"/>
                <a:gd name="connsiteY2172" fmla="*/ 532090 h 2259621"/>
                <a:gd name="connsiteX2173" fmla="*/ 2445912 w 2945193"/>
                <a:gd name="connsiteY2173" fmla="*/ 528832 h 2259621"/>
                <a:gd name="connsiteX2174" fmla="*/ 2443468 w 2945193"/>
                <a:gd name="connsiteY2174" fmla="*/ 523945 h 2259621"/>
                <a:gd name="connsiteX2175" fmla="*/ 2434508 w 2945193"/>
                <a:gd name="connsiteY2175" fmla="*/ 516614 h 2259621"/>
                <a:gd name="connsiteX2176" fmla="*/ 2449170 w 2945193"/>
                <a:gd name="connsiteY2176" fmla="*/ 516614 h 2259621"/>
                <a:gd name="connsiteX2177" fmla="*/ 2456500 w 2945193"/>
                <a:gd name="connsiteY2177" fmla="*/ 545121 h 2259621"/>
                <a:gd name="connsiteX2178" fmla="*/ 2455685 w 2945193"/>
                <a:gd name="connsiteY2178" fmla="*/ 542678 h 2259621"/>
                <a:gd name="connsiteX2179" fmla="*/ 2462201 w 2945193"/>
                <a:gd name="connsiteY2179" fmla="*/ 542678 h 2259621"/>
                <a:gd name="connsiteX2180" fmla="*/ 2462201 w 2945193"/>
                <a:gd name="connsiteY2180" fmla="*/ 543493 h 2259621"/>
                <a:gd name="connsiteX2181" fmla="*/ 2462201 w 2945193"/>
                <a:gd name="connsiteY2181" fmla="*/ 545121 h 2259621"/>
                <a:gd name="connsiteX2182" fmla="*/ 2456500 w 2945193"/>
                <a:gd name="connsiteY2182" fmla="*/ 545121 h 2259621"/>
                <a:gd name="connsiteX2183" fmla="*/ 2459758 w 2945193"/>
                <a:gd name="connsiteY2183" fmla="*/ 558153 h 2259621"/>
                <a:gd name="connsiteX2184" fmla="*/ 2455685 w 2945193"/>
                <a:gd name="connsiteY2184" fmla="*/ 566298 h 2259621"/>
                <a:gd name="connsiteX2185" fmla="*/ 2454056 w 2945193"/>
                <a:gd name="connsiteY2185" fmla="*/ 565484 h 2259621"/>
                <a:gd name="connsiteX2186" fmla="*/ 2458129 w 2945193"/>
                <a:gd name="connsiteY2186" fmla="*/ 557339 h 2259621"/>
                <a:gd name="connsiteX2187" fmla="*/ 2459758 w 2945193"/>
                <a:gd name="connsiteY2187" fmla="*/ 558153 h 2259621"/>
                <a:gd name="connsiteX2188" fmla="*/ 2432065 w 2945193"/>
                <a:gd name="connsiteY2188" fmla="*/ 568742 h 2259621"/>
                <a:gd name="connsiteX2189" fmla="*/ 2431251 w 2945193"/>
                <a:gd name="connsiteY2189" fmla="*/ 569556 h 2259621"/>
                <a:gd name="connsiteX2190" fmla="*/ 2414961 w 2945193"/>
                <a:gd name="connsiteY2190" fmla="*/ 570371 h 2259621"/>
                <a:gd name="connsiteX2191" fmla="*/ 2414961 w 2945193"/>
                <a:gd name="connsiteY2191" fmla="*/ 564669 h 2259621"/>
                <a:gd name="connsiteX2192" fmla="*/ 2419848 w 2945193"/>
                <a:gd name="connsiteY2192" fmla="*/ 567927 h 2259621"/>
                <a:gd name="connsiteX2193" fmla="*/ 2419033 w 2945193"/>
                <a:gd name="connsiteY2193" fmla="*/ 560597 h 2259621"/>
                <a:gd name="connsiteX2194" fmla="*/ 2431251 w 2945193"/>
                <a:gd name="connsiteY2194" fmla="*/ 557339 h 2259621"/>
                <a:gd name="connsiteX2195" fmla="*/ 2427178 w 2945193"/>
                <a:gd name="connsiteY2195" fmla="*/ 565484 h 2259621"/>
                <a:gd name="connsiteX2196" fmla="*/ 2433694 w 2945193"/>
                <a:gd name="connsiteY2196" fmla="*/ 563040 h 2259621"/>
                <a:gd name="connsiteX2197" fmla="*/ 2437767 w 2945193"/>
                <a:gd name="connsiteY2197" fmla="*/ 567113 h 2259621"/>
                <a:gd name="connsiteX2198" fmla="*/ 2440210 w 2945193"/>
                <a:gd name="connsiteY2198" fmla="*/ 564669 h 2259621"/>
                <a:gd name="connsiteX2199" fmla="*/ 2436138 w 2945193"/>
                <a:gd name="connsiteY2199" fmla="*/ 558153 h 2259621"/>
                <a:gd name="connsiteX2200" fmla="*/ 2436952 w 2945193"/>
                <a:gd name="connsiteY2200" fmla="*/ 557339 h 2259621"/>
                <a:gd name="connsiteX2201" fmla="*/ 2441839 w 2945193"/>
                <a:gd name="connsiteY2201" fmla="*/ 557339 h 2259621"/>
                <a:gd name="connsiteX2202" fmla="*/ 2442653 w 2945193"/>
                <a:gd name="connsiteY2202" fmla="*/ 560597 h 2259621"/>
                <a:gd name="connsiteX2203" fmla="*/ 2445912 w 2945193"/>
                <a:gd name="connsiteY2203" fmla="*/ 559782 h 2259621"/>
                <a:gd name="connsiteX2204" fmla="*/ 2448355 w 2945193"/>
                <a:gd name="connsiteY2204" fmla="*/ 568742 h 2259621"/>
                <a:gd name="connsiteX2205" fmla="*/ 2432065 w 2945193"/>
                <a:gd name="connsiteY2205" fmla="*/ 569556 h 2259621"/>
                <a:gd name="connsiteX2206" fmla="*/ 2432065 w 2945193"/>
                <a:gd name="connsiteY2206" fmla="*/ 568742 h 2259621"/>
                <a:gd name="connsiteX2207" fmla="*/ 2432065 w 2945193"/>
                <a:gd name="connsiteY2207" fmla="*/ 568742 h 2259621"/>
                <a:gd name="connsiteX2208" fmla="*/ 2431251 w 2945193"/>
                <a:gd name="connsiteY2208" fmla="*/ 519872 h 2259621"/>
                <a:gd name="connsiteX2209" fmla="*/ 2432880 w 2945193"/>
                <a:gd name="connsiteY2209" fmla="*/ 527203 h 2259621"/>
                <a:gd name="connsiteX2210" fmla="*/ 2424735 w 2945193"/>
                <a:gd name="connsiteY2210" fmla="*/ 527203 h 2259621"/>
                <a:gd name="connsiteX2211" fmla="*/ 2431251 w 2945193"/>
                <a:gd name="connsiteY2211" fmla="*/ 519872 h 2259621"/>
                <a:gd name="connsiteX2212" fmla="*/ 2409259 w 2945193"/>
                <a:gd name="connsiteY2212" fmla="*/ 542678 h 2259621"/>
                <a:gd name="connsiteX2213" fmla="*/ 2420663 w 2945193"/>
                <a:gd name="connsiteY2213" fmla="*/ 545121 h 2259621"/>
                <a:gd name="connsiteX2214" fmla="*/ 2423106 w 2945193"/>
                <a:gd name="connsiteY2214" fmla="*/ 549194 h 2259621"/>
                <a:gd name="connsiteX2215" fmla="*/ 2421477 w 2945193"/>
                <a:gd name="connsiteY2215" fmla="*/ 550008 h 2259621"/>
                <a:gd name="connsiteX2216" fmla="*/ 2415775 w 2945193"/>
                <a:gd name="connsiteY2216" fmla="*/ 551637 h 2259621"/>
                <a:gd name="connsiteX2217" fmla="*/ 2402744 w 2945193"/>
                <a:gd name="connsiteY2217" fmla="*/ 551637 h 2259621"/>
                <a:gd name="connsiteX2218" fmla="*/ 2409259 w 2945193"/>
                <a:gd name="connsiteY2218" fmla="*/ 542678 h 2259621"/>
                <a:gd name="connsiteX2219" fmla="*/ 2366092 w 2945193"/>
                <a:gd name="connsiteY2219" fmla="*/ 469374 h 2259621"/>
                <a:gd name="connsiteX2220" fmla="*/ 2370164 w 2945193"/>
                <a:gd name="connsiteY2220" fmla="*/ 468559 h 2259621"/>
                <a:gd name="connsiteX2221" fmla="*/ 2371793 w 2945193"/>
                <a:gd name="connsiteY2221" fmla="*/ 476704 h 2259621"/>
                <a:gd name="connsiteX2222" fmla="*/ 2365277 w 2945193"/>
                <a:gd name="connsiteY2222" fmla="*/ 471003 h 2259621"/>
                <a:gd name="connsiteX2223" fmla="*/ 2366092 w 2945193"/>
                <a:gd name="connsiteY2223" fmla="*/ 469374 h 2259621"/>
                <a:gd name="connsiteX2224" fmla="*/ 2369349 w 2945193"/>
                <a:gd name="connsiteY2224" fmla="*/ 568742 h 2259621"/>
                <a:gd name="connsiteX2225" fmla="*/ 2369349 w 2945193"/>
                <a:gd name="connsiteY2225" fmla="*/ 570371 h 2259621"/>
                <a:gd name="connsiteX2226" fmla="*/ 2373422 w 2945193"/>
                <a:gd name="connsiteY2226" fmla="*/ 568742 h 2259621"/>
                <a:gd name="connsiteX2227" fmla="*/ 2375051 w 2945193"/>
                <a:gd name="connsiteY2227" fmla="*/ 574443 h 2259621"/>
                <a:gd name="connsiteX2228" fmla="*/ 2379938 w 2945193"/>
                <a:gd name="connsiteY2228" fmla="*/ 568742 h 2259621"/>
                <a:gd name="connsiteX2229" fmla="*/ 2381567 w 2945193"/>
                <a:gd name="connsiteY2229" fmla="*/ 568742 h 2259621"/>
                <a:gd name="connsiteX2230" fmla="*/ 2384011 w 2945193"/>
                <a:gd name="connsiteY2230" fmla="*/ 572814 h 2259621"/>
                <a:gd name="connsiteX2231" fmla="*/ 2385639 w 2945193"/>
                <a:gd name="connsiteY2231" fmla="*/ 576072 h 2259621"/>
                <a:gd name="connsiteX2232" fmla="*/ 2384011 w 2945193"/>
                <a:gd name="connsiteY2232" fmla="*/ 576886 h 2259621"/>
                <a:gd name="connsiteX2233" fmla="*/ 2385639 w 2945193"/>
                <a:gd name="connsiteY2233" fmla="*/ 577701 h 2259621"/>
                <a:gd name="connsiteX2234" fmla="*/ 2385639 w 2945193"/>
                <a:gd name="connsiteY2234" fmla="*/ 578516 h 2259621"/>
                <a:gd name="connsiteX2235" fmla="*/ 2386454 w 2945193"/>
                <a:gd name="connsiteY2235" fmla="*/ 585031 h 2259621"/>
                <a:gd name="connsiteX2236" fmla="*/ 2388897 w 2945193"/>
                <a:gd name="connsiteY2236" fmla="*/ 591547 h 2259621"/>
                <a:gd name="connsiteX2237" fmla="*/ 2390526 w 2945193"/>
                <a:gd name="connsiteY2237" fmla="*/ 595620 h 2259621"/>
                <a:gd name="connsiteX2238" fmla="*/ 2397856 w 2945193"/>
                <a:gd name="connsiteY2238" fmla="*/ 593176 h 2259621"/>
                <a:gd name="connsiteX2239" fmla="*/ 2399486 w 2945193"/>
                <a:gd name="connsiteY2239" fmla="*/ 594805 h 2259621"/>
                <a:gd name="connsiteX2240" fmla="*/ 2395413 w 2945193"/>
                <a:gd name="connsiteY2240" fmla="*/ 597249 h 2259621"/>
                <a:gd name="connsiteX2241" fmla="*/ 2403558 w 2945193"/>
                <a:gd name="connsiteY2241" fmla="*/ 596434 h 2259621"/>
                <a:gd name="connsiteX2242" fmla="*/ 2406816 w 2945193"/>
                <a:gd name="connsiteY2242" fmla="*/ 599692 h 2259621"/>
                <a:gd name="connsiteX2243" fmla="*/ 2424735 w 2945193"/>
                <a:gd name="connsiteY2243" fmla="*/ 585846 h 2259621"/>
                <a:gd name="connsiteX2244" fmla="*/ 2419848 w 2945193"/>
                <a:gd name="connsiteY2244" fmla="*/ 588289 h 2259621"/>
                <a:gd name="connsiteX2245" fmla="*/ 2420663 w 2945193"/>
                <a:gd name="connsiteY2245" fmla="*/ 584217 h 2259621"/>
                <a:gd name="connsiteX2246" fmla="*/ 2432880 w 2945193"/>
                <a:gd name="connsiteY2246" fmla="*/ 583402 h 2259621"/>
                <a:gd name="connsiteX2247" fmla="*/ 2450798 w 2945193"/>
                <a:gd name="connsiteY2247" fmla="*/ 587475 h 2259621"/>
                <a:gd name="connsiteX2248" fmla="*/ 2456500 w 2945193"/>
                <a:gd name="connsiteY2248" fmla="*/ 589918 h 2259621"/>
                <a:gd name="connsiteX2249" fmla="*/ 2454871 w 2945193"/>
                <a:gd name="connsiteY2249" fmla="*/ 593991 h 2259621"/>
                <a:gd name="connsiteX2250" fmla="*/ 2451613 w 2945193"/>
                <a:gd name="connsiteY2250" fmla="*/ 603765 h 2259621"/>
                <a:gd name="connsiteX2251" fmla="*/ 2458943 w 2945193"/>
                <a:gd name="connsiteY2251" fmla="*/ 598878 h 2259621"/>
                <a:gd name="connsiteX2252" fmla="*/ 2458943 w 2945193"/>
                <a:gd name="connsiteY2252" fmla="*/ 605394 h 2259621"/>
                <a:gd name="connsiteX2253" fmla="*/ 2463016 w 2945193"/>
                <a:gd name="connsiteY2253" fmla="*/ 603765 h 2259621"/>
                <a:gd name="connsiteX2254" fmla="*/ 2466274 w 2945193"/>
                <a:gd name="connsiteY2254" fmla="*/ 611910 h 2259621"/>
                <a:gd name="connsiteX2255" fmla="*/ 2467903 w 2945193"/>
                <a:gd name="connsiteY2255" fmla="*/ 616797 h 2259621"/>
                <a:gd name="connsiteX2256" fmla="*/ 2464645 w 2945193"/>
                <a:gd name="connsiteY2256" fmla="*/ 616797 h 2259621"/>
                <a:gd name="connsiteX2257" fmla="*/ 2442653 w 2945193"/>
                <a:gd name="connsiteY2257" fmla="*/ 622498 h 2259621"/>
                <a:gd name="connsiteX2258" fmla="*/ 2441839 w 2945193"/>
                <a:gd name="connsiteY2258" fmla="*/ 615982 h 2259621"/>
                <a:gd name="connsiteX2259" fmla="*/ 2437767 w 2945193"/>
                <a:gd name="connsiteY2259" fmla="*/ 612724 h 2259621"/>
                <a:gd name="connsiteX2260" fmla="*/ 2411703 w 2945193"/>
                <a:gd name="connsiteY2260" fmla="*/ 607023 h 2259621"/>
                <a:gd name="connsiteX2261" fmla="*/ 2404373 w 2945193"/>
                <a:gd name="connsiteY2261" fmla="*/ 608652 h 2259621"/>
                <a:gd name="connsiteX2262" fmla="*/ 2393784 w 2945193"/>
                <a:gd name="connsiteY2262" fmla="*/ 615982 h 2259621"/>
                <a:gd name="connsiteX2263" fmla="*/ 2391341 w 2945193"/>
                <a:gd name="connsiteY2263" fmla="*/ 625756 h 2259621"/>
                <a:gd name="connsiteX2264" fmla="*/ 2391341 w 2945193"/>
                <a:gd name="connsiteY2264" fmla="*/ 625756 h 2259621"/>
                <a:gd name="connsiteX2265" fmla="*/ 2375051 w 2945193"/>
                <a:gd name="connsiteY2265" fmla="*/ 626570 h 2259621"/>
                <a:gd name="connsiteX2266" fmla="*/ 2377494 w 2945193"/>
                <a:gd name="connsiteY2266" fmla="*/ 620055 h 2259621"/>
                <a:gd name="connsiteX2267" fmla="*/ 2378309 w 2945193"/>
                <a:gd name="connsiteY2267" fmla="*/ 616797 h 2259621"/>
                <a:gd name="connsiteX2268" fmla="*/ 2376680 w 2945193"/>
                <a:gd name="connsiteY2268" fmla="*/ 607023 h 2259621"/>
                <a:gd name="connsiteX2269" fmla="*/ 2381567 w 2945193"/>
                <a:gd name="connsiteY2269" fmla="*/ 592362 h 2259621"/>
                <a:gd name="connsiteX2270" fmla="*/ 2380752 w 2945193"/>
                <a:gd name="connsiteY2270" fmla="*/ 590733 h 2259621"/>
                <a:gd name="connsiteX2271" fmla="*/ 2379938 w 2945193"/>
                <a:gd name="connsiteY2271" fmla="*/ 582588 h 2259621"/>
                <a:gd name="connsiteX2272" fmla="*/ 2382381 w 2945193"/>
                <a:gd name="connsiteY2272" fmla="*/ 576072 h 2259621"/>
                <a:gd name="connsiteX2273" fmla="*/ 2374237 w 2945193"/>
                <a:gd name="connsiteY2273" fmla="*/ 580959 h 2259621"/>
                <a:gd name="connsiteX2274" fmla="*/ 2366092 w 2945193"/>
                <a:gd name="connsiteY2274" fmla="*/ 574443 h 2259621"/>
                <a:gd name="connsiteX2275" fmla="*/ 2363648 w 2945193"/>
                <a:gd name="connsiteY2275" fmla="*/ 567927 h 2259621"/>
                <a:gd name="connsiteX2276" fmla="*/ 2369349 w 2945193"/>
                <a:gd name="connsiteY2276" fmla="*/ 568742 h 2259621"/>
                <a:gd name="connsiteX2277" fmla="*/ 2359576 w 2945193"/>
                <a:gd name="connsiteY2277" fmla="*/ 541863 h 2259621"/>
                <a:gd name="connsiteX2278" fmla="*/ 2357132 w 2945193"/>
                <a:gd name="connsiteY2278" fmla="*/ 545936 h 2259621"/>
                <a:gd name="connsiteX2279" fmla="*/ 2356318 w 2945193"/>
                <a:gd name="connsiteY2279" fmla="*/ 545936 h 2259621"/>
                <a:gd name="connsiteX2280" fmla="*/ 2356318 w 2945193"/>
                <a:gd name="connsiteY2280" fmla="*/ 546750 h 2259621"/>
                <a:gd name="connsiteX2281" fmla="*/ 2357132 w 2945193"/>
                <a:gd name="connsiteY2281" fmla="*/ 546750 h 2259621"/>
                <a:gd name="connsiteX2282" fmla="*/ 2355503 w 2945193"/>
                <a:gd name="connsiteY2282" fmla="*/ 550823 h 2259621"/>
                <a:gd name="connsiteX2283" fmla="*/ 2353874 w 2945193"/>
                <a:gd name="connsiteY2283" fmla="*/ 550008 h 2259621"/>
                <a:gd name="connsiteX2284" fmla="*/ 2359576 w 2945193"/>
                <a:gd name="connsiteY2284" fmla="*/ 541863 h 2259621"/>
                <a:gd name="connsiteX2285" fmla="*/ 2353874 w 2945193"/>
                <a:gd name="connsiteY2285" fmla="*/ 585031 h 2259621"/>
                <a:gd name="connsiteX2286" fmla="*/ 2355503 w 2945193"/>
                <a:gd name="connsiteY2286" fmla="*/ 581773 h 2259621"/>
                <a:gd name="connsiteX2287" fmla="*/ 2362019 w 2945193"/>
                <a:gd name="connsiteY2287" fmla="*/ 577701 h 2259621"/>
                <a:gd name="connsiteX2288" fmla="*/ 2357132 w 2945193"/>
                <a:gd name="connsiteY2288" fmla="*/ 585031 h 2259621"/>
                <a:gd name="connsiteX2289" fmla="*/ 2355503 w 2945193"/>
                <a:gd name="connsiteY2289" fmla="*/ 599692 h 2259621"/>
                <a:gd name="connsiteX2290" fmla="*/ 2352245 w 2945193"/>
                <a:gd name="connsiteY2290" fmla="*/ 596434 h 2259621"/>
                <a:gd name="connsiteX2291" fmla="*/ 2353874 w 2945193"/>
                <a:gd name="connsiteY2291" fmla="*/ 585031 h 2259621"/>
                <a:gd name="connsiteX2292" fmla="*/ 2344915 w 2945193"/>
                <a:gd name="connsiteY2292" fmla="*/ 577701 h 2259621"/>
                <a:gd name="connsiteX2293" fmla="*/ 2351431 w 2945193"/>
                <a:gd name="connsiteY2293" fmla="*/ 573629 h 2259621"/>
                <a:gd name="connsiteX2294" fmla="*/ 2344915 w 2945193"/>
                <a:gd name="connsiteY2294" fmla="*/ 577701 h 2259621"/>
                <a:gd name="connsiteX2295" fmla="*/ 2348173 w 2945193"/>
                <a:gd name="connsiteY2295" fmla="*/ 526388 h 2259621"/>
                <a:gd name="connsiteX2296" fmla="*/ 2349802 w 2945193"/>
                <a:gd name="connsiteY2296" fmla="*/ 529646 h 2259621"/>
                <a:gd name="connsiteX2297" fmla="*/ 2345729 w 2945193"/>
                <a:gd name="connsiteY2297" fmla="*/ 547565 h 2259621"/>
                <a:gd name="connsiteX2298" fmla="*/ 2348173 w 2945193"/>
                <a:gd name="connsiteY2298" fmla="*/ 526388 h 2259621"/>
                <a:gd name="connsiteX2299" fmla="*/ 2349802 w 2945193"/>
                <a:gd name="connsiteY2299" fmla="*/ 554081 h 2259621"/>
                <a:gd name="connsiteX2300" fmla="*/ 2344100 w 2945193"/>
                <a:gd name="connsiteY2300" fmla="*/ 553266 h 2259621"/>
                <a:gd name="connsiteX2301" fmla="*/ 2343286 w 2945193"/>
                <a:gd name="connsiteY2301" fmla="*/ 550008 h 2259621"/>
                <a:gd name="connsiteX2302" fmla="*/ 2349802 w 2945193"/>
                <a:gd name="connsiteY2302" fmla="*/ 554081 h 2259621"/>
                <a:gd name="connsiteX2303" fmla="*/ 2340028 w 2945193"/>
                <a:gd name="connsiteY2303" fmla="*/ 538606 h 2259621"/>
                <a:gd name="connsiteX2304" fmla="*/ 2337585 w 2945193"/>
                <a:gd name="connsiteY2304" fmla="*/ 532904 h 2259621"/>
                <a:gd name="connsiteX2305" fmla="*/ 2340028 w 2945193"/>
                <a:gd name="connsiteY2305" fmla="*/ 538606 h 2259621"/>
                <a:gd name="connsiteX2306" fmla="*/ 2333512 w 2945193"/>
                <a:gd name="connsiteY2306" fmla="*/ 542678 h 2259621"/>
                <a:gd name="connsiteX2307" fmla="*/ 2331069 w 2945193"/>
                <a:gd name="connsiteY2307" fmla="*/ 540234 h 2259621"/>
                <a:gd name="connsiteX2308" fmla="*/ 2334326 w 2945193"/>
                <a:gd name="connsiteY2308" fmla="*/ 535348 h 2259621"/>
                <a:gd name="connsiteX2309" fmla="*/ 2333512 w 2945193"/>
                <a:gd name="connsiteY2309" fmla="*/ 542678 h 2259621"/>
                <a:gd name="connsiteX2310" fmla="*/ 2329440 w 2945193"/>
                <a:gd name="connsiteY2310" fmla="*/ 533719 h 2259621"/>
                <a:gd name="connsiteX2311" fmla="*/ 2328625 w 2945193"/>
                <a:gd name="connsiteY2311" fmla="*/ 528832 h 2259621"/>
                <a:gd name="connsiteX2312" fmla="*/ 2329440 w 2945193"/>
                <a:gd name="connsiteY2312" fmla="*/ 533719 h 2259621"/>
                <a:gd name="connsiteX2313" fmla="*/ 2329440 w 2945193"/>
                <a:gd name="connsiteY2313" fmla="*/ 534533 h 2259621"/>
                <a:gd name="connsiteX2314" fmla="*/ 2330254 w 2945193"/>
                <a:gd name="connsiteY2314" fmla="*/ 540234 h 2259621"/>
                <a:gd name="connsiteX2315" fmla="*/ 2327811 w 2945193"/>
                <a:gd name="connsiteY2315" fmla="*/ 539420 h 2259621"/>
                <a:gd name="connsiteX2316" fmla="*/ 2329440 w 2945193"/>
                <a:gd name="connsiteY2316" fmla="*/ 534533 h 2259621"/>
                <a:gd name="connsiteX2317" fmla="*/ 2323738 w 2945193"/>
                <a:gd name="connsiteY2317" fmla="*/ 555710 h 2259621"/>
                <a:gd name="connsiteX2318" fmla="*/ 2329440 w 2945193"/>
                <a:gd name="connsiteY2318" fmla="*/ 554895 h 2259621"/>
                <a:gd name="connsiteX2319" fmla="*/ 2322924 w 2945193"/>
                <a:gd name="connsiteY2319" fmla="*/ 564669 h 2259621"/>
                <a:gd name="connsiteX2320" fmla="*/ 2321295 w 2945193"/>
                <a:gd name="connsiteY2320" fmla="*/ 563040 h 2259621"/>
                <a:gd name="connsiteX2321" fmla="*/ 2323738 w 2945193"/>
                <a:gd name="connsiteY2321" fmla="*/ 555710 h 2259621"/>
                <a:gd name="connsiteX2322" fmla="*/ 2318037 w 2945193"/>
                <a:gd name="connsiteY2322" fmla="*/ 595620 h 2259621"/>
                <a:gd name="connsiteX2323" fmla="*/ 2318037 w 2945193"/>
                <a:gd name="connsiteY2323" fmla="*/ 599692 h 2259621"/>
                <a:gd name="connsiteX2324" fmla="*/ 2318037 w 2945193"/>
                <a:gd name="connsiteY2324" fmla="*/ 595620 h 2259621"/>
                <a:gd name="connsiteX2325" fmla="*/ 2313150 w 2945193"/>
                <a:gd name="connsiteY2325" fmla="*/ 509284 h 2259621"/>
                <a:gd name="connsiteX2326" fmla="*/ 2313964 w 2945193"/>
                <a:gd name="connsiteY2326" fmla="*/ 512542 h 2259621"/>
                <a:gd name="connsiteX2327" fmla="*/ 2311521 w 2945193"/>
                <a:gd name="connsiteY2327" fmla="*/ 520687 h 2259621"/>
                <a:gd name="connsiteX2328" fmla="*/ 2309892 w 2945193"/>
                <a:gd name="connsiteY2328" fmla="*/ 510913 h 2259621"/>
                <a:gd name="connsiteX2329" fmla="*/ 2313150 w 2945193"/>
                <a:gd name="connsiteY2329" fmla="*/ 509284 h 2259621"/>
                <a:gd name="connsiteX2330" fmla="*/ 2309077 w 2945193"/>
                <a:gd name="connsiteY2330" fmla="*/ 607837 h 2259621"/>
                <a:gd name="connsiteX2331" fmla="*/ 2309892 w 2945193"/>
                <a:gd name="connsiteY2331" fmla="*/ 615982 h 2259621"/>
                <a:gd name="connsiteX2332" fmla="*/ 2308263 w 2945193"/>
                <a:gd name="connsiteY2332" fmla="*/ 615982 h 2259621"/>
                <a:gd name="connsiteX2333" fmla="*/ 2307448 w 2945193"/>
                <a:gd name="connsiteY2333" fmla="*/ 607837 h 2259621"/>
                <a:gd name="connsiteX2334" fmla="*/ 2309077 w 2945193"/>
                <a:gd name="connsiteY2334" fmla="*/ 607837 h 2259621"/>
                <a:gd name="connsiteX2335" fmla="*/ 2313150 w 2945193"/>
                <a:gd name="connsiteY2335" fmla="*/ 819604 h 2259621"/>
                <a:gd name="connsiteX2336" fmla="*/ 2311521 w 2945193"/>
                <a:gd name="connsiteY2336" fmla="*/ 821233 h 2259621"/>
                <a:gd name="connsiteX2337" fmla="*/ 2305819 w 2945193"/>
                <a:gd name="connsiteY2337" fmla="*/ 822862 h 2259621"/>
                <a:gd name="connsiteX2338" fmla="*/ 2305819 w 2945193"/>
                <a:gd name="connsiteY2338" fmla="*/ 822862 h 2259621"/>
                <a:gd name="connsiteX2339" fmla="*/ 2305005 w 2945193"/>
                <a:gd name="connsiteY2339" fmla="*/ 819604 h 2259621"/>
                <a:gd name="connsiteX2340" fmla="*/ 2313150 w 2945193"/>
                <a:gd name="connsiteY2340" fmla="*/ 819604 h 2259621"/>
                <a:gd name="connsiteX2341" fmla="*/ 2281385 w 2945193"/>
                <a:gd name="connsiteY2341" fmla="*/ 230728 h 2259621"/>
                <a:gd name="connsiteX2342" fmla="*/ 2279755 w 2945193"/>
                <a:gd name="connsiteY2342" fmla="*/ 223398 h 2259621"/>
                <a:gd name="connsiteX2343" fmla="*/ 2281385 w 2945193"/>
                <a:gd name="connsiteY2343" fmla="*/ 230728 h 2259621"/>
                <a:gd name="connsiteX2344" fmla="*/ 2276498 w 2945193"/>
                <a:gd name="connsiteY2344" fmla="*/ 602136 h 2259621"/>
                <a:gd name="connsiteX2345" fmla="*/ 2277312 w 2945193"/>
                <a:gd name="connsiteY2345" fmla="*/ 610281 h 2259621"/>
                <a:gd name="connsiteX2346" fmla="*/ 2276498 w 2945193"/>
                <a:gd name="connsiteY2346" fmla="*/ 602136 h 2259621"/>
                <a:gd name="connsiteX2347" fmla="*/ 2271611 w 2945193"/>
                <a:gd name="connsiteY2347" fmla="*/ 617611 h 2259621"/>
                <a:gd name="connsiteX2348" fmla="*/ 2264280 w 2945193"/>
                <a:gd name="connsiteY2348" fmla="*/ 611910 h 2259621"/>
                <a:gd name="connsiteX2349" fmla="*/ 2271611 w 2945193"/>
                <a:gd name="connsiteY2349" fmla="*/ 617611 h 2259621"/>
                <a:gd name="connsiteX2350" fmla="*/ 2262651 w 2945193"/>
                <a:gd name="connsiteY2350" fmla="*/ 599692 h 2259621"/>
                <a:gd name="connsiteX2351" fmla="*/ 2256950 w 2945193"/>
                <a:gd name="connsiteY2351" fmla="*/ 607837 h 2259621"/>
                <a:gd name="connsiteX2352" fmla="*/ 2262651 w 2945193"/>
                <a:gd name="connsiteY2352" fmla="*/ 599692 h 2259621"/>
                <a:gd name="connsiteX2353" fmla="*/ 2223556 w 2945193"/>
                <a:gd name="connsiteY2353" fmla="*/ 95523 h 2259621"/>
                <a:gd name="connsiteX2354" fmla="*/ 2221113 w 2945193"/>
                <a:gd name="connsiteY2354" fmla="*/ 103668 h 2259621"/>
                <a:gd name="connsiteX2355" fmla="*/ 2223556 w 2945193"/>
                <a:gd name="connsiteY2355" fmla="*/ 95523 h 2259621"/>
                <a:gd name="connsiteX2356" fmla="*/ 2219484 w 2945193"/>
                <a:gd name="connsiteY2356" fmla="*/ 591547 h 2259621"/>
                <a:gd name="connsiteX2357" fmla="*/ 2219484 w 2945193"/>
                <a:gd name="connsiteY2357" fmla="*/ 593176 h 2259621"/>
                <a:gd name="connsiteX2358" fmla="*/ 2217040 w 2945193"/>
                <a:gd name="connsiteY2358" fmla="*/ 597249 h 2259621"/>
                <a:gd name="connsiteX2359" fmla="*/ 2209710 w 2945193"/>
                <a:gd name="connsiteY2359" fmla="*/ 603765 h 2259621"/>
                <a:gd name="connsiteX2360" fmla="*/ 2209710 w 2945193"/>
                <a:gd name="connsiteY2360" fmla="*/ 603765 h 2259621"/>
                <a:gd name="connsiteX2361" fmla="*/ 2208895 w 2945193"/>
                <a:gd name="connsiteY2361" fmla="*/ 601321 h 2259621"/>
                <a:gd name="connsiteX2362" fmla="*/ 2212968 w 2945193"/>
                <a:gd name="connsiteY2362" fmla="*/ 593176 h 2259621"/>
                <a:gd name="connsiteX2363" fmla="*/ 2219484 w 2945193"/>
                <a:gd name="connsiteY2363" fmla="*/ 591547 h 2259621"/>
                <a:gd name="connsiteX2364" fmla="*/ 2212968 w 2945193"/>
                <a:gd name="connsiteY2364" fmla="*/ 111813 h 2259621"/>
                <a:gd name="connsiteX2365" fmla="*/ 2212153 w 2945193"/>
                <a:gd name="connsiteY2365" fmla="*/ 118329 h 2259621"/>
                <a:gd name="connsiteX2366" fmla="*/ 2212968 w 2945193"/>
                <a:gd name="connsiteY2366" fmla="*/ 111813 h 2259621"/>
                <a:gd name="connsiteX2367" fmla="*/ 2206451 w 2945193"/>
                <a:gd name="connsiteY2367" fmla="*/ 90636 h 2259621"/>
                <a:gd name="connsiteX2368" fmla="*/ 2208895 w 2945193"/>
                <a:gd name="connsiteY2368" fmla="*/ 89007 h 2259621"/>
                <a:gd name="connsiteX2369" fmla="*/ 2211339 w 2945193"/>
                <a:gd name="connsiteY2369" fmla="*/ 89007 h 2259621"/>
                <a:gd name="connsiteX2370" fmla="*/ 2215411 w 2945193"/>
                <a:gd name="connsiteY2370" fmla="*/ 92265 h 2259621"/>
                <a:gd name="connsiteX2371" fmla="*/ 2211339 w 2945193"/>
                <a:gd name="connsiteY2371" fmla="*/ 95523 h 2259621"/>
                <a:gd name="connsiteX2372" fmla="*/ 2209710 w 2945193"/>
                <a:gd name="connsiteY2372" fmla="*/ 95523 h 2259621"/>
                <a:gd name="connsiteX2373" fmla="*/ 2209710 w 2945193"/>
                <a:gd name="connsiteY2373" fmla="*/ 92265 h 2259621"/>
                <a:gd name="connsiteX2374" fmla="*/ 2202379 w 2945193"/>
                <a:gd name="connsiteY2374" fmla="*/ 91451 h 2259621"/>
                <a:gd name="connsiteX2375" fmla="*/ 2206451 w 2945193"/>
                <a:gd name="connsiteY2375" fmla="*/ 90636 h 2259621"/>
                <a:gd name="connsiteX2376" fmla="*/ 2204823 w 2945193"/>
                <a:gd name="connsiteY2376" fmla="*/ 104483 h 2259621"/>
                <a:gd name="connsiteX2377" fmla="*/ 2201565 w 2945193"/>
                <a:gd name="connsiteY2377" fmla="*/ 100410 h 2259621"/>
                <a:gd name="connsiteX2378" fmla="*/ 2214596 w 2945193"/>
                <a:gd name="connsiteY2378" fmla="*/ 104483 h 2259621"/>
                <a:gd name="connsiteX2379" fmla="*/ 2198307 w 2945193"/>
                <a:gd name="connsiteY2379" fmla="*/ 105297 h 2259621"/>
                <a:gd name="connsiteX2380" fmla="*/ 2204823 w 2945193"/>
                <a:gd name="connsiteY2380" fmla="*/ 104483 h 2259621"/>
                <a:gd name="connsiteX2381" fmla="*/ 2155953 w 2945193"/>
                <a:gd name="connsiteY2381" fmla="*/ 128103 h 2259621"/>
                <a:gd name="connsiteX2382" fmla="*/ 2157582 w 2945193"/>
                <a:gd name="connsiteY2382" fmla="*/ 128917 h 2259621"/>
                <a:gd name="connsiteX2383" fmla="*/ 2155953 w 2945193"/>
                <a:gd name="connsiteY2383" fmla="*/ 135433 h 2259621"/>
                <a:gd name="connsiteX2384" fmla="*/ 2155953 w 2945193"/>
                <a:gd name="connsiteY2384" fmla="*/ 128103 h 2259621"/>
                <a:gd name="connsiteX2385" fmla="*/ 2146180 w 2945193"/>
                <a:gd name="connsiteY2385" fmla="*/ 117514 h 2259621"/>
                <a:gd name="connsiteX2386" fmla="*/ 2147809 w 2945193"/>
                <a:gd name="connsiteY2386" fmla="*/ 116700 h 2259621"/>
                <a:gd name="connsiteX2387" fmla="*/ 2148623 w 2945193"/>
                <a:gd name="connsiteY2387" fmla="*/ 119958 h 2259621"/>
                <a:gd name="connsiteX2388" fmla="*/ 2149437 w 2945193"/>
                <a:gd name="connsiteY2388" fmla="*/ 123216 h 2259621"/>
                <a:gd name="connsiteX2389" fmla="*/ 2146180 w 2945193"/>
                <a:gd name="connsiteY2389" fmla="*/ 120772 h 2259621"/>
                <a:gd name="connsiteX2390" fmla="*/ 2145365 w 2945193"/>
                <a:gd name="connsiteY2390" fmla="*/ 119144 h 2259621"/>
                <a:gd name="connsiteX2391" fmla="*/ 2146180 w 2945193"/>
                <a:gd name="connsiteY2391" fmla="*/ 117514 h 2259621"/>
                <a:gd name="connsiteX2392" fmla="*/ 2140478 w 2945193"/>
                <a:gd name="connsiteY2392" fmla="*/ 135433 h 2259621"/>
                <a:gd name="connsiteX2393" fmla="*/ 2141292 w 2945193"/>
                <a:gd name="connsiteY2393" fmla="*/ 137062 h 2259621"/>
                <a:gd name="connsiteX2394" fmla="*/ 2140478 w 2945193"/>
                <a:gd name="connsiteY2394" fmla="*/ 135433 h 2259621"/>
                <a:gd name="connsiteX2395" fmla="*/ 2140478 w 2945193"/>
                <a:gd name="connsiteY2395" fmla="*/ 135433 h 2259621"/>
                <a:gd name="connsiteX2396" fmla="*/ 2125817 w 2945193"/>
                <a:gd name="connsiteY2396" fmla="*/ 54799 h 2259621"/>
                <a:gd name="connsiteX2397" fmla="*/ 2127446 w 2945193"/>
                <a:gd name="connsiteY2397" fmla="*/ 55613 h 2259621"/>
                <a:gd name="connsiteX2398" fmla="*/ 2126632 w 2945193"/>
                <a:gd name="connsiteY2398" fmla="*/ 56428 h 2259621"/>
                <a:gd name="connsiteX2399" fmla="*/ 2120116 w 2945193"/>
                <a:gd name="connsiteY2399" fmla="*/ 58871 h 2259621"/>
                <a:gd name="connsiteX2400" fmla="*/ 2114414 w 2945193"/>
                <a:gd name="connsiteY2400" fmla="*/ 60500 h 2259621"/>
                <a:gd name="connsiteX2401" fmla="*/ 2113600 w 2945193"/>
                <a:gd name="connsiteY2401" fmla="*/ 60500 h 2259621"/>
                <a:gd name="connsiteX2402" fmla="*/ 2114414 w 2945193"/>
                <a:gd name="connsiteY2402" fmla="*/ 58871 h 2259621"/>
                <a:gd name="connsiteX2403" fmla="*/ 2125817 w 2945193"/>
                <a:gd name="connsiteY2403" fmla="*/ 54799 h 2259621"/>
                <a:gd name="connsiteX2404" fmla="*/ 2101383 w 2945193"/>
                <a:gd name="connsiteY2404" fmla="*/ 21405 h 2259621"/>
                <a:gd name="connsiteX2405" fmla="*/ 2104640 w 2945193"/>
                <a:gd name="connsiteY2405" fmla="*/ 20590 h 2259621"/>
                <a:gd name="connsiteX2406" fmla="*/ 2111971 w 2945193"/>
                <a:gd name="connsiteY2406" fmla="*/ 20590 h 2259621"/>
                <a:gd name="connsiteX2407" fmla="*/ 2112785 w 2945193"/>
                <a:gd name="connsiteY2407" fmla="*/ 22219 h 2259621"/>
                <a:gd name="connsiteX2408" fmla="*/ 2112785 w 2945193"/>
                <a:gd name="connsiteY2408" fmla="*/ 22219 h 2259621"/>
                <a:gd name="connsiteX2409" fmla="*/ 2112785 w 2945193"/>
                <a:gd name="connsiteY2409" fmla="*/ 22219 h 2259621"/>
                <a:gd name="connsiteX2410" fmla="*/ 2114414 w 2945193"/>
                <a:gd name="connsiteY2410" fmla="*/ 23034 h 2259621"/>
                <a:gd name="connsiteX2411" fmla="*/ 2113600 w 2945193"/>
                <a:gd name="connsiteY2411" fmla="*/ 23034 h 2259621"/>
                <a:gd name="connsiteX2412" fmla="*/ 2112785 w 2945193"/>
                <a:gd name="connsiteY2412" fmla="*/ 22219 h 2259621"/>
                <a:gd name="connsiteX2413" fmla="*/ 2112785 w 2945193"/>
                <a:gd name="connsiteY2413" fmla="*/ 22219 h 2259621"/>
                <a:gd name="connsiteX2414" fmla="*/ 2112785 w 2945193"/>
                <a:gd name="connsiteY2414" fmla="*/ 22219 h 2259621"/>
                <a:gd name="connsiteX2415" fmla="*/ 2111971 w 2945193"/>
                <a:gd name="connsiteY2415" fmla="*/ 22219 h 2259621"/>
                <a:gd name="connsiteX2416" fmla="*/ 2105455 w 2945193"/>
                <a:gd name="connsiteY2416" fmla="*/ 23848 h 2259621"/>
                <a:gd name="connsiteX2417" fmla="*/ 2099754 w 2945193"/>
                <a:gd name="connsiteY2417" fmla="*/ 23034 h 2259621"/>
                <a:gd name="connsiteX2418" fmla="*/ 2098939 w 2945193"/>
                <a:gd name="connsiteY2418" fmla="*/ 22219 h 2259621"/>
                <a:gd name="connsiteX2419" fmla="*/ 2101383 w 2945193"/>
                <a:gd name="connsiteY2419" fmla="*/ 21405 h 2259621"/>
                <a:gd name="connsiteX2420" fmla="*/ 2086722 w 2945193"/>
                <a:gd name="connsiteY2420" fmla="*/ 63758 h 2259621"/>
                <a:gd name="connsiteX2421" fmla="*/ 2091609 w 2945193"/>
                <a:gd name="connsiteY2421" fmla="*/ 61315 h 2259621"/>
                <a:gd name="connsiteX2422" fmla="*/ 2093238 w 2945193"/>
                <a:gd name="connsiteY2422" fmla="*/ 59686 h 2259621"/>
                <a:gd name="connsiteX2423" fmla="*/ 2096495 w 2945193"/>
                <a:gd name="connsiteY2423" fmla="*/ 58871 h 2259621"/>
                <a:gd name="connsiteX2424" fmla="*/ 2099754 w 2945193"/>
                <a:gd name="connsiteY2424" fmla="*/ 58057 h 2259621"/>
                <a:gd name="connsiteX2425" fmla="*/ 2105455 w 2945193"/>
                <a:gd name="connsiteY2425" fmla="*/ 56428 h 2259621"/>
                <a:gd name="connsiteX2426" fmla="*/ 2108713 w 2945193"/>
                <a:gd name="connsiteY2426" fmla="*/ 57242 h 2259621"/>
                <a:gd name="connsiteX2427" fmla="*/ 2109528 w 2945193"/>
                <a:gd name="connsiteY2427" fmla="*/ 58057 h 2259621"/>
                <a:gd name="connsiteX2428" fmla="*/ 2108713 w 2945193"/>
                <a:gd name="connsiteY2428" fmla="*/ 58871 h 2259621"/>
                <a:gd name="connsiteX2429" fmla="*/ 2099754 w 2945193"/>
                <a:gd name="connsiteY2429" fmla="*/ 61315 h 2259621"/>
                <a:gd name="connsiteX2430" fmla="*/ 2086722 w 2945193"/>
                <a:gd name="connsiteY2430" fmla="*/ 64573 h 2259621"/>
                <a:gd name="connsiteX2431" fmla="*/ 2085907 w 2945193"/>
                <a:gd name="connsiteY2431" fmla="*/ 63758 h 2259621"/>
                <a:gd name="connsiteX2432" fmla="*/ 2086722 w 2945193"/>
                <a:gd name="connsiteY2432" fmla="*/ 63758 h 2259621"/>
                <a:gd name="connsiteX2433" fmla="*/ 2077762 w 2945193"/>
                <a:gd name="connsiteY2433" fmla="*/ 63758 h 2259621"/>
                <a:gd name="connsiteX2434" fmla="*/ 2082649 w 2945193"/>
                <a:gd name="connsiteY2434" fmla="*/ 65387 h 2259621"/>
                <a:gd name="connsiteX2435" fmla="*/ 2082649 w 2945193"/>
                <a:gd name="connsiteY2435" fmla="*/ 66202 h 2259621"/>
                <a:gd name="connsiteX2436" fmla="*/ 2081835 w 2945193"/>
                <a:gd name="connsiteY2436" fmla="*/ 67016 h 2259621"/>
                <a:gd name="connsiteX2437" fmla="*/ 2076948 w 2945193"/>
                <a:gd name="connsiteY2437" fmla="*/ 65387 h 2259621"/>
                <a:gd name="connsiteX2438" fmla="*/ 2076948 w 2945193"/>
                <a:gd name="connsiteY2438" fmla="*/ 64573 h 2259621"/>
                <a:gd name="connsiteX2439" fmla="*/ 2077762 w 2945193"/>
                <a:gd name="connsiteY2439" fmla="*/ 63758 h 2259621"/>
                <a:gd name="connsiteX2440" fmla="*/ 1637124 w 2945193"/>
                <a:gd name="connsiteY2440" fmla="*/ 114257 h 2259621"/>
                <a:gd name="connsiteX2441" fmla="*/ 1618390 w 2945193"/>
                <a:gd name="connsiteY2441" fmla="*/ 119958 h 2259621"/>
                <a:gd name="connsiteX2442" fmla="*/ 1611874 w 2945193"/>
                <a:gd name="connsiteY2442" fmla="*/ 118329 h 2259621"/>
                <a:gd name="connsiteX2443" fmla="*/ 1637124 w 2945193"/>
                <a:gd name="connsiteY2443" fmla="*/ 114257 h 2259621"/>
                <a:gd name="connsiteX2444" fmla="*/ 1623277 w 2945193"/>
                <a:gd name="connsiteY2444" fmla="*/ 2022605 h 2259621"/>
                <a:gd name="connsiteX2445" fmla="*/ 1623277 w 2945193"/>
                <a:gd name="connsiteY2445" fmla="*/ 2022605 h 2259621"/>
                <a:gd name="connsiteX2446" fmla="*/ 1621648 w 2945193"/>
                <a:gd name="connsiteY2446" fmla="*/ 2024234 h 2259621"/>
                <a:gd name="connsiteX2447" fmla="*/ 1616761 w 2945193"/>
                <a:gd name="connsiteY2447" fmla="*/ 2023420 h 2259621"/>
                <a:gd name="connsiteX2448" fmla="*/ 1606173 w 2945193"/>
                <a:gd name="connsiteY2448" fmla="*/ 2026677 h 2259621"/>
                <a:gd name="connsiteX2449" fmla="*/ 1616761 w 2945193"/>
                <a:gd name="connsiteY2449" fmla="*/ 2022605 h 2259621"/>
                <a:gd name="connsiteX2450" fmla="*/ 1616761 w 2945193"/>
                <a:gd name="connsiteY2450" fmla="*/ 2023420 h 2259621"/>
                <a:gd name="connsiteX2451" fmla="*/ 1616761 w 2945193"/>
                <a:gd name="connsiteY2451" fmla="*/ 2022605 h 2259621"/>
                <a:gd name="connsiteX2452" fmla="*/ 1622463 w 2945193"/>
                <a:gd name="connsiteY2452" fmla="*/ 2020162 h 2259621"/>
                <a:gd name="connsiteX2453" fmla="*/ 1625721 w 2945193"/>
                <a:gd name="connsiteY2453" fmla="*/ 2019347 h 2259621"/>
                <a:gd name="connsiteX2454" fmla="*/ 1623277 w 2945193"/>
                <a:gd name="connsiteY2454" fmla="*/ 2022605 h 2259621"/>
                <a:gd name="connsiteX2455" fmla="*/ 1642010 w 2945193"/>
                <a:gd name="connsiteY2455" fmla="*/ 2017718 h 2259621"/>
                <a:gd name="connsiteX2456" fmla="*/ 1633051 w 2945193"/>
                <a:gd name="connsiteY2456" fmla="*/ 2022605 h 2259621"/>
                <a:gd name="connsiteX2457" fmla="*/ 1629793 w 2945193"/>
                <a:gd name="connsiteY2457" fmla="*/ 2027492 h 2259621"/>
                <a:gd name="connsiteX2458" fmla="*/ 1629793 w 2945193"/>
                <a:gd name="connsiteY2458" fmla="*/ 2027492 h 2259621"/>
                <a:gd name="connsiteX2459" fmla="*/ 1632236 w 2945193"/>
                <a:gd name="connsiteY2459" fmla="*/ 2022605 h 2259621"/>
                <a:gd name="connsiteX2460" fmla="*/ 1633865 w 2945193"/>
                <a:gd name="connsiteY2460" fmla="*/ 2022605 h 2259621"/>
                <a:gd name="connsiteX2461" fmla="*/ 1637124 w 2945193"/>
                <a:gd name="connsiteY2461" fmla="*/ 2020162 h 2259621"/>
                <a:gd name="connsiteX2462" fmla="*/ 1642010 w 2945193"/>
                <a:gd name="connsiteY2462" fmla="*/ 2017718 h 2259621"/>
                <a:gd name="connsiteX2463" fmla="*/ 1642010 w 2945193"/>
                <a:gd name="connsiteY2463" fmla="*/ 2017718 h 2259621"/>
                <a:gd name="connsiteX2464" fmla="*/ 1649341 w 2945193"/>
                <a:gd name="connsiteY2464" fmla="*/ 2025863 h 2259621"/>
                <a:gd name="connsiteX2465" fmla="*/ 1668888 w 2945193"/>
                <a:gd name="connsiteY2465" fmla="*/ 2017718 h 2259621"/>
                <a:gd name="connsiteX2466" fmla="*/ 1649341 w 2945193"/>
                <a:gd name="connsiteY2466" fmla="*/ 2025863 h 2259621"/>
                <a:gd name="connsiteX2467" fmla="*/ 1672961 w 2945193"/>
                <a:gd name="connsiteY2467" fmla="*/ 2008759 h 2259621"/>
                <a:gd name="connsiteX2468" fmla="*/ 1681106 w 2945193"/>
                <a:gd name="connsiteY2468" fmla="*/ 2002243 h 2259621"/>
                <a:gd name="connsiteX2469" fmla="*/ 1683550 w 2945193"/>
                <a:gd name="connsiteY2469" fmla="*/ 2003872 h 2259621"/>
                <a:gd name="connsiteX2470" fmla="*/ 1672961 w 2945193"/>
                <a:gd name="connsiteY2470" fmla="*/ 2008759 h 2259621"/>
                <a:gd name="connsiteX2471" fmla="*/ 1669703 w 2945193"/>
                <a:gd name="connsiteY2471" fmla="*/ 2003058 h 2259621"/>
                <a:gd name="connsiteX2472" fmla="*/ 1676219 w 2945193"/>
                <a:gd name="connsiteY2472" fmla="*/ 1998170 h 2259621"/>
                <a:gd name="connsiteX2473" fmla="*/ 1679477 w 2945193"/>
                <a:gd name="connsiteY2473" fmla="*/ 1999799 h 2259621"/>
                <a:gd name="connsiteX2474" fmla="*/ 1669703 w 2945193"/>
                <a:gd name="connsiteY2474" fmla="*/ 2003058 h 2259621"/>
                <a:gd name="connsiteX2475" fmla="*/ 1700654 w 2945193"/>
                <a:gd name="connsiteY2475" fmla="*/ 1995727 h 2259621"/>
                <a:gd name="connsiteX2476" fmla="*/ 1694138 w 2945193"/>
                <a:gd name="connsiteY2476" fmla="*/ 1992469 h 2259621"/>
                <a:gd name="connsiteX2477" fmla="*/ 1680291 w 2945193"/>
                <a:gd name="connsiteY2477" fmla="*/ 1993284 h 2259621"/>
                <a:gd name="connsiteX2478" fmla="*/ 1675405 w 2945193"/>
                <a:gd name="connsiteY2478" fmla="*/ 1994098 h 2259621"/>
                <a:gd name="connsiteX2479" fmla="*/ 1641196 w 2945193"/>
                <a:gd name="connsiteY2479" fmla="*/ 2007944 h 2259621"/>
                <a:gd name="connsiteX2480" fmla="*/ 1639567 w 2945193"/>
                <a:gd name="connsiteY2480" fmla="*/ 2009573 h 2259621"/>
                <a:gd name="connsiteX2481" fmla="*/ 1639567 w 2945193"/>
                <a:gd name="connsiteY2481" fmla="*/ 2009573 h 2259621"/>
                <a:gd name="connsiteX2482" fmla="*/ 1638753 w 2945193"/>
                <a:gd name="connsiteY2482" fmla="*/ 2009573 h 2259621"/>
                <a:gd name="connsiteX2483" fmla="*/ 1638753 w 2945193"/>
                <a:gd name="connsiteY2483" fmla="*/ 2009573 h 2259621"/>
                <a:gd name="connsiteX2484" fmla="*/ 1637124 w 2945193"/>
                <a:gd name="connsiteY2484" fmla="*/ 2012831 h 2259621"/>
                <a:gd name="connsiteX2485" fmla="*/ 1631422 w 2945193"/>
                <a:gd name="connsiteY2485" fmla="*/ 2016089 h 2259621"/>
                <a:gd name="connsiteX2486" fmla="*/ 1633865 w 2945193"/>
                <a:gd name="connsiteY2486" fmla="*/ 2012831 h 2259621"/>
                <a:gd name="connsiteX2487" fmla="*/ 1638753 w 2945193"/>
                <a:gd name="connsiteY2487" fmla="*/ 2009573 h 2259621"/>
                <a:gd name="connsiteX2488" fmla="*/ 1636309 w 2945193"/>
                <a:gd name="connsiteY2488" fmla="*/ 2009573 h 2259621"/>
                <a:gd name="connsiteX2489" fmla="*/ 1637124 w 2945193"/>
                <a:gd name="connsiteY2489" fmla="*/ 2008759 h 2259621"/>
                <a:gd name="connsiteX2490" fmla="*/ 1649341 w 2945193"/>
                <a:gd name="connsiteY2490" fmla="*/ 2001428 h 2259621"/>
                <a:gd name="connsiteX2491" fmla="*/ 1666445 w 2945193"/>
                <a:gd name="connsiteY2491" fmla="*/ 1993284 h 2259621"/>
                <a:gd name="connsiteX2492" fmla="*/ 1678662 w 2945193"/>
                <a:gd name="connsiteY2492" fmla="*/ 1986768 h 2259621"/>
                <a:gd name="connsiteX2493" fmla="*/ 1677033 w 2945193"/>
                <a:gd name="connsiteY2493" fmla="*/ 1988396 h 2259621"/>
                <a:gd name="connsiteX2494" fmla="*/ 1684364 w 2945193"/>
                <a:gd name="connsiteY2494" fmla="*/ 1986768 h 2259621"/>
                <a:gd name="connsiteX2495" fmla="*/ 1687622 w 2945193"/>
                <a:gd name="connsiteY2495" fmla="*/ 1986768 h 2259621"/>
                <a:gd name="connsiteX2496" fmla="*/ 1690065 w 2945193"/>
                <a:gd name="connsiteY2496" fmla="*/ 1990840 h 2259621"/>
                <a:gd name="connsiteX2497" fmla="*/ 1695767 w 2945193"/>
                <a:gd name="connsiteY2497" fmla="*/ 1990840 h 2259621"/>
                <a:gd name="connsiteX2498" fmla="*/ 1700654 w 2945193"/>
                <a:gd name="connsiteY2498" fmla="*/ 1995727 h 2259621"/>
                <a:gd name="connsiteX2499" fmla="*/ 1700654 w 2945193"/>
                <a:gd name="connsiteY2499" fmla="*/ 1995727 h 2259621"/>
                <a:gd name="connsiteX2500" fmla="*/ 1700654 w 2945193"/>
                <a:gd name="connsiteY2500" fmla="*/ 1995727 h 2259621"/>
                <a:gd name="connsiteX2501" fmla="*/ 1909978 w 2945193"/>
                <a:gd name="connsiteY2501" fmla="*/ 1949301 h 2259621"/>
                <a:gd name="connsiteX2502" fmla="*/ 1910792 w 2945193"/>
                <a:gd name="connsiteY2502" fmla="*/ 1946858 h 2259621"/>
                <a:gd name="connsiteX2503" fmla="*/ 1909163 w 2945193"/>
                <a:gd name="connsiteY2503" fmla="*/ 1946858 h 2259621"/>
                <a:gd name="connsiteX2504" fmla="*/ 1905090 w 2945193"/>
                <a:gd name="connsiteY2504" fmla="*/ 1950930 h 2259621"/>
                <a:gd name="connsiteX2505" fmla="*/ 1908348 w 2945193"/>
                <a:gd name="connsiteY2505" fmla="*/ 1950115 h 2259621"/>
                <a:gd name="connsiteX2506" fmla="*/ 1903462 w 2945193"/>
                <a:gd name="connsiteY2506" fmla="*/ 1952559 h 2259621"/>
                <a:gd name="connsiteX2507" fmla="*/ 1904276 w 2945193"/>
                <a:gd name="connsiteY2507" fmla="*/ 1951745 h 2259621"/>
                <a:gd name="connsiteX2508" fmla="*/ 1902647 w 2945193"/>
                <a:gd name="connsiteY2508" fmla="*/ 1950930 h 2259621"/>
                <a:gd name="connsiteX2509" fmla="*/ 1888801 w 2945193"/>
                <a:gd name="connsiteY2509" fmla="*/ 1952559 h 2259621"/>
                <a:gd name="connsiteX2510" fmla="*/ 1896945 w 2945193"/>
                <a:gd name="connsiteY2510" fmla="*/ 1949301 h 2259621"/>
                <a:gd name="connsiteX2511" fmla="*/ 1899389 w 2945193"/>
                <a:gd name="connsiteY2511" fmla="*/ 1946858 h 2259621"/>
                <a:gd name="connsiteX2512" fmla="*/ 1897760 w 2945193"/>
                <a:gd name="connsiteY2512" fmla="*/ 1946043 h 2259621"/>
                <a:gd name="connsiteX2513" fmla="*/ 1883914 w 2945193"/>
                <a:gd name="connsiteY2513" fmla="*/ 1947672 h 2259621"/>
                <a:gd name="connsiteX2514" fmla="*/ 1899389 w 2945193"/>
                <a:gd name="connsiteY2514" fmla="*/ 1942785 h 2259621"/>
                <a:gd name="connsiteX2515" fmla="*/ 1900204 w 2945193"/>
                <a:gd name="connsiteY2515" fmla="*/ 1942785 h 2259621"/>
                <a:gd name="connsiteX2516" fmla="*/ 1901833 w 2945193"/>
                <a:gd name="connsiteY2516" fmla="*/ 1942785 h 2259621"/>
                <a:gd name="connsiteX2517" fmla="*/ 1901833 w 2945193"/>
                <a:gd name="connsiteY2517" fmla="*/ 1945229 h 2259621"/>
                <a:gd name="connsiteX2518" fmla="*/ 1901018 w 2945193"/>
                <a:gd name="connsiteY2518" fmla="*/ 1946043 h 2259621"/>
                <a:gd name="connsiteX2519" fmla="*/ 1901833 w 2945193"/>
                <a:gd name="connsiteY2519" fmla="*/ 1946043 h 2259621"/>
                <a:gd name="connsiteX2520" fmla="*/ 1901833 w 2945193"/>
                <a:gd name="connsiteY2520" fmla="*/ 1947672 h 2259621"/>
                <a:gd name="connsiteX2521" fmla="*/ 1910792 w 2945193"/>
                <a:gd name="connsiteY2521" fmla="*/ 1946858 h 2259621"/>
                <a:gd name="connsiteX2522" fmla="*/ 1917308 w 2945193"/>
                <a:gd name="connsiteY2522" fmla="*/ 1943600 h 2259621"/>
                <a:gd name="connsiteX2523" fmla="*/ 1919752 w 2945193"/>
                <a:gd name="connsiteY2523" fmla="*/ 1946043 h 2259621"/>
                <a:gd name="connsiteX2524" fmla="*/ 1909978 w 2945193"/>
                <a:gd name="connsiteY2524" fmla="*/ 1949301 h 2259621"/>
                <a:gd name="connsiteX2525" fmla="*/ 2019119 w 2945193"/>
                <a:gd name="connsiteY2525" fmla="*/ 1919980 h 2259621"/>
                <a:gd name="connsiteX2526" fmla="*/ 2022377 w 2945193"/>
                <a:gd name="connsiteY2526" fmla="*/ 1917536 h 2259621"/>
                <a:gd name="connsiteX2527" fmla="*/ 2023191 w 2945193"/>
                <a:gd name="connsiteY2527" fmla="*/ 1917536 h 2259621"/>
                <a:gd name="connsiteX2528" fmla="*/ 2033780 w 2945193"/>
                <a:gd name="connsiteY2528" fmla="*/ 1914278 h 2259621"/>
                <a:gd name="connsiteX2529" fmla="*/ 2035409 w 2945193"/>
                <a:gd name="connsiteY2529" fmla="*/ 1915907 h 2259621"/>
                <a:gd name="connsiteX2530" fmla="*/ 2019119 w 2945193"/>
                <a:gd name="connsiteY2530" fmla="*/ 1919980 h 2259621"/>
                <a:gd name="connsiteX2531" fmla="*/ 2234959 w 2945193"/>
                <a:gd name="connsiteY2531" fmla="*/ 1608845 h 2259621"/>
                <a:gd name="connsiteX2532" fmla="*/ 2252063 w 2945193"/>
                <a:gd name="connsiteY2532" fmla="*/ 1600700 h 2259621"/>
                <a:gd name="connsiteX2533" fmla="*/ 2234959 w 2945193"/>
                <a:gd name="connsiteY2533" fmla="*/ 1608845 h 2259621"/>
                <a:gd name="connsiteX2534" fmla="*/ 2261022 w 2945193"/>
                <a:gd name="connsiteY2534" fmla="*/ 1600700 h 2259621"/>
                <a:gd name="connsiteX2535" fmla="*/ 2257765 w 2945193"/>
                <a:gd name="connsiteY2535" fmla="*/ 1602329 h 2259621"/>
                <a:gd name="connsiteX2536" fmla="*/ 2252877 w 2945193"/>
                <a:gd name="connsiteY2536" fmla="*/ 1600700 h 2259621"/>
                <a:gd name="connsiteX2537" fmla="*/ 2256950 w 2945193"/>
                <a:gd name="connsiteY2537" fmla="*/ 1597442 h 2259621"/>
                <a:gd name="connsiteX2538" fmla="*/ 2260208 w 2945193"/>
                <a:gd name="connsiteY2538" fmla="*/ 1598256 h 2259621"/>
                <a:gd name="connsiteX2539" fmla="*/ 2261022 w 2945193"/>
                <a:gd name="connsiteY2539" fmla="*/ 1600700 h 2259621"/>
                <a:gd name="connsiteX2540" fmla="*/ 2446726 w 2945193"/>
                <a:gd name="connsiteY2540" fmla="*/ 1559975 h 2259621"/>
                <a:gd name="connsiteX2541" fmla="*/ 2444282 w 2945193"/>
                <a:gd name="connsiteY2541" fmla="*/ 1564862 h 2259621"/>
                <a:gd name="connsiteX2542" fmla="*/ 2442653 w 2945193"/>
                <a:gd name="connsiteY2542" fmla="*/ 1559161 h 2259621"/>
                <a:gd name="connsiteX2543" fmla="*/ 2443468 w 2945193"/>
                <a:gd name="connsiteY2543" fmla="*/ 1559161 h 2259621"/>
                <a:gd name="connsiteX2544" fmla="*/ 2446726 w 2945193"/>
                <a:gd name="connsiteY2544" fmla="*/ 1559975 h 2259621"/>
                <a:gd name="connsiteX2545" fmla="*/ 2446726 w 2945193"/>
                <a:gd name="connsiteY2545" fmla="*/ 1559975 h 2259621"/>
                <a:gd name="connsiteX2546" fmla="*/ 2592520 w 2945193"/>
                <a:gd name="connsiteY2546" fmla="*/ 1523323 h 2259621"/>
                <a:gd name="connsiteX2547" fmla="*/ 2589261 w 2945193"/>
                <a:gd name="connsiteY2547" fmla="*/ 1524138 h 2259621"/>
                <a:gd name="connsiteX2548" fmla="*/ 2587633 w 2945193"/>
                <a:gd name="connsiteY2548" fmla="*/ 1523323 h 2259621"/>
                <a:gd name="connsiteX2549" fmla="*/ 2577859 w 2945193"/>
                <a:gd name="connsiteY2549" fmla="*/ 1524138 h 2259621"/>
                <a:gd name="connsiteX2550" fmla="*/ 2594963 w 2945193"/>
                <a:gd name="connsiteY2550" fmla="*/ 1520065 h 2259621"/>
                <a:gd name="connsiteX2551" fmla="*/ 2599035 w 2945193"/>
                <a:gd name="connsiteY2551" fmla="*/ 1520065 h 2259621"/>
                <a:gd name="connsiteX2552" fmla="*/ 2592520 w 2945193"/>
                <a:gd name="connsiteY2552" fmla="*/ 1523323 h 2259621"/>
                <a:gd name="connsiteX2553" fmla="*/ 2654421 w 2945193"/>
                <a:gd name="connsiteY2553" fmla="*/ 1511920 h 2259621"/>
                <a:gd name="connsiteX2554" fmla="*/ 2634873 w 2945193"/>
                <a:gd name="connsiteY2554" fmla="*/ 1515993 h 2259621"/>
                <a:gd name="connsiteX2555" fmla="*/ 2637316 w 2945193"/>
                <a:gd name="connsiteY2555" fmla="*/ 1513549 h 2259621"/>
                <a:gd name="connsiteX2556" fmla="*/ 2645461 w 2945193"/>
                <a:gd name="connsiteY2556" fmla="*/ 1511920 h 2259621"/>
                <a:gd name="connsiteX2557" fmla="*/ 2645461 w 2945193"/>
                <a:gd name="connsiteY2557" fmla="*/ 1507848 h 2259621"/>
                <a:gd name="connsiteX2558" fmla="*/ 2651163 w 2945193"/>
                <a:gd name="connsiteY2558" fmla="*/ 1506219 h 2259621"/>
                <a:gd name="connsiteX2559" fmla="*/ 2648720 w 2945193"/>
                <a:gd name="connsiteY2559" fmla="*/ 1507848 h 2259621"/>
                <a:gd name="connsiteX2560" fmla="*/ 2654421 w 2945193"/>
                <a:gd name="connsiteY2560" fmla="*/ 1511920 h 2259621"/>
                <a:gd name="connsiteX2561" fmla="*/ 2654421 w 2945193"/>
                <a:gd name="connsiteY2561" fmla="*/ 1511920 h 2259621"/>
                <a:gd name="connsiteX2562" fmla="*/ 2654421 w 2945193"/>
                <a:gd name="connsiteY2562" fmla="*/ 1261872 h 2259621"/>
                <a:gd name="connsiteX2563" fmla="*/ 2652792 w 2945193"/>
                <a:gd name="connsiteY2563" fmla="*/ 1262687 h 2259621"/>
                <a:gd name="connsiteX2564" fmla="*/ 2636502 w 2945193"/>
                <a:gd name="connsiteY2564" fmla="*/ 1266759 h 2259621"/>
                <a:gd name="connsiteX2565" fmla="*/ 2630801 w 2945193"/>
                <a:gd name="connsiteY2565" fmla="*/ 1265130 h 2259621"/>
                <a:gd name="connsiteX2566" fmla="*/ 2629986 w 2945193"/>
                <a:gd name="connsiteY2566" fmla="*/ 1265130 h 2259621"/>
                <a:gd name="connsiteX2567" fmla="*/ 2655235 w 2945193"/>
                <a:gd name="connsiteY2567" fmla="*/ 1257800 h 2259621"/>
                <a:gd name="connsiteX2568" fmla="*/ 2654421 w 2945193"/>
                <a:gd name="connsiteY2568" fmla="*/ 1261872 h 2259621"/>
                <a:gd name="connsiteX2569" fmla="*/ 2676412 w 2945193"/>
                <a:gd name="connsiteY2569" fmla="*/ 1271646 h 2259621"/>
                <a:gd name="connsiteX2570" fmla="*/ 2675598 w 2945193"/>
                <a:gd name="connsiteY2570" fmla="*/ 1270831 h 2259621"/>
                <a:gd name="connsiteX2571" fmla="*/ 2695960 w 2945193"/>
                <a:gd name="connsiteY2571" fmla="*/ 1265944 h 2259621"/>
                <a:gd name="connsiteX2572" fmla="*/ 2676412 w 2945193"/>
                <a:gd name="connsiteY2572" fmla="*/ 1271646 h 2259621"/>
                <a:gd name="connsiteX2573" fmla="*/ 2686186 w 2945193"/>
                <a:gd name="connsiteY2573" fmla="*/ 1255356 h 2259621"/>
                <a:gd name="connsiteX2574" fmla="*/ 2687000 w 2945193"/>
                <a:gd name="connsiteY2574" fmla="*/ 1252913 h 2259621"/>
                <a:gd name="connsiteX2575" fmla="*/ 2688629 w 2945193"/>
                <a:gd name="connsiteY2575" fmla="*/ 1251284 h 2259621"/>
                <a:gd name="connsiteX2576" fmla="*/ 2696774 w 2945193"/>
                <a:gd name="connsiteY2576" fmla="*/ 1252913 h 2259621"/>
                <a:gd name="connsiteX2577" fmla="*/ 2697589 w 2945193"/>
                <a:gd name="connsiteY2577" fmla="*/ 1252913 h 2259621"/>
                <a:gd name="connsiteX2578" fmla="*/ 2686186 w 2945193"/>
                <a:gd name="connsiteY2578" fmla="*/ 1255356 h 2259621"/>
                <a:gd name="connsiteX2579" fmla="*/ 2683742 w 2945193"/>
                <a:gd name="connsiteY2579" fmla="*/ 1243953 h 2259621"/>
                <a:gd name="connsiteX2580" fmla="*/ 2688629 w 2945193"/>
                <a:gd name="connsiteY2580" fmla="*/ 1242324 h 2259621"/>
                <a:gd name="connsiteX2581" fmla="*/ 2691887 w 2945193"/>
                <a:gd name="connsiteY2581" fmla="*/ 1240695 h 2259621"/>
                <a:gd name="connsiteX2582" fmla="*/ 2687815 w 2945193"/>
                <a:gd name="connsiteY2582" fmla="*/ 1248026 h 2259621"/>
                <a:gd name="connsiteX2583" fmla="*/ 2683742 w 2945193"/>
                <a:gd name="connsiteY2583" fmla="*/ 1243953 h 2259621"/>
                <a:gd name="connsiteX2584" fmla="*/ 2752974 w 2945193"/>
                <a:gd name="connsiteY2584" fmla="*/ 1246397 h 2259621"/>
                <a:gd name="connsiteX2585" fmla="*/ 2749716 w 2945193"/>
                <a:gd name="connsiteY2585" fmla="*/ 1252098 h 2259621"/>
                <a:gd name="connsiteX2586" fmla="*/ 2736684 w 2945193"/>
                <a:gd name="connsiteY2586" fmla="*/ 1252913 h 2259621"/>
                <a:gd name="connsiteX2587" fmla="*/ 2749716 w 2945193"/>
                <a:gd name="connsiteY2587" fmla="*/ 1248026 h 2259621"/>
                <a:gd name="connsiteX2588" fmla="*/ 2752974 w 2945193"/>
                <a:gd name="connsiteY2588" fmla="*/ 1246397 h 2259621"/>
                <a:gd name="connsiteX2589" fmla="*/ 2752974 w 2945193"/>
                <a:gd name="connsiteY2589" fmla="*/ 1246397 h 2259621"/>
                <a:gd name="connsiteX2590" fmla="*/ 2761119 w 2945193"/>
                <a:gd name="connsiteY2590" fmla="*/ 1231736 h 2259621"/>
                <a:gd name="connsiteX2591" fmla="*/ 2761119 w 2945193"/>
                <a:gd name="connsiteY2591" fmla="*/ 1231736 h 2259621"/>
                <a:gd name="connsiteX2592" fmla="*/ 2761119 w 2945193"/>
                <a:gd name="connsiteY2592" fmla="*/ 1231736 h 2259621"/>
                <a:gd name="connsiteX2593" fmla="*/ 2757047 w 2945193"/>
                <a:gd name="connsiteY2593" fmla="*/ 1239881 h 2259621"/>
                <a:gd name="connsiteX2594" fmla="*/ 2735870 w 2945193"/>
                <a:gd name="connsiteY2594" fmla="*/ 1243139 h 2259621"/>
                <a:gd name="connsiteX2595" fmla="*/ 2735870 w 2945193"/>
                <a:gd name="connsiteY2595" fmla="*/ 1233365 h 2259621"/>
                <a:gd name="connsiteX2596" fmla="*/ 2753788 w 2945193"/>
                <a:gd name="connsiteY2596" fmla="*/ 1230922 h 2259621"/>
                <a:gd name="connsiteX2597" fmla="*/ 2761119 w 2945193"/>
                <a:gd name="connsiteY2597" fmla="*/ 1231736 h 2259621"/>
                <a:gd name="connsiteX2598" fmla="*/ 2761119 w 2945193"/>
                <a:gd name="connsiteY2598" fmla="*/ 1231736 h 2259621"/>
                <a:gd name="connsiteX2599" fmla="*/ 2801029 w 2945193"/>
                <a:gd name="connsiteY2599" fmla="*/ 1218704 h 2259621"/>
                <a:gd name="connsiteX2600" fmla="*/ 2806730 w 2945193"/>
                <a:gd name="connsiteY2600" fmla="*/ 1215446 h 2259621"/>
                <a:gd name="connsiteX2601" fmla="*/ 2801029 w 2945193"/>
                <a:gd name="connsiteY2601" fmla="*/ 1218704 h 2259621"/>
                <a:gd name="connsiteX2602" fmla="*/ 2795328 w 2945193"/>
                <a:gd name="connsiteY2602" fmla="*/ 1174722 h 2259621"/>
                <a:gd name="connsiteX2603" fmla="*/ 2797771 w 2945193"/>
                <a:gd name="connsiteY2603" fmla="*/ 1174722 h 2259621"/>
                <a:gd name="connsiteX2604" fmla="*/ 2814061 w 2945193"/>
                <a:gd name="connsiteY2604" fmla="*/ 1177165 h 2259621"/>
                <a:gd name="connsiteX2605" fmla="*/ 2795328 w 2945193"/>
                <a:gd name="connsiteY2605" fmla="*/ 1177980 h 2259621"/>
                <a:gd name="connsiteX2606" fmla="*/ 2795328 w 2945193"/>
                <a:gd name="connsiteY2606" fmla="*/ 1174722 h 2259621"/>
                <a:gd name="connsiteX2607" fmla="*/ 2797771 w 2945193"/>
                <a:gd name="connsiteY2607" fmla="*/ 1185310 h 2259621"/>
                <a:gd name="connsiteX2608" fmla="*/ 2791255 w 2945193"/>
                <a:gd name="connsiteY2608" fmla="*/ 1186125 h 2259621"/>
                <a:gd name="connsiteX2609" fmla="*/ 2797771 w 2945193"/>
                <a:gd name="connsiteY2609" fmla="*/ 1185310 h 2259621"/>
                <a:gd name="connsiteX2610" fmla="*/ 2798585 w 2945193"/>
                <a:gd name="connsiteY2610" fmla="*/ 1204858 h 2259621"/>
                <a:gd name="connsiteX2611" fmla="*/ 2798585 w 2945193"/>
                <a:gd name="connsiteY2611" fmla="*/ 1200785 h 2259621"/>
                <a:gd name="connsiteX2612" fmla="*/ 2809988 w 2945193"/>
                <a:gd name="connsiteY2612" fmla="*/ 1199156 h 2259621"/>
                <a:gd name="connsiteX2613" fmla="*/ 2808359 w 2945193"/>
                <a:gd name="connsiteY2613" fmla="*/ 1196713 h 2259621"/>
                <a:gd name="connsiteX2614" fmla="*/ 2797771 w 2945193"/>
                <a:gd name="connsiteY2614" fmla="*/ 1195084 h 2259621"/>
                <a:gd name="connsiteX2615" fmla="*/ 2808359 w 2945193"/>
                <a:gd name="connsiteY2615" fmla="*/ 1185310 h 2259621"/>
                <a:gd name="connsiteX2616" fmla="*/ 2808359 w 2945193"/>
                <a:gd name="connsiteY2616" fmla="*/ 1185310 h 2259621"/>
                <a:gd name="connsiteX2617" fmla="*/ 2815690 w 2945193"/>
                <a:gd name="connsiteY2617" fmla="*/ 1182052 h 2259621"/>
                <a:gd name="connsiteX2618" fmla="*/ 2834423 w 2945193"/>
                <a:gd name="connsiteY2618" fmla="*/ 1178794 h 2259621"/>
                <a:gd name="connsiteX2619" fmla="*/ 2849898 w 2945193"/>
                <a:gd name="connsiteY2619" fmla="*/ 1182052 h 2259621"/>
                <a:gd name="connsiteX2620" fmla="*/ 2845826 w 2945193"/>
                <a:gd name="connsiteY2620" fmla="*/ 1185310 h 2259621"/>
                <a:gd name="connsiteX2621" fmla="*/ 2827907 w 2945193"/>
                <a:gd name="connsiteY2621" fmla="*/ 1186125 h 2259621"/>
                <a:gd name="connsiteX2622" fmla="*/ 2818133 w 2945193"/>
                <a:gd name="connsiteY2622" fmla="*/ 1194270 h 2259621"/>
                <a:gd name="connsiteX2623" fmla="*/ 2842568 w 2945193"/>
                <a:gd name="connsiteY2623" fmla="*/ 1197527 h 2259621"/>
                <a:gd name="connsiteX2624" fmla="*/ 2840125 w 2945193"/>
                <a:gd name="connsiteY2624" fmla="*/ 1200785 h 2259621"/>
                <a:gd name="connsiteX2625" fmla="*/ 2832794 w 2945193"/>
                <a:gd name="connsiteY2625" fmla="*/ 1204043 h 2259621"/>
                <a:gd name="connsiteX2626" fmla="*/ 2838495 w 2945193"/>
                <a:gd name="connsiteY2626" fmla="*/ 1206487 h 2259621"/>
                <a:gd name="connsiteX2627" fmla="*/ 2836866 w 2945193"/>
                <a:gd name="connsiteY2627" fmla="*/ 1208116 h 2259621"/>
                <a:gd name="connsiteX2628" fmla="*/ 2806730 w 2945193"/>
                <a:gd name="connsiteY2628" fmla="*/ 1208930 h 2259621"/>
                <a:gd name="connsiteX2629" fmla="*/ 2737499 w 2945193"/>
                <a:gd name="connsiteY2629" fmla="*/ 1213003 h 2259621"/>
                <a:gd name="connsiteX2630" fmla="*/ 2720395 w 2945193"/>
                <a:gd name="connsiteY2630" fmla="*/ 1213003 h 2259621"/>
                <a:gd name="connsiteX2631" fmla="*/ 2729354 w 2945193"/>
                <a:gd name="connsiteY2631" fmla="*/ 1202414 h 2259621"/>
                <a:gd name="connsiteX2632" fmla="*/ 2762748 w 2945193"/>
                <a:gd name="connsiteY2632" fmla="*/ 1207301 h 2259621"/>
                <a:gd name="connsiteX2633" fmla="*/ 2764377 w 2945193"/>
                <a:gd name="connsiteY2633" fmla="*/ 1207301 h 2259621"/>
                <a:gd name="connsiteX2634" fmla="*/ 2798585 w 2945193"/>
                <a:gd name="connsiteY2634" fmla="*/ 1204858 h 2259621"/>
                <a:gd name="connsiteX2635" fmla="*/ 2769264 w 2945193"/>
                <a:gd name="connsiteY2635" fmla="*/ 1195898 h 2259621"/>
                <a:gd name="connsiteX2636" fmla="*/ 2742386 w 2945193"/>
                <a:gd name="connsiteY2636" fmla="*/ 1199156 h 2259621"/>
                <a:gd name="connsiteX2637" fmla="*/ 2769264 w 2945193"/>
                <a:gd name="connsiteY2637" fmla="*/ 1195898 h 2259621"/>
                <a:gd name="connsiteX2638" fmla="*/ 2706548 w 2945193"/>
                <a:gd name="connsiteY2638" fmla="*/ 1206487 h 2259621"/>
                <a:gd name="connsiteX2639" fmla="*/ 2709806 w 2945193"/>
                <a:gd name="connsiteY2639" fmla="*/ 1204043 h 2259621"/>
                <a:gd name="connsiteX2640" fmla="*/ 2695960 w 2945193"/>
                <a:gd name="connsiteY2640" fmla="*/ 1201600 h 2259621"/>
                <a:gd name="connsiteX2641" fmla="*/ 2702476 w 2945193"/>
                <a:gd name="connsiteY2641" fmla="*/ 1194270 h 2259621"/>
                <a:gd name="connsiteX2642" fmla="*/ 2708991 w 2945193"/>
                <a:gd name="connsiteY2642" fmla="*/ 1195898 h 2259621"/>
                <a:gd name="connsiteX2643" fmla="*/ 2735055 w 2945193"/>
                <a:gd name="connsiteY2643" fmla="*/ 1195084 h 2259621"/>
                <a:gd name="connsiteX2644" fmla="*/ 2740757 w 2945193"/>
                <a:gd name="connsiteY2644" fmla="*/ 1192640 h 2259621"/>
                <a:gd name="connsiteX2645" fmla="*/ 2742386 w 2945193"/>
                <a:gd name="connsiteY2645" fmla="*/ 1199156 h 2259621"/>
                <a:gd name="connsiteX2646" fmla="*/ 2724467 w 2945193"/>
                <a:gd name="connsiteY2646" fmla="*/ 1200785 h 2259621"/>
                <a:gd name="connsiteX2647" fmla="*/ 2720395 w 2945193"/>
                <a:gd name="connsiteY2647" fmla="*/ 1203229 h 2259621"/>
                <a:gd name="connsiteX2648" fmla="*/ 2713879 w 2945193"/>
                <a:gd name="connsiteY2648" fmla="*/ 1213817 h 2259621"/>
                <a:gd name="connsiteX2649" fmla="*/ 2681299 w 2945193"/>
                <a:gd name="connsiteY2649" fmla="*/ 1217890 h 2259621"/>
                <a:gd name="connsiteX2650" fmla="*/ 2670710 w 2945193"/>
                <a:gd name="connsiteY2650" fmla="*/ 1219519 h 2259621"/>
                <a:gd name="connsiteX2651" fmla="*/ 2670710 w 2945193"/>
                <a:gd name="connsiteY2651" fmla="*/ 1218704 h 2259621"/>
                <a:gd name="connsiteX2652" fmla="*/ 2673154 w 2945193"/>
                <a:gd name="connsiteY2652" fmla="*/ 1213003 h 2259621"/>
                <a:gd name="connsiteX2653" fmla="*/ 2674783 w 2945193"/>
                <a:gd name="connsiteY2653" fmla="*/ 1211374 h 2259621"/>
                <a:gd name="connsiteX2654" fmla="*/ 2676412 w 2945193"/>
                <a:gd name="connsiteY2654" fmla="*/ 1209745 h 2259621"/>
                <a:gd name="connsiteX2655" fmla="*/ 2706548 w 2945193"/>
                <a:gd name="connsiteY2655" fmla="*/ 1206487 h 225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</a:cxnLst>
              <a:rect l="l" t="t" r="r" b="b"/>
              <a:pathLst>
                <a:path w="2945193" h="2259621">
                  <a:moveTo>
                    <a:pt x="2941936" y="902682"/>
                  </a:moveTo>
                  <a:cubicBezTo>
                    <a:pt x="2940307" y="903497"/>
                    <a:pt x="2939492" y="903497"/>
                    <a:pt x="2937863" y="904311"/>
                  </a:cubicBezTo>
                  <a:cubicBezTo>
                    <a:pt x="2936234" y="905126"/>
                    <a:pt x="2934605" y="905126"/>
                    <a:pt x="2932976" y="905126"/>
                  </a:cubicBezTo>
                  <a:cubicBezTo>
                    <a:pt x="2929718" y="907569"/>
                    <a:pt x="2925646" y="905126"/>
                    <a:pt x="2923202" y="908384"/>
                  </a:cubicBezTo>
                  <a:cubicBezTo>
                    <a:pt x="2922388" y="909198"/>
                    <a:pt x="2921573" y="909198"/>
                    <a:pt x="2921573" y="909198"/>
                  </a:cubicBezTo>
                  <a:cubicBezTo>
                    <a:pt x="2918315" y="909198"/>
                    <a:pt x="2915872" y="910827"/>
                    <a:pt x="2913429" y="911642"/>
                  </a:cubicBezTo>
                  <a:cubicBezTo>
                    <a:pt x="2912614" y="912456"/>
                    <a:pt x="2911800" y="912456"/>
                    <a:pt x="2910170" y="912456"/>
                  </a:cubicBezTo>
                  <a:cubicBezTo>
                    <a:pt x="2908541" y="912456"/>
                    <a:pt x="2906912" y="913271"/>
                    <a:pt x="2905284" y="913271"/>
                  </a:cubicBezTo>
                  <a:cubicBezTo>
                    <a:pt x="2903655" y="914085"/>
                    <a:pt x="2901211" y="913271"/>
                    <a:pt x="2898767" y="914085"/>
                  </a:cubicBezTo>
                  <a:cubicBezTo>
                    <a:pt x="2897953" y="914085"/>
                    <a:pt x="2897139" y="914085"/>
                    <a:pt x="2896324" y="914085"/>
                  </a:cubicBezTo>
                  <a:cubicBezTo>
                    <a:pt x="2894695" y="914899"/>
                    <a:pt x="2892252" y="915714"/>
                    <a:pt x="2890622" y="916529"/>
                  </a:cubicBezTo>
                  <a:cubicBezTo>
                    <a:pt x="2888179" y="918158"/>
                    <a:pt x="2885736" y="916529"/>
                    <a:pt x="2883292" y="918158"/>
                  </a:cubicBezTo>
                  <a:cubicBezTo>
                    <a:pt x="2881663" y="919786"/>
                    <a:pt x="2879220" y="919786"/>
                    <a:pt x="2877591" y="919786"/>
                  </a:cubicBezTo>
                  <a:cubicBezTo>
                    <a:pt x="2875962" y="920601"/>
                    <a:pt x="2874333" y="919786"/>
                    <a:pt x="2872704" y="920601"/>
                  </a:cubicBezTo>
                  <a:cubicBezTo>
                    <a:pt x="2871075" y="921416"/>
                    <a:pt x="2869446" y="922230"/>
                    <a:pt x="2867817" y="923044"/>
                  </a:cubicBezTo>
                  <a:cubicBezTo>
                    <a:pt x="2866188" y="923044"/>
                    <a:pt x="2863744" y="923044"/>
                    <a:pt x="2862115" y="923859"/>
                  </a:cubicBezTo>
                  <a:cubicBezTo>
                    <a:pt x="2861301" y="923859"/>
                    <a:pt x="2860487" y="924673"/>
                    <a:pt x="2860487" y="924673"/>
                  </a:cubicBezTo>
                  <a:cubicBezTo>
                    <a:pt x="2859672" y="924673"/>
                    <a:pt x="2858858" y="924673"/>
                    <a:pt x="2858043" y="923859"/>
                  </a:cubicBezTo>
                  <a:cubicBezTo>
                    <a:pt x="2857229" y="923044"/>
                    <a:pt x="2856414" y="923044"/>
                    <a:pt x="2854785" y="923044"/>
                  </a:cubicBezTo>
                  <a:cubicBezTo>
                    <a:pt x="2852342" y="923859"/>
                    <a:pt x="2850713" y="925488"/>
                    <a:pt x="2847455" y="924673"/>
                  </a:cubicBezTo>
                  <a:cubicBezTo>
                    <a:pt x="2845826" y="924673"/>
                    <a:pt x="2844197" y="924673"/>
                    <a:pt x="2842568" y="924673"/>
                  </a:cubicBezTo>
                  <a:cubicBezTo>
                    <a:pt x="2840939" y="924673"/>
                    <a:pt x="2839310" y="926303"/>
                    <a:pt x="2837681" y="927117"/>
                  </a:cubicBezTo>
                  <a:cubicBezTo>
                    <a:pt x="2835237" y="927931"/>
                    <a:pt x="2833608" y="929560"/>
                    <a:pt x="2831165" y="930375"/>
                  </a:cubicBezTo>
                  <a:cubicBezTo>
                    <a:pt x="2830351" y="930375"/>
                    <a:pt x="2829536" y="931189"/>
                    <a:pt x="2829536" y="931189"/>
                  </a:cubicBezTo>
                  <a:cubicBezTo>
                    <a:pt x="2827092" y="931189"/>
                    <a:pt x="2824649" y="932004"/>
                    <a:pt x="2822206" y="932818"/>
                  </a:cubicBezTo>
                  <a:cubicBezTo>
                    <a:pt x="2821391" y="932818"/>
                    <a:pt x="2820577" y="932818"/>
                    <a:pt x="2820577" y="932818"/>
                  </a:cubicBezTo>
                  <a:cubicBezTo>
                    <a:pt x="2818948" y="932818"/>
                    <a:pt x="2817318" y="932818"/>
                    <a:pt x="2815690" y="932818"/>
                  </a:cubicBezTo>
                  <a:cubicBezTo>
                    <a:pt x="2814061" y="932818"/>
                    <a:pt x="2813246" y="932818"/>
                    <a:pt x="2811617" y="933633"/>
                  </a:cubicBezTo>
                  <a:cubicBezTo>
                    <a:pt x="2809988" y="934447"/>
                    <a:pt x="2808359" y="936076"/>
                    <a:pt x="2806730" y="936076"/>
                  </a:cubicBezTo>
                  <a:cubicBezTo>
                    <a:pt x="2805101" y="936076"/>
                    <a:pt x="2803473" y="936076"/>
                    <a:pt x="2801843" y="936076"/>
                  </a:cubicBezTo>
                  <a:cubicBezTo>
                    <a:pt x="2799400" y="936076"/>
                    <a:pt x="2797771" y="936076"/>
                    <a:pt x="2795328" y="936076"/>
                  </a:cubicBezTo>
                  <a:cubicBezTo>
                    <a:pt x="2794513" y="936076"/>
                    <a:pt x="2792884" y="936076"/>
                    <a:pt x="2792069" y="936891"/>
                  </a:cubicBezTo>
                  <a:cubicBezTo>
                    <a:pt x="2789626" y="938520"/>
                    <a:pt x="2787183" y="938520"/>
                    <a:pt x="2784739" y="937705"/>
                  </a:cubicBezTo>
                  <a:cubicBezTo>
                    <a:pt x="2783110" y="936891"/>
                    <a:pt x="2781481" y="937705"/>
                    <a:pt x="2779852" y="937705"/>
                  </a:cubicBezTo>
                  <a:cubicBezTo>
                    <a:pt x="2773336" y="937705"/>
                    <a:pt x="2773336" y="937705"/>
                    <a:pt x="2767635" y="940963"/>
                  </a:cubicBezTo>
                  <a:cubicBezTo>
                    <a:pt x="2765191" y="942592"/>
                    <a:pt x="2762748" y="943407"/>
                    <a:pt x="2760304" y="945036"/>
                  </a:cubicBezTo>
                  <a:cubicBezTo>
                    <a:pt x="2757861" y="944221"/>
                    <a:pt x="2755417" y="945850"/>
                    <a:pt x="2752974" y="946665"/>
                  </a:cubicBezTo>
                  <a:cubicBezTo>
                    <a:pt x="2751345" y="946665"/>
                    <a:pt x="2749716" y="946665"/>
                    <a:pt x="2748087" y="947479"/>
                  </a:cubicBezTo>
                  <a:cubicBezTo>
                    <a:pt x="2746458" y="948294"/>
                    <a:pt x="2744014" y="949108"/>
                    <a:pt x="2742386" y="950737"/>
                  </a:cubicBezTo>
                  <a:cubicBezTo>
                    <a:pt x="2740757" y="951552"/>
                    <a:pt x="2739128" y="952366"/>
                    <a:pt x="2737499" y="952366"/>
                  </a:cubicBezTo>
                  <a:cubicBezTo>
                    <a:pt x="2737499" y="952366"/>
                    <a:pt x="2736684" y="952366"/>
                    <a:pt x="2736684" y="952366"/>
                  </a:cubicBezTo>
                  <a:cubicBezTo>
                    <a:pt x="2733426" y="954810"/>
                    <a:pt x="2728539" y="955624"/>
                    <a:pt x="2726910" y="959696"/>
                  </a:cubicBezTo>
                  <a:cubicBezTo>
                    <a:pt x="2726910" y="960511"/>
                    <a:pt x="2726096" y="960511"/>
                    <a:pt x="2725281" y="960511"/>
                  </a:cubicBezTo>
                  <a:cubicBezTo>
                    <a:pt x="2722838" y="960511"/>
                    <a:pt x="2721209" y="961325"/>
                    <a:pt x="2719580" y="962140"/>
                  </a:cubicBezTo>
                  <a:cubicBezTo>
                    <a:pt x="2718765" y="962955"/>
                    <a:pt x="2717136" y="962955"/>
                    <a:pt x="2715507" y="963769"/>
                  </a:cubicBezTo>
                  <a:cubicBezTo>
                    <a:pt x="2712250" y="962955"/>
                    <a:pt x="2709806" y="965398"/>
                    <a:pt x="2706548" y="966212"/>
                  </a:cubicBezTo>
                  <a:cubicBezTo>
                    <a:pt x="2705734" y="966212"/>
                    <a:pt x="2704919" y="967027"/>
                    <a:pt x="2704919" y="967027"/>
                  </a:cubicBezTo>
                  <a:cubicBezTo>
                    <a:pt x="2702476" y="966212"/>
                    <a:pt x="2700032" y="967841"/>
                    <a:pt x="2698403" y="969470"/>
                  </a:cubicBezTo>
                  <a:cubicBezTo>
                    <a:pt x="2694331" y="971099"/>
                    <a:pt x="2691887" y="974357"/>
                    <a:pt x="2687000" y="974357"/>
                  </a:cubicBezTo>
                  <a:cubicBezTo>
                    <a:pt x="2686186" y="974357"/>
                    <a:pt x="2685372" y="975172"/>
                    <a:pt x="2685372" y="975172"/>
                  </a:cubicBezTo>
                  <a:cubicBezTo>
                    <a:pt x="2680484" y="978430"/>
                    <a:pt x="2674783" y="980873"/>
                    <a:pt x="2669896" y="984131"/>
                  </a:cubicBezTo>
                  <a:cubicBezTo>
                    <a:pt x="2668267" y="984946"/>
                    <a:pt x="2667453" y="985760"/>
                    <a:pt x="2665824" y="984946"/>
                  </a:cubicBezTo>
                  <a:cubicBezTo>
                    <a:pt x="2665009" y="984946"/>
                    <a:pt x="2664195" y="984946"/>
                    <a:pt x="2664195" y="985760"/>
                  </a:cubicBezTo>
                  <a:cubicBezTo>
                    <a:pt x="2663380" y="987389"/>
                    <a:pt x="2661751" y="988204"/>
                    <a:pt x="2660122" y="988204"/>
                  </a:cubicBezTo>
                  <a:cubicBezTo>
                    <a:pt x="2658493" y="988204"/>
                    <a:pt x="2658493" y="989018"/>
                    <a:pt x="2657679" y="989833"/>
                  </a:cubicBezTo>
                  <a:cubicBezTo>
                    <a:pt x="2652792" y="989833"/>
                    <a:pt x="2648720" y="993091"/>
                    <a:pt x="2644647" y="995534"/>
                  </a:cubicBezTo>
                  <a:cubicBezTo>
                    <a:pt x="2643832" y="995534"/>
                    <a:pt x="2643832" y="996348"/>
                    <a:pt x="2643018" y="996348"/>
                  </a:cubicBezTo>
                  <a:cubicBezTo>
                    <a:pt x="2643018" y="996348"/>
                    <a:pt x="2642203" y="996348"/>
                    <a:pt x="2642203" y="996348"/>
                  </a:cubicBezTo>
                  <a:cubicBezTo>
                    <a:pt x="2639760" y="995534"/>
                    <a:pt x="2637316" y="997163"/>
                    <a:pt x="2635687" y="997978"/>
                  </a:cubicBezTo>
                  <a:cubicBezTo>
                    <a:pt x="2634873" y="997978"/>
                    <a:pt x="2633244" y="998792"/>
                    <a:pt x="2632430" y="998792"/>
                  </a:cubicBezTo>
                  <a:cubicBezTo>
                    <a:pt x="2629172" y="999607"/>
                    <a:pt x="2625913" y="1000421"/>
                    <a:pt x="2622656" y="1001235"/>
                  </a:cubicBezTo>
                  <a:cubicBezTo>
                    <a:pt x="2622656" y="1001235"/>
                    <a:pt x="2622656" y="1000421"/>
                    <a:pt x="2622656" y="1000421"/>
                  </a:cubicBezTo>
                  <a:cubicBezTo>
                    <a:pt x="2621027" y="993905"/>
                    <a:pt x="2616140" y="992276"/>
                    <a:pt x="2612882" y="996348"/>
                  </a:cubicBezTo>
                  <a:cubicBezTo>
                    <a:pt x="2611253" y="998792"/>
                    <a:pt x="2608809" y="1000421"/>
                    <a:pt x="2607180" y="1002050"/>
                  </a:cubicBezTo>
                  <a:cubicBezTo>
                    <a:pt x="2600664" y="995534"/>
                    <a:pt x="2594149" y="989018"/>
                    <a:pt x="2587633" y="982502"/>
                  </a:cubicBezTo>
                  <a:cubicBezTo>
                    <a:pt x="2580302" y="975986"/>
                    <a:pt x="2572157" y="969470"/>
                    <a:pt x="2564012" y="962955"/>
                  </a:cubicBezTo>
                  <a:cubicBezTo>
                    <a:pt x="2545279" y="949923"/>
                    <a:pt x="2524917" y="944221"/>
                    <a:pt x="2502111" y="946665"/>
                  </a:cubicBezTo>
                  <a:cubicBezTo>
                    <a:pt x="2497224" y="947479"/>
                    <a:pt x="2493152" y="947479"/>
                    <a:pt x="2488265" y="947479"/>
                  </a:cubicBezTo>
                  <a:cubicBezTo>
                    <a:pt x="2488265" y="947479"/>
                    <a:pt x="2488265" y="946665"/>
                    <a:pt x="2489079" y="946665"/>
                  </a:cubicBezTo>
                  <a:cubicBezTo>
                    <a:pt x="2487450" y="946665"/>
                    <a:pt x="2485007" y="946665"/>
                    <a:pt x="2483378" y="946665"/>
                  </a:cubicBezTo>
                  <a:cubicBezTo>
                    <a:pt x="2483378" y="945850"/>
                    <a:pt x="2483378" y="945850"/>
                    <a:pt x="2483378" y="945036"/>
                  </a:cubicBezTo>
                  <a:cubicBezTo>
                    <a:pt x="2484193" y="942592"/>
                    <a:pt x="2483378" y="939334"/>
                    <a:pt x="2483378" y="936891"/>
                  </a:cubicBezTo>
                  <a:cubicBezTo>
                    <a:pt x="2483378" y="936076"/>
                    <a:pt x="2482564" y="935262"/>
                    <a:pt x="2480934" y="934447"/>
                  </a:cubicBezTo>
                  <a:cubicBezTo>
                    <a:pt x="2479305" y="934447"/>
                    <a:pt x="2478491" y="933633"/>
                    <a:pt x="2476862" y="934447"/>
                  </a:cubicBezTo>
                  <a:cubicBezTo>
                    <a:pt x="2476048" y="934447"/>
                    <a:pt x="2475233" y="935262"/>
                    <a:pt x="2475233" y="935262"/>
                  </a:cubicBezTo>
                  <a:cubicBezTo>
                    <a:pt x="2472790" y="936076"/>
                    <a:pt x="2471160" y="937705"/>
                    <a:pt x="2468717" y="938520"/>
                  </a:cubicBezTo>
                  <a:cubicBezTo>
                    <a:pt x="2467088" y="939334"/>
                    <a:pt x="2465459" y="939334"/>
                    <a:pt x="2464645" y="936891"/>
                  </a:cubicBezTo>
                  <a:cubicBezTo>
                    <a:pt x="2463830" y="935262"/>
                    <a:pt x="2463830" y="934447"/>
                    <a:pt x="2465459" y="934447"/>
                  </a:cubicBezTo>
                  <a:cubicBezTo>
                    <a:pt x="2466274" y="934447"/>
                    <a:pt x="2467088" y="934447"/>
                    <a:pt x="2467088" y="934447"/>
                  </a:cubicBezTo>
                  <a:cubicBezTo>
                    <a:pt x="2467903" y="934447"/>
                    <a:pt x="2467903" y="933633"/>
                    <a:pt x="2468717" y="932818"/>
                  </a:cubicBezTo>
                  <a:cubicBezTo>
                    <a:pt x="2468717" y="932004"/>
                    <a:pt x="2467903" y="930375"/>
                    <a:pt x="2467088" y="930375"/>
                  </a:cubicBezTo>
                  <a:cubicBezTo>
                    <a:pt x="2466274" y="930375"/>
                    <a:pt x="2465459" y="930375"/>
                    <a:pt x="2465459" y="930375"/>
                  </a:cubicBezTo>
                  <a:cubicBezTo>
                    <a:pt x="2463830" y="930375"/>
                    <a:pt x="2462201" y="929560"/>
                    <a:pt x="2463016" y="927117"/>
                  </a:cubicBezTo>
                  <a:cubicBezTo>
                    <a:pt x="2463016" y="925488"/>
                    <a:pt x="2463830" y="924673"/>
                    <a:pt x="2464645" y="923859"/>
                  </a:cubicBezTo>
                  <a:cubicBezTo>
                    <a:pt x="2465459" y="923044"/>
                    <a:pt x="2466274" y="923044"/>
                    <a:pt x="2467088" y="922230"/>
                  </a:cubicBezTo>
                  <a:cubicBezTo>
                    <a:pt x="2468717" y="921416"/>
                    <a:pt x="2469532" y="919786"/>
                    <a:pt x="2469532" y="918158"/>
                  </a:cubicBezTo>
                  <a:cubicBezTo>
                    <a:pt x="2469532" y="917343"/>
                    <a:pt x="2469532" y="915714"/>
                    <a:pt x="2469532" y="914899"/>
                  </a:cubicBezTo>
                  <a:cubicBezTo>
                    <a:pt x="2469532" y="914899"/>
                    <a:pt x="2469532" y="914085"/>
                    <a:pt x="2470346" y="914085"/>
                  </a:cubicBezTo>
                  <a:cubicBezTo>
                    <a:pt x="2471160" y="914085"/>
                    <a:pt x="2471975" y="914085"/>
                    <a:pt x="2472790" y="914085"/>
                  </a:cubicBezTo>
                  <a:cubicBezTo>
                    <a:pt x="2473604" y="913271"/>
                    <a:pt x="2473604" y="912456"/>
                    <a:pt x="2474419" y="911642"/>
                  </a:cubicBezTo>
                  <a:cubicBezTo>
                    <a:pt x="2475233" y="911642"/>
                    <a:pt x="2476862" y="911642"/>
                    <a:pt x="2476862" y="910827"/>
                  </a:cubicBezTo>
                  <a:cubicBezTo>
                    <a:pt x="2476862" y="909198"/>
                    <a:pt x="2477677" y="908384"/>
                    <a:pt x="2477677" y="906755"/>
                  </a:cubicBezTo>
                  <a:cubicBezTo>
                    <a:pt x="2477677" y="905126"/>
                    <a:pt x="2478491" y="903497"/>
                    <a:pt x="2480934" y="902682"/>
                  </a:cubicBezTo>
                  <a:cubicBezTo>
                    <a:pt x="2482564" y="901868"/>
                    <a:pt x="2484193" y="901053"/>
                    <a:pt x="2485822" y="900239"/>
                  </a:cubicBezTo>
                  <a:cubicBezTo>
                    <a:pt x="2486636" y="900239"/>
                    <a:pt x="2487450" y="899424"/>
                    <a:pt x="2487450" y="899424"/>
                  </a:cubicBezTo>
                  <a:cubicBezTo>
                    <a:pt x="2488265" y="898610"/>
                    <a:pt x="2488265" y="897795"/>
                    <a:pt x="2488265" y="896981"/>
                  </a:cubicBezTo>
                  <a:cubicBezTo>
                    <a:pt x="2487450" y="894537"/>
                    <a:pt x="2488265" y="892094"/>
                    <a:pt x="2490708" y="890465"/>
                  </a:cubicBezTo>
                  <a:cubicBezTo>
                    <a:pt x="2493152" y="888836"/>
                    <a:pt x="2494781" y="888021"/>
                    <a:pt x="2497224" y="886392"/>
                  </a:cubicBezTo>
                  <a:cubicBezTo>
                    <a:pt x="2498039" y="886392"/>
                    <a:pt x="2498039" y="884764"/>
                    <a:pt x="2498039" y="884764"/>
                  </a:cubicBezTo>
                  <a:cubicBezTo>
                    <a:pt x="2497224" y="880691"/>
                    <a:pt x="2498039" y="879062"/>
                    <a:pt x="2501297" y="876619"/>
                  </a:cubicBezTo>
                  <a:cubicBezTo>
                    <a:pt x="2503740" y="875804"/>
                    <a:pt x="2505369" y="874175"/>
                    <a:pt x="2506998" y="871732"/>
                  </a:cubicBezTo>
                  <a:cubicBezTo>
                    <a:pt x="2506998" y="870917"/>
                    <a:pt x="2507812" y="870917"/>
                    <a:pt x="2508627" y="870103"/>
                  </a:cubicBezTo>
                  <a:cubicBezTo>
                    <a:pt x="2509442" y="869288"/>
                    <a:pt x="2511071" y="868474"/>
                    <a:pt x="2511885" y="867659"/>
                  </a:cubicBezTo>
                  <a:cubicBezTo>
                    <a:pt x="2512700" y="866845"/>
                    <a:pt x="2511885" y="865216"/>
                    <a:pt x="2511885" y="863587"/>
                  </a:cubicBezTo>
                  <a:cubicBezTo>
                    <a:pt x="2511885" y="862772"/>
                    <a:pt x="2511885" y="861143"/>
                    <a:pt x="2512700" y="860329"/>
                  </a:cubicBezTo>
                  <a:cubicBezTo>
                    <a:pt x="2514329" y="858700"/>
                    <a:pt x="2515143" y="857071"/>
                    <a:pt x="2515143" y="854627"/>
                  </a:cubicBezTo>
                  <a:cubicBezTo>
                    <a:pt x="2515957" y="852999"/>
                    <a:pt x="2516772" y="852184"/>
                    <a:pt x="2517586" y="851369"/>
                  </a:cubicBezTo>
                  <a:cubicBezTo>
                    <a:pt x="2518401" y="850555"/>
                    <a:pt x="2519216" y="849740"/>
                    <a:pt x="2519216" y="848926"/>
                  </a:cubicBezTo>
                  <a:cubicBezTo>
                    <a:pt x="2520030" y="848112"/>
                    <a:pt x="2520030" y="848112"/>
                    <a:pt x="2520845" y="848112"/>
                  </a:cubicBezTo>
                  <a:cubicBezTo>
                    <a:pt x="2523288" y="848112"/>
                    <a:pt x="2524917" y="847297"/>
                    <a:pt x="2526546" y="845668"/>
                  </a:cubicBezTo>
                  <a:cubicBezTo>
                    <a:pt x="2528175" y="844039"/>
                    <a:pt x="2528990" y="841595"/>
                    <a:pt x="2530619" y="839967"/>
                  </a:cubicBezTo>
                  <a:cubicBezTo>
                    <a:pt x="2532247" y="838338"/>
                    <a:pt x="2534691" y="837523"/>
                    <a:pt x="2537134" y="835894"/>
                  </a:cubicBezTo>
                  <a:cubicBezTo>
                    <a:pt x="2538763" y="835080"/>
                    <a:pt x="2541207" y="833451"/>
                    <a:pt x="2542836" y="832636"/>
                  </a:cubicBezTo>
                  <a:cubicBezTo>
                    <a:pt x="2543650" y="832636"/>
                    <a:pt x="2543650" y="831822"/>
                    <a:pt x="2543650" y="831007"/>
                  </a:cubicBezTo>
                  <a:cubicBezTo>
                    <a:pt x="2543650" y="830193"/>
                    <a:pt x="2544465" y="830193"/>
                    <a:pt x="2545279" y="830193"/>
                  </a:cubicBezTo>
                  <a:cubicBezTo>
                    <a:pt x="2547723" y="830193"/>
                    <a:pt x="2550166" y="828564"/>
                    <a:pt x="2551795" y="827749"/>
                  </a:cubicBezTo>
                  <a:cubicBezTo>
                    <a:pt x="2551795" y="827749"/>
                    <a:pt x="2552609" y="826120"/>
                    <a:pt x="2551795" y="826120"/>
                  </a:cubicBezTo>
                  <a:cubicBezTo>
                    <a:pt x="2550981" y="824491"/>
                    <a:pt x="2551795" y="823677"/>
                    <a:pt x="2552609" y="822862"/>
                  </a:cubicBezTo>
                  <a:cubicBezTo>
                    <a:pt x="2553424" y="822862"/>
                    <a:pt x="2554238" y="822048"/>
                    <a:pt x="2554238" y="822048"/>
                  </a:cubicBezTo>
                  <a:cubicBezTo>
                    <a:pt x="2555053" y="818790"/>
                    <a:pt x="2557497" y="817975"/>
                    <a:pt x="2559940" y="816346"/>
                  </a:cubicBezTo>
                  <a:cubicBezTo>
                    <a:pt x="2563198" y="814717"/>
                    <a:pt x="2566456" y="813088"/>
                    <a:pt x="2568899" y="811460"/>
                  </a:cubicBezTo>
                  <a:cubicBezTo>
                    <a:pt x="2571343" y="812274"/>
                    <a:pt x="2573786" y="813903"/>
                    <a:pt x="2575416" y="814717"/>
                  </a:cubicBezTo>
                  <a:cubicBezTo>
                    <a:pt x="2578673" y="815532"/>
                    <a:pt x="2581931" y="816346"/>
                    <a:pt x="2585189" y="817161"/>
                  </a:cubicBezTo>
                  <a:cubicBezTo>
                    <a:pt x="2590891" y="817161"/>
                    <a:pt x="2597406" y="817161"/>
                    <a:pt x="2603108" y="817161"/>
                  </a:cubicBezTo>
                  <a:cubicBezTo>
                    <a:pt x="2603923" y="816346"/>
                    <a:pt x="2605551" y="815532"/>
                    <a:pt x="2607180" y="813903"/>
                  </a:cubicBezTo>
                  <a:cubicBezTo>
                    <a:pt x="2608809" y="812274"/>
                    <a:pt x="2609624" y="810645"/>
                    <a:pt x="2611253" y="809830"/>
                  </a:cubicBezTo>
                  <a:cubicBezTo>
                    <a:pt x="2616140" y="806573"/>
                    <a:pt x="2621841" y="807387"/>
                    <a:pt x="2626728" y="810645"/>
                  </a:cubicBezTo>
                  <a:cubicBezTo>
                    <a:pt x="2629986" y="812274"/>
                    <a:pt x="2633244" y="814717"/>
                    <a:pt x="2636502" y="815532"/>
                  </a:cubicBezTo>
                  <a:cubicBezTo>
                    <a:pt x="2639760" y="815532"/>
                    <a:pt x="2643018" y="815532"/>
                    <a:pt x="2646276" y="814717"/>
                  </a:cubicBezTo>
                  <a:cubicBezTo>
                    <a:pt x="2647090" y="813903"/>
                    <a:pt x="2648720" y="812274"/>
                    <a:pt x="2649534" y="810645"/>
                  </a:cubicBezTo>
                  <a:cubicBezTo>
                    <a:pt x="2647905" y="809830"/>
                    <a:pt x="2645461" y="809016"/>
                    <a:pt x="2643018" y="807387"/>
                  </a:cubicBezTo>
                  <a:cubicBezTo>
                    <a:pt x="2643018" y="806573"/>
                    <a:pt x="2643832" y="806573"/>
                    <a:pt x="2643832" y="805758"/>
                  </a:cubicBezTo>
                  <a:cubicBezTo>
                    <a:pt x="2643832" y="805758"/>
                    <a:pt x="2643018" y="805758"/>
                    <a:pt x="2643018" y="804943"/>
                  </a:cubicBezTo>
                  <a:cubicBezTo>
                    <a:pt x="2643832" y="804129"/>
                    <a:pt x="2643832" y="804129"/>
                    <a:pt x="2644647" y="803315"/>
                  </a:cubicBezTo>
                  <a:cubicBezTo>
                    <a:pt x="2645461" y="802500"/>
                    <a:pt x="2647090" y="800871"/>
                    <a:pt x="2647090" y="800057"/>
                  </a:cubicBezTo>
                  <a:cubicBezTo>
                    <a:pt x="2646276" y="798428"/>
                    <a:pt x="2644647" y="797613"/>
                    <a:pt x="2643018" y="796799"/>
                  </a:cubicBezTo>
                  <a:cubicBezTo>
                    <a:pt x="2642203" y="796799"/>
                    <a:pt x="2641389" y="796799"/>
                    <a:pt x="2640575" y="796799"/>
                  </a:cubicBezTo>
                  <a:cubicBezTo>
                    <a:pt x="2641389" y="795984"/>
                    <a:pt x="2642203" y="795170"/>
                    <a:pt x="2641389" y="795170"/>
                  </a:cubicBezTo>
                  <a:cubicBezTo>
                    <a:pt x="2640575" y="793541"/>
                    <a:pt x="2638946" y="792726"/>
                    <a:pt x="2637316" y="791912"/>
                  </a:cubicBezTo>
                  <a:cubicBezTo>
                    <a:pt x="2634058" y="791912"/>
                    <a:pt x="2630801" y="791912"/>
                    <a:pt x="2628357" y="791912"/>
                  </a:cubicBezTo>
                  <a:cubicBezTo>
                    <a:pt x="2627543" y="791912"/>
                    <a:pt x="2627543" y="791097"/>
                    <a:pt x="2626728" y="791097"/>
                  </a:cubicBezTo>
                  <a:cubicBezTo>
                    <a:pt x="2625913" y="789468"/>
                    <a:pt x="2625913" y="787839"/>
                    <a:pt x="2626728" y="786210"/>
                  </a:cubicBezTo>
                  <a:cubicBezTo>
                    <a:pt x="2625099" y="785396"/>
                    <a:pt x="2622656" y="784581"/>
                    <a:pt x="2621027" y="784581"/>
                  </a:cubicBezTo>
                  <a:cubicBezTo>
                    <a:pt x="2621027" y="783767"/>
                    <a:pt x="2621027" y="782138"/>
                    <a:pt x="2621841" y="781323"/>
                  </a:cubicBezTo>
                  <a:cubicBezTo>
                    <a:pt x="2621841" y="781323"/>
                    <a:pt x="2621841" y="781323"/>
                    <a:pt x="2621027" y="781323"/>
                  </a:cubicBezTo>
                  <a:cubicBezTo>
                    <a:pt x="2621841" y="780509"/>
                    <a:pt x="2622656" y="778880"/>
                    <a:pt x="2623470" y="778065"/>
                  </a:cubicBezTo>
                  <a:cubicBezTo>
                    <a:pt x="2624285" y="777251"/>
                    <a:pt x="2625099" y="777251"/>
                    <a:pt x="2626728" y="776436"/>
                  </a:cubicBezTo>
                  <a:cubicBezTo>
                    <a:pt x="2629172" y="776436"/>
                    <a:pt x="2632430" y="777251"/>
                    <a:pt x="2634873" y="777251"/>
                  </a:cubicBezTo>
                  <a:cubicBezTo>
                    <a:pt x="2634058" y="778065"/>
                    <a:pt x="2632430" y="778065"/>
                    <a:pt x="2630801" y="778880"/>
                  </a:cubicBezTo>
                  <a:cubicBezTo>
                    <a:pt x="2634058" y="778065"/>
                    <a:pt x="2636502" y="777251"/>
                    <a:pt x="2638131" y="777251"/>
                  </a:cubicBezTo>
                  <a:cubicBezTo>
                    <a:pt x="2647090" y="778065"/>
                    <a:pt x="2656050" y="778065"/>
                    <a:pt x="2665009" y="778880"/>
                  </a:cubicBezTo>
                  <a:cubicBezTo>
                    <a:pt x="2665009" y="778880"/>
                    <a:pt x="2664195" y="778880"/>
                    <a:pt x="2664195" y="779694"/>
                  </a:cubicBezTo>
                  <a:cubicBezTo>
                    <a:pt x="2669896" y="780509"/>
                    <a:pt x="2676412" y="780509"/>
                    <a:pt x="2682113" y="780509"/>
                  </a:cubicBezTo>
                  <a:cubicBezTo>
                    <a:pt x="2683742" y="780509"/>
                    <a:pt x="2686186" y="780509"/>
                    <a:pt x="2687815" y="780509"/>
                  </a:cubicBezTo>
                  <a:cubicBezTo>
                    <a:pt x="2700032" y="781323"/>
                    <a:pt x="2712250" y="781323"/>
                    <a:pt x="2724467" y="782138"/>
                  </a:cubicBezTo>
                  <a:cubicBezTo>
                    <a:pt x="2727725" y="782138"/>
                    <a:pt x="2730168" y="782138"/>
                    <a:pt x="2733426" y="782138"/>
                  </a:cubicBezTo>
                  <a:cubicBezTo>
                    <a:pt x="2733426" y="782138"/>
                    <a:pt x="2732612" y="782138"/>
                    <a:pt x="2732612" y="782138"/>
                  </a:cubicBezTo>
                  <a:cubicBezTo>
                    <a:pt x="2731797" y="782138"/>
                    <a:pt x="2731797" y="782952"/>
                    <a:pt x="2730983" y="783767"/>
                  </a:cubicBezTo>
                  <a:cubicBezTo>
                    <a:pt x="2731797" y="783767"/>
                    <a:pt x="2733426" y="783767"/>
                    <a:pt x="2734241" y="782952"/>
                  </a:cubicBezTo>
                  <a:lnTo>
                    <a:pt x="2744829" y="782138"/>
                  </a:lnTo>
                  <a:cubicBezTo>
                    <a:pt x="2744014" y="781323"/>
                    <a:pt x="2742386" y="781323"/>
                    <a:pt x="2741571" y="781323"/>
                  </a:cubicBezTo>
                  <a:cubicBezTo>
                    <a:pt x="2753788" y="779694"/>
                    <a:pt x="2766821" y="777251"/>
                    <a:pt x="2779038" y="776436"/>
                  </a:cubicBezTo>
                  <a:cubicBezTo>
                    <a:pt x="2779852" y="776436"/>
                    <a:pt x="2780666" y="774807"/>
                    <a:pt x="2783110" y="773178"/>
                  </a:cubicBezTo>
                  <a:cubicBezTo>
                    <a:pt x="2777409" y="771550"/>
                    <a:pt x="2771707" y="769921"/>
                    <a:pt x="2766821" y="769106"/>
                  </a:cubicBezTo>
                  <a:cubicBezTo>
                    <a:pt x="2757861" y="768291"/>
                    <a:pt x="2748087" y="767477"/>
                    <a:pt x="2739128" y="766663"/>
                  </a:cubicBezTo>
                  <a:cubicBezTo>
                    <a:pt x="2738313" y="766663"/>
                    <a:pt x="2738313" y="766663"/>
                    <a:pt x="2737499" y="765848"/>
                  </a:cubicBezTo>
                  <a:cubicBezTo>
                    <a:pt x="2737499" y="765034"/>
                    <a:pt x="2738313" y="763405"/>
                    <a:pt x="2739128" y="762590"/>
                  </a:cubicBezTo>
                  <a:cubicBezTo>
                    <a:pt x="2739942" y="761776"/>
                    <a:pt x="2740757" y="760961"/>
                    <a:pt x="2741571" y="760147"/>
                  </a:cubicBezTo>
                  <a:cubicBezTo>
                    <a:pt x="2741571" y="760147"/>
                    <a:pt x="2742386" y="760147"/>
                    <a:pt x="2742386" y="760147"/>
                  </a:cubicBezTo>
                  <a:cubicBezTo>
                    <a:pt x="2744829" y="760961"/>
                    <a:pt x="2748087" y="761776"/>
                    <a:pt x="2748087" y="757703"/>
                  </a:cubicBezTo>
                  <a:cubicBezTo>
                    <a:pt x="2748087" y="756889"/>
                    <a:pt x="2746458" y="756074"/>
                    <a:pt x="2745643" y="756074"/>
                  </a:cubicBezTo>
                  <a:cubicBezTo>
                    <a:pt x="2745643" y="756074"/>
                    <a:pt x="2746458" y="755260"/>
                    <a:pt x="2746458" y="755260"/>
                  </a:cubicBezTo>
                  <a:cubicBezTo>
                    <a:pt x="2749716" y="752002"/>
                    <a:pt x="2747273" y="747115"/>
                    <a:pt x="2742386" y="747929"/>
                  </a:cubicBezTo>
                  <a:cubicBezTo>
                    <a:pt x="2742386" y="747929"/>
                    <a:pt x="2742386" y="747929"/>
                    <a:pt x="2742386" y="747929"/>
                  </a:cubicBezTo>
                  <a:cubicBezTo>
                    <a:pt x="2743200" y="745486"/>
                    <a:pt x="2740757" y="743042"/>
                    <a:pt x="2737499" y="743042"/>
                  </a:cubicBezTo>
                  <a:cubicBezTo>
                    <a:pt x="2733426" y="743042"/>
                    <a:pt x="2728539" y="743857"/>
                    <a:pt x="2724467" y="743857"/>
                  </a:cubicBezTo>
                  <a:cubicBezTo>
                    <a:pt x="2721209" y="743042"/>
                    <a:pt x="2717136" y="741413"/>
                    <a:pt x="2713879" y="741413"/>
                  </a:cubicBezTo>
                  <a:cubicBezTo>
                    <a:pt x="2713879" y="741413"/>
                    <a:pt x="2713879" y="740599"/>
                    <a:pt x="2713879" y="740599"/>
                  </a:cubicBezTo>
                  <a:cubicBezTo>
                    <a:pt x="2713064" y="739784"/>
                    <a:pt x="2711435" y="739784"/>
                    <a:pt x="2709806" y="738970"/>
                  </a:cubicBezTo>
                  <a:cubicBezTo>
                    <a:pt x="2708991" y="738970"/>
                    <a:pt x="2708991" y="738970"/>
                    <a:pt x="2708177" y="738155"/>
                  </a:cubicBezTo>
                  <a:cubicBezTo>
                    <a:pt x="2708991" y="737341"/>
                    <a:pt x="2708991" y="736526"/>
                    <a:pt x="2708991" y="735712"/>
                  </a:cubicBezTo>
                  <a:cubicBezTo>
                    <a:pt x="2708991" y="735712"/>
                    <a:pt x="2708177" y="735712"/>
                    <a:pt x="2707362" y="734898"/>
                  </a:cubicBezTo>
                  <a:cubicBezTo>
                    <a:pt x="2707362" y="734898"/>
                    <a:pt x="2707362" y="734898"/>
                    <a:pt x="2707362" y="734898"/>
                  </a:cubicBezTo>
                  <a:cubicBezTo>
                    <a:pt x="2708991" y="734083"/>
                    <a:pt x="2711435" y="734083"/>
                    <a:pt x="2713064" y="734083"/>
                  </a:cubicBezTo>
                  <a:cubicBezTo>
                    <a:pt x="2726096" y="736526"/>
                    <a:pt x="2739942" y="738155"/>
                    <a:pt x="2752159" y="744671"/>
                  </a:cubicBezTo>
                  <a:cubicBezTo>
                    <a:pt x="2759490" y="747929"/>
                    <a:pt x="2768449" y="749558"/>
                    <a:pt x="2776594" y="743042"/>
                  </a:cubicBezTo>
                  <a:cubicBezTo>
                    <a:pt x="2773336" y="742228"/>
                    <a:pt x="2770078" y="741413"/>
                    <a:pt x="2766821" y="740599"/>
                  </a:cubicBezTo>
                  <a:cubicBezTo>
                    <a:pt x="2768449" y="739784"/>
                    <a:pt x="2769264" y="738970"/>
                    <a:pt x="2770893" y="738155"/>
                  </a:cubicBezTo>
                  <a:cubicBezTo>
                    <a:pt x="2757047" y="734898"/>
                    <a:pt x="2744014" y="731639"/>
                    <a:pt x="2730983" y="728381"/>
                  </a:cubicBezTo>
                  <a:cubicBezTo>
                    <a:pt x="2731797" y="728381"/>
                    <a:pt x="2732612" y="727567"/>
                    <a:pt x="2732612" y="727567"/>
                  </a:cubicBezTo>
                  <a:cubicBezTo>
                    <a:pt x="2742386" y="725124"/>
                    <a:pt x="2751345" y="723495"/>
                    <a:pt x="2761933" y="721051"/>
                  </a:cubicBezTo>
                  <a:cubicBezTo>
                    <a:pt x="2762748" y="718608"/>
                    <a:pt x="2764377" y="715350"/>
                    <a:pt x="2765191" y="712092"/>
                  </a:cubicBezTo>
                  <a:cubicBezTo>
                    <a:pt x="2766006" y="709648"/>
                    <a:pt x="2766821" y="706390"/>
                    <a:pt x="2767635" y="703947"/>
                  </a:cubicBezTo>
                  <a:cubicBezTo>
                    <a:pt x="2770078" y="703132"/>
                    <a:pt x="2772522" y="701503"/>
                    <a:pt x="2774151" y="700689"/>
                  </a:cubicBezTo>
                  <a:cubicBezTo>
                    <a:pt x="2775780" y="696616"/>
                    <a:pt x="2773336" y="694987"/>
                    <a:pt x="2770078" y="694173"/>
                  </a:cubicBezTo>
                  <a:cubicBezTo>
                    <a:pt x="2770078" y="694173"/>
                    <a:pt x="2769264" y="694173"/>
                    <a:pt x="2769264" y="694173"/>
                  </a:cubicBezTo>
                  <a:cubicBezTo>
                    <a:pt x="2769264" y="691729"/>
                    <a:pt x="2767635" y="690101"/>
                    <a:pt x="2765191" y="689286"/>
                  </a:cubicBezTo>
                  <a:cubicBezTo>
                    <a:pt x="2758676" y="687657"/>
                    <a:pt x="2752159" y="686028"/>
                    <a:pt x="2746458" y="684399"/>
                  </a:cubicBezTo>
                  <a:cubicBezTo>
                    <a:pt x="2739128" y="682770"/>
                    <a:pt x="2731797" y="681141"/>
                    <a:pt x="2725281" y="677883"/>
                  </a:cubicBezTo>
                  <a:cubicBezTo>
                    <a:pt x="2726910" y="677069"/>
                    <a:pt x="2728539" y="676254"/>
                    <a:pt x="2730168" y="675440"/>
                  </a:cubicBezTo>
                  <a:cubicBezTo>
                    <a:pt x="2730168" y="675440"/>
                    <a:pt x="2730983" y="675440"/>
                    <a:pt x="2730983" y="674625"/>
                  </a:cubicBezTo>
                  <a:cubicBezTo>
                    <a:pt x="2730983" y="673811"/>
                    <a:pt x="2731797" y="673811"/>
                    <a:pt x="2731797" y="672996"/>
                  </a:cubicBezTo>
                  <a:cubicBezTo>
                    <a:pt x="2731797" y="672996"/>
                    <a:pt x="2730983" y="672996"/>
                    <a:pt x="2730983" y="672996"/>
                  </a:cubicBezTo>
                  <a:cubicBezTo>
                    <a:pt x="2729354" y="673811"/>
                    <a:pt x="2728539" y="673811"/>
                    <a:pt x="2726910" y="674625"/>
                  </a:cubicBezTo>
                  <a:cubicBezTo>
                    <a:pt x="2725281" y="675440"/>
                    <a:pt x="2723652" y="675440"/>
                    <a:pt x="2722024" y="675440"/>
                  </a:cubicBezTo>
                  <a:cubicBezTo>
                    <a:pt x="2722024" y="675440"/>
                    <a:pt x="2722024" y="675440"/>
                    <a:pt x="2722024" y="675440"/>
                  </a:cubicBezTo>
                  <a:cubicBezTo>
                    <a:pt x="2721209" y="674625"/>
                    <a:pt x="2719580" y="673811"/>
                    <a:pt x="2718765" y="672996"/>
                  </a:cubicBezTo>
                  <a:cubicBezTo>
                    <a:pt x="2717951" y="671367"/>
                    <a:pt x="2715507" y="670553"/>
                    <a:pt x="2713879" y="670553"/>
                  </a:cubicBezTo>
                  <a:cubicBezTo>
                    <a:pt x="2704919" y="668109"/>
                    <a:pt x="2696774" y="666480"/>
                    <a:pt x="2690258" y="660779"/>
                  </a:cubicBezTo>
                  <a:cubicBezTo>
                    <a:pt x="2689444" y="659964"/>
                    <a:pt x="2687000" y="659150"/>
                    <a:pt x="2684557" y="659150"/>
                  </a:cubicBezTo>
                  <a:cubicBezTo>
                    <a:pt x="2666638" y="657521"/>
                    <a:pt x="2650348" y="653449"/>
                    <a:pt x="2634873" y="647747"/>
                  </a:cubicBezTo>
                  <a:cubicBezTo>
                    <a:pt x="2632430" y="646933"/>
                    <a:pt x="2629986" y="646118"/>
                    <a:pt x="2627543" y="646118"/>
                  </a:cubicBezTo>
                  <a:cubicBezTo>
                    <a:pt x="2609624" y="646118"/>
                    <a:pt x="2593334" y="642046"/>
                    <a:pt x="2576230" y="639602"/>
                  </a:cubicBezTo>
                  <a:cubicBezTo>
                    <a:pt x="2567271" y="638788"/>
                    <a:pt x="2557497" y="637973"/>
                    <a:pt x="2547723" y="637973"/>
                  </a:cubicBezTo>
                  <a:cubicBezTo>
                    <a:pt x="2546908" y="637973"/>
                    <a:pt x="2545279" y="637973"/>
                    <a:pt x="2544465" y="637159"/>
                  </a:cubicBezTo>
                  <a:cubicBezTo>
                    <a:pt x="2543650" y="636344"/>
                    <a:pt x="2542836" y="636344"/>
                    <a:pt x="2542021" y="635530"/>
                  </a:cubicBezTo>
                  <a:cubicBezTo>
                    <a:pt x="2540392" y="635530"/>
                    <a:pt x="2539578" y="635530"/>
                    <a:pt x="2537949" y="635530"/>
                  </a:cubicBezTo>
                  <a:cubicBezTo>
                    <a:pt x="2537134" y="635530"/>
                    <a:pt x="2537134" y="635530"/>
                    <a:pt x="2536320" y="635530"/>
                  </a:cubicBezTo>
                  <a:cubicBezTo>
                    <a:pt x="2536320" y="633086"/>
                    <a:pt x="2535505" y="631457"/>
                    <a:pt x="2536320" y="629828"/>
                  </a:cubicBezTo>
                  <a:cubicBezTo>
                    <a:pt x="2537949" y="624942"/>
                    <a:pt x="2539578" y="620055"/>
                    <a:pt x="2546094" y="619240"/>
                  </a:cubicBezTo>
                  <a:cubicBezTo>
                    <a:pt x="2545279" y="615982"/>
                    <a:pt x="2545279" y="614353"/>
                    <a:pt x="2544465" y="611910"/>
                  </a:cubicBezTo>
                  <a:cubicBezTo>
                    <a:pt x="2544465" y="611095"/>
                    <a:pt x="2543650" y="609466"/>
                    <a:pt x="2543650" y="608652"/>
                  </a:cubicBezTo>
                  <a:cubicBezTo>
                    <a:pt x="2544465" y="607837"/>
                    <a:pt x="2546094" y="607023"/>
                    <a:pt x="2546908" y="607023"/>
                  </a:cubicBezTo>
                  <a:cubicBezTo>
                    <a:pt x="2545279" y="607023"/>
                    <a:pt x="2544465" y="607023"/>
                    <a:pt x="2542836" y="607023"/>
                  </a:cubicBezTo>
                  <a:cubicBezTo>
                    <a:pt x="2542021" y="605394"/>
                    <a:pt x="2542021" y="603765"/>
                    <a:pt x="2541207" y="602136"/>
                  </a:cubicBezTo>
                  <a:cubicBezTo>
                    <a:pt x="2541207" y="602136"/>
                    <a:pt x="2541207" y="602136"/>
                    <a:pt x="2541207" y="602136"/>
                  </a:cubicBezTo>
                  <a:cubicBezTo>
                    <a:pt x="2541207" y="602136"/>
                    <a:pt x="2541207" y="602136"/>
                    <a:pt x="2541207" y="602136"/>
                  </a:cubicBezTo>
                  <a:cubicBezTo>
                    <a:pt x="2539578" y="596434"/>
                    <a:pt x="2537134" y="590733"/>
                    <a:pt x="2535505" y="585031"/>
                  </a:cubicBezTo>
                  <a:cubicBezTo>
                    <a:pt x="2533062" y="576886"/>
                    <a:pt x="2527360" y="571185"/>
                    <a:pt x="2518401" y="569556"/>
                  </a:cubicBezTo>
                  <a:cubicBezTo>
                    <a:pt x="2513514" y="568742"/>
                    <a:pt x="2508627" y="567927"/>
                    <a:pt x="2505369" y="566298"/>
                  </a:cubicBezTo>
                  <a:cubicBezTo>
                    <a:pt x="2502111" y="564669"/>
                    <a:pt x="2498853" y="563855"/>
                    <a:pt x="2495595" y="565484"/>
                  </a:cubicBezTo>
                  <a:cubicBezTo>
                    <a:pt x="2492337" y="563855"/>
                    <a:pt x="2489079" y="564669"/>
                    <a:pt x="2486636" y="565484"/>
                  </a:cubicBezTo>
                  <a:cubicBezTo>
                    <a:pt x="2485822" y="564669"/>
                    <a:pt x="2485822" y="563040"/>
                    <a:pt x="2485007" y="561411"/>
                  </a:cubicBezTo>
                  <a:cubicBezTo>
                    <a:pt x="2485007" y="556524"/>
                    <a:pt x="2482564" y="554081"/>
                    <a:pt x="2478491" y="551637"/>
                  </a:cubicBezTo>
                  <a:cubicBezTo>
                    <a:pt x="2478491" y="550823"/>
                    <a:pt x="2476862" y="549194"/>
                    <a:pt x="2476048" y="549194"/>
                  </a:cubicBezTo>
                  <a:cubicBezTo>
                    <a:pt x="2475233" y="549194"/>
                    <a:pt x="2475233" y="549194"/>
                    <a:pt x="2474419" y="549194"/>
                  </a:cubicBezTo>
                  <a:cubicBezTo>
                    <a:pt x="2473604" y="548379"/>
                    <a:pt x="2472790" y="548379"/>
                    <a:pt x="2472790" y="547565"/>
                  </a:cubicBezTo>
                  <a:cubicBezTo>
                    <a:pt x="2472790" y="547565"/>
                    <a:pt x="2472790" y="546750"/>
                    <a:pt x="2473604" y="546750"/>
                  </a:cubicBezTo>
                  <a:cubicBezTo>
                    <a:pt x="2473604" y="545936"/>
                    <a:pt x="2471975" y="544307"/>
                    <a:pt x="2471160" y="544307"/>
                  </a:cubicBezTo>
                  <a:cubicBezTo>
                    <a:pt x="2470346" y="544307"/>
                    <a:pt x="2470346" y="544307"/>
                    <a:pt x="2469532" y="544307"/>
                  </a:cubicBezTo>
                  <a:cubicBezTo>
                    <a:pt x="2468717" y="543493"/>
                    <a:pt x="2467903" y="542678"/>
                    <a:pt x="2467903" y="541863"/>
                  </a:cubicBezTo>
                  <a:cubicBezTo>
                    <a:pt x="2471160" y="541049"/>
                    <a:pt x="2474419" y="540234"/>
                    <a:pt x="2477677" y="538606"/>
                  </a:cubicBezTo>
                  <a:cubicBezTo>
                    <a:pt x="2475233" y="536977"/>
                    <a:pt x="2472790" y="536162"/>
                    <a:pt x="2469532" y="535348"/>
                  </a:cubicBezTo>
                  <a:cubicBezTo>
                    <a:pt x="2469532" y="535348"/>
                    <a:pt x="2469532" y="534533"/>
                    <a:pt x="2470346" y="534533"/>
                  </a:cubicBezTo>
                  <a:cubicBezTo>
                    <a:pt x="2470346" y="534533"/>
                    <a:pt x="2470346" y="534533"/>
                    <a:pt x="2470346" y="534533"/>
                  </a:cubicBezTo>
                  <a:cubicBezTo>
                    <a:pt x="2471160" y="534533"/>
                    <a:pt x="2471975" y="533719"/>
                    <a:pt x="2471975" y="533719"/>
                  </a:cubicBezTo>
                  <a:cubicBezTo>
                    <a:pt x="2471975" y="533719"/>
                    <a:pt x="2471160" y="533719"/>
                    <a:pt x="2471160" y="533719"/>
                  </a:cubicBezTo>
                  <a:cubicBezTo>
                    <a:pt x="2471975" y="532904"/>
                    <a:pt x="2472790" y="532904"/>
                    <a:pt x="2473604" y="532904"/>
                  </a:cubicBezTo>
                  <a:cubicBezTo>
                    <a:pt x="2473604" y="532904"/>
                    <a:pt x="2472790" y="533719"/>
                    <a:pt x="2472790" y="533719"/>
                  </a:cubicBezTo>
                  <a:cubicBezTo>
                    <a:pt x="2475233" y="535348"/>
                    <a:pt x="2478491" y="536162"/>
                    <a:pt x="2480934" y="535348"/>
                  </a:cubicBezTo>
                  <a:cubicBezTo>
                    <a:pt x="2480120" y="536162"/>
                    <a:pt x="2479305" y="536977"/>
                    <a:pt x="2477677" y="538606"/>
                  </a:cubicBezTo>
                  <a:cubicBezTo>
                    <a:pt x="2480934" y="541049"/>
                    <a:pt x="2485007" y="541863"/>
                    <a:pt x="2489079" y="539420"/>
                  </a:cubicBezTo>
                  <a:cubicBezTo>
                    <a:pt x="2493152" y="536977"/>
                    <a:pt x="2496410" y="536162"/>
                    <a:pt x="2499668" y="536162"/>
                  </a:cubicBezTo>
                  <a:cubicBezTo>
                    <a:pt x="2499668" y="536162"/>
                    <a:pt x="2499668" y="536977"/>
                    <a:pt x="2499668" y="536977"/>
                  </a:cubicBezTo>
                  <a:cubicBezTo>
                    <a:pt x="2499668" y="536977"/>
                    <a:pt x="2499668" y="537791"/>
                    <a:pt x="2499668" y="537791"/>
                  </a:cubicBezTo>
                  <a:cubicBezTo>
                    <a:pt x="2498039" y="538606"/>
                    <a:pt x="2497224" y="539420"/>
                    <a:pt x="2495595" y="541049"/>
                  </a:cubicBezTo>
                  <a:cubicBezTo>
                    <a:pt x="2497224" y="541863"/>
                    <a:pt x="2498039" y="541863"/>
                    <a:pt x="2499668" y="541863"/>
                  </a:cubicBezTo>
                  <a:cubicBezTo>
                    <a:pt x="2499668" y="543493"/>
                    <a:pt x="2500482" y="544307"/>
                    <a:pt x="2501297" y="545936"/>
                  </a:cubicBezTo>
                  <a:cubicBezTo>
                    <a:pt x="2501297" y="545936"/>
                    <a:pt x="2501297" y="545936"/>
                    <a:pt x="2501297" y="545936"/>
                  </a:cubicBezTo>
                  <a:cubicBezTo>
                    <a:pt x="2501297" y="545936"/>
                    <a:pt x="2501297" y="545936"/>
                    <a:pt x="2501297" y="545936"/>
                  </a:cubicBezTo>
                  <a:cubicBezTo>
                    <a:pt x="2502111" y="547565"/>
                    <a:pt x="2503740" y="549194"/>
                    <a:pt x="2505369" y="550823"/>
                  </a:cubicBezTo>
                  <a:cubicBezTo>
                    <a:pt x="2508627" y="553266"/>
                    <a:pt x="2513514" y="554895"/>
                    <a:pt x="2517586" y="554081"/>
                  </a:cubicBezTo>
                  <a:cubicBezTo>
                    <a:pt x="2512700" y="554895"/>
                    <a:pt x="2511885" y="558153"/>
                    <a:pt x="2514329" y="561411"/>
                  </a:cubicBezTo>
                  <a:cubicBezTo>
                    <a:pt x="2515143" y="563040"/>
                    <a:pt x="2515957" y="563855"/>
                    <a:pt x="2517586" y="564669"/>
                  </a:cubicBezTo>
                  <a:cubicBezTo>
                    <a:pt x="2517586" y="564669"/>
                    <a:pt x="2517586" y="564669"/>
                    <a:pt x="2517586" y="564669"/>
                  </a:cubicBezTo>
                  <a:cubicBezTo>
                    <a:pt x="2517586" y="564669"/>
                    <a:pt x="2517586" y="564669"/>
                    <a:pt x="2517586" y="564669"/>
                  </a:cubicBezTo>
                  <a:cubicBezTo>
                    <a:pt x="2518401" y="565484"/>
                    <a:pt x="2518401" y="565484"/>
                    <a:pt x="2519216" y="565484"/>
                  </a:cubicBezTo>
                  <a:cubicBezTo>
                    <a:pt x="2519216" y="565484"/>
                    <a:pt x="2519216" y="565484"/>
                    <a:pt x="2519216" y="566298"/>
                  </a:cubicBezTo>
                  <a:cubicBezTo>
                    <a:pt x="2522474" y="571185"/>
                    <a:pt x="2527360" y="572000"/>
                    <a:pt x="2533062" y="572000"/>
                  </a:cubicBezTo>
                  <a:cubicBezTo>
                    <a:pt x="2534691" y="576072"/>
                    <a:pt x="2537949" y="576886"/>
                    <a:pt x="2542836" y="576886"/>
                  </a:cubicBezTo>
                  <a:cubicBezTo>
                    <a:pt x="2542836" y="573629"/>
                    <a:pt x="2541207" y="571185"/>
                    <a:pt x="2538763" y="569556"/>
                  </a:cubicBezTo>
                  <a:cubicBezTo>
                    <a:pt x="2537949" y="567927"/>
                    <a:pt x="2537134" y="566298"/>
                    <a:pt x="2536320" y="564669"/>
                  </a:cubicBezTo>
                  <a:cubicBezTo>
                    <a:pt x="2543650" y="564669"/>
                    <a:pt x="2551795" y="567113"/>
                    <a:pt x="2555868" y="557339"/>
                  </a:cubicBezTo>
                  <a:cubicBezTo>
                    <a:pt x="2551795" y="558153"/>
                    <a:pt x="2548537" y="558153"/>
                    <a:pt x="2545279" y="558153"/>
                  </a:cubicBezTo>
                  <a:cubicBezTo>
                    <a:pt x="2546908" y="557339"/>
                    <a:pt x="2549352" y="554895"/>
                    <a:pt x="2550166" y="552452"/>
                  </a:cubicBezTo>
                  <a:cubicBezTo>
                    <a:pt x="2546094" y="553266"/>
                    <a:pt x="2542021" y="553266"/>
                    <a:pt x="2538763" y="553266"/>
                  </a:cubicBezTo>
                  <a:cubicBezTo>
                    <a:pt x="2535505" y="553266"/>
                    <a:pt x="2531433" y="552452"/>
                    <a:pt x="2528175" y="552452"/>
                  </a:cubicBezTo>
                  <a:cubicBezTo>
                    <a:pt x="2524917" y="552452"/>
                    <a:pt x="2520845" y="553266"/>
                    <a:pt x="2517586" y="554081"/>
                  </a:cubicBezTo>
                  <a:cubicBezTo>
                    <a:pt x="2518401" y="554081"/>
                    <a:pt x="2519216" y="553266"/>
                    <a:pt x="2520030" y="553266"/>
                  </a:cubicBezTo>
                  <a:cubicBezTo>
                    <a:pt x="2523288" y="551637"/>
                    <a:pt x="2526546" y="550823"/>
                    <a:pt x="2530619" y="552452"/>
                  </a:cubicBezTo>
                  <a:cubicBezTo>
                    <a:pt x="2527360" y="545936"/>
                    <a:pt x="2530619" y="541863"/>
                    <a:pt x="2532247" y="536977"/>
                  </a:cubicBezTo>
                  <a:cubicBezTo>
                    <a:pt x="2533062" y="536162"/>
                    <a:pt x="2533062" y="535348"/>
                    <a:pt x="2533876" y="533719"/>
                  </a:cubicBezTo>
                  <a:cubicBezTo>
                    <a:pt x="2533876" y="532904"/>
                    <a:pt x="2533876" y="532090"/>
                    <a:pt x="2533876" y="531275"/>
                  </a:cubicBezTo>
                  <a:cubicBezTo>
                    <a:pt x="2540392" y="528017"/>
                    <a:pt x="2548537" y="527203"/>
                    <a:pt x="2555053" y="525574"/>
                  </a:cubicBezTo>
                  <a:cubicBezTo>
                    <a:pt x="2568085" y="522316"/>
                    <a:pt x="2581117" y="519872"/>
                    <a:pt x="2594149" y="515800"/>
                  </a:cubicBezTo>
                  <a:cubicBezTo>
                    <a:pt x="2596592" y="514985"/>
                    <a:pt x="2599035" y="514171"/>
                    <a:pt x="2601479" y="514171"/>
                  </a:cubicBezTo>
                  <a:cubicBezTo>
                    <a:pt x="2594149" y="516614"/>
                    <a:pt x="2586818" y="518243"/>
                    <a:pt x="2580302" y="522316"/>
                  </a:cubicBezTo>
                  <a:cubicBezTo>
                    <a:pt x="2572972" y="525574"/>
                    <a:pt x="2564827" y="527203"/>
                    <a:pt x="2555868" y="527203"/>
                  </a:cubicBezTo>
                  <a:cubicBezTo>
                    <a:pt x="2550166" y="527203"/>
                    <a:pt x="2550166" y="527203"/>
                    <a:pt x="2542021" y="532090"/>
                  </a:cubicBezTo>
                  <a:cubicBezTo>
                    <a:pt x="2544465" y="532904"/>
                    <a:pt x="2546908" y="534533"/>
                    <a:pt x="2548537" y="536162"/>
                  </a:cubicBezTo>
                  <a:cubicBezTo>
                    <a:pt x="2547723" y="536162"/>
                    <a:pt x="2547723" y="536977"/>
                    <a:pt x="2546908" y="536977"/>
                  </a:cubicBezTo>
                  <a:cubicBezTo>
                    <a:pt x="2549352" y="537791"/>
                    <a:pt x="2551795" y="539420"/>
                    <a:pt x="2553424" y="541049"/>
                  </a:cubicBezTo>
                  <a:cubicBezTo>
                    <a:pt x="2554238" y="541863"/>
                    <a:pt x="2555053" y="543493"/>
                    <a:pt x="2556682" y="544307"/>
                  </a:cubicBezTo>
                  <a:cubicBezTo>
                    <a:pt x="2558311" y="545936"/>
                    <a:pt x="2559126" y="547565"/>
                    <a:pt x="2561569" y="548379"/>
                  </a:cubicBezTo>
                  <a:cubicBezTo>
                    <a:pt x="2561569" y="548379"/>
                    <a:pt x="2562383" y="549194"/>
                    <a:pt x="2562383" y="549194"/>
                  </a:cubicBezTo>
                  <a:cubicBezTo>
                    <a:pt x="2566456" y="554895"/>
                    <a:pt x="2573786" y="555710"/>
                    <a:pt x="2581931" y="554895"/>
                  </a:cubicBezTo>
                  <a:cubicBezTo>
                    <a:pt x="2583560" y="554895"/>
                    <a:pt x="2585189" y="554081"/>
                    <a:pt x="2586004" y="553266"/>
                  </a:cubicBezTo>
                  <a:cubicBezTo>
                    <a:pt x="2591705" y="546750"/>
                    <a:pt x="2599850" y="545121"/>
                    <a:pt x="2608809" y="544307"/>
                  </a:cubicBezTo>
                  <a:cubicBezTo>
                    <a:pt x="2614511" y="543493"/>
                    <a:pt x="2620212" y="542678"/>
                    <a:pt x="2625099" y="538606"/>
                  </a:cubicBezTo>
                  <a:cubicBezTo>
                    <a:pt x="2635687" y="531275"/>
                    <a:pt x="2647905" y="528017"/>
                    <a:pt x="2660122" y="527203"/>
                  </a:cubicBezTo>
                  <a:cubicBezTo>
                    <a:pt x="2680484" y="524759"/>
                    <a:pt x="2698403" y="518243"/>
                    <a:pt x="2714693" y="506841"/>
                  </a:cubicBezTo>
                  <a:cubicBezTo>
                    <a:pt x="2719580" y="502768"/>
                    <a:pt x="2724467" y="501954"/>
                    <a:pt x="2730168" y="501954"/>
                  </a:cubicBezTo>
                  <a:cubicBezTo>
                    <a:pt x="2728539" y="505211"/>
                    <a:pt x="2726910" y="507655"/>
                    <a:pt x="2726096" y="510098"/>
                  </a:cubicBezTo>
                  <a:cubicBezTo>
                    <a:pt x="2726910" y="512542"/>
                    <a:pt x="2729354" y="511727"/>
                    <a:pt x="2730983" y="510913"/>
                  </a:cubicBezTo>
                  <a:cubicBezTo>
                    <a:pt x="2731797" y="510913"/>
                    <a:pt x="2732612" y="510098"/>
                    <a:pt x="2733426" y="510098"/>
                  </a:cubicBezTo>
                  <a:cubicBezTo>
                    <a:pt x="2732612" y="511727"/>
                    <a:pt x="2731797" y="513356"/>
                    <a:pt x="2730983" y="514985"/>
                  </a:cubicBezTo>
                  <a:cubicBezTo>
                    <a:pt x="2731797" y="517429"/>
                    <a:pt x="2734241" y="516614"/>
                    <a:pt x="2735870" y="515800"/>
                  </a:cubicBezTo>
                  <a:cubicBezTo>
                    <a:pt x="2739942" y="514171"/>
                    <a:pt x="2744014" y="514985"/>
                    <a:pt x="2748087" y="516614"/>
                  </a:cubicBezTo>
                  <a:cubicBezTo>
                    <a:pt x="2749716" y="514171"/>
                    <a:pt x="2751345" y="512542"/>
                    <a:pt x="2752974" y="510913"/>
                  </a:cubicBezTo>
                  <a:cubicBezTo>
                    <a:pt x="2758676" y="511727"/>
                    <a:pt x="2761933" y="509284"/>
                    <a:pt x="2762748" y="504397"/>
                  </a:cubicBezTo>
                  <a:cubicBezTo>
                    <a:pt x="2764377" y="499510"/>
                    <a:pt x="2763562" y="494623"/>
                    <a:pt x="2759490" y="490551"/>
                  </a:cubicBezTo>
                  <a:cubicBezTo>
                    <a:pt x="2757861" y="488922"/>
                    <a:pt x="2755417" y="486478"/>
                    <a:pt x="2752974" y="484035"/>
                  </a:cubicBezTo>
                  <a:cubicBezTo>
                    <a:pt x="2756232" y="480777"/>
                    <a:pt x="2758676" y="477519"/>
                    <a:pt x="2761933" y="474261"/>
                  </a:cubicBezTo>
                  <a:cubicBezTo>
                    <a:pt x="2766006" y="469374"/>
                    <a:pt x="2768449" y="464487"/>
                    <a:pt x="2766006" y="458785"/>
                  </a:cubicBezTo>
                  <a:cubicBezTo>
                    <a:pt x="2764377" y="459600"/>
                    <a:pt x="2762748" y="460415"/>
                    <a:pt x="2761933" y="462044"/>
                  </a:cubicBezTo>
                  <a:cubicBezTo>
                    <a:pt x="2761933" y="462044"/>
                    <a:pt x="2761119" y="462044"/>
                    <a:pt x="2761119" y="461229"/>
                  </a:cubicBezTo>
                  <a:cubicBezTo>
                    <a:pt x="2761933" y="459600"/>
                    <a:pt x="2761933" y="457971"/>
                    <a:pt x="2761119" y="457157"/>
                  </a:cubicBezTo>
                  <a:cubicBezTo>
                    <a:pt x="2761119" y="457157"/>
                    <a:pt x="2761119" y="457157"/>
                    <a:pt x="2761119" y="457157"/>
                  </a:cubicBezTo>
                  <a:cubicBezTo>
                    <a:pt x="2761933" y="454713"/>
                    <a:pt x="2762748" y="451455"/>
                    <a:pt x="2762748" y="449012"/>
                  </a:cubicBezTo>
                  <a:cubicBezTo>
                    <a:pt x="2762748" y="446568"/>
                    <a:pt x="2760304" y="444939"/>
                    <a:pt x="2757047" y="444939"/>
                  </a:cubicBezTo>
                  <a:cubicBezTo>
                    <a:pt x="2757047" y="444939"/>
                    <a:pt x="2757047" y="444125"/>
                    <a:pt x="2757047" y="444125"/>
                  </a:cubicBezTo>
                  <a:cubicBezTo>
                    <a:pt x="2757047" y="441681"/>
                    <a:pt x="2754603" y="440867"/>
                    <a:pt x="2752974" y="440052"/>
                  </a:cubicBezTo>
                  <a:cubicBezTo>
                    <a:pt x="2753788" y="436794"/>
                    <a:pt x="2752159" y="433536"/>
                    <a:pt x="2748087" y="431907"/>
                  </a:cubicBezTo>
                  <a:cubicBezTo>
                    <a:pt x="2748087" y="431907"/>
                    <a:pt x="2748087" y="431907"/>
                    <a:pt x="2748087" y="431907"/>
                  </a:cubicBezTo>
                  <a:cubicBezTo>
                    <a:pt x="2747273" y="430278"/>
                    <a:pt x="2745643" y="428650"/>
                    <a:pt x="2743200" y="427020"/>
                  </a:cubicBezTo>
                  <a:cubicBezTo>
                    <a:pt x="2740757" y="426206"/>
                    <a:pt x="2738313" y="425392"/>
                    <a:pt x="2735870" y="425392"/>
                  </a:cubicBezTo>
                  <a:cubicBezTo>
                    <a:pt x="2732612" y="424577"/>
                    <a:pt x="2730168" y="423763"/>
                    <a:pt x="2727725" y="422133"/>
                  </a:cubicBezTo>
                  <a:cubicBezTo>
                    <a:pt x="2725281" y="419690"/>
                    <a:pt x="2723652" y="416432"/>
                    <a:pt x="2722024" y="413989"/>
                  </a:cubicBezTo>
                  <a:cubicBezTo>
                    <a:pt x="2721209" y="413989"/>
                    <a:pt x="2720395" y="413989"/>
                    <a:pt x="2719580" y="413989"/>
                  </a:cubicBezTo>
                  <a:cubicBezTo>
                    <a:pt x="2718765" y="412360"/>
                    <a:pt x="2717951" y="410731"/>
                    <a:pt x="2716322" y="409102"/>
                  </a:cubicBezTo>
                  <a:cubicBezTo>
                    <a:pt x="2713064" y="407473"/>
                    <a:pt x="2708177" y="413989"/>
                    <a:pt x="2703290" y="409916"/>
                  </a:cubicBezTo>
                  <a:cubicBezTo>
                    <a:pt x="2698403" y="406658"/>
                    <a:pt x="2693516" y="411545"/>
                    <a:pt x="2688629" y="411545"/>
                  </a:cubicBezTo>
                  <a:cubicBezTo>
                    <a:pt x="2688629" y="411545"/>
                    <a:pt x="2687815" y="411545"/>
                    <a:pt x="2687815" y="411545"/>
                  </a:cubicBezTo>
                  <a:cubicBezTo>
                    <a:pt x="2688629" y="410731"/>
                    <a:pt x="2688629" y="409916"/>
                    <a:pt x="2689444" y="409102"/>
                  </a:cubicBezTo>
                  <a:cubicBezTo>
                    <a:pt x="2687000" y="409916"/>
                    <a:pt x="2685372" y="410731"/>
                    <a:pt x="2682928" y="410731"/>
                  </a:cubicBezTo>
                  <a:cubicBezTo>
                    <a:pt x="2682113" y="410731"/>
                    <a:pt x="2681299" y="409916"/>
                    <a:pt x="2680484" y="409916"/>
                  </a:cubicBezTo>
                  <a:cubicBezTo>
                    <a:pt x="2667453" y="403400"/>
                    <a:pt x="2651977" y="403400"/>
                    <a:pt x="2637316" y="400957"/>
                  </a:cubicBezTo>
                  <a:cubicBezTo>
                    <a:pt x="2622656" y="398513"/>
                    <a:pt x="2607180" y="396884"/>
                    <a:pt x="2591705" y="394441"/>
                  </a:cubicBezTo>
                  <a:cubicBezTo>
                    <a:pt x="2585189" y="393626"/>
                    <a:pt x="2579488" y="392812"/>
                    <a:pt x="2573786" y="393626"/>
                  </a:cubicBezTo>
                  <a:cubicBezTo>
                    <a:pt x="2567271" y="394441"/>
                    <a:pt x="2561569" y="395255"/>
                    <a:pt x="2555053" y="393626"/>
                  </a:cubicBezTo>
                  <a:cubicBezTo>
                    <a:pt x="2553424" y="392812"/>
                    <a:pt x="2550166" y="391997"/>
                    <a:pt x="2549352" y="392812"/>
                  </a:cubicBezTo>
                  <a:cubicBezTo>
                    <a:pt x="2542836" y="396070"/>
                    <a:pt x="2535505" y="393626"/>
                    <a:pt x="2528990" y="393626"/>
                  </a:cubicBezTo>
                  <a:cubicBezTo>
                    <a:pt x="2528990" y="393626"/>
                    <a:pt x="2529804" y="392812"/>
                    <a:pt x="2529804" y="391997"/>
                  </a:cubicBezTo>
                  <a:cubicBezTo>
                    <a:pt x="2528175" y="391183"/>
                    <a:pt x="2526546" y="391183"/>
                    <a:pt x="2524917" y="390368"/>
                  </a:cubicBezTo>
                  <a:cubicBezTo>
                    <a:pt x="2524102" y="390368"/>
                    <a:pt x="2523288" y="391183"/>
                    <a:pt x="2523288" y="391997"/>
                  </a:cubicBezTo>
                  <a:cubicBezTo>
                    <a:pt x="2523288" y="391997"/>
                    <a:pt x="2523288" y="392812"/>
                    <a:pt x="2524102" y="392812"/>
                  </a:cubicBezTo>
                  <a:cubicBezTo>
                    <a:pt x="2518401" y="392812"/>
                    <a:pt x="2512700" y="391997"/>
                    <a:pt x="2506998" y="390368"/>
                  </a:cubicBezTo>
                  <a:cubicBezTo>
                    <a:pt x="2506998" y="387925"/>
                    <a:pt x="2506184" y="385481"/>
                    <a:pt x="2505369" y="382224"/>
                  </a:cubicBezTo>
                  <a:cubicBezTo>
                    <a:pt x="2506998" y="381409"/>
                    <a:pt x="2510256" y="379780"/>
                    <a:pt x="2512700" y="379780"/>
                  </a:cubicBezTo>
                  <a:cubicBezTo>
                    <a:pt x="2528990" y="375708"/>
                    <a:pt x="2545279" y="372450"/>
                    <a:pt x="2561569" y="372450"/>
                  </a:cubicBezTo>
                  <a:cubicBezTo>
                    <a:pt x="2568899" y="372450"/>
                    <a:pt x="2576230" y="370006"/>
                    <a:pt x="2582746" y="368377"/>
                  </a:cubicBezTo>
                  <a:cubicBezTo>
                    <a:pt x="2587633" y="366748"/>
                    <a:pt x="2592520" y="365934"/>
                    <a:pt x="2597406" y="365934"/>
                  </a:cubicBezTo>
                  <a:cubicBezTo>
                    <a:pt x="2594149" y="367563"/>
                    <a:pt x="2591705" y="369192"/>
                    <a:pt x="2589261" y="370821"/>
                  </a:cubicBezTo>
                  <a:cubicBezTo>
                    <a:pt x="2581931" y="376522"/>
                    <a:pt x="2582746" y="387925"/>
                    <a:pt x="2591705" y="391183"/>
                  </a:cubicBezTo>
                  <a:cubicBezTo>
                    <a:pt x="2597406" y="393626"/>
                    <a:pt x="2603108" y="395255"/>
                    <a:pt x="2609624" y="388740"/>
                  </a:cubicBezTo>
                  <a:cubicBezTo>
                    <a:pt x="2616954" y="381409"/>
                    <a:pt x="2617769" y="377337"/>
                    <a:pt x="2612068" y="369192"/>
                  </a:cubicBezTo>
                  <a:cubicBezTo>
                    <a:pt x="2611253" y="367563"/>
                    <a:pt x="2609624" y="365934"/>
                    <a:pt x="2608809" y="365119"/>
                  </a:cubicBezTo>
                  <a:cubicBezTo>
                    <a:pt x="2614511" y="365119"/>
                    <a:pt x="2621027" y="363490"/>
                    <a:pt x="2627543" y="362676"/>
                  </a:cubicBezTo>
                  <a:cubicBezTo>
                    <a:pt x="2637316" y="361047"/>
                    <a:pt x="2647905" y="361861"/>
                    <a:pt x="2657679" y="362676"/>
                  </a:cubicBezTo>
                  <a:cubicBezTo>
                    <a:pt x="2665009" y="362676"/>
                    <a:pt x="2671525" y="364305"/>
                    <a:pt x="2678855" y="365119"/>
                  </a:cubicBezTo>
                  <a:cubicBezTo>
                    <a:pt x="2687000" y="365934"/>
                    <a:pt x="2695960" y="367563"/>
                    <a:pt x="2704105" y="368377"/>
                  </a:cubicBezTo>
                  <a:cubicBezTo>
                    <a:pt x="2705734" y="365934"/>
                    <a:pt x="2704105" y="365119"/>
                    <a:pt x="2702476" y="363490"/>
                  </a:cubicBezTo>
                  <a:cubicBezTo>
                    <a:pt x="2707362" y="361861"/>
                    <a:pt x="2713064" y="361047"/>
                    <a:pt x="2718765" y="359418"/>
                  </a:cubicBezTo>
                  <a:cubicBezTo>
                    <a:pt x="2719580" y="356160"/>
                    <a:pt x="2715507" y="355345"/>
                    <a:pt x="2713879" y="353716"/>
                  </a:cubicBezTo>
                  <a:cubicBezTo>
                    <a:pt x="2713879" y="352088"/>
                    <a:pt x="2713064" y="351273"/>
                    <a:pt x="2711435" y="350458"/>
                  </a:cubicBezTo>
                  <a:cubicBezTo>
                    <a:pt x="2710621" y="348015"/>
                    <a:pt x="2708991" y="344757"/>
                    <a:pt x="2708177" y="341499"/>
                  </a:cubicBezTo>
                  <a:cubicBezTo>
                    <a:pt x="2730983" y="336612"/>
                    <a:pt x="2753788" y="335798"/>
                    <a:pt x="2779038" y="328467"/>
                  </a:cubicBezTo>
                  <a:cubicBezTo>
                    <a:pt x="2769264" y="325209"/>
                    <a:pt x="2762748" y="328467"/>
                    <a:pt x="2755417" y="327653"/>
                  </a:cubicBezTo>
                  <a:cubicBezTo>
                    <a:pt x="2755417" y="327653"/>
                    <a:pt x="2755417" y="327653"/>
                    <a:pt x="2755417" y="327653"/>
                  </a:cubicBezTo>
                  <a:cubicBezTo>
                    <a:pt x="2761119" y="326838"/>
                    <a:pt x="2767635" y="325209"/>
                    <a:pt x="2773336" y="323580"/>
                  </a:cubicBezTo>
                  <a:cubicBezTo>
                    <a:pt x="2767635" y="321137"/>
                    <a:pt x="2762748" y="321951"/>
                    <a:pt x="2758676" y="322766"/>
                  </a:cubicBezTo>
                  <a:cubicBezTo>
                    <a:pt x="2759490" y="321137"/>
                    <a:pt x="2760304" y="320322"/>
                    <a:pt x="2760304" y="318693"/>
                  </a:cubicBezTo>
                  <a:cubicBezTo>
                    <a:pt x="2761933" y="314621"/>
                    <a:pt x="2758676" y="311363"/>
                    <a:pt x="2756232" y="307291"/>
                  </a:cubicBezTo>
                  <a:cubicBezTo>
                    <a:pt x="2754603" y="304033"/>
                    <a:pt x="2752159" y="300775"/>
                    <a:pt x="2748902" y="299146"/>
                  </a:cubicBezTo>
                  <a:cubicBezTo>
                    <a:pt x="2748902" y="299146"/>
                    <a:pt x="2748087" y="298331"/>
                    <a:pt x="2747273" y="298331"/>
                  </a:cubicBezTo>
                  <a:cubicBezTo>
                    <a:pt x="2746458" y="296702"/>
                    <a:pt x="2744829" y="295073"/>
                    <a:pt x="2743200" y="294259"/>
                  </a:cubicBezTo>
                  <a:cubicBezTo>
                    <a:pt x="2740757" y="292630"/>
                    <a:pt x="2736684" y="291815"/>
                    <a:pt x="2733426" y="291001"/>
                  </a:cubicBezTo>
                  <a:cubicBezTo>
                    <a:pt x="2708177" y="286114"/>
                    <a:pt x="2682928" y="285299"/>
                    <a:pt x="2656864" y="286928"/>
                  </a:cubicBezTo>
                  <a:cubicBezTo>
                    <a:pt x="2640575" y="288557"/>
                    <a:pt x="2625099" y="289372"/>
                    <a:pt x="2608809" y="290186"/>
                  </a:cubicBezTo>
                  <a:cubicBezTo>
                    <a:pt x="2608809" y="290186"/>
                    <a:pt x="2607995" y="290186"/>
                    <a:pt x="2607995" y="290186"/>
                  </a:cubicBezTo>
                  <a:cubicBezTo>
                    <a:pt x="2617769" y="289372"/>
                    <a:pt x="2627543" y="287743"/>
                    <a:pt x="2637316" y="286928"/>
                  </a:cubicBezTo>
                  <a:cubicBezTo>
                    <a:pt x="2647905" y="286114"/>
                    <a:pt x="2659308" y="284485"/>
                    <a:pt x="2669896" y="283670"/>
                  </a:cubicBezTo>
                  <a:cubicBezTo>
                    <a:pt x="2680484" y="282856"/>
                    <a:pt x="2691073" y="282041"/>
                    <a:pt x="2701661" y="281227"/>
                  </a:cubicBezTo>
                  <a:cubicBezTo>
                    <a:pt x="2703290" y="277154"/>
                    <a:pt x="2700847" y="275525"/>
                    <a:pt x="2697589" y="274711"/>
                  </a:cubicBezTo>
                  <a:cubicBezTo>
                    <a:pt x="2697589" y="274711"/>
                    <a:pt x="2696774" y="274711"/>
                    <a:pt x="2696774" y="274711"/>
                  </a:cubicBezTo>
                  <a:cubicBezTo>
                    <a:pt x="2696774" y="273897"/>
                    <a:pt x="2696774" y="273082"/>
                    <a:pt x="2696774" y="273082"/>
                  </a:cubicBezTo>
                  <a:cubicBezTo>
                    <a:pt x="2667453" y="273897"/>
                    <a:pt x="2637316" y="273082"/>
                    <a:pt x="2607180" y="273082"/>
                  </a:cubicBezTo>
                  <a:cubicBezTo>
                    <a:pt x="2601479" y="273082"/>
                    <a:pt x="2595778" y="272267"/>
                    <a:pt x="2590891" y="270639"/>
                  </a:cubicBezTo>
                  <a:cubicBezTo>
                    <a:pt x="2590891" y="270639"/>
                    <a:pt x="2590076" y="270639"/>
                    <a:pt x="2590076" y="270639"/>
                  </a:cubicBezTo>
                  <a:cubicBezTo>
                    <a:pt x="2568899" y="271453"/>
                    <a:pt x="2547723" y="273082"/>
                    <a:pt x="2526546" y="275525"/>
                  </a:cubicBezTo>
                  <a:cubicBezTo>
                    <a:pt x="2517586" y="276340"/>
                    <a:pt x="2509442" y="277154"/>
                    <a:pt x="2500482" y="277969"/>
                  </a:cubicBezTo>
                  <a:cubicBezTo>
                    <a:pt x="2500482" y="276340"/>
                    <a:pt x="2500482" y="274711"/>
                    <a:pt x="2499668" y="273082"/>
                  </a:cubicBezTo>
                  <a:cubicBezTo>
                    <a:pt x="2497224" y="265752"/>
                    <a:pt x="2497224" y="259236"/>
                    <a:pt x="2497224" y="251905"/>
                  </a:cubicBezTo>
                  <a:cubicBezTo>
                    <a:pt x="2497224" y="247833"/>
                    <a:pt x="2498039" y="245389"/>
                    <a:pt x="2502111" y="243760"/>
                  </a:cubicBezTo>
                  <a:cubicBezTo>
                    <a:pt x="2502926" y="243760"/>
                    <a:pt x="2504555" y="241317"/>
                    <a:pt x="2504555" y="240502"/>
                  </a:cubicBezTo>
                  <a:cubicBezTo>
                    <a:pt x="2504555" y="239688"/>
                    <a:pt x="2502926" y="237245"/>
                    <a:pt x="2502111" y="237245"/>
                  </a:cubicBezTo>
                  <a:cubicBezTo>
                    <a:pt x="2496410" y="236430"/>
                    <a:pt x="2497224" y="233172"/>
                    <a:pt x="2496410" y="229100"/>
                  </a:cubicBezTo>
                  <a:cubicBezTo>
                    <a:pt x="2496410" y="224213"/>
                    <a:pt x="2495595" y="219326"/>
                    <a:pt x="2494781" y="213624"/>
                  </a:cubicBezTo>
                  <a:cubicBezTo>
                    <a:pt x="2494781" y="210366"/>
                    <a:pt x="2493967" y="207923"/>
                    <a:pt x="2493967" y="204665"/>
                  </a:cubicBezTo>
                  <a:cubicBezTo>
                    <a:pt x="2493967" y="194891"/>
                    <a:pt x="2493967" y="185117"/>
                    <a:pt x="2486636" y="176972"/>
                  </a:cubicBezTo>
                  <a:cubicBezTo>
                    <a:pt x="2485007" y="174529"/>
                    <a:pt x="2482564" y="171271"/>
                    <a:pt x="2482564" y="168827"/>
                  </a:cubicBezTo>
                  <a:cubicBezTo>
                    <a:pt x="2482564" y="161497"/>
                    <a:pt x="2477677" y="157424"/>
                    <a:pt x="2474419" y="152538"/>
                  </a:cubicBezTo>
                  <a:cubicBezTo>
                    <a:pt x="2471975" y="149280"/>
                    <a:pt x="2470346" y="146836"/>
                    <a:pt x="2469532" y="143578"/>
                  </a:cubicBezTo>
                  <a:cubicBezTo>
                    <a:pt x="2468717" y="140320"/>
                    <a:pt x="2468717" y="138691"/>
                    <a:pt x="2469532" y="137877"/>
                  </a:cubicBezTo>
                  <a:cubicBezTo>
                    <a:pt x="2461387" y="133804"/>
                    <a:pt x="2455685" y="129732"/>
                    <a:pt x="2449984" y="124845"/>
                  </a:cubicBezTo>
                  <a:cubicBezTo>
                    <a:pt x="2447541" y="124845"/>
                    <a:pt x="2445912" y="124845"/>
                    <a:pt x="2443468" y="124845"/>
                  </a:cubicBezTo>
                  <a:cubicBezTo>
                    <a:pt x="2433694" y="126474"/>
                    <a:pt x="2423920" y="125659"/>
                    <a:pt x="2414146" y="123216"/>
                  </a:cubicBezTo>
                  <a:cubicBezTo>
                    <a:pt x="2406001" y="125659"/>
                    <a:pt x="2399486" y="131361"/>
                    <a:pt x="2392970" y="134619"/>
                  </a:cubicBezTo>
                  <a:cubicBezTo>
                    <a:pt x="2388897" y="137062"/>
                    <a:pt x="2386454" y="140320"/>
                    <a:pt x="2382381" y="142764"/>
                  </a:cubicBezTo>
                  <a:cubicBezTo>
                    <a:pt x="2380752" y="143578"/>
                    <a:pt x="2379123" y="144393"/>
                    <a:pt x="2376680" y="145207"/>
                  </a:cubicBezTo>
                  <a:cubicBezTo>
                    <a:pt x="2377494" y="150094"/>
                    <a:pt x="2373422" y="153352"/>
                    <a:pt x="2369349" y="154981"/>
                  </a:cubicBezTo>
                  <a:cubicBezTo>
                    <a:pt x="2368535" y="155796"/>
                    <a:pt x="2366906" y="155796"/>
                    <a:pt x="2366092" y="156610"/>
                  </a:cubicBezTo>
                  <a:cubicBezTo>
                    <a:pt x="2357132" y="164755"/>
                    <a:pt x="2345729" y="166384"/>
                    <a:pt x="2335141" y="164755"/>
                  </a:cubicBezTo>
                  <a:cubicBezTo>
                    <a:pt x="2322109" y="163126"/>
                    <a:pt x="2309077" y="160683"/>
                    <a:pt x="2296860" y="154167"/>
                  </a:cubicBezTo>
                  <a:cubicBezTo>
                    <a:pt x="2296045" y="153352"/>
                    <a:pt x="2294417" y="153352"/>
                    <a:pt x="2293602" y="151723"/>
                  </a:cubicBezTo>
                  <a:cubicBezTo>
                    <a:pt x="2289529" y="148465"/>
                    <a:pt x="2286272" y="144393"/>
                    <a:pt x="2283828" y="140320"/>
                  </a:cubicBezTo>
                  <a:cubicBezTo>
                    <a:pt x="2263466" y="129732"/>
                    <a:pt x="2249620" y="110184"/>
                    <a:pt x="2251248" y="84120"/>
                  </a:cubicBezTo>
                  <a:cubicBezTo>
                    <a:pt x="2242289" y="84120"/>
                    <a:pt x="2234144" y="82492"/>
                    <a:pt x="2225999" y="79234"/>
                  </a:cubicBezTo>
                  <a:cubicBezTo>
                    <a:pt x="2221113" y="79234"/>
                    <a:pt x="2217040" y="79234"/>
                    <a:pt x="2212153" y="79234"/>
                  </a:cubicBezTo>
                  <a:cubicBezTo>
                    <a:pt x="2212153" y="79234"/>
                    <a:pt x="2212153" y="78419"/>
                    <a:pt x="2212968" y="78419"/>
                  </a:cubicBezTo>
                  <a:cubicBezTo>
                    <a:pt x="2212153" y="75161"/>
                    <a:pt x="2216225" y="72718"/>
                    <a:pt x="2215411" y="68645"/>
                  </a:cubicBezTo>
                  <a:cubicBezTo>
                    <a:pt x="2215411" y="67831"/>
                    <a:pt x="2216225" y="67016"/>
                    <a:pt x="2217040" y="67016"/>
                  </a:cubicBezTo>
                  <a:cubicBezTo>
                    <a:pt x="2218669" y="66202"/>
                    <a:pt x="2219484" y="65387"/>
                    <a:pt x="2218669" y="63758"/>
                  </a:cubicBezTo>
                  <a:cubicBezTo>
                    <a:pt x="2217854" y="60500"/>
                    <a:pt x="2217040" y="58057"/>
                    <a:pt x="2219484" y="54799"/>
                  </a:cubicBezTo>
                  <a:cubicBezTo>
                    <a:pt x="2219484" y="54799"/>
                    <a:pt x="2219484" y="53984"/>
                    <a:pt x="2220298" y="53984"/>
                  </a:cubicBezTo>
                  <a:cubicBezTo>
                    <a:pt x="2220298" y="53984"/>
                    <a:pt x="2220298" y="53170"/>
                    <a:pt x="2220298" y="53170"/>
                  </a:cubicBezTo>
                  <a:cubicBezTo>
                    <a:pt x="2220298" y="52355"/>
                    <a:pt x="2218669" y="50727"/>
                    <a:pt x="2218669" y="50727"/>
                  </a:cubicBezTo>
                  <a:cubicBezTo>
                    <a:pt x="2215411" y="52355"/>
                    <a:pt x="2212153" y="50727"/>
                    <a:pt x="2208895" y="49097"/>
                  </a:cubicBezTo>
                  <a:cubicBezTo>
                    <a:pt x="2207266" y="48283"/>
                    <a:pt x="2206451" y="47468"/>
                    <a:pt x="2204823" y="46654"/>
                  </a:cubicBezTo>
                  <a:cubicBezTo>
                    <a:pt x="2203194" y="45840"/>
                    <a:pt x="2202379" y="45840"/>
                    <a:pt x="2200750" y="46654"/>
                  </a:cubicBezTo>
                  <a:cubicBezTo>
                    <a:pt x="2195863" y="48283"/>
                    <a:pt x="2190162" y="49912"/>
                    <a:pt x="2185275" y="50727"/>
                  </a:cubicBezTo>
                  <a:cubicBezTo>
                    <a:pt x="2184461" y="50727"/>
                    <a:pt x="2183646" y="51541"/>
                    <a:pt x="2182832" y="50727"/>
                  </a:cubicBezTo>
                  <a:cubicBezTo>
                    <a:pt x="2179573" y="49097"/>
                    <a:pt x="2177130" y="50727"/>
                    <a:pt x="2173872" y="51541"/>
                  </a:cubicBezTo>
                  <a:cubicBezTo>
                    <a:pt x="2173058" y="51541"/>
                    <a:pt x="2171428" y="52355"/>
                    <a:pt x="2170614" y="52355"/>
                  </a:cubicBezTo>
                  <a:cubicBezTo>
                    <a:pt x="2169799" y="52355"/>
                    <a:pt x="2168985" y="52355"/>
                    <a:pt x="2168171" y="52355"/>
                  </a:cubicBezTo>
                  <a:cubicBezTo>
                    <a:pt x="2166542" y="51541"/>
                    <a:pt x="2164913" y="51541"/>
                    <a:pt x="2164098" y="52355"/>
                  </a:cubicBezTo>
                  <a:cubicBezTo>
                    <a:pt x="2159211" y="53984"/>
                    <a:pt x="2154324" y="54799"/>
                    <a:pt x="2149437" y="56428"/>
                  </a:cubicBezTo>
                  <a:cubicBezTo>
                    <a:pt x="2147809" y="57242"/>
                    <a:pt x="2146180" y="57242"/>
                    <a:pt x="2145365" y="56428"/>
                  </a:cubicBezTo>
                  <a:cubicBezTo>
                    <a:pt x="2142921" y="55613"/>
                    <a:pt x="2140478" y="56428"/>
                    <a:pt x="2138849" y="54799"/>
                  </a:cubicBezTo>
                  <a:cubicBezTo>
                    <a:pt x="2138035" y="53984"/>
                    <a:pt x="2137220" y="53984"/>
                    <a:pt x="2135591" y="53170"/>
                  </a:cubicBezTo>
                  <a:cubicBezTo>
                    <a:pt x="2133962" y="52355"/>
                    <a:pt x="2133962" y="52355"/>
                    <a:pt x="2135591" y="50727"/>
                  </a:cubicBezTo>
                  <a:cubicBezTo>
                    <a:pt x="2138035" y="49097"/>
                    <a:pt x="2139664" y="46654"/>
                    <a:pt x="2142921" y="45840"/>
                  </a:cubicBezTo>
                  <a:cubicBezTo>
                    <a:pt x="2146994" y="45025"/>
                    <a:pt x="2150252" y="43396"/>
                    <a:pt x="2153510" y="42582"/>
                  </a:cubicBezTo>
                  <a:cubicBezTo>
                    <a:pt x="2155953" y="41767"/>
                    <a:pt x="2157582" y="41767"/>
                    <a:pt x="2160026" y="42582"/>
                  </a:cubicBezTo>
                  <a:cubicBezTo>
                    <a:pt x="2161655" y="43396"/>
                    <a:pt x="2164098" y="43396"/>
                    <a:pt x="2165727" y="43396"/>
                  </a:cubicBezTo>
                  <a:cubicBezTo>
                    <a:pt x="2167356" y="43396"/>
                    <a:pt x="2169799" y="42582"/>
                    <a:pt x="2171428" y="41767"/>
                  </a:cubicBezTo>
                  <a:cubicBezTo>
                    <a:pt x="2173058" y="41767"/>
                    <a:pt x="2174687" y="40953"/>
                    <a:pt x="2175501" y="40953"/>
                  </a:cubicBezTo>
                  <a:cubicBezTo>
                    <a:pt x="2176316" y="40953"/>
                    <a:pt x="2177130" y="40953"/>
                    <a:pt x="2177944" y="40953"/>
                  </a:cubicBezTo>
                  <a:cubicBezTo>
                    <a:pt x="2179573" y="41767"/>
                    <a:pt x="2181202" y="41767"/>
                    <a:pt x="2182017" y="40953"/>
                  </a:cubicBezTo>
                  <a:cubicBezTo>
                    <a:pt x="2183646" y="40138"/>
                    <a:pt x="2186089" y="40138"/>
                    <a:pt x="2187718" y="40953"/>
                  </a:cubicBezTo>
                  <a:cubicBezTo>
                    <a:pt x="2188533" y="41767"/>
                    <a:pt x="2190162" y="40953"/>
                    <a:pt x="2190976" y="40953"/>
                  </a:cubicBezTo>
                  <a:cubicBezTo>
                    <a:pt x="2192606" y="40953"/>
                    <a:pt x="2194234" y="40138"/>
                    <a:pt x="2195049" y="40138"/>
                  </a:cubicBezTo>
                  <a:cubicBezTo>
                    <a:pt x="2197492" y="40953"/>
                    <a:pt x="2199936" y="40138"/>
                    <a:pt x="2201565" y="40138"/>
                  </a:cubicBezTo>
                  <a:cubicBezTo>
                    <a:pt x="2204008" y="39323"/>
                    <a:pt x="2206451" y="38509"/>
                    <a:pt x="2208895" y="37695"/>
                  </a:cubicBezTo>
                  <a:cubicBezTo>
                    <a:pt x="2212153" y="36880"/>
                    <a:pt x="2215411" y="36066"/>
                    <a:pt x="2218669" y="35251"/>
                  </a:cubicBezTo>
                  <a:cubicBezTo>
                    <a:pt x="2220298" y="34437"/>
                    <a:pt x="2221927" y="35251"/>
                    <a:pt x="2222741" y="35251"/>
                  </a:cubicBezTo>
                  <a:cubicBezTo>
                    <a:pt x="2223556" y="35251"/>
                    <a:pt x="2224370" y="35251"/>
                    <a:pt x="2225185" y="35251"/>
                  </a:cubicBezTo>
                  <a:cubicBezTo>
                    <a:pt x="2233330" y="32808"/>
                    <a:pt x="2241475" y="30364"/>
                    <a:pt x="2249620" y="27921"/>
                  </a:cubicBezTo>
                  <a:cubicBezTo>
                    <a:pt x="2250434" y="27921"/>
                    <a:pt x="2251248" y="26292"/>
                    <a:pt x="2250434" y="25477"/>
                  </a:cubicBezTo>
                  <a:cubicBezTo>
                    <a:pt x="2249620" y="23848"/>
                    <a:pt x="2249620" y="22219"/>
                    <a:pt x="2247176" y="21405"/>
                  </a:cubicBezTo>
                  <a:cubicBezTo>
                    <a:pt x="2243918" y="20590"/>
                    <a:pt x="2239846" y="20590"/>
                    <a:pt x="2236588" y="18147"/>
                  </a:cubicBezTo>
                  <a:cubicBezTo>
                    <a:pt x="2235773" y="18147"/>
                    <a:pt x="2234959" y="18147"/>
                    <a:pt x="2234144" y="18147"/>
                  </a:cubicBezTo>
                  <a:cubicBezTo>
                    <a:pt x="2230886" y="19776"/>
                    <a:pt x="2227628" y="18961"/>
                    <a:pt x="2224370" y="17332"/>
                  </a:cubicBezTo>
                  <a:cubicBezTo>
                    <a:pt x="2223556" y="16518"/>
                    <a:pt x="2221927" y="16518"/>
                    <a:pt x="2221113" y="17332"/>
                  </a:cubicBezTo>
                  <a:cubicBezTo>
                    <a:pt x="2219484" y="18147"/>
                    <a:pt x="2217854" y="17332"/>
                    <a:pt x="2217040" y="17332"/>
                  </a:cubicBezTo>
                  <a:cubicBezTo>
                    <a:pt x="2214596" y="16518"/>
                    <a:pt x="2212968" y="16518"/>
                    <a:pt x="2210524" y="16518"/>
                  </a:cubicBezTo>
                  <a:cubicBezTo>
                    <a:pt x="2208081" y="18147"/>
                    <a:pt x="2205637" y="15703"/>
                    <a:pt x="2202379" y="16518"/>
                  </a:cubicBezTo>
                  <a:cubicBezTo>
                    <a:pt x="2199121" y="17332"/>
                    <a:pt x="2196678" y="14889"/>
                    <a:pt x="2193420" y="16518"/>
                  </a:cubicBezTo>
                  <a:cubicBezTo>
                    <a:pt x="2192606" y="16518"/>
                    <a:pt x="2191791" y="16518"/>
                    <a:pt x="2190976" y="16518"/>
                  </a:cubicBezTo>
                  <a:cubicBezTo>
                    <a:pt x="2188533" y="14889"/>
                    <a:pt x="2186089" y="14889"/>
                    <a:pt x="2183646" y="14074"/>
                  </a:cubicBezTo>
                  <a:cubicBezTo>
                    <a:pt x="2181202" y="13260"/>
                    <a:pt x="2179573" y="11631"/>
                    <a:pt x="2177944" y="10816"/>
                  </a:cubicBezTo>
                  <a:cubicBezTo>
                    <a:pt x="2177944" y="10816"/>
                    <a:pt x="2177944" y="10002"/>
                    <a:pt x="2177130" y="10002"/>
                  </a:cubicBezTo>
                  <a:cubicBezTo>
                    <a:pt x="2177130" y="10002"/>
                    <a:pt x="2177130" y="9188"/>
                    <a:pt x="2177130" y="9188"/>
                  </a:cubicBezTo>
                  <a:cubicBezTo>
                    <a:pt x="2177944" y="7558"/>
                    <a:pt x="2178759" y="6744"/>
                    <a:pt x="2179573" y="5115"/>
                  </a:cubicBezTo>
                  <a:cubicBezTo>
                    <a:pt x="2180388" y="5115"/>
                    <a:pt x="2182017" y="5930"/>
                    <a:pt x="2182832" y="5930"/>
                  </a:cubicBezTo>
                  <a:cubicBezTo>
                    <a:pt x="2183646" y="5930"/>
                    <a:pt x="2184461" y="5115"/>
                    <a:pt x="2184461" y="5115"/>
                  </a:cubicBezTo>
                  <a:cubicBezTo>
                    <a:pt x="2184461" y="5115"/>
                    <a:pt x="2184461" y="4301"/>
                    <a:pt x="2183646" y="3486"/>
                  </a:cubicBezTo>
                  <a:cubicBezTo>
                    <a:pt x="2182017" y="2671"/>
                    <a:pt x="2181202" y="1857"/>
                    <a:pt x="2179573" y="2671"/>
                  </a:cubicBezTo>
                  <a:cubicBezTo>
                    <a:pt x="2177130" y="3486"/>
                    <a:pt x="2174687" y="4301"/>
                    <a:pt x="2172243" y="5115"/>
                  </a:cubicBezTo>
                  <a:cubicBezTo>
                    <a:pt x="2170614" y="5115"/>
                    <a:pt x="2169799" y="5115"/>
                    <a:pt x="2168985" y="4301"/>
                  </a:cubicBezTo>
                  <a:cubicBezTo>
                    <a:pt x="2168171" y="3486"/>
                    <a:pt x="2168171" y="2671"/>
                    <a:pt x="2167356" y="2671"/>
                  </a:cubicBezTo>
                  <a:cubicBezTo>
                    <a:pt x="2164098" y="1857"/>
                    <a:pt x="2160840" y="1857"/>
                    <a:pt x="2157582" y="1043"/>
                  </a:cubicBezTo>
                  <a:cubicBezTo>
                    <a:pt x="2155953" y="1043"/>
                    <a:pt x="2154324" y="1043"/>
                    <a:pt x="2153510" y="1043"/>
                  </a:cubicBezTo>
                  <a:cubicBezTo>
                    <a:pt x="2151881" y="1043"/>
                    <a:pt x="2150252" y="1857"/>
                    <a:pt x="2149437" y="1043"/>
                  </a:cubicBezTo>
                  <a:cubicBezTo>
                    <a:pt x="2147809" y="228"/>
                    <a:pt x="2145365" y="228"/>
                    <a:pt x="2143736" y="228"/>
                  </a:cubicBezTo>
                  <a:cubicBezTo>
                    <a:pt x="2141292" y="-586"/>
                    <a:pt x="2139664" y="1043"/>
                    <a:pt x="2137220" y="1043"/>
                  </a:cubicBezTo>
                  <a:cubicBezTo>
                    <a:pt x="2137220" y="1043"/>
                    <a:pt x="2136406" y="1043"/>
                    <a:pt x="2136406" y="1043"/>
                  </a:cubicBezTo>
                  <a:cubicBezTo>
                    <a:pt x="2133962" y="228"/>
                    <a:pt x="2132333" y="228"/>
                    <a:pt x="2129890" y="1043"/>
                  </a:cubicBezTo>
                  <a:cubicBezTo>
                    <a:pt x="2129075" y="1043"/>
                    <a:pt x="2127446" y="1857"/>
                    <a:pt x="2126632" y="1043"/>
                  </a:cubicBezTo>
                  <a:cubicBezTo>
                    <a:pt x="2125003" y="228"/>
                    <a:pt x="2122559" y="1043"/>
                    <a:pt x="2120930" y="1043"/>
                  </a:cubicBezTo>
                  <a:cubicBezTo>
                    <a:pt x="2119301" y="1857"/>
                    <a:pt x="2117672" y="1857"/>
                    <a:pt x="2116858" y="1043"/>
                  </a:cubicBezTo>
                  <a:cubicBezTo>
                    <a:pt x="2116043" y="1043"/>
                    <a:pt x="2114414" y="1043"/>
                    <a:pt x="2113600" y="1043"/>
                  </a:cubicBezTo>
                  <a:cubicBezTo>
                    <a:pt x="2110342" y="1857"/>
                    <a:pt x="2107084" y="2671"/>
                    <a:pt x="2103826" y="1857"/>
                  </a:cubicBezTo>
                  <a:cubicBezTo>
                    <a:pt x="2103012" y="1857"/>
                    <a:pt x="2102197" y="1857"/>
                    <a:pt x="2101383" y="2671"/>
                  </a:cubicBezTo>
                  <a:cubicBezTo>
                    <a:pt x="2098939" y="3486"/>
                    <a:pt x="2097310" y="3486"/>
                    <a:pt x="2094867" y="2671"/>
                  </a:cubicBezTo>
                  <a:cubicBezTo>
                    <a:pt x="2094052" y="2671"/>
                    <a:pt x="2093238" y="2671"/>
                    <a:pt x="2092423" y="3486"/>
                  </a:cubicBezTo>
                  <a:cubicBezTo>
                    <a:pt x="2090794" y="5930"/>
                    <a:pt x="2089165" y="5930"/>
                    <a:pt x="2086722" y="6744"/>
                  </a:cubicBezTo>
                  <a:cubicBezTo>
                    <a:pt x="2085093" y="7558"/>
                    <a:pt x="2083464" y="7558"/>
                    <a:pt x="2081020" y="8373"/>
                  </a:cubicBezTo>
                  <a:cubicBezTo>
                    <a:pt x="2080206" y="8373"/>
                    <a:pt x="2079391" y="8373"/>
                    <a:pt x="2078577" y="8373"/>
                  </a:cubicBezTo>
                  <a:cubicBezTo>
                    <a:pt x="2076948" y="7558"/>
                    <a:pt x="2074505" y="7558"/>
                    <a:pt x="2072875" y="8373"/>
                  </a:cubicBezTo>
                  <a:cubicBezTo>
                    <a:pt x="2072061" y="8373"/>
                    <a:pt x="2070432" y="9188"/>
                    <a:pt x="2069617" y="8373"/>
                  </a:cubicBezTo>
                  <a:cubicBezTo>
                    <a:pt x="2067174" y="7558"/>
                    <a:pt x="2065545" y="7558"/>
                    <a:pt x="2063101" y="8373"/>
                  </a:cubicBezTo>
                  <a:cubicBezTo>
                    <a:pt x="2059029" y="10002"/>
                    <a:pt x="2054142" y="10816"/>
                    <a:pt x="2050070" y="12445"/>
                  </a:cubicBezTo>
                  <a:cubicBezTo>
                    <a:pt x="2049255" y="12445"/>
                    <a:pt x="2047626" y="13260"/>
                    <a:pt x="2046812" y="12445"/>
                  </a:cubicBezTo>
                  <a:cubicBezTo>
                    <a:pt x="2045183" y="11631"/>
                    <a:pt x="2043554" y="11631"/>
                    <a:pt x="2042739" y="12445"/>
                  </a:cubicBezTo>
                  <a:cubicBezTo>
                    <a:pt x="2039481" y="14074"/>
                    <a:pt x="2035409" y="14074"/>
                    <a:pt x="2031336" y="12445"/>
                  </a:cubicBezTo>
                  <a:cubicBezTo>
                    <a:pt x="2028893" y="11631"/>
                    <a:pt x="2026449" y="11631"/>
                    <a:pt x="2023191" y="12445"/>
                  </a:cubicBezTo>
                  <a:cubicBezTo>
                    <a:pt x="2019934" y="13260"/>
                    <a:pt x="2017490" y="14074"/>
                    <a:pt x="2014232" y="14074"/>
                  </a:cubicBezTo>
                  <a:cubicBezTo>
                    <a:pt x="2011789" y="13260"/>
                    <a:pt x="2009345" y="14074"/>
                    <a:pt x="2006087" y="14889"/>
                  </a:cubicBezTo>
                  <a:cubicBezTo>
                    <a:pt x="1975137" y="23848"/>
                    <a:pt x="1943371" y="32808"/>
                    <a:pt x="1912421" y="41767"/>
                  </a:cubicBezTo>
                  <a:cubicBezTo>
                    <a:pt x="1900204" y="45025"/>
                    <a:pt x="1887172" y="49097"/>
                    <a:pt x="1874955" y="52355"/>
                  </a:cubicBezTo>
                  <a:cubicBezTo>
                    <a:pt x="1873326" y="53170"/>
                    <a:pt x="1871696" y="53170"/>
                    <a:pt x="1870882" y="52355"/>
                  </a:cubicBezTo>
                  <a:cubicBezTo>
                    <a:pt x="1870067" y="52355"/>
                    <a:pt x="1869253" y="51541"/>
                    <a:pt x="1868438" y="52355"/>
                  </a:cubicBezTo>
                  <a:cubicBezTo>
                    <a:pt x="1864366" y="53170"/>
                    <a:pt x="1859479" y="54799"/>
                    <a:pt x="1855407" y="56428"/>
                  </a:cubicBezTo>
                  <a:cubicBezTo>
                    <a:pt x="1854592" y="56428"/>
                    <a:pt x="1854592" y="57242"/>
                    <a:pt x="1853778" y="58057"/>
                  </a:cubicBezTo>
                  <a:cubicBezTo>
                    <a:pt x="1852963" y="58871"/>
                    <a:pt x="1852149" y="59686"/>
                    <a:pt x="1851334" y="59686"/>
                  </a:cubicBezTo>
                  <a:cubicBezTo>
                    <a:pt x="1847262" y="61315"/>
                    <a:pt x="1842375" y="62129"/>
                    <a:pt x="1838303" y="63758"/>
                  </a:cubicBezTo>
                  <a:cubicBezTo>
                    <a:pt x="1836674" y="64573"/>
                    <a:pt x="1835044" y="63758"/>
                    <a:pt x="1834230" y="63758"/>
                  </a:cubicBezTo>
                  <a:cubicBezTo>
                    <a:pt x="1834230" y="63758"/>
                    <a:pt x="1833415" y="63758"/>
                    <a:pt x="1833415" y="63758"/>
                  </a:cubicBezTo>
                  <a:cubicBezTo>
                    <a:pt x="1829343" y="64573"/>
                    <a:pt x="1824456" y="65387"/>
                    <a:pt x="1821198" y="68645"/>
                  </a:cubicBezTo>
                  <a:cubicBezTo>
                    <a:pt x="1818755" y="70274"/>
                    <a:pt x="1815496" y="71089"/>
                    <a:pt x="1812239" y="70274"/>
                  </a:cubicBezTo>
                  <a:cubicBezTo>
                    <a:pt x="1811424" y="70274"/>
                    <a:pt x="1809795" y="70274"/>
                    <a:pt x="1808981" y="69460"/>
                  </a:cubicBezTo>
                  <a:cubicBezTo>
                    <a:pt x="1808981" y="69460"/>
                    <a:pt x="1808166" y="68645"/>
                    <a:pt x="1808166" y="68645"/>
                  </a:cubicBezTo>
                  <a:cubicBezTo>
                    <a:pt x="1808166" y="68645"/>
                    <a:pt x="1808166" y="67831"/>
                    <a:pt x="1808981" y="67831"/>
                  </a:cubicBezTo>
                  <a:cubicBezTo>
                    <a:pt x="1810610" y="66202"/>
                    <a:pt x="1813868" y="67016"/>
                    <a:pt x="1815496" y="65387"/>
                  </a:cubicBezTo>
                  <a:cubicBezTo>
                    <a:pt x="1817126" y="63758"/>
                    <a:pt x="1818755" y="62944"/>
                    <a:pt x="1821198" y="62129"/>
                  </a:cubicBezTo>
                  <a:cubicBezTo>
                    <a:pt x="1832601" y="58871"/>
                    <a:pt x="1844004" y="55613"/>
                    <a:pt x="1855407" y="52355"/>
                  </a:cubicBezTo>
                  <a:cubicBezTo>
                    <a:pt x="1857036" y="51541"/>
                    <a:pt x="1859479" y="51541"/>
                    <a:pt x="1861108" y="50727"/>
                  </a:cubicBezTo>
                  <a:cubicBezTo>
                    <a:pt x="1862737" y="49912"/>
                    <a:pt x="1863552" y="49097"/>
                    <a:pt x="1864366" y="48283"/>
                  </a:cubicBezTo>
                  <a:cubicBezTo>
                    <a:pt x="1865181" y="47468"/>
                    <a:pt x="1865181" y="47468"/>
                    <a:pt x="1865995" y="48283"/>
                  </a:cubicBezTo>
                  <a:cubicBezTo>
                    <a:pt x="1866810" y="48283"/>
                    <a:pt x="1867624" y="48283"/>
                    <a:pt x="1868438" y="48283"/>
                  </a:cubicBezTo>
                  <a:cubicBezTo>
                    <a:pt x="1875769" y="45840"/>
                    <a:pt x="1883100" y="44210"/>
                    <a:pt x="1890430" y="41767"/>
                  </a:cubicBezTo>
                  <a:cubicBezTo>
                    <a:pt x="1892059" y="40953"/>
                    <a:pt x="1892873" y="40138"/>
                    <a:pt x="1893688" y="38509"/>
                  </a:cubicBezTo>
                  <a:cubicBezTo>
                    <a:pt x="1893688" y="38509"/>
                    <a:pt x="1893688" y="37695"/>
                    <a:pt x="1893688" y="37695"/>
                  </a:cubicBezTo>
                  <a:cubicBezTo>
                    <a:pt x="1893688" y="37695"/>
                    <a:pt x="1892873" y="36880"/>
                    <a:pt x="1892873" y="37695"/>
                  </a:cubicBezTo>
                  <a:cubicBezTo>
                    <a:pt x="1888801" y="38509"/>
                    <a:pt x="1883914" y="40138"/>
                    <a:pt x="1879841" y="40953"/>
                  </a:cubicBezTo>
                  <a:cubicBezTo>
                    <a:pt x="1879027" y="40953"/>
                    <a:pt x="1877398" y="41767"/>
                    <a:pt x="1876583" y="40953"/>
                  </a:cubicBezTo>
                  <a:cubicBezTo>
                    <a:pt x="1874955" y="40138"/>
                    <a:pt x="1874955" y="40953"/>
                    <a:pt x="1874140" y="41767"/>
                  </a:cubicBezTo>
                  <a:cubicBezTo>
                    <a:pt x="1873326" y="42582"/>
                    <a:pt x="1873326" y="42582"/>
                    <a:pt x="1872511" y="43396"/>
                  </a:cubicBezTo>
                  <a:cubicBezTo>
                    <a:pt x="1866810" y="45025"/>
                    <a:pt x="1861108" y="47468"/>
                    <a:pt x="1855407" y="49097"/>
                  </a:cubicBezTo>
                  <a:cubicBezTo>
                    <a:pt x="1844818" y="52355"/>
                    <a:pt x="1833415" y="55613"/>
                    <a:pt x="1822013" y="58057"/>
                  </a:cubicBezTo>
                  <a:cubicBezTo>
                    <a:pt x="1820384" y="58871"/>
                    <a:pt x="1818755" y="59686"/>
                    <a:pt x="1817126" y="61315"/>
                  </a:cubicBezTo>
                  <a:cubicBezTo>
                    <a:pt x="1815496" y="62944"/>
                    <a:pt x="1813053" y="62944"/>
                    <a:pt x="1810610" y="63758"/>
                  </a:cubicBezTo>
                  <a:cubicBezTo>
                    <a:pt x="1807352" y="62129"/>
                    <a:pt x="1804094" y="63758"/>
                    <a:pt x="1800836" y="64573"/>
                  </a:cubicBezTo>
                  <a:cubicBezTo>
                    <a:pt x="1784546" y="69460"/>
                    <a:pt x="1768256" y="74347"/>
                    <a:pt x="1751152" y="79234"/>
                  </a:cubicBezTo>
                  <a:cubicBezTo>
                    <a:pt x="1748709" y="80048"/>
                    <a:pt x="1746265" y="80048"/>
                    <a:pt x="1744636" y="82492"/>
                  </a:cubicBezTo>
                  <a:cubicBezTo>
                    <a:pt x="1741378" y="84120"/>
                    <a:pt x="1738120" y="85749"/>
                    <a:pt x="1734048" y="84935"/>
                  </a:cubicBezTo>
                  <a:cubicBezTo>
                    <a:pt x="1733233" y="84935"/>
                    <a:pt x="1733233" y="84935"/>
                    <a:pt x="1732419" y="85749"/>
                  </a:cubicBezTo>
                  <a:cubicBezTo>
                    <a:pt x="1731604" y="87379"/>
                    <a:pt x="1729975" y="87379"/>
                    <a:pt x="1728347" y="87379"/>
                  </a:cubicBezTo>
                  <a:cubicBezTo>
                    <a:pt x="1726717" y="86564"/>
                    <a:pt x="1725088" y="87379"/>
                    <a:pt x="1723459" y="89007"/>
                  </a:cubicBezTo>
                  <a:cubicBezTo>
                    <a:pt x="1723459" y="89007"/>
                    <a:pt x="1722645" y="89822"/>
                    <a:pt x="1722645" y="89822"/>
                  </a:cubicBezTo>
                  <a:cubicBezTo>
                    <a:pt x="1718573" y="91451"/>
                    <a:pt x="1714500" y="92265"/>
                    <a:pt x="1710428" y="93080"/>
                  </a:cubicBezTo>
                  <a:cubicBezTo>
                    <a:pt x="1709613" y="93080"/>
                    <a:pt x="1707984" y="93080"/>
                    <a:pt x="1707170" y="92265"/>
                  </a:cubicBezTo>
                  <a:cubicBezTo>
                    <a:pt x="1706355" y="92265"/>
                    <a:pt x="1704726" y="92265"/>
                    <a:pt x="1703912" y="93080"/>
                  </a:cubicBezTo>
                  <a:cubicBezTo>
                    <a:pt x="1702283" y="95523"/>
                    <a:pt x="1699839" y="96338"/>
                    <a:pt x="1697396" y="95523"/>
                  </a:cubicBezTo>
                  <a:cubicBezTo>
                    <a:pt x="1696581" y="95523"/>
                    <a:pt x="1694952" y="94709"/>
                    <a:pt x="1694138" y="95523"/>
                  </a:cubicBezTo>
                  <a:cubicBezTo>
                    <a:pt x="1690880" y="96338"/>
                    <a:pt x="1688436" y="97152"/>
                    <a:pt x="1685178" y="97967"/>
                  </a:cubicBezTo>
                  <a:cubicBezTo>
                    <a:pt x="1682735" y="98781"/>
                    <a:pt x="1680291" y="99596"/>
                    <a:pt x="1678662" y="102039"/>
                  </a:cubicBezTo>
                  <a:cubicBezTo>
                    <a:pt x="1678662" y="102854"/>
                    <a:pt x="1677033" y="102854"/>
                    <a:pt x="1676219" y="102039"/>
                  </a:cubicBezTo>
                  <a:cubicBezTo>
                    <a:pt x="1674590" y="101225"/>
                    <a:pt x="1673776" y="101225"/>
                    <a:pt x="1672147" y="102854"/>
                  </a:cubicBezTo>
                  <a:cubicBezTo>
                    <a:pt x="1671332" y="103668"/>
                    <a:pt x="1670517" y="104483"/>
                    <a:pt x="1668888" y="103668"/>
                  </a:cubicBezTo>
                  <a:cubicBezTo>
                    <a:pt x="1665631" y="102854"/>
                    <a:pt x="1663187" y="103668"/>
                    <a:pt x="1659929" y="105297"/>
                  </a:cubicBezTo>
                  <a:cubicBezTo>
                    <a:pt x="1659115" y="106112"/>
                    <a:pt x="1658300" y="106926"/>
                    <a:pt x="1657486" y="106926"/>
                  </a:cubicBezTo>
                  <a:cubicBezTo>
                    <a:pt x="1634680" y="102854"/>
                    <a:pt x="1611874" y="104483"/>
                    <a:pt x="1589883" y="107741"/>
                  </a:cubicBezTo>
                  <a:cubicBezTo>
                    <a:pt x="1571964" y="110999"/>
                    <a:pt x="1418026" y="151723"/>
                    <a:pt x="1400107" y="154981"/>
                  </a:cubicBezTo>
                  <a:cubicBezTo>
                    <a:pt x="1383003" y="157424"/>
                    <a:pt x="1365899" y="158239"/>
                    <a:pt x="1349609" y="161497"/>
                  </a:cubicBezTo>
                  <a:cubicBezTo>
                    <a:pt x="1330875" y="164755"/>
                    <a:pt x="1312142" y="168013"/>
                    <a:pt x="1294223" y="172085"/>
                  </a:cubicBezTo>
                  <a:cubicBezTo>
                    <a:pt x="1264088" y="186746"/>
                    <a:pt x="1234766" y="202221"/>
                    <a:pt x="1202186" y="211995"/>
                  </a:cubicBezTo>
                  <a:cubicBezTo>
                    <a:pt x="1141099" y="231543"/>
                    <a:pt x="1080013" y="250276"/>
                    <a:pt x="1018926" y="269010"/>
                  </a:cubicBezTo>
                  <a:cubicBezTo>
                    <a:pt x="990419" y="277154"/>
                    <a:pt x="964355" y="288557"/>
                    <a:pt x="935848" y="294259"/>
                  </a:cubicBezTo>
                  <a:cubicBezTo>
                    <a:pt x="900011" y="301589"/>
                    <a:pt x="895938" y="311363"/>
                    <a:pt x="866616" y="331725"/>
                  </a:cubicBezTo>
                  <a:cubicBezTo>
                    <a:pt x="826707" y="360232"/>
                    <a:pt x="768063" y="356974"/>
                    <a:pt x="720823" y="358603"/>
                  </a:cubicBezTo>
                  <a:cubicBezTo>
                    <a:pt x="705348" y="359418"/>
                    <a:pt x="690687" y="359418"/>
                    <a:pt x="676026" y="360232"/>
                  </a:cubicBezTo>
                  <a:cubicBezTo>
                    <a:pt x="675212" y="361047"/>
                    <a:pt x="673583" y="361047"/>
                    <a:pt x="672768" y="361047"/>
                  </a:cubicBezTo>
                  <a:cubicBezTo>
                    <a:pt x="662994" y="360232"/>
                    <a:pt x="656478" y="366748"/>
                    <a:pt x="648333" y="370821"/>
                  </a:cubicBezTo>
                  <a:cubicBezTo>
                    <a:pt x="644261" y="372450"/>
                    <a:pt x="640188" y="375708"/>
                    <a:pt x="636116" y="377337"/>
                  </a:cubicBezTo>
                  <a:cubicBezTo>
                    <a:pt x="620641" y="383853"/>
                    <a:pt x="605166" y="390368"/>
                    <a:pt x="588876" y="397699"/>
                  </a:cubicBezTo>
                  <a:cubicBezTo>
                    <a:pt x="583174" y="400142"/>
                    <a:pt x="578287" y="402586"/>
                    <a:pt x="572586" y="396070"/>
                  </a:cubicBezTo>
                  <a:cubicBezTo>
                    <a:pt x="570143" y="392812"/>
                    <a:pt x="566884" y="394441"/>
                    <a:pt x="564441" y="396884"/>
                  </a:cubicBezTo>
                  <a:cubicBezTo>
                    <a:pt x="561183" y="399328"/>
                    <a:pt x="562812" y="403400"/>
                    <a:pt x="563627" y="406658"/>
                  </a:cubicBezTo>
                  <a:cubicBezTo>
                    <a:pt x="563627" y="407473"/>
                    <a:pt x="563627" y="408287"/>
                    <a:pt x="562812" y="409916"/>
                  </a:cubicBezTo>
                  <a:cubicBezTo>
                    <a:pt x="557925" y="412360"/>
                    <a:pt x="553038" y="415618"/>
                    <a:pt x="548151" y="418061"/>
                  </a:cubicBezTo>
                  <a:cubicBezTo>
                    <a:pt x="537563" y="422948"/>
                    <a:pt x="526974" y="428650"/>
                    <a:pt x="517201" y="433536"/>
                  </a:cubicBezTo>
                  <a:cubicBezTo>
                    <a:pt x="503354" y="452270"/>
                    <a:pt x="488694" y="462044"/>
                    <a:pt x="467517" y="471817"/>
                  </a:cubicBezTo>
                  <a:cubicBezTo>
                    <a:pt x="442268" y="483220"/>
                    <a:pt x="417018" y="488922"/>
                    <a:pt x="394213" y="505211"/>
                  </a:cubicBezTo>
                  <a:cubicBezTo>
                    <a:pt x="375479" y="518243"/>
                    <a:pt x="361633" y="536977"/>
                    <a:pt x="342086" y="550008"/>
                  </a:cubicBezTo>
                  <a:cubicBezTo>
                    <a:pt x="320909" y="563855"/>
                    <a:pt x="299732" y="568742"/>
                    <a:pt x="279370" y="567113"/>
                  </a:cubicBezTo>
                  <a:cubicBezTo>
                    <a:pt x="247605" y="603765"/>
                    <a:pt x="224799" y="647747"/>
                    <a:pt x="180002" y="673811"/>
                  </a:cubicBezTo>
                  <a:cubicBezTo>
                    <a:pt x="177559" y="675440"/>
                    <a:pt x="174301" y="676254"/>
                    <a:pt x="171857" y="677883"/>
                  </a:cubicBezTo>
                  <a:cubicBezTo>
                    <a:pt x="170228" y="687657"/>
                    <a:pt x="170228" y="697431"/>
                    <a:pt x="166156" y="706390"/>
                  </a:cubicBezTo>
                  <a:cubicBezTo>
                    <a:pt x="164527" y="708834"/>
                    <a:pt x="164527" y="713721"/>
                    <a:pt x="165341" y="716979"/>
                  </a:cubicBezTo>
                  <a:cubicBezTo>
                    <a:pt x="169414" y="729196"/>
                    <a:pt x="166970" y="740599"/>
                    <a:pt x="170228" y="751187"/>
                  </a:cubicBezTo>
                  <a:cubicBezTo>
                    <a:pt x="166156" y="755260"/>
                    <a:pt x="163712" y="758518"/>
                    <a:pt x="160454" y="761776"/>
                  </a:cubicBezTo>
                  <a:cubicBezTo>
                    <a:pt x="163712" y="767477"/>
                    <a:pt x="166156" y="771550"/>
                    <a:pt x="168599" y="775622"/>
                  </a:cubicBezTo>
                  <a:cubicBezTo>
                    <a:pt x="174301" y="785396"/>
                    <a:pt x="179188" y="795170"/>
                    <a:pt x="182446" y="805758"/>
                  </a:cubicBezTo>
                  <a:cubicBezTo>
                    <a:pt x="186518" y="821233"/>
                    <a:pt x="194663" y="835080"/>
                    <a:pt x="206066" y="844854"/>
                  </a:cubicBezTo>
                  <a:cubicBezTo>
                    <a:pt x="215840" y="854627"/>
                    <a:pt x="228057" y="858700"/>
                    <a:pt x="238645" y="865216"/>
                  </a:cubicBezTo>
                  <a:cubicBezTo>
                    <a:pt x="257378" y="875804"/>
                    <a:pt x="273668" y="872546"/>
                    <a:pt x="288329" y="859514"/>
                  </a:cubicBezTo>
                  <a:cubicBezTo>
                    <a:pt x="298917" y="850555"/>
                    <a:pt x="310320" y="844854"/>
                    <a:pt x="322538" y="840781"/>
                  </a:cubicBezTo>
                  <a:cubicBezTo>
                    <a:pt x="345343" y="832636"/>
                    <a:pt x="363262" y="817975"/>
                    <a:pt x="375479" y="792726"/>
                  </a:cubicBezTo>
                  <a:cubicBezTo>
                    <a:pt x="380366" y="781323"/>
                    <a:pt x="387697" y="772364"/>
                    <a:pt x="395842" y="765034"/>
                  </a:cubicBezTo>
                  <a:cubicBezTo>
                    <a:pt x="398285" y="765034"/>
                    <a:pt x="401543" y="765034"/>
                    <a:pt x="403987" y="765034"/>
                  </a:cubicBezTo>
                  <a:cubicBezTo>
                    <a:pt x="407245" y="765034"/>
                    <a:pt x="409688" y="765034"/>
                    <a:pt x="412131" y="761776"/>
                  </a:cubicBezTo>
                  <a:cubicBezTo>
                    <a:pt x="410503" y="760147"/>
                    <a:pt x="407245" y="758518"/>
                    <a:pt x="403987" y="757703"/>
                  </a:cubicBezTo>
                  <a:cubicBezTo>
                    <a:pt x="403987" y="757703"/>
                    <a:pt x="404801" y="756889"/>
                    <a:pt x="404801" y="756889"/>
                  </a:cubicBezTo>
                  <a:cubicBezTo>
                    <a:pt x="409688" y="753631"/>
                    <a:pt x="414575" y="749558"/>
                    <a:pt x="419462" y="745486"/>
                  </a:cubicBezTo>
                  <a:cubicBezTo>
                    <a:pt x="420276" y="746300"/>
                    <a:pt x="421091" y="747115"/>
                    <a:pt x="421905" y="747929"/>
                  </a:cubicBezTo>
                  <a:cubicBezTo>
                    <a:pt x="425978" y="751187"/>
                    <a:pt x="430865" y="751187"/>
                    <a:pt x="435752" y="747115"/>
                  </a:cubicBezTo>
                  <a:cubicBezTo>
                    <a:pt x="441453" y="743042"/>
                    <a:pt x="443082" y="732454"/>
                    <a:pt x="439010" y="726753"/>
                  </a:cubicBezTo>
                  <a:cubicBezTo>
                    <a:pt x="439010" y="726753"/>
                    <a:pt x="439010" y="726753"/>
                    <a:pt x="439010" y="726753"/>
                  </a:cubicBezTo>
                  <a:cubicBezTo>
                    <a:pt x="441453" y="723495"/>
                    <a:pt x="444711" y="720237"/>
                    <a:pt x="446340" y="716164"/>
                  </a:cubicBezTo>
                  <a:cubicBezTo>
                    <a:pt x="451227" y="713721"/>
                    <a:pt x="456114" y="711277"/>
                    <a:pt x="461001" y="708834"/>
                  </a:cubicBezTo>
                  <a:cubicBezTo>
                    <a:pt x="474847" y="701503"/>
                    <a:pt x="489508" y="694173"/>
                    <a:pt x="504169" y="687657"/>
                  </a:cubicBezTo>
                  <a:cubicBezTo>
                    <a:pt x="518015" y="681141"/>
                    <a:pt x="531047" y="672996"/>
                    <a:pt x="545708" y="666480"/>
                  </a:cubicBezTo>
                  <a:cubicBezTo>
                    <a:pt x="563627" y="657521"/>
                    <a:pt x="582360" y="649376"/>
                    <a:pt x="600279" y="640417"/>
                  </a:cubicBezTo>
                  <a:cubicBezTo>
                    <a:pt x="600279" y="640417"/>
                    <a:pt x="601093" y="640417"/>
                    <a:pt x="601908" y="640417"/>
                  </a:cubicBezTo>
                  <a:cubicBezTo>
                    <a:pt x="601908" y="640417"/>
                    <a:pt x="601908" y="640417"/>
                    <a:pt x="601908" y="639602"/>
                  </a:cubicBezTo>
                  <a:cubicBezTo>
                    <a:pt x="605980" y="637973"/>
                    <a:pt x="610052" y="635530"/>
                    <a:pt x="614939" y="633901"/>
                  </a:cubicBezTo>
                  <a:cubicBezTo>
                    <a:pt x="629600" y="626570"/>
                    <a:pt x="644261" y="619240"/>
                    <a:pt x="659736" y="612724"/>
                  </a:cubicBezTo>
                  <a:cubicBezTo>
                    <a:pt x="662180" y="611095"/>
                    <a:pt x="665438" y="610281"/>
                    <a:pt x="667881" y="608652"/>
                  </a:cubicBezTo>
                  <a:cubicBezTo>
                    <a:pt x="671954" y="607023"/>
                    <a:pt x="676840" y="605394"/>
                    <a:pt x="680913" y="604579"/>
                  </a:cubicBezTo>
                  <a:cubicBezTo>
                    <a:pt x="672768" y="609466"/>
                    <a:pt x="664623" y="614353"/>
                    <a:pt x="654849" y="617611"/>
                  </a:cubicBezTo>
                  <a:cubicBezTo>
                    <a:pt x="650777" y="618425"/>
                    <a:pt x="646705" y="620055"/>
                    <a:pt x="645075" y="624127"/>
                  </a:cubicBezTo>
                  <a:cubicBezTo>
                    <a:pt x="645075" y="624127"/>
                    <a:pt x="645075" y="624127"/>
                    <a:pt x="645075" y="624127"/>
                  </a:cubicBezTo>
                  <a:cubicBezTo>
                    <a:pt x="645075" y="624127"/>
                    <a:pt x="645075" y="624127"/>
                    <a:pt x="645075" y="624127"/>
                  </a:cubicBezTo>
                  <a:cubicBezTo>
                    <a:pt x="633673" y="625756"/>
                    <a:pt x="623899" y="631457"/>
                    <a:pt x="612496" y="637159"/>
                  </a:cubicBezTo>
                  <a:cubicBezTo>
                    <a:pt x="614939" y="638788"/>
                    <a:pt x="616568" y="639602"/>
                    <a:pt x="617383" y="639602"/>
                  </a:cubicBezTo>
                  <a:cubicBezTo>
                    <a:pt x="614939" y="642046"/>
                    <a:pt x="612496" y="643675"/>
                    <a:pt x="610052" y="646118"/>
                  </a:cubicBezTo>
                  <a:cubicBezTo>
                    <a:pt x="607609" y="648562"/>
                    <a:pt x="609238" y="649376"/>
                    <a:pt x="611681" y="650190"/>
                  </a:cubicBezTo>
                  <a:cubicBezTo>
                    <a:pt x="610052" y="651820"/>
                    <a:pt x="608423" y="653449"/>
                    <a:pt x="605980" y="655077"/>
                  </a:cubicBezTo>
                  <a:cubicBezTo>
                    <a:pt x="601908" y="657521"/>
                    <a:pt x="597021" y="658335"/>
                    <a:pt x="595392" y="664037"/>
                  </a:cubicBezTo>
                  <a:cubicBezTo>
                    <a:pt x="594577" y="666480"/>
                    <a:pt x="590505" y="667295"/>
                    <a:pt x="588061" y="669738"/>
                  </a:cubicBezTo>
                  <a:cubicBezTo>
                    <a:pt x="582360" y="674625"/>
                    <a:pt x="575844" y="680327"/>
                    <a:pt x="570143" y="686028"/>
                  </a:cubicBezTo>
                  <a:cubicBezTo>
                    <a:pt x="569328" y="686842"/>
                    <a:pt x="567699" y="688472"/>
                    <a:pt x="566884" y="688472"/>
                  </a:cubicBezTo>
                  <a:cubicBezTo>
                    <a:pt x="552224" y="691729"/>
                    <a:pt x="544079" y="703132"/>
                    <a:pt x="532676" y="710463"/>
                  </a:cubicBezTo>
                  <a:cubicBezTo>
                    <a:pt x="524531" y="716164"/>
                    <a:pt x="520459" y="723495"/>
                    <a:pt x="517201" y="732454"/>
                  </a:cubicBezTo>
                  <a:cubicBezTo>
                    <a:pt x="513943" y="741413"/>
                    <a:pt x="508241" y="750373"/>
                    <a:pt x="503354" y="759332"/>
                  </a:cubicBezTo>
                  <a:cubicBezTo>
                    <a:pt x="500096" y="764219"/>
                    <a:pt x="495209" y="767477"/>
                    <a:pt x="488694" y="769921"/>
                  </a:cubicBezTo>
                  <a:cubicBezTo>
                    <a:pt x="480549" y="773178"/>
                    <a:pt x="472404" y="776436"/>
                    <a:pt x="464259" y="779694"/>
                  </a:cubicBezTo>
                  <a:cubicBezTo>
                    <a:pt x="461001" y="781323"/>
                    <a:pt x="457743" y="782952"/>
                    <a:pt x="454485" y="784581"/>
                  </a:cubicBezTo>
                  <a:cubicBezTo>
                    <a:pt x="452856" y="783767"/>
                    <a:pt x="451227" y="782952"/>
                    <a:pt x="448783" y="782138"/>
                  </a:cubicBezTo>
                  <a:cubicBezTo>
                    <a:pt x="443082" y="790283"/>
                    <a:pt x="435752" y="795170"/>
                    <a:pt x="425163" y="796799"/>
                  </a:cubicBezTo>
                  <a:cubicBezTo>
                    <a:pt x="419462" y="797613"/>
                    <a:pt x="412946" y="798428"/>
                    <a:pt x="408059" y="803315"/>
                  </a:cubicBezTo>
                  <a:cubicBezTo>
                    <a:pt x="407245" y="804129"/>
                    <a:pt x="405616" y="805758"/>
                    <a:pt x="403987" y="805758"/>
                  </a:cubicBezTo>
                  <a:cubicBezTo>
                    <a:pt x="393398" y="806573"/>
                    <a:pt x="386068" y="813088"/>
                    <a:pt x="377108" y="816346"/>
                  </a:cubicBezTo>
                  <a:cubicBezTo>
                    <a:pt x="368149" y="819604"/>
                    <a:pt x="360819" y="824491"/>
                    <a:pt x="352674" y="828564"/>
                  </a:cubicBezTo>
                  <a:cubicBezTo>
                    <a:pt x="346158" y="831822"/>
                    <a:pt x="338827" y="835080"/>
                    <a:pt x="331497" y="838338"/>
                  </a:cubicBezTo>
                  <a:cubicBezTo>
                    <a:pt x="321723" y="843225"/>
                    <a:pt x="315207" y="849740"/>
                    <a:pt x="311135" y="858700"/>
                  </a:cubicBezTo>
                  <a:cubicBezTo>
                    <a:pt x="314393" y="857885"/>
                    <a:pt x="317651" y="856256"/>
                    <a:pt x="320909" y="855442"/>
                  </a:cubicBezTo>
                  <a:cubicBezTo>
                    <a:pt x="319280" y="857885"/>
                    <a:pt x="317651" y="860329"/>
                    <a:pt x="316022" y="863587"/>
                  </a:cubicBezTo>
                  <a:cubicBezTo>
                    <a:pt x="320909" y="861958"/>
                    <a:pt x="325796" y="860329"/>
                    <a:pt x="329868" y="859514"/>
                  </a:cubicBezTo>
                  <a:cubicBezTo>
                    <a:pt x="334755" y="857885"/>
                    <a:pt x="337199" y="852999"/>
                    <a:pt x="343714" y="854627"/>
                  </a:cubicBezTo>
                  <a:cubicBezTo>
                    <a:pt x="344529" y="854627"/>
                    <a:pt x="346972" y="852184"/>
                    <a:pt x="347787" y="851369"/>
                  </a:cubicBezTo>
                  <a:cubicBezTo>
                    <a:pt x="349416" y="848112"/>
                    <a:pt x="352674" y="846482"/>
                    <a:pt x="355932" y="846482"/>
                  </a:cubicBezTo>
                  <a:cubicBezTo>
                    <a:pt x="362448" y="839152"/>
                    <a:pt x="371407" y="835894"/>
                    <a:pt x="381995" y="836709"/>
                  </a:cubicBezTo>
                  <a:cubicBezTo>
                    <a:pt x="381995" y="839967"/>
                    <a:pt x="382810" y="843225"/>
                    <a:pt x="384439" y="845668"/>
                  </a:cubicBezTo>
                  <a:cubicBezTo>
                    <a:pt x="387697" y="849740"/>
                    <a:pt x="393398" y="849740"/>
                    <a:pt x="399100" y="846482"/>
                  </a:cubicBezTo>
                  <a:cubicBezTo>
                    <a:pt x="401543" y="847297"/>
                    <a:pt x="404801" y="847297"/>
                    <a:pt x="407245" y="845668"/>
                  </a:cubicBezTo>
                  <a:cubicBezTo>
                    <a:pt x="413760" y="842410"/>
                    <a:pt x="422720" y="840781"/>
                    <a:pt x="430050" y="840781"/>
                  </a:cubicBezTo>
                  <a:cubicBezTo>
                    <a:pt x="433308" y="840781"/>
                    <a:pt x="436566" y="840781"/>
                    <a:pt x="440639" y="840781"/>
                  </a:cubicBezTo>
                  <a:cubicBezTo>
                    <a:pt x="440639" y="840781"/>
                    <a:pt x="440639" y="840781"/>
                    <a:pt x="440639" y="840781"/>
                  </a:cubicBezTo>
                  <a:cubicBezTo>
                    <a:pt x="440639" y="840781"/>
                    <a:pt x="440639" y="840781"/>
                    <a:pt x="440639" y="840781"/>
                  </a:cubicBezTo>
                  <a:cubicBezTo>
                    <a:pt x="443082" y="840781"/>
                    <a:pt x="444711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7969" y="840781"/>
                    <a:pt x="447969" y="839967"/>
                    <a:pt x="448783" y="839967"/>
                  </a:cubicBezTo>
                  <a:cubicBezTo>
                    <a:pt x="447969" y="839967"/>
                    <a:pt x="447969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7155" y="840781"/>
                    <a:pt x="447155" y="840781"/>
                    <a:pt x="447155" y="840781"/>
                  </a:cubicBezTo>
                  <a:cubicBezTo>
                    <a:pt x="444711" y="840781"/>
                    <a:pt x="443082" y="841595"/>
                    <a:pt x="443082" y="844039"/>
                  </a:cubicBezTo>
                  <a:cubicBezTo>
                    <a:pt x="443082" y="844039"/>
                    <a:pt x="443082" y="844039"/>
                    <a:pt x="443082" y="844854"/>
                  </a:cubicBezTo>
                  <a:cubicBezTo>
                    <a:pt x="439824" y="847297"/>
                    <a:pt x="437381" y="849740"/>
                    <a:pt x="434123" y="852184"/>
                  </a:cubicBezTo>
                  <a:cubicBezTo>
                    <a:pt x="433308" y="852999"/>
                    <a:pt x="431679" y="852999"/>
                    <a:pt x="430865" y="853813"/>
                  </a:cubicBezTo>
                  <a:cubicBezTo>
                    <a:pt x="427607" y="851369"/>
                    <a:pt x="424349" y="848926"/>
                    <a:pt x="420276" y="845668"/>
                  </a:cubicBezTo>
                  <a:cubicBezTo>
                    <a:pt x="418647" y="848926"/>
                    <a:pt x="416204" y="851369"/>
                    <a:pt x="415390" y="854627"/>
                  </a:cubicBezTo>
                  <a:cubicBezTo>
                    <a:pt x="414575" y="859514"/>
                    <a:pt x="412946" y="863587"/>
                    <a:pt x="409688" y="866030"/>
                  </a:cubicBezTo>
                  <a:cubicBezTo>
                    <a:pt x="409688" y="866030"/>
                    <a:pt x="408874" y="866030"/>
                    <a:pt x="408874" y="866030"/>
                  </a:cubicBezTo>
                  <a:cubicBezTo>
                    <a:pt x="408874" y="866030"/>
                    <a:pt x="408874" y="866030"/>
                    <a:pt x="408874" y="866030"/>
                  </a:cubicBezTo>
                  <a:cubicBezTo>
                    <a:pt x="407245" y="867659"/>
                    <a:pt x="405616" y="869288"/>
                    <a:pt x="403172" y="870103"/>
                  </a:cubicBezTo>
                  <a:cubicBezTo>
                    <a:pt x="400729" y="871732"/>
                    <a:pt x="398285" y="874175"/>
                    <a:pt x="396656" y="875804"/>
                  </a:cubicBezTo>
                  <a:cubicBezTo>
                    <a:pt x="390955" y="880691"/>
                    <a:pt x="385253" y="885578"/>
                    <a:pt x="377923" y="883134"/>
                  </a:cubicBezTo>
                  <a:cubicBezTo>
                    <a:pt x="374665" y="882320"/>
                    <a:pt x="373036" y="884764"/>
                    <a:pt x="370593" y="887207"/>
                  </a:cubicBezTo>
                  <a:cubicBezTo>
                    <a:pt x="368964" y="889651"/>
                    <a:pt x="365706" y="891279"/>
                    <a:pt x="363262" y="891279"/>
                  </a:cubicBezTo>
                  <a:cubicBezTo>
                    <a:pt x="352674" y="891279"/>
                    <a:pt x="346972" y="899424"/>
                    <a:pt x="341271" y="908384"/>
                  </a:cubicBezTo>
                  <a:cubicBezTo>
                    <a:pt x="337199" y="914085"/>
                    <a:pt x="333941" y="920601"/>
                    <a:pt x="329054" y="925488"/>
                  </a:cubicBezTo>
                  <a:cubicBezTo>
                    <a:pt x="327425" y="927117"/>
                    <a:pt x="325796" y="927931"/>
                    <a:pt x="324981" y="929560"/>
                  </a:cubicBezTo>
                  <a:cubicBezTo>
                    <a:pt x="324981" y="929560"/>
                    <a:pt x="324981" y="929560"/>
                    <a:pt x="324981" y="929560"/>
                  </a:cubicBezTo>
                  <a:cubicBezTo>
                    <a:pt x="321723" y="926303"/>
                    <a:pt x="315207" y="925488"/>
                    <a:pt x="311949" y="927931"/>
                  </a:cubicBezTo>
                  <a:cubicBezTo>
                    <a:pt x="307877" y="931189"/>
                    <a:pt x="307877" y="936076"/>
                    <a:pt x="311135" y="940963"/>
                  </a:cubicBezTo>
                  <a:cubicBezTo>
                    <a:pt x="302175" y="949108"/>
                    <a:pt x="294845" y="959696"/>
                    <a:pt x="283442" y="962140"/>
                  </a:cubicBezTo>
                  <a:cubicBezTo>
                    <a:pt x="280184" y="962955"/>
                    <a:pt x="278555" y="967841"/>
                    <a:pt x="276112" y="970285"/>
                  </a:cubicBezTo>
                  <a:cubicBezTo>
                    <a:pt x="271225" y="975172"/>
                    <a:pt x="266338" y="979244"/>
                    <a:pt x="261451" y="984131"/>
                  </a:cubicBezTo>
                  <a:cubicBezTo>
                    <a:pt x="254121" y="990647"/>
                    <a:pt x="246790" y="996348"/>
                    <a:pt x="239460" y="1002864"/>
                  </a:cubicBezTo>
                  <a:cubicBezTo>
                    <a:pt x="237016" y="1004493"/>
                    <a:pt x="235387" y="1006937"/>
                    <a:pt x="232944" y="1008566"/>
                  </a:cubicBezTo>
                  <a:cubicBezTo>
                    <a:pt x="232944" y="1002050"/>
                    <a:pt x="230500" y="997978"/>
                    <a:pt x="226428" y="997978"/>
                  </a:cubicBezTo>
                  <a:cubicBezTo>
                    <a:pt x="226428" y="1005308"/>
                    <a:pt x="228057" y="1007751"/>
                    <a:pt x="232944" y="1008566"/>
                  </a:cubicBezTo>
                  <a:cubicBezTo>
                    <a:pt x="217469" y="1024041"/>
                    <a:pt x="201993" y="1039517"/>
                    <a:pt x="185703" y="1054177"/>
                  </a:cubicBezTo>
                  <a:cubicBezTo>
                    <a:pt x="169414" y="1068838"/>
                    <a:pt x="153124" y="1083499"/>
                    <a:pt x="137649" y="1099789"/>
                  </a:cubicBezTo>
                  <a:cubicBezTo>
                    <a:pt x="136834" y="1100603"/>
                    <a:pt x="136020" y="1101418"/>
                    <a:pt x="135205" y="1102232"/>
                  </a:cubicBezTo>
                  <a:cubicBezTo>
                    <a:pt x="135205" y="1102232"/>
                    <a:pt x="135205" y="1102232"/>
                    <a:pt x="135205" y="1102232"/>
                  </a:cubicBezTo>
                  <a:cubicBezTo>
                    <a:pt x="135205" y="1100603"/>
                    <a:pt x="135205" y="1098974"/>
                    <a:pt x="134391" y="1097345"/>
                  </a:cubicBezTo>
                  <a:cubicBezTo>
                    <a:pt x="133576" y="1095716"/>
                    <a:pt x="132762" y="1094902"/>
                    <a:pt x="131133" y="1094087"/>
                  </a:cubicBezTo>
                  <a:cubicBezTo>
                    <a:pt x="130318" y="1094087"/>
                    <a:pt x="128689" y="1094902"/>
                    <a:pt x="127875" y="1096531"/>
                  </a:cubicBezTo>
                  <a:cubicBezTo>
                    <a:pt x="126246" y="1098974"/>
                    <a:pt x="126246" y="1102232"/>
                    <a:pt x="127875" y="1105490"/>
                  </a:cubicBezTo>
                  <a:cubicBezTo>
                    <a:pt x="128689" y="1106305"/>
                    <a:pt x="128689" y="1107119"/>
                    <a:pt x="129504" y="1107934"/>
                  </a:cubicBezTo>
                  <a:cubicBezTo>
                    <a:pt x="127875" y="1109563"/>
                    <a:pt x="126246" y="1112006"/>
                    <a:pt x="123802" y="1113635"/>
                  </a:cubicBezTo>
                  <a:cubicBezTo>
                    <a:pt x="122173" y="1114449"/>
                    <a:pt x="121359" y="1115264"/>
                    <a:pt x="120544" y="1116893"/>
                  </a:cubicBezTo>
                  <a:cubicBezTo>
                    <a:pt x="118915" y="1118522"/>
                    <a:pt x="117286" y="1120151"/>
                    <a:pt x="114843" y="1121780"/>
                  </a:cubicBezTo>
                  <a:cubicBezTo>
                    <a:pt x="100997" y="1133997"/>
                    <a:pt x="87965" y="1146215"/>
                    <a:pt x="75747" y="1161690"/>
                  </a:cubicBezTo>
                  <a:cubicBezTo>
                    <a:pt x="71675" y="1166577"/>
                    <a:pt x="67603" y="1170649"/>
                    <a:pt x="62716" y="1174722"/>
                  </a:cubicBezTo>
                  <a:cubicBezTo>
                    <a:pt x="52942" y="1184496"/>
                    <a:pt x="42353" y="1194270"/>
                    <a:pt x="32580" y="1204043"/>
                  </a:cubicBezTo>
                  <a:cubicBezTo>
                    <a:pt x="30950" y="1205672"/>
                    <a:pt x="29321" y="1208116"/>
                    <a:pt x="28507" y="1210559"/>
                  </a:cubicBezTo>
                  <a:cubicBezTo>
                    <a:pt x="23620" y="1218704"/>
                    <a:pt x="18733" y="1226849"/>
                    <a:pt x="13846" y="1234994"/>
                  </a:cubicBezTo>
                  <a:cubicBezTo>
                    <a:pt x="12217" y="1238252"/>
                    <a:pt x="9774" y="1240695"/>
                    <a:pt x="8959" y="1243953"/>
                  </a:cubicBezTo>
                  <a:cubicBezTo>
                    <a:pt x="8959" y="1248026"/>
                    <a:pt x="8145" y="1252098"/>
                    <a:pt x="7330" y="1256171"/>
                  </a:cubicBezTo>
                  <a:cubicBezTo>
                    <a:pt x="9774" y="1259429"/>
                    <a:pt x="12217" y="1261872"/>
                    <a:pt x="14661" y="1265944"/>
                  </a:cubicBezTo>
                  <a:cubicBezTo>
                    <a:pt x="9774" y="1270831"/>
                    <a:pt x="4887" y="1274904"/>
                    <a:pt x="0" y="1278976"/>
                  </a:cubicBezTo>
                  <a:cubicBezTo>
                    <a:pt x="814" y="1283049"/>
                    <a:pt x="814" y="1286307"/>
                    <a:pt x="1629" y="1289565"/>
                  </a:cubicBezTo>
                  <a:cubicBezTo>
                    <a:pt x="1629" y="1290379"/>
                    <a:pt x="1629" y="1291194"/>
                    <a:pt x="2443" y="1292008"/>
                  </a:cubicBezTo>
                  <a:cubicBezTo>
                    <a:pt x="13032" y="1299339"/>
                    <a:pt x="21991" y="1308298"/>
                    <a:pt x="27693" y="1318886"/>
                  </a:cubicBezTo>
                  <a:cubicBezTo>
                    <a:pt x="37466" y="1337620"/>
                    <a:pt x="38281" y="1359611"/>
                    <a:pt x="30950" y="1379158"/>
                  </a:cubicBezTo>
                  <a:cubicBezTo>
                    <a:pt x="43168" y="1387303"/>
                    <a:pt x="52127" y="1397892"/>
                    <a:pt x="52127" y="1412553"/>
                  </a:cubicBezTo>
                  <a:cubicBezTo>
                    <a:pt x="52127" y="1413367"/>
                    <a:pt x="52127" y="1413367"/>
                    <a:pt x="52127" y="1414182"/>
                  </a:cubicBezTo>
                  <a:cubicBezTo>
                    <a:pt x="52942" y="1414996"/>
                    <a:pt x="53756" y="1414996"/>
                    <a:pt x="54571" y="1415810"/>
                  </a:cubicBezTo>
                  <a:cubicBezTo>
                    <a:pt x="65159" y="1421512"/>
                    <a:pt x="73304" y="1427214"/>
                    <a:pt x="80634" y="1435358"/>
                  </a:cubicBezTo>
                  <a:cubicBezTo>
                    <a:pt x="89594" y="1436987"/>
                    <a:pt x="98553" y="1436173"/>
                    <a:pt x="107512" y="1430471"/>
                  </a:cubicBezTo>
                  <a:cubicBezTo>
                    <a:pt x="109956" y="1428842"/>
                    <a:pt x="113214" y="1428028"/>
                    <a:pt x="115657" y="1427214"/>
                  </a:cubicBezTo>
                  <a:cubicBezTo>
                    <a:pt x="121359" y="1425584"/>
                    <a:pt x="126246" y="1423141"/>
                    <a:pt x="130318" y="1417440"/>
                  </a:cubicBezTo>
                  <a:cubicBezTo>
                    <a:pt x="135205" y="1410924"/>
                    <a:pt x="140907" y="1409295"/>
                    <a:pt x="147422" y="1410109"/>
                  </a:cubicBezTo>
                  <a:cubicBezTo>
                    <a:pt x="146608" y="1410924"/>
                    <a:pt x="145794" y="1412553"/>
                    <a:pt x="145794" y="1413367"/>
                  </a:cubicBezTo>
                  <a:cubicBezTo>
                    <a:pt x="145794" y="1414182"/>
                    <a:pt x="144979" y="1414996"/>
                    <a:pt x="144164" y="1415810"/>
                  </a:cubicBezTo>
                  <a:cubicBezTo>
                    <a:pt x="142536" y="1416625"/>
                    <a:pt x="142536" y="1417440"/>
                    <a:pt x="141721" y="1419069"/>
                  </a:cubicBezTo>
                  <a:cubicBezTo>
                    <a:pt x="140907" y="1420697"/>
                    <a:pt x="140907" y="1421512"/>
                    <a:pt x="140092" y="1423141"/>
                  </a:cubicBezTo>
                  <a:cubicBezTo>
                    <a:pt x="138463" y="1424770"/>
                    <a:pt x="138463" y="1427214"/>
                    <a:pt x="136834" y="1428028"/>
                  </a:cubicBezTo>
                  <a:cubicBezTo>
                    <a:pt x="136020" y="1428842"/>
                    <a:pt x="135205" y="1430471"/>
                    <a:pt x="134391" y="1431286"/>
                  </a:cubicBezTo>
                  <a:cubicBezTo>
                    <a:pt x="134391" y="1432100"/>
                    <a:pt x="133576" y="1432915"/>
                    <a:pt x="134391" y="1432915"/>
                  </a:cubicBezTo>
                  <a:cubicBezTo>
                    <a:pt x="136020" y="1435358"/>
                    <a:pt x="135205" y="1439431"/>
                    <a:pt x="136834" y="1441874"/>
                  </a:cubicBezTo>
                  <a:cubicBezTo>
                    <a:pt x="136834" y="1442689"/>
                    <a:pt x="136834" y="1443503"/>
                    <a:pt x="136834" y="1443503"/>
                  </a:cubicBezTo>
                  <a:cubicBezTo>
                    <a:pt x="135205" y="1445132"/>
                    <a:pt x="135205" y="1447576"/>
                    <a:pt x="132762" y="1448390"/>
                  </a:cubicBezTo>
                  <a:cubicBezTo>
                    <a:pt x="131947" y="1448390"/>
                    <a:pt x="131133" y="1449205"/>
                    <a:pt x="131133" y="1450019"/>
                  </a:cubicBezTo>
                  <a:cubicBezTo>
                    <a:pt x="129504" y="1452462"/>
                    <a:pt x="129504" y="1455721"/>
                    <a:pt x="127060" y="1457349"/>
                  </a:cubicBezTo>
                  <a:cubicBezTo>
                    <a:pt x="126246" y="1457349"/>
                    <a:pt x="126246" y="1458979"/>
                    <a:pt x="126246" y="1458979"/>
                  </a:cubicBezTo>
                  <a:cubicBezTo>
                    <a:pt x="126246" y="1459793"/>
                    <a:pt x="125431" y="1460607"/>
                    <a:pt x="126246" y="1462236"/>
                  </a:cubicBezTo>
                  <a:cubicBezTo>
                    <a:pt x="127060" y="1463866"/>
                    <a:pt x="127875" y="1465494"/>
                    <a:pt x="127060" y="1467123"/>
                  </a:cubicBezTo>
                  <a:cubicBezTo>
                    <a:pt x="127060" y="1468752"/>
                    <a:pt x="126246" y="1469567"/>
                    <a:pt x="126246" y="1471196"/>
                  </a:cubicBezTo>
                  <a:cubicBezTo>
                    <a:pt x="124617" y="1476083"/>
                    <a:pt x="123802" y="1480970"/>
                    <a:pt x="122173" y="1485857"/>
                  </a:cubicBezTo>
                  <a:cubicBezTo>
                    <a:pt x="122173" y="1487486"/>
                    <a:pt x="122173" y="1492373"/>
                    <a:pt x="122988" y="1494001"/>
                  </a:cubicBezTo>
                  <a:cubicBezTo>
                    <a:pt x="123802" y="1495631"/>
                    <a:pt x="123802" y="1497259"/>
                    <a:pt x="123802" y="1498888"/>
                  </a:cubicBezTo>
                  <a:cubicBezTo>
                    <a:pt x="122988" y="1501332"/>
                    <a:pt x="122173" y="1504590"/>
                    <a:pt x="121359" y="1507033"/>
                  </a:cubicBezTo>
                  <a:cubicBezTo>
                    <a:pt x="121359" y="1510291"/>
                    <a:pt x="123802" y="1512735"/>
                    <a:pt x="125431" y="1515178"/>
                  </a:cubicBezTo>
                  <a:cubicBezTo>
                    <a:pt x="125431" y="1515993"/>
                    <a:pt x="126246" y="1516807"/>
                    <a:pt x="126246" y="1518436"/>
                  </a:cubicBezTo>
                  <a:cubicBezTo>
                    <a:pt x="126246" y="1520065"/>
                    <a:pt x="127060" y="1520880"/>
                    <a:pt x="127875" y="1521694"/>
                  </a:cubicBezTo>
                  <a:cubicBezTo>
                    <a:pt x="130318" y="1523323"/>
                    <a:pt x="132762" y="1524952"/>
                    <a:pt x="135205" y="1527396"/>
                  </a:cubicBezTo>
                  <a:cubicBezTo>
                    <a:pt x="136834" y="1529839"/>
                    <a:pt x="140092" y="1531468"/>
                    <a:pt x="142536" y="1533097"/>
                  </a:cubicBezTo>
                  <a:cubicBezTo>
                    <a:pt x="142536" y="1533097"/>
                    <a:pt x="143350" y="1533911"/>
                    <a:pt x="143350" y="1533911"/>
                  </a:cubicBezTo>
                  <a:cubicBezTo>
                    <a:pt x="144164" y="1536355"/>
                    <a:pt x="147422" y="1536355"/>
                    <a:pt x="149051" y="1538798"/>
                  </a:cubicBezTo>
                  <a:cubicBezTo>
                    <a:pt x="149866" y="1541242"/>
                    <a:pt x="153124" y="1542056"/>
                    <a:pt x="154753" y="1542871"/>
                  </a:cubicBezTo>
                  <a:cubicBezTo>
                    <a:pt x="157196" y="1544500"/>
                    <a:pt x="160454" y="1546129"/>
                    <a:pt x="162083" y="1548572"/>
                  </a:cubicBezTo>
                  <a:cubicBezTo>
                    <a:pt x="162083" y="1549387"/>
                    <a:pt x="162898" y="1549387"/>
                    <a:pt x="163712" y="1549387"/>
                  </a:cubicBezTo>
                  <a:cubicBezTo>
                    <a:pt x="167785" y="1550201"/>
                    <a:pt x="170228" y="1553459"/>
                    <a:pt x="173486" y="1555088"/>
                  </a:cubicBezTo>
                  <a:cubicBezTo>
                    <a:pt x="175930" y="1556717"/>
                    <a:pt x="178373" y="1559161"/>
                    <a:pt x="181631" y="1559161"/>
                  </a:cubicBezTo>
                  <a:cubicBezTo>
                    <a:pt x="182446" y="1559161"/>
                    <a:pt x="183260" y="1560790"/>
                    <a:pt x="184074" y="1561604"/>
                  </a:cubicBezTo>
                  <a:cubicBezTo>
                    <a:pt x="184889" y="1562419"/>
                    <a:pt x="185703" y="1564048"/>
                    <a:pt x="186518" y="1564862"/>
                  </a:cubicBezTo>
                  <a:cubicBezTo>
                    <a:pt x="187333" y="1565677"/>
                    <a:pt x="188147" y="1566491"/>
                    <a:pt x="188961" y="1566491"/>
                  </a:cubicBezTo>
                  <a:cubicBezTo>
                    <a:pt x="190590" y="1567306"/>
                    <a:pt x="192219" y="1567306"/>
                    <a:pt x="193848" y="1568120"/>
                  </a:cubicBezTo>
                  <a:cubicBezTo>
                    <a:pt x="197106" y="1569749"/>
                    <a:pt x="200364" y="1571378"/>
                    <a:pt x="201993" y="1574636"/>
                  </a:cubicBezTo>
                  <a:cubicBezTo>
                    <a:pt x="202808" y="1577079"/>
                    <a:pt x="204437" y="1578708"/>
                    <a:pt x="206066" y="1581152"/>
                  </a:cubicBezTo>
                  <a:cubicBezTo>
                    <a:pt x="206066" y="1581966"/>
                    <a:pt x="206880" y="1581966"/>
                    <a:pt x="207695" y="1582781"/>
                  </a:cubicBezTo>
                  <a:cubicBezTo>
                    <a:pt x="209324" y="1583595"/>
                    <a:pt x="210138" y="1584410"/>
                    <a:pt x="210953" y="1585224"/>
                  </a:cubicBezTo>
                  <a:cubicBezTo>
                    <a:pt x="212582" y="1589297"/>
                    <a:pt x="216654" y="1590926"/>
                    <a:pt x="219098" y="1594184"/>
                  </a:cubicBezTo>
                  <a:cubicBezTo>
                    <a:pt x="221541" y="1594998"/>
                    <a:pt x="223170" y="1597442"/>
                    <a:pt x="223985" y="1599071"/>
                  </a:cubicBezTo>
                  <a:cubicBezTo>
                    <a:pt x="225613" y="1602329"/>
                    <a:pt x="226428" y="1605587"/>
                    <a:pt x="230500" y="1607215"/>
                  </a:cubicBezTo>
                  <a:cubicBezTo>
                    <a:pt x="231315" y="1607215"/>
                    <a:pt x="230500" y="1609659"/>
                    <a:pt x="231315" y="1609659"/>
                  </a:cubicBezTo>
                  <a:cubicBezTo>
                    <a:pt x="232944" y="1610474"/>
                    <a:pt x="233758" y="1611288"/>
                    <a:pt x="234573" y="1612102"/>
                  </a:cubicBezTo>
                  <a:cubicBezTo>
                    <a:pt x="236202" y="1614546"/>
                    <a:pt x="237831" y="1617804"/>
                    <a:pt x="239460" y="1620247"/>
                  </a:cubicBezTo>
                  <a:cubicBezTo>
                    <a:pt x="240274" y="1621062"/>
                    <a:pt x="240274" y="1622691"/>
                    <a:pt x="241089" y="1622691"/>
                  </a:cubicBezTo>
                  <a:cubicBezTo>
                    <a:pt x="242718" y="1623505"/>
                    <a:pt x="244347" y="1625134"/>
                    <a:pt x="245161" y="1626763"/>
                  </a:cubicBezTo>
                  <a:cubicBezTo>
                    <a:pt x="245976" y="1628392"/>
                    <a:pt x="246790" y="1630836"/>
                    <a:pt x="248419" y="1632465"/>
                  </a:cubicBezTo>
                  <a:cubicBezTo>
                    <a:pt x="250048" y="1634094"/>
                    <a:pt x="251677" y="1634908"/>
                    <a:pt x="253306" y="1635723"/>
                  </a:cubicBezTo>
                  <a:cubicBezTo>
                    <a:pt x="254935" y="1637352"/>
                    <a:pt x="257378" y="1638166"/>
                    <a:pt x="259008" y="1639795"/>
                  </a:cubicBezTo>
                  <a:cubicBezTo>
                    <a:pt x="259822" y="1640610"/>
                    <a:pt x="260637" y="1640610"/>
                    <a:pt x="262265" y="1640610"/>
                  </a:cubicBezTo>
                  <a:cubicBezTo>
                    <a:pt x="263895" y="1640610"/>
                    <a:pt x="265523" y="1640610"/>
                    <a:pt x="267152" y="1641424"/>
                  </a:cubicBezTo>
                  <a:cubicBezTo>
                    <a:pt x="267967" y="1641424"/>
                    <a:pt x="268781" y="1641424"/>
                    <a:pt x="269596" y="1641424"/>
                  </a:cubicBezTo>
                  <a:cubicBezTo>
                    <a:pt x="273668" y="1638981"/>
                    <a:pt x="279370" y="1638166"/>
                    <a:pt x="280999" y="1633279"/>
                  </a:cubicBezTo>
                  <a:cubicBezTo>
                    <a:pt x="280999" y="1632465"/>
                    <a:pt x="282628" y="1632465"/>
                    <a:pt x="283442" y="1631650"/>
                  </a:cubicBezTo>
                  <a:cubicBezTo>
                    <a:pt x="284257" y="1630836"/>
                    <a:pt x="285071" y="1630836"/>
                    <a:pt x="285886" y="1630021"/>
                  </a:cubicBezTo>
                  <a:cubicBezTo>
                    <a:pt x="286700" y="1627578"/>
                    <a:pt x="289144" y="1626763"/>
                    <a:pt x="291587" y="1625134"/>
                  </a:cubicBezTo>
                  <a:cubicBezTo>
                    <a:pt x="293216" y="1624320"/>
                    <a:pt x="294845" y="1623505"/>
                    <a:pt x="295660" y="1621876"/>
                  </a:cubicBezTo>
                  <a:cubicBezTo>
                    <a:pt x="295660" y="1621062"/>
                    <a:pt x="296474" y="1621062"/>
                    <a:pt x="297289" y="1620247"/>
                  </a:cubicBezTo>
                  <a:cubicBezTo>
                    <a:pt x="299732" y="1618618"/>
                    <a:pt x="301361" y="1617804"/>
                    <a:pt x="303804" y="1616175"/>
                  </a:cubicBezTo>
                  <a:cubicBezTo>
                    <a:pt x="304619" y="1615360"/>
                    <a:pt x="305434" y="1614546"/>
                    <a:pt x="306248" y="1613732"/>
                  </a:cubicBezTo>
                  <a:cubicBezTo>
                    <a:pt x="308691" y="1610474"/>
                    <a:pt x="310320" y="1609659"/>
                    <a:pt x="314393" y="1611288"/>
                  </a:cubicBezTo>
                  <a:cubicBezTo>
                    <a:pt x="316022" y="1612102"/>
                    <a:pt x="317651" y="1612917"/>
                    <a:pt x="319280" y="1613732"/>
                  </a:cubicBezTo>
                  <a:cubicBezTo>
                    <a:pt x="320909" y="1614546"/>
                    <a:pt x="323352" y="1615360"/>
                    <a:pt x="324981" y="1615360"/>
                  </a:cubicBezTo>
                  <a:cubicBezTo>
                    <a:pt x="327425" y="1616175"/>
                    <a:pt x="330682" y="1616989"/>
                    <a:pt x="332312" y="1619433"/>
                  </a:cubicBezTo>
                  <a:cubicBezTo>
                    <a:pt x="333126" y="1621062"/>
                    <a:pt x="335569" y="1621062"/>
                    <a:pt x="336384" y="1622691"/>
                  </a:cubicBezTo>
                  <a:cubicBezTo>
                    <a:pt x="337199" y="1625134"/>
                    <a:pt x="339642" y="1625134"/>
                    <a:pt x="341271" y="1626763"/>
                  </a:cubicBezTo>
                  <a:cubicBezTo>
                    <a:pt x="342900" y="1628392"/>
                    <a:pt x="345343" y="1629207"/>
                    <a:pt x="347787" y="1627578"/>
                  </a:cubicBezTo>
                  <a:cubicBezTo>
                    <a:pt x="349416" y="1626763"/>
                    <a:pt x="351859" y="1627578"/>
                    <a:pt x="353488" y="1626763"/>
                  </a:cubicBezTo>
                  <a:cubicBezTo>
                    <a:pt x="355932" y="1625134"/>
                    <a:pt x="357561" y="1624320"/>
                    <a:pt x="360819" y="1625134"/>
                  </a:cubicBezTo>
                  <a:cubicBezTo>
                    <a:pt x="363262" y="1623505"/>
                    <a:pt x="365706" y="1624320"/>
                    <a:pt x="368149" y="1623505"/>
                  </a:cubicBezTo>
                  <a:cubicBezTo>
                    <a:pt x="370593" y="1622691"/>
                    <a:pt x="372221" y="1621062"/>
                    <a:pt x="374665" y="1620247"/>
                  </a:cubicBezTo>
                  <a:cubicBezTo>
                    <a:pt x="378738" y="1617804"/>
                    <a:pt x="383624" y="1615360"/>
                    <a:pt x="387697" y="1612917"/>
                  </a:cubicBezTo>
                  <a:cubicBezTo>
                    <a:pt x="391769" y="1610474"/>
                    <a:pt x="396656" y="1609659"/>
                    <a:pt x="398285" y="1604772"/>
                  </a:cubicBezTo>
                  <a:cubicBezTo>
                    <a:pt x="398285" y="1603958"/>
                    <a:pt x="399100" y="1603958"/>
                    <a:pt x="399914" y="1603143"/>
                  </a:cubicBezTo>
                  <a:cubicBezTo>
                    <a:pt x="405616" y="1599885"/>
                    <a:pt x="411317" y="1596627"/>
                    <a:pt x="417833" y="1593369"/>
                  </a:cubicBezTo>
                  <a:cubicBezTo>
                    <a:pt x="418647" y="1592555"/>
                    <a:pt x="420276" y="1593369"/>
                    <a:pt x="421091" y="1593369"/>
                  </a:cubicBezTo>
                  <a:cubicBezTo>
                    <a:pt x="421091" y="1593369"/>
                    <a:pt x="421905" y="1593369"/>
                    <a:pt x="421905" y="1593369"/>
                  </a:cubicBezTo>
                  <a:cubicBezTo>
                    <a:pt x="421091" y="1594998"/>
                    <a:pt x="421091" y="1596627"/>
                    <a:pt x="421905" y="1598256"/>
                  </a:cubicBezTo>
                  <a:cubicBezTo>
                    <a:pt x="422720" y="1601514"/>
                    <a:pt x="425978" y="1602329"/>
                    <a:pt x="428421" y="1599885"/>
                  </a:cubicBezTo>
                  <a:cubicBezTo>
                    <a:pt x="429236" y="1599071"/>
                    <a:pt x="430050" y="1598256"/>
                    <a:pt x="430050" y="1597442"/>
                  </a:cubicBezTo>
                  <a:cubicBezTo>
                    <a:pt x="430050" y="1599071"/>
                    <a:pt x="430865" y="1599885"/>
                    <a:pt x="432494" y="1599885"/>
                  </a:cubicBezTo>
                  <a:cubicBezTo>
                    <a:pt x="434123" y="1599885"/>
                    <a:pt x="435752" y="1598256"/>
                    <a:pt x="437381" y="1600700"/>
                  </a:cubicBezTo>
                  <a:cubicBezTo>
                    <a:pt x="434937" y="1603143"/>
                    <a:pt x="431679" y="1605587"/>
                    <a:pt x="429236" y="1608030"/>
                  </a:cubicBezTo>
                  <a:cubicBezTo>
                    <a:pt x="430050" y="1606401"/>
                    <a:pt x="430050" y="1603958"/>
                    <a:pt x="430050" y="1600700"/>
                  </a:cubicBezTo>
                  <a:cubicBezTo>
                    <a:pt x="419462" y="1607215"/>
                    <a:pt x="412131" y="1614546"/>
                    <a:pt x="404801" y="1624320"/>
                  </a:cubicBezTo>
                  <a:cubicBezTo>
                    <a:pt x="403172" y="1626763"/>
                    <a:pt x="401543" y="1628392"/>
                    <a:pt x="405616" y="1630836"/>
                  </a:cubicBezTo>
                  <a:cubicBezTo>
                    <a:pt x="407245" y="1630021"/>
                    <a:pt x="408059" y="1629207"/>
                    <a:pt x="409688" y="1628392"/>
                  </a:cubicBezTo>
                  <a:cubicBezTo>
                    <a:pt x="409688" y="1629207"/>
                    <a:pt x="409688" y="1630021"/>
                    <a:pt x="410503" y="1630836"/>
                  </a:cubicBezTo>
                  <a:cubicBezTo>
                    <a:pt x="414575" y="1628392"/>
                    <a:pt x="417833" y="1625134"/>
                    <a:pt x="421091" y="1622691"/>
                  </a:cubicBezTo>
                  <a:cubicBezTo>
                    <a:pt x="422720" y="1624320"/>
                    <a:pt x="423534" y="1625949"/>
                    <a:pt x="425163" y="1627578"/>
                  </a:cubicBezTo>
                  <a:cubicBezTo>
                    <a:pt x="432494" y="1622691"/>
                    <a:pt x="438195" y="1618618"/>
                    <a:pt x="444711" y="1614546"/>
                  </a:cubicBezTo>
                  <a:cubicBezTo>
                    <a:pt x="444711" y="1614546"/>
                    <a:pt x="445526" y="1613732"/>
                    <a:pt x="445526" y="1613732"/>
                  </a:cubicBezTo>
                  <a:cubicBezTo>
                    <a:pt x="445526" y="1613732"/>
                    <a:pt x="445526" y="1613732"/>
                    <a:pt x="445526" y="1613732"/>
                  </a:cubicBezTo>
                  <a:cubicBezTo>
                    <a:pt x="445526" y="1613732"/>
                    <a:pt x="446340" y="1614546"/>
                    <a:pt x="446340" y="1616175"/>
                  </a:cubicBezTo>
                  <a:cubicBezTo>
                    <a:pt x="443082" y="1618618"/>
                    <a:pt x="440639" y="1621062"/>
                    <a:pt x="437381" y="1623505"/>
                  </a:cubicBezTo>
                  <a:cubicBezTo>
                    <a:pt x="437381" y="1623505"/>
                    <a:pt x="437381" y="1623505"/>
                    <a:pt x="437381" y="1623505"/>
                  </a:cubicBezTo>
                  <a:cubicBezTo>
                    <a:pt x="437381" y="1623505"/>
                    <a:pt x="437381" y="1623505"/>
                    <a:pt x="437381" y="1623505"/>
                  </a:cubicBezTo>
                  <a:cubicBezTo>
                    <a:pt x="426792" y="1632465"/>
                    <a:pt x="415390" y="1641424"/>
                    <a:pt x="407245" y="1652012"/>
                  </a:cubicBezTo>
                  <a:cubicBezTo>
                    <a:pt x="403172" y="1657714"/>
                    <a:pt x="399100" y="1662601"/>
                    <a:pt x="393398" y="1666673"/>
                  </a:cubicBezTo>
                  <a:cubicBezTo>
                    <a:pt x="390955" y="1668302"/>
                    <a:pt x="389326" y="1670746"/>
                    <a:pt x="387697" y="1673189"/>
                  </a:cubicBezTo>
                  <a:cubicBezTo>
                    <a:pt x="386882" y="1674818"/>
                    <a:pt x="386068" y="1677262"/>
                    <a:pt x="389326" y="1678891"/>
                  </a:cubicBezTo>
                  <a:cubicBezTo>
                    <a:pt x="396656" y="1672375"/>
                    <a:pt x="405616" y="1667488"/>
                    <a:pt x="412131" y="1659343"/>
                  </a:cubicBezTo>
                  <a:cubicBezTo>
                    <a:pt x="413760" y="1657714"/>
                    <a:pt x="416204" y="1656085"/>
                    <a:pt x="417833" y="1654456"/>
                  </a:cubicBezTo>
                  <a:cubicBezTo>
                    <a:pt x="417833" y="1657714"/>
                    <a:pt x="416204" y="1660157"/>
                    <a:pt x="414575" y="1661786"/>
                  </a:cubicBezTo>
                  <a:cubicBezTo>
                    <a:pt x="412131" y="1665044"/>
                    <a:pt x="408874" y="1667488"/>
                    <a:pt x="408874" y="1672375"/>
                  </a:cubicBezTo>
                  <a:cubicBezTo>
                    <a:pt x="410503" y="1674004"/>
                    <a:pt x="412131" y="1675633"/>
                    <a:pt x="413760" y="1677262"/>
                  </a:cubicBezTo>
                  <a:cubicBezTo>
                    <a:pt x="418647" y="1674818"/>
                    <a:pt x="423534" y="1672375"/>
                    <a:pt x="428421" y="1669117"/>
                  </a:cubicBezTo>
                  <a:cubicBezTo>
                    <a:pt x="424349" y="1674004"/>
                    <a:pt x="419462" y="1677262"/>
                    <a:pt x="415390" y="1681334"/>
                  </a:cubicBezTo>
                  <a:cubicBezTo>
                    <a:pt x="414575" y="1682149"/>
                    <a:pt x="413760" y="1682963"/>
                    <a:pt x="412946" y="1683778"/>
                  </a:cubicBezTo>
                  <a:cubicBezTo>
                    <a:pt x="409688" y="1682963"/>
                    <a:pt x="404801" y="1683778"/>
                    <a:pt x="401543" y="1685406"/>
                  </a:cubicBezTo>
                  <a:cubicBezTo>
                    <a:pt x="398285" y="1687850"/>
                    <a:pt x="398285" y="1692737"/>
                    <a:pt x="400729" y="1695995"/>
                  </a:cubicBezTo>
                  <a:cubicBezTo>
                    <a:pt x="401543" y="1696809"/>
                    <a:pt x="402358" y="1697624"/>
                    <a:pt x="403172" y="1697624"/>
                  </a:cubicBezTo>
                  <a:cubicBezTo>
                    <a:pt x="400729" y="1698438"/>
                    <a:pt x="398285" y="1699253"/>
                    <a:pt x="396656" y="1701696"/>
                  </a:cubicBezTo>
                  <a:cubicBezTo>
                    <a:pt x="395027" y="1703325"/>
                    <a:pt x="392584" y="1703325"/>
                    <a:pt x="390955" y="1704140"/>
                  </a:cubicBezTo>
                  <a:cubicBezTo>
                    <a:pt x="386068" y="1704954"/>
                    <a:pt x="383624" y="1707398"/>
                    <a:pt x="383624" y="1711470"/>
                  </a:cubicBezTo>
                  <a:cubicBezTo>
                    <a:pt x="383624" y="1714728"/>
                    <a:pt x="386882" y="1718801"/>
                    <a:pt x="390140" y="1720430"/>
                  </a:cubicBezTo>
                  <a:cubicBezTo>
                    <a:pt x="390140" y="1720430"/>
                    <a:pt x="390140" y="1720430"/>
                    <a:pt x="390140" y="1720430"/>
                  </a:cubicBezTo>
                  <a:cubicBezTo>
                    <a:pt x="390955" y="1722873"/>
                    <a:pt x="393398" y="1724502"/>
                    <a:pt x="395842" y="1725316"/>
                  </a:cubicBezTo>
                  <a:cubicBezTo>
                    <a:pt x="399100" y="1726131"/>
                    <a:pt x="402358" y="1724502"/>
                    <a:pt x="404801" y="1720430"/>
                  </a:cubicBezTo>
                  <a:cubicBezTo>
                    <a:pt x="405616" y="1719615"/>
                    <a:pt x="405616" y="1718801"/>
                    <a:pt x="406430" y="1717172"/>
                  </a:cubicBezTo>
                  <a:cubicBezTo>
                    <a:pt x="408874" y="1717172"/>
                    <a:pt x="411317" y="1717986"/>
                    <a:pt x="412946" y="1717172"/>
                  </a:cubicBezTo>
                  <a:cubicBezTo>
                    <a:pt x="417018" y="1714728"/>
                    <a:pt x="421905" y="1713099"/>
                    <a:pt x="426792" y="1713099"/>
                  </a:cubicBezTo>
                  <a:cubicBezTo>
                    <a:pt x="426792" y="1714728"/>
                    <a:pt x="427607" y="1716357"/>
                    <a:pt x="428421" y="1717986"/>
                  </a:cubicBezTo>
                  <a:cubicBezTo>
                    <a:pt x="430865" y="1721244"/>
                    <a:pt x="434937" y="1721244"/>
                    <a:pt x="438195" y="1718801"/>
                  </a:cubicBezTo>
                  <a:cubicBezTo>
                    <a:pt x="442268" y="1716357"/>
                    <a:pt x="443082" y="1710656"/>
                    <a:pt x="440639" y="1707398"/>
                  </a:cubicBezTo>
                  <a:cubicBezTo>
                    <a:pt x="439824" y="1706583"/>
                    <a:pt x="439824" y="1705769"/>
                    <a:pt x="439010" y="1705769"/>
                  </a:cubicBezTo>
                  <a:cubicBezTo>
                    <a:pt x="438195" y="1704140"/>
                    <a:pt x="437381" y="1703325"/>
                    <a:pt x="435752" y="1703325"/>
                  </a:cubicBezTo>
                  <a:cubicBezTo>
                    <a:pt x="434937" y="1703325"/>
                    <a:pt x="434123" y="1702511"/>
                    <a:pt x="434123" y="1702511"/>
                  </a:cubicBezTo>
                  <a:cubicBezTo>
                    <a:pt x="434123" y="1700882"/>
                    <a:pt x="433308" y="1699253"/>
                    <a:pt x="431679" y="1698438"/>
                  </a:cubicBezTo>
                  <a:cubicBezTo>
                    <a:pt x="435752" y="1695180"/>
                    <a:pt x="440639" y="1691923"/>
                    <a:pt x="445526" y="1689479"/>
                  </a:cubicBezTo>
                  <a:cubicBezTo>
                    <a:pt x="445526" y="1689479"/>
                    <a:pt x="445526" y="1690293"/>
                    <a:pt x="445526" y="1690293"/>
                  </a:cubicBezTo>
                  <a:cubicBezTo>
                    <a:pt x="445526" y="1695995"/>
                    <a:pt x="445526" y="1701696"/>
                    <a:pt x="451227" y="1706583"/>
                  </a:cubicBezTo>
                  <a:cubicBezTo>
                    <a:pt x="452042" y="1707398"/>
                    <a:pt x="452042" y="1708212"/>
                    <a:pt x="452856" y="1709841"/>
                  </a:cubicBezTo>
                  <a:cubicBezTo>
                    <a:pt x="449598" y="1710656"/>
                    <a:pt x="447155" y="1710656"/>
                    <a:pt x="443897" y="1711470"/>
                  </a:cubicBezTo>
                  <a:cubicBezTo>
                    <a:pt x="443897" y="1713099"/>
                    <a:pt x="443897" y="1714728"/>
                    <a:pt x="443897" y="1715543"/>
                  </a:cubicBezTo>
                  <a:cubicBezTo>
                    <a:pt x="443082" y="1725316"/>
                    <a:pt x="444711" y="1735090"/>
                    <a:pt x="439824" y="1743235"/>
                  </a:cubicBezTo>
                  <a:cubicBezTo>
                    <a:pt x="439010" y="1744050"/>
                    <a:pt x="439010" y="1747308"/>
                    <a:pt x="439824" y="1748122"/>
                  </a:cubicBezTo>
                  <a:cubicBezTo>
                    <a:pt x="440639" y="1748937"/>
                    <a:pt x="441453" y="1749751"/>
                    <a:pt x="442268" y="1751380"/>
                  </a:cubicBezTo>
                  <a:cubicBezTo>
                    <a:pt x="438195" y="1755453"/>
                    <a:pt x="440639" y="1758711"/>
                    <a:pt x="441453" y="1761968"/>
                  </a:cubicBezTo>
                  <a:cubicBezTo>
                    <a:pt x="438195" y="1761968"/>
                    <a:pt x="434937" y="1759525"/>
                    <a:pt x="432494" y="1765227"/>
                  </a:cubicBezTo>
                  <a:cubicBezTo>
                    <a:pt x="433308" y="1766855"/>
                    <a:pt x="434123" y="1768484"/>
                    <a:pt x="434123" y="1770113"/>
                  </a:cubicBezTo>
                  <a:cubicBezTo>
                    <a:pt x="431679" y="1771742"/>
                    <a:pt x="430050" y="1772557"/>
                    <a:pt x="427607" y="1774186"/>
                  </a:cubicBezTo>
                  <a:cubicBezTo>
                    <a:pt x="421091" y="1778258"/>
                    <a:pt x="415390" y="1782331"/>
                    <a:pt x="408874" y="1786403"/>
                  </a:cubicBezTo>
                  <a:cubicBezTo>
                    <a:pt x="404801" y="1788847"/>
                    <a:pt x="402358" y="1792105"/>
                    <a:pt x="401543" y="1796177"/>
                  </a:cubicBezTo>
                  <a:cubicBezTo>
                    <a:pt x="408059" y="1808394"/>
                    <a:pt x="409688" y="1823055"/>
                    <a:pt x="403987" y="1839345"/>
                  </a:cubicBezTo>
                  <a:cubicBezTo>
                    <a:pt x="394213" y="1866223"/>
                    <a:pt x="380366" y="1896359"/>
                    <a:pt x="364077" y="1924052"/>
                  </a:cubicBezTo>
                  <a:cubicBezTo>
                    <a:pt x="368964" y="1933826"/>
                    <a:pt x="373036" y="1944414"/>
                    <a:pt x="377923" y="1956632"/>
                  </a:cubicBezTo>
                  <a:cubicBezTo>
                    <a:pt x="378738" y="1958261"/>
                    <a:pt x="378738" y="1959889"/>
                    <a:pt x="379552" y="1961518"/>
                  </a:cubicBezTo>
                  <a:cubicBezTo>
                    <a:pt x="387697" y="1970478"/>
                    <a:pt x="393398" y="1982695"/>
                    <a:pt x="395027" y="1994913"/>
                  </a:cubicBezTo>
                  <a:cubicBezTo>
                    <a:pt x="400729" y="2002243"/>
                    <a:pt x="404801" y="2011202"/>
                    <a:pt x="407245" y="2020976"/>
                  </a:cubicBezTo>
                  <a:cubicBezTo>
                    <a:pt x="454485" y="2003058"/>
                    <a:pt x="505798" y="2060886"/>
                    <a:pt x="480549" y="2112199"/>
                  </a:cubicBezTo>
                  <a:cubicBezTo>
                    <a:pt x="479734" y="2114642"/>
                    <a:pt x="478105" y="2116271"/>
                    <a:pt x="477291" y="2118715"/>
                  </a:cubicBezTo>
                  <a:cubicBezTo>
                    <a:pt x="481363" y="2122787"/>
                    <a:pt x="484621" y="2127674"/>
                    <a:pt x="487065" y="2133376"/>
                  </a:cubicBezTo>
                  <a:cubicBezTo>
                    <a:pt x="497653" y="2134190"/>
                    <a:pt x="507427" y="2136634"/>
                    <a:pt x="516386" y="2141521"/>
                  </a:cubicBezTo>
                  <a:cubicBezTo>
                    <a:pt x="522902" y="2138263"/>
                    <a:pt x="530232" y="2135004"/>
                    <a:pt x="536748" y="2131747"/>
                  </a:cubicBezTo>
                  <a:cubicBezTo>
                    <a:pt x="539192" y="2130118"/>
                    <a:pt x="543264" y="2130118"/>
                    <a:pt x="545708" y="2130118"/>
                  </a:cubicBezTo>
                  <a:cubicBezTo>
                    <a:pt x="562812" y="2132561"/>
                    <a:pt x="579916" y="2131747"/>
                    <a:pt x="597835" y="2125231"/>
                  </a:cubicBezTo>
                  <a:cubicBezTo>
                    <a:pt x="602722" y="2123602"/>
                    <a:pt x="608423" y="2121973"/>
                    <a:pt x="613310" y="2121973"/>
                  </a:cubicBezTo>
                  <a:cubicBezTo>
                    <a:pt x="623084" y="2121159"/>
                    <a:pt x="631229" y="2115457"/>
                    <a:pt x="638560" y="2108941"/>
                  </a:cubicBezTo>
                  <a:cubicBezTo>
                    <a:pt x="641003" y="2106497"/>
                    <a:pt x="644261" y="2103240"/>
                    <a:pt x="647519" y="2101611"/>
                  </a:cubicBezTo>
                  <a:cubicBezTo>
                    <a:pt x="652406" y="2098352"/>
                    <a:pt x="653220" y="2095909"/>
                    <a:pt x="651592" y="2091022"/>
                  </a:cubicBezTo>
                  <a:cubicBezTo>
                    <a:pt x="649962" y="2085321"/>
                    <a:pt x="649962" y="2080434"/>
                    <a:pt x="655664" y="2073918"/>
                  </a:cubicBezTo>
                  <a:cubicBezTo>
                    <a:pt x="658922" y="2069845"/>
                    <a:pt x="662180" y="2064144"/>
                    <a:pt x="661365" y="2059257"/>
                  </a:cubicBezTo>
                  <a:cubicBezTo>
                    <a:pt x="661365" y="2054370"/>
                    <a:pt x="662180" y="2051112"/>
                    <a:pt x="664623" y="2047854"/>
                  </a:cubicBezTo>
                  <a:cubicBezTo>
                    <a:pt x="664623" y="2047854"/>
                    <a:pt x="664623" y="2048669"/>
                    <a:pt x="665438" y="2048669"/>
                  </a:cubicBezTo>
                  <a:cubicBezTo>
                    <a:pt x="667067" y="2047854"/>
                    <a:pt x="667881" y="2047040"/>
                    <a:pt x="669510" y="2046225"/>
                  </a:cubicBezTo>
                  <a:cubicBezTo>
                    <a:pt x="668696" y="2048669"/>
                    <a:pt x="668696" y="2051112"/>
                    <a:pt x="671139" y="2053555"/>
                  </a:cubicBezTo>
                  <a:cubicBezTo>
                    <a:pt x="679284" y="2050298"/>
                    <a:pt x="683357" y="2044596"/>
                    <a:pt x="686614" y="2036451"/>
                  </a:cubicBezTo>
                  <a:cubicBezTo>
                    <a:pt x="687429" y="2034822"/>
                    <a:pt x="686614" y="2032379"/>
                    <a:pt x="684985" y="2032379"/>
                  </a:cubicBezTo>
                  <a:cubicBezTo>
                    <a:pt x="684171" y="2031565"/>
                    <a:pt x="681727" y="2032379"/>
                    <a:pt x="680913" y="2032379"/>
                  </a:cubicBezTo>
                  <a:cubicBezTo>
                    <a:pt x="680913" y="2032379"/>
                    <a:pt x="680913" y="2031565"/>
                    <a:pt x="680913" y="2031565"/>
                  </a:cubicBezTo>
                  <a:cubicBezTo>
                    <a:pt x="681727" y="2029936"/>
                    <a:pt x="680913" y="2027492"/>
                    <a:pt x="679284" y="2027492"/>
                  </a:cubicBezTo>
                  <a:cubicBezTo>
                    <a:pt x="678470" y="2026677"/>
                    <a:pt x="676026" y="2027492"/>
                    <a:pt x="674397" y="2028307"/>
                  </a:cubicBezTo>
                  <a:cubicBezTo>
                    <a:pt x="672768" y="2029121"/>
                    <a:pt x="671139" y="2030750"/>
                    <a:pt x="668696" y="2032379"/>
                  </a:cubicBezTo>
                  <a:cubicBezTo>
                    <a:pt x="667067" y="2029936"/>
                    <a:pt x="665438" y="2028307"/>
                    <a:pt x="662994" y="2027492"/>
                  </a:cubicBezTo>
                  <a:cubicBezTo>
                    <a:pt x="661365" y="2024234"/>
                    <a:pt x="658107" y="2022605"/>
                    <a:pt x="654035" y="2020976"/>
                  </a:cubicBezTo>
                  <a:cubicBezTo>
                    <a:pt x="653220" y="2020976"/>
                    <a:pt x="652406" y="2020162"/>
                    <a:pt x="651592" y="2020162"/>
                  </a:cubicBezTo>
                  <a:cubicBezTo>
                    <a:pt x="651592" y="2017718"/>
                    <a:pt x="653220" y="2015275"/>
                    <a:pt x="656478" y="2010388"/>
                  </a:cubicBezTo>
                  <a:cubicBezTo>
                    <a:pt x="660551" y="2004686"/>
                    <a:pt x="666252" y="2000614"/>
                    <a:pt x="669510" y="1994913"/>
                  </a:cubicBezTo>
                  <a:cubicBezTo>
                    <a:pt x="675212" y="1985953"/>
                    <a:pt x="682542" y="1983510"/>
                    <a:pt x="692316" y="1985139"/>
                  </a:cubicBezTo>
                  <a:cubicBezTo>
                    <a:pt x="693130" y="1985139"/>
                    <a:pt x="694759" y="1985953"/>
                    <a:pt x="695574" y="1985953"/>
                  </a:cubicBezTo>
                  <a:cubicBezTo>
                    <a:pt x="702904" y="1985953"/>
                    <a:pt x="710235" y="1986768"/>
                    <a:pt x="717565" y="1985953"/>
                  </a:cubicBezTo>
                  <a:cubicBezTo>
                    <a:pt x="720823" y="1985953"/>
                    <a:pt x="724081" y="1985139"/>
                    <a:pt x="726524" y="1984324"/>
                  </a:cubicBezTo>
                  <a:cubicBezTo>
                    <a:pt x="725710" y="1985139"/>
                    <a:pt x="724896" y="1985953"/>
                    <a:pt x="724081" y="1987582"/>
                  </a:cubicBezTo>
                  <a:cubicBezTo>
                    <a:pt x="723266" y="1990840"/>
                    <a:pt x="724081" y="1994098"/>
                    <a:pt x="724081" y="1997356"/>
                  </a:cubicBezTo>
                  <a:cubicBezTo>
                    <a:pt x="722452" y="1998985"/>
                    <a:pt x="718379" y="1998170"/>
                    <a:pt x="719194" y="2002243"/>
                  </a:cubicBezTo>
                  <a:cubicBezTo>
                    <a:pt x="723266" y="2004686"/>
                    <a:pt x="728153" y="2006315"/>
                    <a:pt x="732226" y="2008759"/>
                  </a:cubicBezTo>
                  <a:cubicBezTo>
                    <a:pt x="730597" y="2010388"/>
                    <a:pt x="729782" y="2013646"/>
                    <a:pt x="731411" y="2016089"/>
                  </a:cubicBezTo>
                  <a:cubicBezTo>
                    <a:pt x="732226" y="2017718"/>
                    <a:pt x="733855" y="2018533"/>
                    <a:pt x="735484" y="2019347"/>
                  </a:cubicBezTo>
                  <a:cubicBezTo>
                    <a:pt x="737113" y="2021791"/>
                    <a:pt x="738742" y="2024234"/>
                    <a:pt x="738742" y="2026677"/>
                  </a:cubicBezTo>
                  <a:cubicBezTo>
                    <a:pt x="733040" y="2030750"/>
                    <a:pt x="729782" y="2024234"/>
                    <a:pt x="724081" y="2024234"/>
                  </a:cubicBezTo>
                  <a:cubicBezTo>
                    <a:pt x="718379" y="2025863"/>
                    <a:pt x="715936" y="2029936"/>
                    <a:pt x="715936" y="2035637"/>
                  </a:cubicBezTo>
                  <a:cubicBezTo>
                    <a:pt x="715936" y="2041338"/>
                    <a:pt x="716751" y="2047040"/>
                    <a:pt x="722452" y="2050298"/>
                  </a:cubicBezTo>
                  <a:cubicBezTo>
                    <a:pt x="723266" y="2051112"/>
                    <a:pt x="723266" y="2051927"/>
                    <a:pt x="724081" y="2053555"/>
                  </a:cubicBezTo>
                  <a:cubicBezTo>
                    <a:pt x="720823" y="2054370"/>
                    <a:pt x="717565" y="2055185"/>
                    <a:pt x="715122" y="2055999"/>
                  </a:cubicBezTo>
                  <a:cubicBezTo>
                    <a:pt x="715122" y="2057628"/>
                    <a:pt x="715122" y="2059257"/>
                    <a:pt x="715122" y="2060072"/>
                  </a:cubicBezTo>
                  <a:cubicBezTo>
                    <a:pt x="714307" y="2069031"/>
                    <a:pt x="716751" y="2078805"/>
                    <a:pt x="710235" y="2087764"/>
                  </a:cubicBezTo>
                  <a:cubicBezTo>
                    <a:pt x="709420" y="2088579"/>
                    <a:pt x="709420" y="2091837"/>
                    <a:pt x="710235" y="2092651"/>
                  </a:cubicBezTo>
                  <a:cubicBezTo>
                    <a:pt x="715122" y="2097538"/>
                    <a:pt x="715122" y="2103240"/>
                    <a:pt x="715122" y="2108941"/>
                  </a:cubicBezTo>
                  <a:cubicBezTo>
                    <a:pt x="715122" y="2110570"/>
                    <a:pt x="716751" y="2112199"/>
                    <a:pt x="717565" y="2113014"/>
                  </a:cubicBezTo>
                  <a:cubicBezTo>
                    <a:pt x="723266" y="2113014"/>
                    <a:pt x="728153" y="2110570"/>
                    <a:pt x="733040" y="2109756"/>
                  </a:cubicBezTo>
                  <a:cubicBezTo>
                    <a:pt x="733040" y="2109756"/>
                    <a:pt x="732226" y="2109756"/>
                    <a:pt x="732226" y="2110570"/>
                  </a:cubicBezTo>
                  <a:cubicBezTo>
                    <a:pt x="731411" y="2110570"/>
                    <a:pt x="731411" y="2113014"/>
                    <a:pt x="731411" y="2113828"/>
                  </a:cubicBezTo>
                  <a:cubicBezTo>
                    <a:pt x="733040" y="2113828"/>
                    <a:pt x="734669" y="2114642"/>
                    <a:pt x="736298" y="2113828"/>
                  </a:cubicBezTo>
                  <a:cubicBezTo>
                    <a:pt x="736298" y="2113828"/>
                    <a:pt x="737113" y="2112199"/>
                    <a:pt x="737113" y="2110570"/>
                  </a:cubicBezTo>
                  <a:cubicBezTo>
                    <a:pt x="738742" y="2114642"/>
                    <a:pt x="741185" y="2117900"/>
                    <a:pt x="740371" y="2121159"/>
                  </a:cubicBezTo>
                  <a:cubicBezTo>
                    <a:pt x="739556" y="2129303"/>
                    <a:pt x="744443" y="2134190"/>
                    <a:pt x="748516" y="2139892"/>
                  </a:cubicBezTo>
                  <a:cubicBezTo>
                    <a:pt x="750959" y="2143149"/>
                    <a:pt x="753403" y="2147222"/>
                    <a:pt x="758289" y="2148851"/>
                  </a:cubicBezTo>
                  <a:cubicBezTo>
                    <a:pt x="756661" y="2152109"/>
                    <a:pt x="756661" y="2156182"/>
                    <a:pt x="759104" y="2157811"/>
                  </a:cubicBezTo>
                  <a:cubicBezTo>
                    <a:pt x="759918" y="2158625"/>
                    <a:pt x="761548" y="2159439"/>
                    <a:pt x="763176" y="2159439"/>
                  </a:cubicBezTo>
                  <a:cubicBezTo>
                    <a:pt x="763176" y="2161068"/>
                    <a:pt x="763991" y="2161883"/>
                    <a:pt x="764805" y="2162697"/>
                  </a:cubicBezTo>
                  <a:cubicBezTo>
                    <a:pt x="766434" y="2165141"/>
                    <a:pt x="771322" y="2164326"/>
                    <a:pt x="774579" y="2161883"/>
                  </a:cubicBezTo>
                  <a:cubicBezTo>
                    <a:pt x="777837" y="2159439"/>
                    <a:pt x="779466" y="2152923"/>
                    <a:pt x="777023" y="2150480"/>
                  </a:cubicBezTo>
                  <a:cubicBezTo>
                    <a:pt x="776208" y="2149666"/>
                    <a:pt x="774579" y="2148851"/>
                    <a:pt x="772950" y="2148851"/>
                  </a:cubicBezTo>
                  <a:cubicBezTo>
                    <a:pt x="772950" y="2147222"/>
                    <a:pt x="772950" y="2146408"/>
                    <a:pt x="772136" y="2145593"/>
                  </a:cubicBezTo>
                  <a:cubicBezTo>
                    <a:pt x="772136" y="2145593"/>
                    <a:pt x="771322" y="2144778"/>
                    <a:pt x="771322" y="2144778"/>
                  </a:cubicBezTo>
                  <a:cubicBezTo>
                    <a:pt x="772136" y="2144778"/>
                    <a:pt x="772950" y="2143964"/>
                    <a:pt x="773765" y="2143964"/>
                  </a:cubicBezTo>
                  <a:cubicBezTo>
                    <a:pt x="773765" y="2143964"/>
                    <a:pt x="773765" y="2143964"/>
                    <a:pt x="773765" y="2143964"/>
                  </a:cubicBezTo>
                  <a:cubicBezTo>
                    <a:pt x="778652" y="2145593"/>
                    <a:pt x="783539" y="2143964"/>
                    <a:pt x="786797" y="2139077"/>
                  </a:cubicBezTo>
                  <a:cubicBezTo>
                    <a:pt x="787611" y="2137448"/>
                    <a:pt x="788426" y="2136634"/>
                    <a:pt x="789240" y="2135004"/>
                  </a:cubicBezTo>
                  <a:cubicBezTo>
                    <a:pt x="791684" y="2133376"/>
                    <a:pt x="793312" y="2131747"/>
                    <a:pt x="794941" y="2129303"/>
                  </a:cubicBezTo>
                  <a:cubicBezTo>
                    <a:pt x="794941" y="2129303"/>
                    <a:pt x="794941" y="2129303"/>
                    <a:pt x="794941" y="2129303"/>
                  </a:cubicBezTo>
                  <a:cubicBezTo>
                    <a:pt x="795756" y="2131747"/>
                    <a:pt x="799014" y="2131747"/>
                    <a:pt x="800643" y="2130118"/>
                  </a:cubicBezTo>
                  <a:cubicBezTo>
                    <a:pt x="802272" y="2128489"/>
                    <a:pt x="802272" y="2126045"/>
                    <a:pt x="803901" y="2122787"/>
                  </a:cubicBezTo>
                  <a:cubicBezTo>
                    <a:pt x="803086" y="2122787"/>
                    <a:pt x="802272" y="2122787"/>
                    <a:pt x="801457" y="2122787"/>
                  </a:cubicBezTo>
                  <a:cubicBezTo>
                    <a:pt x="805530" y="2118715"/>
                    <a:pt x="808788" y="2115457"/>
                    <a:pt x="812860" y="2112199"/>
                  </a:cubicBezTo>
                  <a:cubicBezTo>
                    <a:pt x="810417" y="2120344"/>
                    <a:pt x="808788" y="2127674"/>
                    <a:pt x="811231" y="2135819"/>
                  </a:cubicBezTo>
                  <a:cubicBezTo>
                    <a:pt x="811231" y="2137448"/>
                    <a:pt x="811231" y="2139077"/>
                    <a:pt x="810417" y="2140706"/>
                  </a:cubicBezTo>
                  <a:cubicBezTo>
                    <a:pt x="810417" y="2140706"/>
                    <a:pt x="810417" y="2140706"/>
                    <a:pt x="810417" y="2140706"/>
                  </a:cubicBezTo>
                  <a:cubicBezTo>
                    <a:pt x="807974" y="2140706"/>
                    <a:pt x="804715" y="2141521"/>
                    <a:pt x="803086" y="2143149"/>
                  </a:cubicBezTo>
                  <a:cubicBezTo>
                    <a:pt x="799014" y="2146408"/>
                    <a:pt x="798200" y="2150480"/>
                    <a:pt x="800643" y="2153738"/>
                  </a:cubicBezTo>
                  <a:cubicBezTo>
                    <a:pt x="802272" y="2155367"/>
                    <a:pt x="803901" y="2156996"/>
                    <a:pt x="805530" y="2157811"/>
                  </a:cubicBezTo>
                  <a:cubicBezTo>
                    <a:pt x="805530" y="2157811"/>
                    <a:pt x="805530" y="2158625"/>
                    <a:pt x="806344" y="2158625"/>
                  </a:cubicBezTo>
                  <a:cubicBezTo>
                    <a:pt x="807974" y="2160254"/>
                    <a:pt x="809602" y="2161883"/>
                    <a:pt x="811231" y="2162697"/>
                  </a:cubicBezTo>
                  <a:cubicBezTo>
                    <a:pt x="812860" y="2167584"/>
                    <a:pt x="814489" y="2172471"/>
                    <a:pt x="814489" y="2177358"/>
                  </a:cubicBezTo>
                  <a:cubicBezTo>
                    <a:pt x="814489" y="2178173"/>
                    <a:pt x="815304" y="2179801"/>
                    <a:pt x="816118" y="2179801"/>
                  </a:cubicBezTo>
                  <a:cubicBezTo>
                    <a:pt x="823449" y="2183060"/>
                    <a:pt x="825078" y="2193648"/>
                    <a:pt x="834852" y="2194463"/>
                  </a:cubicBezTo>
                  <a:cubicBezTo>
                    <a:pt x="842996" y="2202607"/>
                    <a:pt x="853585" y="2202607"/>
                    <a:pt x="864173" y="2203422"/>
                  </a:cubicBezTo>
                  <a:cubicBezTo>
                    <a:pt x="867431" y="2203422"/>
                    <a:pt x="870689" y="2204236"/>
                    <a:pt x="872318" y="2205865"/>
                  </a:cubicBezTo>
                  <a:cubicBezTo>
                    <a:pt x="872318" y="2205865"/>
                    <a:pt x="872318" y="2205865"/>
                    <a:pt x="872318" y="2205865"/>
                  </a:cubicBezTo>
                  <a:cubicBezTo>
                    <a:pt x="869875" y="2205865"/>
                    <a:pt x="868245" y="2205865"/>
                    <a:pt x="867431" y="2209123"/>
                  </a:cubicBezTo>
                  <a:cubicBezTo>
                    <a:pt x="867431" y="2209123"/>
                    <a:pt x="867431" y="2209938"/>
                    <a:pt x="868245" y="2209938"/>
                  </a:cubicBezTo>
                  <a:cubicBezTo>
                    <a:pt x="869875" y="2210752"/>
                    <a:pt x="870689" y="2210752"/>
                    <a:pt x="874761" y="2207494"/>
                  </a:cubicBezTo>
                  <a:cubicBezTo>
                    <a:pt x="882092" y="2212381"/>
                    <a:pt x="891051" y="2214825"/>
                    <a:pt x="900011" y="2216453"/>
                  </a:cubicBezTo>
                  <a:cubicBezTo>
                    <a:pt x="902454" y="2217268"/>
                    <a:pt x="905712" y="2217268"/>
                    <a:pt x="908156" y="2216453"/>
                  </a:cubicBezTo>
                  <a:cubicBezTo>
                    <a:pt x="917930" y="2214825"/>
                    <a:pt x="926889" y="2211567"/>
                    <a:pt x="935848" y="2205051"/>
                  </a:cubicBezTo>
                  <a:cubicBezTo>
                    <a:pt x="950509" y="2194463"/>
                    <a:pt x="966799" y="2187946"/>
                    <a:pt x="982274" y="2180616"/>
                  </a:cubicBezTo>
                  <a:cubicBezTo>
                    <a:pt x="982274" y="2180616"/>
                    <a:pt x="982274" y="2180616"/>
                    <a:pt x="983089" y="2181430"/>
                  </a:cubicBezTo>
                  <a:cubicBezTo>
                    <a:pt x="986346" y="2184689"/>
                    <a:pt x="992862" y="2184689"/>
                    <a:pt x="998564" y="2180616"/>
                  </a:cubicBezTo>
                  <a:cubicBezTo>
                    <a:pt x="999379" y="2179801"/>
                    <a:pt x="1000193" y="2178987"/>
                    <a:pt x="1001007" y="2178173"/>
                  </a:cubicBezTo>
                  <a:cubicBezTo>
                    <a:pt x="1001822" y="2178173"/>
                    <a:pt x="1002636" y="2178173"/>
                    <a:pt x="1002636" y="2178173"/>
                  </a:cubicBezTo>
                  <a:cubicBezTo>
                    <a:pt x="1005894" y="2187946"/>
                    <a:pt x="1010781" y="2196091"/>
                    <a:pt x="1017297" y="2204236"/>
                  </a:cubicBezTo>
                  <a:cubicBezTo>
                    <a:pt x="1015668" y="2209938"/>
                    <a:pt x="1014039" y="2214825"/>
                    <a:pt x="1012410" y="2220526"/>
                  </a:cubicBezTo>
                  <a:cubicBezTo>
                    <a:pt x="1011596" y="2222155"/>
                    <a:pt x="1012410" y="2224598"/>
                    <a:pt x="1013224" y="2227042"/>
                  </a:cubicBezTo>
                  <a:cubicBezTo>
                    <a:pt x="1014039" y="2230300"/>
                    <a:pt x="1018112" y="2230300"/>
                    <a:pt x="1020555" y="2227042"/>
                  </a:cubicBezTo>
                  <a:cubicBezTo>
                    <a:pt x="1021369" y="2226227"/>
                    <a:pt x="1021369" y="2224598"/>
                    <a:pt x="1022184" y="2223784"/>
                  </a:cubicBezTo>
                  <a:cubicBezTo>
                    <a:pt x="1022184" y="2225413"/>
                    <a:pt x="1023813" y="2226227"/>
                    <a:pt x="1025442" y="2226227"/>
                  </a:cubicBezTo>
                  <a:cubicBezTo>
                    <a:pt x="1027071" y="2226227"/>
                    <a:pt x="1028700" y="2222970"/>
                    <a:pt x="1031143" y="2226227"/>
                  </a:cubicBezTo>
                  <a:cubicBezTo>
                    <a:pt x="1030329" y="2227856"/>
                    <a:pt x="1028700" y="2230300"/>
                    <a:pt x="1027886" y="2232743"/>
                  </a:cubicBezTo>
                  <a:cubicBezTo>
                    <a:pt x="1027886" y="2234372"/>
                    <a:pt x="1027886" y="2236001"/>
                    <a:pt x="1028700" y="2239260"/>
                  </a:cubicBezTo>
                  <a:cubicBezTo>
                    <a:pt x="1032772" y="2235187"/>
                    <a:pt x="1035216" y="2232743"/>
                    <a:pt x="1038474" y="2229486"/>
                  </a:cubicBezTo>
                  <a:cubicBezTo>
                    <a:pt x="1040917" y="2231929"/>
                    <a:pt x="1036031" y="2237630"/>
                    <a:pt x="1042546" y="2237630"/>
                  </a:cubicBezTo>
                  <a:cubicBezTo>
                    <a:pt x="1043361" y="2237630"/>
                    <a:pt x="1044175" y="2240074"/>
                    <a:pt x="1044175" y="2241703"/>
                  </a:cubicBezTo>
                  <a:cubicBezTo>
                    <a:pt x="1044175" y="2243332"/>
                    <a:pt x="1044175" y="2244961"/>
                    <a:pt x="1044175" y="2246590"/>
                  </a:cubicBezTo>
                  <a:cubicBezTo>
                    <a:pt x="1044175" y="2249033"/>
                    <a:pt x="1047433" y="2251477"/>
                    <a:pt x="1049877" y="2250662"/>
                  </a:cubicBezTo>
                  <a:cubicBezTo>
                    <a:pt x="1052320" y="2249848"/>
                    <a:pt x="1054764" y="2249033"/>
                    <a:pt x="1057207" y="2247404"/>
                  </a:cubicBezTo>
                  <a:cubicBezTo>
                    <a:pt x="1057207" y="2247404"/>
                    <a:pt x="1057207" y="2247404"/>
                    <a:pt x="1057207" y="2247404"/>
                  </a:cubicBezTo>
                  <a:cubicBezTo>
                    <a:pt x="1059650" y="2245775"/>
                    <a:pt x="1062094" y="2243332"/>
                    <a:pt x="1063723" y="2240888"/>
                  </a:cubicBezTo>
                  <a:cubicBezTo>
                    <a:pt x="1064538" y="2241703"/>
                    <a:pt x="1065352" y="2241703"/>
                    <a:pt x="1066166" y="2242517"/>
                  </a:cubicBezTo>
                  <a:cubicBezTo>
                    <a:pt x="1063723" y="2245775"/>
                    <a:pt x="1062094" y="2249033"/>
                    <a:pt x="1058836" y="2253920"/>
                  </a:cubicBezTo>
                  <a:cubicBezTo>
                    <a:pt x="1064538" y="2252291"/>
                    <a:pt x="1066981" y="2249848"/>
                    <a:pt x="1070239" y="2247404"/>
                  </a:cubicBezTo>
                  <a:cubicBezTo>
                    <a:pt x="1070239" y="2247404"/>
                    <a:pt x="1071054" y="2247404"/>
                    <a:pt x="1071054" y="2248219"/>
                  </a:cubicBezTo>
                  <a:cubicBezTo>
                    <a:pt x="1068610" y="2251477"/>
                    <a:pt x="1066981" y="2254735"/>
                    <a:pt x="1063723" y="2259622"/>
                  </a:cubicBezTo>
                  <a:cubicBezTo>
                    <a:pt x="1070239" y="2257993"/>
                    <a:pt x="1072683" y="2253920"/>
                    <a:pt x="1076755" y="2251477"/>
                  </a:cubicBezTo>
                  <a:cubicBezTo>
                    <a:pt x="1082456" y="2250662"/>
                    <a:pt x="1087343" y="2249033"/>
                    <a:pt x="1091416" y="2245775"/>
                  </a:cubicBezTo>
                  <a:cubicBezTo>
                    <a:pt x="1094673" y="2243332"/>
                    <a:pt x="1097117" y="2240888"/>
                    <a:pt x="1102004" y="2240888"/>
                  </a:cubicBezTo>
                  <a:cubicBezTo>
                    <a:pt x="1101190" y="2242517"/>
                    <a:pt x="1100375" y="2244146"/>
                    <a:pt x="1100375" y="2244961"/>
                  </a:cubicBezTo>
                  <a:cubicBezTo>
                    <a:pt x="1103633" y="2243332"/>
                    <a:pt x="1107706" y="2242517"/>
                    <a:pt x="1110963" y="2240888"/>
                  </a:cubicBezTo>
                  <a:cubicBezTo>
                    <a:pt x="1121552" y="2233558"/>
                    <a:pt x="1132955" y="2228671"/>
                    <a:pt x="1145172" y="2223784"/>
                  </a:cubicBezTo>
                  <a:cubicBezTo>
                    <a:pt x="1145987" y="2222970"/>
                    <a:pt x="1147615" y="2222970"/>
                    <a:pt x="1148430" y="2222970"/>
                  </a:cubicBezTo>
                  <a:cubicBezTo>
                    <a:pt x="1153317" y="2227856"/>
                    <a:pt x="1154132" y="2228671"/>
                    <a:pt x="1159018" y="2226227"/>
                  </a:cubicBezTo>
                  <a:cubicBezTo>
                    <a:pt x="1165534" y="2222970"/>
                    <a:pt x="1172050" y="2218082"/>
                    <a:pt x="1179381" y="2215639"/>
                  </a:cubicBezTo>
                  <a:cubicBezTo>
                    <a:pt x="1185896" y="2213196"/>
                    <a:pt x="1193227" y="2210752"/>
                    <a:pt x="1198928" y="2207494"/>
                  </a:cubicBezTo>
                  <a:cubicBezTo>
                    <a:pt x="1201372" y="2205865"/>
                    <a:pt x="1204629" y="2205051"/>
                    <a:pt x="1205444" y="2203422"/>
                  </a:cubicBezTo>
                  <a:cubicBezTo>
                    <a:pt x="1207073" y="2196906"/>
                    <a:pt x="1213589" y="2195277"/>
                    <a:pt x="1219291" y="2193648"/>
                  </a:cubicBezTo>
                  <a:cubicBezTo>
                    <a:pt x="1220105" y="2193648"/>
                    <a:pt x="1220105" y="2192834"/>
                    <a:pt x="1220919" y="2192834"/>
                  </a:cubicBezTo>
                  <a:cubicBezTo>
                    <a:pt x="1221734" y="2192834"/>
                    <a:pt x="1221734" y="2193648"/>
                    <a:pt x="1222548" y="2193648"/>
                  </a:cubicBezTo>
                  <a:cubicBezTo>
                    <a:pt x="1228250" y="2196091"/>
                    <a:pt x="1233137" y="2194463"/>
                    <a:pt x="1236395" y="2188761"/>
                  </a:cubicBezTo>
                  <a:cubicBezTo>
                    <a:pt x="1237209" y="2187132"/>
                    <a:pt x="1238024" y="2186318"/>
                    <a:pt x="1238024" y="2184689"/>
                  </a:cubicBezTo>
                  <a:cubicBezTo>
                    <a:pt x="1242096" y="2182245"/>
                    <a:pt x="1246983" y="2180616"/>
                    <a:pt x="1251055" y="2178173"/>
                  </a:cubicBezTo>
                  <a:cubicBezTo>
                    <a:pt x="1250241" y="2179801"/>
                    <a:pt x="1249426" y="2182245"/>
                    <a:pt x="1249426" y="2183060"/>
                  </a:cubicBezTo>
                  <a:cubicBezTo>
                    <a:pt x="1250241" y="2185503"/>
                    <a:pt x="1253499" y="2185503"/>
                    <a:pt x="1255128" y="2183874"/>
                  </a:cubicBezTo>
                  <a:cubicBezTo>
                    <a:pt x="1256757" y="2182245"/>
                    <a:pt x="1256757" y="2179801"/>
                    <a:pt x="1258386" y="2176544"/>
                  </a:cubicBezTo>
                  <a:cubicBezTo>
                    <a:pt x="1256757" y="2176544"/>
                    <a:pt x="1255128" y="2176544"/>
                    <a:pt x="1254314" y="2176544"/>
                  </a:cubicBezTo>
                  <a:cubicBezTo>
                    <a:pt x="1257571" y="2175729"/>
                    <a:pt x="1260015" y="2174100"/>
                    <a:pt x="1263273" y="2173286"/>
                  </a:cubicBezTo>
                  <a:cubicBezTo>
                    <a:pt x="1268974" y="2171657"/>
                    <a:pt x="1275490" y="2169213"/>
                    <a:pt x="1281192" y="2166770"/>
                  </a:cubicBezTo>
                  <a:cubicBezTo>
                    <a:pt x="1281192" y="2166770"/>
                    <a:pt x="1281192" y="2166770"/>
                    <a:pt x="1281192" y="2166770"/>
                  </a:cubicBezTo>
                  <a:cubicBezTo>
                    <a:pt x="1281192" y="2166770"/>
                    <a:pt x="1281192" y="2166770"/>
                    <a:pt x="1281192" y="2166770"/>
                  </a:cubicBezTo>
                  <a:lnTo>
                    <a:pt x="1281192" y="2166770"/>
                  </a:lnTo>
                  <a:cubicBezTo>
                    <a:pt x="1283635" y="2164326"/>
                    <a:pt x="1285264" y="2161883"/>
                    <a:pt x="1287708" y="2160254"/>
                  </a:cubicBezTo>
                  <a:cubicBezTo>
                    <a:pt x="1286078" y="2160254"/>
                    <a:pt x="1284450" y="2160254"/>
                    <a:pt x="1283635" y="2160254"/>
                  </a:cubicBezTo>
                  <a:cubicBezTo>
                    <a:pt x="1282821" y="2160254"/>
                    <a:pt x="1282006" y="2160254"/>
                    <a:pt x="1281192" y="2159439"/>
                  </a:cubicBezTo>
                  <a:cubicBezTo>
                    <a:pt x="1283635" y="2159439"/>
                    <a:pt x="1286078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8522" y="2160254"/>
                    <a:pt x="1288522" y="2160254"/>
                    <a:pt x="1288522" y="2160254"/>
                  </a:cubicBezTo>
                  <a:cubicBezTo>
                    <a:pt x="1289337" y="2161068"/>
                    <a:pt x="1290966" y="2161883"/>
                    <a:pt x="1290966" y="2161068"/>
                  </a:cubicBezTo>
                  <a:cubicBezTo>
                    <a:pt x="1291780" y="2160254"/>
                    <a:pt x="1292595" y="2160254"/>
                    <a:pt x="1292595" y="2159439"/>
                  </a:cubicBezTo>
                  <a:cubicBezTo>
                    <a:pt x="1294223" y="2159439"/>
                    <a:pt x="1296667" y="2158625"/>
                    <a:pt x="1298296" y="2158625"/>
                  </a:cubicBezTo>
                  <a:cubicBezTo>
                    <a:pt x="1303997" y="2156996"/>
                    <a:pt x="1308885" y="2157811"/>
                    <a:pt x="1312957" y="2160254"/>
                  </a:cubicBezTo>
                  <a:cubicBezTo>
                    <a:pt x="1321102" y="2165955"/>
                    <a:pt x="1330875" y="2162697"/>
                    <a:pt x="1339020" y="2159439"/>
                  </a:cubicBezTo>
                  <a:cubicBezTo>
                    <a:pt x="1347165" y="2156996"/>
                    <a:pt x="1354496" y="2150480"/>
                    <a:pt x="1362641" y="2148037"/>
                  </a:cubicBezTo>
                  <a:cubicBezTo>
                    <a:pt x="1373229" y="2144778"/>
                    <a:pt x="1378930" y="2137448"/>
                    <a:pt x="1384632" y="2129303"/>
                  </a:cubicBezTo>
                  <a:cubicBezTo>
                    <a:pt x="1387890" y="2124416"/>
                    <a:pt x="1391962" y="2119529"/>
                    <a:pt x="1396034" y="2115457"/>
                  </a:cubicBezTo>
                  <a:cubicBezTo>
                    <a:pt x="1396034" y="2115457"/>
                    <a:pt x="1396034" y="2115457"/>
                    <a:pt x="1396034" y="2115457"/>
                  </a:cubicBezTo>
                  <a:cubicBezTo>
                    <a:pt x="1396034" y="2115457"/>
                    <a:pt x="1396034" y="2115457"/>
                    <a:pt x="1396034" y="2115457"/>
                  </a:cubicBezTo>
                  <a:cubicBezTo>
                    <a:pt x="1404179" y="2107312"/>
                    <a:pt x="1413139" y="2101611"/>
                    <a:pt x="1424542" y="2096724"/>
                  </a:cubicBezTo>
                  <a:cubicBezTo>
                    <a:pt x="1430243" y="2094280"/>
                    <a:pt x="1435945" y="2091837"/>
                    <a:pt x="1441646" y="2088579"/>
                  </a:cubicBezTo>
                  <a:cubicBezTo>
                    <a:pt x="1442460" y="2089393"/>
                    <a:pt x="1442460" y="2091022"/>
                    <a:pt x="1443275" y="2091837"/>
                  </a:cubicBezTo>
                  <a:cubicBezTo>
                    <a:pt x="1448162" y="2091022"/>
                    <a:pt x="1587439" y="2051927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lnTo>
                    <a:pt x="1589883" y="2048669"/>
                  </a:ln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8669"/>
                    <a:pt x="1589883" y="2048669"/>
                    <a:pt x="1589883" y="2048669"/>
                  </a:cubicBezTo>
                  <a:cubicBezTo>
                    <a:pt x="1589883" y="2047040"/>
                    <a:pt x="1589883" y="2045411"/>
                    <a:pt x="1590698" y="2043782"/>
                  </a:cubicBezTo>
                  <a:cubicBezTo>
                    <a:pt x="1590698" y="2043782"/>
                    <a:pt x="1590698" y="2042967"/>
                    <a:pt x="1591512" y="2042967"/>
                  </a:cubicBezTo>
                  <a:cubicBezTo>
                    <a:pt x="1591512" y="2042967"/>
                    <a:pt x="1591512" y="2042967"/>
                    <a:pt x="1592327" y="2042967"/>
                  </a:cubicBezTo>
                  <a:cubicBezTo>
                    <a:pt x="1595584" y="2040524"/>
                    <a:pt x="1598028" y="2038080"/>
                    <a:pt x="1600472" y="2035637"/>
                  </a:cubicBezTo>
                  <a:cubicBezTo>
                    <a:pt x="1600472" y="2036451"/>
                    <a:pt x="1600472" y="2038080"/>
                    <a:pt x="1599657" y="2038895"/>
                  </a:cubicBezTo>
                  <a:cubicBezTo>
                    <a:pt x="1602915" y="2037266"/>
                    <a:pt x="1605358" y="2035637"/>
                    <a:pt x="1607802" y="2034822"/>
                  </a:cubicBezTo>
                  <a:cubicBezTo>
                    <a:pt x="1608617" y="2034822"/>
                    <a:pt x="1608617" y="2034008"/>
                    <a:pt x="1609431" y="2034008"/>
                  </a:cubicBezTo>
                  <a:cubicBezTo>
                    <a:pt x="1606987" y="2034822"/>
                    <a:pt x="1606173" y="2037266"/>
                    <a:pt x="1605358" y="2043782"/>
                  </a:cubicBezTo>
                  <a:cubicBezTo>
                    <a:pt x="1606987" y="2042967"/>
                    <a:pt x="1607802" y="2042153"/>
                    <a:pt x="1609431" y="2041338"/>
                  </a:cubicBezTo>
                  <a:cubicBezTo>
                    <a:pt x="1610246" y="2042967"/>
                    <a:pt x="1611060" y="2042967"/>
                    <a:pt x="1612689" y="2042967"/>
                  </a:cubicBezTo>
                  <a:cubicBezTo>
                    <a:pt x="1614318" y="2042967"/>
                    <a:pt x="1615947" y="2042153"/>
                    <a:pt x="1617576" y="2042153"/>
                  </a:cubicBezTo>
                  <a:cubicBezTo>
                    <a:pt x="1616761" y="2042967"/>
                    <a:pt x="1615132" y="2044596"/>
                    <a:pt x="1614318" y="2045411"/>
                  </a:cubicBezTo>
                  <a:cubicBezTo>
                    <a:pt x="1614318" y="2047854"/>
                    <a:pt x="1615947" y="2047854"/>
                    <a:pt x="1618390" y="2047854"/>
                  </a:cubicBezTo>
                  <a:cubicBezTo>
                    <a:pt x="1626535" y="2047040"/>
                    <a:pt x="1633051" y="2043782"/>
                    <a:pt x="1639567" y="2039710"/>
                  </a:cubicBezTo>
                  <a:cubicBezTo>
                    <a:pt x="1643639" y="2037266"/>
                    <a:pt x="1646898" y="2036451"/>
                    <a:pt x="1650970" y="2037266"/>
                  </a:cubicBezTo>
                  <a:cubicBezTo>
                    <a:pt x="1650970" y="2037266"/>
                    <a:pt x="1650970" y="2037266"/>
                    <a:pt x="1650155" y="2038080"/>
                  </a:cubicBezTo>
                  <a:cubicBezTo>
                    <a:pt x="1650155" y="2038080"/>
                    <a:pt x="1650970" y="2038080"/>
                    <a:pt x="1650970" y="2037266"/>
                  </a:cubicBezTo>
                  <a:cubicBezTo>
                    <a:pt x="1650970" y="2037266"/>
                    <a:pt x="1650970" y="2037266"/>
                    <a:pt x="1650970" y="2037266"/>
                  </a:cubicBezTo>
                  <a:cubicBezTo>
                    <a:pt x="1652599" y="2036451"/>
                    <a:pt x="1655042" y="2036451"/>
                    <a:pt x="1656671" y="2035637"/>
                  </a:cubicBezTo>
                  <a:cubicBezTo>
                    <a:pt x="1665631" y="2028307"/>
                    <a:pt x="1674590" y="2024234"/>
                    <a:pt x="1686807" y="2024234"/>
                  </a:cubicBezTo>
                  <a:cubicBezTo>
                    <a:pt x="1690065" y="2024234"/>
                    <a:pt x="1693323" y="2023420"/>
                    <a:pt x="1696581" y="2021791"/>
                  </a:cubicBezTo>
                  <a:cubicBezTo>
                    <a:pt x="1706355" y="2017718"/>
                    <a:pt x="1715314" y="2012831"/>
                    <a:pt x="1724274" y="2007944"/>
                  </a:cubicBezTo>
                  <a:cubicBezTo>
                    <a:pt x="1724274" y="2005501"/>
                    <a:pt x="1722645" y="2006315"/>
                    <a:pt x="1721016" y="2005501"/>
                  </a:cubicBezTo>
                  <a:cubicBezTo>
                    <a:pt x="1722645" y="2004686"/>
                    <a:pt x="1723459" y="2003058"/>
                    <a:pt x="1725088" y="2002243"/>
                  </a:cubicBezTo>
                  <a:cubicBezTo>
                    <a:pt x="1725088" y="2002243"/>
                    <a:pt x="1725088" y="2003058"/>
                    <a:pt x="1725088" y="2003058"/>
                  </a:cubicBezTo>
                  <a:cubicBezTo>
                    <a:pt x="1729161" y="2001428"/>
                    <a:pt x="1731604" y="1999799"/>
                    <a:pt x="1734048" y="1998985"/>
                  </a:cubicBezTo>
                  <a:cubicBezTo>
                    <a:pt x="1734048" y="1998985"/>
                    <a:pt x="1734048" y="1998985"/>
                    <a:pt x="1734048" y="1998985"/>
                  </a:cubicBezTo>
                  <a:cubicBezTo>
                    <a:pt x="1734048" y="2000614"/>
                    <a:pt x="1734048" y="2002243"/>
                    <a:pt x="1734048" y="2003058"/>
                  </a:cubicBezTo>
                  <a:cubicBezTo>
                    <a:pt x="1734048" y="2003058"/>
                    <a:pt x="1733233" y="2003058"/>
                    <a:pt x="1733233" y="2003872"/>
                  </a:cubicBezTo>
                  <a:cubicBezTo>
                    <a:pt x="1732419" y="2003872"/>
                    <a:pt x="1732419" y="2005501"/>
                    <a:pt x="1730790" y="2007944"/>
                  </a:cubicBezTo>
                  <a:cubicBezTo>
                    <a:pt x="1732419" y="2007130"/>
                    <a:pt x="1734048" y="2006315"/>
                    <a:pt x="1735677" y="2005501"/>
                  </a:cubicBezTo>
                  <a:cubicBezTo>
                    <a:pt x="1737306" y="2007944"/>
                    <a:pt x="1740564" y="2009573"/>
                    <a:pt x="1743007" y="2010388"/>
                  </a:cubicBezTo>
                  <a:cubicBezTo>
                    <a:pt x="1744636" y="2011202"/>
                    <a:pt x="1747894" y="2010388"/>
                    <a:pt x="1749523" y="2009573"/>
                  </a:cubicBezTo>
                  <a:cubicBezTo>
                    <a:pt x="1750337" y="2008759"/>
                    <a:pt x="1751152" y="2005501"/>
                    <a:pt x="1751152" y="2003872"/>
                  </a:cubicBezTo>
                  <a:cubicBezTo>
                    <a:pt x="1751152" y="1999799"/>
                    <a:pt x="1749523" y="1995727"/>
                    <a:pt x="1745451" y="1994098"/>
                  </a:cubicBezTo>
                  <a:cubicBezTo>
                    <a:pt x="1744636" y="1994098"/>
                    <a:pt x="1744636" y="1993284"/>
                    <a:pt x="1743822" y="1991654"/>
                  </a:cubicBezTo>
                  <a:cubicBezTo>
                    <a:pt x="1746265" y="1989211"/>
                    <a:pt x="1747894" y="1987582"/>
                    <a:pt x="1750337" y="1985139"/>
                  </a:cubicBezTo>
                  <a:cubicBezTo>
                    <a:pt x="1755225" y="1990840"/>
                    <a:pt x="1760111" y="1996541"/>
                    <a:pt x="1764184" y="2002243"/>
                  </a:cubicBezTo>
                  <a:cubicBezTo>
                    <a:pt x="1764999" y="2003058"/>
                    <a:pt x="1764184" y="2004686"/>
                    <a:pt x="1764999" y="2006315"/>
                  </a:cubicBezTo>
                  <a:cubicBezTo>
                    <a:pt x="1764999" y="2007130"/>
                    <a:pt x="1765813" y="2008759"/>
                    <a:pt x="1765813" y="2009573"/>
                  </a:cubicBezTo>
                  <a:cubicBezTo>
                    <a:pt x="1764999" y="2012017"/>
                    <a:pt x="1764184" y="2013646"/>
                    <a:pt x="1763369" y="2016089"/>
                  </a:cubicBezTo>
                  <a:cubicBezTo>
                    <a:pt x="1767442" y="2014460"/>
                    <a:pt x="1767442" y="2013646"/>
                    <a:pt x="1765813" y="2009573"/>
                  </a:cubicBezTo>
                  <a:cubicBezTo>
                    <a:pt x="1767442" y="2012831"/>
                    <a:pt x="1769885" y="2013646"/>
                    <a:pt x="1774772" y="2012831"/>
                  </a:cubicBezTo>
                  <a:cubicBezTo>
                    <a:pt x="1778030" y="2012017"/>
                    <a:pt x="1782103" y="2012831"/>
                    <a:pt x="1785361" y="2012831"/>
                  </a:cubicBezTo>
                  <a:cubicBezTo>
                    <a:pt x="1790248" y="2013646"/>
                    <a:pt x="1794320" y="2014460"/>
                    <a:pt x="1798392" y="2014460"/>
                  </a:cubicBezTo>
                  <a:cubicBezTo>
                    <a:pt x="1803279" y="2014460"/>
                    <a:pt x="1808166" y="2014460"/>
                    <a:pt x="1812239" y="2010388"/>
                  </a:cubicBezTo>
                  <a:cubicBezTo>
                    <a:pt x="1815496" y="2007130"/>
                    <a:pt x="1819569" y="2003872"/>
                    <a:pt x="1823641" y="2000614"/>
                  </a:cubicBezTo>
                  <a:cubicBezTo>
                    <a:pt x="1830158" y="1999799"/>
                    <a:pt x="1833415" y="1997356"/>
                    <a:pt x="1842375" y="1987582"/>
                  </a:cubicBezTo>
                  <a:cubicBezTo>
                    <a:pt x="1841560" y="1985139"/>
                    <a:pt x="1839931" y="1985953"/>
                    <a:pt x="1838303" y="1986768"/>
                  </a:cubicBezTo>
                  <a:cubicBezTo>
                    <a:pt x="1833415" y="1990025"/>
                    <a:pt x="1828529" y="1993284"/>
                    <a:pt x="1822827" y="1997356"/>
                  </a:cubicBezTo>
                  <a:cubicBezTo>
                    <a:pt x="1820384" y="1993284"/>
                    <a:pt x="1818755" y="1988396"/>
                    <a:pt x="1815496" y="1985139"/>
                  </a:cubicBezTo>
                  <a:cubicBezTo>
                    <a:pt x="1809795" y="1980251"/>
                    <a:pt x="1801651" y="1979437"/>
                    <a:pt x="1792691" y="1982695"/>
                  </a:cubicBezTo>
                  <a:cubicBezTo>
                    <a:pt x="1792691" y="1981881"/>
                    <a:pt x="1792691" y="1981066"/>
                    <a:pt x="1792691" y="1980251"/>
                  </a:cubicBezTo>
                  <a:cubicBezTo>
                    <a:pt x="1795134" y="1979437"/>
                    <a:pt x="1797578" y="1978623"/>
                    <a:pt x="1800836" y="1978623"/>
                  </a:cubicBezTo>
                  <a:cubicBezTo>
                    <a:pt x="1804908" y="1978623"/>
                    <a:pt x="1808166" y="1976994"/>
                    <a:pt x="1812239" y="1976179"/>
                  </a:cubicBezTo>
                  <a:cubicBezTo>
                    <a:pt x="1818755" y="1974550"/>
                    <a:pt x="1824456" y="1972107"/>
                    <a:pt x="1830158" y="1969663"/>
                  </a:cubicBezTo>
                  <a:cubicBezTo>
                    <a:pt x="1834230" y="1968034"/>
                    <a:pt x="1838303" y="1966406"/>
                    <a:pt x="1841560" y="1963962"/>
                  </a:cubicBezTo>
                  <a:cubicBezTo>
                    <a:pt x="1844818" y="1961518"/>
                    <a:pt x="1848076" y="1959889"/>
                    <a:pt x="1852149" y="1959889"/>
                  </a:cubicBezTo>
                  <a:cubicBezTo>
                    <a:pt x="1853778" y="1959889"/>
                    <a:pt x="1855407" y="1959889"/>
                    <a:pt x="1857850" y="1959075"/>
                  </a:cubicBezTo>
                  <a:cubicBezTo>
                    <a:pt x="1857850" y="1959075"/>
                    <a:pt x="1857850" y="1959075"/>
                    <a:pt x="1857850" y="1959075"/>
                  </a:cubicBezTo>
                  <a:cubicBezTo>
                    <a:pt x="1857850" y="1959075"/>
                    <a:pt x="1857850" y="1959075"/>
                    <a:pt x="1857850" y="1959075"/>
                  </a:cubicBezTo>
                  <a:cubicBezTo>
                    <a:pt x="1858665" y="1959075"/>
                    <a:pt x="1860293" y="1958261"/>
                    <a:pt x="1861108" y="1958261"/>
                  </a:cubicBezTo>
                  <a:cubicBezTo>
                    <a:pt x="1862737" y="1959889"/>
                    <a:pt x="1863552" y="1959889"/>
                    <a:pt x="1865181" y="1956632"/>
                  </a:cubicBezTo>
                  <a:cubicBezTo>
                    <a:pt x="1866810" y="1955817"/>
                    <a:pt x="1869253" y="1955002"/>
                    <a:pt x="1870882" y="1954188"/>
                  </a:cubicBezTo>
                  <a:cubicBezTo>
                    <a:pt x="1871696" y="1954188"/>
                    <a:pt x="1872511" y="1953373"/>
                    <a:pt x="1873326" y="1953373"/>
                  </a:cubicBezTo>
                  <a:cubicBezTo>
                    <a:pt x="1872511" y="1954188"/>
                    <a:pt x="1872511" y="1954188"/>
                    <a:pt x="1871696" y="1955002"/>
                  </a:cubicBezTo>
                  <a:cubicBezTo>
                    <a:pt x="1870067" y="1956632"/>
                    <a:pt x="1870067" y="1958261"/>
                    <a:pt x="1868438" y="1959889"/>
                  </a:cubicBezTo>
                  <a:cubicBezTo>
                    <a:pt x="1869253" y="1960704"/>
                    <a:pt x="1870067" y="1960704"/>
                    <a:pt x="1870067" y="1960704"/>
                  </a:cubicBezTo>
                  <a:cubicBezTo>
                    <a:pt x="1873326" y="1959075"/>
                    <a:pt x="1876583" y="1958261"/>
                    <a:pt x="1880656" y="1956632"/>
                  </a:cubicBezTo>
                  <a:cubicBezTo>
                    <a:pt x="1879027" y="1957446"/>
                    <a:pt x="1878212" y="1958261"/>
                    <a:pt x="1876583" y="1959889"/>
                  </a:cubicBezTo>
                  <a:cubicBezTo>
                    <a:pt x="1874955" y="1961518"/>
                    <a:pt x="1874955" y="1963147"/>
                    <a:pt x="1873326" y="1964776"/>
                  </a:cubicBezTo>
                  <a:cubicBezTo>
                    <a:pt x="1874140" y="1965591"/>
                    <a:pt x="1874955" y="1965591"/>
                    <a:pt x="1874955" y="1965591"/>
                  </a:cubicBezTo>
                  <a:cubicBezTo>
                    <a:pt x="1877398" y="1963962"/>
                    <a:pt x="1880656" y="1963147"/>
                    <a:pt x="1883100" y="1962333"/>
                  </a:cubicBezTo>
                  <a:cubicBezTo>
                    <a:pt x="1882285" y="1963147"/>
                    <a:pt x="1880656" y="1963962"/>
                    <a:pt x="1879841" y="1964776"/>
                  </a:cubicBezTo>
                  <a:cubicBezTo>
                    <a:pt x="1878212" y="1965591"/>
                    <a:pt x="1878212" y="1968034"/>
                    <a:pt x="1877398" y="1969663"/>
                  </a:cubicBezTo>
                  <a:cubicBezTo>
                    <a:pt x="1880656" y="1968034"/>
                    <a:pt x="1883914" y="1965591"/>
                    <a:pt x="1888801" y="1964776"/>
                  </a:cubicBezTo>
                  <a:cubicBezTo>
                    <a:pt x="1888801" y="1965591"/>
                    <a:pt x="1888801" y="1966406"/>
                    <a:pt x="1887986" y="1967220"/>
                  </a:cubicBezTo>
                  <a:cubicBezTo>
                    <a:pt x="1887172" y="1968034"/>
                    <a:pt x="1885543" y="1968849"/>
                    <a:pt x="1884728" y="1969663"/>
                  </a:cubicBezTo>
                  <a:cubicBezTo>
                    <a:pt x="1884728" y="1969663"/>
                    <a:pt x="1884728" y="1969663"/>
                    <a:pt x="1884728" y="1969663"/>
                  </a:cubicBezTo>
                  <a:cubicBezTo>
                    <a:pt x="1883100" y="1970478"/>
                    <a:pt x="1880656" y="1971292"/>
                    <a:pt x="1879841" y="1973736"/>
                  </a:cubicBezTo>
                  <a:cubicBezTo>
                    <a:pt x="1880656" y="1974550"/>
                    <a:pt x="1881470" y="1974550"/>
                    <a:pt x="1882285" y="1975365"/>
                  </a:cubicBezTo>
                  <a:cubicBezTo>
                    <a:pt x="1879841" y="1977808"/>
                    <a:pt x="1877398" y="1980251"/>
                    <a:pt x="1874955" y="1981881"/>
                  </a:cubicBezTo>
                  <a:cubicBezTo>
                    <a:pt x="1875769" y="1985139"/>
                    <a:pt x="1877398" y="1985139"/>
                    <a:pt x="1879841" y="1983510"/>
                  </a:cubicBezTo>
                  <a:cubicBezTo>
                    <a:pt x="1882285" y="1981066"/>
                    <a:pt x="1883100" y="1978623"/>
                    <a:pt x="1883100" y="1975365"/>
                  </a:cubicBezTo>
                  <a:cubicBezTo>
                    <a:pt x="1883914" y="1976179"/>
                    <a:pt x="1884728" y="1976179"/>
                    <a:pt x="1886357" y="1976994"/>
                  </a:cubicBezTo>
                  <a:cubicBezTo>
                    <a:pt x="1885543" y="1978623"/>
                    <a:pt x="1883914" y="1981066"/>
                    <a:pt x="1883100" y="1982695"/>
                  </a:cubicBezTo>
                  <a:cubicBezTo>
                    <a:pt x="1885543" y="1982695"/>
                    <a:pt x="1887172" y="1981066"/>
                    <a:pt x="1888801" y="1979437"/>
                  </a:cubicBezTo>
                  <a:cubicBezTo>
                    <a:pt x="1889615" y="1980251"/>
                    <a:pt x="1890430" y="1981066"/>
                    <a:pt x="1892059" y="1981881"/>
                  </a:cubicBezTo>
                  <a:cubicBezTo>
                    <a:pt x="1891244" y="1983510"/>
                    <a:pt x="1889615" y="1985953"/>
                    <a:pt x="1888801" y="1987582"/>
                  </a:cubicBezTo>
                  <a:cubicBezTo>
                    <a:pt x="1892059" y="1987582"/>
                    <a:pt x="1893688" y="1985139"/>
                    <a:pt x="1895317" y="1982695"/>
                  </a:cubicBezTo>
                  <a:cubicBezTo>
                    <a:pt x="1900204" y="1975365"/>
                    <a:pt x="1906719" y="1972107"/>
                    <a:pt x="1914050" y="1971292"/>
                  </a:cubicBezTo>
                  <a:cubicBezTo>
                    <a:pt x="1913235" y="1975365"/>
                    <a:pt x="1909978" y="1978623"/>
                    <a:pt x="1905090" y="1982695"/>
                  </a:cubicBezTo>
                  <a:cubicBezTo>
                    <a:pt x="1908348" y="1982695"/>
                    <a:pt x="1909978" y="1983510"/>
                    <a:pt x="1910792" y="1982695"/>
                  </a:cubicBezTo>
                  <a:cubicBezTo>
                    <a:pt x="1912421" y="1981881"/>
                    <a:pt x="1914050" y="1981066"/>
                    <a:pt x="1916493" y="1980251"/>
                  </a:cubicBezTo>
                  <a:cubicBezTo>
                    <a:pt x="1916493" y="1981066"/>
                    <a:pt x="1916493" y="1981066"/>
                    <a:pt x="1915679" y="1981881"/>
                  </a:cubicBezTo>
                  <a:cubicBezTo>
                    <a:pt x="1915679" y="1981066"/>
                    <a:pt x="1916493" y="1981066"/>
                    <a:pt x="1916493" y="1980251"/>
                  </a:cubicBezTo>
                  <a:lnTo>
                    <a:pt x="1916493" y="1980251"/>
                  </a:lnTo>
                  <a:cubicBezTo>
                    <a:pt x="1916493" y="1977808"/>
                    <a:pt x="1916493" y="1975365"/>
                    <a:pt x="1917308" y="1973736"/>
                  </a:cubicBezTo>
                  <a:cubicBezTo>
                    <a:pt x="1918122" y="1972921"/>
                    <a:pt x="1918937" y="1972107"/>
                    <a:pt x="1918937" y="1971292"/>
                  </a:cubicBezTo>
                  <a:cubicBezTo>
                    <a:pt x="1918937" y="1971292"/>
                    <a:pt x="1918937" y="1971292"/>
                    <a:pt x="1918937" y="1971292"/>
                  </a:cubicBezTo>
                  <a:cubicBezTo>
                    <a:pt x="1919752" y="1977808"/>
                    <a:pt x="1916493" y="1982695"/>
                    <a:pt x="1909978" y="1987582"/>
                  </a:cubicBezTo>
                  <a:cubicBezTo>
                    <a:pt x="1913235" y="1987582"/>
                    <a:pt x="1914864" y="1988396"/>
                    <a:pt x="1915679" y="1987582"/>
                  </a:cubicBezTo>
                  <a:cubicBezTo>
                    <a:pt x="1917308" y="1986768"/>
                    <a:pt x="1918937" y="1985953"/>
                    <a:pt x="1921380" y="1985139"/>
                  </a:cubicBezTo>
                  <a:cubicBezTo>
                    <a:pt x="1921380" y="1985953"/>
                    <a:pt x="1921380" y="1985953"/>
                    <a:pt x="1920566" y="1986768"/>
                  </a:cubicBezTo>
                  <a:cubicBezTo>
                    <a:pt x="1920566" y="1985953"/>
                    <a:pt x="1921380" y="1985953"/>
                    <a:pt x="1921380" y="1985139"/>
                  </a:cubicBezTo>
                  <a:lnTo>
                    <a:pt x="1921380" y="1985139"/>
                  </a:lnTo>
                  <a:cubicBezTo>
                    <a:pt x="1921380" y="1982695"/>
                    <a:pt x="1921380" y="1980251"/>
                    <a:pt x="1922195" y="1978623"/>
                  </a:cubicBezTo>
                  <a:cubicBezTo>
                    <a:pt x="1924638" y="1975365"/>
                    <a:pt x="1925453" y="1972107"/>
                    <a:pt x="1927082" y="1968034"/>
                  </a:cubicBezTo>
                  <a:cubicBezTo>
                    <a:pt x="1927896" y="1969663"/>
                    <a:pt x="1928711" y="1971292"/>
                    <a:pt x="1930340" y="1973736"/>
                  </a:cubicBezTo>
                  <a:cubicBezTo>
                    <a:pt x="1931154" y="1972921"/>
                    <a:pt x="1931969" y="1972107"/>
                    <a:pt x="1932783" y="1971292"/>
                  </a:cubicBezTo>
                  <a:cubicBezTo>
                    <a:pt x="1932783" y="1973736"/>
                    <a:pt x="1934412" y="1976179"/>
                    <a:pt x="1936041" y="1978623"/>
                  </a:cubicBezTo>
                  <a:cubicBezTo>
                    <a:pt x="1940928" y="1972921"/>
                    <a:pt x="1944186" y="1965591"/>
                    <a:pt x="1951516" y="1963147"/>
                  </a:cubicBezTo>
                  <a:cubicBezTo>
                    <a:pt x="1953960" y="1956632"/>
                    <a:pt x="1956404" y="1951745"/>
                    <a:pt x="1958032" y="1946043"/>
                  </a:cubicBezTo>
                  <a:cubicBezTo>
                    <a:pt x="1955589" y="1945229"/>
                    <a:pt x="1954774" y="1946858"/>
                    <a:pt x="1953960" y="1947672"/>
                  </a:cubicBezTo>
                  <a:cubicBezTo>
                    <a:pt x="1953145" y="1948487"/>
                    <a:pt x="1952331" y="1949301"/>
                    <a:pt x="1951516" y="1950930"/>
                  </a:cubicBezTo>
                  <a:cubicBezTo>
                    <a:pt x="1950702" y="1950115"/>
                    <a:pt x="1949887" y="1950115"/>
                    <a:pt x="1949887" y="1949301"/>
                  </a:cubicBezTo>
                  <a:cubicBezTo>
                    <a:pt x="1950702" y="1946858"/>
                    <a:pt x="1951516" y="1944414"/>
                    <a:pt x="1952331" y="1941971"/>
                  </a:cubicBezTo>
                  <a:cubicBezTo>
                    <a:pt x="1957218" y="1940342"/>
                    <a:pt x="1962105" y="1937898"/>
                    <a:pt x="1966177" y="1934640"/>
                  </a:cubicBezTo>
                  <a:cubicBezTo>
                    <a:pt x="1966992" y="1934640"/>
                    <a:pt x="1966992" y="1933826"/>
                    <a:pt x="1967806" y="1933826"/>
                  </a:cubicBezTo>
                  <a:cubicBezTo>
                    <a:pt x="1966992" y="1934640"/>
                    <a:pt x="1965363" y="1935455"/>
                    <a:pt x="1963734" y="1936269"/>
                  </a:cubicBezTo>
                  <a:cubicBezTo>
                    <a:pt x="1962105" y="1941156"/>
                    <a:pt x="1959661" y="1946858"/>
                    <a:pt x="1957218" y="1954188"/>
                  </a:cubicBezTo>
                  <a:cubicBezTo>
                    <a:pt x="1959661" y="1953373"/>
                    <a:pt x="1962919" y="1953373"/>
                    <a:pt x="1965363" y="1952559"/>
                  </a:cubicBezTo>
                  <a:cubicBezTo>
                    <a:pt x="1964548" y="1955002"/>
                    <a:pt x="1963734" y="1956632"/>
                    <a:pt x="1962919" y="1959075"/>
                  </a:cubicBezTo>
                  <a:cubicBezTo>
                    <a:pt x="1966992" y="1958261"/>
                    <a:pt x="1971064" y="1957446"/>
                    <a:pt x="1975137" y="1956632"/>
                  </a:cubicBezTo>
                  <a:cubicBezTo>
                    <a:pt x="1974322" y="1955817"/>
                    <a:pt x="1973508" y="1955002"/>
                    <a:pt x="1974322" y="1954188"/>
                  </a:cubicBezTo>
                  <a:cubicBezTo>
                    <a:pt x="1975137" y="1952559"/>
                    <a:pt x="1976766" y="1952559"/>
                    <a:pt x="1978394" y="1952559"/>
                  </a:cubicBezTo>
                  <a:cubicBezTo>
                    <a:pt x="1978394" y="1952559"/>
                    <a:pt x="1978394" y="1952559"/>
                    <a:pt x="1978394" y="1952559"/>
                  </a:cubicBezTo>
                  <a:lnTo>
                    <a:pt x="1978394" y="1952559"/>
                  </a:lnTo>
                  <a:cubicBezTo>
                    <a:pt x="1977580" y="1954188"/>
                    <a:pt x="1976766" y="1955002"/>
                    <a:pt x="1975951" y="1956632"/>
                  </a:cubicBezTo>
                  <a:cubicBezTo>
                    <a:pt x="1979209" y="1957446"/>
                    <a:pt x="1981653" y="1957446"/>
                    <a:pt x="1984096" y="1954188"/>
                  </a:cubicBezTo>
                  <a:cubicBezTo>
                    <a:pt x="1985725" y="1951745"/>
                    <a:pt x="1984911" y="1950930"/>
                    <a:pt x="1983282" y="1949301"/>
                  </a:cubicBezTo>
                  <a:cubicBezTo>
                    <a:pt x="1983282" y="1949301"/>
                    <a:pt x="1983282" y="1949301"/>
                    <a:pt x="1983282" y="1949301"/>
                  </a:cubicBezTo>
                  <a:lnTo>
                    <a:pt x="1983282" y="1949301"/>
                  </a:lnTo>
                  <a:cubicBezTo>
                    <a:pt x="1993056" y="1945229"/>
                    <a:pt x="2002015" y="1941156"/>
                    <a:pt x="2011789" y="1937084"/>
                  </a:cubicBezTo>
                  <a:cubicBezTo>
                    <a:pt x="2015046" y="1935455"/>
                    <a:pt x="2018305" y="1934640"/>
                    <a:pt x="2020748" y="1932197"/>
                  </a:cubicBezTo>
                  <a:cubicBezTo>
                    <a:pt x="2024820" y="1928124"/>
                    <a:pt x="2029708" y="1925681"/>
                    <a:pt x="2034594" y="1924052"/>
                  </a:cubicBezTo>
                  <a:cubicBezTo>
                    <a:pt x="2041925" y="1921608"/>
                    <a:pt x="2048441" y="1919165"/>
                    <a:pt x="2054957" y="1916721"/>
                  </a:cubicBezTo>
                  <a:cubicBezTo>
                    <a:pt x="2059029" y="1915093"/>
                    <a:pt x="2061472" y="1913463"/>
                    <a:pt x="2063916" y="1909391"/>
                  </a:cubicBezTo>
                  <a:cubicBezTo>
                    <a:pt x="2067988" y="1902875"/>
                    <a:pt x="2073690" y="1897174"/>
                    <a:pt x="2086722" y="1902061"/>
                  </a:cubicBezTo>
                  <a:cubicBezTo>
                    <a:pt x="2088350" y="1900432"/>
                    <a:pt x="2089980" y="1898803"/>
                    <a:pt x="2092423" y="1897174"/>
                  </a:cubicBezTo>
                  <a:cubicBezTo>
                    <a:pt x="2095681" y="1897174"/>
                    <a:pt x="2098939" y="1897988"/>
                    <a:pt x="2102197" y="1897174"/>
                  </a:cubicBezTo>
                  <a:cubicBezTo>
                    <a:pt x="2104640" y="1896359"/>
                    <a:pt x="2107084" y="1893101"/>
                    <a:pt x="2110342" y="1891472"/>
                  </a:cubicBezTo>
                  <a:cubicBezTo>
                    <a:pt x="2111157" y="1893101"/>
                    <a:pt x="2112785" y="1894730"/>
                    <a:pt x="2113600" y="1895545"/>
                  </a:cubicBezTo>
                  <a:cubicBezTo>
                    <a:pt x="2115229" y="1895545"/>
                    <a:pt x="2117672" y="1894730"/>
                    <a:pt x="2119301" y="1893916"/>
                  </a:cubicBezTo>
                  <a:cubicBezTo>
                    <a:pt x="2121745" y="1891472"/>
                    <a:pt x="2124188" y="1889029"/>
                    <a:pt x="2125817" y="1886585"/>
                  </a:cubicBezTo>
                  <a:cubicBezTo>
                    <a:pt x="2134776" y="1888214"/>
                    <a:pt x="2141292" y="1884142"/>
                    <a:pt x="2148623" y="1880069"/>
                  </a:cubicBezTo>
                  <a:cubicBezTo>
                    <a:pt x="2151066" y="1879255"/>
                    <a:pt x="2152695" y="1878441"/>
                    <a:pt x="2155139" y="1877626"/>
                  </a:cubicBezTo>
                  <a:cubicBezTo>
                    <a:pt x="2155139" y="1877626"/>
                    <a:pt x="2155139" y="1877626"/>
                    <a:pt x="2155953" y="1878441"/>
                  </a:cubicBezTo>
                  <a:cubicBezTo>
                    <a:pt x="2155953" y="1878441"/>
                    <a:pt x="2155953" y="1877626"/>
                    <a:pt x="2155953" y="1877626"/>
                  </a:cubicBezTo>
                  <a:lnTo>
                    <a:pt x="2155953" y="1877626"/>
                  </a:lnTo>
                  <a:cubicBezTo>
                    <a:pt x="2160026" y="1875997"/>
                    <a:pt x="2164098" y="1873554"/>
                    <a:pt x="2166542" y="1878441"/>
                  </a:cubicBezTo>
                  <a:cubicBezTo>
                    <a:pt x="2172243" y="1879255"/>
                    <a:pt x="2178759" y="1879255"/>
                    <a:pt x="2183646" y="1875183"/>
                  </a:cubicBezTo>
                  <a:cubicBezTo>
                    <a:pt x="2182017" y="1873554"/>
                    <a:pt x="2180388" y="1871924"/>
                    <a:pt x="2178759" y="1870296"/>
                  </a:cubicBezTo>
                  <a:cubicBezTo>
                    <a:pt x="2178759" y="1870296"/>
                    <a:pt x="2178759" y="1870296"/>
                    <a:pt x="2178759" y="1870296"/>
                  </a:cubicBezTo>
                  <a:cubicBezTo>
                    <a:pt x="2178759" y="1870296"/>
                    <a:pt x="2178759" y="1870296"/>
                    <a:pt x="2178759" y="1870296"/>
                  </a:cubicBezTo>
                  <a:cubicBezTo>
                    <a:pt x="2177944" y="1869481"/>
                    <a:pt x="2177130" y="1868667"/>
                    <a:pt x="2176316" y="1867852"/>
                  </a:cubicBezTo>
                  <a:cubicBezTo>
                    <a:pt x="2180388" y="1867038"/>
                    <a:pt x="2184461" y="1867038"/>
                    <a:pt x="2187718" y="1866223"/>
                  </a:cubicBezTo>
                  <a:cubicBezTo>
                    <a:pt x="2187718" y="1866223"/>
                    <a:pt x="2187718" y="1866223"/>
                    <a:pt x="2186904" y="1867038"/>
                  </a:cubicBezTo>
                  <a:cubicBezTo>
                    <a:pt x="2187718" y="1871110"/>
                    <a:pt x="2190162" y="1871110"/>
                    <a:pt x="2192606" y="1869481"/>
                  </a:cubicBezTo>
                  <a:cubicBezTo>
                    <a:pt x="2194234" y="1867852"/>
                    <a:pt x="2196678" y="1867852"/>
                    <a:pt x="2198307" y="1867038"/>
                  </a:cubicBezTo>
                  <a:cubicBezTo>
                    <a:pt x="2195863" y="1868667"/>
                    <a:pt x="2194234" y="1870296"/>
                    <a:pt x="2192606" y="1871924"/>
                  </a:cubicBezTo>
                  <a:cubicBezTo>
                    <a:pt x="2193420" y="1875997"/>
                    <a:pt x="2195863" y="1875997"/>
                    <a:pt x="2198307" y="1874368"/>
                  </a:cubicBezTo>
                  <a:cubicBezTo>
                    <a:pt x="2203194" y="1871110"/>
                    <a:pt x="2208081" y="1871110"/>
                    <a:pt x="2213782" y="1871110"/>
                  </a:cubicBezTo>
                  <a:cubicBezTo>
                    <a:pt x="2221113" y="1871110"/>
                    <a:pt x="2227628" y="1870296"/>
                    <a:pt x="2234959" y="1870296"/>
                  </a:cubicBezTo>
                  <a:cubicBezTo>
                    <a:pt x="2242289" y="1869481"/>
                    <a:pt x="2246362" y="1866223"/>
                    <a:pt x="2247991" y="1859707"/>
                  </a:cubicBezTo>
                  <a:cubicBezTo>
                    <a:pt x="2249620" y="1859707"/>
                    <a:pt x="2250434" y="1858893"/>
                    <a:pt x="2252063" y="1858893"/>
                  </a:cubicBezTo>
                  <a:cubicBezTo>
                    <a:pt x="2252877" y="1859707"/>
                    <a:pt x="2253692" y="1861336"/>
                    <a:pt x="2254507" y="1862965"/>
                  </a:cubicBezTo>
                  <a:cubicBezTo>
                    <a:pt x="2255321" y="1862965"/>
                    <a:pt x="2256950" y="1862151"/>
                    <a:pt x="2257765" y="1862151"/>
                  </a:cubicBezTo>
                  <a:cubicBezTo>
                    <a:pt x="2257765" y="1862151"/>
                    <a:pt x="2256950" y="1862965"/>
                    <a:pt x="2256950" y="1862965"/>
                  </a:cubicBezTo>
                  <a:cubicBezTo>
                    <a:pt x="2257765" y="1864594"/>
                    <a:pt x="2259393" y="1866223"/>
                    <a:pt x="2260208" y="1867852"/>
                  </a:cubicBezTo>
                  <a:cubicBezTo>
                    <a:pt x="2271611" y="1865409"/>
                    <a:pt x="2283014" y="1864594"/>
                    <a:pt x="2293602" y="1864594"/>
                  </a:cubicBezTo>
                  <a:cubicBezTo>
                    <a:pt x="2299303" y="1864594"/>
                    <a:pt x="2305005" y="1864594"/>
                    <a:pt x="2311521" y="1862965"/>
                  </a:cubicBezTo>
                  <a:cubicBezTo>
                    <a:pt x="2316408" y="1862151"/>
                    <a:pt x="2322109" y="1861336"/>
                    <a:pt x="2326181" y="1862965"/>
                  </a:cubicBezTo>
                  <a:cubicBezTo>
                    <a:pt x="2333512" y="1864594"/>
                    <a:pt x="2338399" y="1862965"/>
                    <a:pt x="2343286" y="1857264"/>
                  </a:cubicBezTo>
                  <a:cubicBezTo>
                    <a:pt x="2347358" y="1859707"/>
                    <a:pt x="2352245" y="1860522"/>
                    <a:pt x="2357132" y="1858078"/>
                  </a:cubicBezTo>
                  <a:cubicBezTo>
                    <a:pt x="2362833" y="1855635"/>
                    <a:pt x="2369349" y="1854820"/>
                    <a:pt x="2375866" y="1853191"/>
                  </a:cubicBezTo>
                  <a:cubicBezTo>
                    <a:pt x="2379123" y="1852377"/>
                    <a:pt x="2381567" y="1851562"/>
                    <a:pt x="2384825" y="1850748"/>
                  </a:cubicBezTo>
                  <a:cubicBezTo>
                    <a:pt x="2384825" y="1849119"/>
                    <a:pt x="2384011" y="1847490"/>
                    <a:pt x="2384011" y="1845861"/>
                  </a:cubicBezTo>
                  <a:cubicBezTo>
                    <a:pt x="2388083" y="1844232"/>
                    <a:pt x="2391341" y="1842603"/>
                    <a:pt x="2395413" y="1840974"/>
                  </a:cubicBezTo>
                  <a:cubicBezTo>
                    <a:pt x="2394599" y="1839345"/>
                    <a:pt x="2394599" y="1838531"/>
                    <a:pt x="2396228" y="1837716"/>
                  </a:cubicBezTo>
                  <a:cubicBezTo>
                    <a:pt x="2397856" y="1836902"/>
                    <a:pt x="2399486" y="1836902"/>
                    <a:pt x="2401115" y="1836902"/>
                  </a:cubicBezTo>
                  <a:cubicBezTo>
                    <a:pt x="2399486" y="1838531"/>
                    <a:pt x="2397856" y="1839345"/>
                    <a:pt x="2395413" y="1840974"/>
                  </a:cubicBezTo>
                  <a:cubicBezTo>
                    <a:pt x="2397042" y="1840974"/>
                    <a:pt x="2398671" y="1841789"/>
                    <a:pt x="2399486" y="1841789"/>
                  </a:cubicBezTo>
                  <a:cubicBezTo>
                    <a:pt x="2401115" y="1841789"/>
                    <a:pt x="2401929" y="1840159"/>
                    <a:pt x="2403558" y="1840159"/>
                  </a:cubicBezTo>
                  <a:cubicBezTo>
                    <a:pt x="2402744" y="1839345"/>
                    <a:pt x="2401929" y="1838531"/>
                    <a:pt x="2401115" y="1836902"/>
                  </a:cubicBezTo>
                  <a:cubicBezTo>
                    <a:pt x="2408445" y="1834458"/>
                    <a:pt x="2416590" y="1834458"/>
                    <a:pt x="2423920" y="1835272"/>
                  </a:cubicBezTo>
                  <a:cubicBezTo>
                    <a:pt x="2427993" y="1834458"/>
                    <a:pt x="2431251" y="1832829"/>
                    <a:pt x="2435323" y="1832015"/>
                  </a:cubicBezTo>
                  <a:cubicBezTo>
                    <a:pt x="2439396" y="1831200"/>
                    <a:pt x="2443468" y="1830386"/>
                    <a:pt x="2445912" y="1827128"/>
                  </a:cubicBezTo>
                  <a:cubicBezTo>
                    <a:pt x="2448355" y="1823870"/>
                    <a:pt x="2452427" y="1824684"/>
                    <a:pt x="2456500" y="1824684"/>
                  </a:cubicBezTo>
                  <a:cubicBezTo>
                    <a:pt x="2458943" y="1823870"/>
                    <a:pt x="2461387" y="1823055"/>
                    <a:pt x="2463830" y="1823055"/>
                  </a:cubicBezTo>
                  <a:cubicBezTo>
                    <a:pt x="2473604" y="1821426"/>
                    <a:pt x="2482564" y="1818983"/>
                    <a:pt x="2490708" y="1812467"/>
                  </a:cubicBezTo>
                  <a:cubicBezTo>
                    <a:pt x="2490708" y="1810023"/>
                    <a:pt x="2488265" y="1810023"/>
                    <a:pt x="2485822" y="1810023"/>
                  </a:cubicBezTo>
                  <a:cubicBezTo>
                    <a:pt x="2484193" y="1810023"/>
                    <a:pt x="2482564" y="1810023"/>
                    <a:pt x="2480934" y="1810023"/>
                  </a:cubicBezTo>
                  <a:cubicBezTo>
                    <a:pt x="2482564" y="1809209"/>
                    <a:pt x="2483378" y="1808394"/>
                    <a:pt x="2485007" y="1807580"/>
                  </a:cubicBezTo>
                  <a:cubicBezTo>
                    <a:pt x="2485007" y="1805136"/>
                    <a:pt x="2482564" y="1805136"/>
                    <a:pt x="2480120" y="1805136"/>
                  </a:cubicBezTo>
                  <a:cubicBezTo>
                    <a:pt x="2471160" y="1805951"/>
                    <a:pt x="2463016" y="1805136"/>
                    <a:pt x="2454056" y="1801879"/>
                  </a:cubicBezTo>
                  <a:cubicBezTo>
                    <a:pt x="2445912" y="1799435"/>
                    <a:pt x="2436952" y="1799435"/>
                    <a:pt x="2427993" y="1798620"/>
                  </a:cubicBezTo>
                  <a:cubicBezTo>
                    <a:pt x="2427178" y="1798620"/>
                    <a:pt x="2427178" y="1798620"/>
                    <a:pt x="2426364" y="1798620"/>
                  </a:cubicBezTo>
                  <a:cubicBezTo>
                    <a:pt x="2427178" y="1797806"/>
                    <a:pt x="2427993" y="1796992"/>
                    <a:pt x="2428807" y="1796992"/>
                  </a:cubicBezTo>
                  <a:cubicBezTo>
                    <a:pt x="2432880" y="1796177"/>
                    <a:pt x="2436952" y="1794548"/>
                    <a:pt x="2441025" y="1795363"/>
                  </a:cubicBezTo>
                  <a:cubicBezTo>
                    <a:pt x="2447541" y="1796177"/>
                    <a:pt x="2452427" y="1792919"/>
                    <a:pt x="2458129" y="1792105"/>
                  </a:cubicBezTo>
                  <a:cubicBezTo>
                    <a:pt x="2459758" y="1792105"/>
                    <a:pt x="2460572" y="1789661"/>
                    <a:pt x="2462201" y="1788847"/>
                  </a:cubicBezTo>
                  <a:cubicBezTo>
                    <a:pt x="2458943" y="1787218"/>
                    <a:pt x="2456500" y="1786403"/>
                    <a:pt x="2454871" y="1786403"/>
                  </a:cubicBezTo>
                  <a:cubicBezTo>
                    <a:pt x="2455685" y="1785589"/>
                    <a:pt x="2456500" y="1784774"/>
                    <a:pt x="2457315" y="1783960"/>
                  </a:cubicBezTo>
                  <a:cubicBezTo>
                    <a:pt x="2448355" y="1780702"/>
                    <a:pt x="2448355" y="1780702"/>
                    <a:pt x="2441839" y="1781516"/>
                  </a:cubicBezTo>
                  <a:cubicBezTo>
                    <a:pt x="2440210" y="1781516"/>
                    <a:pt x="2439396" y="1782331"/>
                    <a:pt x="2437767" y="1782331"/>
                  </a:cubicBezTo>
                  <a:cubicBezTo>
                    <a:pt x="2436952" y="1782331"/>
                    <a:pt x="2436138" y="1782331"/>
                    <a:pt x="2436138" y="1782331"/>
                  </a:cubicBezTo>
                  <a:cubicBezTo>
                    <a:pt x="2436138" y="1779887"/>
                    <a:pt x="2437767" y="1778258"/>
                    <a:pt x="2440210" y="1777444"/>
                  </a:cubicBezTo>
                  <a:cubicBezTo>
                    <a:pt x="2446726" y="1773371"/>
                    <a:pt x="2452427" y="1770113"/>
                    <a:pt x="2460572" y="1770113"/>
                  </a:cubicBezTo>
                  <a:cubicBezTo>
                    <a:pt x="2467903" y="1770113"/>
                    <a:pt x="2476048" y="1768484"/>
                    <a:pt x="2483378" y="1767670"/>
                  </a:cubicBezTo>
                  <a:cubicBezTo>
                    <a:pt x="2485822" y="1767670"/>
                    <a:pt x="2488265" y="1767670"/>
                    <a:pt x="2489894" y="1766041"/>
                  </a:cubicBezTo>
                  <a:cubicBezTo>
                    <a:pt x="2496410" y="1761968"/>
                    <a:pt x="2503740" y="1761968"/>
                    <a:pt x="2511071" y="1761968"/>
                  </a:cubicBezTo>
                  <a:cubicBezTo>
                    <a:pt x="2515143" y="1761968"/>
                    <a:pt x="2519216" y="1762783"/>
                    <a:pt x="2523288" y="1758711"/>
                  </a:cubicBezTo>
                  <a:cubicBezTo>
                    <a:pt x="2524102" y="1757896"/>
                    <a:pt x="2525731" y="1757896"/>
                    <a:pt x="2526546" y="1757896"/>
                  </a:cubicBezTo>
                  <a:cubicBezTo>
                    <a:pt x="2529804" y="1759525"/>
                    <a:pt x="2533062" y="1757082"/>
                    <a:pt x="2536320" y="1756267"/>
                  </a:cubicBezTo>
                  <a:cubicBezTo>
                    <a:pt x="2540392" y="1754638"/>
                    <a:pt x="2545279" y="1754638"/>
                    <a:pt x="2550166" y="1753824"/>
                  </a:cubicBezTo>
                  <a:cubicBezTo>
                    <a:pt x="2559940" y="1751380"/>
                    <a:pt x="2568899" y="1748937"/>
                    <a:pt x="2578673" y="1750566"/>
                  </a:cubicBezTo>
                  <a:cubicBezTo>
                    <a:pt x="2578673" y="1750566"/>
                    <a:pt x="2578673" y="1750566"/>
                    <a:pt x="2578673" y="1750566"/>
                  </a:cubicBezTo>
                  <a:cubicBezTo>
                    <a:pt x="2577859" y="1753824"/>
                    <a:pt x="2577044" y="1757082"/>
                    <a:pt x="2576230" y="1760340"/>
                  </a:cubicBezTo>
                  <a:cubicBezTo>
                    <a:pt x="2562383" y="1760340"/>
                    <a:pt x="2549352" y="1766041"/>
                    <a:pt x="2535505" y="1765227"/>
                  </a:cubicBezTo>
                  <a:cubicBezTo>
                    <a:pt x="2534691" y="1765227"/>
                    <a:pt x="2533062" y="1765227"/>
                    <a:pt x="2531433" y="1766041"/>
                  </a:cubicBezTo>
                  <a:cubicBezTo>
                    <a:pt x="2520030" y="1770928"/>
                    <a:pt x="2506998" y="1770113"/>
                    <a:pt x="2495595" y="1772557"/>
                  </a:cubicBezTo>
                  <a:cubicBezTo>
                    <a:pt x="2490708" y="1773371"/>
                    <a:pt x="2486636" y="1772557"/>
                    <a:pt x="2481749" y="1773371"/>
                  </a:cubicBezTo>
                  <a:cubicBezTo>
                    <a:pt x="2476048" y="1773371"/>
                    <a:pt x="2474419" y="1775000"/>
                    <a:pt x="2471160" y="1782331"/>
                  </a:cubicBezTo>
                  <a:cubicBezTo>
                    <a:pt x="2473604" y="1782331"/>
                    <a:pt x="2476862" y="1782331"/>
                    <a:pt x="2479305" y="1782331"/>
                  </a:cubicBezTo>
                  <a:cubicBezTo>
                    <a:pt x="2478491" y="1783960"/>
                    <a:pt x="2477677" y="1785589"/>
                    <a:pt x="2476862" y="1787218"/>
                  </a:cubicBezTo>
                  <a:cubicBezTo>
                    <a:pt x="2481749" y="1787218"/>
                    <a:pt x="2487450" y="1786403"/>
                    <a:pt x="2491523" y="1787218"/>
                  </a:cubicBezTo>
                  <a:cubicBezTo>
                    <a:pt x="2499668" y="1789661"/>
                    <a:pt x="2507812" y="1787218"/>
                    <a:pt x="2516772" y="1786403"/>
                  </a:cubicBezTo>
                  <a:cubicBezTo>
                    <a:pt x="2520845" y="1786403"/>
                    <a:pt x="2521659" y="1783960"/>
                    <a:pt x="2523288" y="1780702"/>
                  </a:cubicBezTo>
                  <a:cubicBezTo>
                    <a:pt x="2525731" y="1780702"/>
                    <a:pt x="2528990" y="1781516"/>
                    <a:pt x="2531433" y="1781516"/>
                  </a:cubicBezTo>
                  <a:cubicBezTo>
                    <a:pt x="2538763" y="1781516"/>
                    <a:pt x="2545279" y="1782331"/>
                    <a:pt x="2551795" y="1776629"/>
                  </a:cubicBezTo>
                  <a:cubicBezTo>
                    <a:pt x="2554238" y="1774186"/>
                    <a:pt x="2558311" y="1772557"/>
                    <a:pt x="2562383" y="1775000"/>
                  </a:cubicBezTo>
                  <a:cubicBezTo>
                    <a:pt x="2563198" y="1775815"/>
                    <a:pt x="2564827" y="1775000"/>
                    <a:pt x="2565642" y="1775000"/>
                  </a:cubicBezTo>
                  <a:cubicBezTo>
                    <a:pt x="2572157" y="1773371"/>
                    <a:pt x="2577859" y="1771742"/>
                    <a:pt x="2584375" y="1770113"/>
                  </a:cubicBezTo>
                  <a:cubicBezTo>
                    <a:pt x="2586818" y="1769299"/>
                    <a:pt x="2589261" y="1767670"/>
                    <a:pt x="2590076" y="1766041"/>
                  </a:cubicBezTo>
                  <a:lnTo>
                    <a:pt x="2590076" y="1766041"/>
                  </a:lnTo>
                  <a:cubicBezTo>
                    <a:pt x="2590076" y="1766041"/>
                    <a:pt x="2590076" y="1766041"/>
                    <a:pt x="2590076" y="1766041"/>
                  </a:cubicBezTo>
                  <a:cubicBezTo>
                    <a:pt x="2593334" y="1768484"/>
                    <a:pt x="2598221" y="1767670"/>
                    <a:pt x="2602294" y="1766855"/>
                  </a:cubicBezTo>
                  <a:cubicBezTo>
                    <a:pt x="2615325" y="1763597"/>
                    <a:pt x="2628357" y="1761968"/>
                    <a:pt x="2641389" y="1757082"/>
                  </a:cubicBezTo>
                  <a:cubicBezTo>
                    <a:pt x="2649534" y="1754638"/>
                    <a:pt x="2657679" y="1753824"/>
                    <a:pt x="2665824" y="1752195"/>
                  </a:cubicBezTo>
                  <a:cubicBezTo>
                    <a:pt x="2668267" y="1751380"/>
                    <a:pt x="2669082" y="1750566"/>
                    <a:pt x="2669082" y="1747308"/>
                  </a:cubicBezTo>
                  <a:cubicBezTo>
                    <a:pt x="2667453" y="1747308"/>
                    <a:pt x="2665009" y="1746493"/>
                    <a:pt x="2663380" y="1745679"/>
                  </a:cubicBezTo>
                  <a:cubicBezTo>
                    <a:pt x="2664195" y="1744864"/>
                    <a:pt x="2664195" y="1744050"/>
                    <a:pt x="2664195" y="1742421"/>
                  </a:cubicBezTo>
                  <a:cubicBezTo>
                    <a:pt x="2663380" y="1742421"/>
                    <a:pt x="2662565" y="1742421"/>
                    <a:pt x="2661751" y="1741606"/>
                  </a:cubicBezTo>
                  <a:cubicBezTo>
                    <a:pt x="2666638" y="1739977"/>
                    <a:pt x="2671525" y="1739163"/>
                    <a:pt x="2677227" y="1739977"/>
                  </a:cubicBezTo>
                  <a:cubicBezTo>
                    <a:pt x="2677227" y="1739977"/>
                    <a:pt x="2677227" y="1740792"/>
                    <a:pt x="2676412" y="1740792"/>
                  </a:cubicBezTo>
                  <a:cubicBezTo>
                    <a:pt x="2676412" y="1741606"/>
                    <a:pt x="2677227" y="1742421"/>
                    <a:pt x="2677227" y="1742421"/>
                  </a:cubicBezTo>
                  <a:cubicBezTo>
                    <a:pt x="2680484" y="1742421"/>
                    <a:pt x="2682928" y="1742421"/>
                    <a:pt x="2686186" y="1741606"/>
                  </a:cubicBezTo>
                  <a:cubicBezTo>
                    <a:pt x="2687000" y="1741606"/>
                    <a:pt x="2687815" y="1741606"/>
                    <a:pt x="2688629" y="1740792"/>
                  </a:cubicBezTo>
                  <a:cubicBezTo>
                    <a:pt x="2687000" y="1743235"/>
                    <a:pt x="2682928" y="1742421"/>
                    <a:pt x="2681299" y="1744864"/>
                  </a:cubicBezTo>
                  <a:cubicBezTo>
                    <a:pt x="2681299" y="1745679"/>
                    <a:pt x="2682113" y="1746493"/>
                    <a:pt x="2682113" y="1746493"/>
                  </a:cubicBezTo>
                  <a:cubicBezTo>
                    <a:pt x="2685372" y="1746493"/>
                    <a:pt x="2687815" y="1746493"/>
                    <a:pt x="2691073" y="1745679"/>
                  </a:cubicBezTo>
                  <a:cubicBezTo>
                    <a:pt x="2697589" y="1744050"/>
                    <a:pt x="2703290" y="1744864"/>
                    <a:pt x="2708991" y="1747308"/>
                  </a:cubicBezTo>
                  <a:cubicBezTo>
                    <a:pt x="2716322" y="1750566"/>
                    <a:pt x="2718765" y="1749751"/>
                    <a:pt x="2725281" y="1743235"/>
                  </a:cubicBezTo>
                  <a:cubicBezTo>
                    <a:pt x="2726096" y="1742421"/>
                    <a:pt x="2727725" y="1740792"/>
                    <a:pt x="2728539" y="1739977"/>
                  </a:cubicBezTo>
                  <a:cubicBezTo>
                    <a:pt x="2732612" y="1736719"/>
                    <a:pt x="2736684" y="1736719"/>
                    <a:pt x="2741571" y="1739163"/>
                  </a:cubicBezTo>
                  <a:cubicBezTo>
                    <a:pt x="2744829" y="1740792"/>
                    <a:pt x="2748087" y="1742421"/>
                    <a:pt x="2751345" y="1743235"/>
                  </a:cubicBezTo>
                  <a:cubicBezTo>
                    <a:pt x="2756232" y="1744864"/>
                    <a:pt x="2758676" y="1742421"/>
                    <a:pt x="2760304" y="1737534"/>
                  </a:cubicBezTo>
                  <a:cubicBezTo>
                    <a:pt x="2758676" y="1736719"/>
                    <a:pt x="2756232" y="1735905"/>
                    <a:pt x="2753788" y="1735090"/>
                  </a:cubicBezTo>
                  <a:cubicBezTo>
                    <a:pt x="2753788" y="1734276"/>
                    <a:pt x="2754603" y="1734276"/>
                    <a:pt x="2754603" y="1733461"/>
                  </a:cubicBezTo>
                  <a:cubicBezTo>
                    <a:pt x="2754603" y="1732647"/>
                    <a:pt x="2755417" y="1732647"/>
                    <a:pt x="2755417" y="1731832"/>
                  </a:cubicBezTo>
                  <a:cubicBezTo>
                    <a:pt x="2756232" y="1731018"/>
                    <a:pt x="2757861" y="1729389"/>
                    <a:pt x="2757047" y="1729389"/>
                  </a:cubicBezTo>
                  <a:cubicBezTo>
                    <a:pt x="2756232" y="1728575"/>
                    <a:pt x="2754603" y="1726945"/>
                    <a:pt x="2753788" y="1726945"/>
                  </a:cubicBezTo>
                  <a:cubicBezTo>
                    <a:pt x="2752159" y="1726945"/>
                    <a:pt x="2751345" y="1726945"/>
                    <a:pt x="2749716" y="1726945"/>
                  </a:cubicBezTo>
                  <a:cubicBezTo>
                    <a:pt x="2749716" y="1726945"/>
                    <a:pt x="2749716" y="1726945"/>
                    <a:pt x="2749716" y="1726945"/>
                  </a:cubicBezTo>
                  <a:cubicBezTo>
                    <a:pt x="2750531" y="1726131"/>
                    <a:pt x="2752159" y="1724502"/>
                    <a:pt x="2751345" y="1724502"/>
                  </a:cubicBezTo>
                  <a:cubicBezTo>
                    <a:pt x="2750531" y="1723688"/>
                    <a:pt x="2748902" y="1722058"/>
                    <a:pt x="2748087" y="1722058"/>
                  </a:cubicBezTo>
                  <a:cubicBezTo>
                    <a:pt x="2745643" y="1722058"/>
                    <a:pt x="2743200" y="1722873"/>
                    <a:pt x="2740757" y="1722873"/>
                  </a:cubicBezTo>
                  <a:cubicBezTo>
                    <a:pt x="2740757" y="1722873"/>
                    <a:pt x="2739942" y="1722873"/>
                    <a:pt x="2739942" y="1722058"/>
                  </a:cubicBezTo>
                  <a:cubicBezTo>
                    <a:pt x="2739942" y="1721244"/>
                    <a:pt x="2739942" y="1720430"/>
                    <a:pt x="2739942" y="1718801"/>
                  </a:cubicBezTo>
                  <a:cubicBezTo>
                    <a:pt x="2738313" y="1717986"/>
                    <a:pt x="2736684" y="1717986"/>
                    <a:pt x="2735055" y="1717986"/>
                  </a:cubicBezTo>
                  <a:cubicBezTo>
                    <a:pt x="2734241" y="1717172"/>
                    <a:pt x="2734241" y="1715543"/>
                    <a:pt x="2735055" y="1713914"/>
                  </a:cubicBezTo>
                  <a:cubicBezTo>
                    <a:pt x="2732612" y="1712285"/>
                    <a:pt x="2729354" y="1713099"/>
                    <a:pt x="2726910" y="1713099"/>
                  </a:cubicBezTo>
                  <a:cubicBezTo>
                    <a:pt x="2726910" y="1711470"/>
                    <a:pt x="2726910" y="1709841"/>
                    <a:pt x="2727725" y="1708212"/>
                  </a:cubicBezTo>
                  <a:cubicBezTo>
                    <a:pt x="2729354" y="1708212"/>
                    <a:pt x="2730983" y="1707398"/>
                    <a:pt x="2733426" y="1706583"/>
                  </a:cubicBezTo>
                  <a:cubicBezTo>
                    <a:pt x="2739128" y="1705769"/>
                    <a:pt x="2744829" y="1704140"/>
                    <a:pt x="2750531" y="1702511"/>
                  </a:cubicBezTo>
                  <a:cubicBezTo>
                    <a:pt x="2753788" y="1700882"/>
                    <a:pt x="2757047" y="1700067"/>
                    <a:pt x="2760304" y="1700067"/>
                  </a:cubicBezTo>
                  <a:cubicBezTo>
                    <a:pt x="2766821" y="1700067"/>
                    <a:pt x="2772522" y="1698438"/>
                    <a:pt x="2779038" y="1695995"/>
                  </a:cubicBezTo>
                  <a:cubicBezTo>
                    <a:pt x="2784739" y="1693551"/>
                    <a:pt x="2792069" y="1693551"/>
                    <a:pt x="2797771" y="1695995"/>
                  </a:cubicBezTo>
                  <a:cubicBezTo>
                    <a:pt x="2798585" y="1696809"/>
                    <a:pt x="2799400" y="1696809"/>
                    <a:pt x="2800214" y="1696809"/>
                  </a:cubicBezTo>
                  <a:cubicBezTo>
                    <a:pt x="2793699" y="1698438"/>
                    <a:pt x="2787997" y="1699253"/>
                    <a:pt x="2781481" y="1700067"/>
                  </a:cubicBezTo>
                  <a:cubicBezTo>
                    <a:pt x="2775780" y="1700882"/>
                    <a:pt x="2770078" y="1702511"/>
                    <a:pt x="2765191" y="1705769"/>
                  </a:cubicBezTo>
                  <a:cubicBezTo>
                    <a:pt x="2777409" y="1706583"/>
                    <a:pt x="2788811" y="1703325"/>
                    <a:pt x="2801029" y="1700882"/>
                  </a:cubicBezTo>
                  <a:cubicBezTo>
                    <a:pt x="2804287" y="1700067"/>
                    <a:pt x="2808359" y="1699253"/>
                    <a:pt x="2811617" y="1699253"/>
                  </a:cubicBezTo>
                  <a:cubicBezTo>
                    <a:pt x="2809988" y="1700067"/>
                    <a:pt x="2808359" y="1700882"/>
                    <a:pt x="2806730" y="1700882"/>
                  </a:cubicBezTo>
                  <a:cubicBezTo>
                    <a:pt x="2800214" y="1702511"/>
                    <a:pt x="2793699" y="1704140"/>
                    <a:pt x="2786368" y="1704954"/>
                  </a:cubicBezTo>
                  <a:cubicBezTo>
                    <a:pt x="2780666" y="1705769"/>
                    <a:pt x="2774965" y="1707398"/>
                    <a:pt x="2770078" y="1710656"/>
                  </a:cubicBezTo>
                  <a:cubicBezTo>
                    <a:pt x="2782296" y="1711470"/>
                    <a:pt x="2793699" y="1708212"/>
                    <a:pt x="2805916" y="1705769"/>
                  </a:cubicBezTo>
                  <a:cubicBezTo>
                    <a:pt x="2810803" y="1704954"/>
                    <a:pt x="2815690" y="1704140"/>
                    <a:pt x="2820577" y="1703325"/>
                  </a:cubicBezTo>
                  <a:cubicBezTo>
                    <a:pt x="2826278" y="1702511"/>
                    <a:pt x="2831165" y="1701696"/>
                    <a:pt x="2837681" y="1698438"/>
                  </a:cubicBezTo>
                  <a:cubicBezTo>
                    <a:pt x="2834423" y="1697624"/>
                    <a:pt x="2831980" y="1696809"/>
                    <a:pt x="2828721" y="1695995"/>
                  </a:cubicBezTo>
                  <a:cubicBezTo>
                    <a:pt x="2828721" y="1695995"/>
                    <a:pt x="2828721" y="1695180"/>
                    <a:pt x="2828721" y="1695180"/>
                  </a:cubicBezTo>
                  <a:cubicBezTo>
                    <a:pt x="2829536" y="1694366"/>
                    <a:pt x="2831165" y="1694366"/>
                    <a:pt x="2831980" y="1693551"/>
                  </a:cubicBezTo>
                  <a:cubicBezTo>
                    <a:pt x="2831165" y="1693551"/>
                    <a:pt x="2829536" y="1692737"/>
                    <a:pt x="2828721" y="1692737"/>
                  </a:cubicBezTo>
                  <a:cubicBezTo>
                    <a:pt x="2828721" y="1691923"/>
                    <a:pt x="2828721" y="1691108"/>
                    <a:pt x="2829536" y="1691108"/>
                  </a:cubicBezTo>
                  <a:cubicBezTo>
                    <a:pt x="2831165" y="1688664"/>
                    <a:pt x="2832794" y="1686221"/>
                    <a:pt x="2834423" y="1684592"/>
                  </a:cubicBezTo>
                  <a:cubicBezTo>
                    <a:pt x="2836866" y="1681334"/>
                    <a:pt x="2834423" y="1678076"/>
                    <a:pt x="2830351" y="1678076"/>
                  </a:cubicBezTo>
                  <a:cubicBezTo>
                    <a:pt x="2830351" y="1678076"/>
                    <a:pt x="2829536" y="1678076"/>
                    <a:pt x="2829536" y="1678076"/>
                  </a:cubicBezTo>
                  <a:cubicBezTo>
                    <a:pt x="2830351" y="1675633"/>
                    <a:pt x="2828721" y="1672375"/>
                    <a:pt x="2825463" y="1673189"/>
                  </a:cubicBezTo>
                  <a:cubicBezTo>
                    <a:pt x="2818948" y="1674004"/>
                    <a:pt x="2813246" y="1675633"/>
                    <a:pt x="2806730" y="1676447"/>
                  </a:cubicBezTo>
                  <a:cubicBezTo>
                    <a:pt x="2805916" y="1676447"/>
                    <a:pt x="2805101" y="1676447"/>
                    <a:pt x="2805101" y="1677262"/>
                  </a:cubicBezTo>
                  <a:cubicBezTo>
                    <a:pt x="2805916" y="1676447"/>
                    <a:pt x="2806730" y="1675633"/>
                    <a:pt x="2806730" y="1674004"/>
                  </a:cubicBezTo>
                  <a:cubicBezTo>
                    <a:pt x="2805916" y="1674004"/>
                    <a:pt x="2804287" y="1673189"/>
                    <a:pt x="2803473" y="1672375"/>
                  </a:cubicBezTo>
                  <a:cubicBezTo>
                    <a:pt x="2802658" y="1672375"/>
                    <a:pt x="2801843" y="1671560"/>
                    <a:pt x="2801029" y="1671560"/>
                  </a:cubicBezTo>
                  <a:cubicBezTo>
                    <a:pt x="2801843" y="1670746"/>
                    <a:pt x="2801843" y="1669931"/>
                    <a:pt x="2801843" y="1669117"/>
                  </a:cubicBezTo>
                  <a:cubicBezTo>
                    <a:pt x="2803473" y="1668302"/>
                    <a:pt x="2805101" y="1668302"/>
                    <a:pt x="2805916" y="1668302"/>
                  </a:cubicBezTo>
                  <a:cubicBezTo>
                    <a:pt x="2817318" y="1669117"/>
                    <a:pt x="2827907" y="1669931"/>
                    <a:pt x="2838495" y="1674004"/>
                  </a:cubicBezTo>
                  <a:cubicBezTo>
                    <a:pt x="2845011" y="1676447"/>
                    <a:pt x="2852342" y="1676447"/>
                    <a:pt x="2858043" y="1670746"/>
                  </a:cubicBezTo>
                  <a:cubicBezTo>
                    <a:pt x="2854785" y="1669931"/>
                    <a:pt x="2851527" y="1669931"/>
                    <a:pt x="2848269" y="1669117"/>
                  </a:cubicBezTo>
                  <a:cubicBezTo>
                    <a:pt x="2849898" y="1668302"/>
                    <a:pt x="2851527" y="1667488"/>
                    <a:pt x="2853156" y="1665859"/>
                  </a:cubicBezTo>
                  <a:cubicBezTo>
                    <a:pt x="2842568" y="1664230"/>
                    <a:pt x="2831980" y="1662601"/>
                    <a:pt x="2821391" y="1660972"/>
                  </a:cubicBezTo>
                  <a:cubicBezTo>
                    <a:pt x="2821391" y="1660972"/>
                    <a:pt x="2821391" y="1660972"/>
                    <a:pt x="2821391" y="1660972"/>
                  </a:cubicBezTo>
                  <a:cubicBezTo>
                    <a:pt x="2828721" y="1658528"/>
                    <a:pt x="2836866" y="1656085"/>
                    <a:pt x="2845011" y="1653641"/>
                  </a:cubicBezTo>
                  <a:cubicBezTo>
                    <a:pt x="2845826" y="1651198"/>
                    <a:pt x="2846640" y="1648754"/>
                    <a:pt x="2847455" y="1646311"/>
                  </a:cubicBezTo>
                  <a:cubicBezTo>
                    <a:pt x="2848269" y="1643867"/>
                    <a:pt x="2848269" y="1641424"/>
                    <a:pt x="2849084" y="1638981"/>
                  </a:cubicBezTo>
                  <a:cubicBezTo>
                    <a:pt x="2850713" y="1638166"/>
                    <a:pt x="2852342" y="1636537"/>
                    <a:pt x="2853970" y="1635723"/>
                  </a:cubicBezTo>
                  <a:cubicBezTo>
                    <a:pt x="2854785" y="1632465"/>
                    <a:pt x="2852342" y="1631650"/>
                    <a:pt x="2849898" y="1630836"/>
                  </a:cubicBezTo>
                  <a:cubicBezTo>
                    <a:pt x="2849084" y="1630836"/>
                    <a:pt x="2849084" y="1630836"/>
                    <a:pt x="2848269" y="1630836"/>
                  </a:cubicBezTo>
                  <a:cubicBezTo>
                    <a:pt x="2849084" y="1627578"/>
                    <a:pt x="2846640" y="1626763"/>
                    <a:pt x="2844197" y="1625949"/>
                  </a:cubicBezTo>
                  <a:cubicBezTo>
                    <a:pt x="2839310" y="1625134"/>
                    <a:pt x="2833608" y="1624320"/>
                    <a:pt x="2827907" y="1623505"/>
                  </a:cubicBezTo>
                  <a:cubicBezTo>
                    <a:pt x="2819762" y="1621876"/>
                    <a:pt x="2809988" y="1621876"/>
                    <a:pt x="2804287" y="1615360"/>
                  </a:cubicBezTo>
                  <a:cubicBezTo>
                    <a:pt x="2803473" y="1614546"/>
                    <a:pt x="2801843" y="1613732"/>
                    <a:pt x="2800214" y="1613732"/>
                  </a:cubicBezTo>
                  <a:cubicBezTo>
                    <a:pt x="2792884" y="1612917"/>
                    <a:pt x="2785554" y="1611288"/>
                    <a:pt x="2779852" y="1607215"/>
                  </a:cubicBezTo>
                  <a:cubicBezTo>
                    <a:pt x="2779038" y="1606401"/>
                    <a:pt x="2776594" y="1606401"/>
                    <a:pt x="2774965" y="1606401"/>
                  </a:cubicBezTo>
                  <a:cubicBezTo>
                    <a:pt x="2760304" y="1606401"/>
                    <a:pt x="2746458" y="1603958"/>
                    <a:pt x="2733426" y="1599885"/>
                  </a:cubicBezTo>
                  <a:cubicBezTo>
                    <a:pt x="2731797" y="1599071"/>
                    <a:pt x="2729354" y="1599071"/>
                    <a:pt x="2727725" y="1599071"/>
                  </a:cubicBezTo>
                  <a:cubicBezTo>
                    <a:pt x="2713064" y="1599885"/>
                    <a:pt x="2699217" y="1597442"/>
                    <a:pt x="2685372" y="1597442"/>
                  </a:cubicBezTo>
                  <a:cubicBezTo>
                    <a:pt x="2674783" y="1596627"/>
                    <a:pt x="2664195" y="1598256"/>
                    <a:pt x="2653606" y="1598256"/>
                  </a:cubicBezTo>
                  <a:cubicBezTo>
                    <a:pt x="2648720" y="1598256"/>
                    <a:pt x="2643832" y="1599071"/>
                    <a:pt x="2638131" y="1599071"/>
                  </a:cubicBezTo>
                  <a:cubicBezTo>
                    <a:pt x="2634058" y="1599071"/>
                    <a:pt x="2632430" y="1596627"/>
                    <a:pt x="2632430" y="1594998"/>
                  </a:cubicBezTo>
                  <a:cubicBezTo>
                    <a:pt x="2629172" y="1595813"/>
                    <a:pt x="2625913" y="1596627"/>
                    <a:pt x="2623470" y="1596627"/>
                  </a:cubicBezTo>
                  <a:cubicBezTo>
                    <a:pt x="2618583" y="1595813"/>
                    <a:pt x="2614511" y="1595813"/>
                    <a:pt x="2609624" y="1596627"/>
                  </a:cubicBezTo>
                  <a:cubicBezTo>
                    <a:pt x="2611253" y="1594184"/>
                    <a:pt x="2610438" y="1592555"/>
                    <a:pt x="2608809" y="1591740"/>
                  </a:cubicBezTo>
                  <a:cubicBezTo>
                    <a:pt x="2607995" y="1590926"/>
                    <a:pt x="2606366" y="1590111"/>
                    <a:pt x="2605551" y="1590111"/>
                  </a:cubicBezTo>
                  <a:cubicBezTo>
                    <a:pt x="2605551" y="1588482"/>
                    <a:pt x="2604737" y="1587668"/>
                    <a:pt x="2603923" y="1586853"/>
                  </a:cubicBezTo>
                  <a:cubicBezTo>
                    <a:pt x="2601479" y="1585224"/>
                    <a:pt x="2599035" y="1583595"/>
                    <a:pt x="2594963" y="1584410"/>
                  </a:cubicBezTo>
                  <a:cubicBezTo>
                    <a:pt x="2586818" y="1587668"/>
                    <a:pt x="2578673" y="1590111"/>
                    <a:pt x="2571343" y="1592555"/>
                  </a:cubicBezTo>
                  <a:cubicBezTo>
                    <a:pt x="2570528" y="1594998"/>
                    <a:pt x="2572157" y="1595813"/>
                    <a:pt x="2573786" y="1596627"/>
                  </a:cubicBezTo>
                  <a:cubicBezTo>
                    <a:pt x="2579488" y="1595813"/>
                    <a:pt x="2584375" y="1594184"/>
                    <a:pt x="2590076" y="1593369"/>
                  </a:cubicBezTo>
                  <a:cubicBezTo>
                    <a:pt x="2590076" y="1593369"/>
                    <a:pt x="2590891" y="1593369"/>
                    <a:pt x="2591705" y="1593369"/>
                  </a:cubicBezTo>
                  <a:cubicBezTo>
                    <a:pt x="2587633" y="1594998"/>
                    <a:pt x="2583560" y="1595813"/>
                    <a:pt x="2580302" y="1597442"/>
                  </a:cubicBezTo>
                  <a:cubicBezTo>
                    <a:pt x="2578673" y="1597442"/>
                    <a:pt x="2577044" y="1597442"/>
                    <a:pt x="2574601" y="1597442"/>
                  </a:cubicBezTo>
                  <a:cubicBezTo>
                    <a:pt x="2570528" y="1599885"/>
                    <a:pt x="2565642" y="1599885"/>
                    <a:pt x="2561569" y="1599071"/>
                  </a:cubicBezTo>
                  <a:cubicBezTo>
                    <a:pt x="2556682" y="1598256"/>
                    <a:pt x="2552609" y="1598256"/>
                    <a:pt x="2547723" y="1599885"/>
                  </a:cubicBezTo>
                  <a:cubicBezTo>
                    <a:pt x="2548537" y="1601514"/>
                    <a:pt x="2549352" y="1602329"/>
                    <a:pt x="2550166" y="1603143"/>
                  </a:cubicBezTo>
                  <a:cubicBezTo>
                    <a:pt x="2532247" y="1608030"/>
                    <a:pt x="2515143" y="1604772"/>
                    <a:pt x="2498039" y="1605587"/>
                  </a:cubicBezTo>
                  <a:cubicBezTo>
                    <a:pt x="2497224" y="1607215"/>
                    <a:pt x="2496410" y="1608030"/>
                    <a:pt x="2495595" y="1609659"/>
                  </a:cubicBezTo>
                  <a:cubicBezTo>
                    <a:pt x="2492337" y="1612917"/>
                    <a:pt x="2490708" y="1612917"/>
                    <a:pt x="2487450" y="1609659"/>
                  </a:cubicBezTo>
                  <a:cubicBezTo>
                    <a:pt x="2486636" y="1608845"/>
                    <a:pt x="2485007" y="1607215"/>
                    <a:pt x="2484193" y="1607215"/>
                  </a:cubicBezTo>
                  <a:cubicBezTo>
                    <a:pt x="2474419" y="1607215"/>
                    <a:pt x="2464645" y="1603958"/>
                    <a:pt x="2454871" y="1607215"/>
                  </a:cubicBezTo>
                  <a:lnTo>
                    <a:pt x="2454871" y="1607215"/>
                  </a:lnTo>
                  <a:cubicBezTo>
                    <a:pt x="2442653" y="1605587"/>
                    <a:pt x="2429622" y="1606401"/>
                    <a:pt x="2417404" y="1608030"/>
                  </a:cubicBezTo>
                  <a:cubicBezTo>
                    <a:pt x="2415775" y="1608030"/>
                    <a:pt x="2414146" y="1608845"/>
                    <a:pt x="2412518" y="1608845"/>
                  </a:cubicBezTo>
                  <a:cubicBezTo>
                    <a:pt x="2397042" y="1608030"/>
                    <a:pt x="2382381" y="1612102"/>
                    <a:pt x="2367721" y="1614546"/>
                  </a:cubicBezTo>
                  <a:cubicBezTo>
                    <a:pt x="2365277" y="1614546"/>
                    <a:pt x="2363648" y="1615360"/>
                    <a:pt x="2361204" y="1616989"/>
                  </a:cubicBezTo>
                  <a:cubicBezTo>
                    <a:pt x="2361204" y="1616989"/>
                    <a:pt x="2361204" y="1616989"/>
                    <a:pt x="2361204" y="1616175"/>
                  </a:cubicBezTo>
                  <a:cubicBezTo>
                    <a:pt x="2360390" y="1616175"/>
                    <a:pt x="2359576" y="1616989"/>
                    <a:pt x="2358761" y="1616989"/>
                  </a:cubicBezTo>
                  <a:cubicBezTo>
                    <a:pt x="2357947" y="1615360"/>
                    <a:pt x="2357132" y="1613732"/>
                    <a:pt x="2356318" y="1611288"/>
                  </a:cubicBezTo>
                  <a:cubicBezTo>
                    <a:pt x="2345729" y="1614546"/>
                    <a:pt x="2336770" y="1621876"/>
                    <a:pt x="2325367" y="1622691"/>
                  </a:cubicBezTo>
                  <a:cubicBezTo>
                    <a:pt x="2326181" y="1624320"/>
                    <a:pt x="2326996" y="1625949"/>
                    <a:pt x="2327811" y="1627578"/>
                  </a:cubicBezTo>
                  <a:cubicBezTo>
                    <a:pt x="2320480" y="1628392"/>
                    <a:pt x="2319666" y="1628392"/>
                    <a:pt x="2315593" y="1631650"/>
                  </a:cubicBezTo>
                  <a:cubicBezTo>
                    <a:pt x="2315593" y="1631650"/>
                    <a:pt x="2315593" y="1631650"/>
                    <a:pt x="2315593" y="1630836"/>
                  </a:cubicBezTo>
                  <a:cubicBezTo>
                    <a:pt x="2314779" y="1630836"/>
                    <a:pt x="2313964" y="1630836"/>
                    <a:pt x="2313964" y="1630836"/>
                  </a:cubicBezTo>
                  <a:cubicBezTo>
                    <a:pt x="2313150" y="1629207"/>
                    <a:pt x="2311521" y="1627578"/>
                    <a:pt x="2310706" y="1625949"/>
                  </a:cubicBezTo>
                  <a:cubicBezTo>
                    <a:pt x="2303376" y="1625949"/>
                    <a:pt x="2299303" y="1630021"/>
                    <a:pt x="2296045" y="1635723"/>
                  </a:cubicBezTo>
                  <a:cubicBezTo>
                    <a:pt x="2291973" y="1634908"/>
                    <a:pt x="2288715" y="1633279"/>
                    <a:pt x="2285457" y="1632465"/>
                  </a:cubicBezTo>
                  <a:cubicBezTo>
                    <a:pt x="2285457" y="1632465"/>
                    <a:pt x="2285457" y="1631650"/>
                    <a:pt x="2284643" y="1631650"/>
                  </a:cubicBezTo>
                  <a:cubicBezTo>
                    <a:pt x="2286272" y="1630836"/>
                    <a:pt x="2287086" y="1630836"/>
                    <a:pt x="2288715" y="1630021"/>
                  </a:cubicBezTo>
                  <a:cubicBezTo>
                    <a:pt x="2291973" y="1628392"/>
                    <a:pt x="2296045" y="1628392"/>
                    <a:pt x="2299303" y="1626763"/>
                  </a:cubicBezTo>
                  <a:cubicBezTo>
                    <a:pt x="2300118" y="1625134"/>
                    <a:pt x="2300933" y="1623505"/>
                    <a:pt x="2301747" y="1621876"/>
                  </a:cubicBezTo>
                  <a:cubicBezTo>
                    <a:pt x="2303376" y="1623505"/>
                    <a:pt x="2306634" y="1624320"/>
                    <a:pt x="2309892" y="1623505"/>
                  </a:cubicBezTo>
                  <a:cubicBezTo>
                    <a:pt x="2313964" y="1622691"/>
                    <a:pt x="2317222" y="1620247"/>
                    <a:pt x="2320480" y="1618618"/>
                  </a:cubicBezTo>
                  <a:cubicBezTo>
                    <a:pt x="2322924" y="1616175"/>
                    <a:pt x="2325367" y="1614546"/>
                    <a:pt x="2326181" y="1612917"/>
                  </a:cubicBezTo>
                  <a:cubicBezTo>
                    <a:pt x="2326996" y="1612102"/>
                    <a:pt x="2326996" y="1611288"/>
                    <a:pt x="2326996" y="1610474"/>
                  </a:cubicBezTo>
                  <a:cubicBezTo>
                    <a:pt x="2329440" y="1608845"/>
                    <a:pt x="2332697" y="1608030"/>
                    <a:pt x="2335141" y="1606401"/>
                  </a:cubicBezTo>
                  <a:cubicBezTo>
                    <a:pt x="2340028" y="1603958"/>
                    <a:pt x="2345729" y="1603958"/>
                    <a:pt x="2350616" y="1605587"/>
                  </a:cubicBezTo>
                  <a:cubicBezTo>
                    <a:pt x="2350616" y="1605587"/>
                    <a:pt x="2350616" y="1605587"/>
                    <a:pt x="2350616" y="1605587"/>
                  </a:cubicBezTo>
                  <a:cubicBezTo>
                    <a:pt x="2350616" y="1605587"/>
                    <a:pt x="2349802" y="1606401"/>
                    <a:pt x="2349802" y="1606401"/>
                  </a:cubicBezTo>
                  <a:cubicBezTo>
                    <a:pt x="2349802" y="1606401"/>
                    <a:pt x="2350616" y="1605587"/>
                    <a:pt x="2350616" y="1605587"/>
                  </a:cubicBezTo>
                  <a:cubicBezTo>
                    <a:pt x="2353874" y="1604772"/>
                    <a:pt x="2357132" y="1603143"/>
                    <a:pt x="2359576" y="1602329"/>
                  </a:cubicBezTo>
                  <a:cubicBezTo>
                    <a:pt x="2359576" y="1601514"/>
                    <a:pt x="2358761" y="1600700"/>
                    <a:pt x="2358761" y="1599071"/>
                  </a:cubicBezTo>
                  <a:cubicBezTo>
                    <a:pt x="2364463" y="1597442"/>
                    <a:pt x="2370164" y="1594998"/>
                    <a:pt x="2375866" y="1596627"/>
                  </a:cubicBezTo>
                  <a:cubicBezTo>
                    <a:pt x="2377494" y="1597442"/>
                    <a:pt x="2379938" y="1597442"/>
                    <a:pt x="2381567" y="1596627"/>
                  </a:cubicBezTo>
                  <a:cubicBezTo>
                    <a:pt x="2387268" y="1597442"/>
                    <a:pt x="2387268" y="1597442"/>
                    <a:pt x="2394599" y="1592555"/>
                  </a:cubicBezTo>
                  <a:cubicBezTo>
                    <a:pt x="2394599" y="1590926"/>
                    <a:pt x="2394599" y="1590111"/>
                    <a:pt x="2393784" y="1587668"/>
                  </a:cubicBezTo>
                  <a:cubicBezTo>
                    <a:pt x="2391341" y="1589297"/>
                    <a:pt x="2388897" y="1590111"/>
                    <a:pt x="2386454" y="1591740"/>
                  </a:cubicBezTo>
                  <a:cubicBezTo>
                    <a:pt x="2385639" y="1590926"/>
                    <a:pt x="2384011" y="1590111"/>
                    <a:pt x="2383196" y="1589297"/>
                  </a:cubicBezTo>
                  <a:cubicBezTo>
                    <a:pt x="2383196" y="1589297"/>
                    <a:pt x="2384011" y="1589297"/>
                    <a:pt x="2384011" y="1588482"/>
                  </a:cubicBezTo>
                  <a:cubicBezTo>
                    <a:pt x="2383196" y="1587668"/>
                    <a:pt x="2382381" y="1586853"/>
                    <a:pt x="2380752" y="1586853"/>
                  </a:cubicBezTo>
                  <a:cubicBezTo>
                    <a:pt x="2391341" y="1582781"/>
                    <a:pt x="2401115" y="1578708"/>
                    <a:pt x="2410074" y="1574636"/>
                  </a:cubicBezTo>
                  <a:cubicBezTo>
                    <a:pt x="2411703" y="1573822"/>
                    <a:pt x="2413332" y="1573822"/>
                    <a:pt x="2414961" y="1572193"/>
                  </a:cubicBezTo>
                  <a:cubicBezTo>
                    <a:pt x="2420663" y="1568120"/>
                    <a:pt x="2426364" y="1565677"/>
                    <a:pt x="2432880" y="1565677"/>
                  </a:cubicBezTo>
                  <a:cubicBezTo>
                    <a:pt x="2429622" y="1567306"/>
                    <a:pt x="2426364" y="1568120"/>
                    <a:pt x="2423106" y="1569749"/>
                  </a:cubicBezTo>
                  <a:cubicBezTo>
                    <a:pt x="2429622" y="1570563"/>
                    <a:pt x="2433694" y="1569749"/>
                    <a:pt x="2438581" y="1564862"/>
                  </a:cubicBezTo>
                  <a:cubicBezTo>
                    <a:pt x="2441839" y="1564862"/>
                    <a:pt x="2445097" y="1564862"/>
                    <a:pt x="2448355" y="1565677"/>
                  </a:cubicBezTo>
                  <a:cubicBezTo>
                    <a:pt x="2448355" y="1565677"/>
                    <a:pt x="2448355" y="1565677"/>
                    <a:pt x="2448355" y="1565677"/>
                  </a:cubicBezTo>
                  <a:cubicBezTo>
                    <a:pt x="2448355" y="1565677"/>
                    <a:pt x="2449170" y="1565677"/>
                    <a:pt x="2449170" y="1565677"/>
                  </a:cubicBezTo>
                  <a:cubicBezTo>
                    <a:pt x="2449170" y="1565677"/>
                    <a:pt x="2449170" y="1565677"/>
                    <a:pt x="2449170" y="1565677"/>
                  </a:cubicBezTo>
                  <a:cubicBezTo>
                    <a:pt x="2449984" y="1566491"/>
                    <a:pt x="2450798" y="1566491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1613" y="1567306"/>
                    <a:pt x="2451613" y="1567306"/>
                    <a:pt x="2451613" y="1567306"/>
                  </a:cubicBezTo>
                  <a:cubicBezTo>
                    <a:pt x="2458943" y="1564048"/>
                    <a:pt x="2466274" y="1560790"/>
                    <a:pt x="2472790" y="1557532"/>
                  </a:cubicBezTo>
                  <a:cubicBezTo>
                    <a:pt x="2472790" y="1556717"/>
                    <a:pt x="2472790" y="1555903"/>
                    <a:pt x="2472790" y="1555903"/>
                  </a:cubicBezTo>
                  <a:cubicBezTo>
                    <a:pt x="2476048" y="1555903"/>
                    <a:pt x="2479305" y="1555088"/>
                    <a:pt x="2482564" y="1555088"/>
                  </a:cubicBezTo>
                  <a:cubicBezTo>
                    <a:pt x="2482564" y="1555903"/>
                    <a:pt x="2482564" y="1555903"/>
                    <a:pt x="2482564" y="1556717"/>
                  </a:cubicBezTo>
                  <a:cubicBezTo>
                    <a:pt x="2484193" y="1555903"/>
                    <a:pt x="2485007" y="1555903"/>
                    <a:pt x="2486636" y="1555088"/>
                  </a:cubicBezTo>
                  <a:cubicBezTo>
                    <a:pt x="2493967" y="1555088"/>
                    <a:pt x="2500482" y="1555088"/>
                    <a:pt x="2506998" y="1553459"/>
                  </a:cubicBezTo>
                  <a:cubicBezTo>
                    <a:pt x="2507812" y="1553459"/>
                    <a:pt x="2509442" y="1552645"/>
                    <a:pt x="2510256" y="1552645"/>
                  </a:cubicBezTo>
                  <a:cubicBezTo>
                    <a:pt x="2512700" y="1551830"/>
                    <a:pt x="2515143" y="1551830"/>
                    <a:pt x="2517586" y="1551830"/>
                  </a:cubicBezTo>
                  <a:cubicBezTo>
                    <a:pt x="2523288" y="1551016"/>
                    <a:pt x="2528175" y="1550201"/>
                    <a:pt x="2533876" y="1549387"/>
                  </a:cubicBezTo>
                  <a:cubicBezTo>
                    <a:pt x="2537949" y="1548572"/>
                    <a:pt x="2542021" y="1548572"/>
                    <a:pt x="2546094" y="1546943"/>
                  </a:cubicBezTo>
                  <a:cubicBezTo>
                    <a:pt x="2553424" y="1546129"/>
                    <a:pt x="2559940" y="1546129"/>
                    <a:pt x="2567271" y="1545314"/>
                  </a:cubicBezTo>
                  <a:cubicBezTo>
                    <a:pt x="2568085" y="1545314"/>
                    <a:pt x="2568899" y="1545314"/>
                    <a:pt x="2568899" y="1545314"/>
                  </a:cubicBezTo>
                  <a:cubicBezTo>
                    <a:pt x="2583560" y="1536355"/>
                    <a:pt x="2601479" y="1544500"/>
                    <a:pt x="2616954" y="1536355"/>
                  </a:cubicBezTo>
                  <a:cubicBezTo>
                    <a:pt x="2619398" y="1534726"/>
                    <a:pt x="2622656" y="1536355"/>
                    <a:pt x="2625913" y="1536355"/>
                  </a:cubicBezTo>
                  <a:cubicBezTo>
                    <a:pt x="2628357" y="1536355"/>
                    <a:pt x="2630801" y="1536355"/>
                    <a:pt x="2632430" y="1535540"/>
                  </a:cubicBezTo>
                  <a:cubicBezTo>
                    <a:pt x="2632430" y="1535540"/>
                    <a:pt x="2633244" y="1536355"/>
                    <a:pt x="2633244" y="1536355"/>
                  </a:cubicBezTo>
                  <a:cubicBezTo>
                    <a:pt x="2634873" y="1537984"/>
                    <a:pt x="2635687" y="1538798"/>
                    <a:pt x="2637316" y="1539613"/>
                  </a:cubicBezTo>
                  <a:cubicBezTo>
                    <a:pt x="2637316" y="1540427"/>
                    <a:pt x="2638131" y="1540427"/>
                    <a:pt x="2638131" y="1541242"/>
                  </a:cubicBezTo>
                  <a:cubicBezTo>
                    <a:pt x="2643018" y="1546943"/>
                    <a:pt x="2648720" y="1545314"/>
                    <a:pt x="2655235" y="1543685"/>
                  </a:cubicBezTo>
                  <a:cubicBezTo>
                    <a:pt x="2654421" y="1542056"/>
                    <a:pt x="2653606" y="1540427"/>
                    <a:pt x="2651977" y="1537984"/>
                  </a:cubicBezTo>
                  <a:cubicBezTo>
                    <a:pt x="2657679" y="1537170"/>
                    <a:pt x="2665009" y="1538798"/>
                    <a:pt x="2667453" y="1530653"/>
                  </a:cubicBezTo>
                  <a:cubicBezTo>
                    <a:pt x="2664195" y="1531468"/>
                    <a:pt x="2660937" y="1532283"/>
                    <a:pt x="2658493" y="1532283"/>
                  </a:cubicBezTo>
                  <a:cubicBezTo>
                    <a:pt x="2657679" y="1532283"/>
                    <a:pt x="2656050" y="1532283"/>
                    <a:pt x="2655235" y="1532283"/>
                  </a:cubicBezTo>
                  <a:cubicBezTo>
                    <a:pt x="2656864" y="1532283"/>
                    <a:pt x="2657679" y="1531468"/>
                    <a:pt x="2659308" y="1530653"/>
                  </a:cubicBezTo>
                  <a:cubicBezTo>
                    <a:pt x="2660122" y="1530653"/>
                    <a:pt x="2661751" y="1530653"/>
                    <a:pt x="2662565" y="1530653"/>
                  </a:cubicBezTo>
                  <a:cubicBezTo>
                    <a:pt x="2668267" y="1529839"/>
                    <a:pt x="2671525" y="1526581"/>
                    <a:pt x="2673154" y="1521694"/>
                  </a:cubicBezTo>
                  <a:cubicBezTo>
                    <a:pt x="2673969" y="1522509"/>
                    <a:pt x="2673969" y="1522509"/>
                    <a:pt x="2673969" y="1523323"/>
                  </a:cubicBezTo>
                  <a:cubicBezTo>
                    <a:pt x="2678041" y="1528210"/>
                    <a:pt x="2683742" y="1528210"/>
                    <a:pt x="2690258" y="1526581"/>
                  </a:cubicBezTo>
                  <a:cubicBezTo>
                    <a:pt x="2691073" y="1526581"/>
                    <a:pt x="2692702" y="1525767"/>
                    <a:pt x="2693516" y="1524952"/>
                  </a:cubicBezTo>
                  <a:cubicBezTo>
                    <a:pt x="2697589" y="1519251"/>
                    <a:pt x="2704919" y="1516807"/>
                    <a:pt x="2711435" y="1515993"/>
                  </a:cubicBezTo>
                  <a:cubicBezTo>
                    <a:pt x="2716322" y="1515178"/>
                    <a:pt x="2720395" y="1513549"/>
                    <a:pt x="2724467" y="1510291"/>
                  </a:cubicBezTo>
                  <a:cubicBezTo>
                    <a:pt x="2732612" y="1502961"/>
                    <a:pt x="2742386" y="1500518"/>
                    <a:pt x="2752159" y="1498074"/>
                  </a:cubicBezTo>
                  <a:cubicBezTo>
                    <a:pt x="2768449" y="1494816"/>
                    <a:pt x="2783110" y="1488300"/>
                    <a:pt x="2795328" y="1476897"/>
                  </a:cubicBezTo>
                  <a:cubicBezTo>
                    <a:pt x="2798585" y="1473639"/>
                    <a:pt x="2801843" y="1472010"/>
                    <a:pt x="2805916" y="1472010"/>
                  </a:cubicBezTo>
                  <a:cubicBezTo>
                    <a:pt x="2805101" y="1474454"/>
                    <a:pt x="2804287" y="1476083"/>
                    <a:pt x="2803473" y="1478526"/>
                  </a:cubicBezTo>
                  <a:cubicBezTo>
                    <a:pt x="2804287" y="1480155"/>
                    <a:pt x="2805916" y="1480155"/>
                    <a:pt x="2807545" y="1479341"/>
                  </a:cubicBezTo>
                  <a:cubicBezTo>
                    <a:pt x="2808359" y="1478526"/>
                    <a:pt x="2809988" y="1478526"/>
                    <a:pt x="2810803" y="1478526"/>
                  </a:cubicBezTo>
                  <a:cubicBezTo>
                    <a:pt x="2809988" y="1480155"/>
                    <a:pt x="2809174" y="1481784"/>
                    <a:pt x="2808359" y="1484228"/>
                  </a:cubicBezTo>
                  <a:cubicBezTo>
                    <a:pt x="2809174" y="1485857"/>
                    <a:pt x="2810803" y="1485857"/>
                    <a:pt x="2812432" y="1485042"/>
                  </a:cubicBezTo>
                  <a:cubicBezTo>
                    <a:pt x="2815690" y="1483413"/>
                    <a:pt x="2818948" y="1483413"/>
                    <a:pt x="2822206" y="1485042"/>
                  </a:cubicBezTo>
                  <a:cubicBezTo>
                    <a:pt x="2823835" y="1482599"/>
                    <a:pt x="2824649" y="1480970"/>
                    <a:pt x="2825463" y="1479341"/>
                  </a:cubicBezTo>
                  <a:cubicBezTo>
                    <a:pt x="2829536" y="1479341"/>
                    <a:pt x="2832794" y="1477712"/>
                    <a:pt x="2832794" y="1473639"/>
                  </a:cubicBezTo>
                  <a:cubicBezTo>
                    <a:pt x="2833608" y="1469567"/>
                    <a:pt x="2832794" y="1465494"/>
                    <a:pt x="2829536" y="1462236"/>
                  </a:cubicBezTo>
                  <a:cubicBezTo>
                    <a:pt x="2827907" y="1460607"/>
                    <a:pt x="2826278" y="1458979"/>
                    <a:pt x="2823835" y="1457349"/>
                  </a:cubicBezTo>
                  <a:cubicBezTo>
                    <a:pt x="2826278" y="1454092"/>
                    <a:pt x="2828721" y="1451648"/>
                    <a:pt x="2830351" y="1448390"/>
                  </a:cubicBezTo>
                  <a:cubicBezTo>
                    <a:pt x="2833608" y="1444318"/>
                    <a:pt x="2835237" y="1440245"/>
                    <a:pt x="2832794" y="1435358"/>
                  </a:cubicBezTo>
                  <a:cubicBezTo>
                    <a:pt x="2831980" y="1436173"/>
                    <a:pt x="2830351" y="1436987"/>
                    <a:pt x="2829536" y="1437802"/>
                  </a:cubicBezTo>
                  <a:cubicBezTo>
                    <a:pt x="2828721" y="1436987"/>
                    <a:pt x="2828721" y="1436987"/>
                    <a:pt x="2828721" y="1436173"/>
                  </a:cubicBezTo>
                  <a:cubicBezTo>
                    <a:pt x="2828721" y="1435358"/>
                    <a:pt x="2828721" y="1435358"/>
                    <a:pt x="2828721" y="1434544"/>
                  </a:cubicBezTo>
                  <a:cubicBezTo>
                    <a:pt x="2828721" y="1433729"/>
                    <a:pt x="2829536" y="1433729"/>
                    <a:pt x="2829536" y="1432915"/>
                  </a:cubicBezTo>
                  <a:cubicBezTo>
                    <a:pt x="2829536" y="1432100"/>
                    <a:pt x="2830351" y="1430471"/>
                    <a:pt x="2830351" y="1429657"/>
                  </a:cubicBezTo>
                  <a:cubicBezTo>
                    <a:pt x="2830351" y="1429657"/>
                    <a:pt x="2831165" y="1429657"/>
                    <a:pt x="2831165" y="1429657"/>
                  </a:cubicBezTo>
                  <a:cubicBezTo>
                    <a:pt x="2831165" y="1429657"/>
                    <a:pt x="2831165" y="1428842"/>
                    <a:pt x="2831165" y="1428842"/>
                  </a:cubicBezTo>
                  <a:cubicBezTo>
                    <a:pt x="2831165" y="1428842"/>
                    <a:pt x="2830351" y="1428842"/>
                    <a:pt x="2830351" y="1428842"/>
                  </a:cubicBezTo>
                  <a:cubicBezTo>
                    <a:pt x="2830351" y="1428028"/>
                    <a:pt x="2830351" y="1427214"/>
                    <a:pt x="2830351" y="1426399"/>
                  </a:cubicBezTo>
                  <a:cubicBezTo>
                    <a:pt x="2830351" y="1423955"/>
                    <a:pt x="2827092" y="1423141"/>
                    <a:pt x="2824649" y="1423955"/>
                  </a:cubicBezTo>
                  <a:cubicBezTo>
                    <a:pt x="2824649" y="1423141"/>
                    <a:pt x="2824649" y="1422327"/>
                    <a:pt x="2824649" y="1421512"/>
                  </a:cubicBezTo>
                  <a:cubicBezTo>
                    <a:pt x="2824649" y="1419883"/>
                    <a:pt x="2823020" y="1419069"/>
                    <a:pt x="2821391" y="1419069"/>
                  </a:cubicBezTo>
                  <a:cubicBezTo>
                    <a:pt x="2821391" y="1416625"/>
                    <a:pt x="2819762" y="1414996"/>
                    <a:pt x="2816504" y="1413367"/>
                  </a:cubicBezTo>
                  <a:cubicBezTo>
                    <a:pt x="2816504" y="1413367"/>
                    <a:pt x="2816504" y="1413367"/>
                    <a:pt x="2815690" y="1413367"/>
                  </a:cubicBezTo>
                  <a:cubicBezTo>
                    <a:pt x="2815690" y="1410924"/>
                    <a:pt x="2814061" y="1409295"/>
                    <a:pt x="2810803" y="1408480"/>
                  </a:cubicBezTo>
                  <a:cubicBezTo>
                    <a:pt x="2809174" y="1407666"/>
                    <a:pt x="2806730" y="1407666"/>
                    <a:pt x="2805101" y="1407666"/>
                  </a:cubicBezTo>
                  <a:cubicBezTo>
                    <a:pt x="2801843" y="1407666"/>
                    <a:pt x="2799400" y="1406037"/>
                    <a:pt x="2796956" y="1405222"/>
                  </a:cubicBezTo>
                  <a:cubicBezTo>
                    <a:pt x="2795328" y="1403593"/>
                    <a:pt x="2794513" y="1401964"/>
                    <a:pt x="2792884" y="1400335"/>
                  </a:cubicBezTo>
                  <a:cubicBezTo>
                    <a:pt x="2792069" y="1400335"/>
                    <a:pt x="2792069" y="1400335"/>
                    <a:pt x="2791255" y="1400335"/>
                  </a:cubicBezTo>
                  <a:cubicBezTo>
                    <a:pt x="2789626" y="1398706"/>
                    <a:pt x="2788811" y="1397077"/>
                    <a:pt x="2787183" y="1395448"/>
                  </a:cubicBezTo>
                  <a:cubicBezTo>
                    <a:pt x="2783925" y="1393819"/>
                    <a:pt x="2780666" y="1399521"/>
                    <a:pt x="2776594" y="1397077"/>
                  </a:cubicBezTo>
                  <a:cubicBezTo>
                    <a:pt x="2772522" y="1394634"/>
                    <a:pt x="2768449" y="1399521"/>
                    <a:pt x="2764377" y="1399521"/>
                  </a:cubicBezTo>
                  <a:cubicBezTo>
                    <a:pt x="2761933" y="1399521"/>
                    <a:pt x="2759490" y="1399521"/>
                    <a:pt x="2757047" y="1398706"/>
                  </a:cubicBezTo>
                  <a:cubicBezTo>
                    <a:pt x="2754603" y="1397892"/>
                    <a:pt x="2752159" y="1397077"/>
                    <a:pt x="2748902" y="1396263"/>
                  </a:cubicBezTo>
                  <a:cubicBezTo>
                    <a:pt x="2747273" y="1393005"/>
                    <a:pt x="2745643" y="1389747"/>
                    <a:pt x="2743200" y="1387303"/>
                  </a:cubicBezTo>
                  <a:cubicBezTo>
                    <a:pt x="2739942" y="1384045"/>
                    <a:pt x="2737499" y="1379973"/>
                    <a:pt x="2735055" y="1375901"/>
                  </a:cubicBezTo>
                  <a:cubicBezTo>
                    <a:pt x="2735055" y="1373457"/>
                    <a:pt x="2735055" y="1370199"/>
                    <a:pt x="2735055" y="1367756"/>
                  </a:cubicBezTo>
                  <a:cubicBezTo>
                    <a:pt x="2735055" y="1366127"/>
                    <a:pt x="2735055" y="1364498"/>
                    <a:pt x="2735055" y="1363683"/>
                  </a:cubicBezTo>
                  <a:cubicBezTo>
                    <a:pt x="2735055" y="1363683"/>
                    <a:pt x="2735870" y="1363683"/>
                    <a:pt x="2735870" y="1363683"/>
                  </a:cubicBezTo>
                  <a:cubicBezTo>
                    <a:pt x="2741571" y="1363683"/>
                    <a:pt x="2747273" y="1364498"/>
                    <a:pt x="2752974" y="1364498"/>
                  </a:cubicBezTo>
                  <a:cubicBezTo>
                    <a:pt x="2760304" y="1364498"/>
                    <a:pt x="2766821" y="1365312"/>
                    <a:pt x="2774151" y="1365312"/>
                  </a:cubicBezTo>
                  <a:cubicBezTo>
                    <a:pt x="2775780" y="1362869"/>
                    <a:pt x="2774151" y="1362054"/>
                    <a:pt x="2772522" y="1361240"/>
                  </a:cubicBezTo>
                  <a:cubicBezTo>
                    <a:pt x="2772522" y="1361240"/>
                    <a:pt x="2773336" y="1361240"/>
                    <a:pt x="2773336" y="1361240"/>
                  </a:cubicBezTo>
                  <a:cubicBezTo>
                    <a:pt x="2777409" y="1366941"/>
                    <a:pt x="2783110" y="1368570"/>
                    <a:pt x="2791255" y="1366127"/>
                  </a:cubicBezTo>
                  <a:cubicBezTo>
                    <a:pt x="2795328" y="1364498"/>
                    <a:pt x="2800214" y="1359611"/>
                    <a:pt x="2800214" y="1354724"/>
                  </a:cubicBezTo>
                  <a:cubicBezTo>
                    <a:pt x="2801029" y="1348208"/>
                    <a:pt x="2800214" y="1342506"/>
                    <a:pt x="2797771" y="1336805"/>
                  </a:cubicBezTo>
                  <a:cubicBezTo>
                    <a:pt x="2808359" y="1334362"/>
                    <a:pt x="2819762" y="1331918"/>
                    <a:pt x="2831980" y="1327031"/>
                  </a:cubicBezTo>
                  <a:cubicBezTo>
                    <a:pt x="2823835" y="1324588"/>
                    <a:pt x="2818133" y="1328660"/>
                    <a:pt x="2812432" y="1327846"/>
                  </a:cubicBezTo>
                  <a:cubicBezTo>
                    <a:pt x="2812432" y="1327031"/>
                    <a:pt x="2813246" y="1327031"/>
                    <a:pt x="2813246" y="1326217"/>
                  </a:cubicBezTo>
                  <a:cubicBezTo>
                    <a:pt x="2817318" y="1324588"/>
                    <a:pt x="2822206" y="1323773"/>
                    <a:pt x="2826278" y="1322144"/>
                  </a:cubicBezTo>
                  <a:cubicBezTo>
                    <a:pt x="2822206" y="1321330"/>
                    <a:pt x="2818133" y="1321330"/>
                    <a:pt x="2815690" y="1322144"/>
                  </a:cubicBezTo>
                  <a:cubicBezTo>
                    <a:pt x="2815690" y="1321330"/>
                    <a:pt x="2816504" y="1320515"/>
                    <a:pt x="2816504" y="1320515"/>
                  </a:cubicBezTo>
                  <a:cubicBezTo>
                    <a:pt x="2817318" y="1316443"/>
                    <a:pt x="2814875" y="1313999"/>
                    <a:pt x="2812432" y="1311556"/>
                  </a:cubicBezTo>
                  <a:cubicBezTo>
                    <a:pt x="2814061" y="1308298"/>
                    <a:pt x="2815690" y="1305040"/>
                    <a:pt x="2817318" y="1301782"/>
                  </a:cubicBezTo>
                  <a:cubicBezTo>
                    <a:pt x="2818133" y="1300153"/>
                    <a:pt x="2816504" y="1297710"/>
                    <a:pt x="2815690" y="1296081"/>
                  </a:cubicBezTo>
                  <a:cubicBezTo>
                    <a:pt x="2812432" y="1291194"/>
                    <a:pt x="2812432" y="1291194"/>
                    <a:pt x="2816504" y="1287121"/>
                  </a:cubicBezTo>
                  <a:cubicBezTo>
                    <a:pt x="2817318" y="1286307"/>
                    <a:pt x="2818948" y="1285492"/>
                    <a:pt x="2819762" y="1284678"/>
                  </a:cubicBezTo>
                  <a:cubicBezTo>
                    <a:pt x="2818948" y="1278976"/>
                    <a:pt x="2818133" y="1277347"/>
                    <a:pt x="2817318" y="1274904"/>
                  </a:cubicBezTo>
                  <a:cubicBezTo>
                    <a:pt x="2819762" y="1274904"/>
                    <a:pt x="2822206" y="1274089"/>
                    <a:pt x="2824649" y="1274089"/>
                  </a:cubicBezTo>
                  <a:cubicBezTo>
                    <a:pt x="2831980" y="1273275"/>
                    <a:pt x="2840125" y="1273275"/>
                    <a:pt x="2846640" y="1268388"/>
                  </a:cubicBezTo>
                  <a:cubicBezTo>
                    <a:pt x="2851527" y="1265130"/>
                    <a:pt x="2858043" y="1265130"/>
                    <a:pt x="2864559" y="1265944"/>
                  </a:cubicBezTo>
                  <a:cubicBezTo>
                    <a:pt x="2870260" y="1266759"/>
                    <a:pt x="2875962" y="1268388"/>
                    <a:pt x="2880849" y="1267574"/>
                  </a:cubicBezTo>
                  <a:cubicBezTo>
                    <a:pt x="2893066" y="1266759"/>
                    <a:pt x="2905284" y="1265130"/>
                    <a:pt x="2916686" y="1264316"/>
                  </a:cubicBezTo>
                  <a:cubicBezTo>
                    <a:pt x="2917501" y="1264316"/>
                    <a:pt x="2918315" y="1263501"/>
                    <a:pt x="2921573" y="1261872"/>
                  </a:cubicBezTo>
                  <a:cubicBezTo>
                    <a:pt x="2915872" y="1261057"/>
                    <a:pt x="2912614" y="1259429"/>
                    <a:pt x="2908541" y="1259429"/>
                  </a:cubicBezTo>
                  <a:cubicBezTo>
                    <a:pt x="2904469" y="1259429"/>
                    <a:pt x="2900396" y="1261057"/>
                    <a:pt x="2895510" y="1258614"/>
                  </a:cubicBezTo>
                  <a:cubicBezTo>
                    <a:pt x="2907727" y="1255356"/>
                    <a:pt x="2919130" y="1254542"/>
                    <a:pt x="2928904" y="1256985"/>
                  </a:cubicBezTo>
                  <a:cubicBezTo>
                    <a:pt x="2933791" y="1253727"/>
                    <a:pt x="2937863" y="1251284"/>
                    <a:pt x="2941121" y="1248840"/>
                  </a:cubicBezTo>
                  <a:cubicBezTo>
                    <a:pt x="2940307" y="1247211"/>
                    <a:pt x="2939492" y="1246397"/>
                    <a:pt x="2939492" y="1244768"/>
                  </a:cubicBezTo>
                  <a:cubicBezTo>
                    <a:pt x="2938678" y="1242324"/>
                    <a:pt x="2937048" y="1241510"/>
                    <a:pt x="2934605" y="1242324"/>
                  </a:cubicBezTo>
                  <a:cubicBezTo>
                    <a:pt x="2934605" y="1242324"/>
                    <a:pt x="2934605" y="1242324"/>
                    <a:pt x="2934605" y="1242324"/>
                  </a:cubicBezTo>
                  <a:cubicBezTo>
                    <a:pt x="2924017" y="1241510"/>
                    <a:pt x="2913429" y="1240695"/>
                    <a:pt x="2902840" y="1239066"/>
                  </a:cubicBezTo>
                  <a:cubicBezTo>
                    <a:pt x="2893066" y="1238252"/>
                    <a:pt x="2882478" y="1234994"/>
                    <a:pt x="2872704" y="1240695"/>
                  </a:cubicBezTo>
                  <a:cubicBezTo>
                    <a:pt x="2871889" y="1241510"/>
                    <a:pt x="2870260" y="1240695"/>
                    <a:pt x="2868632" y="1240695"/>
                  </a:cubicBezTo>
                  <a:cubicBezTo>
                    <a:pt x="2849084" y="1241510"/>
                    <a:pt x="2830351" y="1245582"/>
                    <a:pt x="2810803" y="1243953"/>
                  </a:cubicBezTo>
                  <a:cubicBezTo>
                    <a:pt x="2808359" y="1243953"/>
                    <a:pt x="2805101" y="1243953"/>
                    <a:pt x="2803473" y="1244768"/>
                  </a:cubicBezTo>
                  <a:cubicBezTo>
                    <a:pt x="2795328" y="1251284"/>
                    <a:pt x="2786368" y="1250469"/>
                    <a:pt x="2777409" y="1247211"/>
                  </a:cubicBezTo>
                  <a:cubicBezTo>
                    <a:pt x="2776594" y="1245582"/>
                    <a:pt x="2775780" y="1244768"/>
                    <a:pt x="2774965" y="1243953"/>
                  </a:cubicBezTo>
                  <a:cubicBezTo>
                    <a:pt x="2771707" y="1242324"/>
                    <a:pt x="2770078" y="1239066"/>
                    <a:pt x="2769264" y="1236623"/>
                  </a:cubicBezTo>
                  <a:cubicBezTo>
                    <a:pt x="2769264" y="1235809"/>
                    <a:pt x="2767635" y="1234994"/>
                    <a:pt x="2766821" y="1234179"/>
                  </a:cubicBezTo>
                  <a:cubicBezTo>
                    <a:pt x="2766821" y="1234179"/>
                    <a:pt x="2766821" y="1234179"/>
                    <a:pt x="2766821" y="1234179"/>
                  </a:cubicBezTo>
                  <a:cubicBezTo>
                    <a:pt x="2766821" y="1234179"/>
                    <a:pt x="2766821" y="1234179"/>
                    <a:pt x="2766821" y="1234179"/>
                  </a:cubicBezTo>
                  <a:lnTo>
                    <a:pt x="2766821" y="1234179"/>
                  </a:lnTo>
                  <a:cubicBezTo>
                    <a:pt x="2776594" y="1230922"/>
                    <a:pt x="2787183" y="1230922"/>
                    <a:pt x="2797771" y="1228478"/>
                  </a:cubicBezTo>
                  <a:cubicBezTo>
                    <a:pt x="2805101" y="1226849"/>
                    <a:pt x="2812432" y="1226035"/>
                    <a:pt x="2820577" y="1226035"/>
                  </a:cubicBezTo>
                  <a:cubicBezTo>
                    <a:pt x="2825463" y="1226035"/>
                    <a:pt x="2831980" y="1226849"/>
                    <a:pt x="2835237" y="1221148"/>
                  </a:cubicBezTo>
                  <a:cubicBezTo>
                    <a:pt x="2836052" y="1220333"/>
                    <a:pt x="2837681" y="1220333"/>
                    <a:pt x="2838495" y="1220333"/>
                  </a:cubicBezTo>
                  <a:cubicBezTo>
                    <a:pt x="2841753" y="1220333"/>
                    <a:pt x="2844197" y="1220333"/>
                    <a:pt x="2847455" y="1219519"/>
                  </a:cubicBezTo>
                  <a:cubicBezTo>
                    <a:pt x="2857229" y="1217890"/>
                    <a:pt x="2866188" y="1217890"/>
                    <a:pt x="2875962" y="1221148"/>
                  </a:cubicBezTo>
                  <a:cubicBezTo>
                    <a:pt x="2880849" y="1222777"/>
                    <a:pt x="2886550" y="1223591"/>
                    <a:pt x="2892252" y="1224405"/>
                  </a:cubicBezTo>
                  <a:cubicBezTo>
                    <a:pt x="2894695" y="1224405"/>
                    <a:pt x="2897139" y="1222777"/>
                    <a:pt x="2898767" y="1221962"/>
                  </a:cubicBezTo>
                  <a:cubicBezTo>
                    <a:pt x="2897953" y="1216261"/>
                    <a:pt x="2904469" y="1217890"/>
                    <a:pt x="2906098" y="1214632"/>
                  </a:cubicBezTo>
                  <a:cubicBezTo>
                    <a:pt x="2902840" y="1213003"/>
                    <a:pt x="2899582" y="1212188"/>
                    <a:pt x="2896324" y="1211374"/>
                  </a:cubicBezTo>
                  <a:cubicBezTo>
                    <a:pt x="2893066" y="1209745"/>
                    <a:pt x="2890622" y="1207301"/>
                    <a:pt x="2888179" y="1205672"/>
                  </a:cubicBezTo>
                  <a:cubicBezTo>
                    <a:pt x="2891437" y="1202414"/>
                    <a:pt x="2892252" y="1198342"/>
                    <a:pt x="2890622" y="1194270"/>
                  </a:cubicBezTo>
                  <a:cubicBezTo>
                    <a:pt x="2884107" y="1191826"/>
                    <a:pt x="2877591" y="1186939"/>
                    <a:pt x="2872704" y="1182052"/>
                  </a:cubicBezTo>
                  <a:cubicBezTo>
                    <a:pt x="2869446" y="1178794"/>
                    <a:pt x="2866188" y="1177165"/>
                    <a:pt x="2861301" y="1177165"/>
                  </a:cubicBezTo>
                  <a:cubicBezTo>
                    <a:pt x="2860487" y="1177165"/>
                    <a:pt x="2858858" y="1176351"/>
                    <a:pt x="2857229" y="1175536"/>
                  </a:cubicBezTo>
                  <a:cubicBezTo>
                    <a:pt x="2858858" y="1174722"/>
                    <a:pt x="2859672" y="1173093"/>
                    <a:pt x="2860487" y="1173093"/>
                  </a:cubicBezTo>
                  <a:cubicBezTo>
                    <a:pt x="2867003" y="1172278"/>
                    <a:pt x="2873518" y="1172278"/>
                    <a:pt x="2880034" y="1171464"/>
                  </a:cubicBezTo>
                  <a:cubicBezTo>
                    <a:pt x="2883292" y="1171464"/>
                    <a:pt x="2887365" y="1171464"/>
                    <a:pt x="2890622" y="1170649"/>
                  </a:cubicBezTo>
                  <a:cubicBezTo>
                    <a:pt x="2893066" y="1169835"/>
                    <a:pt x="2895510" y="1168206"/>
                    <a:pt x="2893881" y="1164948"/>
                  </a:cubicBezTo>
                  <a:cubicBezTo>
                    <a:pt x="2888994" y="1165762"/>
                    <a:pt x="2883292" y="1166577"/>
                    <a:pt x="2878405" y="1166577"/>
                  </a:cubicBezTo>
                  <a:cubicBezTo>
                    <a:pt x="2853970" y="1167391"/>
                    <a:pt x="2829536" y="1168206"/>
                    <a:pt x="2805916" y="1169020"/>
                  </a:cubicBezTo>
                  <a:cubicBezTo>
                    <a:pt x="2801029" y="1169020"/>
                    <a:pt x="2796956" y="1169835"/>
                    <a:pt x="2792884" y="1172278"/>
                  </a:cubicBezTo>
                  <a:cubicBezTo>
                    <a:pt x="2792069" y="1172278"/>
                    <a:pt x="2792069" y="1171464"/>
                    <a:pt x="2791255" y="1171464"/>
                  </a:cubicBezTo>
                  <a:cubicBezTo>
                    <a:pt x="2790440" y="1170649"/>
                    <a:pt x="2787997" y="1171464"/>
                    <a:pt x="2787183" y="1171464"/>
                  </a:cubicBezTo>
                  <a:cubicBezTo>
                    <a:pt x="2786368" y="1173093"/>
                    <a:pt x="2786368" y="1174722"/>
                    <a:pt x="2787183" y="1176351"/>
                  </a:cubicBezTo>
                  <a:cubicBezTo>
                    <a:pt x="2787183" y="1178794"/>
                    <a:pt x="2787997" y="1181238"/>
                    <a:pt x="2788811" y="1183681"/>
                  </a:cubicBezTo>
                  <a:cubicBezTo>
                    <a:pt x="2775780" y="1184496"/>
                    <a:pt x="2762748" y="1185310"/>
                    <a:pt x="2749716" y="1186125"/>
                  </a:cubicBezTo>
                  <a:cubicBezTo>
                    <a:pt x="2749716" y="1190197"/>
                    <a:pt x="2748902" y="1192640"/>
                    <a:pt x="2745643" y="1191826"/>
                  </a:cubicBezTo>
                  <a:cubicBezTo>
                    <a:pt x="2743200" y="1191826"/>
                    <a:pt x="2741571" y="1190197"/>
                    <a:pt x="2739942" y="1190197"/>
                  </a:cubicBezTo>
                  <a:cubicBezTo>
                    <a:pt x="2738313" y="1189383"/>
                    <a:pt x="2735870" y="1189383"/>
                    <a:pt x="2734241" y="1189383"/>
                  </a:cubicBezTo>
                  <a:cubicBezTo>
                    <a:pt x="2732612" y="1188568"/>
                    <a:pt x="2730983" y="1186939"/>
                    <a:pt x="2730168" y="1186939"/>
                  </a:cubicBezTo>
                  <a:cubicBezTo>
                    <a:pt x="2725281" y="1187753"/>
                    <a:pt x="2719580" y="1187753"/>
                    <a:pt x="2713879" y="1190197"/>
                  </a:cubicBezTo>
                  <a:cubicBezTo>
                    <a:pt x="2715507" y="1191012"/>
                    <a:pt x="2715507" y="1191826"/>
                    <a:pt x="2717136" y="1192640"/>
                  </a:cubicBezTo>
                  <a:cubicBezTo>
                    <a:pt x="2713879" y="1193455"/>
                    <a:pt x="2711435" y="1194270"/>
                    <a:pt x="2708991" y="1195084"/>
                  </a:cubicBezTo>
                  <a:cubicBezTo>
                    <a:pt x="2705734" y="1196713"/>
                    <a:pt x="2700847" y="1195898"/>
                    <a:pt x="2698403" y="1199971"/>
                  </a:cubicBezTo>
                  <a:cubicBezTo>
                    <a:pt x="2696774" y="1203229"/>
                    <a:pt x="2694331" y="1206487"/>
                    <a:pt x="2691887" y="1209745"/>
                  </a:cubicBezTo>
                  <a:cubicBezTo>
                    <a:pt x="2689444" y="1210559"/>
                    <a:pt x="2686186" y="1210559"/>
                    <a:pt x="2683742" y="1211374"/>
                  </a:cubicBezTo>
                  <a:cubicBezTo>
                    <a:pt x="2683742" y="1211374"/>
                    <a:pt x="2683742" y="1211374"/>
                    <a:pt x="2683742" y="1211374"/>
                  </a:cubicBezTo>
                  <a:cubicBezTo>
                    <a:pt x="2685372" y="1205672"/>
                    <a:pt x="2684557" y="1207301"/>
                    <a:pt x="2691073" y="1203229"/>
                  </a:cubicBezTo>
                  <a:cubicBezTo>
                    <a:pt x="2691887" y="1203229"/>
                    <a:pt x="2691887" y="1202414"/>
                    <a:pt x="2692702" y="1202414"/>
                  </a:cubicBezTo>
                  <a:cubicBezTo>
                    <a:pt x="2693516" y="1201600"/>
                    <a:pt x="2694331" y="1200785"/>
                    <a:pt x="2694331" y="1199971"/>
                  </a:cubicBezTo>
                  <a:cubicBezTo>
                    <a:pt x="2695960" y="1198342"/>
                    <a:pt x="2696774" y="1196713"/>
                    <a:pt x="2695960" y="1194270"/>
                  </a:cubicBezTo>
                  <a:cubicBezTo>
                    <a:pt x="2696774" y="1191826"/>
                    <a:pt x="2696774" y="1189383"/>
                    <a:pt x="2697589" y="1186939"/>
                  </a:cubicBezTo>
                  <a:cubicBezTo>
                    <a:pt x="2699217" y="1184496"/>
                    <a:pt x="2696774" y="1181238"/>
                    <a:pt x="2698403" y="1178794"/>
                  </a:cubicBezTo>
                  <a:cubicBezTo>
                    <a:pt x="2699217" y="1176351"/>
                    <a:pt x="2698403" y="1173093"/>
                    <a:pt x="2698403" y="1170649"/>
                  </a:cubicBezTo>
                  <a:cubicBezTo>
                    <a:pt x="2698403" y="1169835"/>
                    <a:pt x="2697589" y="1169020"/>
                    <a:pt x="2695960" y="1168206"/>
                  </a:cubicBezTo>
                  <a:cubicBezTo>
                    <a:pt x="2694331" y="1168206"/>
                    <a:pt x="2693516" y="1167391"/>
                    <a:pt x="2691887" y="1168206"/>
                  </a:cubicBezTo>
                  <a:cubicBezTo>
                    <a:pt x="2691073" y="1168206"/>
                    <a:pt x="2690258" y="1169020"/>
                    <a:pt x="2690258" y="1169020"/>
                  </a:cubicBezTo>
                  <a:cubicBezTo>
                    <a:pt x="2687815" y="1169835"/>
                    <a:pt x="2686186" y="1171464"/>
                    <a:pt x="2683742" y="1172278"/>
                  </a:cubicBezTo>
                  <a:cubicBezTo>
                    <a:pt x="2682113" y="1173093"/>
                    <a:pt x="2680484" y="1173093"/>
                    <a:pt x="2679670" y="1170649"/>
                  </a:cubicBezTo>
                  <a:cubicBezTo>
                    <a:pt x="2678855" y="1169020"/>
                    <a:pt x="2678855" y="1168206"/>
                    <a:pt x="2680484" y="1168206"/>
                  </a:cubicBezTo>
                  <a:cubicBezTo>
                    <a:pt x="2681299" y="1168206"/>
                    <a:pt x="2682113" y="1168206"/>
                    <a:pt x="2682113" y="1168206"/>
                  </a:cubicBezTo>
                  <a:cubicBezTo>
                    <a:pt x="2682928" y="1168206"/>
                    <a:pt x="2682928" y="1167391"/>
                    <a:pt x="2683742" y="1166577"/>
                  </a:cubicBezTo>
                  <a:cubicBezTo>
                    <a:pt x="2683742" y="1165762"/>
                    <a:pt x="2682928" y="1164133"/>
                    <a:pt x="2682113" y="1164133"/>
                  </a:cubicBezTo>
                  <a:cubicBezTo>
                    <a:pt x="2681299" y="1164133"/>
                    <a:pt x="2680484" y="1164133"/>
                    <a:pt x="2680484" y="1164133"/>
                  </a:cubicBezTo>
                  <a:cubicBezTo>
                    <a:pt x="2678855" y="1164133"/>
                    <a:pt x="2677227" y="1163319"/>
                    <a:pt x="2678041" y="1160875"/>
                  </a:cubicBezTo>
                  <a:cubicBezTo>
                    <a:pt x="2678041" y="1159246"/>
                    <a:pt x="2678855" y="1158432"/>
                    <a:pt x="2679670" y="1157617"/>
                  </a:cubicBezTo>
                  <a:cubicBezTo>
                    <a:pt x="2680484" y="1156803"/>
                    <a:pt x="2681299" y="1156803"/>
                    <a:pt x="2682113" y="1155988"/>
                  </a:cubicBezTo>
                  <a:cubicBezTo>
                    <a:pt x="2683742" y="1155174"/>
                    <a:pt x="2684557" y="1153545"/>
                    <a:pt x="2684557" y="1151916"/>
                  </a:cubicBezTo>
                  <a:cubicBezTo>
                    <a:pt x="2684557" y="1151101"/>
                    <a:pt x="2684557" y="1149473"/>
                    <a:pt x="2684557" y="1148658"/>
                  </a:cubicBezTo>
                  <a:cubicBezTo>
                    <a:pt x="2684557" y="1148658"/>
                    <a:pt x="2684557" y="1147844"/>
                    <a:pt x="2685372" y="1147844"/>
                  </a:cubicBezTo>
                  <a:cubicBezTo>
                    <a:pt x="2686186" y="1147844"/>
                    <a:pt x="2687000" y="1147844"/>
                    <a:pt x="2687815" y="1147844"/>
                  </a:cubicBezTo>
                  <a:cubicBezTo>
                    <a:pt x="2688629" y="1147029"/>
                    <a:pt x="2688629" y="1146215"/>
                    <a:pt x="2689444" y="1145400"/>
                  </a:cubicBezTo>
                  <a:cubicBezTo>
                    <a:pt x="2690258" y="1145400"/>
                    <a:pt x="2691887" y="1145400"/>
                    <a:pt x="2691887" y="1144586"/>
                  </a:cubicBezTo>
                  <a:cubicBezTo>
                    <a:pt x="2691887" y="1142957"/>
                    <a:pt x="2692702" y="1142142"/>
                    <a:pt x="2692702" y="1140513"/>
                  </a:cubicBezTo>
                  <a:cubicBezTo>
                    <a:pt x="2692702" y="1138884"/>
                    <a:pt x="2693516" y="1137255"/>
                    <a:pt x="2695960" y="1136441"/>
                  </a:cubicBezTo>
                  <a:cubicBezTo>
                    <a:pt x="2697589" y="1135626"/>
                    <a:pt x="2699217" y="1134812"/>
                    <a:pt x="2700847" y="1133997"/>
                  </a:cubicBezTo>
                  <a:cubicBezTo>
                    <a:pt x="2701661" y="1133997"/>
                    <a:pt x="2702476" y="1133183"/>
                    <a:pt x="2702476" y="1133183"/>
                  </a:cubicBezTo>
                  <a:cubicBezTo>
                    <a:pt x="2703290" y="1132368"/>
                    <a:pt x="2703290" y="1131554"/>
                    <a:pt x="2703290" y="1130739"/>
                  </a:cubicBezTo>
                  <a:cubicBezTo>
                    <a:pt x="2702476" y="1128296"/>
                    <a:pt x="2703290" y="1125852"/>
                    <a:pt x="2705734" y="1124223"/>
                  </a:cubicBezTo>
                  <a:cubicBezTo>
                    <a:pt x="2708177" y="1122594"/>
                    <a:pt x="2709806" y="1121780"/>
                    <a:pt x="2712250" y="1120151"/>
                  </a:cubicBezTo>
                  <a:cubicBezTo>
                    <a:pt x="2713064" y="1120151"/>
                    <a:pt x="2713064" y="1118522"/>
                    <a:pt x="2713064" y="1118522"/>
                  </a:cubicBezTo>
                  <a:cubicBezTo>
                    <a:pt x="2712250" y="1114449"/>
                    <a:pt x="2713064" y="1112821"/>
                    <a:pt x="2716322" y="1110377"/>
                  </a:cubicBezTo>
                  <a:cubicBezTo>
                    <a:pt x="2718765" y="1109563"/>
                    <a:pt x="2720395" y="1107934"/>
                    <a:pt x="2722024" y="1105490"/>
                  </a:cubicBezTo>
                  <a:cubicBezTo>
                    <a:pt x="2722024" y="1104676"/>
                    <a:pt x="2722838" y="1104676"/>
                    <a:pt x="2723652" y="1103861"/>
                  </a:cubicBezTo>
                  <a:cubicBezTo>
                    <a:pt x="2724467" y="1103047"/>
                    <a:pt x="2726096" y="1102232"/>
                    <a:pt x="2726910" y="1101418"/>
                  </a:cubicBezTo>
                  <a:cubicBezTo>
                    <a:pt x="2727725" y="1100603"/>
                    <a:pt x="2726910" y="1098974"/>
                    <a:pt x="2726910" y="1097345"/>
                  </a:cubicBezTo>
                  <a:cubicBezTo>
                    <a:pt x="2726910" y="1096531"/>
                    <a:pt x="2726910" y="1094902"/>
                    <a:pt x="2727725" y="1094087"/>
                  </a:cubicBezTo>
                  <a:cubicBezTo>
                    <a:pt x="2729354" y="1092458"/>
                    <a:pt x="2730168" y="1090829"/>
                    <a:pt x="2730168" y="1088386"/>
                  </a:cubicBezTo>
                  <a:cubicBezTo>
                    <a:pt x="2730983" y="1086757"/>
                    <a:pt x="2731797" y="1085942"/>
                    <a:pt x="2732612" y="1085128"/>
                  </a:cubicBezTo>
                  <a:cubicBezTo>
                    <a:pt x="2733426" y="1084313"/>
                    <a:pt x="2734241" y="1083499"/>
                    <a:pt x="2734241" y="1082684"/>
                  </a:cubicBezTo>
                  <a:cubicBezTo>
                    <a:pt x="2735055" y="1081870"/>
                    <a:pt x="2735055" y="1081870"/>
                    <a:pt x="2735870" y="1081870"/>
                  </a:cubicBezTo>
                  <a:cubicBezTo>
                    <a:pt x="2738313" y="1081870"/>
                    <a:pt x="2739942" y="1081056"/>
                    <a:pt x="2741571" y="1079426"/>
                  </a:cubicBezTo>
                  <a:cubicBezTo>
                    <a:pt x="2743200" y="1076983"/>
                    <a:pt x="2744014" y="1075354"/>
                    <a:pt x="2745643" y="1073725"/>
                  </a:cubicBezTo>
                  <a:cubicBezTo>
                    <a:pt x="2747273" y="1072096"/>
                    <a:pt x="2749716" y="1071282"/>
                    <a:pt x="2752159" y="1069652"/>
                  </a:cubicBezTo>
                  <a:cubicBezTo>
                    <a:pt x="2753788" y="1068838"/>
                    <a:pt x="2756232" y="1067209"/>
                    <a:pt x="2757861" y="1066395"/>
                  </a:cubicBezTo>
                  <a:cubicBezTo>
                    <a:pt x="2758676" y="1066395"/>
                    <a:pt x="2758676" y="1065580"/>
                    <a:pt x="2758676" y="1064766"/>
                  </a:cubicBezTo>
                  <a:cubicBezTo>
                    <a:pt x="2758676" y="1063951"/>
                    <a:pt x="2759490" y="1063951"/>
                    <a:pt x="2760304" y="1063951"/>
                  </a:cubicBezTo>
                  <a:cubicBezTo>
                    <a:pt x="2762748" y="1063951"/>
                    <a:pt x="2765191" y="1062322"/>
                    <a:pt x="2766821" y="1061508"/>
                  </a:cubicBezTo>
                  <a:cubicBezTo>
                    <a:pt x="2766821" y="1061508"/>
                    <a:pt x="2767635" y="1059879"/>
                    <a:pt x="2766821" y="1059879"/>
                  </a:cubicBezTo>
                  <a:cubicBezTo>
                    <a:pt x="2766006" y="1058250"/>
                    <a:pt x="2766821" y="1057435"/>
                    <a:pt x="2767635" y="1056621"/>
                  </a:cubicBezTo>
                  <a:cubicBezTo>
                    <a:pt x="2768449" y="1056621"/>
                    <a:pt x="2769264" y="1055806"/>
                    <a:pt x="2769264" y="1055806"/>
                  </a:cubicBezTo>
                  <a:cubicBezTo>
                    <a:pt x="2770078" y="1052548"/>
                    <a:pt x="2772522" y="1051734"/>
                    <a:pt x="2774965" y="1050105"/>
                  </a:cubicBezTo>
                  <a:cubicBezTo>
                    <a:pt x="2778223" y="1048476"/>
                    <a:pt x="2781481" y="1046032"/>
                    <a:pt x="2784739" y="1044403"/>
                  </a:cubicBezTo>
                  <a:cubicBezTo>
                    <a:pt x="2785554" y="1043589"/>
                    <a:pt x="2786368" y="1042774"/>
                    <a:pt x="2787183" y="1041960"/>
                  </a:cubicBezTo>
                  <a:cubicBezTo>
                    <a:pt x="2787997" y="1041145"/>
                    <a:pt x="2787997" y="1040331"/>
                    <a:pt x="2788811" y="1039517"/>
                  </a:cubicBezTo>
                  <a:cubicBezTo>
                    <a:pt x="2792069" y="1037887"/>
                    <a:pt x="2795328" y="1034630"/>
                    <a:pt x="2799400" y="1035444"/>
                  </a:cubicBezTo>
                  <a:cubicBezTo>
                    <a:pt x="2801843" y="1033815"/>
                    <a:pt x="2805101" y="1033000"/>
                    <a:pt x="2807545" y="1031372"/>
                  </a:cubicBezTo>
                  <a:cubicBezTo>
                    <a:pt x="2809174" y="1030557"/>
                    <a:pt x="2810803" y="1029743"/>
                    <a:pt x="2812432" y="1028928"/>
                  </a:cubicBezTo>
                  <a:cubicBezTo>
                    <a:pt x="2814061" y="1028114"/>
                    <a:pt x="2815690" y="1028928"/>
                    <a:pt x="2817318" y="1028114"/>
                  </a:cubicBezTo>
                  <a:cubicBezTo>
                    <a:pt x="2818133" y="1028114"/>
                    <a:pt x="2818133" y="1027299"/>
                    <a:pt x="2818948" y="1026485"/>
                  </a:cubicBezTo>
                  <a:cubicBezTo>
                    <a:pt x="2819762" y="1025670"/>
                    <a:pt x="2819762" y="1024856"/>
                    <a:pt x="2819762" y="1024856"/>
                  </a:cubicBezTo>
                  <a:cubicBezTo>
                    <a:pt x="2823020" y="1025670"/>
                    <a:pt x="2824649" y="1023227"/>
                    <a:pt x="2827092" y="1022412"/>
                  </a:cubicBezTo>
                  <a:cubicBezTo>
                    <a:pt x="2830351" y="1020783"/>
                    <a:pt x="2832794" y="1019154"/>
                    <a:pt x="2835237" y="1017525"/>
                  </a:cubicBezTo>
                  <a:cubicBezTo>
                    <a:pt x="2836866" y="1016711"/>
                    <a:pt x="2836866" y="1014267"/>
                    <a:pt x="2838495" y="1013453"/>
                  </a:cubicBezTo>
                  <a:cubicBezTo>
                    <a:pt x="2840125" y="1011824"/>
                    <a:pt x="2842568" y="1011009"/>
                    <a:pt x="2845011" y="1009380"/>
                  </a:cubicBezTo>
                  <a:cubicBezTo>
                    <a:pt x="2845826" y="1009380"/>
                    <a:pt x="2846640" y="1008566"/>
                    <a:pt x="2846640" y="1008566"/>
                  </a:cubicBezTo>
                  <a:cubicBezTo>
                    <a:pt x="2849084" y="1008566"/>
                    <a:pt x="2850713" y="1007751"/>
                    <a:pt x="2852342" y="1006937"/>
                  </a:cubicBezTo>
                  <a:cubicBezTo>
                    <a:pt x="2853156" y="1006122"/>
                    <a:pt x="2853970" y="1006122"/>
                    <a:pt x="2854785" y="1005308"/>
                  </a:cubicBezTo>
                  <a:cubicBezTo>
                    <a:pt x="2855600" y="1004493"/>
                    <a:pt x="2855600" y="1003679"/>
                    <a:pt x="2855600" y="1002864"/>
                  </a:cubicBezTo>
                  <a:cubicBezTo>
                    <a:pt x="2854785" y="999607"/>
                    <a:pt x="2855600" y="997163"/>
                    <a:pt x="2858858" y="995534"/>
                  </a:cubicBezTo>
                  <a:cubicBezTo>
                    <a:pt x="2862930" y="993905"/>
                    <a:pt x="2866188" y="991462"/>
                    <a:pt x="2870260" y="989833"/>
                  </a:cubicBezTo>
                  <a:cubicBezTo>
                    <a:pt x="2873518" y="988204"/>
                    <a:pt x="2875962" y="985760"/>
                    <a:pt x="2880034" y="986575"/>
                  </a:cubicBezTo>
                  <a:cubicBezTo>
                    <a:pt x="2882478" y="985760"/>
                    <a:pt x="2885736" y="984946"/>
                    <a:pt x="2887365" y="982502"/>
                  </a:cubicBezTo>
                  <a:cubicBezTo>
                    <a:pt x="2888994" y="980059"/>
                    <a:pt x="2890622" y="978430"/>
                    <a:pt x="2892252" y="977615"/>
                  </a:cubicBezTo>
                  <a:cubicBezTo>
                    <a:pt x="2893881" y="976801"/>
                    <a:pt x="2893881" y="974357"/>
                    <a:pt x="2895510" y="973543"/>
                  </a:cubicBezTo>
                  <a:cubicBezTo>
                    <a:pt x="2897139" y="972728"/>
                    <a:pt x="2896324" y="971099"/>
                    <a:pt x="2896324" y="969470"/>
                  </a:cubicBezTo>
                  <a:cubicBezTo>
                    <a:pt x="2896324" y="967027"/>
                    <a:pt x="2897139" y="964583"/>
                    <a:pt x="2900396" y="963769"/>
                  </a:cubicBezTo>
                  <a:cubicBezTo>
                    <a:pt x="2902840" y="962955"/>
                    <a:pt x="2903655" y="958882"/>
                    <a:pt x="2906098" y="958068"/>
                  </a:cubicBezTo>
                  <a:cubicBezTo>
                    <a:pt x="2906912" y="958068"/>
                    <a:pt x="2906912" y="957253"/>
                    <a:pt x="2907727" y="956439"/>
                  </a:cubicBezTo>
                  <a:cubicBezTo>
                    <a:pt x="2908541" y="953995"/>
                    <a:pt x="2910985" y="952366"/>
                    <a:pt x="2910985" y="949923"/>
                  </a:cubicBezTo>
                  <a:cubicBezTo>
                    <a:pt x="2910985" y="948294"/>
                    <a:pt x="2912614" y="946665"/>
                    <a:pt x="2914243" y="945850"/>
                  </a:cubicBezTo>
                  <a:cubicBezTo>
                    <a:pt x="2915872" y="945036"/>
                    <a:pt x="2915872" y="943407"/>
                    <a:pt x="2915872" y="942592"/>
                  </a:cubicBezTo>
                  <a:cubicBezTo>
                    <a:pt x="2915872" y="940149"/>
                    <a:pt x="2915872" y="936891"/>
                    <a:pt x="2915057" y="934447"/>
                  </a:cubicBezTo>
                  <a:cubicBezTo>
                    <a:pt x="2914243" y="932818"/>
                    <a:pt x="2915057" y="932004"/>
                    <a:pt x="2915872" y="931189"/>
                  </a:cubicBezTo>
                  <a:cubicBezTo>
                    <a:pt x="2918315" y="929560"/>
                    <a:pt x="2921573" y="927931"/>
                    <a:pt x="2924017" y="926303"/>
                  </a:cubicBezTo>
                  <a:cubicBezTo>
                    <a:pt x="2924831" y="925488"/>
                    <a:pt x="2925646" y="924673"/>
                    <a:pt x="2924831" y="923859"/>
                  </a:cubicBezTo>
                  <a:cubicBezTo>
                    <a:pt x="2924017" y="921416"/>
                    <a:pt x="2924831" y="920601"/>
                    <a:pt x="2926460" y="919786"/>
                  </a:cubicBezTo>
                  <a:cubicBezTo>
                    <a:pt x="2928904" y="918158"/>
                    <a:pt x="2932162" y="916529"/>
                    <a:pt x="2934605" y="915714"/>
                  </a:cubicBezTo>
                  <a:cubicBezTo>
                    <a:pt x="2937863" y="914085"/>
                    <a:pt x="2940307" y="912456"/>
                    <a:pt x="2943564" y="910827"/>
                  </a:cubicBezTo>
                  <a:cubicBezTo>
                    <a:pt x="2943564" y="910827"/>
                    <a:pt x="2944379" y="910827"/>
                    <a:pt x="2944379" y="910013"/>
                  </a:cubicBezTo>
                  <a:cubicBezTo>
                    <a:pt x="2944379" y="909198"/>
                    <a:pt x="2945193" y="909198"/>
                    <a:pt x="2945193" y="908384"/>
                  </a:cubicBezTo>
                  <a:cubicBezTo>
                    <a:pt x="2941936" y="902682"/>
                    <a:pt x="2941936" y="902682"/>
                    <a:pt x="2941936" y="902682"/>
                  </a:cubicBezTo>
                  <a:close/>
                  <a:moveTo>
                    <a:pt x="2755417" y="501139"/>
                  </a:moveTo>
                  <a:cubicBezTo>
                    <a:pt x="2755417" y="504397"/>
                    <a:pt x="2753788" y="507655"/>
                    <a:pt x="2751345" y="510913"/>
                  </a:cubicBezTo>
                  <a:cubicBezTo>
                    <a:pt x="2751345" y="509284"/>
                    <a:pt x="2750531" y="507655"/>
                    <a:pt x="2750531" y="506026"/>
                  </a:cubicBezTo>
                  <a:cubicBezTo>
                    <a:pt x="2752974" y="505211"/>
                    <a:pt x="2754603" y="503582"/>
                    <a:pt x="2755417" y="501139"/>
                  </a:cubicBezTo>
                  <a:close/>
                  <a:moveTo>
                    <a:pt x="2708991" y="444939"/>
                  </a:moveTo>
                  <a:cubicBezTo>
                    <a:pt x="2709806" y="447383"/>
                    <a:pt x="2711435" y="448197"/>
                    <a:pt x="2713879" y="448197"/>
                  </a:cubicBezTo>
                  <a:cubicBezTo>
                    <a:pt x="2709806" y="457157"/>
                    <a:pt x="2701661" y="461229"/>
                    <a:pt x="2692702" y="465302"/>
                  </a:cubicBezTo>
                  <a:cubicBezTo>
                    <a:pt x="2695960" y="457971"/>
                    <a:pt x="2702476" y="451455"/>
                    <a:pt x="2708991" y="444939"/>
                  </a:cubicBezTo>
                  <a:close/>
                  <a:moveTo>
                    <a:pt x="2493152" y="469374"/>
                  </a:moveTo>
                  <a:cubicBezTo>
                    <a:pt x="2493967" y="466116"/>
                    <a:pt x="2493967" y="463672"/>
                    <a:pt x="2496410" y="461229"/>
                  </a:cubicBezTo>
                  <a:cubicBezTo>
                    <a:pt x="2498039" y="459600"/>
                    <a:pt x="2498853" y="457157"/>
                    <a:pt x="2498039" y="455528"/>
                  </a:cubicBezTo>
                  <a:cubicBezTo>
                    <a:pt x="2500482" y="455528"/>
                    <a:pt x="2503740" y="454713"/>
                    <a:pt x="2506184" y="453899"/>
                  </a:cubicBezTo>
                  <a:cubicBezTo>
                    <a:pt x="2506184" y="453899"/>
                    <a:pt x="2506184" y="453899"/>
                    <a:pt x="2506998" y="453899"/>
                  </a:cubicBezTo>
                  <a:cubicBezTo>
                    <a:pt x="2506998" y="454713"/>
                    <a:pt x="2506184" y="455528"/>
                    <a:pt x="2506184" y="455528"/>
                  </a:cubicBezTo>
                  <a:cubicBezTo>
                    <a:pt x="2505369" y="455528"/>
                    <a:pt x="2504555" y="456342"/>
                    <a:pt x="2504555" y="456342"/>
                  </a:cubicBezTo>
                  <a:cubicBezTo>
                    <a:pt x="2504555" y="457157"/>
                    <a:pt x="2504555" y="457971"/>
                    <a:pt x="2505369" y="458785"/>
                  </a:cubicBezTo>
                  <a:cubicBezTo>
                    <a:pt x="2506998" y="459600"/>
                    <a:pt x="2507812" y="459600"/>
                    <a:pt x="2509442" y="459600"/>
                  </a:cubicBezTo>
                  <a:cubicBezTo>
                    <a:pt x="2510256" y="459600"/>
                    <a:pt x="2510256" y="459600"/>
                    <a:pt x="2511071" y="459600"/>
                  </a:cubicBezTo>
                  <a:cubicBezTo>
                    <a:pt x="2512700" y="459600"/>
                    <a:pt x="2513514" y="458785"/>
                    <a:pt x="2513514" y="457157"/>
                  </a:cubicBezTo>
                  <a:lnTo>
                    <a:pt x="2513514" y="457157"/>
                  </a:lnTo>
                  <a:lnTo>
                    <a:pt x="2513514" y="457157"/>
                  </a:lnTo>
                  <a:cubicBezTo>
                    <a:pt x="2513514" y="456342"/>
                    <a:pt x="2513514" y="456342"/>
                    <a:pt x="2513514" y="455528"/>
                  </a:cubicBezTo>
                  <a:cubicBezTo>
                    <a:pt x="2513514" y="453899"/>
                    <a:pt x="2513514" y="453084"/>
                    <a:pt x="2512700" y="451455"/>
                  </a:cubicBezTo>
                  <a:cubicBezTo>
                    <a:pt x="2514329" y="451455"/>
                    <a:pt x="2515143" y="451455"/>
                    <a:pt x="2516772" y="450641"/>
                  </a:cubicBezTo>
                  <a:cubicBezTo>
                    <a:pt x="2517586" y="451455"/>
                    <a:pt x="2518401" y="452270"/>
                    <a:pt x="2520030" y="452270"/>
                  </a:cubicBezTo>
                  <a:cubicBezTo>
                    <a:pt x="2521659" y="452270"/>
                    <a:pt x="2524102" y="452270"/>
                    <a:pt x="2525731" y="451455"/>
                  </a:cubicBezTo>
                  <a:cubicBezTo>
                    <a:pt x="2526546" y="450641"/>
                    <a:pt x="2527360" y="447383"/>
                    <a:pt x="2527360" y="446568"/>
                  </a:cubicBezTo>
                  <a:cubicBezTo>
                    <a:pt x="2526546" y="444939"/>
                    <a:pt x="2524917" y="444125"/>
                    <a:pt x="2523288" y="443310"/>
                  </a:cubicBezTo>
                  <a:cubicBezTo>
                    <a:pt x="2522474" y="443310"/>
                    <a:pt x="2521659" y="443310"/>
                    <a:pt x="2520845" y="443310"/>
                  </a:cubicBezTo>
                  <a:cubicBezTo>
                    <a:pt x="2521659" y="442496"/>
                    <a:pt x="2521659" y="442496"/>
                    <a:pt x="2521659" y="441681"/>
                  </a:cubicBezTo>
                  <a:cubicBezTo>
                    <a:pt x="2520845" y="440052"/>
                    <a:pt x="2519216" y="439238"/>
                    <a:pt x="2517586" y="438423"/>
                  </a:cubicBezTo>
                  <a:cubicBezTo>
                    <a:pt x="2516772" y="438423"/>
                    <a:pt x="2515957" y="438423"/>
                    <a:pt x="2514329" y="439238"/>
                  </a:cubicBezTo>
                  <a:cubicBezTo>
                    <a:pt x="2511885" y="438423"/>
                    <a:pt x="2508627" y="438423"/>
                    <a:pt x="2505369" y="437609"/>
                  </a:cubicBezTo>
                  <a:cubicBezTo>
                    <a:pt x="2504555" y="438423"/>
                    <a:pt x="2504555" y="440052"/>
                    <a:pt x="2503740" y="440867"/>
                  </a:cubicBezTo>
                  <a:cubicBezTo>
                    <a:pt x="2501297" y="440052"/>
                    <a:pt x="2498039" y="439238"/>
                    <a:pt x="2495595" y="440052"/>
                  </a:cubicBezTo>
                  <a:cubicBezTo>
                    <a:pt x="2498039" y="437609"/>
                    <a:pt x="2501297" y="435165"/>
                    <a:pt x="2502926" y="432722"/>
                  </a:cubicBezTo>
                  <a:cubicBezTo>
                    <a:pt x="2521659" y="432722"/>
                    <a:pt x="2541207" y="432722"/>
                    <a:pt x="2559940" y="432722"/>
                  </a:cubicBezTo>
                  <a:cubicBezTo>
                    <a:pt x="2559940" y="432722"/>
                    <a:pt x="2560754" y="431907"/>
                    <a:pt x="2560754" y="431907"/>
                  </a:cubicBezTo>
                  <a:cubicBezTo>
                    <a:pt x="2559940" y="430278"/>
                    <a:pt x="2559126" y="429464"/>
                    <a:pt x="2557497" y="427835"/>
                  </a:cubicBezTo>
                  <a:cubicBezTo>
                    <a:pt x="2562383" y="427020"/>
                    <a:pt x="2566456" y="427020"/>
                    <a:pt x="2569714" y="428650"/>
                  </a:cubicBezTo>
                  <a:cubicBezTo>
                    <a:pt x="2569714" y="431093"/>
                    <a:pt x="2569714" y="432722"/>
                    <a:pt x="2568899" y="435165"/>
                  </a:cubicBezTo>
                  <a:cubicBezTo>
                    <a:pt x="2568899" y="435165"/>
                    <a:pt x="2568899" y="435165"/>
                    <a:pt x="2568899" y="435165"/>
                  </a:cubicBezTo>
                  <a:cubicBezTo>
                    <a:pt x="2568899" y="435165"/>
                    <a:pt x="2568899" y="435980"/>
                    <a:pt x="2568085" y="435980"/>
                  </a:cubicBezTo>
                  <a:cubicBezTo>
                    <a:pt x="2568085" y="435980"/>
                    <a:pt x="2568899" y="435165"/>
                    <a:pt x="2568899" y="435165"/>
                  </a:cubicBezTo>
                  <a:cubicBezTo>
                    <a:pt x="2570528" y="434351"/>
                    <a:pt x="2572972" y="433536"/>
                    <a:pt x="2574601" y="433536"/>
                  </a:cubicBezTo>
                  <a:cubicBezTo>
                    <a:pt x="2574601" y="433536"/>
                    <a:pt x="2574601" y="433536"/>
                    <a:pt x="2574601" y="433536"/>
                  </a:cubicBezTo>
                  <a:cubicBezTo>
                    <a:pt x="2574601" y="435980"/>
                    <a:pt x="2574601" y="437609"/>
                    <a:pt x="2573786" y="439238"/>
                  </a:cubicBezTo>
                  <a:cubicBezTo>
                    <a:pt x="2573786" y="439238"/>
                    <a:pt x="2573786" y="439238"/>
                    <a:pt x="2573786" y="439238"/>
                  </a:cubicBezTo>
                  <a:cubicBezTo>
                    <a:pt x="2573786" y="439238"/>
                    <a:pt x="2573786" y="440052"/>
                    <a:pt x="2572972" y="440052"/>
                  </a:cubicBezTo>
                  <a:cubicBezTo>
                    <a:pt x="2572972" y="440052"/>
                    <a:pt x="2573786" y="439238"/>
                    <a:pt x="2573786" y="439238"/>
                  </a:cubicBezTo>
                  <a:cubicBezTo>
                    <a:pt x="2575416" y="438423"/>
                    <a:pt x="2577859" y="437609"/>
                    <a:pt x="2579488" y="437609"/>
                  </a:cubicBezTo>
                  <a:cubicBezTo>
                    <a:pt x="2588447" y="440867"/>
                    <a:pt x="2597406" y="437609"/>
                    <a:pt x="2606366" y="438423"/>
                  </a:cubicBezTo>
                  <a:cubicBezTo>
                    <a:pt x="2611253" y="439238"/>
                    <a:pt x="2613696" y="435980"/>
                    <a:pt x="2617769" y="434351"/>
                  </a:cubicBezTo>
                  <a:cubicBezTo>
                    <a:pt x="2618583" y="435165"/>
                    <a:pt x="2620212" y="435980"/>
                    <a:pt x="2621027" y="437609"/>
                  </a:cubicBezTo>
                  <a:cubicBezTo>
                    <a:pt x="2618583" y="439238"/>
                    <a:pt x="2616140" y="440867"/>
                    <a:pt x="2614511" y="441681"/>
                  </a:cubicBezTo>
                  <a:cubicBezTo>
                    <a:pt x="2607995" y="443310"/>
                    <a:pt x="2600664" y="445754"/>
                    <a:pt x="2594149" y="447383"/>
                  </a:cubicBezTo>
                  <a:cubicBezTo>
                    <a:pt x="2594149" y="447383"/>
                    <a:pt x="2594149" y="446568"/>
                    <a:pt x="2594149" y="446568"/>
                  </a:cubicBezTo>
                  <a:cubicBezTo>
                    <a:pt x="2593334" y="446568"/>
                    <a:pt x="2592520" y="446568"/>
                    <a:pt x="2591705" y="446568"/>
                  </a:cubicBezTo>
                  <a:cubicBezTo>
                    <a:pt x="2591705" y="447383"/>
                    <a:pt x="2591705" y="447383"/>
                    <a:pt x="2591705" y="448197"/>
                  </a:cubicBezTo>
                  <a:cubicBezTo>
                    <a:pt x="2586818" y="449012"/>
                    <a:pt x="2581931" y="449826"/>
                    <a:pt x="2577044" y="450641"/>
                  </a:cubicBezTo>
                  <a:cubicBezTo>
                    <a:pt x="2577044" y="450641"/>
                    <a:pt x="2577044" y="450641"/>
                    <a:pt x="2577044" y="450641"/>
                  </a:cubicBezTo>
                  <a:cubicBezTo>
                    <a:pt x="2574601" y="447383"/>
                    <a:pt x="2571343" y="446568"/>
                    <a:pt x="2567271" y="448197"/>
                  </a:cubicBezTo>
                  <a:cubicBezTo>
                    <a:pt x="2566456" y="444939"/>
                    <a:pt x="2564827" y="442496"/>
                    <a:pt x="2564012" y="440052"/>
                  </a:cubicBezTo>
                  <a:cubicBezTo>
                    <a:pt x="2560754" y="435165"/>
                    <a:pt x="2556682" y="435165"/>
                    <a:pt x="2553424" y="439238"/>
                  </a:cubicBezTo>
                  <a:cubicBezTo>
                    <a:pt x="2551795" y="441681"/>
                    <a:pt x="2549352" y="444125"/>
                    <a:pt x="2547723" y="446568"/>
                  </a:cubicBezTo>
                  <a:cubicBezTo>
                    <a:pt x="2546094" y="449012"/>
                    <a:pt x="2544465" y="450641"/>
                    <a:pt x="2543650" y="453084"/>
                  </a:cubicBezTo>
                  <a:cubicBezTo>
                    <a:pt x="2542836" y="456342"/>
                    <a:pt x="2544465" y="459600"/>
                    <a:pt x="2546094" y="462858"/>
                  </a:cubicBezTo>
                  <a:cubicBezTo>
                    <a:pt x="2541207" y="466930"/>
                    <a:pt x="2535505" y="469374"/>
                    <a:pt x="2528990" y="470189"/>
                  </a:cubicBezTo>
                  <a:cubicBezTo>
                    <a:pt x="2528990" y="470189"/>
                    <a:pt x="2528990" y="470189"/>
                    <a:pt x="2528990" y="470189"/>
                  </a:cubicBezTo>
                  <a:cubicBezTo>
                    <a:pt x="2527360" y="470189"/>
                    <a:pt x="2526546" y="471003"/>
                    <a:pt x="2524917" y="471003"/>
                  </a:cubicBezTo>
                  <a:cubicBezTo>
                    <a:pt x="2524917" y="471003"/>
                    <a:pt x="2524917" y="471003"/>
                    <a:pt x="2524917" y="471003"/>
                  </a:cubicBezTo>
                  <a:cubicBezTo>
                    <a:pt x="2516772" y="472632"/>
                    <a:pt x="2507812" y="475075"/>
                    <a:pt x="2499668" y="471817"/>
                  </a:cubicBezTo>
                  <a:cubicBezTo>
                    <a:pt x="2498039" y="469374"/>
                    <a:pt x="2495595" y="469374"/>
                    <a:pt x="2493152" y="469374"/>
                  </a:cubicBezTo>
                  <a:cubicBezTo>
                    <a:pt x="2493152" y="470189"/>
                    <a:pt x="2493152" y="470189"/>
                    <a:pt x="2493152" y="469374"/>
                  </a:cubicBezTo>
                  <a:close/>
                  <a:moveTo>
                    <a:pt x="2577044" y="450641"/>
                  </a:moveTo>
                  <a:cubicBezTo>
                    <a:pt x="2576230" y="451455"/>
                    <a:pt x="2576230" y="451455"/>
                    <a:pt x="2575416" y="452270"/>
                  </a:cubicBezTo>
                  <a:cubicBezTo>
                    <a:pt x="2574601" y="452270"/>
                    <a:pt x="2573786" y="452270"/>
                    <a:pt x="2572972" y="453084"/>
                  </a:cubicBezTo>
                  <a:cubicBezTo>
                    <a:pt x="2572157" y="453084"/>
                    <a:pt x="2572157" y="453084"/>
                    <a:pt x="2571343" y="452270"/>
                  </a:cubicBezTo>
                  <a:cubicBezTo>
                    <a:pt x="2572972" y="449826"/>
                    <a:pt x="2575416" y="450641"/>
                    <a:pt x="2577044" y="450641"/>
                  </a:cubicBezTo>
                  <a:close/>
                  <a:moveTo>
                    <a:pt x="2477677" y="514985"/>
                  </a:moveTo>
                  <a:cubicBezTo>
                    <a:pt x="2478491" y="514171"/>
                    <a:pt x="2479305" y="511727"/>
                    <a:pt x="2480120" y="510098"/>
                  </a:cubicBezTo>
                  <a:cubicBezTo>
                    <a:pt x="2480934" y="508469"/>
                    <a:pt x="2480934" y="506841"/>
                    <a:pt x="2481749" y="505211"/>
                  </a:cubicBezTo>
                  <a:cubicBezTo>
                    <a:pt x="2482564" y="503582"/>
                    <a:pt x="2483378" y="502768"/>
                    <a:pt x="2484193" y="501139"/>
                  </a:cubicBezTo>
                  <a:cubicBezTo>
                    <a:pt x="2487450" y="500324"/>
                    <a:pt x="2491523" y="498696"/>
                    <a:pt x="2494781" y="497067"/>
                  </a:cubicBezTo>
                  <a:cubicBezTo>
                    <a:pt x="2501297" y="492994"/>
                    <a:pt x="2508627" y="491365"/>
                    <a:pt x="2516772" y="490551"/>
                  </a:cubicBezTo>
                  <a:cubicBezTo>
                    <a:pt x="2534691" y="487293"/>
                    <a:pt x="2553424" y="487293"/>
                    <a:pt x="2570528" y="480777"/>
                  </a:cubicBezTo>
                  <a:cubicBezTo>
                    <a:pt x="2576230" y="480777"/>
                    <a:pt x="2581931" y="479148"/>
                    <a:pt x="2586818" y="477519"/>
                  </a:cubicBezTo>
                  <a:cubicBezTo>
                    <a:pt x="2586818" y="478333"/>
                    <a:pt x="2586004" y="479148"/>
                    <a:pt x="2585189" y="479962"/>
                  </a:cubicBezTo>
                  <a:cubicBezTo>
                    <a:pt x="2589261" y="480777"/>
                    <a:pt x="2590891" y="478333"/>
                    <a:pt x="2591705" y="475890"/>
                  </a:cubicBezTo>
                  <a:cubicBezTo>
                    <a:pt x="2596592" y="474261"/>
                    <a:pt x="2600664" y="471817"/>
                    <a:pt x="2605551" y="470189"/>
                  </a:cubicBezTo>
                  <a:cubicBezTo>
                    <a:pt x="2607995" y="468559"/>
                    <a:pt x="2611253" y="468559"/>
                    <a:pt x="2614511" y="467745"/>
                  </a:cubicBezTo>
                  <a:cubicBezTo>
                    <a:pt x="2617769" y="466930"/>
                    <a:pt x="2621841" y="466116"/>
                    <a:pt x="2625099" y="464487"/>
                  </a:cubicBezTo>
                  <a:cubicBezTo>
                    <a:pt x="2637316" y="457157"/>
                    <a:pt x="2650348" y="453084"/>
                    <a:pt x="2663380" y="448197"/>
                  </a:cubicBezTo>
                  <a:cubicBezTo>
                    <a:pt x="2668267" y="446568"/>
                    <a:pt x="2673154" y="444939"/>
                    <a:pt x="2678041" y="443310"/>
                  </a:cubicBezTo>
                  <a:cubicBezTo>
                    <a:pt x="2679670" y="443310"/>
                    <a:pt x="2680484" y="443310"/>
                    <a:pt x="2682113" y="443310"/>
                  </a:cubicBezTo>
                  <a:cubicBezTo>
                    <a:pt x="2682113" y="445754"/>
                    <a:pt x="2680484" y="449012"/>
                    <a:pt x="2676412" y="451455"/>
                  </a:cubicBezTo>
                  <a:cubicBezTo>
                    <a:pt x="2669082" y="454713"/>
                    <a:pt x="2661751" y="458785"/>
                    <a:pt x="2654421" y="462044"/>
                  </a:cubicBezTo>
                  <a:cubicBezTo>
                    <a:pt x="2652792" y="462858"/>
                    <a:pt x="2650348" y="463672"/>
                    <a:pt x="2648720" y="464487"/>
                  </a:cubicBezTo>
                  <a:cubicBezTo>
                    <a:pt x="2646276" y="463672"/>
                    <a:pt x="2643832" y="463672"/>
                    <a:pt x="2643018" y="466116"/>
                  </a:cubicBezTo>
                  <a:cubicBezTo>
                    <a:pt x="2643018" y="466116"/>
                    <a:pt x="2643018" y="466930"/>
                    <a:pt x="2643018" y="466930"/>
                  </a:cubicBezTo>
                  <a:cubicBezTo>
                    <a:pt x="2638131" y="469374"/>
                    <a:pt x="2633244" y="471003"/>
                    <a:pt x="2628357" y="473446"/>
                  </a:cubicBezTo>
                  <a:cubicBezTo>
                    <a:pt x="2626728" y="472632"/>
                    <a:pt x="2623470" y="472632"/>
                    <a:pt x="2621027" y="473446"/>
                  </a:cubicBezTo>
                  <a:cubicBezTo>
                    <a:pt x="2620212" y="474261"/>
                    <a:pt x="2618583" y="475075"/>
                    <a:pt x="2618583" y="476704"/>
                  </a:cubicBezTo>
                  <a:cubicBezTo>
                    <a:pt x="2616140" y="477519"/>
                    <a:pt x="2612882" y="478333"/>
                    <a:pt x="2610438" y="478333"/>
                  </a:cubicBezTo>
                  <a:cubicBezTo>
                    <a:pt x="2599035" y="479962"/>
                    <a:pt x="2587633" y="484849"/>
                    <a:pt x="2581931" y="495437"/>
                  </a:cubicBezTo>
                  <a:cubicBezTo>
                    <a:pt x="2581931" y="495437"/>
                    <a:pt x="2582746" y="495437"/>
                    <a:pt x="2582746" y="495437"/>
                  </a:cubicBezTo>
                  <a:cubicBezTo>
                    <a:pt x="2586004" y="494623"/>
                    <a:pt x="2588447" y="494623"/>
                    <a:pt x="2591705" y="493809"/>
                  </a:cubicBezTo>
                  <a:cubicBezTo>
                    <a:pt x="2590076" y="495437"/>
                    <a:pt x="2588447" y="497881"/>
                    <a:pt x="2586818" y="500324"/>
                  </a:cubicBezTo>
                  <a:cubicBezTo>
                    <a:pt x="2586818" y="500324"/>
                    <a:pt x="2587633" y="500324"/>
                    <a:pt x="2587633" y="500324"/>
                  </a:cubicBezTo>
                  <a:cubicBezTo>
                    <a:pt x="2590891" y="499510"/>
                    <a:pt x="2593334" y="499510"/>
                    <a:pt x="2596592" y="498696"/>
                  </a:cubicBezTo>
                  <a:cubicBezTo>
                    <a:pt x="2596592" y="498696"/>
                    <a:pt x="2596592" y="498696"/>
                    <a:pt x="2595778" y="498696"/>
                  </a:cubicBezTo>
                  <a:cubicBezTo>
                    <a:pt x="2586004" y="503582"/>
                    <a:pt x="2575416" y="499510"/>
                    <a:pt x="2564827" y="500324"/>
                  </a:cubicBezTo>
                  <a:cubicBezTo>
                    <a:pt x="2564827" y="502768"/>
                    <a:pt x="2564827" y="505211"/>
                    <a:pt x="2564827" y="507655"/>
                  </a:cubicBezTo>
                  <a:cubicBezTo>
                    <a:pt x="2557497" y="511727"/>
                    <a:pt x="2550166" y="510913"/>
                    <a:pt x="2542021" y="512542"/>
                  </a:cubicBezTo>
                  <a:cubicBezTo>
                    <a:pt x="2532247" y="514171"/>
                    <a:pt x="2532247" y="514171"/>
                    <a:pt x="2524917" y="521501"/>
                  </a:cubicBezTo>
                  <a:cubicBezTo>
                    <a:pt x="2523288" y="519872"/>
                    <a:pt x="2520845" y="520687"/>
                    <a:pt x="2519216" y="521501"/>
                  </a:cubicBezTo>
                  <a:cubicBezTo>
                    <a:pt x="2517586" y="521501"/>
                    <a:pt x="2515957" y="521501"/>
                    <a:pt x="2514329" y="521501"/>
                  </a:cubicBezTo>
                  <a:cubicBezTo>
                    <a:pt x="2514329" y="521501"/>
                    <a:pt x="2513514" y="521501"/>
                    <a:pt x="2513514" y="521501"/>
                  </a:cubicBezTo>
                  <a:cubicBezTo>
                    <a:pt x="2512700" y="521501"/>
                    <a:pt x="2511885" y="521501"/>
                    <a:pt x="2511071" y="521501"/>
                  </a:cubicBezTo>
                  <a:cubicBezTo>
                    <a:pt x="2506184" y="521501"/>
                    <a:pt x="2502111" y="521501"/>
                    <a:pt x="2497224" y="522316"/>
                  </a:cubicBezTo>
                  <a:cubicBezTo>
                    <a:pt x="2489079" y="523130"/>
                    <a:pt x="2481749" y="519872"/>
                    <a:pt x="2473604" y="521501"/>
                  </a:cubicBezTo>
                  <a:cubicBezTo>
                    <a:pt x="2473604" y="519058"/>
                    <a:pt x="2475233" y="516614"/>
                    <a:pt x="2477677" y="514985"/>
                  </a:cubicBezTo>
                  <a:close/>
                  <a:moveTo>
                    <a:pt x="2140478" y="23848"/>
                  </a:moveTo>
                  <a:cubicBezTo>
                    <a:pt x="2141292" y="23034"/>
                    <a:pt x="2142107" y="23034"/>
                    <a:pt x="2142107" y="23848"/>
                  </a:cubicBezTo>
                  <a:cubicBezTo>
                    <a:pt x="2142107" y="23848"/>
                    <a:pt x="2142107" y="24663"/>
                    <a:pt x="2142107" y="24663"/>
                  </a:cubicBezTo>
                  <a:cubicBezTo>
                    <a:pt x="2142107" y="25477"/>
                    <a:pt x="2141292" y="26292"/>
                    <a:pt x="2139664" y="25477"/>
                  </a:cubicBezTo>
                  <a:cubicBezTo>
                    <a:pt x="2139664" y="25477"/>
                    <a:pt x="2138849" y="25477"/>
                    <a:pt x="2138849" y="24663"/>
                  </a:cubicBezTo>
                  <a:cubicBezTo>
                    <a:pt x="2139664" y="25477"/>
                    <a:pt x="2139664" y="24663"/>
                    <a:pt x="2140478" y="23848"/>
                  </a:cubicBezTo>
                  <a:close/>
                  <a:moveTo>
                    <a:pt x="386882" y="826935"/>
                  </a:moveTo>
                  <a:cubicBezTo>
                    <a:pt x="384439" y="829378"/>
                    <a:pt x="382810" y="831822"/>
                    <a:pt x="381995" y="835080"/>
                  </a:cubicBezTo>
                  <a:cubicBezTo>
                    <a:pt x="380366" y="832636"/>
                    <a:pt x="378738" y="831822"/>
                    <a:pt x="377108" y="830193"/>
                  </a:cubicBezTo>
                  <a:cubicBezTo>
                    <a:pt x="380366" y="828564"/>
                    <a:pt x="384439" y="828564"/>
                    <a:pt x="386882" y="826935"/>
                  </a:cubicBezTo>
                  <a:cubicBezTo>
                    <a:pt x="386882" y="826935"/>
                    <a:pt x="386882" y="826935"/>
                    <a:pt x="386882" y="826935"/>
                  </a:cubicBezTo>
                  <a:close/>
                  <a:moveTo>
                    <a:pt x="1102004" y="2165141"/>
                  </a:moveTo>
                  <a:cubicBezTo>
                    <a:pt x="1098746" y="2168399"/>
                    <a:pt x="1096303" y="2171657"/>
                    <a:pt x="1093045" y="2175729"/>
                  </a:cubicBezTo>
                  <a:cubicBezTo>
                    <a:pt x="1096303" y="2172471"/>
                    <a:pt x="1097117" y="2166770"/>
                    <a:pt x="1102004" y="2165141"/>
                  </a:cubicBezTo>
                  <a:close/>
                  <a:moveTo>
                    <a:pt x="1109335" y="2152923"/>
                  </a:moveTo>
                  <a:cubicBezTo>
                    <a:pt x="1110149" y="2153738"/>
                    <a:pt x="1110149" y="2154552"/>
                    <a:pt x="1110963" y="2155367"/>
                  </a:cubicBezTo>
                  <a:cubicBezTo>
                    <a:pt x="1107706" y="2156996"/>
                    <a:pt x="1105262" y="2159439"/>
                    <a:pt x="1102818" y="2162697"/>
                  </a:cubicBezTo>
                  <a:cubicBezTo>
                    <a:pt x="1102818" y="2156996"/>
                    <a:pt x="1105262" y="2154552"/>
                    <a:pt x="1109335" y="2152923"/>
                  </a:cubicBezTo>
                  <a:close/>
                  <a:moveTo>
                    <a:pt x="1103633" y="2142335"/>
                  </a:moveTo>
                  <a:cubicBezTo>
                    <a:pt x="1104447" y="2139892"/>
                    <a:pt x="1104447" y="2139077"/>
                    <a:pt x="1104447" y="2137448"/>
                  </a:cubicBezTo>
                  <a:cubicBezTo>
                    <a:pt x="1104447" y="2137448"/>
                    <a:pt x="1104447" y="2137448"/>
                    <a:pt x="1104447" y="2136634"/>
                  </a:cubicBezTo>
                  <a:cubicBezTo>
                    <a:pt x="1104447" y="2138263"/>
                    <a:pt x="1104447" y="2139077"/>
                    <a:pt x="1105262" y="2139892"/>
                  </a:cubicBezTo>
                  <a:cubicBezTo>
                    <a:pt x="1105262" y="2141521"/>
                    <a:pt x="1104447" y="2142335"/>
                    <a:pt x="1103633" y="2142335"/>
                  </a:cubicBezTo>
                  <a:close/>
                  <a:moveTo>
                    <a:pt x="721637" y="642046"/>
                  </a:moveTo>
                  <a:cubicBezTo>
                    <a:pt x="726524" y="637973"/>
                    <a:pt x="730597" y="633901"/>
                    <a:pt x="737927" y="633086"/>
                  </a:cubicBezTo>
                  <a:cubicBezTo>
                    <a:pt x="737113" y="633901"/>
                    <a:pt x="736298" y="634715"/>
                    <a:pt x="736298" y="635530"/>
                  </a:cubicBezTo>
                  <a:cubicBezTo>
                    <a:pt x="731411" y="639602"/>
                    <a:pt x="727339" y="642046"/>
                    <a:pt x="721637" y="642046"/>
                  </a:cubicBezTo>
                  <a:close/>
                  <a:moveTo>
                    <a:pt x="808788" y="598878"/>
                  </a:moveTo>
                  <a:cubicBezTo>
                    <a:pt x="800643" y="607023"/>
                    <a:pt x="790055" y="611910"/>
                    <a:pt x="780281" y="617611"/>
                  </a:cubicBezTo>
                  <a:cubicBezTo>
                    <a:pt x="777837" y="618425"/>
                    <a:pt x="776208" y="620055"/>
                    <a:pt x="773765" y="620869"/>
                  </a:cubicBezTo>
                  <a:cubicBezTo>
                    <a:pt x="768878" y="623312"/>
                    <a:pt x="763991" y="625756"/>
                    <a:pt x="759104" y="628199"/>
                  </a:cubicBezTo>
                  <a:cubicBezTo>
                    <a:pt x="759104" y="628199"/>
                    <a:pt x="758289" y="628199"/>
                    <a:pt x="758289" y="628199"/>
                  </a:cubicBezTo>
                  <a:cubicBezTo>
                    <a:pt x="755846" y="627385"/>
                    <a:pt x="754217" y="627385"/>
                    <a:pt x="751774" y="627385"/>
                  </a:cubicBezTo>
                  <a:cubicBezTo>
                    <a:pt x="763176" y="620869"/>
                    <a:pt x="775394" y="615168"/>
                    <a:pt x="787611" y="610281"/>
                  </a:cubicBezTo>
                  <a:cubicBezTo>
                    <a:pt x="794941" y="606208"/>
                    <a:pt x="802272" y="602136"/>
                    <a:pt x="808788" y="598878"/>
                  </a:cubicBezTo>
                  <a:close/>
                  <a:moveTo>
                    <a:pt x="747701" y="598063"/>
                  </a:moveTo>
                  <a:cubicBezTo>
                    <a:pt x="748516" y="598063"/>
                    <a:pt x="749330" y="598063"/>
                    <a:pt x="749330" y="598063"/>
                  </a:cubicBezTo>
                  <a:cubicBezTo>
                    <a:pt x="752588" y="598063"/>
                    <a:pt x="754217" y="598063"/>
                    <a:pt x="755031" y="599692"/>
                  </a:cubicBezTo>
                  <a:cubicBezTo>
                    <a:pt x="749330" y="602950"/>
                    <a:pt x="743629" y="606208"/>
                    <a:pt x="737113" y="609466"/>
                  </a:cubicBezTo>
                  <a:cubicBezTo>
                    <a:pt x="725710" y="615982"/>
                    <a:pt x="712678" y="620055"/>
                    <a:pt x="701275" y="627385"/>
                  </a:cubicBezTo>
                  <a:cubicBezTo>
                    <a:pt x="703719" y="624942"/>
                    <a:pt x="706162" y="622498"/>
                    <a:pt x="708606" y="620055"/>
                  </a:cubicBezTo>
                  <a:cubicBezTo>
                    <a:pt x="709420" y="619240"/>
                    <a:pt x="710235" y="618425"/>
                    <a:pt x="711864" y="617611"/>
                  </a:cubicBezTo>
                  <a:cubicBezTo>
                    <a:pt x="715936" y="615982"/>
                    <a:pt x="720009" y="614353"/>
                    <a:pt x="724081" y="612724"/>
                  </a:cubicBezTo>
                  <a:cubicBezTo>
                    <a:pt x="730597" y="611095"/>
                    <a:pt x="736298" y="606208"/>
                    <a:pt x="742814" y="602136"/>
                  </a:cubicBezTo>
                  <a:cubicBezTo>
                    <a:pt x="744443" y="599692"/>
                    <a:pt x="746072" y="598878"/>
                    <a:pt x="747701" y="598063"/>
                  </a:cubicBezTo>
                  <a:close/>
                  <a:moveTo>
                    <a:pt x="720823" y="585846"/>
                  </a:moveTo>
                  <a:cubicBezTo>
                    <a:pt x="722452" y="585031"/>
                    <a:pt x="724081" y="585031"/>
                    <a:pt x="724896" y="585031"/>
                  </a:cubicBezTo>
                  <a:cubicBezTo>
                    <a:pt x="724896" y="585031"/>
                    <a:pt x="725710" y="585846"/>
                    <a:pt x="725710" y="585846"/>
                  </a:cubicBezTo>
                  <a:cubicBezTo>
                    <a:pt x="725710" y="585846"/>
                    <a:pt x="725710" y="585846"/>
                    <a:pt x="725710" y="585846"/>
                  </a:cubicBezTo>
                  <a:cubicBezTo>
                    <a:pt x="727339" y="588289"/>
                    <a:pt x="727339" y="590733"/>
                    <a:pt x="724081" y="590733"/>
                  </a:cubicBezTo>
                  <a:cubicBezTo>
                    <a:pt x="718379" y="591547"/>
                    <a:pt x="712678" y="590733"/>
                    <a:pt x="706162" y="590733"/>
                  </a:cubicBezTo>
                  <a:cubicBezTo>
                    <a:pt x="711049" y="589104"/>
                    <a:pt x="715936" y="587475"/>
                    <a:pt x="720823" y="585846"/>
                  </a:cubicBezTo>
                  <a:close/>
                  <a:moveTo>
                    <a:pt x="703719" y="592362"/>
                  </a:moveTo>
                  <a:cubicBezTo>
                    <a:pt x="702904" y="593176"/>
                    <a:pt x="702904" y="594805"/>
                    <a:pt x="702090" y="595620"/>
                  </a:cubicBezTo>
                  <a:cubicBezTo>
                    <a:pt x="699646" y="595620"/>
                    <a:pt x="698017" y="595620"/>
                    <a:pt x="695574" y="596434"/>
                  </a:cubicBezTo>
                  <a:cubicBezTo>
                    <a:pt x="698017" y="594805"/>
                    <a:pt x="701275" y="593176"/>
                    <a:pt x="703719" y="592362"/>
                  </a:cubicBezTo>
                  <a:close/>
                  <a:moveTo>
                    <a:pt x="668696" y="615168"/>
                  </a:moveTo>
                  <a:cubicBezTo>
                    <a:pt x="670325" y="614353"/>
                    <a:pt x="671139" y="614353"/>
                    <a:pt x="671954" y="615168"/>
                  </a:cubicBezTo>
                  <a:cubicBezTo>
                    <a:pt x="667881" y="617611"/>
                    <a:pt x="662994" y="619240"/>
                    <a:pt x="658107" y="620869"/>
                  </a:cubicBezTo>
                  <a:cubicBezTo>
                    <a:pt x="661365" y="618425"/>
                    <a:pt x="665438" y="616797"/>
                    <a:pt x="668696" y="615168"/>
                  </a:cubicBezTo>
                  <a:close/>
                  <a:moveTo>
                    <a:pt x="623899" y="636344"/>
                  </a:moveTo>
                  <a:cubicBezTo>
                    <a:pt x="623899" y="636344"/>
                    <a:pt x="623084" y="637159"/>
                    <a:pt x="623084" y="637159"/>
                  </a:cubicBezTo>
                  <a:cubicBezTo>
                    <a:pt x="620641" y="637973"/>
                    <a:pt x="619012" y="639602"/>
                    <a:pt x="616568" y="640417"/>
                  </a:cubicBezTo>
                  <a:cubicBezTo>
                    <a:pt x="615754" y="640417"/>
                    <a:pt x="614939" y="640417"/>
                    <a:pt x="614125" y="639602"/>
                  </a:cubicBezTo>
                  <a:cubicBezTo>
                    <a:pt x="616568" y="636344"/>
                    <a:pt x="619826" y="635530"/>
                    <a:pt x="623899" y="636344"/>
                  </a:cubicBezTo>
                  <a:close/>
                  <a:moveTo>
                    <a:pt x="456928" y="1620247"/>
                  </a:moveTo>
                  <a:cubicBezTo>
                    <a:pt x="456114" y="1623505"/>
                    <a:pt x="454485" y="1625134"/>
                    <a:pt x="452042" y="1626763"/>
                  </a:cubicBezTo>
                  <a:cubicBezTo>
                    <a:pt x="452042" y="1625134"/>
                    <a:pt x="452042" y="1624320"/>
                    <a:pt x="452042" y="1623505"/>
                  </a:cubicBezTo>
                  <a:cubicBezTo>
                    <a:pt x="453670" y="1622691"/>
                    <a:pt x="455300" y="1621876"/>
                    <a:pt x="456928" y="1620247"/>
                  </a:cubicBezTo>
                  <a:close/>
                  <a:moveTo>
                    <a:pt x="424349" y="1598256"/>
                  </a:moveTo>
                  <a:cubicBezTo>
                    <a:pt x="424349" y="1594998"/>
                    <a:pt x="425163" y="1592555"/>
                    <a:pt x="428421" y="1590926"/>
                  </a:cubicBezTo>
                  <a:cubicBezTo>
                    <a:pt x="429236" y="1590926"/>
                    <a:pt x="429236" y="1591740"/>
                    <a:pt x="430050" y="1591740"/>
                  </a:cubicBezTo>
                  <a:cubicBezTo>
                    <a:pt x="428421" y="1594184"/>
                    <a:pt x="425163" y="1594998"/>
                    <a:pt x="424349" y="1598256"/>
                  </a:cubicBezTo>
                  <a:close/>
                  <a:moveTo>
                    <a:pt x="418647" y="1689479"/>
                  </a:moveTo>
                  <a:cubicBezTo>
                    <a:pt x="417833" y="1690293"/>
                    <a:pt x="416204" y="1691108"/>
                    <a:pt x="414575" y="1691923"/>
                  </a:cubicBezTo>
                  <a:cubicBezTo>
                    <a:pt x="413760" y="1691108"/>
                    <a:pt x="412131" y="1691108"/>
                    <a:pt x="411317" y="1691108"/>
                  </a:cubicBezTo>
                  <a:cubicBezTo>
                    <a:pt x="411317" y="1690293"/>
                    <a:pt x="411317" y="1688664"/>
                    <a:pt x="410503" y="1687850"/>
                  </a:cubicBezTo>
                  <a:cubicBezTo>
                    <a:pt x="413760" y="1686221"/>
                    <a:pt x="416204" y="1683778"/>
                    <a:pt x="419462" y="1682963"/>
                  </a:cubicBezTo>
                  <a:cubicBezTo>
                    <a:pt x="422720" y="1682149"/>
                    <a:pt x="425163" y="1681334"/>
                    <a:pt x="427607" y="1679705"/>
                  </a:cubicBezTo>
                  <a:cubicBezTo>
                    <a:pt x="428421" y="1680519"/>
                    <a:pt x="429236" y="1681334"/>
                    <a:pt x="429236" y="1681334"/>
                  </a:cubicBezTo>
                  <a:cubicBezTo>
                    <a:pt x="425978" y="1684592"/>
                    <a:pt x="422720" y="1687036"/>
                    <a:pt x="418647" y="1689479"/>
                  </a:cubicBezTo>
                  <a:close/>
                  <a:moveTo>
                    <a:pt x="435752" y="1641424"/>
                  </a:moveTo>
                  <a:cubicBezTo>
                    <a:pt x="428421" y="1647126"/>
                    <a:pt x="420276" y="1651198"/>
                    <a:pt x="412946" y="1656085"/>
                  </a:cubicBezTo>
                  <a:cubicBezTo>
                    <a:pt x="412946" y="1655271"/>
                    <a:pt x="412946" y="1654456"/>
                    <a:pt x="413760" y="1654456"/>
                  </a:cubicBezTo>
                  <a:cubicBezTo>
                    <a:pt x="420276" y="1648754"/>
                    <a:pt x="426792" y="1643867"/>
                    <a:pt x="433308" y="1638166"/>
                  </a:cubicBezTo>
                  <a:cubicBezTo>
                    <a:pt x="433308" y="1638166"/>
                    <a:pt x="433308" y="1638166"/>
                    <a:pt x="433308" y="1638166"/>
                  </a:cubicBezTo>
                  <a:cubicBezTo>
                    <a:pt x="433308" y="1638166"/>
                    <a:pt x="433308" y="1638166"/>
                    <a:pt x="433308" y="1637352"/>
                  </a:cubicBezTo>
                  <a:cubicBezTo>
                    <a:pt x="437381" y="1634094"/>
                    <a:pt x="440639" y="1631650"/>
                    <a:pt x="444711" y="1628392"/>
                  </a:cubicBezTo>
                  <a:cubicBezTo>
                    <a:pt x="447155" y="1628392"/>
                    <a:pt x="448783" y="1627578"/>
                    <a:pt x="451227" y="1626763"/>
                  </a:cubicBezTo>
                  <a:cubicBezTo>
                    <a:pt x="451227" y="1626763"/>
                    <a:pt x="451227" y="1626763"/>
                    <a:pt x="451227" y="1626763"/>
                  </a:cubicBezTo>
                  <a:cubicBezTo>
                    <a:pt x="453670" y="1625949"/>
                    <a:pt x="456114" y="1624320"/>
                    <a:pt x="457743" y="1622691"/>
                  </a:cubicBezTo>
                  <a:cubicBezTo>
                    <a:pt x="457743" y="1622691"/>
                    <a:pt x="457743" y="1622691"/>
                    <a:pt x="457743" y="1622691"/>
                  </a:cubicBezTo>
                  <a:cubicBezTo>
                    <a:pt x="451227" y="1629207"/>
                    <a:pt x="443897" y="1635723"/>
                    <a:pt x="435752" y="1641424"/>
                  </a:cubicBezTo>
                  <a:close/>
                  <a:moveTo>
                    <a:pt x="445526" y="1669117"/>
                  </a:moveTo>
                  <a:cubicBezTo>
                    <a:pt x="445526" y="1668302"/>
                    <a:pt x="445526" y="1666673"/>
                    <a:pt x="444711" y="1665859"/>
                  </a:cubicBezTo>
                  <a:cubicBezTo>
                    <a:pt x="446340" y="1664230"/>
                    <a:pt x="447969" y="1663415"/>
                    <a:pt x="449598" y="1661786"/>
                  </a:cubicBezTo>
                  <a:cubicBezTo>
                    <a:pt x="450413" y="1662601"/>
                    <a:pt x="451227" y="1663415"/>
                    <a:pt x="452042" y="1663415"/>
                  </a:cubicBezTo>
                  <a:cubicBezTo>
                    <a:pt x="450413" y="1665859"/>
                    <a:pt x="447969" y="1667488"/>
                    <a:pt x="445526" y="1669117"/>
                  </a:cubicBezTo>
                  <a:close/>
                  <a:moveTo>
                    <a:pt x="452856" y="1683778"/>
                  </a:moveTo>
                  <a:cubicBezTo>
                    <a:pt x="455300" y="1682963"/>
                    <a:pt x="456928" y="1682149"/>
                    <a:pt x="459372" y="1680519"/>
                  </a:cubicBezTo>
                  <a:cubicBezTo>
                    <a:pt x="460186" y="1682149"/>
                    <a:pt x="460186" y="1682963"/>
                    <a:pt x="460186" y="1684592"/>
                  </a:cubicBezTo>
                  <a:cubicBezTo>
                    <a:pt x="456928" y="1687036"/>
                    <a:pt x="455300" y="1685406"/>
                    <a:pt x="452856" y="1683778"/>
                  </a:cubicBezTo>
                  <a:close/>
                  <a:moveTo>
                    <a:pt x="536748" y="1739977"/>
                  </a:moveTo>
                  <a:cubicBezTo>
                    <a:pt x="535119" y="1740792"/>
                    <a:pt x="533491" y="1741606"/>
                    <a:pt x="531861" y="1741606"/>
                  </a:cubicBezTo>
                  <a:cubicBezTo>
                    <a:pt x="531861" y="1741606"/>
                    <a:pt x="531861" y="1741606"/>
                    <a:pt x="531047" y="1740792"/>
                  </a:cubicBezTo>
                  <a:cubicBezTo>
                    <a:pt x="531047" y="1739977"/>
                    <a:pt x="531047" y="1739163"/>
                    <a:pt x="531047" y="1738348"/>
                  </a:cubicBezTo>
                  <a:cubicBezTo>
                    <a:pt x="529418" y="1734276"/>
                    <a:pt x="527789" y="1730203"/>
                    <a:pt x="526160" y="1726945"/>
                  </a:cubicBezTo>
                  <a:cubicBezTo>
                    <a:pt x="526974" y="1725316"/>
                    <a:pt x="527789" y="1723688"/>
                    <a:pt x="528604" y="1722058"/>
                  </a:cubicBezTo>
                  <a:cubicBezTo>
                    <a:pt x="528604" y="1722058"/>
                    <a:pt x="528604" y="1722058"/>
                    <a:pt x="528604" y="1722058"/>
                  </a:cubicBezTo>
                  <a:cubicBezTo>
                    <a:pt x="529418" y="1722873"/>
                    <a:pt x="529418" y="1722873"/>
                    <a:pt x="530232" y="1723688"/>
                  </a:cubicBezTo>
                  <a:cubicBezTo>
                    <a:pt x="532676" y="1725316"/>
                    <a:pt x="534305" y="1725316"/>
                    <a:pt x="536748" y="1724502"/>
                  </a:cubicBezTo>
                  <a:cubicBezTo>
                    <a:pt x="535934" y="1722873"/>
                    <a:pt x="535119" y="1721244"/>
                    <a:pt x="534305" y="1719615"/>
                  </a:cubicBezTo>
                  <a:cubicBezTo>
                    <a:pt x="537563" y="1717172"/>
                    <a:pt x="540821" y="1714728"/>
                    <a:pt x="544079" y="1713099"/>
                  </a:cubicBezTo>
                  <a:cubicBezTo>
                    <a:pt x="544079" y="1713099"/>
                    <a:pt x="544893" y="1713099"/>
                    <a:pt x="544893" y="1713099"/>
                  </a:cubicBezTo>
                  <a:cubicBezTo>
                    <a:pt x="543264" y="1717172"/>
                    <a:pt x="541635" y="1721244"/>
                    <a:pt x="540006" y="1725316"/>
                  </a:cubicBezTo>
                  <a:cubicBezTo>
                    <a:pt x="539192" y="1729389"/>
                    <a:pt x="538377" y="1733461"/>
                    <a:pt x="536748" y="1739977"/>
                  </a:cubicBezTo>
                  <a:close/>
                  <a:moveTo>
                    <a:pt x="550595" y="1722058"/>
                  </a:moveTo>
                  <a:cubicBezTo>
                    <a:pt x="549780" y="1726945"/>
                    <a:pt x="548966" y="1730203"/>
                    <a:pt x="543264" y="1731832"/>
                  </a:cubicBezTo>
                  <a:cubicBezTo>
                    <a:pt x="542450" y="1731832"/>
                    <a:pt x="542450" y="1732647"/>
                    <a:pt x="542450" y="1732647"/>
                  </a:cubicBezTo>
                  <a:cubicBezTo>
                    <a:pt x="544893" y="1728575"/>
                    <a:pt x="547337" y="1724502"/>
                    <a:pt x="550595" y="1722058"/>
                  </a:cubicBezTo>
                  <a:cubicBezTo>
                    <a:pt x="550595" y="1722058"/>
                    <a:pt x="550595" y="1722058"/>
                    <a:pt x="550595" y="1722058"/>
                  </a:cubicBezTo>
                  <a:close/>
                  <a:moveTo>
                    <a:pt x="727339" y="1985953"/>
                  </a:moveTo>
                  <a:cubicBezTo>
                    <a:pt x="726524" y="1985139"/>
                    <a:pt x="725710" y="1983510"/>
                    <a:pt x="725710" y="1982695"/>
                  </a:cubicBezTo>
                  <a:cubicBezTo>
                    <a:pt x="725710" y="1982695"/>
                    <a:pt x="725710" y="1982695"/>
                    <a:pt x="724896" y="1982695"/>
                  </a:cubicBezTo>
                  <a:cubicBezTo>
                    <a:pt x="724896" y="1982695"/>
                    <a:pt x="724896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5710" y="1982695"/>
                    <a:pt x="725710" y="1982695"/>
                    <a:pt x="725710" y="1982695"/>
                  </a:cubicBezTo>
                  <a:cubicBezTo>
                    <a:pt x="727339" y="1982695"/>
                    <a:pt x="728153" y="1981881"/>
                    <a:pt x="729782" y="1981881"/>
                  </a:cubicBezTo>
                  <a:cubicBezTo>
                    <a:pt x="731411" y="1981881"/>
                    <a:pt x="732226" y="1981066"/>
                    <a:pt x="733855" y="1981066"/>
                  </a:cubicBezTo>
                  <a:cubicBezTo>
                    <a:pt x="731411" y="1981881"/>
                    <a:pt x="729782" y="1983510"/>
                    <a:pt x="727339" y="1985953"/>
                  </a:cubicBezTo>
                  <a:close/>
                  <a:moveTo>
                    <a:pt x="790055" y="1985953"/>
                  </a:moveTo>
                  <a:cubicBezTo>
                    <a:pt x="785167" y="1989211"/>
                    <a:pt x="780281" y="1993284"/>
                    <a:pt x="777023" y="1998170"/>
                  </a:cubicBezTo>
                  <a:cubicBezTo>
                    <a:pt x="774579" y="2001428"/>
                    <a:pt x="770507" y="2003872"/>
                    <a:pt x="767249" y="2006315"/>
                  </a:cubicBezTo>
                  <a:cubicBezTo>
                    <a:pt x="764805" y="2007944"/>
                    <a:pt x="762362" y="2007944"/>
                    <a:pt x="759104" y="2007130"/>
                  </a:cubicBezTo>
                  <a:lnTo>
                    <a:pt x="759104" y="2007130"/>
                  </a:lnTo>
                  <a:cubicBezTo>
                    <a:pt x="759104" y="2007130"/>
                    <a:pt x="759104" y="2007130"/>
                    <a:pt x="759104" y="2007130"/>
                  </a:cubicBezTo>
                  <a:lnTo>
                    <a:pt x="759104" y="2007130"/>
                  </a:lnTo>
                  <a:cubicBezTo>
                    <a:pt x="757475" y="2009573"/>
                    <a:pt x="755031" y="2011202"/>
                    <a:pt x="753403" y="2012831"/>
                  </a:cubicBezTo>
                  <a:cubicBezTo>
                    <a:pt x="750959" y="2011202"/>
                    <a:pt x="747701" y="2010388"/>
                    <a:pt x="745258" y="2008759"/>
                  </a:cubicBezTo>
                  <a:cubicBezTo>
                    <a:pt x="746887" y="2006315"/>
                    <a:pt x="747701" y="2003872"/>
                    <a:pt x="749330" y="2001428"/>
                  </a:cubicBezTo>
                  <a:cubicBezTo>
                    <a:pt x="746887" y="2001428"/>
                    <a:pt x="743629" y="2003058"/>
                    <a:pt x="741185" y="1998985"/>
                  </a:cubicBezTo>
                  <a:cubicBezTo>
                    <a:pt x="742000" y="1996541"/>
                    <a:pt x="743629" y="1994098"/>
                    <a:pt x="745258" y="1991654"/>
                  </a:cubicBezTo>
                  <a:cubicBezTo>
                    <a:pt x="746887" y="1989211"/>
                    <a:pt x="749330" y="1987582"/>
                    <a:pt x="748516" y="1983510"/>
                  </a:cubicBezTo>
                  <a:cubicBezTo>
                    <a:pt x="747701" y="1981066"/>
                    <a:pt x="747701" y="1977808"/>
                    <a:pt x="746887" y="1975365"/>
                  </a:cubicBezTo>
                  <a:cubicBezTo>
                    <a:pt x="745258" y="1975365"/>
                    <a:pt x="744443" y="1976179"/>
                    <a:pt x="742814" y="1976179"/>
                  </a:cubicBezTo>
                  <a:cubicBezTo>
                    <a:pt x="746887" y="1974550"/>
                    <a:pt x="750959" y="1972107"/>
                    <a:pt x="754217" y="1969663"/>
                  </a:cubicBezTo>
                  <a:cubicBezTo>
                    <a:pt x="755846" y="1968034"/>
                    <a:pt x="758289" y="1967220"/>
                    <a:pt x="759918" y="1965591"/>
                  </a:cubicBezTo>
                  <a:cubicBezTo>
                    <a:pt x="760733" y="1966406"/>
                    <a:pt x="762362" y="1968034"/>
                    <a:pt x="763176" y="1968849"/>
                  </a:cubicBezTo>
                  <a:cubicBezTo>
                    <a:pt x="763176" y="1968849"/>
                    <a:pt x="763991" y="1969663"/>
                    <a:pt x="763991" y="1969663"/>
                  </a:cubicBezTo>
                  <a:cubicBezTo>
                    <a:pt x="765620" y="1971292"/>
                    <a:pt x="766434" y="1972107"/>
                    <a:pt x="768063" y="1973736"/>
                  </a:cubicBezTo>
                  <a:cubicBezTo>
                    <a:pt x="771322" y="1976179"/>
                    <a:pt x="774579" y="1980251"/>
                    <a:pt x="778652" y="1981066"/>
                  </a:cubicBezTo>
                  <a:cubicBezTo>
                    <a:pt x="783539" y="1982695"/>
                    <a:pt x="786797" y="1984324"/>
                    <a:pt x="790055" y="1985953"/>
                  </a:cubicBezTo>
                  <a:cubicBezTo>
                    <a:pt x="790055" y="1985953"/>
                    <a:pt x="790055" y="1985953"/>
                    <a:pt x="790055" y="1985953"/>
                  </a:cubicBezTo>
                  <a:close/>
                  <a:moveTo>
                    <a:pt x="809602" y="1934640"/>
                  </a:moveTo>
                  <a:cubicBezTo>
                    <a:pt x="809602" y="1934640"/>
                    <a:pt x="808788" y="1934640"/>
                    <a:pt x="808788" y="1934640"/>
                  </a:cubicBezTo>
                  <a:cubicBezTo>
                    <a:pt x="808788" y="1933011"/>
                    <a:pt x="807974" y="1932197"/>
                    <a:pt x="807159" y="1931382"/>
                  </a:cubicBezTo>
                  <a:cubicBezTo>
                    <a:pt x="807159" y="1931382"/>
                    <a:pt x="807974" y="1930568"/>
                    <a:pt x="807974" y="1930568"/>
                  </a:cubicBezTo>
                  <a:cubicBezTo>
                    <a:pt x="808788" y="1931382"/>
                    <a:pt x="810417" y="1931382"/>
                    <a:pt x="812046" y="1932197"/>
                  </a:cubicBezTo>
                  <a:cubicBezTo>
                    <a:pt x="811231" y="1933011"/>
                    <a:pt x="810417" y="1933826"/>
                    <a:pt x="809602" y="1934640"/>
                  </a:cubicBezTo>
                  <a:close/>
                  <a:moveTo>
                    <a:pt x="1014854" y="2223784"/>
                  </a:moveTo>
                  <a:cubicBezTo>
                    <a:pt x="1014039" y="2219712"/>
                    <a:pt x="1014854" y="2216453"/>
                    <a:pt x="1018926" y="2212381"/>
                  </a:cubicBezTo>
                  <a:cubicBezTo>
                    <a:pt x="1019741" y="2218082"/>
                    <a:pt x="1014854" y="2219712"/>
                    <a:pt x="1014854" y="2223784"/>
                  </a:cubicBezTo>
                  <a:close/>
                  <a:moveTo>
                    <a:pt x="1057207" y="2238445"/>
                  </a:moveTo>
                  <a:cubicBezTo>
                    <a:pt x="1056393" y="2238445"/>
                    <a:pt x="1055578" y="2239260"/>
                    <a:pt x="1054764" y="2239260"/>
                  </a:cubicBezTo>
                  <a:cubicBezTo>
                    <a:pt x="1054764" y="2243332"/>
                    <a:pt x="1053135" y="2245775"/>
                    <a:pt x="1050691" y="2248219"/>
                  </a:cubicBezTo>
                  <a:cubicBezTo>
                    <a:pt x="1049062" y="2243332"/>
                    <a:pt x="1049062" y="2242517"/>
                    <a:pt x="1054764" y="2238445"/>
                  </a:cubicBezTo>
                  <a:cubicBezTo>
                    <a:pt x="1055578" y="2236001"/>
                    <a:pt x="1057207" y="2233558"/>
                    <a:pt x="1058021" y="2231115"/>
                  </a:cubicBezTo>
                  <a:cubicBezTo>
                    <a:pt x="1058021" y="2231929"/>
                    <a:pt x="1058836" y="2233558"/>
                    <a:pt x="1058836" y="2234372"/>
                  </a:cubicBezTo>
                  <a:cubicBezTo>
                    <a:pt x="1058021" y="2236816"/>
                    <a:pt x="1057207" y="2237630"/>
                    <a:pt x="1057207" y="2238445"/>
                  </a:cubicBezTo>
                  <a:close/>
                  <a:moveTo>
                    <a:pt x="1066166" y="2222970"/>
                  </a:moveTo>
                  <a:cubicBezTo>
                    <a:pt x="1066166" y="2222970"/>
                    <a:pt x="1066166" y="2222970"/>
                    <a:pt x="1066166" y="2222970"/>
                  </a:cubicBezTo>
                  <a:cubicBezTo>
                    <a:pt x="1063723" y="2224598"/>
                    <a:pt x="1062909" y="2224598"/>
                    <a:pt x="1061280" y="2225413"/>
                  </a:cubicBezTo>
                  <a:cubicBezTo>
                    <a:pt x="1063723" y="2221341"/>
                    <a:pt x="1066981" y="2216453"/>
                    <a:pt x="1069424" y="2212381"/>
                  </a:cubicBezTo>
                  <a:cubicBezTo>
                    <a:pt x="1068610" y="2214010"/>
                    <a:pt x="1068610" y="2216453"/>
                    <a:pt x="1069424" y="2218082"/>
                  </a:cubicBezTo>
                  <a:cubicBezTo>
                    <a:pt x="1070239" y="2218897"/>
                    <a:pt x="1071054" y="2219712"/>
                    <a:pt x="1071868" y="2220526"/>
                  </a:cubicBezTo>
                  <a:cubicBezTo>
                    <a:pt x="1070239" y="2220526"/>
                    <a:pt x="1067795" y="2222155"/>
                    <a:pt x="1066166" y="2222970"/>
                  </a:cubicBezTo>
                  <a:close/>
                  <a:moveTo>
                    <a:pt x="1075126" y="2204236"/>
                  </a:moveTo>
                  <a:cubicBezTo>
                    <a:pt x="1074311" y="2204236"/>
                    <a:pt x="1074311" y="2205051"/>
                    <a:pt x="1073497" y="2205865"/>
                  </a:cubicBezTo>
                  <a:cubicBezTo>
                    <a:pt x="1075940" y="2201793"/>
                    <a:pt x="1078384" y="2197720"/>
                    <a:pt x="1080828" y="2193648"/>
                  </a:cubicBezTo>
                  <a:cubicBezTo>
                    <a:pt x="1082456" y="2192019"/>
                    <a:pt x="1084900" y="2190390"/>
                    <a:pt x="1086529" y="2188761"/>
                  </a:cubicBezTo>
                  <a:cubicBezTo>
                    <a:pt x="1086529" y="2189575"/>
                    <a:pt x="1085714" y="2191204"/>
                    <a:pt x="1085714" y="2192019"/>
                  </a:cubicBezTo>
                  <a:cubicBezTo>
                    <a:pt x="1087343" y="2190390"/>
                    <a:pt x="1088972" y="2188761"/>
                    <a:pt x="1090601" y="2187132"/>
                  </a:cubicBezTo>
                  <a:cubicBezTo>
                    <a:pt x="1090601" y="2188761"/>
                    <a:pt x="1090601" y="2191204"/>
                    <a:pt x="1088158" y="2192834"/>
                  </a:cubicBezTo>
                  <a:cubicBezTo>
                    <a:pt x="1084900" y="2195277"/>
                    <a:pt x="1081642" y="2198535"/>
                    <a:pt x="1079198" y="2201793"/>
                  </a:cubicBezTo>
                  <a:cubicBezTo>
                    <a:pt x="1078384" y="2202607"/>
                    <a:pt x="1076755" y="2203422"/>
                    <a:pt x="1075126" y="2204236"/>
                  </a:cubicBezTo>
                  <a:close/>
                  <a:moveTo>
                    <a:pt x="1082456" y="2201793"/>
                  </a:moveTo>
                  <a:cubicBezTo>
                    <a:pt x="1082456" y="2201793"/>
                    <a:pt x="1083271" y="2201793"/>
                    <a:pt x="1083271" y="2200978"/>
                  </a:cubicBezTo>
                  <a:cubicBezTo>
                    <a:pt x="1086529" y="2198535"/>
                    <a:pt x="1088972" y="2196091"/>
                    <a:pt x="1093045" y="2196906"/>
                  </a:cubicBezTo>
                  <a:cubicBezTo>
                    <a:pt x="1093859" y="2196906"/>
                    <a:pt x="1093859" y="2196906"/>
                    <a:pt x="1094673" y="2196906"/>
                  </a:cubicBezTo>
                  <a:cubicBezTo>
                    <a:pt x="1094673" y="2196906"/>
                    <a:pt x="1093859" y="2197720"/>
                    <a:pt x="1093045" y="2197720"/>
                  </a:cubicBezTo>
                  <a:cubicBezTo>
                    <a:pt x="1091416" y="2199349"/>
                    <a:pt x="1088972" y="2200978"/>
                    <a:pt x="1087343" y="2202607"/>
                  </a:cubicBezTo>
                  <a:cubicBezTo>
                    <a:pt x="1086529" y="2201793"/>
                    <a:pt x="1084900" y="2200978"/>
                    <a:pt x="1082456" y="2201793"/>
                  </a:cubicBezTo>
                  <a:close/>
                  <a:moveTo>
                    <a:pt x="1092230" y="2207494"/>
                  </a:moveTo>
                  <a:cubicBezTo>
                    <a:pt x="1091416" y="2207494"/>
                    <a:pt x="1091416" y="2208309"/>
                    <a:pt x="1090601" y="2208309"/>
                  </a:cubicBezTo>
                  <a:cubicBezTo>
                    <a:pt x="1090601" y="2206680"/>
                    <a:pt x="1090601" y="2205865"/>
                    <a:pt x="1089787" y="2204236"/>
                  </a:cubicBezTo>
                  <a:cubicBezTo>
                    <a:pt x="1091416" y="2202607"/>
                    <a:pt x="1093045" y="2200978"/>
                    <a:pt x="1096303" y="2200978"/>
                  </a:cubicBezTo>
                  <a:cubicBezTo>
                    <a:pt x="1094673" y="2203422"/>
                    <a:pt x="1093859" y="2205051"/>
                    <a:pt x="1092230" y="2207494"/>
                  </a:cubicBezTo>
                  <a:close/>
                  <a:moveTo>
                    <a:pt x="1108520" y="2171657"/>
                  </a:moveTo>
                  <a:cubicBezTo>
                    <a:pt x="1108520" y="2171657"/>
                    <a:pt x="1108520" y="2172471"/>
                    <a:pt x="1108520" y="2171657"/>
                  </a:cubicBezTo>
                  <a:cubicBezTo>
                    <a:pt x="1106891" y="2173286"/>
                    <a:pt x="1105262" y="2174915"/>
                    <a:pt x="1103633" y="2175729"/>
                  </a:cubicBezTo>
                  <a:cubicBezTo>
                    <a:pt x="1101190" y="2177358"/>
                    <a:pt x="1099561" y="2178987"/>
                    <a:pt x="1097117" y="2180616"/>
                  </a:cubicBezTo>
                  <a:cubicBezTo>
                    <a:pt x="1099561" y="2176544"/>
                    <a:pt x="1102004" y="2173286"/>
                    <a:pt x="1104447" y="2168399"/>
                  </a:cubicBezTo>
                  <a:cubicBezTo>
                    <a:pt x="1104447" y="2169213"/>
                    <a:pt x="1105262" y="2169213"/>
                    <a:pt x="1105262" y="2170028"/>
                  </a:cubicBezTo>
                  <a:cubicBezTo>
                    <a:pt x="1105262" y="2166770"/>
                    <a:pt x="1106076" y="2165141"/>
                    <a:pt x="1109335" y="2165141"/>
                  </a:cubicBezTo>
                  <a:cubicBezTo>
                    <a:pt x="1110149" y="2164326"/>
                    <a:pt x="1110963" y="2163512"/>
                    <a:pt x="1111778" y="2163512"/>
                  </a:cubicBezTo>
                  <a:cubicBezTo>
                    <a:pt x="1110149" y="2165141"/>
                    <a:pt x="1108520" y="2166770"/>
                    <a:pt x="1106891" y="2168399"/>
                  </a:cubicBezTo>
                  <a:cubicBezTo>
                    <a:pt x="1106891" y="2169213"/>
                    <a:pt x="1107706" y="2170842"/>
                    <a:pt x="1108520" y="2171657"/>
                  </a:cubicBezTo>
                  <a:close/>
                  <a:moveTo>
                    <a:pt x="1130511" y="2176544"/>
                  </a:moveTo>
                  <a:cubicBezTo>
                    <a:pt x="1130511" y="2176544"/>
                    <a:pt x="1130511" y="2175729"/>
                    <a:pt x="1130511" y="2175729"/>
                  </a:cubicBezTo>
                  <a:cubicBezTo>
                    <a:pt x="1132140" y="2174915"/>
                    <a:pt x="1133769" y="2173286"/>
                    <a:pt x="1134584" y="2172471"/>
                  </a:cubicBezTo>
                  <a:cubicBezTo>
                    <a:pt x="1134584" y="2172471"/>
                    <a:pt x="1134584" y="2172471"/>
                    <a:pt x="1134584" y="2172471"/>
                  </a:cubicBezTo>
                  <a:cubicBezTo>
                    <a:pt x="1134584" y="2174915"/>
                    <a:pt x="1132955" y="2176544"/>
                    <a:pt x="1130511" y="2176544"/>
                  </a:cubicBezTo>
                  <a:close/>
                  <a:moveTo>
                    <a:pt x="1150873" y="2165141"/>
                  </a:moveTo>
                  <a:cubicBezTo>
                    <a:pt x="1148430" y="2166770"/>
                    <a:pt x="1145987" y="2168399"/>
                    <a:pt x="1143543" y="2170028"/>
                  </a:cubicBezTo>
                  <a:cubicBezTo>
                    <a:pt x="1143543" y="2168399"/>
                    <a:pt x="1145172" y="2166770"/>
                    <a:pt x="1146801" y="2165141"/>
                  </a:cubicBezTo>
                  <a:cubicBezTo>
                    <a:pt x="1148430" y="2164326"/>
                    <a:pt x="1150059" y="2163512"/>
                    <a:pt x="1151688" y="2162697"/>
                  </a:cubicBezTo>
                  <a:cubicBezTo>
                    <a:pt x="1151688" y="2162697"/>
                    <a:pt x="1152502" y="2162697"/>
                    <a:pt x="1152502" y="2162697"/>
                  </a:cubicBezTo>
                  <a:cubicBezTo>
                    <a:pt x="1152502" y="2163512"/>
                    <a:pt x="1151688" y="2165141"/>
                    <a:pt x="1150873" y="2165141"/>
                  </a:cubicBezTo>
                  <a:close/>
                  <a:moveTo>
                    <a:pt x="1180195" y="2207494"/>
                  </a:moveTo>
                  <a:cubicBezTo>
                    <a:pt x="1181824" y="2206680"/>
                    <a:pt x="1183453" y="2205865"/>
                    <a:pt x="1184267" y="2205865"/>
                  </a:cubicBezTo>
                  <a:cubicBezTo>
                    <a:pt x="1184267" y="2208309"/>
                    <a:pt x="1182639" y="2209938"/>
                    <a:pt x="1180195" y="2207494"/>
                  </a:cubicBezTo>
                  <a:close/>
                  <a:moveTo>
                    <a:pt x="1193227" y="2031565"/>
                  </a:moveTo>
                  <a:cubicBezTo>
                    <a:pt x="1192412" y="2032379"/>
                    <a:pt x="1189969" y="2032379"/>
                    <a:pt x="1188340" y="2033193"/>
                  </a:cubicBezTo>
                  <a:cubicBezTo>
                    <a:pt x="1189154" y="2030750"/>
                    <a:pt x="1189969" y="2028307"/>
                    <a:pt x="1191598" y="2025863"/>
                  </a:cubicBezTo>
                  <a:cubicBezTo>
                    <a:pt x="1195670" y="2024234"/>
                    <a:pt x="1199743" y="2021791"/>
                    <a:pt x="1203815" y="2019347"/>
                  </a:cubicBezTo>
                  <a:cubicBezTo>
                    <a:pt x="1204629" y="2018533"/>
                    <a:pt x="1204629" y="2018533"/>
                    <a:pt x="1205444" y="2017718"/>
                  </a:cubicBezTo>
                  <a:cubicBezTo>
                    <a:pt x="1202186" y="2023420"/>
                    <a:pt x="1198114" y="2027492"/>
                    <a:pt x="1193227" y="2031565"/>
                  </a:cubicBezTo>
                  <a:close/>
                  <a:moveTo>
                    <a:pt x="1195670" y="2195277"/>
                  </a:moveTo>
                  <a:cubicBezTo>
                    <a:pt x="1198114" y="2190390"/>
                    <a:pt x="1203815" y="2189575"/>
                    <a:pt x="1207888" y="2187946"/>
                  </a:cubicBezTo>
                  <a:cubicBezTo>
                    <a:pt x="1208702" y="2187946"/>
                    <a:pt x="1208702" y="2187946"/>
                    <a:pt x="1209517" y="2187132"/>
                  </a:cubicBezTo>
                  <a:cubicBezTo>
                    <a:pt x="1204629" y="2190390"/>
                    <a:pt x="1200557" y="2193648"/>
                    <a:pt x="1195670" y="2195277"/>
                  </a:cubicBezTo>
                  <a:close/>
                  <a:moveTo>
                    <a:pt x="1235580" y="2177358"/>
                  </a:moveTo>
                  <a:cubicBezTo>
                    <a:pt x="1234766" y="2177358"/>
                    <a:pt x="1234766" y="2177358"/>
                    <a:pt x="1233951" y="2177358"/>
                  </a:cubicBezTo>
                  <a:cubicBezTo>
                    <a:pt x="1233951" y="2176544"/>
                    <a:pt x="1233951" y="2175729"/>
                    <a:pt x="1233951" y="2174915"/>
                  </a:cubicBezTo>
                  <a:cubicBezTo>
                    <a:pt x="1238024" y="2173286"/>
                    <a:pt x="1242096" y="2171657"/>
                    <a:pt x="1246169" y="2170028"/>
                  </a:cubicBezTo>
                  <a:cubicBezTo>
                    <a:pt x="1246983" y="2170028"/>
                    <a:pt x="1248612" y="2170842"/>
                    <a:pt x="1250241" y="2170842"/>
                  </a:cubicBezTo>
                  <a:cubicBezTo>
                    <a:pt x="1243725" y="2174100"/>
                    <a:pt x="1239653" y="2175729"/>
                    <a:pt x="1235580" y="2177358"/>
                  </a:cubicBezTo>
                  <a:close/>
                  <a:moveTo>
                    <a:pt x="2639760" y="1732647"/>
                  </a:moveTo>
                  <a:cubicBezTo>
                    <a:pt x="2638946" y="1734276"/>
                    <a:pt x="2640575" y="1735090"/>
                    <a:pt x="2643832" y="1736719"/>
                  </a:cubicBezTo>
                  <a:cubicBezTo>
                    <a:pt x="2645461" y="1735905"/>
                    <a:pt x="2646276" y="1735090"/>
                    <a:pt x="2647905" y="1734276"/>
                  </a:cubicBezTo>
                  <a:cubicBezTo>
                    <a:pt x="2647905" y="1734276"/>
                    <a:pt x="2647905" y="1734276"/>
                    <a:pt x="2647090" y="1735090"/>
                  </a:cubicBezTo>
                  <a:cubicBezTo>
                    <a:pt x="2646276" y="1735905"/>
                    <a:pt x="2646276" y="1735905"/>
                    <a:pt x="2645461" y="1736719"/>
                  </a:cubicBezTo>
                  <a:cubicBezTo>
                    <a:pt x="2644647" y="1736719"/>
                    <a:pt x="2643832" y="1736719"/>
                    <a:pt x="2643832" y="1736719"/>
                  </a:cubicBezTo>
                  <a:cubicBezTo>
                    <a:pt x="2643832" y="1736719"/>
                    <a:pt x="2643832" y="1736719"/>
                    <a:pt x="2643832" y="1736719"/>
                  </a:cubicBezTo>
                  <a:cubicBezTo>
                    <a:pt x="2643832" y="1736719"/>
                    <a:pt x="2643832" y="1736719"/>
                    <a:pt x="2643832" y="1736719"/>
                  </a:cubicBezTo>
                  <a:cubicBezTo>
                    <a:pt x="2639760" y="1736719"/>
                    <a:pt x="2635687" y="1737534"/>
                    <a:pt x="2631615" y="1737534"/>
                  </a:cubicBezTo>
                  <a:cubicBezTo>
                    <a:pt x="2629986" y="1739163"/>
                    <a:pt x="2629172" y="1740792"/>
                    <a:pt x="2627543" y="1741606"/>
                  </a:cubicBezTo>
                  <a:cubicBezTo>
                    <a:pt x="2627543" y="1741606"/>
                    <a:pt x="2627543" y="1741606"/>
                    <a:pt x="2627543" y="1741606"/>
                  </a:cubicBezTo>
                  <a:cubicBezTo>
                    <a:pt x="2627543" y="1741606"/>
                    <a:pt x="2627543" y="1741606"/>
                    <a:pt x="2627543" y="1741606"/>
                  </a:cubicBezTo>
                  <a:cubicBezTo>
                    <a:pt x="2625913" y="1739977"/>
                    <a:pt x="2624285" y="1738348"/>
                    <a:pt x="2622656" y="1736719"/>
                  </a:cubicBezTo>
                  <a:cubicBezTo>
                    <a:pt x="2621841" y="1738348"/>
                    <a:pt x="2621027" y="1739163"/>
                    <a:pt x="2620212" y="1739977"/>
                  </a:cubicBezTo>
                  <a:cubicBezTo>
                    <a:pt x="2618583" y="1737534"/>
                    <a:pt x="2617769" y="1735905"/>
                    <a:pt x="2616140" y="1733461"/>
                  </a:cubicBezTo>
                  <a:cubicBezTo>
                    <a:pt x="2623470" y="1735905"/>
                    <a:pt x="2631615" y="1734276"/>
                    <a:pt x="2639760" y="1732647"/>
                  </a:cubicBezTo>
                  <a:close/>
                  <a:moveTo>
                    <a:pt x="2590891" y="1739163"/>
                  </a:moveTo>
                  <a:cubicBezTo>
                    <a:pt x="2595778" y="1739163"/>
                    <a:pt x="2599850" y="1739163"/>
                    <a:pt x="2604737" y="1739977"/>
                  </a:cubicBezTo>
                  <a:cubicBezTo>
                    <a:pt x="2606366" y="1739977"/>
                    <a:pt x="2607995" y="1743235"/>
                    <a:pt x="2609624" y="1743235"/>
                  </a:cubicBezTo>
                  <a:cubicBezTo>
                    <a:pt x="2612068" y="1743235"/>
                    <a:pt x="2614511" y="1743235"/>
                    <a:pt x="2616954" y="1742421"/>
                  </a:cubicBezTo>
                  <a:cubicBezTo>
                    <a:pt x="2613696" y="1744864"/>
                    <a:pt x="2610438" y="1746493"/>
                    <a:pt x="2606366" y="1745679"/>
                  </a:cubicBezTo>
                  <a:cubicBezTo>
                    <a:pt x="2601479" y="1748937"/>
                    <a:pt x="2596592" y="1748937"/>
                    <a:pt x="2591705" y="1748937"/>
                  </a:cubicBezTo>
                  <a:cubicBezTo>
                    <a:pt x="2591705" y="1748937"/>
                    <a:pt x="2591705" y="1748937"/>
                    <a:pt x="2591705" y="1748122"/>
                  </a:cubicBezTo>
                  <a:cubicBezTo>
                    <a:pt x="2589261" y="1747308"/>
                    <a:pt x="2586818" y="1747308"/>
                    <a:pt x="2584375" y="1748122"/>
                  </a:cubicBezTo>
                  <a:cubicBezTo>
                    <a:pt x="2586004" y="1747308"/>
                    <a:pt x="2586818" y="1745679"/>
                    <a:pt x="2586818" y="1743235"/>
                  </a:cubicBezTo>
                  <a:cubicBezTo>
                    <a:pt x="2582746" y="1741606"/>
                    <a:pt x="2578673" y="1743235"/>
                    <a:pt x="2574601" y="1744050"/>
                  </a:cubicBezTo>
                  <a:cubicBezTo>
                    <a:pt x="2577859" y="1739977"/>
                    <a:pt x="2584375" y="1739163"/>
                    <a:pt x="2590891" y="1739163"/>
                  </a:cubicBezTo>
                  <a:close/>
                  <a:moveTo>
                    <a:pt x="2537949" y="1732647"/>
                  </a:moveTo>
                  <a:cubicBezTo>
                    <a:pt x="2537949" y="1733461"/>
                    <a:pt x="2537134" y="1734276"/>
                    <a:pt x="2537134" y="1735905"/>
                  </a:cubicBezTo>
                  <a:cubicBezTo>
                    <a:pt x="2535505" y="1735090"/>
                    <a:pt x="2533876" y="1734276"/>
                    <a:pt x="2532247" y="1733461"/>
                  </a:cubicBezTo>
                  <a:cubicBezTo>
                    <a:pt x="2533876" y="1733461"/>
                    <a:pt x="2535505" y="1732647"/>
                    <a:pt x="2537949" y="1732647"/>
                  </a:cubicBezTo>
                  <a:close/>
                  <a:moveTo>
                    <a:pt x="2465459" y="1729389"/>
                  </a:moveTo>
                  <a:cubicBezTo>
                    <a:pt x="2469532" y="1726945"/>
                    <a:pt x="2473604" y="1726945"/>
                    <a:pt x="2476048" y="1730203"/>
                  </a:cubicBezTo>
                  <a:cubicBezTo>
                    <a:pt x="2471975" y="1731018"/>
                    <a:pt x="2468717" y="1731018"/>
                    <a:pt x="2465459" y="1729389"/>
                  </a:cubicBezTo>
                  <a:cubicBezTo>
                    <a:pt x="2464645" y="1729389"/>
                    <a:pt x="2464645" y="1729389"/>
                    <a:pt x="2465459" y="1729389"/>
                  </a:cubicBezTo>
                  <a:close/>
                  <a:moveTo>
                    <a:pt x="2436138" y="1745679"/>
                  </a:moveTo>
                  <a:cubicBezTo>
                    <a:pt x="2437767" y="1745679"/>
                    <a:pt x="2438581" y="1746493"/>
                    <a:pt x="2440210" y="1746493"/>
                  </a:cubicBezTo>
                  <a:cubicBezTo>
                    <a:pt x="2437767" y="1748937"/>
                    <a:pt x="2436138" y="1749751"/>
                    <a:pt x="2432880" y="1749751"/>
                  </a:cubicBezTo>
                  <a:cubicBezTo>
                    <a:pt x="2427993" y="1748937"/>
                    <a:pt x="2425549" y="1751380"/>
                    <a:pt x="2422291" y="1754638"/>
                  </a:cubicBezTo>
                  <a:cubicBezTo>
                    <a:pt x="2421477" y="1753009"/>
                    <a:pt x="2419848" y="1752195"/>
                    <a:pt x="2418219" y="1752195"/>
                  </a:cubicBezTo>
                  <a:cubicBezTo>
                    <a:pt x="2424735" y="1751380"/>
                    <a:pt x="2430436" y="1749751"/>
                    <a:pt x="2436138" y="1745679"/>
                  </a:cubicBezTo>
                  <a:close/>
                  <a:moveTo>
                    <a:pt x="2400300" y="1772557"/>
                  </a:moveTo>
                  <a:cubicBezTo>
                    <a:pt x="2406816" y="1771742"/>
                    <a:pt x="2412518" y="1771742"/>
                    <a:pt x="2419033" y="1771742"/>
                  </a:cubicBezTo>
                  <a:cubicBezTo>
                    <a:pt x="2419033" y="1774186"/>
                    <a:pt x="2417404" y="1775815"/>
                    <a:pt x="2414961" y="1776629"/>
                  </a:cubicBezTo>
                  <a:cubicBezTo>
                    <a:pt x="2414961" y="1776629"/>
                    <a:pt x="2414146" y="1776629"/>
                    <a:pt x="2414146" y="1777444"/>
                  </a:cubicBezTo>
                  <a:cubicBezTo>
                    <a:pt x="2410889" y="1778258"/>
                    <a:pt x="2402744" y="1777444"/>
                    <a:pt x="2397856" y="1775815"/>
                  </a:cubicBezTo>
                  <a:cubicBezTo>
                    <a:pt x="2397856" y="1775815"/>
                    <a:pt x="2397856" y="1775000"/>
                    <a:pt x="2397856" y="1775000"/>
                  </a:cubicBezTo>
                  <a:cubicBezTo>
                    <a:pt x="2397856" y="1773371"/>
                    <a:pt x="2398671" y="1772557"/>
                    <a:pt x="2400300" y="1772557"/>
                  </a:cubicBezTo>
                  <a:close/>
                  <a:moveTo>
                    <a:pt x="2820577" y="1466309"/>
                  </a:moveTo>
                  <a:cubicBezTo>
                    <a:pt x="2822206" y="1469567"/>
                    <a:pt x="2820577" y="1472825"/>
                    <a:pt x="2818133" y="1476897"/>
                  </a:cubicBezTo>
                  <a:cubicBezTo>
                    <a:pt x="2818133" y="1475268"/>
                    <a:pt x="2817318" y="1473639"/>
                    <a:pt x="2817318" y="1471196"/>
                  </a:cubicBezTo>
                  <a:cubicBezTo>
                    <a:pt x="2818948" y="1470381"/>
                    <a:pt x="2819762" y="1468752"/>
                    <a:pt x="2820577" y="1466309"/>
                  </a:cubicBezTo>
                  <a:close/>
                  <a:moveTo>
                    <a:pt x="2815690" y="1445132"/>
                  </a:moveTo>
                  <a:cubicBezTo>
                    <a:pt x="2814875" y="1448390"/>
                    <a:pt x="2814061" y="1450019"/>
                    <a:pt x="2813246" y="1450834"/>
                  </a:cubicBezTo>
                  <a:cubicBezTo>
                    <a:pt x="2812432" y="1450019"/>
                    <a:pt x="2812432" y="1450019"/>
                    <a:pt x="2811617" y="1449205"/>
                  </a:cubicBezTo>
                  <a:cubicBezTo>
                    <a:pt x="2813246" y="1447576"/>
                    <a:pt x="2814875" y="1446761"/>
                    <a:pt x="2815690" y="1445132"/>
                  </a:cubicBezTo>
                  <a:close/>
                  <a:moveTo>
                    <a:pt x="2779038" y="1423955"/>
                  </a:moveTo>
                  <a:cubicBezTo>
                    <a:pt x="2779852" y="1425584"/>
                    <a:pt x="2780666" y="1426399"/>
                    <a:pt x="2781481" y="1426399"/>
                  </a:cubicBezTo>
                  <a:cubicBezTo>
                    <a:pt x="2779852" y="1429657"/>
                    <a:pt x="2777409" y="1432915"/>
                    <a:pt x="2774151" y="1435358"/>
                  </a:cubicBezTo>
                  <a:cubicBezTo>
                    <a:pt x="2774151" y="1435358"/>
                    <a:pt x="2774151" y="1435358"/>
                    <a:pt x="2774151" y="1434544"/>
                  </a:cubicBezTo>
                  <a:cubicBezTo>
                    <a:pt x="2772522" y="1435358"/>
                    <a:pt x="2770893" y="1435358"/>
                    <a:pt x="2769264" y="1436173"/>
                  </a:cubicBezTo>
                  <a:cubicBezTo>
                    <a:pt x="2771707" y="1432100"/>
                    <a:pt x="2774965" y="1428028"/>
                    <a:pt x="2779038" y="1423955"/>
                  </a:cubicBezTo>
                  <a:close/>
                  <a:moveTo>
                    <a:pt x="2731797" y="1433729"/>
                  </a:moveTo>
                  <a:cubicBezTo>
                    <a:pt x="2732612" y="1432915"/>
                    <a:pt x="2734241" y="1432915"/>
                    <a:pt x="2735055" y="1432100"/>
                  </a:cubicBezTo>
                  <a:cubicBezTo>
                    <a:pt x="2737499" y="1431286"/>
                    <a:pt x="2739942" y="1429657"/>
                    <a:pt x="2742386" y="1428028"/>
                  </a:cubicBezTo>
                  <a:cubicBezTo>
                    <a:pt x="2745643" y="1426399"/>
                    <a:pt x="2748902" y="1425584"/>
                    <a:pt x="2752159" y="1423955"/>
                  </a:cubicBezTo>
                  <a:cubicBezTo>
                    <a:pt x="2752974" y="1423955"/>
                    <a:pt x="2753788" y="1423955"/>
                    <a:pt x="2754603" y="1423955"/>
                  </a:cubicBezTo>
                  <a:cubicBezTo>
                    <a:pt x="2754603" y="1426399"/>
                    <a:pt x="2752974" y="1428028"/>
                    <a:pt x="2750531" y="1429657"/>
                  </a:cubicBezTo>
                  <a:cubicBezTo>
                    <a:pt x="2744829" y="1432915"/>
                    <a:pt x="2739128" y="1436987"/>
                    <a:pt x="2733426" y="1440245"/>
                  </a:cubicBezTo>
                  <a:cubicBezTo>
                    <a:pt x="2731797" y="1441060"/>
                    <a:pt x="2730983" y="1441874"/>
                    <a:pt x="2729354" y="1442689"/>
                  </a:cubicBezTo>
                  <a:lnTo>
                    <a:pt x="2729354" y="1442689"/>
                  </a:lnTo>
                  <a:cubicBezTo>
                    <a:pt x="2730168" y="1440245"/>
                    <a:pt x="2730983" y="1436987"/>
                    <a:pt x="2731797" y="1433729"/>
                  </a:cubicBezTo>
                  <a:close/>
                  <a:moveTo>
                    <a:pt x="2923202" y="1241510"/>
                  </a:moveTo>
                  <a:cubicBezTo>
                    <a:pt x="2924831" y="1240695"/>
                    <a:pt x="2926460" y="1239881"/>
                    <a:pt x="2928089" y="1239881"/>
                  </a:cubicBezTo>
                  <a:cubicBezTo>
                    <a:pt x="2927275" y="1241510"/>
                    <a:pt x="2926460" y="1243139"/>
                    <a:pt x="2924831" y="1243953"/>
                  </a:cubicBezTo>
                  <a:cubicBezTo>
                    <a:pt x="2924831" y="1243953"/>
                    <a:pt x="2923202" y="1243953"/>
                    <a:pt x="2922388" y="1243139"/>
                  </a:cubicBezTo>
                  <a:cubicBezTo>
                    <a:pt x="2923202" y="1243139"/>
                    <a:pt x="2923202" y="1241510"/>
                    <a:pt x="2923202" y="1241510"/>
                  </a:cubicBezTo>
                  <a:close/>
                  <a:moveTo>
                    <a:pt x="2370978" y="602950"/>
                  </a:moveTo>
                  <a:cubicBezTo>
                    <a:pt x="2373422" y="602950"/>
                    <a:pt x="2375051" y="605394"/>
                    <a:pt x="2375866" y="607837"/>
                  </a:cubicBezTo>
                  <a:cubicBezTo>
                    <a:pt x="2374237" y="608652"/>
                    <a:pt x="2372607" y="610281"/>
                    <a:pt x="2370978" y="608652"/>
                  </a:cubicBezTo>
                  <a:cubicBezTo>
                    <a:pt x="2369349" y="606208"/>
                    <a:pt x="2370164" y="604579"/>
                    <a:pt x="2370978" y="602950"/>
                  </a:cubicBezTo>
                  <a:close/>
                  <a:moveTo>
                    <a:pt x="2362833" y="585846"/>
                  </a:moveTo>
                  <a:cubicBezTo>
                    <a:pt x="2364463" y="585031"/>
                    <a:pt x="2366092" y="584217"/>
                    <a:pt x="2367721" y="582588"/>
                  </a:cubicBezTo>
                  <a:cubicBezTo>
                    <a:pt x="2368535" y="585031"/>
                    <a:pt x="2369349" y="587475"/>
                    <a:pt x="2369349" y="589104"/>
                  </a:cubicBezTo>
                  <a:cubicBezTo>
                    <a:pt x="2367721" y="593176"/>
                    <a:pt x="2366092" y="595620"/>
                    <a:pt x="2365277" y="599692"/>
                  </a:cubicBezTo>
                  <a:cubicBezTo>
                    <a:pt x="2362833" y="598063"/>
                    <a:pt x="2363648" y="595620"/>
                    <a:pt x="2363648" y="593176"/>
                  </a:cubicBezTo>
                  <a:cubicBezTo>
                    <a:pt x="2362833" y="590733"/>
                    <a:pt x="2362833" y="588289"/>
                    <a:pt x="2362833" y="585846"/>
                  </a:cubicBezTo>
                  <a:close/>
                  <a:moveTo>
                    <a:pt x="2326996" y="591547"/>
                  </a:moveTo>
                  <a:cubicBezTo>
                    <a:pt x="2331069" y="593991"/>
                    <a:pt x="2331069" y="593991"/>
                    <a:pt x="2331883" y="598878"/>
                  </a:cubicBezTo>
                  <a:cubicBezTo>
                    <a:pt x="2326181" y="593176"/>
                    <a:pt x="2326181" y="593176"/>
                    <a:pt x="2326996" y="591547"/>
                  </a:cubicBezTo>
                  <a:close/>
                  <a:moveTo>
                    <a:pt x="2645461" y="1250469"/>
                  </a:moveTo>
                  <a:cubicBezTo>
                    <a:pt x="2648720" y="1249655"/>
                    <a:pt x="2651163" y="1249655"/>
                    <a:pt x="2654421" y="1248840"/>
                  </a:cubicBezTo>
                  <a:cubicBezTo>
                    <a:pt x="2654421" y="1250469"/>
                    <a:pt x="2654421" y="1251284"/>
                    <a:pt x="2654421" y="1252913"/>
                  </a:cubicBezTo>
                  <a:cubicBezTo>
                    <a:pt x="2654421" y="1252913"/>
                    <a:pt x="2654421" y="1253727"/>
                    <a:pt x="2655235" y="1253727"/>
                  </a:cubicBezTo>
                  <a:cubicBezTo>
                    <a:pt x="2651163" y="1254542"/>
                    <a:pt x="2647090" y="1256171"/>
                    <a:pt x="2642203" y="1253727"/>
                  </a:cubicBezTo>
                  <a:cubicBezTo>
                    <a:pt x="2643832" y="1252098"/>
                    <a:pt x="2644647" y="1250469"/>
                    <a:pt x="2645461" y="1250469"/>
                  </a:cubicBezTo>
                  <a:close/>
                  <a:moveTo>
                    <a:pt x="2449170" y="516614"/>
                  </a:moveTo>
                  <a:cubicBezTo>
                    <a:pt x="2451613" y="522316"/>
                    <a:pt x="2458943" y="519872"/>
                    <a:pt x="2461387" y="523130"/>
                  </a:cubicBezTo>
                  <a:cubicBezTo>
                    <a:pt x="2462201" y="526388"/>
                    <a:pt x="2463016" y="528832"/>
                    <a:pt x="2463830" y="532090"/>
                  </a:cubicBezTo>
                  <a:cubicBezTo>
                    <a:pt x="2458129" y="529646"/>
                    <a:pt x="2451613" y="528832"/>
                    <a:pt x="2445912" y="528832"/>
                  </a:cubicBezTo>
                  <a:cubicBezTo>
                    <a:pt x="2445912" y="527203"/>
                    <a:pt x="2445097" y="525574"/>
                    <a:pt x="2443468" y="523945"/>
                  </a:cubicBezTo>
                  <a:cubicBezTo>
                    <a:pt x="2441025" y="522316"/>
                    <a:pt x="2438581" y="519872"/>
                    <a:pt x="2434508" y="516614"/>
                  </a:cubicBezTo>
                  <a:cubicBezTo>
                    <a:pt x="2441025" y="516614"/>
                    <a:pt x="2445097" y="523945"/>
                    <a:pt x="2449170" y="516614"/>
                  </a:cubicBezTo>
                  <a:close/>
                  <a:moveTo>
                    <a:pt x="2456500" y="545121"/>
                  </a:moveTo>
                  <a:cubicBezTo>
                    <a:pt x="2456500" y="544307"/>
                    <a:pt x="2455685" y="543493"/>
                    <a:pt x="2455685" y="542678"/>
                  </a:cubicBezTo>
                  <a:cubicBezTo>
                    <a:pt x="2458129" y="542678"/>
                    <a:pt x="2460572" y="542678"/>
                    <a:pt x="2462201" y="542678"/>
                  </a:cubicBezTo>
                  <a:cubicBezTo>
                    <a:pt x="2462201" y="542678"/>
                    <a:pt x="2462201" y="542678"/>
                    <a:pt x="2462201" y="543493"/>
                  </a:cubicBezTo>
                  <a:cubicBezTo>
                    <a:pt x="2462201" y="544307"/>
                    <a:pt x="2462201" y="545121"/>
                    <a:pt x="2462201" y="545121"/>
                  </a:cubicBezTo>
                  <a:cubicBezTo>
                    <a:pt x="2459758" y="545121"/>
                    <a:pt x="2458129" y="545121"/>
                    <a:pt x="2456500" y="545121"/>
                  </a:cubicBezTo>
                  <a:close/>
                  <a:moveTo>
                    <a:pt x="2459758" y="558153"/>
                  </a:moveTo>
                  <a:cubicBezTo>
                    <a:pt x="2458129" y="560597"/>
                    <a:pt x="2457315" y="563855"/>
                    <a:pt x="2455685" y="566298"/>
                  </a:cubicBezTo>
                  <a:cubicBezTo>
                    <a:pt x="2454871" y="566298"/>
                    <a:pt x="2454871" y="565484"/>
                    <a:pt x="2454056" y="565484"/>
                  </a:cubicBezTo>
                  <a:cubicBezTo>
                    <a:pt x="2455685" y="563040"/>
                    <a:pt x="2456500" y="559782"/>
                    <a:pt x="2458129" y="557339"/>
                  </a:cubicBezTo>
                  <a:cubicBezTo>
                    <a:pt x="2458943" y="558153"/>
                    <a:pt x="2458943" y="558153"/>
                    <a:pt x="2459758" y="558153"/>
                  </a:cubicBezTo>
                  <a:close/>
                  <a:moveTo>
                    <a:pt x="2432065" y="568742"/>
                  </a:moveTo>
                  <a:cubicBezTo>
                    <a:pt x="2432065" y="568742"/>
                    <a:pt x="2431251" y="569556"/>
                    <a:pt x="2431251" y="569556"/>
                  </a:cubicBezTo>
                  <a:cubicBezTo>
                    <a:pt x="2425549" y="569556"/>
                    <a:pt x="2420663" y="570371"/>
                    <a:pt x="2414961" y="570371"/>
                  </a:cubicBezTo>
                  <a:cubicBezTo>
                    <a:pt x="2414961" y="568742"/>
                    <a:pt x="2414961" y="567113"/>
                    <a:pt x="2414961" y="564669"/>
                  </a:cubicBezTo>
                  <a:cubicBezTo>
                    <a:pt x="2417404" y="566298"/>
                    <a:pt x="2418219" y="567113"/>
                    <a:pt x="2419848" y="567927"/>
                  </a:cubicBezTo>
                  <a:cubicBezTo>
                    <a:pt x="2419848" y="565484"/>
                    <a:pt x="2419848" y="562226"/>
                    <a:pt x="2419033" y="560597"/>
                  </a:cubicBezTo>
                  <a:cubicBezTo>
                    <a:pt x="2423106" y="558968"/>
                    <a:pt x="2427178" y="558153"/>
                    <a:pt x="2431251" y="557339"/>
                  </a:cubicBezTo>
                  <a:cubicBezTo>
                    <a:pt x="2429622" y="559782"/>
                    <a:pt x="2428807" y="563040"/>
                    <a:pt x="2427178" y="565484"/>
                  </a:cubicBezTo>
                  <a:cubicBezTo>
                    <a:pt x="2429622" y="564669"/>
                    <a:pt x="2432065" y="563040"/>
                    <a:pt x="2433694" y="563040"/>
                  </a:cubicBezTo>
                  <a:cubicBezTo>
                    <a:pt x="2436952" y="562226"/>
                    <a:pt x="2435323" y="566298"/>
                    <a:pt x="2437767" y="567113"/>
                  </a:cubicBezTo>
                  <a:cubicBezTo>
                    <a:pt x="2438581" y="566298"/>
                    <a:pt x="2440210" y="564669"/>
                    <a:pt x="2440210" y="564669"/>
                  </a:cubicBezTo>
                  <a:cubicBezTo>
                    <a:pt x="2439396" y="562226"/>
                    <a:pt x="2437767" y="560597"/>
                    <a:pt x="2436138" y="558153"/>
                  </a:cubicBezTo>
                  <a:cubicBezTo>
                    <a:pt x="2436138" y="558153"/>
                    <a:pt x="2436952" y="557339"/>
                    <a:pt x="2436952" y="557339"/>
                  </a:cubicBezTo>
                  <a:cubicBezTo>
                    <a:pt x="2438581" y="557339"/>
                    <a:pt x="2440210" y="557339"/>
                    <a:pt x="2441839" y="557339"/>
                  </a:cubicBezTo>
                  <a:cubicBezTo>
                    <a:pt x="2441839" y="558153"/>
                    <a:pt x="2442653" y="558968"/>
                    <a:pt x="2442653" y="560597"/>
                  </a:cubicBezTo>
                  <a:cubicBezTo>
                    <a:pt x="2443468" y="560597"/>
                    <a:pt x="2445097" y="560597"/>
                    <a:pt x="2445912" y="559782"/>
                  </a:cubicBezTo>
                  <a:cubicBezTo>
                    <a:pt x="2446726" y="563040"/>
                    <a:pt x="2447541" y="565484"/>
                    <a:pt x="2448355" y="568742"/>
                  </a:cubicBezTo>
                  <a:cubicBezTo>
                    <a:pt x="2442653" y="568742"/>
                    <a:pt x="2436952" y="568742"/>
                    <a:pt x="2432065" y="569556"/>
                  </a:cubicBezTo>
                  <a:cubicBezTo>
                    <a:pt x="2432065" y="569556"/>
                    <a:pt x="2432065" y="568742"/>
                    <a:pt x="2432065" y="568742"/>
                  </a:cubicBezTo>
                  <a:cubicBezTo>
                    <a:pt x="2432880" y="568742"/>
                    <a:pt x="2432065" y="568742"/>
                    <a:pt x="2432065" y="568742"/>
                  </a:cubicBezTo>
                  <a:close/>
                  <a:moveTo>
                    <a:pt x="2431251" y="519872"/>
                  </a:moveTo>
                  <a:cubicBezTo>
                    <a:pt x="2432065" y="522316"/>
                    <a:pt x="2432065" y="524759"/>
                    <a:pt x="2432880" y="527203"/>
                  </a:cubicBezTo>
                  <a:cubicBezTo>
                    <a:pt x="2429622" y="527203"/>
                    <a:pt x="2427178" y="527203"/>
                    <a:pt x="2424735" y="527203"/>
                  </a:cubicBezTo>
                  <a:cubicBezTo>
                    <a:pt x="2424735" y="522316"/>
                    <a:pt x="2427178" y="521501"/>
                    <a:pt x="2431251" y="519872"/>
                  </a:cubicBezTo>
                  <a:close/>
                  <a:moveTo>
                    <a:pt x="2409259" y="542678"/>
                  </a:moveTo>
                  <a:cubicBezTo>
                    <a:pt x="2413332" y="547565"/>
                    <a:pt x="2416590" y="547565"/>
                    <a:pt x="2420663" y="545121"/>
                  </a:cubicBezTo>
                  <a:cubicBezTo>
                    <a:pt x="2420663" y="547565"/>
                    <a:pt x="2421477" y="548379"/>
                    <a:pt x="2423106" y="549194"/>
                  </a:cubicBezTo>
                  <a:cubicBezTo>
                    <a:pt x="2422291" y="549194"/>
                    <a:pt x="2421477" y="550008"/>
                    <a:pt x="2421477" y="550008"/>
                  </a:cubicBezTo>
                  <a:cubicBezTo>
                    <a:pt x="2419848" y="550823"/>
                    <a:pt x="2417404" y="551637"/>
                    <a:pt x="2415775" y="551637"/>
                  </a:cubicBezTo>
                  <a:cubicBezTo>
                    <a:pt x="2411703" y="551637"/>
                    <a:pt x="2406816" y="551637"/>
                    <a:pt x="2402744" y="551637"/>
                  </a:cubicBezTo>
                  <a:cubicBezTo>
                    <a:pt x="2401115" y="544307"/>
                    <a:pt x="2409259" y="548379"/>
                    <a:pt x="2409259" y="542678"/>
                  </a:cubicBezTo>
                  <a:close/>
                  <a:moveTo>
                    <a:pt x="2366092" y="469374"/>
                  </a:moveTo>
                  <a:cubicBezTo>
                    <a:pt x="2366906" y="469374"/>
                    <a:pt x="2368535" y="468559"/>
                    <a:pt x="2370164" y="468559"/>
                  </a:cubicBezTo>
                  <a:cubicBezTo>
                    <a:pt x="2370978" y="471003"/>
                    <a:pt x="2370978" y="473446"/>
                    <a:pt x="2371793" y="476704"/>
                  </a:cubicBezTo>
                  <a:cubicBezTo>
                    <a:pt x="2369349" y="474261"/>
                    <a:pt x="2366906" y="472632"/>
                    <a:pt x="2365277" y="471003"/>
                  </a:cubicBezTo>
                  <a:cubicBezTo>
                    <a:pt x="2365277" y="470189"/>
                    <a:pt x="2366092" y="469374"/>
                    <a:pt x="2366092" y="469374"/>
                  </a:cubicBezTo>
                  <a:close/>
                  <a:moveTo>
                    <a:pt x="2369349" y="568742"/>
                  </a:moveTo>
                  <a:cubicBezTo>
                    <a:pt x="2369349" y="569556"/>
                    <a:pt x="2369349" y="569556"/>
                    <a:pt x="2369349" y="570371"/>
                  </a:cubicBezTo>
                  <a:cubicBezTo>
                    <a:pt x="2370978" y="569556"/>
                    <a:pt x="2371793" y="569556"/>
                    <a:pt x="2373422" y="568742"/>
                  </a:cubicBezTo>
                  <a:cubicBezTo>
                    <a:pt x="2374237" y="571185"/>
                    <a:pt x="2374237" y="572814"/>
                    <a:pt x="2375051" y="574443"/>
                  </a:cubicBezTo>
                  <a:cubicBezTo>
                    <a:pt x="2379938" y="574443"/>
                    <a:pt x="2379938" y="571185"/>
                    <a:pt x="2379938" y="568742"/>
                  </a:cubicBezTo>
                  <a:cubicBezTo>
                    <a:pt x="2380752" y="568742"/>
                    <a:pt x="2381567" y="568742"/>
                    <a:pt x="2381567" y="568742"/>
                  </a:cubicBezTo>
                  <a:cubicBezTo>
                    <a:pt x="2382381" y="570371"/>
                    <a:pt x="2383196" y="572000"/>
                    <a:pt x="2384011" y="572814"/>
                  </a:cubicBezTo>
                  <a:cubicBezTo>
                    <a:pt x="2384825" y="573629"/>
                    <a:pt x="2385639" y="575258"/>
                    <a:pt x="2385639" y="576072"/>
                  </a:cubicBezTo>
                  <a:cubicBezTo>
                    <a:pt x="2385639" y="576072"/>
                    <a:pt x="2384825" y="576886"/>
                    <a:pt x="2384011" y="576886"/>
                  </a:cubicBezTo>
                  <a:cubicBezTo>
                    <a:pt x="2384825" y="576886"/>
                    <a:pt x="2384825" y="577701"/>
                    <a:pt x="2385639" y="577701"/>
                  </a:cubicBezTo>
                  <a:cubicBezTo>
                    <a:pt x="2385639" y="577701"/>
                    <a:pt x="2385639" y="578516"/>
                    <a:pt x="2385639" y="578516"/>
                  </a:cubicBezTo>
                  <a:cubicBezTo>
                    <a:pt x="2384825" y="580959"/>
                    <a:pt x="2384825" y="582588"/>
                    <a:pt x="2386454" y="585031"/>
                  </a:cubicBezTo>
                  <a:cubicBezTo>
                    <a:pt x="2388083" y="586660"/>
                    <a:pt x="2388083" y="589918"/>
                    <a:pt x="2388897" y="591547"/>
                  </a:cubicBezTo>
                  <a:cubicBezTo>
                    <a:pt x="2389712" y="593176"/>
                    <a:pt x="2389712" y="593991"/>
                    <a:pt x="2390526" y="595620"/>
                  </a:cubicBezTo>
                  <a:cubicBezTo>
                    <a:pt x="2393784" y="594805"/>
                    <a:pt x="2396228" y="593991"/>
                    <a:pt x="2397856" y="593176"/>
                  </a:cubicBezTo>
                  <a:cubicBezTo>
                    <a:pt x="2397856" y="593176"/>
                    <a:pt x="2398671" y="593991"/>
                    <a:pt x="2399486" y="594805"/>
                  </a:cubicBezTo>
                  <a:cubicBezTo>
                    <a:pt x="2397856" y="595620"/>
                    <a:pt x="2397042" y="596434"/>
                    <a:pt x="2395413" y="597249"/>
                  </a:cubicBezTo>
                  <a:cubicBezTo>
                    <a:pt x="2398671" y="601321"/>
                    <a:pt x="2401115" y="597249"/>
                    <a:pt x="2403558" y="596434"/>
                  </a:cubicBezTo>
                  <a:cubicBezTo>
                    <a:pt x="2404373" y="597249"/>
                    <a:pt x="2405187" y="598878"/>
                    <a:pt x="2406816" y="599692"/>
                  </a:cubicBezTo>
                  <a:cubicBezTo>
                    <a:pt x="2414146" y="597249"/>
                    <a:pt x="2421477" y="593991"/>
                    <a:pt x="2424735" y="585846"/>
                  </a:cubicBezTo>
                  <a:cubicBezTo>
                    <a:pt x="2423106" y="586660"/>
                    <a:pt x="2421477" y="587475"/>
                    <a:pt x="2419848" y="588289"/>
                  </a:cubicBezTo>
                  <a:cubicBezTo>
                    <a:pt x="2420663" y="586660"/>
                    <a:pt x="2420663" y="585031"/>
                    <a:pt x="2420663" y="584217"/>
                  </a:cubicBezTo>
                  <a:cubicBezTo>
                    <a:pt x="2424735" y="584217"/>
                    <a:pt x="2428807" y="583402"/>
                    <a:pt x="2432880" y="583402"/>
                  </a:cubicBezTo>
                  <a:cubicBezTo>
                    <a:pt x="2440210" y="582588"/>
                    <a:pt x="2445912" y="583402"/>
                    <a:pt x="2450798" y="587475"/>
                  </a:cubicBezTo>
                  <a:cubicBezTo>
                    <a:pt x="2452427" y="589104"/>
                    <a:pt x="2454056" y="589918"/>
                    <a:pt x="2456500" y="589918"/>
                  </a:cubicBezTo>
                  <a:cubicBezTo>
                    <a:pt x="2455685" y="591547"/>
                    <a:pt x="2455685" y="593176"/>
                    <a:pt x="2454871" y="593991"/>
                  </a:cubicBezTo>
                  <a:cubicBezTo>
                    <a:pt x="2454056" y="597249"/>
                    <a:pt x="2449984" y="598878"/>
                    <a:pt x="2451613" y="603765"/>
                  </a:cubicBezTo>
                  <a:cubicBezTo>
                    <a:pt x="2454056" y="602136"/>
                    <a:pt x="2455685" y="600507"/>
                    <a:pt x="2458943" y="598878"/>
                  </a:cubicBezTo>
                  <a:cubicBezTo>
                    <a:pt x="2458943" y="601321"/>
                    <a:pt x="2458943" y="603765"/>
                    <a:pt x="2458943" y="605394"/>
                  </a:cubicBezTo>
                  <a:cubicBezTo>
                    <a:pt x="2459758" y="604579"/>
                    <a:pt x="2460572" y="604579"/>
                    <a:pt x="2463016" y="603765"/>
                  </a:cubicBezTo>
                  <a:cubicBezTo>
                    <a:pt x="2462201" y="607837"/>
                    <a:pt x="2463016" y="610281"/>
                    <a:pt x="2466274" y="611910"/>
                  </a:cubicBezTo>
                  <a:cubicBezTo>
                    <a:pt x="2467903" y="612724"/>
                    <a:pt x="2468717" y="615168"/>
                    <a:pt x="2467903" y="616797"/>
                  </a:cubicBezTo>
                  <a:cubicBezTo>
                    <a:pt x="2467088" y="616797"/>
                    <a:pt x="2465459" y="616797"/>
                    <a:pt x="2464645" y="616797"/>
                  </a:cubicBezTo>
                  <a:cubicBezTo>
                    <a:pt x="2457315" y="618425"/>
                    <a:pt x="2449984" y="620869"/>
                    <a:pt x="2442653" y="622498"/>
                  </a:cubicBezTo>
                  <a:cubicBezTo>
                    <a:pt x="2441839" y="620869"/>
                    <a:pt x="2441839" y="618425"/>
                    <a:pt x="2441839" y="615982"/>
                  </a:cubicBezTo>
                  <a:cubicBezTo>
                    <a:pt x="2440210" y="615168"/>
                    <a:pt x="2439396" y="613538"/>
                    <a:pt x="2437767" y="612724"/>
                  </a:cubicBezTo>
                  <a:cubicBezTo>
                    <a:pt x="2429622" y="607023"/>
                    <a:pt x="2421477" y="603765"/>
                    <a:pt x="2411703" y="607023"/>
                  </a:cubicBezTo>
                  <a:cubicBezTo>
                    <a:pt x="2409259" y="607837"/>
                    <a:pt x="2406816" y="608652"/>
                    <a:pt x="2404373" y="608652"/>
                  </a:cubicBezTo>
                  <a:cubicBezTo>
                    <a:pt x="2398671" y="608652"/>
                    <a:pt x="2395413" y="611095"/>
                    <a:pt x="2393784" y="615982"/>
                  </a:cubicBezTo>
                  <a:cubicBezTo>
                    <a:pt x="2392155" y="619240"/>
                    <a:pt x="2392155" y="622498"/>
                    <a:pt x="2391341" y="625756"/>
                  </a:cubicBezTo>
                  <a:cubicBezTo>
                    <a:pt x="2391341" y="625756"/>
                    <a:pt x="2391341" y="625756"/>
                    <a:pt x="2391341" y="625756"/>
                  </a:cubicBezTo>
                  <a:cubicBezTo>
                    <a:pt x="2386454" y="627385"/>
                    <a:pt x="2381567" y="627385"/>
                    <a:pt x="2375051" y="626570"/>
                  </a:cubicBezTo>
                  <a:cubicBezTo>
                    <a:pt x="2375051" y="624127"/>
                    <a:pt x="2375866" y="623312"/>
                    <a:pt x="2377494" y="620055"/>
                  </a:cubicBezTo>
                  <a:cubicBezTo>
                    <a:pt x="2378309" y="619240"/>
                    <a:pt x="2378309" y="617611"/>
                    <a:pt x="2378309" y="616797"/>
                  </a:cubicBezTo>
                  <a:cubicBezTo>
                    <a:pt x="2377494" y="613538"/>
                    <a:pt x="2377494" y="610281"/>
                    <a:pt x="2376680" y="607023"/>
                  </a:cubicBezTo>
                  <a:cubicBezTo>
                    <a:pt x="2381567" y="602950"/>
                    <a:pt x="2379123" y="596434"/>
                    <a:pt x="2381567" y="592362"/>
                  </a:cubicBezTo>
                  <a:cubicBezTo>
                    <a:pt x="2381567" y="591547"/>
                    <a:pt x="2380752" y="591547"/>
                    <a:pt x="2380752" y="590733"/>
                  </a:cubicBezTo>
                  <a:cubicBezTo>
                    <a:pt x="2377494" y="587475"/>
                    <a:pt x="2377494" y="587475"/>
                    <a:pt x="2379938" y="582588"/>
                  </a:cubicBezTo>
                  <a:cubicBezTo>
                    <a:pt x="2380752" y="580959"/>
                    <a:pt x="2381567" y="578516"/>
                    <a:pt x="2382381" y="576072"/>
                  </a:cubicBezTo>
                  <a:cubicBezTo>
                    <a:pt x="2376680" y="574443"/>
                    <a:pt x="2375866" y="580145"/>
                    <a:pt x="2374237" y="580959"/>
                  </a:cubicBezTo>
                  <a:cubicBezTo>
                    <a:pt x="2370978" y="578516"/>
                    <a:pt x="2368535" y="576886"/>
                    <a:pt x="2366092" y="574443"/>
                  </a:cubicBezTo>
                  <a:cubicBezTo>
                    <a:pt x="2366906" y="572000"/>
                    <a:pt x="2365277" y="570371"/>
                    <a:pt x="2363648" y="567927"/>
                  </a:cubicBezTo>
                  <a:cubicBezTo>
                    <a:pt x="2364463" y="568742"/>
                    <a:pt x="2366906" y="568742"/>
                    <a:pt x="2369349" y="568742"/>
                  </a:cubicBezTo>
                  <a:close/>
                  <a:moveTo>
                    <a:pt x="2359576" y="541863"/>
                  </a:moveTo>
                  <a:cubicBezTo>
                    <a:pt x="2358761" y="543493"/>
                    <a:pt x="2357947" y="545121"/>
                    <a:pt x="2357132" y="545936"/>
                  </a:cubicBezTo>
                  <a:cubicBezTo>
                    <a:pt x="2357132" y="545936"/>
                    <a:pt x="2356318" y="545936"/>
                    <a:pt x="2356318" y="545936"/>
                  </a:cubicBezTo>
                  <a:cubicBezTo>
                    <a:pt x="2356318" y="545936"/>
                    <a:pt x="2356318" y="546750"/>
                    <a:pt x="2356318" y="546750"/>
                  </a:cubicBezTo>
                  <a:cubicBezTo>
                    <a:pt x="2356318" y="546750"/>
                    <a:pt x="2356318" y="546750"/>
                    <a:pt x="2357132" y="546750"/>
                  </a:cubicBezTo>
                  <a:cubicBezTo>
                    <a:pt x="2356318" y="548379"/>
                    <a:pt x="2355503" y="549194"/>
                    <a:pt x="2355503" y="550823"/>
                  </a:cubicBezTo>
                  <a:cubicBezTo>
                    <a:pt x="2354689" y="550823"/>
                    <a:pt x="2354689" y="550008"/>
                    <a:pt x="2353874" y="550008"/>
                  </a:cubicBezTo>
                  <a:cubicBezTo>
                    <a:pt x="2352245" y="545121"/>
                    <a:pt x="2355503" y="544307"/>
                    <a:pt x="2359576" y="541863"/>
                  </a:cubicBezTo>
                  <a:close/>
                  <a:moveTo>
                    <a:pt x="2353874" y="585031"/>
                  </a:moveTo>
                  <a:cubicBezTo>
                    <a:pt x="2353874" y="584217"/>
                    <a:pt x="2354689" y="582588"/>
                    <a:pt x="2355503" y="581773"/>
                  </a:cubicBezTo>
                  <a:cubicBezTo>
                    <a:pt x="2357132" y="580145"/>
                    <a:pt x="2358761" y="579330"/>
                    <a:pt x="2362019" y="577701"/>
                  </a:cubicBezTo>
                  <a:cubicBezTo>
                    <a:pt x="2362833" y="582588"/>
                    <a:pt x="2358761" y="582588"/>
                    <a:pt x="2357132" y="585031"/>
                  </a:cubicBezTo>
                  <a:cubicBezTo>
                    <a:pt x="2360390" y="589918"/>
                    <a:pt x="2357947" y="594805"/>
                    <a:pt x="2355503" y="599692"/>
                  </a:cubicBezTo>
                  <a:cubicBezTo>
                    <a:pt x="2354689" y="598878"/>
                    <a:pt x="2353060" y="597249"/>
                    <a:pt x="2352245" y="596434"/>
                  </a:cubicBezTo>
                  <a:cubicBezTo>
                    <a:pt x="2354689" y="593176"/>
                    <a:pt x="2356318" y="589918"/>
                    <a:pt x="2353874" y="585031"/>
                  </a:cubicBezTo>
                  <a:close/>
                  <a:moveTo>
                    <a:pt x="2344915" y="577701"/>
                  </a:moveTo>
                  <a:cubicBezTo>
                    <a:pt x="2346544" y="573629"/>
                    <a:pt x="2346544" y="573629"/>
                    <a:pt x="2351431" y="573629"/>
                  </a:cubicBezTo>
                  <a:cubicBezTo>
                    <a:pt x="2348987" y="575258"/>
                    <a:pt x="2347358" y="576072"/>
                    <a:pt x="2344915" y="577701"/>
                  </a:cubicBezTo>
                  <a:close/>
                  <a:moveTo>
                    <a:pt x="2348173" y="526388"/>
                  </a:moveTo>
                  <a:cubicBezTo>
                    <a:pt x="2348987" y="528017"/>
                    <a:pt x="2349802" y="528832"/>
                    <a:pt x="2349802" y="529646"/>
                  </a:cubicBezTo>
                  <a:cubicBezTo>
                    <a:pt x="2348987" y="535348"/>
                    <a:pt x="2347358" y="541863"/>
                    <a:pt x="2345729" y="547565"/>
                  </a:cubicBezTo>
                  <a:cubicBezTo>
                    <a:pt x="2344100" y="542678"/>
                    <a:pt x="2345729" y="530461"/>
                    <a:pt x="2348173" y="526388"/>
                  </a:cubicBezTo>
                  <a:close/>
                  <a:moveTo>
                    <a:pt x="2349802" y="554081"/>
                  </a:moveTo>
                  <a:cubicBezTo>
                    <a:pt x="2348173" y="554081"/>
                    <a:pt x="2345729" y="554081"/>
                    <a:pt x="2344100" y="553266"/>
                  </a:cubicBezTo>
                  <a:cubicBezTo>
                    <a:pt x="2344100" y="552452"/>
                    <a:pt x="2343286" y="550823"/>
                    <a:pt x="2343286" y="550008"/>
                  </a:cubicBezTo>
                  <a:cubicBezTo>
                    <a:pt x="2347358" y="550008"/>
                    <a:pt x="2348987" y="551637"/>
                    <a:pt x="2349802" y="554081"/>
                  </a:cubicBezTo>
                  <a:close/>
                  <a:moveTo>
                    <a:pt x="2340028" y="538606"/>
                  </a:moveTo>
                  <a:cubicBezTo>
                    <a:pt x="2339214" y="536977"/>
                    <a:pt x="2338399" y="535348"/>
                    <a:pt x="2337585" y="532904"/>
                  </a:cubicBezTo>
                  <a:cubicBezTo>
                    <a:pt x="2342471" y="534533"/>
                    <a:pt x="2342471" y="534533"/>
                    <a:pt x="2340028" y="538606"/>
                  </a:cubicBezTo>
                  <a:close/>
                  <a:moveTo>
                    <a:pt x="2333512" y="542678"/>
                  </a:moveTo>
                  <a:cubicBezTo>
                    <a:pt x="2332697" y="541863"/>
                    <a:pt x="2331883" y="541049"/>
                    <a:pt x="2331069" y="540234"/>
                  </a:cubicBezTo>
                  <a:cubicBezTo>
                    <a:pt x="2331883" y="538606"/>
                    <a:pt x="2333512" y="536977"/>
                    <a:pt x="2334326" y="535348"/>
                  </a:cubicBezTo>
                  <a:cubicBezTo>
                    <a:pt x="2335141" y="537791"/>
                    <a:pt x="2335141" y="537791"/>
                    <a:pt x="2333512" y="542678"/>
                  </a:cubicBezTo>
                  <a:close/>
                  <a:moveTo>
                    <a:pt x="2329440" y="533719"/>
                  </a:moveTo>
                  <a:cubicBezTo>
                    <a:pt x="2329440" y="532090"/>
                    <a:pt x="2328625" y="530461"/>
                    <a:pt x="2328625" y="528832"/>
                  </a:cubicBezTo>
                  <a:cubicBezTo>
                    <a:pt x="2331883" y="531275"/>
                    <a:pt x="2331069" y="532090"/>
                    <a:pt x="2329440" y="533719"/>
                  </a:cubicBezTo>
                  <a:close/>
                  <a:moveTo>
                    <a:pt x="2329440" y="534533"/>
                  </a:moveTo>
                  <a:cubicBezTo>
                    <a:pt x="2329440" y="536162"/>
                    <a:pt x="2330254" y="538606"/>
                    <a:pt x="2330254" y="540234"/>
                  </a:cubicBezTo>
                  <a:cubicBezTo>
                    <a:pt x="2329440" y="541049"/>
                    <a:pt x="2327811" y="541863"/>
                    <a:pt x="2327811" y="539420"/>
                  </a:cubicBezTo>
                  <a:cubicBezTo>
                    <a:pt x="2327811" y="537791"/>
                    <a:pt x="2329440" y="536162"/>
                    <a:pt x="2329440" y="534533"/>
                  </a:cubicBezTo>
                  <a:close/>
                  <a:moveTo>
                    <a:pt x="2323738" y="555710"/>
                  </a:moveTo>
                  <a:cubicBezTo>
                    <a:pt x="2325367" y="554895"/>
                    <a:pt x="2326996" y="554895"/>
                    <a:pt x="2329440" y="554895"/>
                  </a:cubicBezTo>
                  <a:cubicBezTo>
                    <a:pt x="2326181" y="556524"/>
                    <a:pt x="2323738" y="559782"/>
                    <a:pt x="2322924" y="564669"/>
                  </a:cubicBezTo>
                  <a:cubicBezTo>
                    <a:pt x="2322109" y="564669"/>
                    <a:pt x="2322109" y="563855"/>
                    <a:pt x="2321295" y="563040"/>
                  </a:cubicBezTo>
                  <a:cubicBezTo>
                    <a:pt x="2318851" y="560597"/>
                    <a:pt x="2320480" y="556524"/>
                    <a:pt x="2323738" y="555710"/>
                  </a:cubicBezTo>
                  <a:close/>
                  <a:moveTo>
                    <a:pt x="2318037" y="595620"/>
                  </a:moveTo>
                  <a:cubicBezTo>
                    <a:pt x="2321295" y="597249"/>
                    <a:pt x="2320480" y="598878"/>
                    <a:pt x="2318037" y="599692"/>
                  </a:cubicBezTo>
                  <a:cubicBezTo>
                    <a:pt x="2318037" y="598878"/>
                    <a:pt x="2318037" y="597249"/>
                    <a:pt x="2318037" y="595620"/>
                  </a:cubicBezTo>
                  <a:close/>
                  <a:moveTo>
                    <a:pt x="2313150" y="509284"/>
                  </a:moveTo>
                  <a:cubicBezTo>
                    <a:pt x="2313150" y="510098"/>
                    <a:pt x="2313964" y="510913"/>
                    <a:pt x="2313964" y="512542"/>
                  </a:cubicBezTo>
                  <a:cubicBezTo>
                    <a:pt x="2313964" y="513356"/>
                    <a:pt x="2312335" y="516614"/>
                    <a:pt x="2311521" y="520687"/>
                  </a:cubicBezTo>
                  <a:cubicBezTo>
                    <a:pt x="2310706" y="517429"/>
                    <a:pt x="2309892" y="514171"/>
                    <a:pt x="2309892" y="510913"/>
                  </a:cubicBezTo>
                  <a:cubicBezTo>
                    <a:pt x="2311521" y="510098"/>
                    <a:pt x="2312335" y="510098"/>
                    <a:pt x="2313150" y="509284"/>
                  </a:cubicBezTo>
                  <a:close/>
                  <a:moveTo>
                    <a:pt x="2309077" y="607837"/>
                  </a:moveTo>
                  <a:cubicBezTo>
                    <a:pt x="2309077" y="610281"/>
                    <a:pt x="2309892" y="613538"/>
                    <a:pt x="2309892" y="615982"/>
                  </a:cubicBezTo>
                  <a:cubicBezTo>
                    <a:pt x="2309077" y="615982"/>
                    <a:pt x="2308263" y="615982"/>
                    <a:pt x="2308263" y="615982"/>
                  </a:cubicBezTo>
                  <a:cubicBezTo>
                    <a:pt x="2308263" y="613538"/>
                    <a:pt x="2308263" y="611095"/>
                    <a:pt x="2307448" y="607837"/>
                  </a:cubicBezTo>
                  <a:cubicBezTo>
                    <a:pt x="2307448" y="607837"/>
                    <a:pt x="2308263" y="607837"/>
                    <a:pt x="2309077" y="607837"/>
                  </a:cubicBezTo>
                  <a:close/>
                  <a:moveTo>
                    <a:pt x="2313150" y="819604"/>
                  </a:moveTo>
                  <a:cubicBezTo>
                    <a:pt x="2312335" y="820419"/>
                    <a:pt x="2312335" y="821233"/>
                    <a:pt x="2311521" y="821233"/>
                  </a:cubicBezTo>
                  <a:cubicBezTo>
                    <a:pt x="2309077" y="821233"/>
                    <a:pt x="2307448" y="822048"/>
                    <a:pt x="2305819" y="822862"/>
                  </a:cubicBezTo>
                  <a:cubicBezTo>
                    <a:pt x="2305819" y="822862"/>
                    <a:pt x="2305819" y="822862"/>
                    <a:pt x="2305819" y="822862"/>
                  </a:cubicBezTo>
                  <a:cubicBezTo>
                    <a:pt x="2305819" y="822048"/>
                    <a:pt x="2305005" y="820419"/>
                    <a:pt x="2305005" y="819604"/>
                  </a:cubicBezTo>
                  <a:cubicBezTo>
                    <a:pt x="2307448" y="819604"/>
                    <a:pt x="2309892" y="819604"/>
                    <a:pt x="2313150" y="819604"/>
                  </a:cubicBezTo>
                  <a:close/>
                  <a:moveTo>
                    <a:pt x="2281385" y="230728"/>
                  </a:moveTo>
                  <a:cubicBezTo>
                    <a:pt x="2280570" y="227471"/>
                    <a:pt x="2280570" y="225842"/>
                    <a:pt x="2279755" y="223398"/>
                  </a:cubicBezTo>
                  <a:cubicBezTo>
                    <a:pt x="2281385" y="225842"/>
                    <a:pt x="2284643" y="227471"/>
                    <a:pt x="2281385" y="230728"/>
                  </a:cubicBezTo>
                  <a:close/>
                  <a:moveTo>
                    <a:pt x="2276498" y="602136"/>
                  </a:moveTo>
                  <a:cubicBezTo>
                    <a:pt x="2278941" y="605394"/>
                    <a:pt x="2278127" y="607837"/>
                    <a:pt x="2277312" y="610281"/>
                  </a:cubicBezTo>
                  <a:cubicBezTo>
                    <a:pt x="2273240" y="608652"/>
                    <a:pt x="2273240" y="608652"/>
                    <a:pt x="2276498" y="602136"/>
                  </a:cubicBezTo>
                  <a:close/>
                  <a:moveTo>
                    <a:pt x="2271611" y="617611"/>
                  </a:moveTo>
                  <a:cubicBezTo>
                    <a:pt x="2269167" y="615982"/>
                    <a:pt x="2267538" y="614353"/>
                    <a:pt x="2264280" y="611910"/>
                  </a:cubicBezTo>
                  <a:cubicBezTo>
                    <a:pt x="2272425" y="611095"/>
                    <a:pt x="2273240" y="611910"/>
                    <a:pt x="2271611" y="617611"/>
                  </a:cubicBezTo>
                  <a:close/>
                  <a:moveTo>
                    <a:pt x="2262651" y="599692"/>
                  </a:moveTo>
                  <a:cubicBezTo>
                    <a:pt x="2261022" y="602136"/>
                    <a:pt x="2262651" y="606208"/>
                    <a:pt x="2256950" y="607837"/>
                  </a:cubicBezTo>
                  <a:cubicBezTo>
                    <a:pt x="2259393" y="604579"/>
                    <a:pt x="2261022" y="602136"/>
                    <a:pt x="2262651" y="599692"/>
                  </a:cubicBezTo>
                  <a:close/>
                  <a:moveTo>
                    <a:pt x="2223556" y="95523"/>
                  </a:moveTo>
                  <a:cubicBezTo>
                    <a:pt x="2222741" y="98781"/>
                    <a:pt x="2221927" y="101225"/>
                    <a:pt x="2221113" y="103668"/>
                  </a:cubicBezTo>
                  <a:cubicBezTo>
                    <a:pt x="2217854" y="99596"/>
                    <a:pt x="2217854" y="99596"/>
                    <a:pt x="2223556" y="95523"/>
                  </a:cubicBezTo>
                  <a:close/>
                  <a:moveTo>
                    <a:pt x="2219484" y="591547"/>
                  </a:moveTo>
                  <a:cubicBezTo>
                    <a:pt x="2219484" y="592362"/>
                    <a:pt x="2219484" y="592362"/>
                    <a:pt x="2219484" y="593176"/>
                  </a:cubicBezTo>
                  <a:cubicBezTo>
                    <a:pt x="2219484" y="594805"/>
                    <a:pt x="2217854" y="596434"/>
                    <a:pt x="2217040" y="597249"/>
                  </a:cubicBezTo>
                  <a:cubicBezTo>
                    <a:pt x="2214596" y="599692"/>
                    <a:pt x="2212153" y="601321"/>
                    <a:pt x="2209710" y="603765"/>
                  </a:cubicBezTo>
                  <a:cubicBezTo>
                    <a:pt x="2209710" y="603765"/>
                    <a:pt x="2209710" y="603765"/>
                    <a:pt x="2209710" y="603765"/>
                  </a:cubicBezTo>
                  <a:cubicBezTo>
                    <a:pt x="2209710" y="602950"/>
                    <a:pt x="2208895" y="602136"/>
                    <a:pt x="2208895" y="601321"/>
                  </a:cubicBezTo>
                  <a:cubicBezTo>
                    <a:pt x="2210524" y="598878"/>
                    <a:pt x="2212153" y="596434"/>
                    <a:pt x="2212968" y="593176"/>
                  </a:cubicBezTo>
                  <a:cubicBezTo>
                    <a:pt x="2214596" y="593176"/>
                    <a:pt x="2217040" y="592362"/>
                    <a:pt x="2219484" y="591547"/>
                  </a:cubicBezTo>
                  <a:close/>
                  <a:moveTo>
                    <a:pt x="2212968" y="111813"/>
                  </a:moveTo>
                  <a:cubicBezTo>
                    <a:pt x="2212968" y="114257"/>
                    <a:pt x="2212153" y="116700"/>
                    <a:pt x="2212153" y="118329"/>
                  </a:cubicBezTo>
                  <a:cubicBezTo>
                    <a:pt x="2207266" y="117514"/>
                    <a:pt x="2207266" y="117514"/>
                    <a:pt x="2212968" y="111813"/>
                  </a:cubicBezTo>
                  <a:close/>
                  <a:moveTo>
                    <a:pt x="2206451" y="90636"/>
                  </a:moveTo>
                  <a:cubicBezTo>
                    <a:pt x="2207266" y="90636"/>
                    <a:pt x="2208081" y="89822"/>
                    <a:pt x="2208895" y="89007"/>
                  </a:cubicBezTo>
                  <a:cubicBezTo>
                    <a:pt x="2209710" y="89007"/>
                    <a:pt x="2210524" y="89007"/>
                    <a:pt x="2211339" y="89007"/>
                  </a:cubicBezTo>
                  <a:cubicBezTo>
                    <a:pt x="2213782" y="89007"/>
                    <a:pt x="2215411" y="89822"/>
                    <a:pt x="2215411" y="92265"/>
                  </a:cubicBezTo>
                  <a:cubicBezTo>
                    <a:pt x="2215411" y="94709"/>
                    <a:pt x="2213782" y="95523"/>
                    <a:pt x="2211339" y="95523"/>
                  </a:cubicBezTo>
                  <a:cubicBezTo>
                    <a:pt x="2210524" y="95523"/>
                    <a:pt x="2209710" y="95523"/>
                    <a:pt x="2209710" y="95523"/>
                  </a:cubicBezTo>
                  <a:cubicBezTo>
                    <a:pt x="2209710" y="93894"/>
                    <a:pt x="2209710" y="93080"/>
                    <a:pt x="2209710" y="92265"/>
                  </a:cubicBezTo>
                  <a:cubicBezTo>
                    <a:pt x="2207266" y="92265"/>
                    <a:pt x="2205637" y="92265"/>
                    <a:pt x="2202379" y="91451"/>
                  </a:cubicBezTo>
                  <a:cubicBezTo>
                    <a:pt x="2204008" y="91451"/>
                    <a:pt x="2204823" y="91451"/>
                    <a:pt x="2206451" y="90636"/>
                  </a:cubicBezTo>
                  <a:close/>
                  <a:moveTo>
                    <a:pt x="2204823" y="104483"/>
                  </a:moveTo>
                  <a:cubicBezTo>
                    <a:pt x="2204008" y="102854"/>
                    <a:pt x="2203194" y="101225"/>
                    <a:pt x="2201565" y="100410"/>
                  </a:cubicBezTo>
                  <a:cubicBezTo>
                    <a:pt x="2206451" y="99596"/>
                    <a:pt x="2210524" y="101225"/>
                    <a:pt x="2214596" y="104483"/>
                  </a:cubicBezTo>
                  <a:cubicBezTo>
                    <a:pt x="2208081" y="108555"/>
                    <a:pt x="2203194" y="109370"/>
                    <a:pt x="2198307" y="105297"/>
                  </a:cubicBezTo>
                  <a:cubicBezTo>
                    <a:pt x="2200750" y="105297"/>
                    <a:pt x="2202379" y="105297"/>
                    <a:pt x="2204823" y="104483"/>
                  </a:cubicBezTo>
                  <a:close/>
                  <a:moveTo>
                    <a:pt x="2155953" y="128103"/>
                  </a:moveTo>
                  <a:cubicBezTo>
                    <a:pt x="2156768" y="128103"/>
                    <a:pt x="2156768" y="128103"/>
                    <a:pt x="2157582" y="128917"/>
                  </a:cubicBezTo>
                  <a:cubicBezTo>
                    <a:pt x="2156768" y="131361"/>
                    <a:pt x="2156768" y="133804"/>
                    <a:pt x="2155953" y="135433"/>
                  </a:cubicBezTo>
                  <a:cubicBezTo>
                    <a:pt x="2154324" y="132175"/>
                    <a:pt x="2153510" y="129732"/>
                    <a:pt x="2155953" y="128103"/>
                  </a:cubicBezTo>
                  <a:close/>
                  <a:moveTo>
                    <a:pt x="2146180" y="117514"/>
                  </a:moveTo>
                  <a:cubicBezTo>
                    <a:pt x="2146994" y="117514"/>
                    <a:pt x="2146994" y="117514"/>
                    <a:pt x="2147809" y="116700"/>
                  </a:cubicBezTo>
                  <a:cubicBezTo>
                    <a:pt x="2147809" y="117514"/>
                    <a:pt x="2147809" y="118329"/>
                    <a:pt x="2148623" y="119958"/>
                  </a:cubicBezTo>
                  <a:cubicBezTo>
                    <a:pt x="2149437" y="120772"/>
                    <a:pt x="2149437" y="122401"/>
                    <a:pt x="2149437" y="123216"/>
                  </a:cubicBezTo>
                  <a:cubicBezTo>
                    <a:pt x="2148623" y="122401"/>
                    <a:pt x="2146994" y="121587"/>
                    <a:pt x="2146180" y="120772"/>
                  </a:cubicBezTo>
                  <a:cubicBezTo>
                    <a:pt x="2145365" y="120772"/>
                    <a:pt x="2145365" y="119144"/>
                    <a:pt x="2145365" y="119144"/>
                  </a:cubicBezTo>
                  <a:cubicBezTo>
                    <a:pt x="2144550" y="119144"/>
                    <a:pt x="2145365" y="118329"/>
                    <a:pt x="2146180" y="117514"/>
                  </a:cubicBezTo>
                  <a:close/>
                  <a:moveTo>
                    <a:pt x="2140478" y="135433"/>
                  </a:moveTo>
                  <a:cubicBezTo>
                    <a:pt x="2140478" y="136248"/>
                    <a:pt x="2141292" y="136248"/>
                    <a:pt x="2141292" y="137062"/>
                  </a:cubicBezTo>
                  <a:cubicBezTo>
                    <a:pt x="2140478" y="136248"/>
                    <a:pt x="2140478" y="136248"/>
                    <a:pt x="2140478" y="135433"/>
                  </a:cubicBezTo>
                  <a:cubicBezTo>
                    <a:pt x="2140478" y="136248"/>
                    <a:pt x="2140478" y="135433"/>
                    <a:pt x="2140478" y="135433"/>
                  </a:cubicBezTo>
                  <a:close/>
                  <a:moveTo>
                    <a:pt x="2125817" y="54799"/>
                  </a:moveTo>
                  <a:cubicBezTo>
                    <a:pt x="2126632" y="54799"/>
                    <a:pt x="2126632" y="54799"/>
                    <a:pt x="2127446" y="55613"/>
                  </a:cubicBezTo>
                  <a:cubicBezTo>
                    <a:pt x="2127446" y="55613"/>
                    <a:pt x="2127446" y="56428"/>
                    <a:pt x="2126632" y="56428"/>
                  </a:cubicBezTo>
                  <a:cubicBezTo>
                    <a:pt x="2124188" y="57242"/>
                    <a:pt x="2121745" y="58057"/>
                    <a:pt x="2120116" y="58871"/>
                  </a:cubicBezTo>
                  <a:cubicBezTo>
                    <a:pt x="2117672" y="59686"/>
                    <a:pt x="2116043" y="59686"/>
                    <a:pt x="2114414" y="60500"/>
                  </a:cubicBezTo>
                  <a:cubicBezTo>
                    <a:pt x="2114414" y="60500"/>
                    <a:pt x="2113600" y="60500"/>
                    <a:pt x="2113600" y="60500"/>
                  </a:cubicBezTo>
                  <a:cubicBezTo>
                    <a:pt x="2113600" y="59686"/>
                    <a:pt x="2114414" y="58871"/>
                    <a:pt x="2114414" y="58871"/>
                  </a:cubicBezTo>
                  <a:cubicBezTo>
                    <a:pt x="2118487" y="56428"/>
                    <a:pt x="2122559" y="55613"/>
                    <a:pt x="2125817" y="54799"/>
                  </a:cubicBezTo>
                  <a:close/>
                  <a:moveTo>
                    <a:pt x="2101383" y="21405"/>
                  </a:moveTo>
                  <a:cubicBezTo>
                    <a:pt x="2102197" y="20590"/>
                    <a:pt x="2103826" y="20590"/>
                    <a:pt x="2104640" y="20590"/>
                  </a:cubicBezTo>
                  <a:cubicBezTo>
                    <a:pt x="2107084" y="21405"/>
                    <a:pt x="2109528" y="20590"/>
                    <a:pt x="2111971" y="20590"/>
                  </a:cubicBezTo>
                  <a:cubicBezTo>
                    <a:pt x="2112785" y="20590"/>
                    <a:pt x="2112785" y="21405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4414" y="22219"/>
                    <a:pt x="2115229" y="22219"/>
                    <a:pt x="2114414" y="23034"/>
                  </a:cubicBezTo>
                  <a:cubicBezTo>
                    <a:pt x="2114414" y="23034"/>
                    <a:pt x="2113600" y="23034"/>
                    <a:pt x="2113600" y="23034"/>
                  </a:cubicBezTo>
                  <a:cubicBezTo>
                    <a:pt x="2112785" y="23034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2785" y="22219"/>
                    <a:pt x="2112785" y="22219"/>
                  </a:cubicBezTo>
                  <a:cubicBezTo>
                    <a:pt x="2112785" y="22219"/>
                    <a:pt x="2111971" y="22219"/>
                    <a:pt x="2111971" y="22219"/>
                  </a:cubicBezTo>
                  <a:cubicBezTo>
                    <a:pt x="2109528" y="23034"/>
                    <a:pt x="2107898" y="23848"/>
                    <a:pt x="2105455" y="23848"/>
                  </a:cubicBezTo>
                  <a:cubicBezTo>
                    <a:pt x="2103826" y="23848"/>
                    <a:pt x="2102197" y="22219"/>
                    <a:pt x="2099754" y="23034"/>
                  </a:cubicBezTo>
                  <a:cubicBezTo>
                    <a:pt x="2099754" y="23034"/>
                    <a:pt x="2098939" y="23034"/>
                    <a:pt x="2098939" y="22219"/>
                  </a:cubicBezTo>
                  <a:cubicBezTo>
                    <a:pt x="2100568" y="22219"/>
                    <a:pt x="2101383" y="21405"/>
                    <a:pt x="2101383" y="21405"/>
                  </a:cubicBezTo>
                  <a:close/>
                  <a:moveTo>
                    <a:pt x="2086722" y="63758"/>
                  </a:moveTo>
                  <a:cubicBezTo>
                    <a:pt x="2088350" y="62129"/>
                    <a:pt x="2089980" y="62129"/>
                    <a:pt x="2091609" y="61315"/>
                  </a:cubicBezTo>
                  <a:cubicBezTo>
                    <a:pt x="2092423" y="61315"/>
                    <a:pt x="2093238" y="60500"/>
                    <a:pt x="2093238" y="59686"/>
                  </a:cubicBezTo>
                  <a:cubicBezTo>
                    <a:pt x="2094052" y="58057"/>
                    <a:pt x="2095681" y="58057"/>
                    <a:pt x="2096495" y="58871"/>
                  </a:cubicBezTo>
                  <a:cubicBezTo>
                    <a:pt x="2097310" y="59686"/>
                    <a:pt x="2098939" y="58871"/>
                    <a:pt x="2099754" y="58057"/>
                  </a:cubicBezTo>
                  <a:cubicBezTo>
                    <a:pt x="2101383" y="55613"/>
                    <a:pt x="2103012" y="54799"/>
                    <a:pt x="2105455" y="56428"/>
                  </a:cubicBezTo>
                  <a:cubicBezTo>
                    <a:pt x="2106269" y="57242"/>
                    <a:pt x="2107898" y="56428"/>
                    <a:pt x="2108713" y="57242"/>
                  </a:cubicBezTo>
                  <a:cubicBezTo>
                    <a:pt x="2108713" y="57242"/>
                    <a:pt x="2109528" y="58057"/>
                    <a:pt x="2109528" y="58057"/>
                  </a:cubicBezTo>
                  <a:cubicBezTo>
                    <a:pt x="2109528" y="58057"/>
                    <a:pt x="2109528" y="58871"/>
                    <a:pt x="2108713" y="58871"/>
                  </a:cubicBezTo>
                  <a:cubicBezTo>
                    <a:pt x="2106269" y="59686"/>
                    <a:pt x="2103012" y="60500"/>
                    <a:pt x="2099754" y="61315"/>
                  </a:cubicBezTo>
                  <a:cubicBezTo>
                    <a:pt x="2095681" y="62129"/>
                    <a:pt x="2091609" y="63758"/>
                    <a:pt x="2086722" y="64573"/>
                  </a:cubicBezTo>
                  <a:cubicBezTo>
                    <a:pt x="2086722" y="64573"/>
                    <a:pt x="2085907" y="64573"/>
                    <a:pt x="2085907" y="63758"/>
                  </a:cubicBezTo>
                  <a:cubicBezTo>
                    <a:pt x="2086722" y="64573"/>
                    <a:pt x="2086722" y="64573"/>
                    <a:pt x="2086722" y="63758"/>
                  </a:cubicBezTo>
                  <a:close/>
                  <a:moveTo>
                    <a:pt x="2077762" y="63758"/>
                  </a:moveTo>
                  <a:cubicBezTo>
                    <a:pt x="2079391" y="62944"/>
                    <a:pt x="2081020" y="63758"/>
                    <a:pt x="2082649" y="65387"/>
                  </a:cubicBezTo>
                  <a:cubicBezTo>
                    <a:pt x="2082649" y="65387"/>
                    <a:pt x="2082649" y="66202"/>
                    <a:pt x="2082649" y="66202"/>
                  </a:cubicBezTo>
                  <a:cubicBezTo>
                    <a:pt x="2082649" y="66202"/>
                    <a:pt x="2081835" y="67016"/>
                    <a:pt x="2081835" y="67016"/>
                  </a:cubicBezTo>
                  <a:cubicBezTo>
                    <a:pt x="2080206" y="67831"/>
                    <a:pt x="2078577" y="67016"/>
                    <a:pt x="2076948" y="65387"/>
                  </a:cubicBezTo>
                  <a:cubicBezTo>
                    <a:pt x="2076948" y="65387"/>
                    <a:pt x="2076133" y="64573"/>
                    <a:pt x="2076948" y="64573"/>
                  </a:cubicBezTo>
                  <a:cubicBezTo>
                    <a:pt x="2076948" y="64573"/>
                    <a:pt x="2076948" y="63758"/>
                    <a:pt x="2077762" y="63758"/>
                  </a:cubicBezTo>
                  <a:close/>
                  <a:moveTo>
                    <a:pt x="1637124" y="114257"/>
                  </a:moveTo>
                  <a:cubicBezTo>
                    <a:pt x="1630608" y="115886"/>
                    <a:pt x="1624906" y="117514"/>
                    <a:pt x="1618390" y="119958"/>
                  </a:cubicBezTo>
                  <a:cubicBezTo>
                    <a:pt x="1615947" y="119144"/>
                    <a:pt x="1614318" y="119144"/>
                    <a:pt x="1611874" y="118329"/>
                  </a:cubicBezTo>
                  <a:cubicBezTo>
                    <a:pt x="1628164" y="114257"/>
                    <a:pt x="1632236" y="113442"/>
                    <a:pt x="1637124" y="114257"/>
                  </a:cubicBezTo>
                  <a:close/>
                  <a:moveTo>
                    <a:pt x="1623277" y="2022605"/>
                  </a:moveTo>
                  <a:cubicBezTo>
                    <a:pt x="1623277" y="2023420"/>
                    <a:pt x="1622463" y="2023420"/>
                    <a:pt x="1623277" y="2022605"/>
                  </a:cubicBezTo>
                  <a:cubicBezTo>
                    <a:pt x="1622463" y="2023420"/>
                    <a:pt x="1621648" y="2023420"/>
                    <a:pt x="1621648" y="2024234"/>
                  </a:cubicBezTo>
                  <a:cubicBezTo>
                    <a:pt x="1620019" y="2025048"/>
                    <a:pt x="1618390" y="2024234"/>
                    <a:pt x="1616761" y="2023420"/>
                  </a:cubicBezTo>
                  <a:cubicBezTo>
                    <a:pt x="1613503" y="2024234"/>
                    <a:pt x="1609431" y="2025863"/>
                    <a:pt x="1606173" y="2026677"/>
                  </a:cubicBezTo>
                  <a:cubicBezTo>
                    <a:pt x="1609431" y="2025048"/>
                    <a:pt x="1613503" y="2024234"/>
                    <a:pt x="1616761" y="2022605"/>
                  </a:cubicBezTo>
                  <a:cubicBezTo>
                    <a:pt x="1616761" y="2022605"/>
                    <a:pt x="1616761" y="2022605"/>
                    <a:pt x="1616761" y="2023420"/>
                  </a:cubicBezTo>
                  <a:cubicBezTo>
                    <a:pt x="1616761" y="2023420"/>
                    <a:pt x="1616761" y="2022605"/>
                    <a:pt x="1616761" y="2022605"/>
                  </a:cubicBezTo>
                  <a:cubicBezTo>
                    <a:pt x="1618390" y="2021791"/>
                    <a:pt x="1620834" y="2020976"/>
                    <a:pt x="1622463" y="2020162"/>
                  </a:cubicBezTo>
                  <a:cubicBezTo>
                    <a:pt x="1623277" y="2019347"/>
                    <a:pt x="1624906" y="2019347"/>
                    <a:pt x="1625721" y="2019347"/>
                  </a:cubicBezTo>
                  <a:cubicBezTo>
                    <a:pt x="1624906" y="2020162"/>
                    <a:pt x="1624092" y="2021791"/>
                    <a:pt x="1623277" y="2022605"/>
                  </a:cubicBezTo>
                  <a:close/>
                  <a:moveTo>
                    <a:pt x="1642010" y="2017718"/>
                  </a:moveTo>
                  <a:cubicBezTo>
                    <a:pt x="1638753" y="2019347"/>
                    <a:pt x="1635495" y="2020976"/>
                    <a:pt x="1633051" y="2022605"/>
                  </a:cubicBezTo>
                  <a:cubicBezTo>
                    <a:pt x="1632236" y="2024234"/>
                    <a:pt x="1630608" y="2025863"/>
                    <a:pt x="1629793" y="2027492"/>
                  </a:cubicBezTo>
                  <a:cubicBezTo>
                    <a:pt x="1629793" y="2027492"/>
                    <a:pt x="1629793" y="2027492"/>
                    <a:pt x="1629793" y="2027492"/>
                  </a:cubicBezTo>
                  <a:cubicBezTo>
                    <a:pt x="1630608" y="2025048"/>
                    <a:pt x="1631422" y="2024234"/>
                    <a:pt x="1632236" y="2022605"/>
                  </a:cubicBezTo>
                  <a:cubicBezTo>
                    <a:pt x="1633051" y="2022605"/>
                    <a:pt x="1633051" y="2022605"/>
                    <a:pt x="1633865" y="2022605"/>
                  </a:cubicBezTo>
                  <a:cubicBezTo>
                    <a:pt x="1634680" y="2021791"/>
                    <a:pt x="1635495" y="2020976"/>
                    <a:pt x="1637124" y="2020162"/>
                  </a:cubicBezTo>
                  <a:cubicBezTo>
                    <a:pt x="1637938" y="2018533"/>
                    <a:pt x="1640381" y="2017718"/>
                    <a:pt x="1642010" y="2017718"/>
                  </a:cubicBezTo>
                  <a:cubicBezTo>
                    <a:pt x="1642825" y="2016903"/>
                    <a:pt x="1642010" y="2016903"/>
                    <a:pt x="1642010" y="2017718"/>
                  </a:cubicBezTo>
                  <a:close/>
                  <a:moveTo>
                    <a:pt x="1649341" y="2025863"/>
                  </a:moveTo>
                  <a:cubicBezTo>
                    <a:pt x="1655042" y="2021791"/>
                    <a:pt x="1661558" y="2018533"/>
                    <a:pt x="1668888" y="2017718"/>
                  </a:cubicBezTo>
                  <a:cubicBezTo>
                    <a:pt x="1662373" y="2020976"/>
                    <a:pt x="1655857" y="2023420"/>
                    <a:pt x="1649341" y="2025863"/>
                  </a:cubicBezTo>
                  <a:close/>
                  <a:moveTo>
                    <a:pt x="1672961" y="2008759"/>
                  </a:moveTo>
                  <a:cubicBezTo>
                    <a:pt x="1675405" y="2006315"/>
                    <a:pt x="1677848" y="2004686"/>
                    <a:pt x="1681106" y="2002243"/>
                  </a:cubicBezTo>
                  <a:cubicBezTo>
                    <a:pt x="1681921" y="2003058"/>
                    <a:pt x="1682735" y="2003058"/>
                    <a:pt x="1683550" y="2003872"/>
                  </a:cubicBezTo>
                  <a:cubicBezTo>
                    <a:pt x="1680291" y="2005501"/>
                    <a:pt x="1677033" y="2007130"/>
                    <a:pt x="1672961" y="2008759"/>
                  </a:cubicBezTo>
                  <a:close/>
                  <a:moveTo>
                    <a:pt x="1669703" y="2003058"/>
                  </a:moveTo>
                  <a:cubicBezTo>
                    <a:pt x="1672147" y="2001428"/>
                    <a:pt x="1673776" y="1999799"/>
                    <a:pt x="1676219" y="1998170"/>
                  </a:cubicBezTo>
                  <a:cubicBezTo>
                    <a:pt x="1677033" y="1998985"/>
                    <a:pt x="1678662" y="1998985"/>
                    <a:pt x="1679477" y="1999799"/>
                  </a:cubicBezTo>
                  <a:cubicBezTo>
                    <a:pt x="1675405" y="2000614"/>
                    <a:pt x="1672961" y="2001428"/>
                    <a:pt x="1669703" y="2003058"/>
                  </a:cubicBezTo>
                  <a:close/>
                  <a:moveTo>
                    <a:pt x="1700654" y="1995727"/>
                  </a:moveTo>
                  <a:cubicBezTo>
                    <a:pt x="1699025" y="1995727"/>
                    <a:pt x="1697396" y="1994098"/>
                    <a:pt x="1694138" y="1992469"/>
                  </a:cubicBezTo>
                  <a:cubicBezTo>
                    <a:pt x="1690065" y="1992469"/>
                    <a:pt x="1685178" y="1995727"/>
                    <a:pt x="1680291" y="1993284"/>
                  </a:cubicBezTo>
                  <a:cubicBezTo>
                    <a:pt x="1679477" y="1992469"/>
                    <a:pt x="1677033" y="1993284"/>
                    <a:pt x="1675405" y="1994098"/>
                  </a:cubicBezTo>
                  <a:cubicBezTo>
                    <a:pt x="1664002" y="1998170"/>
                    <a:pt x="1652599" y="2003058"/>
                    <a:pt x="1641196" y="2007944"/>
                  </a:cubicBezTo>
                  <a:cubicBezTo>
                    <a:pt x="1640381" y="2007944"/>
                    <a:pt x="1639567" y="2008759"/>
                    <a:pt x="1639567" y="2009573"/>
                  </a:cubicBezTo>
                  <a:cubicBezTo>
                    <a:pt x="1639567" y="2009573"/>
                    <a:pt x="1639567" y="2009573"/>
                    <a:pt x="1639567" y="2009573"/>
                  </a:cubicBezTo>
                  <a:cubicBezTo>
                    <a:pt x="1639567" y="2009573"/>
                    <a:pt x="1639567" y="2009573"/>
                    <a:pt x="1638753" y="2009573"/>
                  </a:cubicBezTo>
                  <a:cubicBezTo>
                    <a:pt x="1638753" y="2009573"/>
                    <a:pt x="1638753" y="2009573"/>
                    <a:pt x="1638753" y="2009573"/>
                  </a:cubicBezTo>
                  <a:cubicBezTo>
                    <a:pt x="1638753" y="2011202"/>
                    <a:pt x="1637938" y="2012831"/>
                    <a:pt x="1637124" y="2012831"/>
                  </a:cubicBezTo>
                  <a:cubicBezTo>
                    <a:pt x="1635495" y="2013646"/>
                    <a:pt x="1633051" y="2015275"/>
                    <a:pt x="1631422" y="2016089"/>
                  </a:cubicBezTo>
                  <a:cubicBezTo>
                    <a:pt x="1632236" y="2015275"/>
                    <a:pt x="1633051" y="2014460"/>
                    <a:pt x="1633865" y="2012831"/>
                  </a:cubicBezTo>
                  <a:cubicBezTo>
                    <a:pt x="1635495" y="2012017"/>
                    <a:pt x="1637124" y="2010388"/>
                    <a:pt x="1638753" y="2009573"/>
                  </a:cubicBezTo>
                  <a:cubicBezTo>
                    <a:pt x="1637938" y="2009573"/>
                    <a:pt x="1637124" y="2009573"/>
                    <a:pt x="1636309" y="2009573"/>
                  </a:cubicBezTo>
                  <a:cubicBezTo>
                    <a:pt x="1636309" y="2009573"/>
                    <a:pt x="1637124" y="2008759"/>
                    <a:pt x="1637124" y="2008759"/>
                  </a:cubicBezTo>
                  <a:cubicBezTo>
                    <a:pt x="1640381" y="2004686"/>
                    <a:pt x="1642825" y="2001428"/>
                    <a:pt x="1649341" y="2001428"/>
                  </a:cubicBezTo>
                  <a:cubicBezTo>
                    <a:pt x="1655857" y="2001428"/>
                    <a:pt x="1659929" y="1994913"/>
                    <a:pt x="1666445" y="1993284"/>
                  </a:cubicBezTo>
                  <a:cubicBezTo>
                    <a:pt x="1669703" y="1989211"/>
                    <a:pt x="1674590" y="1987582"/>
                    <a:pt x="1678662" y="1986768"/>
                  </a:cubicBezTo>
                  <a:cubicBezTo>
                    <a:pt x="1677848" y="1987582"/>
                    <a:pt x="1677848" y="1987582"/>
                    <a:pt x="1677033" y="1988396"/>
                  </a:cubicBezTo>
                  <a:cubicBezTo>
                    <a:pt x="1680291" y="1990840"/>
                    <a:pt x="1682735" y="1988396"/>
                    <a:pt x="1684364" y="1986768"/>
                  </a:cubicBezTo>
                  <a:cubicBezTo>
                    <a:pt x="1685178" y="1986768"/>
                    <a:pt x="1686807" y="1986768"/>
                    <a:pt x="1687622" y="1986768"/>
                  </a:cubicBezTo>
                  <a:cubicBezTo>
                    <a:pt x="1690065" y="1986768"/>
                    <a:pt x="1690065" y="1989211"/>
                    <a:pt x="1690065" y="1990840"/>
                  </a:cubicBezTo>
                  <a:cubicBezTo>
                    <a:pt x="1691695" y="1990840"/>
                    <a:pt x="1694138" y="1990840"/>
                    <a:pt x="1695767" y="1990840"/>
                  </a:cubicBezTo>
                  <a:cubicBezTo>
                    <a:pt x="1697396" y="1991654"/>
                    <a:pt x="1699025" y="1993284"/>
                    <a:pt x="1700654" y="1995727"/>
                  </a:cubicBezTo>
                  <a:cubicBezTo>
                    <a:pt x="1700654" y="1994913"/>
                    <a:pt x="1700654" y="1994913"/>
                    <a:pt x="1700654" y="1995727"/>
                  </a:cubicBezTo>
                  <a:cubicBezTo>
                    <a:pt x="1700654" y="1995727"/>
                    <a:pt x="1700654" y="1995727"/>
                    <a:pt x="1700654" y="1995727"/>
                  </a:cubicBezTo>
                  <a:close/>
                  <a:moveTo>
                    <a:pt x="1909978" y="1949301"/>
                  </a:moveTo>
                  <a:cubicBezTo>
                    <a:pt x="1909978" y="1948487"/>
                    <a:pt x="1909978" y="1947672"/>
                    <a:pt x="1910792" y="1946858"/>
                  </a:cubicBezTo>
                  <a:cubicBezTo>
                    <a:pt x="1909978" y="1946858"/>
                    <a:pt x="1909163" y="1946858"/>
                    <a:pt x="1909163" y="1946858"/>
                  </a:cubicBezTo>
                  <a:cubicBezTo>
                    <a:pt x="1907534" y="1948487"/>
                    <a:pt x="1905905" y="1949301"/>
                    <a:pt x="1905090" y="1950930"/>
                  </a:cubicBezTo>
                  <a:cubicBezTo>
                    <a:pt x="1905905" y="1950930"/>
                    <a:pt x="1907534" y="1950115"/>
                    <a:pt x="1908348" y="1950115"/>
                  </a:cubicBezTo>
                  <a:cubicBezTo>
                    <a:pt x="1906719" y="1950930"/>
                    <a:pt x="1905090" y="1951745"/>
                    <a:pt x="1903462" y="1952559"/>
                  </a:cubicBezTo>
                  <a:cubicBezTo>
                    <a:pt x="1903462" y="1952559"/>
                    <a:pt x="1904276" y="1951745"/>
                    <a:pt x="1904276" y="1951745"/>
                  </a:cubicBezTo>
                  <a:cubicBezTo>
                    <a:pt x="1903462" y="1951745"/>
                    <a:pt x="1902647" y="1950930"/>
                    <a:pt x="1902647" y="1950930"/>
                  </a:cubicBezTo>
                  <a:cubicBezTo>
                    <a:pt x="1897760" y="1950930"/>
                    <a:pt x="1893688" y="1955002"/>
                    <a:pt x="1888801" y="1952559"/>
                  </a:cubicBezTo>
                  <a:cubicBezTo>
                    <a:pt x="1891244" y="1951745"/>
                    <a:pt x="1894502" y="1950115"/>
                    <a:pt x="1896945" y="1949301"/>
                  </a:cubicBezTo>
                  <a:cubicBezTo>
                    <a:pt x="1897760" y="1948487"/>
                    <a:pt x="1898575" y="1947672"/>
                    <a:pt x="1899389" y="1946858"/>
                  </a:cubicBezTo>
                  <a:cubicBezTo>
                    <a:pt x="1898575" y="1946858"/>
                    <a:pt x="1897760" y="1946043"/>
                    <a:pt x="1897760" y="1946043"/>
                  </a:cubicBezTo>
                  <a:cubicBezTo>
                    <a:pt x="1892873" y="1946043"/>
                    <a:pt x="1887986" y="1950115"/>
                    <a:pt x="1883914" y="1947672"/>
                  </a:cubicBezTo>
                  <a:cubicBezTo>
                    <a:pt x="1888801" y="1946043"/>
                    <a:pt x="1893688" y="1944414"/>
                    <a:pt x="1899389" y="1942785"/>
                  </a:cubicBezTo>
                  <a:cubicBezTo>
                    <a:pt x="1899389" y="1942785"/>
                    <a:pt x="1900204" y="1942785"/>
                    <a:pt x="1900204" y="1942785"/>
                  </a:cubicBezTo>
                  <a:cubicBezTo>
                    <a:pt x="1901018" y="1942785"/>
                    <a:pt x="1901018" y="1942785"/>
                    <a:pt x="1901833" y="1942785"/>
                  </a:cubicBezTo>
                  <a:cubicBezTo>
                    <a:pt x="1901833" y="1943600"/>
                    <a:pt x="1901833" y="1944414"/>
                    <a:pt x="1901833" y="1945229"/>
                  </a:cubicBezTo>
                  <a:cubicBezTo>
                    <a:pt x="1901833" y="1945229"/>
                    <a:pt x="1901018" y="1946043"/>
                    <a:pt x="1901018" y="1946043"/>
                  </a:cubicBezTo>
                  <a:cubicBezTo>
                    <a:pt x="1901018" y="1946043"/>
                    <a:pt x="1901833" y="1946043"/>
                    <a:pt x="1901833" y="1946043"/>
                  </a:cubicBezTo>
                  <a:cubicBezTo>
                    <a:pt x="1901833" y="1946858"/>
                    <a:pt x="1901833" y="1946858"/>
                    <a:pt x="1901833" y="1947672"/>
                  </a:cubicBezTo>
                  <a:cubicBezTo>
                    <a:pt x="1905090" y="1947672"/>
                    <a:pt x="1907534" y="1947672"/>
                    <a:pt x="1910792" y="1946858"/>
                  </a:cubicBezTo>
                  <a:cubicBezTo>
                    <a:pt x="1913235" y="1946043"/>
                    <a:pt x="1915679" y="1944414"/>
                    <a:pt x="1917308" y="1943600"/>
                  </a:cubicBezTo>
                  <a:cubicBezTo>
                    <a:pt x="1918122" y="1944414"/>
                    <a:pt x="1918937" y="1945229"/>
                    <a:pt x="1919752" y="1946043"/>
                  </a:cubicBezTo>
                  <a:cubicBezTo>
                    <a:pt x="1915679" y="1946858"/>
                    <a:pt x="1913235" y="1947672"/>
                    <a:pt x="1909978" y="1949301"/>
                  </a:cubicBezTo>
                  <a:close/>
                  <a:moveTo>
                    <a:pt x="2019119" y="1919980"/>
                  </a:moveTo>
                  <a:cubicBezTo>
                    <a:pt x="2019934" y="1919165"/>
                    <a:pt x="2021563" y="1918350"/>
                    <a:pt x="2022377" y="1917536"/>
                  </a:cubicBezTo>
                  <a:cubicBezTo>
                    <a:pt x="2022377" y="1917536"/>
                    <a:pt x="2023191" y="1917536"/>
                    <a:pt x="2023191" y="1917536"/>
                  </a:cubicBezTo>
                  <a:cubicBezTo>
                    <a:pt x="2026449" y="1916721"/>
                    <a:pt x="2030522" y="1915093"/>
                    <a:pt x="2033780" y="1914278"/>
                  </a:cubicBezTo>
                  <a:cubicBezTo>
                    <a:pt x="2034594" y="1915093"/>
                    <a:pt x="2034594" y="1915093"/>
                    <a:pt x="2035409" y="1915907"/>
                  </a:cubicBezTo>
                  <a:cubicBezTo>
                    <a:pt x="2029708" y="1916721"/>
                    <a:pt x="2025635" y="1917536"/>
                    <a:pt x="2019119" y="1919980"/>
                  </a:cubicBezTo>
                  <a:close/>
                  <a:moveTo>
                    <a:pt x="2234959" y="1608845"/>
                  </a:moveTo>
                  <a:cubicBezTo>
                    <a:pt x="2239031" y="1603143"/>
                    <a:pt x="2244733" y="1599071"/>
                    <a:pt x="2252063" y="1600700"/>
                  </a:cubicBezTo>
                  <a:cubicBezTo>
                    <a:pt x="2247991" y="1606401"/>
                    <a:pt x="2241475" y="1606401"/>
                    <a:pt x="2234959" y="1608845"/>
                  </a:cubicBezTo>
                  <a:close/>
                  <a:moveTo>
                    <a:pt x="2261022" y="1600700"/>
                  </a:moveTo>
                  <a:cubicBezTo>
                    <a:pt x="2260208" y="1601514"/>
                    <a:pt x="2258579" y="1602329"/>
                    <a:pt x="2257765" y="1602329"/>
                  </a:cubicBezTo>
                  <a:cubicBezTo>
                    <a:pt x="2256136" y="1602329"/>
                    <a:pt x="2254507" y="1601514"/>
                    <a:pt x="2252877" y="1600700"/>
                  </a:cubicBezTo>
                  <a:cubicBezTo>
                    <a:pt x="2254507" y="1599885"/>
                    <a:pt x="2255321" y="1598256"/>
                    <a:pt x="2256950" y="1597442"/>
                  </a:cubicBezTo>
                  <a:cubicBezTo>
                    <a:pt x="2257765" y="1597442"/>
                    <a:pt x="2259393" y="1597442"/>
                    <a:pt x="2260208" y="1598256"/>
                  </a:cubicBezTo>
                  <a:cubicBezTo>
                    <a:pt x="2261837" y="1598256"/>
                    <a:pt x="2261837" y="1599885"/>
                    <a:pt x="2261022" y="1600700"/>
                  </a:cubicBezTo>
                  <a:close/>
                  <a:moveTo>
                    <a:pt x="2446726" y="1559975"/>
                  </a:moveTo>
                  <a:cubicBezTo>
                    <a:pt x="2445912" y="1561604"/>
                    <a:pt x="2445097" y="1563233"/>
                    <a:pt x="2444282" y="1564862"/>
                  </a:cubicBezTo>
                  <a:cubicBezTo>
                    <a:pt x="2444282" y="1562419"/>
                    <a:pt x="2444282" y="1560790"/>
                    <a:pt x="2442653" y="1559161"/>
                  </a:cubicBezTo>
                  <a:cubicBezTo>
                    <a:pt x="2442653" y="1559161"/>
                    <a:pt x="2443468" y="1559161"/>
                    <a:pt x="2443468" y="1559161"/>
                  </a:cubicBezTo>
                  <a:cubicBezTo>
                    <a:pt x="2444282" y="1559161"/>
                    <a:pt x="2445912" y="1559161"/>
                    <a:pt x="2446726" y="1559975"/>
                  </a:cubicBezTo>
                  <a:cubicBezTo>
                    <a:pt x="2446726" y="1559975"/>
                    <a:pt x="2446726" y="1559975"/>
                    <a:pt x="2446726" y="1559975"/>
                  </a:cubicBezTo>
                  <a:close/>
                  <a:moveTo>
                    <a:pt x="2592520" y="1523323"/>
                  </a:moveTo>
                  <a:cubicBezTo>
                    <a:pt x="2591705" y="1523323"/>
                    <a:pt x="2590076" y="1523323"/>
                    <a:pt x="2589261" y="1524138"/>
                  </a:cubicBezTo>
                  <a:cubicBezTo>
                    <a:pt x="2588447" y="1523323"/>
                    <a:pt x="2588447" y="1523323"/>
                    <a:pt x="2587633" y="1523323"/>
                  </a:cubicBezTo>
                  <a:cubicBezTo>
                    <a:pt x="2584375" y="1524138"/>
                    <a:pt x="2581117" y="1524138"/>
                    <a:pt x="2577859" y="1524138"/>
                  </a:cubicBezTo>
                  <a:cubicBezTo>
                    <a:pt x="2583560" y="1522509"/>
                    <a:pt x="2589261" y="1521694"/>
                    <a:pt x="2594963" y="1520065"/>
                  </a:cubicBezTo>
                  <a:cubicBezTo>
                    <a:pt x="2596592" y="1520880"/>
                    <a:pt x="2597406" y="1520880"/>
                    <a:pt x="2599035" y="1520065"/>
                  </a:cubicBezTo>
                  <a:cubicBezTo>
                    <a:pt x="2596592" y="1521694"/>
                    <a:pt x="2594149" y="1522509"/>
                    <a:pt x="2592520" y="1523323"/>
                  </a:cubicBezTo>
                  <a:close/>
                  <a:moveTo>
                    <a:pt x="2654421" y="1511920"/>
                  </a:moveTo>
                  <a:cubicBezTo>
                    <a:pt x="2647905" y="1513549"/>
                    <a:pt x="2641389" y="1514364"/>
                    <a:pt x="2634873" y="1515993"/>
                  </a:cubicBezTo>
                  <a:cubicBezTo>
                    <a:pt x="2635687" y="1515178"/>
                    <a:pt x="2636502" y="1514364"/>
                    <a:pt x="2637316" y="1513549"/>
                  </a:cubicBezTo>
                  <a:cubicBezTo>
                    <a:pt x="2639760" y="1513549"/>
                    <a:pt x="2643018" y="1512735"/>
                    <a:pt x="2645461" y="1511920"/>
                  </a:cubicBezTo>
                  <a:cubicBezTo>
                    <a:pt x="2646276" y="1510291"/>
                    <a:pt x="2646276" y="1508662"/>
                    <a:pt x="2645461" y="1507848"/>
                  </a:cubicBezTo>
                  <a:cubicBezTo>
                    <a:pt x="2647090" y="1507033"/>
                    <a:pt x="2649534" y="1506219"/>
                    <a:pt x="2651163" y="1506219"/>
                  </a:cubicBezTo>
                  <a:cubicBezTo>
                    <a:pt x="2650348" y="1507033"/>
                    <a:pt x="2649534" y="1507033"/>
                    <a:pt x="2648720" y="1507848"/>
                  </a:cubicBezTo>
                  <a:cubicBezTo>
                    <a:pt x="2650348" y="1508662"/>
                    <a:pt x="2652792" y="1510291"/>
                    <a:pt x="2654421" y="1511920"/>
                  </a:cubicBezTo>
                  <a:cubicBezTo>
                    <a:pt x="2654421" y="1511920"/>
                    <a:pt x="2654421" y="1511920"/>
                    <a:pt x="2654421" y="1511920"/>
                  </a:cubicBezTo>
                  <a:close/>
                  <a:moveTo>
                    <a:pt x="2654421" y="1261872"/>
                  </a:moveTo>
                  <a:cubicBezTo>
                    <a:pt x="2653606" y="1261872"/>
                    <a:pt x="2653606" y="1261872"/>
                    <a:pt x="2652792" y="1262687"/>
                  </a:cubicBezTo>
                  <a:cubicBezTo>
                    <a:pt x="2647905" y="1264316"/>
                    <a:pt x="2642203" y="1265944"/>
                    <a:pt x="2636502" y="1266759"/>
                  </a:cubicBezTo>
                  <a:cubicBezTo>
                    <a:pt x="2634873" y="1265944"/>
                    <a:pt x="2632430" y="1265130"/>
                    <a:pt x="2630801" y="1265130"/>
                  </a:cubicBezTo>
                  <a:cubicBezTo>
                    <a:pt x="2630801" y="1265130"/>
                    <a:pt x="2629986" y="1265130"/>
                    <a:pt x="2629986" y="1265130"/>
                  </a:cubicBezTo>
                  <a:cubicBezTo>
                    <a:pt x="2638946" y="1261872"/>
                    <a:pt x="2647090" y="1260243"/>
                    <a:pt x="2655235" y="1257800"/>
                  </a:cubicBezTo>
                  <a:cubicBezTo>
                    <a:pt x="2655235" y="1258614"/>
                    <a:pt x="2655235" y="1260243"/>
                    <a:pt x="2654421" y="1261872"/>
                  </a:cubicBezTo>
                  <a:close/>
                  <a:moveTo>
                    <a:pt x="2676412" y="1271646"/>
                  </a:moveTo>
                  <a:cubicBezTo>
                    <a:pt x="2676412" y="1271646"/>
                    <a:pt x="2676412" y="1270831"/>
                    <a:pt x="2675598" y="1270831"/>
                  </a:cubicBezTo>
                  <a:cubicBezTo>
                    <a:pt x="2682113" y="1268388"/>
                    <a:pt x="2689444" y="1267574"/>
                    <a:pt x="2695960" y="1265944"/>
                  </a:cubicBezTo>
                  <a:cubicBezTo>
                    <a:pt x="2689444" y="1267574"/>
                    <a:pt x="2682928" y="1269202"/>
                    <a:pt x="2676412" y="1271646"/>
                  </a:cubicBezTo>
                  <a:close/>
                  <a:moveTo>
                    <a:pt x="2686186" y="1255356"/>
                  </a:moveTo>
                  <a:cubicBezTo>
                    <a:pt x="2686186" y="1254542"/>
                    <a:pt x="2686186" y="1253727"/>
                    <a:pt x="2687000" y="1252913"/>
                  </a:cubicBezTo>
                  <a:cubicBezTo>
                    <a:pt x="2687000" y="1252098"/>
                    <a:pt x="2687815" y="1252098"/>
                    <a:pt x="2688629" y="1251284"/>
                  </a:cubicBezTo>
                  <a:cubicBezTo>
                    <a:pt x="2691073" y="1252098"/>
                    <a:pt x="2693516" y="1252913"/>
                    <a:pt x="2696774" y="1252913"/>
                  </a:cubicBezTo>
                  <a:cubicBezTo>
                    <a:pt x="2696774" y="1252913"/>
                    <a:pt x="2697589" y="1252913"/>
                    <a:pt x="2697589" y="1252913"/>
                  </a:cubicBezTo>
                  <a:cubicBezTo>
                    <a:pt x="2692702" y="1253727"/>
                    <a:pt x="2689444" y="1254542"/>
                    <a:pt x="2686186" y="1255356"/>
                  </a:cubicBezTo>
                  <a:close/>
                  <a:moveTo>
                    <a:pt x="2683742" y="1243953"/>
                  </a:moveTo>
                  <a:cubicBezTo>
                    <a:pt x="2685372" y="1243953"/>
                    <a:pt x="2687000" y="1243139"/>
                    <a:pt x="2688629" y="1242324"/>
                  </a:cubicBezTo>
                  <a:cubicBezTo>
                    <a:pt x="2689444" y="1241510"/>
                    <a:pt x="2691073" y="1241510"/>
                    <a:pt x="2691887" y="1240695"/>
                  </a:cubicBezTo>
                  <a:cubicBezTo>
                    <a:pt x="2691073" y="1243139"/>
                    <a:pt x="2689444" y="1245582"/>
                    <a:pt x="2687815" y="1248026"/>
                  </a:cubicBezTo>
                  <a:cubicBezTo>
                    <a:pt x="2686186" y="1247211"/>
                    <a:pt x="2685372" y="1245582"/>
                    <a:pt x="2683742" y="1243953"/>
                  </a:cubicBezTo>
                  <a:close/>
                  <a:moveTo>
                    <a:pt x="2752974" y="1246397"/>
                  </a:moveTo>
                  <a:cubicBezTo>
                    <a:pt x="2752159" y="1248026"/>
                    <a:pt x="2751345" y="1250469"/>
                    <a:pt x="2749716" y="1252098"/>
                  </a:cubicBezTo>
                  <a:cubicBezTo>
                    <a:pt x="2745643" y="1252098"/>
                    <a:pt x="2741571" y="1252098"/>
                    <a:pt x="2736684" y="1252913"/>
                  </a:cubicBezTo>
                  <a:cubicBezTo>
                    <a:pt x="2741571" y="1251284"/>
                    <a:pt x="2746458" y="1250469"/>
                    <a:pt x="2749716" y="1248026"/>
                  </a:cubicBezTo>
                  <a:cubicBezTo>
                    <a:pt x="2750531" y="1247211"/>
                    <a:pt x="2752159" y="1246397"/>
                    <a:pt x="2752974" y="1246397"/>
                  </a:cubicBezTo>
                  <a:cubicBezTo>
                    <a:pt x="2752974" y="1246397"/>
                    <a:pt x="2752974" y="1246397"/>
                    <a:pt x="2752974" y="1246397"/>
                  </a:cubicBezTo>
                  <a:close/>
                  <a:moveTo>
                    <a:pt x="2761119" y="1231736"/>
                  </a:moveTo>
                  <a:cubicBezTo>
                    <a:pt x="2761119" y="1231736"/>
                    <a:pt x="2761119" y="1231736"/>
                    <a:pt x="2761119" y="1231736"/>
                  </a:cubicBezTo>
                  <a:cubicBezTo>
                    <a:pt x="2761119" y="1231736"/>
                    <a:pt x="2761119" y="1231736"/>
                    <a:pt x="2761119" y="1231736"/>
                  </a:cubicBezTo>
                  <a:cubicBezTo>
                    <a:pt x="2759490" y="1234179"/>
                    <a:pt x="2758676" y="1237437"/>
                    <a:pt x="2757047" y="1239881"/>
                  </a:cubicBezTo>
                  <a:cubicBezTo>
                    <a:pt x="2749716" y="1240695"/>
                    <a:pt x="2743200" y="1242324"/>
                    <a:pt x="2735870" y="1243139"/>
                  </a:cubicBezTo>
                  <a:cubicBezTo>
                    <a:pt x="2736684" y="1239881"/>
                    <a:pt x="2736684" y="1236623"/>
                    <a:pt x="2735870" y="1233365"/>
                  </a:cubicBezTo>
                  <a:cubicBezTo>
                    <a:pt x="2741571" y="1232550"/>
                    <a:pt x="2748087" y="1231736"/>
                    <a:pt x="2753788" y="1230922"/>
                  </a:cubicBezTo>
                  <a:cubicBezTo>
                    <a:pt x="2756232" y="1230922"/>
                    <a:pt x="2758676" y="1231736"/>
                    <a:pt x="2761119" y="1231736"/>
                  </a:cubicBezTo>
                  <a:cubicBezTo>
                    <a:pt x="2761119" y="1231736"/>
                    <a:pt x="2761119" y="1231736"/>
                    <a:pt x="2761119" y="1231736"/>
                  </a:cubicBezTo>
                  <a:close/>
                  <a:moveTo>
                    <a:pt x="2801029" y="1218704"/>
                  </a:moveTo>
                  <a:cubicBezTo>
                    <a:pt x="2802658" y="1215446"/>
                    <a:pt x="2802658" y="1215446"/>
                    <a:pt x="2806730" y="1215446"/>
                  </a:cubicBezTo>
                  <a:cubicBezTo>
                    <a:pt x="2805101" y="1216261"/>
                    <a:pt x="2803473" y="1217075"/>
                    <a:pt x="2801029" y="1218704"/>
                  </a:cubicBezTo>
                  <a:close/>
                  <a:moveTo>
                    <a:pt x="2795328" y="1174722"/>
                  </a:moveTo>
                  <a:cubicBezTo>
                    <a:pt x="2796142" y="1174722"/>
                    <a:pt x="2796956" y="1174722"/>
                    <a:pt x="2797771" y="1174722"/>
                  </a:cubicBezTo>
                  <a:cubicBezTo>
                    <a:pt x="2803473" y="1174722"/>
                    <a:pt x="2809174" y="1174722"/>
                    <a:pt x="2814061" y="1177165"/>
                  </a:cubicBezTo>
                  <a:cubicBezTo>
                    <a:pt x="2807545" y="1177165"/>
                    <a:pt x="2801029" y="1177980"/>
                    <a:pt x="2795328" y="1177980"/>
                  </a:cubicBezTo>
                  <a:cubicBezTo>
                    <a:pt x="2795328" y="1177165"/>
                    <a:pt x="2795328" y="1175536"/>
                    <a:pt x="2795328" y="1174722"/>
                  </a:cubicBezTo>
                  <a:close/>
                  <a:moveTo>
                    <a:pt x="2797771" y="1185310"/>
                  </a:moveTo>
                  <a:cubicBezTo>
                    <a:pt x="2796142" y="1185310"/>
                    <a:pt x="2793699" y="1186125"/>
                    <a:pt x="2791255" y="1186125"/>
                  </a:cubicBezTo>
                  <a:cubicBezTo>
                    <a:pt x="2793699" y="1183681"/>
                    <a:pt x="2796142" y="1184496"/>
                    <a:pt x="2797771" y="1185310"/>
                  </a:cubicBezTo>
                  <a:close/>
                  <a:moveTo>
                    <a:pt x="2798585" y="1204858"/>
                  </a:moveTo>
                  <a:cubicBezTo>
                    <a:pt x="2798585" y="1204043"/>
                    <a:pt x="2798585" y="1202414"/>
                    <a:pt x="2798585" y="1200785"/>
                  </a:cubicBezTo>
                  <a:cubicBezTo>
                    <a:pt x="2801843" y="1199971"/>
                    <a:pt x="2805916" y="1199156"/>
                    <a:pt x="2809988" y="1199156"/>
                  </a:cubicBezTo>
                  <a:cubicBezTo>
                    <a:pt x="2809174" y="1198342"/>
                    <a:pt x="2809174" y="1197527"/>
                    <a:pt x="2808359" y="1196713"/>
                  </a:cubicBezTo>
                  <a:cubicBezTo>
                    <a:pt x="2805101" y="1195898"/>
                    <a:pt x="2801843" y="1195898"/>
                    <a:pt x="2797771" y="1195084"/>
                  </a:cubicBezTo>
                  <a:cubicBezTo>
                    <a:pt x="2801843" y="1191012"/>
                    <a:pt x="2805101" y="1188568"/>
                    <a:pt x="2808359" y="1185310"/>
                  </a:cubicBezTo>
                  <a:cubicBezTo>
                    <a:pt x="2808359" y="1185310"/>
                    <a:pt x="2808359" y="1185310"/>
                    <a:pt x="2808359" y="1185310"/>
                  </a:cubicBezTo>
                  <a:cubicBezTo>
                    <a:pt x="2810803" y="1184496"/>
                    <a:pt x="2813246" y="1182867"/>
                    <a:pt x="2815690" y="1182052"/>
                  </a:cubicBezTo>
                  <a:cubicBezTo>
                    <a:pt x="2822206" y="1181238"/>
                    <a:pt x="2828721" y="1181238"/>
                    <a:pt x="2834423" y="1178794"/>
                  </a:cubicBezTo>
                  <a:cubicBezTo>
                    <a:pt x="2840125" y="1177165"/>
                    <a:pt x="2844197" y="1178794"/>
                    <a:pt x="2849898" y="1182052"/>
                  </a:cubicBezTo>
                  <a:cubicBezTo>
                    <a:pt x="2848269" y="1182867"/>
                    <a:pt x="2847455" y="1184496"/>
                    <a:pt x="2845826" y="1185310"/>
                  </a:cubicBezTo>
                  <a:cubicBezTo>
                    <a:pt x="2840125" y="1186125"/>
                    <a:pt x="2834423" y="1186125"/>
                    <a:pt x="2827907" y="1186125"/>
                  </a:cubicBezTo>
                  <a:cubicBezTo>
                    <a:pt x="2825463" y="1187753"/>
                    <a:pt x="2822206" y="1191012"/>
                    <a:pt x="2818133" y="1194270"/>
                  </a:cubicBezTo>
                  <a:cubicBezTo>
                    <a:pt x="2827092" y="1199156"/>
                    <a:pt x="2835237" y="1196713"/>
                    <a:pt x="2842568" y="1197527"/>
                  </a:cubicBezTo>
                  <a:cubicBezTo>
                    <a:pt x="2843382" y="1199971"/>
                    <a:pt x="2841753" y="1200785"/>
                    <a:pt x="2840125" y="1200785"/>
                  </a:cubicBezTo>
                  <a:cubicBezTo>
                    <a:pt x="2837681" y="1201600"/>
                    <a:pt x="2834423" y="1199971"/>
                    <a:pt x="2832794" y="1204043"/>
                  </a:cubicBezTo>
                  <a:cubicBezTo>
                    <a:pt x="2834423" y="1204858"/>
                    <a:pt x="2836052" y="1205672"/>
                    <a:pt x="2838495" y="1206487"/>
                  </a:cubicBezTo>
                  <a:cubicBezTo>
                    <a:pt x="2837681" y="1207301"/>
                    <a:pt x="2837681" y="1208116"/>
                    <a:pt x="2836866" y="1208116"/>
                  </a:cubicBezTo>
                  <a:cubicBezTo>
                    <a:pt x="2827092" y="1208116"/>
                    <a:pt x="2817318" y="1208116"/>
                    <a:pt x="2806730" y="1208930"/>
                  </a:cubicBezTo>
                  <a:cubicBezTo>
                    <a:pt x="2783925" y="1209745"/>
                    <a:pt x="2761119" y="1211374"/>
                    <a:pt x="2737499" y="1213003"/>
                  </a:cubicBezTo>
                  <a:cubicBezTo>
                    <a:pt x="2732612" y="1213003"/>
                    <a:pt x="2727725" y="1213003"/>
                    <a:pt x="2720395" y="1213003"/>
                  </a:cubicBezTo>
                  <a:cubicBezTo>
                    <a:pt x="2724467" y="1208930"/>
                    <a:pt x="2726910" y="1205672"/>
                    <a:pt x="2729354" y="1202414"/>
                  </a:cubicBezTo>
                  <a:cubicBezTo>
                    <a:pt x="2739942" y="1204858"/>
                    <a:pt x="2751345" y="1202414"/>
                    <a:pt x="2762748" y="1207301"/>
                  </a:cubicBezTo>
                  <a:cubicBezTo>
                    <a:pt x="2762748" y="1207301"/>
                    <a:pt x="2763562" y="1207301"/>
                    <a:pt x="2764377" y="1207301"/>
                  </a:cubicBezTo>
                  <a:cubicBezTo>
                    <a:pt x="2774965" y="1203229"/>
                    <a:pt x="2787183" y="1206487"/>
                    <a:pt x="2798585" y="1204858"/>
                  </a:cubicBezTo>
                  <a:close/>
                  <a:moveTo>
                    <a:pt x="2769264" y="1195898"/>
                  </a:moveTo>
                  <a:cubicBezTo>
                    <a:pt x="2760304" y="1199156"/>
                    <a:pt x="2751345" y="1198342"/>
                    <a:pt x="2742386" y="1199156"/>
                  </a:cubicBezTo>
                  <a:cubicBezTo>
                    <a:pt x="2753788" y="1195084"/>
                    <a:pt x="2760304" y="1194270"/>
                    <a:pt x="2769264" y="1195898"/>
                  </a:cubicBezTo>
                  <a:close/>
                  <a:moveTo>
                    <a:pt x="2706548" y="1206487"/>
                  </a:moveTo>
                  <a:cubicBezTo>
                    <a:pt x="2707362" y="1206487"/>
                    <a:pt x="2708177" y="1204858"/>
                    <a:pt x="2709806" y="1204043"/>
                  </a:cubicBezTo>
                  <a:cubicBezTo>
                    <a:pt x="2704919" y="1200785"/>
                    <a:pt x="2700032" y="1204043"/>
                    <a:pt x="2695960" y="1201600"/>
                  </a:cubicBezTo>
                  <a:cubicBezTo>
                    <a:pt x="2697589" y="1195898"/>
                    <a:pt x="2699217" y="1194270"/>
                    <a:pt x="2702476" y="1194270"/>
                  </a:cubicBezTo>
                  <a:cubicBezTo>
                    <a:pt x="2704919" y="1194270"/>
                    <a:pt x="2706548" y="1195084"/>
                    <a:pt x="2708991" y="1195898"/>
                  </a:cubicBezTo>
                  <a:cubicBezTo>
                    <a:pt x="2717951" y="1199971"/>
                    <a:pt x="2726910" y="1199156"/>
                    <a:pt x="2735055" y="1195084"/>
                  </a:cubicBezTo>
                  <a:cubicBezTo>
                    <a:pt x="2736684" y="1194270"/>
                    <a:pt x="2738313" y="1194270"/>
                    <a:pt x="2740757" y="1192640"/>
                  </a:cubicBezTo>
                  <a:cubicBezTo>
                    <a:pt x="2741571" y="1195084"/>
                    <a:pt x="2742386" y="1196713"/>
                    <a:pt x="2742386" y="1199156"/>
                  </a:cubicBezTo>
                  <a:cubicBezTo>
                    <a:pt x="2736684" y="1199971"/>
                    <a:pt x="2730168" y="1199971"/>
                    <a:pt x="2724467" y="1200785"/>
                  </a:cubicBezTo>
                  <a:cubicBezTo>
                    <a:pt x="2722838" y="1200785"/>
                    <a:pt x="2720395" y="1202414"/>
                    <a:pt x="2720395" y="1203229"/>
                  </a:cubicBezTo>
                  <a:cubicBezTo>
                    <a:pt x="2722024" y="1208930"/>
                    <a:pt x="2713879" y="1208930"/>
                    <a:pt x="2713879" y="1213817"/>
                  </a:cubicBezTo>
                  <a:cubicBezTo>
                    <a:pt x="2702476" y="1215446"/>
                    <a:pt x="2691887" y="1216261"/>
                    <a:pt x="2681299" y="1217890"/>
                  </a:cubicBezTo>
                  <a:cubicBezTo>
                    <a:pt x="2678041" y="1218704"/>
                    <a:pt x="2673969" y="1218704"/>
                    <a:pt x="2670710" y="1219519"/>
                  </a:cubicBezTo>
                  <a:cubicBezTo>
                    <a:pt x="2670710" y="1219519"/>
                    <a:pt x="2670710" y="1218704"/>
                    <a:pt x="2670710" y="1218704"/>
                  </a:cubicBezTo>
                  <a:cubicBezTo>
                    <a:pt x="2671525" y="1217075"/>
                    <a:pt x="2672339" y="1214632"/>
                    <a:pt x="2673154" y="1213003"/>
                  </a:cubicBezTo>
                  <a:cubicBezTo>
                    <a:pt x="2673154" y="1212188"/>
                    <a:pt x="2673969" y="1212188"/>
                    <a:pt x="2674783" y="1211374"/>
                  </a:cubicBezTo>
                  <a:cubicBezTo>
                    <a:pt x="2675598" y="1210559"/>
                    <a:pt x="2675598" y="1209745"/>
                    <a:pt x="2676412" y="1209745"/>
                  </a:cubicBezTo>
                  <a:cubicBezTo>
                    <a:pt x="2686186" y="1208930"/>
                    <a:pt x="2696774" y="1208116"/>
                    <a:pt x="2706548" y="1206487"/>
                  </a:cubicBezTo>
                  <a:close/>
                </a:path>
              </a:pathLst>
            </a:custGeom>
            <a:grpFill/>
            <a:ln w="81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2EF50CB-2F14-8E4F-9473-BF537D3EF563}"/>
                </a:ext>
              </a:extLst>
            </p:cNvPr>
            <p:cNvSpPr/>
            <p:nvPr/>
          </p:nvSpPr>
          <p:spPr>
            <a:xfrm>
              <a:off x="865560" y="3768101"/>
              <a:ext cx="1629" cy="1176"/>
            </a:xfrm>
            <a:custGeom>
              <a:avLst/>
              <a:gdLst>
                <a:gd name="connsiteX0" fmla="*/ 1629 w 1629"/>
                <a:gd name="connsiteY0" fmla="*/ 814 h 1176"/>
                <a:gd name="connsiteX1" fmla="*/ 815 w 1629"/>
                <a:gd name="connsiteY1" fmla="*/ 0 h 1176"/>
                <a:gd name="connsiteX2" fmla="*/ 0 w 1629"/>
                <a:gd name="connsiteY2" fmla="*/ 814 h 1176"/>
                <a:gd name="connsiteX3" fmla="*/ 1629 w 1629"/>
                <a:gd name="connsiteY3" fmla="*/ 814 h 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29" h="1176">
                  <a:moveTo>
                    <a:pt x="1629" y="814"/>
                  </a:moveTo>
                  <a:cubicBezTo>
                    <a:pt x="1629" y="814"/>
                    <a:pt x="815" y="814"/>
                    <a:pt x="815" y="0"/>
                  </a:cubicBezTo>
                  <a:cubicBezTo>
                    <a:pt x="815" y="814"/>
                    <a:pt x="0" y="814"/>
                    <a:pt x="0" y="814"/>
                  </a:cubicBezTo>
                  <a:cubicBezTo>
                    <a:pt x="0" y="1629"/>
                    <a:pt x="815" y="814"/>
                    <a:pt x="1629" y="814"/>
                  </a:cubicBezTo>
                  <a:close/>
                </a:path>
              </a:pathLst>
            </a:custGeom>
            <a:grpFill/>
            <a:ln w="81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840037"/>
          </a:xfrm>
        </p:spPr>
        <p:txBody>
          <a:bodyPr anchor="b"/>
          <a:lstStyle>
            <a:lvl1pPr algn="l">
              <a:defRPr sz="6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88524"/>
            <a:ext cx="9144000" cy="1169276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GB"/>
          </a:p>
        </p:txBody>
      </p:sp>
      <p:pic>
        <p:nvPicPr>
          <p:cNvPr id="14" name="Picture 13" descr="Logo, icon&#10;&#10;Description automatically generated">
            <a:extLst>
              <a:ext uri="{FF2B5EF4-FFF2-40B4-BE49-F238E27FC236}">
                <a16:creationId xmlns:a16="http://schemas.microsoft.com/office/drawing/2014/main" id="{50B4181F-BA74-0F63-C3D2-C975788C1F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2152" y="5271846"/>
            <a:ext cx="1178411" cy="1169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407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Team  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B7F9B57-97FF-C9B7-B365-6AB9CBE9B3A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96779" y="4189224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EA13A5E2-6ECD-01D8-9E4D-BC326F3FA4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15758" y="4189224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B9C453D3-35F8-FB30-1769-1FE6BD5905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234737" y="4189224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1B547747-6921-F910-125F-B77FA72E60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53716" y="4189224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009042B-A738-0F20-2D9F-D8CDA82119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4779" y="5905596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CB72953-8F91-D655-4B38-D8A39CDC2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4330" y="6193464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47EBFF74-7438-237D-CE62-03C48B2CAB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272693" y="4189224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81A2ABC-D518-A163-EDD9-A66771158C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53758" y="5905596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4FD7C3A6-035A-4374-BE18-C560599084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53309" y="6193464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18DEC4A-CF84-E79A-53BD-B41433B987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72737" y="5905596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C40FE08E-C8F7-6C5B-BF0A-DA5E6509ED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72288" y="6193464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C29D5F8-EFB7-C2F1-3F49-570755F9F6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91715" y="5905596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A71384E8-C858-82CC-026A-B43E820BC98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91266" y="6193464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4218C38B-4093-E544-4DB9-7F1BEB5E289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10693" y="5905596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5D2A1ED-3D9D-4BFD-8744-CE561AD96BD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10244" y="6193464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887F4E0B-28C6-B4B0-BBF0-A93B9928CC4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196779" y="152580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AA3E8BDC-992C-8745-00D4-53E53F24AFF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215758" y="152580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A2430641-47B1-7BB8-422E-137C5E3621DE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5234737" y="152580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948A5A71-F754-E658-D64D-56C43CF340B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253716" y="152580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00DE410-F548-8AD3-9C7A-13E8B92CE4B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34779" y="3275225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11CDFAB-A472-AB11-6354-29C284B0DF7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34330" y="3563093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5C9ED12-4956-3AAB-1E9D-FBD1963C888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272693" y="1525802"/>
            <a:ext cx="1662812" cy="1662812"/>
          </a:xfrm>
          <a:prstGeom prst="ellipse">
            <a:avLst/>
          </a:prstGeom>
          <a:solidFill>
            <a:srgbClr val="F1F1F1"/>
          </a:solidFill>
        </p:spPr>
        <p:txBody>
          <a:bodyPr anchor="t" anchorCtr="1"/>
          <a:lstStyle>
            <a:lvl1pPr marL="0" indent="0" algn="ctr">
              <a:buNone/>
              <a:defRPr sz="140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7075A0C9-F25D-4BE4-FD6B-E6A4A60821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53758" y="3275225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C96AD022-A8F6-03D6-2368-7EDB88D83A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053309" y="3563093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65B532AF-1AB2-F7EA-4E31-16EAF536CE2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2737" y="3275225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65DE0107-C578-28AA-0577-264E849A751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72288" y="3563093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CD50490-6547-BB0D-FEDD-D1CDE3C40AB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91715" y="3275225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9B0984B1-6DD0-02AE-5BCA-48DDD8F587A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91266" y="3563093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92D8D470-7C73-0406-DA66-5950334523A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10693" y="3275225"/>
            <a:ext cx="1986812" cy="287868"/>
          </a:xfrm>
        </p:spPr>
        <p:txBody>
          <a:bodyPr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2pPr>
            <a:lvl3pPr marL="324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3pPr>
            <a:lvl4pPr marL="48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4pPr>
            <a:lvl5pPr marL="666000" indent="0" algn="ctr">
              <a:buNone/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Name</a:t>
            </a:r>
            <a:endParaRPr lang="sv-SE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84A5AB9-3E94-D324-F59A-3BA7B0836FF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10244" y="3563093"/>
            <a:ext cx="1987710" cy="322566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144000" indent="0" algn="ctr">
              <a:buNone/>
              <a:defRPr sz="1100">
                <a:solidFill>
                  <a:schemeClr val="bg1"/>
                </a:solidFill>
              </a:defRPr>
            </a:lvl2pPr>
            <a:lvl3pPr marL="324000" indent="0" algn="ctr">
              <a:buNone/>
              <a:defRPr sz="1050">
                <a:solidFill>
                  <a:schemeClr val="bg1"/>
                </a:solidFill>
              </a:defRPr>
            </a:lvl3pPr>
            <a:lvl4pPr marL="486000" indent="0" algn="ctr">
              <a:buNone/>
              <a:defRPr sz="1000">
                <a:solidFill>
                  <a:schemeClr val="bg1"/>
                </a:solidFill>
              </a:defRPr>
            </a:lvl4pPr>
            <a:lvl5pPr marL="666000" indent="0" algn="ctr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D3BFF7-51D3-0DA2-1449-BF1451C03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1B49F13-D389-B93D-49A3-9D2495F6D6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3038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50C9AB5-2667-22FC-F0BF-BDD1C9E85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A04E9DB-8166-306B-9F66-65CD22FD5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595BF27-7420-D885-F044-23E6234B7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606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13B405-45B3-5B7C-C30F-6A6DA330C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2B701F-59AD-A4DA-87D7-66A0FCD78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C1FB64-7334-AA22-4CDE-C0727D9BC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&quot;Not Allowed&quot; Symbol 1">
            <a:extLst>
              <a:ext uri="{FF2B5EF4-FFF2-40B4-BE49-F238E27FC236}">
                <a16:creationId xmlns:a16="http://schemas.microsoft.com/office/drawing/2014/main" id="{E42FE9C5-3DE8-64A3-51AF-80BD1A9EB33C}"/>
              </a:ext>
            </a:extLst>
          </p:cNvPr>
          <p:cNvSpPr/>
          <p:nvPr userDrawn="1"/>
        </p:nvSpPr>
        <p:spPr>
          <a:xfrm>
            <a:off x="3316077" y="696817"/>
            <a:ext cx="5067758" cy="5067758"/>
          </a:xfrm>
          <a:prstGeom prst="noSmoking">
            <a:avLst>
              <a:gd name="adj" fmla="val 7607"/>
            </a:avLst>
          </a:prstGeom>
          <a:solidFill>
            <a:srgbClr val="C7C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err="1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CEC607-906A-01C3-1698-94682DE4E99C}"/>
              </a:ext>
            </a:extLst>
          </p:cNvPr>
          <p:cNvSpPr txBox="1"/>
          <p:nvPr userDrawn="1"/>
        </p:nvSpPr>
        <p:spPr>
          <a:xfrm>
            <a:off x="1726041" y="2686119"/>
            <a:ext cx="873991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/>
              <a:t>Don’t use pages after this one. </a:t>
            </a:r>
            <a:br>
              <a:rPr lang="en-US" sz="4000"/>
            </a:br>
            <a:r>
              <a:rPr lang="en-US" sz="4000"/>
              <a:t>They don’t belong in the template</a:t>
            </a:r>
          </a:p>
        </p:txBody>
      </p:sp>
    </p:spTree>
    <p:extLst>
      <p:ext uri="{BB962C8B-B14F-4D97-AF65-F5344CB8AC3E}">
        <p14:creationId xmlns:p14="http://schemas.microsoft.com/office/powerpoint/2010/main" val="32436796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on Green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1FD81C-B84E-076A-C892-C0D5AC4574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B232D6-562B-41C2-AA9A-383726F33187}" type="datetime1">
              <a:rPr lang="en-GB" smtClean="0"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EB040A-06F8-4E60-9F22-38ADA584E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E5640E-75EC-4701-DCC3-C592E8A16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2" name="Bildobjekt 7">
            <a:extLst>
              <a:ext uri="{FF2B5EF4-FFF2-40B4-BE49-F238E27FC236}">
                <a16:creationId xmlns:a16="http://schemas.microsoft.com/office/drawing/2014/main" id="{07F41B53-349B-CF56-5E93-B6F5A2E3B7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0"/>
                    </a14:imgEffect>
                    <a14:imgEffect>
                      <a14:brightnessContrast bright="70000" contrast="7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47804" y="6475657"/>
            <a:ext cx="694546" cy="191599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D227423A-ADB4-BCD0-1E6A-3941B6ED1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3E5CD4E-4B4E-BB46-2EB2-68C46DD0F9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1382868"/>
            <a:ext cx="8137524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144000" indent="0">
              <a:buNone/>
              <a:defRPr sz="2000">
                <a:solidFill>
                  <a:schemeClr val="tx1"/>
                </a:solidFill>
              </a:defRPr>
            </a:lvl2pPr>
            <a:lvl3pPr marL="324000" indent="0">
              <a:buNone/>
              <a:defRPr sz="1800">
                <a:solidFill>
                  <a:schemeClr val="tx1"/>
                </a:solidFill>
              </a:defRPr>
            </a:lvl3pPr>
            <a:lvl4pPr marL="486000" indent="0">
              <a:buNone/>
              <a:defRPr sz="1600">
                <a:solidFill>
                  <a:schemeClr val="tx1"/>
                </a:solidFill>
              </a:defRPr>
            </a:lvl4pPr>
            <a:lvl5pPr marL="666000" indent="0"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11FE9729-7127-9BEF-F86F-ADB04E4745E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916934"/>
            <a:ext cx="8137523" cy="426796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020985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60D7F999-A577-485C-859E-C19CB6AB44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1317153"/>
            <a:ext cx="7885111" cy="684000"/>
          </a:xfrm>
        </p:spPr>
        <p:txBody>
          <a:bodyPr anchor="t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sv-SE" err="1"/>
              <a:t>Headline</a:t>
            </a:r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525BE10-C477-4250-AD61-D739488FEF0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19-05-06</a:t>
            </a:r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568690D-676E-4AFF-9E6F-9E3648126B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954645A7-1EA8-4552-B471-02AC20D2BD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DC30391-9AE8-4CB9-A896-6A98CEF4208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453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50BDD-5938-93D5-F71C-55FD22E7C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40" y="3097459"/>
            <a:ext cx="2743200" cy="663083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4ADCD43-0B0A-7648-2E77-BA3B4FAAEA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7B4A4A9-6C61-8719-8900-A85197A595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22700" y="1206500"/>
            <a:ext cx="6591300" cy="4495800"/>
          </a:xfrm>
          <a:noFill/>
        </p:spPr>
        <p:txBody>
          <a:bodyPr anchor="ctr"/>
          <a:lstStyle>
            <a:lvl1pPr marL="396000" indent="-396000">
              <a:spcBef>
                <a:spcPts val="1000"/>
              </a:spcBef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756000" indent="-396000">
              <a:spcBef>
                <a:spcPts val="1000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152000" indent="-396000">
              <a:spcBef>
                <a:spcPts val="1000"/>
              </a:spcBef>
              <a:buFont typeface="+mj-lt"/>
              <a:buAutoNum type="arabicPeriod"/>
              <a:defRPr sz="2000">
                <a:solidFill>
                  <a:schemeClr val="bg1"/>
                </a:solidFill>
              </a:defRPr>
            </a:lvl3pPr>
            <a:lvl4pPr marL="1548000" indent="-396000">
              <a:spcBef>
                <a:spcPts val="1000"/>
              </a:spcBef>
              <a:buFont typeface="+mj-lt"/>
              <a:buAutoNum type="arabicPeriod"/>
              <a:defRPr sz="1800">
                <a:solidFill>
                  <a:schemeClr val="bg1"/>
                </a:solidFill>
              </a:defRPr>
            </a:lvl4pPr>
            <a:lvl5pPr marL="1908000" indent="-396000">
              <a:spcBef>
                <a:spcPts val="1000"/>
              </a:spcBef>
              <a:buFont typeface="+mj-lt"/>
              <a:buAutoNum type="arabicPeriod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556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Green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50BDD-5938-93D5-F71C-55FD22E7C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40" y="3097459"/>
            <a:ext cx="2743200" cy="663083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7B4A4A9-6C61-8719-8900-A85197A595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22700" y="1206500"/>
            <a:ext cx="6591300" cy="4495800"/>
          </a:xfrm>
          <a:noFill/>
        </p:spPr>
        <p:txBody>
          <a:bodyPr anchor="ctr"/>
          <a:lstStyle>
            <a:lvl1pPr marL="396000" indent="-396000">
              <a:spcBef>
                <a:spcPts val="1000"/>
              </a:spcBef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756000" indent="-396000">
              <a:spcBef>
                <a:spcPts val="1000"/>
              </a:spcBef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152000" indent="-396000">
              <a:spcBef>
                <a:spcPts val="1000"/>
              </a:spcBef>
              <a:buFont typeface="+mj-lt"/>
              <a:buAutoNum type="arabicPeriod"/>
              <a:defRPr sz="2000">
                <a:solidFill>
                  <a:schemeClr val="bg1"/>
                </a:solidFill>
              </a:defRPr>
            </a:lvl3pPr>
            <a:lvl4pPr marL="1548000" indent="-396000">
              <a:spcBef>
                <a:spcPts val="1000"/>
              </a:spcBef>
              <a:buFont typeface="+mj-lt"/>
              <a:buAutoNum type="arabicPeriod"/>
              <a:defRPr sz="1800">
                <a:solidFill>
                  <a:schemeClr val="bg1"/>
                </a:solidFill>
              </a:defRPr>
            </a:lvl4pPr>
            <a:lvl5pPr marL="1908000" indent="-396000">
              <a:spcBef>
                <a:spcPts val="1000"/>
              </a:spcBef>
              <a:buFont typeface="+mj-lt"/>
              <a:buAutoNum type="arabicPeriod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9537B3F-985A-757A-A366-3B814E2D7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2665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an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863178-73A1-7F37-42E2-1F687BEC4D8E}"/>
              </a:ext>
            </a:extLst>
          </p:cNvPr>
          <p:cNvSpPr/>
          <p:nvPr userDrawn="1"/>
        </p:nvSpPr>
        <p:spPr>
          <a:xfrm>
            <a:off x="-1" y="405895"/>
            <a:ext cx="7350291" cy="6223314"/>
          </a:xfrm>
          <a:custGeom>
            <a:avLst/>
            <a:gdLst>
              <a:gd name="connsiteX0" fmla="*/ 2497968 w 6096001"/>
              <a:gd name="connsiteY0" fmla="*/ 5359400 h 5392467"/>
              <a:gd name="connsiteX1" fmla="*/ 2499901 w 6096001"/>
              <a:gd name="connsiteY1" fmla="*/ 5361333 h 5392467"/>
              <a:gd name="connsiteX2" fmla="*/ 2490229 w 6096001"/>
              <a:gd name="connsiteY2" fmla="*/ 5365201 h 5392467"/>
              <a:gd name="connsiteX3" fmla="*/ 2497968 w 6096001"/>
              <a:gd name="connsiteY3" fmla="*/ 5359400 h 5392467"/>
              <a:gd name="connsiteX4" fmla="*/ 2350974 w 6096001"/>
              <a:gd name="connsiteY4" fmla="*/ 5357464 h 5392467"/>
              <a:gd name="connsiteX5" fmla="*/ 2343240 w 6096001"/>
              <a:gd name="connsiteY5" fmla="*/ 5367136 h 5392467"/>
              <a:gd name="connsiteX6" fmla="*/ 2350974 w 6096001"/>
              <a:gd name="connsiteY6" fmla="*/ 5357464 h 5392467"/>
              <a:gd name="connsiteX7" fmla="*/ 2462686 w 6096001"/>
              <a:gd name="connsiteY7" fmla="*/ 5341466 h 5392467"/>
              <a:gd name="connsiteX8" fmla="*/ 2466220 w 6096001"/>
              <a:gd name="connsiteY8" fmla="*/ 5342526 h 5392467"/>
              <a:gd name="connsiteX9" fmla="*/ 2461218 w 6096001"/>
              <a:gd name="connsiteY9" fmla="*/ 5345862 h 5392467"/>
              <a:gd name="connsiteX10" fmla="*/ 2459331 w 6096001"/>
              <a:gd name="connsiteY10" fmla="*/ 5348881 h 5392467"/>
              <a:gd name="connsiteX11" fmla="*/ 2457350 w 6096001"/>
              <a:gd name="connsiteY11" fmla="*/ 5349730 h 5392467"/>
              <a:gd name="connsiteX12" fmla="*/ 2460736 w 6096001"/>
              <a:gd name="connsiteY12" fmla="*/ 5342109 h 5392467"/>
              <a:gd name="connsiteX13" fmla="*/ 2484427 w 6096001"/>
              <a:gd name="connsiteY13" fmla="*/ 5334257 h 5392467"/>
              <a:gd name="connsiteX14" fmla="*/ 2472823 w 6096001"/>
              <a:gd name="connsiteY14" fmla="*/ 5340058 h 5392467"/>
              <a:gd name="connsiteX15" fmla="*/ 2484427 w 6096001"/>
              <a:gd name="connsiteY15" fmla="*/ 5334257 h 5392467"/>
              <a:gd name="connsiteX16" fmla="*/ 2345173 w 6096001"/>
              <a:gd name="connsiteY16" fmla="*/ 5328454 h 5392467"/>
              <a:gd name="connsiteX17" fmla="*/ 2327765 w 6096001"/>
              <a:gd name="connsiteY17" fmla="*/ 5341991 h 5392467"/>
              <a:gd name="connsiteX18" fmla="*/ 2345173 w 6096001"/>
              <a:gd name="connsiteY18" fmla="*/ 5328454 h 5392467"/>
              <a:gd name="connsiteX19" fmla="*/ 2507636 w 6096001"/>
              <a:gd name="connsiteY19" fmla="*/ 5314916 h 5392467"/>
              <a:gd name="connsiteX20" fmla="*/ 2507637 w 6096001"/>
              <a:gd name="connsiteY20" fmla="*/ 5314916 h 5392467"/>
              <a:gd name="connsiteX21" fmla="*/ 2501533 w 6096001"/>
              <a:gd name="connsiteY21" fmla="*/ 5317968 h 5392467"/>
              <a:gd name="connsiteX22" fmla="*/ 3360577 w 6096001"/>
              <a:gd name="connsiteY22" fmla="*/ 5311048 h 5392467"/>
              <a:gd name="connsiteX23" fmla="*/ 3348972 w 6096001"/>
              <a:gd name="connsiteY23" fmla="*/ 5324585 h 5392467"/>
              <a:gd name="connsiteX24" fmla="*/ 3354773 w 6096001"/>
              <a:gd name="connsiteY24" fmla="*/ 5312981 h 5392467"/>
              <a:gd name="connsiteX25" fmla="*/ 3360577 w 6096001"/>
              <a:gd name="connsiteY25" fmla="*/ 5311048 h 5392467"/>
              <a:gd name="connsiteX26" fmla="*/ 2532779 w 6096001"/>
              <a:gd name="connsiteY26" fmla="*/ 5305244 h 5392467"/>
              <a:gd name="connsiteX27" fmla="*/ 2538583 w 6096001"/>
              <a:gd name="connsiteY27" fmla="*/ 5307179 h 5392467"/>
              <a:gd name="connsiteX28" fmla="*/ 2536648 w 6096001"/>
              <a:gd name="connsiteY28" fmla="*/ 5311048 h 5392467"/>
              <a:gd name="connsiteX29" fmla="*/ 2532779 w 6096001"/>
              <a:gd name="connsiteY29" fmla="*/ 5311048 h 5392467"/>
              <a:gd name="connsiteX30" fmla="*/ 2532779 w 6096001"/>
              <a:gd name="connsiteY30" fmla="*/ 5305244 h 5392467"/>
              <a:gd name="connsiteX31" fmla="*/ 3319961 w 6096001"/>
              <a:gd name="connsiteY31" fmla="*/ 5291706 h 5392467"/>
              <a:gd name="connsiteX32" fmla="*/ 3314158 w 6096001"/>
              <a:gd name="connsiteY32" fmla="*/ 5305244 h 5392467"/>
              <a:gd name="connsiteX33" fmla="*/ 3319961 w 6096001"/>
              <a:gd name="connsiteY33" fmla="*/ 5291706 h 5392467"/>
              <a:gd name="connsiteX34" fmla="*/ 2292950 w 6096001"/>
              <a:gd name="connsiteY34" fmla="*/ 5291706 h 5392467"/>
              <a:gd name="connsiteX35" fmla="*/ 2285216 w 6096001"/>
              <a:gd name="connsiteY35" fmla="*/ 5309112 h 5392467"/>
              <a:gd name="connsiteX36" fmla="*/ 2294885 w 6096001"/>
              <a:gd name="connsiteY36" fmla="*/ 5303311 h 5392467"/>
              <a:gd name="connsiteX37" fmla="*/ 2296821 w 6096001"/>
              <a:gd name="connsiteY37" fmla="*/ 5305244 h 5392467"/>
              <a:gd name="connsiteX38" fmla="*/ 2291017 w 6096001"/>
              <a:gd name="connsiteY38" fmla="*/ 5314916 h 5392467"/>
              <a:gd name="connsiteX39" fmla="*/ 2292950 w 6096001"/>
              <a:gd name="connsiteY39" fmla="*/ 5316849 h 5392467"/>
              <a:gd name="connsiteX40" fmla="*/ 2312291 w 6096001"/>
              <a:gd name="connsiteY40" fmla="*/ 5297508 h 5392467"/>
              <a:gd name="connsiteX41" fmla="*/ 2312291 w 6096001"/>
              <a:gd name="connsiteY41" fmla="*/ 5295575 h 5392467"/>
              <a:gd name="connsiteX42" fmla="*/ 2300689 w 6096001"/>
              <a:gd name="connsiteY42" fmla="*/ 5299443 h 5392467"/>
              <a:gd name="connsiteX43" fmla="*/ 2292950 w 6096001"/>
              <a:gd name="connsiteY43" fmla="*/ 5291706 h 5392467"/>
              <a:gd name="connsiteX44" fmla="*/ 2265875 w 6096001"/>
              <a:gd name="connsiteY44" fmla="*/ 5285905 h 5392467"/>
              <a:gd name="connsiteX45" fmla="*/ 2265875 w 6096001"/>
              <a:gd name="connsiteY45" fmla="*/ 5301376 h 5392467"/>
              <a:gd name="connsiteX46" fmla="*/ 2265875 w 6096001"/>
              <a:gd name="connsiteY46" fmla="*/ 5285905 h 5392467"/>
              <a:gd name="connsiteX47" fmla="*/ 2625618 w 6096001"/>
              <a:gd name="connsiteY47" fmla="*/ 5278166 h 5392467"/>
              <a:gd name="connsiteX48" fmla="*/ 2627551 w 6096001"/>
              <a:gd name="connsiteY48" fmla="*/ 5280102 h 5392467"/>
              <a:gd name="connsiteX49" fmla="*/ 2600473 w 6096001"/>
              <a:gd name="connsiteY49" fmla="*/ 5293639 h 5392467"/>
              <a:gd name="connsiteX50" fmla="*/ 2625618 w 6096001"/>
              <a:gd name="connsiteY50" fmla="*/ 5278166 h 5392467"/>
              <a:gd name="connsiteX51" fmla="*/ 2263939 w 6096001"/>
              <a:gd name="connsiteY51" fmla="*/ 5270430 h 5392467"/>
              <a:gd name="connsiteX52" fmla="*/ 2256203 w 6096001"/>
              <a:gd name="connsiteY52" fmla="*/ 5278166 h 5392467"/>
              <a:gd name="connsiteX53" fmla="*/ 2265875 w 6096001"/>
              <a:gd name="connsiteY53" fmla="*/ 5274298 h 5392467"/>
              <a:gd name="connsiteX54" fmla="*/ 2263939 w 6096001"/>
              <a:gd name="connsiteY54" fmla="*/ 5270430 h 5392467"/>
              <a:gd name="connsiteX55" fmla="*/ 2273611 w 6096001"/>
              <a:gd name="connsiteY55" fmla="*/ 5266564 h 5392467"/>
              <a:gd name="connsiteX56" fmla="*/ 2271676 w 6096001"/>
              <a:gd name="connsiteY56" fmla="*/ 5268497 h 5392467"/>
              <a:gd name="connsiteX57" fmla="*/ 2275544 w 6096001"/>
              <a:gd name="connsiteY57" fmla="*/ 5274298 h 5392467"/>
              <a:gd name="connsiteX58" fmla="*/ 2277479 w 6096001"/>
              <a:gd name="connsiteY58" fmla="*/ 5272365 h 5392467"/>
              <a:gd name="connsiteX59" fmla="*/ 2273611 w 6096001"/>
              <a:gd name="connsiteY59" fmla="*/ 5266564 h 5392467"/>
              <a:gd name="connsiteX60" fmla="*/ 3416665 w 6096001"/>
              <a:gd name="connsiteY60" fmla="*/ 5249156 h 5392467"/>
              <a:gd name="connsiteX61" fmla="*/ 3412797 w 6096001"/>
              <a:gd name="connsiteY61" fmla="*/ 5260760 h 5392467"/>
              <a:gd name="connsiteX62" fmla="*/ 3416665 w 6096001"/>
              <a:gd name="connsiteY62" fmla="*/ 5249156 h 5392467"/>
              <a:gd name="connsiteX63" fmla="*/ 2677838 w 6096001"/>
              <a:gd name="connsiteY63" fmla="*/ 5249156 h 5392467"/>
              <a:gd name="connsiteX64" fmla="*/ 2683639 w 6096001"/>
              <a:gd name="connsiteY64" fmla="*/ 5251088 h 5392467"/>
              <a:gd name="connsiteX65" fmla="*/ 2666233 w 6096001"/>
              <a:gd name="connsiteY65" fmla="*/ 5264629 h 5392467"/>
              <a:gd name="connsiteX66" fmla="*/ 2631419 w 6096001"/>
              <a:gd name="connsiteY66" fmla="*/ 5278166 h 5392467"/>
              <a:gd name="connsiteX67" fmla="*/ 2644959 w 6096001"/>
              <a:gd name="connsiteY67" fmla="*/ 5266564 h 5392467"/>
              <a:gd name="connsiteX68" fmla="*/ 2677838 w 6096001"/>
              <a:gd name="connsiteY68" fmla="*/ 5249156 h 5392467"/>
              <a:gd name="connsiteX69" fmla="*/ 1467088 w 6096001"/>
              <a:gd name="connsiteY69" fmla="*/ 5239486 h 5392467"/>
              <a:gd name="connsiteX70" fmla="*/ 1467713 w 6096001"/>
              <a:gd name="connsiteY70" fmla="*/ 5240111 h 5392467"/>
              <a:gd name="connsiteX71" fmla="*/ 1461787 w 6096001"/>
              <a:gd name="connsiteY71" fmla="*/ 5243853 h 5392467"/>
              <a:gd name="connsiteX72" fmla="*/ 1461287 w 6096001"/>
              <a:gd name="connsiteY72" fmla="*/ 5243354 h 5392467"/>
              <a:gd name="connsiteX73" fmla="*/ 1467088 w 6096001"/>
              <a:gd name="connsiteY73" fmla="*/ 5239486 h 5392467"/>
              <a:gd name="connsiteX74" fmla="*/ 3429777 w 6096001"/>
              <a:gd name="connsiteY74" fmla="*/ 5233934 h 5392467"/>
              <a:gd name="connsiteX75" fmla="*/ 3430203 w 6096001"/>
              <a:gd name="connsiteY75" fmla="*/ 5234005 h 5392467"/>
              <a:gd name="connsiteX76" fmla="*/ 3420533 w 6096001"/>
              <a:gd name="connsiteY76" fmla="*/ 5245287 h 5392467"/>
              <a:gd name="connsiteX77" fmla="*/ 3425611 w 6096001"/>
              <a:gd name="connsiteY77" fmla="*/ 5237793 h 5392467"/>
              <a:gd name="connsiteX78" fmla="*/ 2716520 w 6096001"/>
              <a:gd name="connsiteY78" fmla="*/ 5222078 h 5392467"/>
              <a:gd name="connsiteX79" fmla="*/ 2687510 w 6096001"/>
              <a:gd name="connsiteY79" fmla="*/ 5243354 h 5392467"/>
              <a:gd name="connsiteX80" fmla="*/ 2716520 w 6096001"/>
              <a:gd name="connsiteY80" fmla="*/ 5222078 h 5392467"/>
              <a:gd name="connsiteX81" fmla="*/ 2739730 w 6096001"/>
              <a:gd name="connsiteY81" fmla="*/ 5214341 h 5392467"/>
              <a:gd name="connsiteX82" fmla="*/ 2741663 w 6096001"/>
              <a:gd name="connsiteY82" fmla="*/ 5216277 h 5392467"/>
              <a:gd name="connsiteX83" fmla="*/ 2735862 w 6096001"/>
              <a:gd name="connsiteY83" fmla="*/ 5220145 h 5392467"/>
              <a:gd name="connsiteX84" fmla="*/ 2733926 w 6096001"/>
              <a:gd name="connsiteY84" fmla="*/ 5218209 h 5392467"/>
              <a:gd name="connsiteX85" fmla="*/ 2739730 w 6096001"/>
              <a:gd name="connsiteY85" fmla="*/ 5214341 h 5392467"/>
              <a:gd name="connsiteX86" fmla="*/ 3424402 w 6096001"/>
              <a:gd name="connsiteY86" fmla="*/ 5212408 h 5392467"/>
              <a:gd name="connsiteX87" fmla="*/ 3428270 w 6096001"/>
              <a:gd name="connsiteY87" fmla="*/ 5212408 h 5392467"/>
              <a:gd name="connsiteX88" fmla="*/ 3424402 w 6096001"/>
              <a:gd name="connsiteY88" fmla="*/ 5216277 h 5392467"/>
              <a:gd name="connsiteX89" fmla="*/ 3424402 w 6096001"/>
              <a:gd name="connsiteY89" fmla="*/ 5212408 h 5392467"/>
              <a:gd name="connsiteX90" fmla="*/ 2755203 w 6096001"/>
              <a:gd name="connsiteY90" fmla="*/ 5202736 h 5392467"/>
              <a:gd name="connsiteX91" fmla="*/ 2753268 w 6096001"/>
              <a:gd name="connsiteY91" fmla="*/ 5208540 h 5392467"/>
              <a:gd name="connsiteX92" fmla="*/ 2749399 w 6096001"/>
              <a:gd name="connsiteY92" fmla="*/ 5210473 h 5392467"/>
              <a:gd name="connsiteX93" fmla="*/ 2749399 w 6096001"/>
              <a:gd name="connsiteY93" fmla="*/ 5206605 h 5392467"/>
              <a:gd name="connsiteX94" fmla="*/ 2755203 w 6096001"/>
              <a:gd name="connsiteY94" fmla="*/ 5202736 h 5392467"/>
              <a:gd name="connsiteX95" fmla="*/ 3265806 w 6096001"/>
              <a:gd name="connsiteY95" fmla="*/ 5185330 h 5392467"/>
              <a:gd name="connsiteX96" fmla="*/ 3260002 w 6096001"/>
              <a:gd name="connsiteY96" fmla="*/ 5198871 h 5392467"/>
              <a:gd name="connsiteX97" fmla="*/ 3265806 w 6096001"/>
              <a:gd name="connsiteY97" fmla="*/ 5185330 h 5392467"/>
              <a:gd name="connsiteX98" fmla="*/ 2726190 w 6096001"/>
              <a:gd name="connsiteY98" fmla="*/ 5179529 h 5392467"/>
              <a:gd name="connsiteX99" fmla="*/ 2726190 w 6096001"/>
              <a:gd name="connsiteY99" fmla="*/ 5185330 h 5392467"/>
              <a:gd name="connsiteX100" fmla="*/ 2731993 w 6096001"/>
              <a:gd name="connsiteY100" fmla="*/ 5185330 h 5392467"/>
              <a:gd name="connsiteX101" fmla="*/ 2733926 w 6096001"/>
              <a:gd name="connsiteY101" fmla="*/ 5181462 h 5392467"/>
              <a:gd name="connsiteX102" fmla="*/ 2726190 w 6096001"/>
              <a:gd name="connsiteY102" fmla="*/ 5179529 h 5392467"/>
              <a:gd name="connsiteX103" fmla="*/ 2784214 w 6096001"/>
              <a:gd name="connsiteY103" fmla="*/ 5177594 h 5392467"/>
              <a:gd name="connsiteX104" fmla="*/ 2797754 w 6096001"/>
              <a:gd name="connsiteY104" fmla="*/ 5177594 h 5392467"/>
              <a:gd name="connsiteX105" fmla="*/ 2784214 w 6096001"/>
              <a:gd name="connsiteY105" fmla="*/ 5177594 h 5392467"/>
              <a:gd name="connsiteX106" fmla="*/ 2753268 w 6096001"/>
              <a:gd name="connsiteY106" fmla="*/ 5167922 h 5392467"/>
              <a:gd name="connsiteX107" fmla="*/ 2735862 w 6096001"/>
              <a:gd name="connsiteY107" fmla="*/ 5177594 h 5392467"/>
              <a:gd name="connsiteX108" fmla="*/ 2755203 w 6096001"/>
              <a:gd name="connsiteY108" fmla="*/ 5169857 h 5392467"/>
              <a:gd name="connsiteX109" fmla="*/ 2753268 w 6096001"/>
              <a:gd name="connsiteY109" fmla="*/ 5167922 h 5392467"/>
              <a:gd name="connsiteX110" fmla="*/ 2838602 w 6096001"/>
              <a:gd name="connsiteY110" fmla="*/ 5151491 h 5392467"/>
              <a:gd name="connsiteX111" fmla="*/ 2840101 w 6096001"/>
              <a:gd name="connsiteY111" fmla="*/ 5153312 h 5392467"/>
              <a:gd name="connsiteX112" fmla="*/ 2838852 w 6096001"/>
              <a:gd name="connsiteY112" fmla="*/ 5156078 h 5392467"/>
              <a:gd name="connsiteX113" fmla="*/ 2832566 w 6096001"/>
              <a:gd name="connsiteY113" fmla="*/ 5156320 h 5392467"/>
              <a:gd name="connsiteX114" fmla="*/ 3383786 w 6096001"/>
              <a:gd name="connsiteY114" fmla="*/ 5148583 h 5392467"/>
              <a:gd name="connsiteX115" fmla="*/ 3366378 w 6096001"/>
              <a:gd name="connsiteY115" fmla="*/ 5171790 h 5392467"/>
              <a:gd name="connsiteX116" fmla="*/ 3364445 w 6096001"/>
              <a:gd name="connsiteY116" fmla="*/ 5179529 h 5392467"/>
              <a:gd name="connsiteX117" fmla="*/ 3368313 w 6096001"/>
              <a:gd name="connsiteY117" fmla="*/ 5173726 h 5392467"/>
              <a:gd name="connsiteX118" fmla="*/ 3370246 w 6096001"/>
              <a:gd name="connsiteY118" fmla="*/ 5175661 h 5392467"/>
              <a:gd name="connsiteX119" fmla="*/ 3362510 w 6096001"/>
              <a:gd name="connsiteY119" fmla="*/ 5185330 h 5392467"/>
              <a:gd name="connsiteX120" fmla="*/ 3360577 w 6096001"/>
              <a:gd name="connsiteY120" fmla="*/ 5183395 h 5392467"/>
              <a:gd name="connsiteX121" fmla="*/ 3356708 w 6096001"/>
              <a:gd name="connsiteY121" fmla="*/ 5191132 h 5392467"/>
              <a:gd name="connsiteX122" fmla="*/ 3354773 w 6096001"/>
              <a:gd name="connsiteY122" fmla="*/ 5202736 h 5392467"/>
              <a:gd name="connsiteX123" fmla="*/ 3358641 w 6096001"/>
              <a:gd name="connsiteY123" fmla="*/ 5202736 h 5392467"/>
              <a:gd name="connsiteX124" fmla="*/ 3387654 w 6096001"/>
              <a:gd name="connsiteY124" fmla="*/ 5164054 h 5392467"/>
              <a:gd name="connsiteX125" fmla="*/ 3393456 w 6096001"/>
              <a:gd name="connsiteY125" fmla="*/ 5150516 h 5392467"/>
              <a:gd name="connsiteX126" fmla="*/ 3383786 w 6096001"/>
              <a:gd name="connsiteY126" fmla="*/ 5148583 h 5392467"/>
              <a:gd name="connsiteX127" fmla="*/ 3430203 w 6096001"/>
              <a:gd name="connsiteY127" fmla="*/ 5131175 h 5392467"/>
              <a:gd name="connsiteX128" fmla="*/ 3416665 w 6096001"/>
              <a:gd name="connsiteY128" fmla="*/ 5144713 h 5392467"/>
              <a:gd name="connsiteX129" fmla="*/ 3430203 w 6096001"/>
              <a:gd name="connsiteY129" fmla="*/ 5131175 h 5392467"/>
              <a:gd name="connsiteX130" fmla="*/ 3418598 w 6096001"/>
              <a:gd name="connsiteY130" fmla="*/ 5117637 h 5392467"/>
              <a:gd name="connsiteX131" fmla="*/ 3414730 w 6096001"/>
              <a:gd name="connsiteY131" fmla="*/ 5121505 h 5392467"/>
              <a:gd name="connsiteX132" fmla="*/ 3416665 w 6096001"/>
              <a:gd name="connsiteY132" fmla="*/ 5121505 h 5392467"/>
              <a:gd name="connsiteX133" fmla="*/ 3418598 w 6096001"/>
              <a:gd name="connsiteY133" fmla="*/ 5117637 h 5392467"/>
              <a:gd name="connsiteX134" fmla="*/ 3042975 w 6096001"/>
              <a:gd name="connsiteY134" fmla="*/ 5114379 h 5392467"/>
              <a:gd name="connsiteX135" fmla="*/ 3047250 w 6096001"/>
              <a:gd name="connsiteY135" fmla="*/ 5121505 h 5392467"/>
              <a:gd name="connsiteX136" fmla="*/ 3041449 w 6096001"/>
              <a:gd name="connsiteY136" fmla="*/ 5123438 h 5392467"/>
              <a:gd name="connsiteX137" fmla="*/ 3041449 w 6096001"/>
              <a:gd name="connsiteY137" fmla="*/ 5122665 h 5392467"/>
              <a:gd name="connsiteX138" fmla="*/ 3043382 w 6096001"/>
              <a:gd name="connsiteY138" fmla="*/ 5121505 h 5392467"/>
              <a:gd name="connsiteX139" fmla="*/ 3041449 w 6096001"/>
              <a:gd name="connsiteY139" fmla="*/ 5120538 h 5392467"/>
              <a:gd name="connsiteX140" fmla="*/ 3041449 w 6096001"/>
              <a:gd name="connsiteY140" fmla="*/ 5116669 h 5392467"/>
              <a:gd name="connsiteX141" fmla="*/ 3034689 w 6096001"/>
              <a:gd name="connsiteY141" fmla="*/ 5107009 h 5392467"/>
              <a:gd name="connsiteX142" fmla="*/ 3037581 w 6096001"/>
              <a:gd name="connsiteY142" fmla="*/ 5109901 h 5392467"/>
              <a:gd name="connsiteX143" fmla="*/ 3033713 w 6096001"/>
              <a:gd name="connsiteY143" fmla="*/ 5108933 h 5392467"/>
              <a:gd name="connsiteX144" fmla="*/ 3033713 w 6096001"/>
              <a:gd name="connsiteY144" fmla="*/ 5107965 h 5392467"/>
              <a:gd name="connsiteX145" fmla="*/ 3532710 w 6096001"/>
              <a:gd name="connsiteY145" fmla="*/ 5104097 h 5392467"/>
              <a:gd name="connsiteX146" fmla="*/ 3519173 w 6096001"/>
              <a:gd name="connsiteY146" fmla="*/ 5107965 h 5392467"/>
              <a:gd name="connsiteX147" fmla="*/ 3497896 w 6096001"/>
              <a:gd name="connsiteY147" fmla="*/ 5138911 h 5392467"/>
              <a:gd name="connsiteX148" fmla="*/ 3509501 w 6096001"/>
              <a:gd name="connsiteY148" fmla="*/ 5125374 h 5392467"/>
              <a:gd name="connsiteX149" fmla="*/ 3513372 w 6096001"/>
              <a:gd name="connsiteY149" fmla="*/ 5121505 h 5392467"/>
              <a:gd name="connsiteX150" fmla="*/ 3532710 w 6096001"/>
              <a:gd name="connsiteY150" fmla="*/ 5104097 h 5392467"/>
              <a:gd name="connsiteX151" fmla="*/ 2907995 w 6096001"/>
              <a:gd name="connsiteY151" fmla="*/ 5100229 h 5392467"/>
              <a:gd name="connsiteX152" fmla="*/ 2907995 w 6096001"/>
              <a:gd name="connsiteY152" fmla="*/ 5102164 h 5392467"/>
              <a:gd name="connsiteX153" fmla="*/ 2911864 w 6096001"/>
              <a:gd name="connsiteY153" fmla="*/ 5102164 h 5392467"/>
              <a:gd name="connsiteX154" fmla="*/ 2911864 w 6096001"/>
              <a:gd name="connsiteY154" fmla="*/ 5100229 h 5392467"/>
              <a:gd name="connsiteX155" fmla="*/ 2907995 w 6096001"/>
              <a:gd name="connsiteY155" fmla="*/ 5100229 h 5392467"/>
              <a:gd name="connsiteX156" fmla="*/ 2853840 w 6096001"/>
              <a:gd name="connsiteY156" fmla="*/ 5100229 h 5392467"/>
              <a:gd name="connsiteX157" fmla="*/ 2813224 w 6096001"/>
              <a:gd name="connsiteY157" fmla="*/ 5131175 h 5392467"/>
              <a:gd name="connsiteX158" fmla="*/ 2815160 w 6096001"/>
              <a:gd name="connsiteY158" fmla="*/ 5135043 h 5392467"/>
              <a:gd name="connsiteX159" fmla="*/ 2820961 w 6096001"/>
              <a:gd name="connsiteY159" fmla="*/ 5133110 h 5392467"/>
              <a:gd name="connsiteX160" fmla="*/ 2851907 w 6096001"/>
              <a:gd name="connsiteY160" fmla="*/ 5109901 h 5392467"/>
              <a:gd name="connsiteX161" fmla="*/ 2853840 w 6096001"/>
              <a:gd name="connsiteY161" fmla="*/ 5100229 h 5392467"/>
              <a:gd name="connsiteX162" fmla="*/ 1813294 w 6096001"/>
              <a:gd name="connsiteY162" fmla="*/ 5100229 h 5392467"/>
              <a:gd name="connsiteX163" fmla="*/ 1813294 w 6096001"/>
              <a:gd name="connsiteY163" fmla="*/ 5102164 h 5392467"/>
              <a:gd name="connsiteX164" fmla="*/ 1809425 w 6096001"/>
              <a:gd name="connsiteY164" fmla="*/ 5106032 h 5392467"/>
              <a:gd name="connsiteX165" fmla="*/ 1813294 w 6096001"/>
              <a:gd name="connsiteY165" fmla="*/ 5100229 h 5392467"/>
              <a:gd name="connsiteX166" fmla="*/ 2140158 w 6096001"/>
              <a:gd name="connsiteY166" fmla="*/ 5094428 h 5392467"/>
              <a:gd name="connsiteX167" fmla="*/ 2136290 w 6096001"/>
              <a:gd name="connsiteY167" fmla="*/ 5102164 h 5392467"/>
              <a:gd name="connsiteX168" fmla="*/ 2142091 w 6096001"/>
              <a:gd name="connsiteY168" fmla="*/ 5096361 h 5392467"/>
              <a:gd name="connsiteX169" fmla="*/ 2140158 w 6096001"/>
              <a:gd name="connsiteY169" fmla="*/ 5094428 h 5392467"/>
              <a:gd name="connsiteX170" fmla="*/ 1806100 w 6096001"/>
              <a:gd name="connsiteY170" fmla="*/ 5093330 h 5392467"/>
              <a:gd name="connsiteX171" fmla="*/ 1797821 w 6096001"/>
              <a:gd name="connsiteY171" fmla="*/ 5100229 h 5392467"/>
              <a:gd name="connsiteX172" fmla="*/ 1796901 w 6096001"/>
              <a:gd name="connsiteY172" fmla="*/ 5098849 h 5392467"/>
              <a:gd name="connsiteX173" fmla="*/ 1808141 w 6096001"/>
              <a:gd name="connsiteY173" fmla="*/ 5091629 h 5392467"/>
              <a:gd name="connsiteX174" fmla="*/ 1807492 w 6096001"/>
              <a:gd name="connsiteY174" fmla="*/ 5092495 h 5392467"/>
              <a:gd name="connsiteX175" fmla="*/ 1806100 w 6096001"/>
              <a:gd name="connsiteY175" fmla="*/ 5093330 h 5392467"/>
              <a:gd name="connsiteX176" fmla="*/ 1375502 w 6096001"/>
              <a:gd name="connsiteY176" fmla="*/ 5087606 h 5392467"/>
              <a:gd name="connsiteX177" fmla="*/ 1369543 w 6096001"/>
              <a:gd name="connsiteY177" fmla="*/ 5095551 h 5392467"/>
              <a:gd name="connsiteX178" fmla="*/ 1364583 w 6096001"/>
              <a:gd name="connsiteY178" fmla="*/ 5096361 h 5392467"/>
              <a:gd name="connsiteX179" fmla="*/ 1372802 w 6096001"/>
              <a:gd name="connsiteY179" fmla="*/ 5087900 h 5392467"/>
              <a:gd name="connsiteX180" fmla="*/ 2863512 w 6096001"/>
              <a:gd name="connsiteY180" fmla="*/ 5080888 h 5392467"/>
              <a:gd name="connsiteX181" fmla="*/ 2853840 w 6096001"/>
              <a:gd name="connsiteY181" fmla="*/ 5082823 h 5392467"/>
              <a:gd name="connsiteX182" fmla="*/ 2820961 w 6096001"/>
              <a:gd name="connsiteY182" fmla="*/ 5104097 h 5392467"/>
              <a:gd name="connsiteX183" fmla="*/ 2799687 w 6096001"/>
              <a:gd name="connsiteY183" fmla="*/ 5119570 h 5392467"/>
              <a:gd name="connsiteX184" fmla="*/ 2809356 w 6096001"/>
              <a:gd name="connsiteY184" fmla="*/ 5123438 h 5392467"/>
              <a:gd name="connsiteX185" fmla="*/ 2830630 w 6096001"/>
              <a:gd name="connsiteY185" fmla="*/ 5106032 h 5392467"/>
              <a:gd name="connsiteX186" fmla="*/ 2863512 w 6096001"/>
              <a:gd name="connsiteY186" fmla="*/ 5088626 h 5392467"/>
              <a:gd name="connsiteX187" fmla="*/ 2867380 w 6096001"/>
              <a:gd name="connsiteY187" fmla="*/ 5084756 h 5392467"/>
              <a:gd name="connsiteX188" fmla="*/ 2863512 w 6096001"/>
              <a:gd name="connsiteY188" fmla="*/ 5080888 h 5392467"/>
              <a:gd name="connsiteX189" fmla="*/ 2811291 w 6096001"/>
              <a:gd name="connsiteY189" fmla="*/ 5080888 h 5392467"/>
              <a:gd name="connsiteX190" fmla="*/ 2803555 w 6096001"/>
              <a:gd name="connsiteY190" fmla="*/ 5096361 h 5392467"/>
              <a:gd name="connsiteX191" fmla="*/ 2819028 w 6096001"/>
              <a:gd name="connsiteY191" fmla="*/ 5084756 h 5392467"/>
              <a:gd name="connsiteX192" fmla="*/ 2811291 w 6096001"/>
              <a:gd name="connsiteY192" fmla="*/ 5080888 h 5392467"/>
              <a:gd name="connsiteX193" fmla="*/ 2820237 w 6096001"/>
              <a:gd name="connsiteY193" fmla="*/ 5078470 h 5392467"/>
              <a:gd name="connsiteX194" fmla="*/ 2819028 w 6096001"/>
              <a:gd name="connsiteY194" fmla="*/ 5086691 h 5392467"/>
              <a:gd name="connsiteX195" fmla="*/ 2828697 w 6096001"/>
              <a:gd name="connsiteY195" fmla="*/ 5078955 h 5392467"/>
              <a:gd name="connsiteX196" fmla="*/ 2820237 w 6096001"/>
              <a:gd name="connsiteY196" fmla="*/ 5078470 h 5392467"/>
              <a:gd name="connsiteX197" fmla="*/ 3546248 w 6096001"/>
              <a:gd name="connsiteY197" fmla="*/ 5075086 h 5392467"/>
              <a:gd name="connsiteX198" fmla="*/ 3544315 w 6096001"/>
              <a:gd name="connsiteY198" fmla="*/ 5082823 h 5392467"/>
              <a:gd name="connsiteX199" fmla="*/ 3548183 w 6096001"/>
              <a:gd name="connsiteY199" fmla="*/ 5077019 h 5392467"/>
              <a:gd name="connsiteX200" fmla="*/ 3546248 w 6096001"/>
              <a:gd name="connsiteY200" fmla="*/ 5075086 h 5392467"/>
              <a:gd name="connsiteX201" fmla="*/ 1420672 w 6096001"/>
              <a:gd name="connsiteY201" fmla="*/ 5075086 h 5392467"/>
              <a:gd name="connsiteX202" fmla="*/ 1409067 w 6096001"/>
              <a:gd name="connsiteY202" fmla="*/ 5082823 h 5392467"/>
              <a:gd name="connsiteX203" fmla="*/ 1411002 w 6096001"/>
              <a:gd name="connsiteY203" fmla="*/ 5084756 h 5392467"/>
              <a:gd name="connsiteX204" fmla="*/ 1422605 w 6096001"/>
              <a:gd name="connsiteY204" fmla="*/ 5077019 h 5392467"/>
              <a:gd name="connsiteX205" fmla="*/ 1420672 w 6096001"/>
              <a:gd name="connsiteY205" fmla="*/ 5075086 h 5392467"/>
              <a:gd name="connsiteX206" fmla="*/ 3261937 w 6096001"/>
              <a:gd name="connsiteY206" fmla="*/ 5061549 h 5392467"/>
              <a:gd name="connsiteX207" fmla="*/ 3250333 w 6096001"/>
              <a:gd name="connsiteY207" fmla="*/ 5082823 h 5392467"/>
              <a:gd name="connsiteX208" fmla="*/ 3261937 w 6096001"/>
              <a:gd name="connsiteY208" fmla="*/ 5061549 h 5392467"/>
              <a:gd name="connsiteX209" fmla="*/ 2896391 w 6096001"/>
              <a:gd name="connsiteY209" fmla="*/ 5055745 h 5392467"/>
              <a:gd name="connsiteX210" fmla="*/ 2890589 w 6096001"/>
              <a:gd name="connsiteY210" fmla="*/ 5065417 h 5392467"/>
              <a:gd name="connsiteX211" fmla="*/ 2884788 w 6096001"/>
              <a:gd name="connsiteY211" fmla="*/ 5075086 h 5392467"/>
              <a:gd name="connsiteX212" fmla="*/ 2861579 w 6096001"/>
              <a:gd name="connsiteY212" fmla="*/ 5092495 h 5392467"/>
              <a:gd name="connsiteX213" fmla="*/ 2863512 w 6096001"/>
              <a:gd name="connsiteY213" fmla="*/ 5096361 h 5392467"/>
              <a:gd name="connsiteX214" fmla="*/ 2869313 w 6096001"/>
              <a:gd name="connsiteY214" fmla="*/ 5096361 h 5392467"/>
              <a:gd name="connsiteX215" fmla="*/ 2875116 w 6096001"/>
              <a:gd name="connsiteY215" fmla="*/ 5092495 h 5392467"/>
              <a:gd name="connsiteX216" fmla="*/ 2904127 w 6096001"/>
              <a:gd name="connsiteY216" fmla="*/ 5078955 h 5392467"/>
              <a:gd name="connsiteX217" fmla="*/ 2907995 w 6096001"/>
              <a:gd name="connsiteY217" fmla="*/ 5073153 h 5392467"/>
              <a:gd name="connsiteX218" fmla="*/ 2906063 w 6096001"/>
              <a:gd name="connsiteY218" fmla="*/ 5071218 h 5392467"/>
              <a:gd name="connsiteX219" fmla="*/ 2900259 w 6096001"/>
              <a:gd name="connsiteY219" fmla="*/ 5063482 h 5392467"/>
              <a:gd name="connsiteX220" fmla="*/ 2896391 w 6096001"/>
              <a:gd name="connsiteY220" fmla="*/ 5065417 h 5392467"/>
              <a:gd name="connsiteX221" fmla="*/ 2898326 w 6096001"/>
              <a:gd name="connsiteY221" fmla="*/ 5059613 h 5392467"/>
              <a:gd name="connsiteX222" fmla="*/ 2896391 w 6096001"/>
              <a:gd name="connsiteY222" fmla="*/ 5055745 h 5392467"/>
              <a:gd name="connsiteX223" fmla="*/ 1870196 w 6096001"/>
              <a:gd name="connsiteY223" fmla="*/ 5051697 h 5392467"/>
              <a:gd name="connsiteX224" fmla="*/ 1830702 w 6096001"/>
              <a:gd name="connsiteY224" fmla="*/ 5080888 h 5392467"/>
              <a:gd name="connsiteX225" fmla="*/ 1815229 w 6096001"/>
              <a:gd name="connsiteY225" fmla="*/ 5086691 h 5392467"/>
              <a:gd name="connsiteX226" fmla="*/ 1809425 w 6096001"/>
              <a:gd name="connsiteY226" fmla="*/ 5090559 h 5392467"/>
              <a:gd name="connsiteX227" fmla="*/ 1808141 w 6096001"/>
              <a:gd name="connsiteY227" fmla="*/ 5091629 h 5392467"/>
              <a:gd name="connsiteX228" fmla="*/ 1813294 w 6096001"/>
              <a:gd name="connsiteY228" fmla="*/ 5084756 h 5392467"/>
              <a:gd name="connsiteX229" fmla="*/ 1814721 w 6096001"/>
              <a:gd name="connsiteY229" fmla="*/ 5079526 h 5392467"/>
              <a:gd name="connsiteX230" fmla="*/ 1822965 w 6096001"/>
              <a:gd name="connsiteY230" fmla="*/ 5075086 h 5392467"/>
              <a:gd name="connsiteX231" fmla="*/ 1846700 w 6096001"/>
              <a:gd name="connsiteY231" fmla="*/ 5060844 h 5392467"/>
              <a:gd name="connsiteX232" fmla="*/ 1849075 w 6096001"/>
              <a:gd name="connsiteY232" fmla="*/ 5061306 h 5392467"/>
              <a:gd name="connsiteX233" fmla="*/ 1857777 w 6096001"/>
              <a:gd name="connsiteY233" fmla="*/ 5055745 h 5392467"/>
              <a:gd name="connsiteX234" fmla="*/ 1867449 w 6096001"/>
              <a:gd name="connsiteY234" fmla="*/ 5051877 h 5392467"/>
              <a:gd name="connsiteX235" fmla="*/ 2871248 w 6096001"/>
              <a:gd name="connsiteY235" fmla="*/ 5044140 h 5392467"/>
              <a:gd name="connsiteX236" fmla="*/ 2853840 w 6096001"/>
              <a:gd name="connsiteY236" fmla="*/ 5071218 h 5392467"/>
              <a:gd name="connsiteX237" fmla="*/ 2877049 w 6096001"/>
              <a:gd name="connsiteY237" fmla="*/ 5059613 h 5392467"/>
              <a:gd name="connsiteX238" fmla="*/ 2875116 w 6096001"/>
              <a:gd name="connsiteY238" fmla="*/ 5046076 h 5392467"/>
              <a:gd name="connsiteX239" fmla="*/ 2871248 w 6096001"/>
              <a:gd name="connsiteY239" fmla="*/ 5044140 h 5392467"/>
              <a:gd name="connsiteX240" fmla="*/ 3325762 w 6096001"/>
              <a:gd name="connsiteY240" fmla="*/ 5042207 h 5392467"/>
              <a:gd name="connsiteX241" fmla="*/ 3310289 w 6096001"/>
              <a:gd name="connsiteY241" fmla="*/ 5061549 h 5392467"/>
              <a:gd name="connsiteX242" fmla="*/ 3310289 w 6096001"/>
              <a:gd name="connsiteY242" fmla="*/ 5065417 h 5392467"/>
              <a:gd name="connsiteX243" fmla="*/ 3302553 w 6096001"/>
              <a:gd name="connsiteY243" fmla="*/ 5084756 h 5392467"/>
              <a:gd name="connsiteX244" fmla="*/ 3300620 w 6096001"/>
              <a:gd name="connsiteY244" fmla="*/ 5096361 h 5392467"/>
              <a:gd name="connsiteX245" fmla="*/ 3304486 w 6096001"/>
              <a:gd name="connsiteY245" fmla="*/ 5096361 h 5392467"/>
              <a:gd name="connsiteX246" fmla="*/ 3314158 w 6096001"/>
              <a:gd name="connsiteY246" fmla="*/ 5084756 h 5392467"/>
              <a:gd name="connsiteX247" fmla="*/ 3308354 w 6096001"/>
              <a:gd name="connsiteY247" fmla="*/ 5088626 h 5392467"/>
              <a:gd name="connsiteX248" fmla="*/ 3316093 w 6096001"/>
              <a:gd name="connsiteY248" fmla="*/ 5082823 h 5392467"/>
              <a:gd name="connsiteX249" fmla="*/ 3333499 w 6096001"/>
              <a:gd name="connsiteY249" fmla="*/ 5057678 h 5392467"/>
              <a:gd name="connsiteX250" fmla="*/ 3335432 w 6096001"/>
              <a:gd name="connsiteY250" fmla="*/ 5044140 h 5392467"/>
              <a:gd name="connsiteX251" fmla="*/ 3325762 w 6096001"/>
              <a:gd name="connsiteY251" fmla="*/ 5042207 h 5392467"/>
              <a:gd name="connsiteX252" fmla="*/ 2886721 w 6096001"/>
              <a:gd name="connsiteY252" fmla="*/ 5034471 h 5392467"/>
              <a:gd name="connsiteX253" fmla="*/ 2882853 w 6096001"/>
              <a:gd name="connsiteY253" fmla="*/ 5042207 h 5392467"/>
              <a:gd name="connsiteX254" fmla="*/ 2884788 w 6096001"/>
              <a:gd name="connsiteY254" fmla="*/ 5044140 h 5392467"/>
              <a:gd name="connsiteX255" fmla="*/ 2890589 w 6096001"/>
              <a:gd name="connsiteY255" fmla="*/ 5040272 h 5392467"/>
              <a:gd name="connsiteX256" fmla="*/ 2886721 w 6096001"/>
              <a:gd name="connsiteY256" fmla="*/ 5034471 h 5392467"/>
              <a:gd name="connsiteX257" fmla="*/ 3817024 w 6096001"/>
              <a:gd name="connsiteY257" fmla="*/ 5005460 h 5392467"/>
              <a:gd name="connsiteX258" fmla="*/ 3737726 w 6096001"/>
              <a:gd name="connsiteY258" fmla="*/ 5048009 h 5392467"/>
              <a:gd name="connsiteX259" fmla="*/ 3817024 w 6096001"/>
              <a:gd name="connsiteY259" fmla="*/ 5005460 h 5392467"/>
              <a:gd name="connsiteX260" fmla="*/ 2993097 w 6096001"/>
              <a:gd name="connsiteY260" fmla="*/ 4991920 h 5392467"/>
              <a:gd name="connsiteX261" fmla="*/ 2987293 w 6096001"/>
              <a:gd name="connsiteY261" fmla="*/ 4993853 h 5392467"/>
              <a:gd name="connsiteX262" fmla="*/ 2987293 w 6096001"/>
              <a:gd name="connsiteY262" fmla="*/ 4995788 h 5392467"/>
              <a:gd name="connsiteX263" fmla="*/ 2993097 w 6096001"/>
              <a:gd name="connsiteY263" fmla="*/ 4993853 h 5392467"/>
              <a:gd name="connsiteX264" fmla="*/ 2993097 w 6096001"/>
              <a:gd name="connsiteY264" fmla="*/ 4991920 h 5392467"/>
              <a:gd name="connsiteX265" fmla="*/ 2991162 w 6096001"/>
              <a:gd name="connsiteY265" fmla="*/ 4962909 h 5392467"/>
              <a:gd name="connsiteX266" fmla="*/ 2991162 w 6096001"/>
              <a:gd name="connsiteY266" fmla="*/ 4966778 h 5392467"/>
              <a:gd name="connsiteX267" fmla="*/ 2995030 w 6096001"/>
              <a:gd name="connsiteY267" fmla="*/ 4964842 h 5392467"/>
              <a:gd name="connsiteX268" fmla="*/ 2991162 w 6096001"/>
              <a:gd name="connsiteY268" fmla="*/ 4962909 h 5392467"/>
              <a:gd name="connsiteX269" fmla="*/ 3155561 w 6096001"/>
              <a:gd name="connsiteY269" fmla="*/ 4947436 h 5392467"/>
              <a:gd name="connsiteX270" fmla="*/ 3153626 w 6096001"/>
              <a:gd name="connsiteY270" fmla="*/ 4949369 h 5392467"/>
              <a:gd name="connsiteX271" fmla="*/ 3157494 w 6096001"/>
              <a:gd name="connsiteY271" fmla="*/ 4947436 h 5392467"/>
              <a:gd name="connsiteX272" fmla="*/ 3155561 w 6096001"/>
              <a:gd name="connsiteY272" fmla="*/ 4947436 h 5392467"/>
              <a:gd name="connsiteX273" fmla="*/ 3083492 w 6096001"/>
              <a:gd name="connsiteY273" fmla="*/ 4945704 h 5392467"/>
              <a:gd name="connsiteX274" fmla="*/ 3070460 w 6096001"/>
              <a:gd name="connsiteY274" fmla="*/ 4957106 h 5392467"/>
              <a:gd name="connsiteX275" fmla="*/ 3068527 w 6096001"/>
              <a:gd name="connsiteY275" fmla="*/ 4959041 h 5392467"/>
              <a:gd name="connsiteX276" fmla="*/ 3072395 w 6096001"/>
              <a:gd name="connsiteY276" fmla="*/ 4951302 h 5392467"/>
              <a:gd name="connsiteX277" fmla="*/ 3074328 w 6096001"/>
              <a:gd name="connsiteY277" fmla="*/ 4949369 h 5392467"/>
              <a:gd name="connsiteX278" fmla="*/ 3085930 w 6096001"/>
              <a:gd name="connsiteY278" fmla="*/ 4943571 h 5392467"/>
              <a:gd name="connsiteX279" fmla="*/ 3084000 w 6096001"/>
              <a:gd name="connsiteY279" fmla="*/ 4945501 h 5392467"/>
              <a:gd name="connsiteX280" fmla="*/ 3083492 w 6096001"/>
              <a:gd name="connsiteY280" fmla="*/ 4945704 h 5392467"/>
              <a:gd name="connsiteX281" fmla="*/ 3085933 w 6096001"/>
              <a:gd name="connsiteY281" fmla="*/ 4943567 h 5392467"/>
              <a:gd name="connsiteX282" fmla="*/ 3085933 w 6096001"/>
              <a:gd name="connsiteY282" fmla="*/ 4943568 h 5392467"/>
              <a:gd name="connsiteX283" fmla="*/ 3085930 w 6096001"/>
              <a:gd name="connsiteY283" fmla="*/ 4943571 h 5392467"/>
              <a:gd name="connsiteX284" fmla="*/ 3242596 w 6096001"/>
              <a:gd name="connsiteY284" fmla="*/ 4931963 h 5392467"/>
              <a:gd name="connsiteX285" fmla="*/ 3238728 w 6096001"/>
              <a:gd name="connsiteY285" fmla="*/ 4933896 h 5392467"/>
              <a:gd name="connsiteX286" fmla="*/ 3229058 w 6096001"/>
              <a:gd name="connsiteY286" fmla="*/ 4937764 h 5392467"/>
              <a:gd name="connsiteX287" fmla="*/ 3229058 w 6096001"/>
              <a:gd name="connsiteY287" fmla="*/ 4941633 h 5392467"/>
              <a:gd name="connsiteX288" fmla="*/ 3232927 w 6096001"/>
              <a:gd name="connsiteY288" fmla="*/ 4945501 h 5392467"/>
              <a:gd name="connsiteX289" fmla="*/ 3238728 w 6096001"/>
              <a:gd name="connsiteY289" fmla="*/ 4943568 h 5392467"/>
              <a:gd name="connsiteX290" fmla="*/ 3236792 w 6096001"/>
              <a:gd name="connsiteY290" fmla="*/ 4947436 h 5392467"/>
              <a:gd name="connsiteX291" fmla="*/ 3254201 w 6096001"/>
              <a:gd name="connsiteY291" fmla="*/ 4939700 h 5392467"/>
              <a:gd name="connsiteX292" fmla="*/ 3242596 w 6096001"/>
              <a:gd name="connsiteY292" fmla="*/ 4931963 h 5392467"/>
              <a:gd name="connsiteX293" fmla="*/ 3151693 w 6096001"/>
              <a:gd name="connsiteY293" fmla="*/ 4922291 h 5392467"/>
              <a:gd name="connsiteX294" fmla="*/ 3145892 w 6096001"/>
              <a:gd name="connsiteY294" fmla="*/ 4926160 h 5392467"/>
              <a:gd name="connsiteX295" fmla="*/ 3147825 w 6096001"/>
              <a:gd name="connsiteY295" fmla="*/ 4928095 h 5392467"/>
              <a:gd name="connsiteX296" fmla="*/ 3149758 w 6096001"/>
              <a:gd name="connsiteY296" fmla="*/ 4926160 h 5392467"/>
              <a:gd name="connsiteX297" fmla="*/ 3151693 w 6096001"/>
              <a:gd name="connsiteY297" fmla="*/ 4922291 h 5392467"/>
              <a:gd name="connsiteX298" fmla="*/ 1720458 w 6096001"/>
              <a:gd name="connsiteY298" fmla="*/ 4875875 h 5392467"/>
              <a:gd name="connsiteX299" fmla="*/ 1714654 w 6096001"/>
              <a:gd name="connsiteY299" fmla="*/ 4879743 h 5392467"/>
              <a:gd name="connsiteX300" fmla="*/ 1716590 w 6096001"/>
              <a:gd name="connsiteY300" fmla="*/ 4881676 h 5392467"/>
              <a:gd name="connsiteX301" fmla="*/ 1722391 w 6096001"/>
              <a:gd name="connsiteY301" fmla="*/ 4877808 h 5392467"/>
              <a:gd name="connsiteX302" fmla="*/ 1720458 w 6096001"/>
              <a:gd name="connsiteY302" fmla="*/ 4875875 h 5392467"/>
              <a:gd name="connsiteX303" fmla="*/ 1142160 w 6096001"/>
              <a:gd name="connsiteY303" fmla="*/ 4850730 h 5392467"/>
              <a:gd name="connsiteX304" fmla="*/ 1134426 w 6096001"/>
              <a:gd name="connsiteY304" fmla="*/ 4860402 h 5392467"/>
              <a:gd name="connsiteX305" fmla="*/ 1138291 w 6096001"/>
              <a:gd name="connsiteY305" fmla="*/ 4858466 h 5392467"/>
              <a:gd name="connsiteX306" fmla="*/ 1142160 w 6096001"/>
              <a:gd name="connsiteY306" fmla="*/ 4852665 h 5392467"/>
              <a:gd name="connsiteX307" fmla="*/ 1142160 w 6096001"/>
              <a:gd name="connsiteY307" fmla="*/ 4850730 h 5392467"/>
              <a:gd name="connsiteX308" fmla="*/ 1417287 w 6096001"/>
              <a:gd name="connsiteY308" fmla="*/ 4781345 h 5392467"/>
              <a:gd name="connsiteX309" fmla="*/ 1409067 w 6096001"/>
              <a:gd name="connsiteY309" fmla="*/ 4786905 h 5392467"/>
              <a:gd name="connsiteX310" fmla="*/ 1405199 w 6096001"/>
              <a:gd name="connsiteY310" fmla="*/ 4798510 h 5392467"/>
              <a:gd name="connsiteX311" fmla="*/ 1428408 w 6096001"/>
              <a:gd name="connsiteY311" fmla="*/ 4783037 h 5392467"/>
              <a:gd name="connsiteX312" fmla="*/ 1417287 w 6096001"/>
              <a:gd name="connsiteY312" fmla="*/ 4781345 h 5392467"/>
              <a:gd name="connsiteX313" fmla="*/ 1449682 w 6096001"/>
              <a:gd name="connsiteY313" fmla="*/ 4765631 h 5392467"/>
              <a:gd name="connsiteX314" fmla="*/ 1438078 w 6096001"/>
              <a:gd name="connsiteY314" fmla="*/ 4771432 h 5392467"/>
              <a:gd name="connsiteX315" fmla="*/ 1440013 w 6096001"/>
              <a:gd name="connsiteY315" fmla="*/ 4773367 h 5392467"/>
              <a:gd name="connsiteX316" fmla="*/ 1445814 w 6096001"/>
              <a:gd name="connsiteY316" fmla="*/ 4769499 h 5392467"/>
              <a:gd name="connsiteX317" fmla="*/ 1449682 w 6096001"/>
              <a:gd name="connsiteY317" fmla="*/ 4765631 h 5392467"/>
              <a:gd name="connsiteX318" fmla="*/ 1507706 w 6096001"/>
              <a:gd name="connsiteY318" fmla="*/ 4734685 h 5392467"/>
              <a:gd name="connsiteX319" fmla="*/ 1480628 w 6096001"/>
              <a:gd name="connsiteY319" fmla="*/ 4746289 h 5392467"/>
              <a:gd name="connsiteX320" fmla="*/ 1482564 w 6096001"/>
              <a:gd name="connsiteY320" fmla="*/ 4746289 h 5392467"/>
              <a:gd name="connsiteX321" fmla="*/ 1470957 w 6096001"/>
              <a:gd name="connsiteY321" fmla="*/ 4752091 h 5392467"/>
              <a:gd name="connsiteX322" fmla="*/ 1467088 w 6096001"/>
              <a:gd name="connsiteY322" fmla="*/ 4754026 h 5392467"/>
              <a:gd name="connsiteX323" fmla="*/ 1461287 w 6096001"/>
              <a:gd name="connsiteY323" fmla="*/ 4765631 h 5392467"/>
              <a:gd name="connsiteX324" fmla="*/ 1441946 w 6096001"/>
              <a:gd name="connsiteY324" fmla="*/ 4779168 h 5392467"/>
              <a:gd name="connsiteX325" fmla="*/ 1378121 w 6096001"/>
              <a:gd name="connsiteY325" fmla="*/ 4825587 h 5392467"/>
              <a:gd name="connsiteX326" fmla="*/ 1397462 w 6096001"/>
              <a:gd name="connsiteY326" fmla="*/ 4817851 h 5392467"/>
              <a:gd name="connsiteX327" fmla="*/ 1432276 w 6096001"/>
              <a:gd name="connsiteY327" fmla="*/ 4796574 h 5392467"/>
              <a:gd name="connsiteX328" fmla="*/ 1436145 w 6096001"/>
              <a:gd name="connsiteY328" fmla="*/ 4794641 h 5392467"/>
              <a:gd name="connsiteX329" fmla="*/ 1449682 w 6096001"/>
              <a:gd name="connsiteY329" fmla="*/ 4783037 h 5392467"/>
              <a:gd name="connsiteX330" fmla="*/ 1499970 w 6096001"/>
              <a:gd name="connsiteY330" fmla="*/ 4746289 h 5392467"/>
              <a:gd name="connsiteX331" fmla="*/ 1511574 w 6096001"/>
              <a:gd name="connsiteY331" fmla="*/ 4734685 h 5392467"/>
              <a:gd name="connsiteX332" fmla="*/ 1507706 w 6096001"/>
              <a:gd name="connsiteY332" fmla="*/ 4734685 h 5392467"/>
              <a:gd name="connsiteX333" fmla="*/ 1681775 w 6096001"/>
              <a:gd name="connsiteY333" fmla="*/ 4725015 h 5392467"/>
              <a:gd name="connsiteX334" fmla="*/ 1683708 w 6096001"/>
              <a:gd name="connsiteY334" fmla="*/ 4732749 h 5392467"/>
              <a:gd name="connsiteX335" fmla="*/ 1683708 w 6096001"/>
              <a:gd name="connsiteY335" fmla="*/ 4725015 h 5392467"/>
              <a:gd name="connsiteX336" fmla="*/ 1681775 w 6096001"/>
              <a:gd name="connsiteY336" fmla="*/ 4725015 h 5392467"/>
              <a:gd name="connsiteX337" fmla="*/ 1573464 w 6096001"/>
              <a:gd name="connsiteY337" fmla="*/ 4707607 h 5392467"/>
              <a:gd name="connsiteX338" fmla="*/ 1565730 w 6096001"/>
              <a:gd name="connsiteY338" fmla="*/ 4709540 h 5392467"/>
              <a:gd name="connsiteX339" fmla="*/ 1563795 w 6096001"/>
              <a:gd name="connsiteY339" fmla="*/ 4711475 h 5392467"/>
              <a:gd name="connsiteX340" fmla="*/ 1559926 w 6096001"/>
              <a:gd name="connsiteY340" fmla="*/ 4715343 h 5392467"/>
              <a:gd name="connsiteX341" fmla="*/ 1561862 w 6096001"/>
              <a:gd name="connsiteY341" fmla="*/ 4719212 h 5392467"/>
              <a:gd name="connsiteX342" fmla="*/ 1573464 w 6096001"/>
              <a:gd name="connsiteY342" fmla="*/ 4707607 h 5392467"/>
              <a:gd name="connsiteX343" fmla="*/ 1120886 w 6096001"/>
              <a:gd name="connsiteY343" fmla="*/ 4597363 h 5392467"/>
              <a:gd name="connsiteX344" fmla="*/ 1120886 w 6096001"/>
              <a:gd name="connsiteY344" fmla="*/ 4605099 h 5392467"/>
              <a:gd name="connsiteX345" fmla="*/ 1126687 w 6096001"/>
              <a:gd name="connsiteY345" fmla="*/ 4610903 h 5392467"/>
              <a:gd name="connsiteX346" fmla="*/ 1132490 w 6096001"/>
              <a:gd name="connsiteY346" fmla="*/ 4605099 h 5392467"/>
              <a:gd name="connsiteX347" fmla="*/ 1120886 w 6096001"/>
              <a:gd name="connsiteY347" fmla="*/ 4597363 h 5392467"/>
              <a:gd name="connsiteX348" fmla="*/ 1411002 w 6096001"/>
              <a:gd name="connsiteY348" fmla="*/ 4523868 h 5392467"/>
              <a:gd name="connsiteX349" fmla="*/ 1407132 w 6096001"/>
              <a:gd name="connsiteY349" fmla="*/ 4529669 h 5392467"/>
              <a:gd name="connsiteX350" fmla="*/ 1411002 w 6096001"/>
              <a:gd name="connsiteY350" fmla="*/ 4525801 h 5392467"/>
              <a:gd name="connsiteX351" fmla="*/ 1411002 w 6096001"/>
              <a:gd name="connsiteY351" fmla="*/ 4523868 h 5392467"/>
              <a:gd name="connsiteX352" fmla="*/ 1190514 w 6096001"/>
              <a:gd name="connsiteY352" fmla="*/ 4519997 h 5392467"/>
              <a:gd name="connsiteX353" fmla="*/ 1182778 w 6096001"/>
              <a:gd name="connsiteY353" fmla="*/ 4523868 h 5392467"/>
              <a:gd name="connsiteX354" fmla="*/ 1180842 w 6096001"/>
              <a:gd name="connsiteY354" fmla="*/ 4527736 h 5392467"/>
              <a:gd name="connsiteX355" fmla="*/ 1190514 w 6096001"/>
              <a:gd name="connsiteY355" fmla="*/ 4519997 h 5392467"/>
              <a:gd name="connsiteX356" fmla="*/ 1385857 w 6096001"/>
              <a:gd name="connsiteY356" fmla="*/ 4500659 h 5392467"/>
              <a:gd name="connsiteX357" fmla="*/ 1385857 w 6096001"/>
              <a:gd name="connsiteY357" fmla="*/ 4504527 h 5392467"/>
              <a:gd name="connsiteX358" fmla="*/ 1389726 w 6096001"/>
              <a:gd name="connsiteY358" fmla="*/ 4502592 h 5392467"/>
              <a:gd name="connsiteX359" fmla="*/ 1387793 w 6096001"/>
              <a:gd name="connsiteY359" fmla="*/ 4500659 h 5392467"/>
              <a:gd name="connsiteX360" fmla="*/ 1385857 w 6096001"/>
              <a:gd name="connsiteY360" fmla="*/ 4500659 h 5392467"/>
              <a:gd name="connsiteX361" fmla="*/ 1407132 w 6096001"/>
              <a:gd name="connsiteY361" fmla="*/ 4477449 h 5392467"/>
              <a:gd name="connsiteX362" fmla="*/ 1401330 w 6096001"/>
              <a:gd name="connsiteY362" fmla="*/ 4481317 h 5392467"/>
              <a:gd name="connsiteX363" fmla="*/ 1397462 w 6096001"/>
              <a:gd name="connsiteY363" fmla="*/ 4485186 h 5392467"/>
              <a:gd name="connsiteX364" fmla="*/ 1405199 w 6096001"/>
              <a:gd name="connsiteY364" fmla="*/ 4485186 h 5392467"/>
              <a:gd name="connsiteX365" fmla="*/ 1407132 w 6096001"/>
              <a:gd name="connsiteY365" fmla="*/ 4477449 h 5392467"/>
              <a:gd name="connsiteX366" fmla="*/ 1411002 w 6096001"/>
              <a:gd name="connsiteY366" fmla="*/ 4450371 h 5392467"/>
              <a:gd name="connsiteX367" fmla="*/ 1345242 w 6096001"/>
              <a:gd name="connsiteY367" fmla="*/ 4500659 h 5392467"/>
              <a:gd name="connsiteX368" fmla="*/ 1351043 w 6096001"/>
              <a:gd name="connsiteY368" fmla="*/ 4506460 h 5392467"/>
              <a:gd name="connsiteX369" fmla="*/ 1351043 w 6096001"/>
              <a:gd name="connsiteY369" fmla="*/ 4510328 h 5392467"/>
              <a:gd name="connsiteX370" fmla="*/ 1352978 w 6096001"/>
              <a:gd name="connsiteY370" fmla="*/ 4510328 h 5392467"/>
              <a:gd name="connsiteX371" fmla="*/ 1368451 w 6096001"/>
              <a:gd name="connsiteY371" fmla="*/ 4500659 h 5392467"/>
              <a:gd name="connsiteX372" fmla="*/ 1381989 w 6096001"/>
              <a:gd name="connsiteY372" fmla="*/ 4494855 h 5392467"/>
              <a:gd name="connsiteX373" fmla="*/ 1391661 w 6096001"/>
              <a:gd name="connsiteY373" fmla="*/ 4481317 h 5392467"/>
              <a:gd name="connsiteX374" fmla="*/ 1395529 w 6096001"/>
              <a:gd name="connsiteY374" fmla="*/ 4477449 h 5392467"/>
              <a:gd name="connsiteX375" fmla="*/ 1399395 w 6096001"/>
              <a:gd name="connsiteY375" fmla="*/ 4469713 h 5392467"/>
              <a:gd name="connsiteX376" fmla="*/ 1401330 w 6096001"/>
              <a:gd name="connsiteY376" fmla="*/ 4471645 h 5392467"/>
              <a:gd name="connsiteX377" fmla="*/ 1403263 w 6096001"/>
              <a:gd name="connsiteY377" fmla="*/ 4461976 h 5392467"/>
              <a:gd name="connsiteX378" fmla="*/ 1411002 w 6096001"/>
              <a:gd name="connsiteY378" fmla="*/ 4450371 h 5392467"/>
              <a:gd name="connsiteX379" fmla="*/ 1499970 w 6096001"/>
              <a:gd name="connsiteY379" fmla="*/ 4394283 h 5392467"/>
              <a:gd name="connsiteX380" fmla="*/ 1484497 w 6096001"/>
              <a:gd name="connsiteY380" fmla="*/ 4411689 h 5392467"/>
              <a:gd name="connsiteX381" fmla="*/ 1499970 w 6096001"/>
              <a:gd name="connsiteY381" fmla="*/ 4394283 h 5392467"/>
              <a:gd name="connsiteX382" fmla="*/ 1471440 w 6096001"/>
              <a:gd name="connsiteY382" fmla="*/ 4375907 h 5392467"/>
              <a:gd name="connsiteX383" fmla="*/ 1469024 w 6096001"/>
              <a:gd name="connsiteY383" fmla="*/ 4380743 h 5392467"/>
              <a:gd name="connsiteX384" fmla="*/ 1476760 w 6096001"/>
              <a:gd name="connsiteY384" fmla="*/ 4376874 h 5392467"/>
              <a:gd name="connsiteX385" fmla="*/ 1471440 w 6096001"/>
              <a:gd name="connsiteY385" fmla="*/ 4375907 h 5392467"/>
              <a:gd name="connsiteX386" fmla="*/ 1528980 w 6096001"/>
              <a:gd name="connsiteY386" fmla="*/ 4342062 h 5392467"/>
              <a:gd name="connsiteX387" fmla="*/ 1513507 w 6096001"/>
              <a:gd name="connsiteY387" fmla="*/ 4351732 h 5392467"/>
              <a:gd name="connsiteX388" fmla="*/ 1523179 w 6096001"/>
              <a:gd name="connsiteY388" fmla="*/ 4345928 h 5392467"/>
              <a:gd name="connsiteX389" fmla="*/ 1528980 w 6096001"/>
              <a:gd name="connsiteY389" fmla="*/ 4342062 h 5392467"/>
              <a:gd name="connsiteX390" fmla="*/ 1917736 w 6096001"/>
              <a:gd name="connsiteY390" fmla="*/ 4291775 h 5392467"/>
              <a:gd name="connsiteX391" fmla="*/ 1919669 w 6096001"/>
              <a:gd name="connsiteY391" fmla="*/ 4293708 h 5392467"/>
              <a:gd name="connsiteX392" fmla="*/ 1921602 w 6096001"/>
              <a:gd name="connsiteY392" fmla="*/ 4291775 h 5392467"/>
              <a:gd name="connsiteX393" fmla="*/ 1917736 w 6096001"/>
              <a:gd name="connsiteY393" fmla="*/ 4291775 h 5392467"/>
              <a:gd name="connsiteX394" fmla="*/ 1944812 w 6096001"/>
              <a:gd name="connsiteY394" fmla="*/ 4282103 h 5392467"/>
              <a:gd name="connsiteX395" fmla="*/ 1942879 w 6096001"/>
              <a:gd name="connsiteY395" fmla="*/ 4287907 h 5392467"/>
              <a:gd name="connsiteX396" fmla="*/ 1946747 w 6096001"/>
              <a:gd name="connsiteY396" fmla="*/ 4282103 h 5392467"/>
              <a:gd name="connsiteX397" fmla="*/ 1944812 w 6096001"/>
              <a:gd name="connsiteY397" fmla="*/ 4282103 h 5392467"/>
              <a:gd name="connsiteX398" fmla="*/ 4849836 w 6096001"/>
              <a:gd name="connsiteY398" fmla="*/ 4179598 h 5392467"/>
              <a:gd name="connsiteX399" fmla="*/ 4836296 w 6096001"/>
              <a:gd name="connsiteY399" fmla="*/ 4181531 h 5392467"/>
              <a:gd name="connsiteX400" fmla="*/ 4844032 w 6096001"/>
              <a:gd name="connsiteY400" fmla="*/ 4183464 h 5392467"/>
              <a:gd name="connsiteX401" fmla="*/ 4844032 w 6096001"/>
              <a:gd name="connsiteY401" fmla="*/ 4185399 h 5392467"/>
              <a:gd name="connsiteX402" fmla="*/ 4855637 w 6096001"/>
              <a:gd name="connsiteY402" fmla="*/ 4181531 h 5392467"/>
              <a:gd name="connsiteX403" fmla="*/ 4849836 w 6096001"/>
              <a:gd name="connsiteY403" fmla="*/ 4179598 h 5392467"/>
              <a:gd name="connsiteX404" fmla="*/ 4874978 w 6096001"/>
              <a:gd name="connsiteY404" fmla="*/ 4148652 h 5392467"/>
              <a:gd name="connsiteX405" fmla="*/ 4857572 w 6096001"/>
              <a:gd name="connsiteY405" fmla="*/ 4156388 h 5392467"/>
              <a:gd name="connsiteX406" fmla="*/ 4855637 w 6096001"/>
              <a:gd name="connsiteY406" fmla="*/ 4158321 h 5392467"/>
              <a:gd name="connsiteX407" fmla="*/ 4855637 w 6096001"/>
              <a:gd name="connsiteY407" fmla="*/ 4169926 h 5392467"/>
              <a:gd name="connsiteX408" fmla="*/ 4865306 w 6096001"/>
              <a:gd name="connsiteY408" fmla="*/ 4164123 h 5392467"/>
              <a:gd name="connsiteX409" fmla="*/ 4873045 w 6096001"/>
              <a:gd name="connsiteY409" fmla="*/ 4156388 h 5392467"/>
              <a:gd name="connsiteX410" fmla="*/ 4876913 w 6096001"/>
              <a:gd name="connsiteY410" fmla="*/ 4156388 h 5392467"/>
              <a:gd name="connsiteX411" fmla="*/ 4878846 w 6096001"/>
              <a:gd name="connsiteY411" fmla="*/ 4154453 h 5392467"/>
              <a:gd name="connsiteX412" fmla="*/ 4871110 w 6096001"/>
              <a:gd name="connsiteY412" fmla="*/ 4152518 h 5392467"/>
              <a:gd name="connsiteX413" fmla="*/ 4878846 w 6096001"/>
              <a:gd name="connsiteY413" fmla="*/ 4148652 h 5392467"/>
              <a:gd name="connsiteX414" fmla="*/ 4874978 w 6096001"/>
              <a:gd name="connsiteY414" fmla="*/ 4148652 h 5392467"/>
              <a:gd name="connsiteX415" fmla="*/ 5246050 w 6096001"/>
              <a:gd name="connsiteY415" fmla="*/ 4117154 h 5392467"/>
              <a:gd name="connsiteX416" fmla="*/ 5248259 w 6096001"/>
              <a:gd name="connsiteY416" fmla="*/ 4121574 h 5392467"/>
              <a:gd name="connsiteX417" fmla="*/ 5242458 w 6096001"/>
              <a:gd name="connsiteY417" fmla="*/ 4119639 h 5392467"/>
              <a:gd name="connsiteX418" fmla="*/ 5242458 w 6096001"/>
              <a:gd name="connsiteY418" fmla="*/ 4118672 h 5392467"/>
              <a:gd name="connsiteX419" fmla="*/ 5244393 w 6096001"/>
              <a:gd name="connsiteY419" fmla="*/ 4117706 h 5392467"/>
              <a:gd name="connsiteX420" fmla="*/ 5273404 w 6096001"/>
              <a:gd name="connsiteY420" fmla="*/ 4113838 h 5392467"/>
              <a:gd name="connsiteX421" fmla="*/ 5269535 w 6096001"/>
              <a:gd name="connsiteY421" fmla="*/ 4115770 h 5392467"/>
              <a:gd name="connsiteX422" fmla="*/ 5275337 w 6096001"/>
              <a:gd name="connsiteY422" fmla="*/ 4113838 h 5392467"/>
              <a:gd name="connsiteX423" fmla="*/ 5273404 w 6096001"/>
              <a:gd name="connsiteY423" fmla="*/ 4113838 h 5392467"/>
              <a:gd name="connsiteX424" fmla="*/ 5310151 w 6096001"/>
              <a:gd name="connsiteY424" fmla="*/ 4090628 h 5392467"/>
              <a:gd name="connsiteX425" fmla="*/ 5296611 w 6096001"/>
              <a:gd name="connsiteY425" fmla="*/ 4096429 h 5392467"/>
              <a:gd name="connsiteX426" fmla="*/ 5310151 w 6096001"/>
              <a:gd name="connsiteY426" fmla="*/ 4090628 h 5392467"/>
              <a:gd name="connsiteX427" fmla="*/ 5343030 w 6096001"/>
              <a:gd name="connsiteY427" fmla="*/ 4080959 h 5392467"/>
              <a:gd name="connsiteX428" fmla="*/ 5331427 w 6096001"/>
              <a:gd name="connsiteY428" fmla="*/ 4084824 h 5392467"/>
              <a:gd name="connsiteX429" fmla="*/ 5331427 w 6096001"/>
              <a:gd name="connsiteY429" fmla="*/ 4086760 h 5392467"/>
              <a:gd name="connsiteX430" fmla="*/ 5329492 w 6096001"/>
              <a:gd name="connsiteY430" fmla="*/ 4090628 h 5392467"/>
              <a:gd name="connsiteX431" fmla="*/ 5348833 w 6096001"/>
              <a:gd name="connsiteY431" fmla="*/ 4084824 h 5392467"/>
              <a:gd name="connsiteX432" fmla="*/ 5348833 w 6096001"/>
              <a:gd name="connsiteY432" fmla="*/ 4082891 h 5392467"/>
              <a:gd name="connsiteX433" fmla="*/ 5346898 w 6096001"/>
              <a:gd name="connsiteY433" fmla="*/ 4082891 h 5392467"/>
              <a:gd name="connsiteX434" fmla="*/ 5344965 w 6096001"/>
              <a:gd name="connsiteY434" fmla="*/ 4080959 h 5392467"/>
              <a:gd name="connsiteX435" fmla="*/ 5343030 w 6096001"/>
              <a:gd name="connsiteY435" fmla="*/ 4080959 h 5392467"/>
              <a:gd name="connsiteX436" fmla="*/ 5174764 w 6096001"/>
              <a:gd name="connsiteY436" fmla="*/ 4079023 h 5392467"/>
              <a:gd name="connsiteX437" fmla="*/ 5145751 w 6096001"/>
              <a:gd name="connsiteY437" fmla="*/ 4082891 h 5392467"/>
              <a:gd name="connsiteX438" fmla="*/ 5091598 w 6096001"/>
              <a:gd name="connsiteY438" fmla="*/ 4092561 h 5392467"/>
              <a:gd name="connsiteX439" fmla="*/ 5087730 w 6096001"/>
              <a:gd name="connsiteY439" fmla="*/ 4090628 h 5392467"/>
              <a:gd name="connsiteX440" fmla="*/ 5091598 w 6096001"/>
              <a:gd name="connsiteY440" fmla="*/ 4088693 h 5392467"/>
              <a:gd name="connsiteX441" fmla="*/ 5091598 w 6096001"/>
              <a:gd name="connsiteY441" fmla="*/ 4086760 h 5392467"/>
              <a:gd name="connsiteX442" fmla="*/ 5049047 w 6096001"/>
              <a:gd name="connsiteY442" fmla="*/ 4094496 h 5392467"/>
              <a:gd name="connsiteX443" fmla="*/ 5050983 w 6096001"/>
              <a:gd name="connsiteY443" fmla="*/ 4100297 h 5392467"/>
              <a:gd name="connsiteX444" fmla="*/ 5031641 w 6096001"/>
              <a:gd name="connsiteY444" fmla="*/ 4104166 h 5392467"/>
              <a:gd name="connsiteX445" fmla="*/ 5012300 w 6096001"/>
              <a:gd name="connsiteY445" fmla="*/ 4108034 h 5392467"/>
              <a:gd name="connsiteX446" fmla="*/ 4991023 w 6096001"/>
              <a:gd name="connsiteY446" fmla="*/ 4111902 h 5392467"/>
              <a:gd name="connsiteX447" fmla="*/ 4971682 w 6096001"/>
              <a:gd name="connsiteY447" fmla="*/ 4115770 h 5392467"/>
              <a:gd name="connsiteX448" fmla="*/ 4952341 w 6096001"/>
              <a:gd name="connsiteY448" fmla="*/ 4119639 h 5392467"/>
              <a:gd name="connsiteX449" fmla="*/ 4933000 w 6096001"/>
              <a:gd name="connsiteY449" fmla="*/ 4127375 h 5392467"/>
              <a:gd name="connsiteX450" fmla="*/ 4938803 w 6096001"/>
              <a:gd name="connsiteY450" fmla="*/ 4127375 h 5392467"/>
              <a:gd name="connsiteX451" fmla="*/ 5025838 w 6096001"/>
              <a:gd name="connsiteY451" fmla="*/ 4109969 h 5392467"/>
              <a:gd name="connsiteX452" fmla="*/ 5054848 w 6096001"/>
              <a:gd name="connsiteY452" fmla="*/ 4104166 h 5392467"/>
              <a:gd name="connsiteX453" fmla="*/ 5062585 w 6096001"/>
              <a:gd name="connsiteY453" fmla="*/ 4106101 h 5392467"/>
              <a:gd name="connsiteX454" fmla="*/ 5054848 w 6096001"/>
              <a:gd name="connsiteY454" fmla="*/ 4109969 h 5392467"/>
              <a:gd name="connsiteX455" fmla="*/ 5021969 w 6096001"/>
              <a:gd name="connsiteY455" fmla="*/ 4117706 h 5392467"/>
              <a:gd name="connsiteX456" fmla="*/ 4987155 w 6096001"/>
              <a:gd name="connsiteY456" fmla="*/ 4123507 h 5392467"/>
              <a:gd name="connsiteX457" fmla="*/ 4919462 w 6096001"/>
              <a:gd name="connsiteY457" fmla="*/ 4137047 h 5392467"/>
              <a:gd name="connsiteX458" fmla="*/ 4892384 w 6096001"/>
              <a:gd name="connsiteY458" fmla="*/ 4142848 h 5392467"/>
              <a:gd name="connsiteX459" fmla="*/ 4892384 w 6096001"/>
              <a:gd name="connsiteY459" fmla="*/ 4144784 h 5392467"/>
              <a:gd name="connsiteX460" fmla="*/ 4890451 w 6096001"/>
              <a:gd name="connsiteY460" fmla="*/ 4148652 h 5392467"/>
              <a:gd name="connsiteX461" fmla="*/ 4890451 w 6096001"/>
              <a:gd name="connsiteY461" fmla="*/ 4150585 h 5392467"/>
              <a:gd name="connsiteX462" fmla="*/ 4902056 w 6096001"/>
              <a:gd name="connsiteY462" fmla="*/ 4150585 h 5392467"/>
              <a:gd name="connsiteX463" fmla="*/ 4902056 w 6096001"/>
              <a:gd name="connsiteY463" fmla="*/ 4152518 h 5392467"/>
              <a:gd name="connsiteX464" fmla="*/ 4878846 w 6096001"/>
              <a:gd name="connsiteY464" fmla="*/ 4160257 h 5392467"/>
              <a:gd name="connsiteX465" fmla="*/ 4921397 w 6096001"/>
              <a:gd name="connsiteY465" fmla="*/ 4152518 h 5392467"/>
              <a:gd name="connsiteX466" fmla="*/ 4942671 w 6096001"/>
              <a:gd name="connsiteY466" fmla="*/ 4148652 h 5392467"/>
              <a:gd name="connsiteX467" fmla="*/ 4944607 w 6096001"/>
              <a:gd name="connsiteY467" fmla="*/ 4148652 h 5392467"/>
              <a:gd name="connsiteX468" fmla="*/ 5004564 w 6096001"/>
              <a:gd name="connsiteY468" fmla="*/ 4129311 h 5392467"/>
              <a:gd name="connsiteX469" fmla="*/ 5020037 w 6096001"/>
              <a:gd name="connsiteY469" fmla="*/ 4127375 h 5392467"/>
              <a:gd name="connsiteX470" fmla="*/ 5018101 w 6096001"/>
              <a:gd name="connsiteY470" fmla="*/ 4133179 h 5392467"/>
              <a:gd name="connsiteX471" fmla="*/ 5023905 w 6096001"/>
              <a:gd name="connsiteY471" fmla="*/ 4133179 h 5392467"/>
              <a:gd name="connsiteX472" fmla="*/ 5037442 w 6096001"/>
              <a:gd name="connsiteY472" fmla="*/ 4131244 h 5392467"/>
              <a:gd name="connsiteX473" fmla="*/ 5043244 w 6096001"/>
              <a:gd name="connsiteY473" fmla="*/ 4127375 h 5392467"/>
              <a:gd name="connsiteX474" fmla="*/ 5039375 w 6096001"/>
              <a:gd name="connsiteY474" fmla="*/ 4121574 h 5392467"/>
              <a:gd name="connsiteX475" fmla="*/ 5041311 w 6096001"/>
              <a:gd name="connsiteY475" fmla="*/ 4119639 h 5392467"/>
              <a:gd name="connsiteX476" fmla="*/ 5066453 w 6096001"/>
              <a:gd name="connsiteY476" fmla="*/ 4104166 h 5392467"/>
              <a:gd name="connsiteX477" fmla="*/ 5074190 w 6096001"/>
              <a:gd name="connsiteY477" fmla="*/ 4100297 h 5392467"/>
              <a:gd name="connsiteX478" fmla="*/ 5093531 w 6096001"/>
              <a:gd name="connsiteY478" fmla="*/ 4096429 h 5392467"/>
              <a:gd name="connsiteX479" fmla="*/ 5147687 w 6096001"/>
              <a:gd name="connsiteY479" fmla="*/ 4086760 h 5392467"/>
              <a:gd name="connsiteX480" fmla="*/ 5176697 w 6096001"/>
              <a:gd name="connsiteY480" fmla="*/ 4079023 h 5392467"/>
              <a:gd name="connsiteX481" fmla="*/ 5174764 w 6096001"/>
              <a:gd name="connsiteY481" fmla="*/ 4079023 h 5392467"/>
              <a:gd name="connsiteX482" fmla="*/ 5385581 w 6096001"/>
              <a:gd name="connsiteY482" fmla="*/ 4077088 h 5392467"/>
              <a:gd name="connsiteX483" fmla="*/ 5368175 w 6096001"/>
              <a:gd name="connsiteY483" fmla="*/ 4080959 h 5392467"/>
              <a:gd name="connsiteX484" fmla="*/ 5385581 w 6096001"/>
              <a:gd name="connsiteY484" fmla="*/ 4077088 h 5392467"/>
              <a:gd name="connsiteX485" fmla="*/ 5472615 w 6096001"/>
              <a:gd name="connsiteY485" fmla="*/ 4075155 h 5392467"/>
              <a:gd name="connsiteX486" fmla="*/ 5476483 w 6096001"/>
              <a:gd name="connsiteY486" fmla="*/ 4075155 h 5392467"/>
              <a:gd name="connsiteX487" fmla="*/ 5476483 w 6096001"/>
              <a:gd name="connsiteY487" fmla="*/ 4077088 h 5392467"/>
              <a:gd name="connsiteX488" fmla="*/ 5472615 w 6096001"/>
              <a:gd name="connsiteY488" fmla="*/ 4077088 h 5392467"/>
              <a:gd name="connsiteX489" fmla="*/ 5472615 w 6096001"/>
              <a:gd name="connsiteY489" fmla="*/ 4075155 h 5392467"/>
              <a:gd name="connsiteX490" fmla="*/ 5161224 w 6096001"/>
              <a:gd name="connsiteY490" fmla="*/ 4063550 h 5392467"/>
              <a:gd name="connsiteX491" fmla="*/ 5161224 w 6096001"/>
              <a:gd name="connsiteY491" fmla="*/ 4065483 h 5392467"/>
              <a:gd name="connsiteX492" fmla="*/ 5151555 w 6096001"/>
              <a:gd name="connsiteY492" fmla="*/ 4071287 h 5392467"/>
              <a:gd name="connsiteX493" fmla="*/ 5151555 w 6096001"/>
              <a:gd name="connsiteY493" fmla="*/ 4065483 h 5392467"/>
              <a:gd name="connsiteX494" fmla="*/ 5161224 w 6096001"/>
              <a:gd name="connsiteY494" fmla="*/ 4063550 h 5392467"/>
              <a:gd name="connsiteX495" fmla="*/ 5217315 w 6096001"/>
              <a:gd name="connsiteY495" fmla="*/ 4061617 h 5392467"/>
              <a:gd name="connsiteX496" fmla="*/ 5207643 w 6096001"/>
              <a:gd name="connsiteY496" fmla="*/ 4063550 h 5392467"/>
              <a:gd name="connsiteX497" fmla="*/ 5180566 w 6096001"/>
              <a:gd name="connsiteY497" fmla="*/ 4071287 h 5392467"/>
              <a:gd name="connsiteX498" fmla="*/ 5188302 w 6096001"/>
              <a:gd name="connsiteY498" fmla="*/ 4071287 h 5392467"/>
              <a:gd name="connsiteX499" fmla="*/ 5197974 w 6096001"/>
              <a:gd name="connsiteY499" fmla="*/ 4069354 h 5392467"/>
              <a:gd name="connsiteX500" fmla="*/ 5217315 w 6096001"/>
              <a:gd name="connsiteY500" fmla="*/ 4061617 h 5392467"/>
              <a:gd name="connsiteX501" fmla="*/ 5267600 w 6096001"/>
              <a:gd name="connsiteY501" fmla="*/ 4050013 h 5392467"/>
              <a:gd name="connsiteX502" fmla="*/ 5242458 w 6096001"/>
              <a:gd name="connsiteY502" fmla="*/ 4055814 h 5392467"/>
              <a:gd name="connsiteX503" fmla="*/ 5226985 w 6096001"/>
              <a:gd name="connsiteY503" fmla="*/ 4059682 h 5392467"/>
              <a:gd name="connsiteX504" fmla="*/ 5226985 w 6096001"/>
              <a:gd name="connsiteY504" fmla="*/ 4063550 h 5392467"/>
              <a:gd name="connsiteX505" fmla="*/ 5257931 w 6096001"/>
              <a:gd name="connsiteY505" fmla="*/ 4057749 h 5392467"/>
              <a:gd name="connsiteX506" fmla="*/ 5261799 w 6096001"/>
              <a:gd name="connsiteY506" fmla="*/ 4057749 h 5392467"/>
              <a:gd name="connsiteX507" fmla="*/ 5275337 w 6096001"/>
              <a:gd name="connsiteY507" fmla="*/ 4053881 h 5392467"/>
              <a:gd name="connsiteX508" fmla="*/ 5285008 w 6096001"/>
              <a:gd name="connsiteY508" fmla="*/ 4050013 h 5392467"/>
              <a:gd name="connsiteX509" fmla="*/ 5267600 w 6096001"/>
              <a:gd name="connsiteY509" fmla="*/ 4050013 h 5392467"/>
              <a:gd name="connsiteX510" fmla="*/ 5534507 w 6096001"/>
              <a:gd name="connsiteY510" fmla="*/ 4048077 h 5392467"/>
              <a:gd name="connsiteX511" fmla="*/ 5536440 w 6096001"/>
              <a:gd name="connsiteY511" fmla="*/ 4048077 h 5392467"/>
              <a:gd name="connsiteX512" fmla="*/ 5542244 w 6096001"/>
              <a:gd name="connsiteY512" fmla="*/ 4051945 h 5392467"/>
              <a:gd name="connsiteX513" fmla="*/ 5528704 w 6096001"/>
              <a:gd name="connsiteY513" fmla="*/ 4053881 h 5392467"/>
              <a:gd name="connsiteX514" fmla="*/ 5532572 w 6096001"/>
              <a:gd name="connsiteY514" fmla="*/ 4050013 h 5392467"/>
              <a:gd name="connsiteX515" fmla="*/ 5534507 w 6096001"/>
              <a:gd name="connsiteY515" fmla="*/ 4048077 h 5392467"/>
              <a:gd name="connsiteX516" fmla="*/ 5449406 w 6096001"/>
              <a:gd name="connsiteY516" fmla="*/ 4048077 h 5392467"/>
              <a:gd name="connsiteX517" fmla="*/ 5428131 w 6096001"/>
              <a:gd name="connsiteY517" fmla="*/ 4051945 h 5392467"/>
              <a:gd name="connsiteX518" fmla="*/ 5420395 w 6096001"/>
              <a:gd name="connsiteY518" fmla="*/ 4053881 h 5392467"/>
              <a:gd name="connsiteX519" fmla="*/ 5414594 w 6096001"/>
              <a:gd name="connsiteY519" fmla="*/ 4057749 h 5392467"/>
              <a:gd name="connsiteX520" fmla="*/ 5449406 w 6096001"/>
              <a:gd name="connsiteY520" fmla="*/ 4048077 h 5392467"/>
              <a:gd name="connsiteX521" fmla="*/ 5737587 w 6096001"/>
              <a:gd name="connsiteY521" fmla="*/ 4030671 h 5392467"/>
              <a:gd name="connsiteX522" fmla="*/ 5741455 w 6096001"/>
              <a:gd name="connsiteY522" fmla="*/ 4032604 h 5392467"/>
              <a:gd name="connsiteX523" fmla="*/ 5739522 w 6096001"/>
              <a:gd name="connsiteY523" fmla="*/ 4034539 h 5392467"/>
              <a:gd name="connsiteX524" fmla="*/ 5735654 w 6096001"/>
              <a:gd name="connsiteY524" fmla="*/ 4032604 h 5392467"/>
              <a:gd name="connsiteX525" fmla="*/ 5737587 w 6096001"/>
              <a:gd name="connsiteY525" fmla="*/ 4030671 h 5392467"/>
              <a:gd name="connsiteX526" fmla="*/ 5762732 w 6096001"/>
              <a:gd name="connsiteY526" fmla="*/ 4028736 h 5392467"/>
              <a:gd name="connsiteX527" fmla="*/ 5758864 w 6096001"/>
              <a:gd name="connsiteY527" fmla="*/ 4034539 h 5392467"/>
              <a:gd name="connsiteX528" fmla="*/ 5756928 w 6096001"/>
              <a:gd name="connsiteY528" fmla="*/ 4034539 h 5392467"/>
              <a:gd name="connsiteX529" fmla="*/ 5754993 w 6096001"/>
              <a:gd name="connsiteY529" fmla="*/ 4030671 h 5392467"/>
              <a:gd name="connsiteX530" fmla="*/ 5762732 w 6096001"/>
              <a:gd name="connsiteY530" fmla="*/ 4028736 h 5392467"/>
              <a:gd name="connsiteX531" fmla="*/ 5535958 w 6096001"/>
              <a:gd name="connsiteY531" fmla="*/ 4025110 h 5392467"/>
              <a:gd name="connsiteX532" fmla="*/ 5524838 w 6096001"/>
              <a:gd name="connsiteY532" fmla="*/ 4030671 h 5392467"/>
              <a:gd name="connsiteX533" fmla="*/ 5507430 w 6096001"/>
              <a:gd name="connsiteY533" fmla="*/ 4036472 h 5392467"/>
              <a:gd name="connsiteX534" fmla="*/ 5532572 w 6096001"/>
              <a:gd name="connsiteY534" fmla="*/ 4036472 h 5392467"/>
              <a:gd name="connsiteX535" fmla="*/ 5549980 w 6096001"/>
              <a:gd name="connsiteY535" fmla="*/ 4032604 h 5392467"/>
              <a:gd name="connsiteX536" fmla="*/ 5549980 w 6096001"/>
              <a:gd name="connsiteY536" fmla="*/ 4026803 h 5392467"/>
              <a:gd name="connsiteX537" fmla="*/ 5535958 w 6096001"/>
              <a:gd name="connsiteY537" fmla="*/ 4025110 h 5392467"/>
              <a:gd name="connsiteX538" fmla="*/ 5530639 w 6096001"/>
              <a:gd name="connsiteY538" fmla="*/ 4009395 h 5392467"/>
              <a:gd name="connsiteX539" fmla="*/ 5509362 w 6096001"/>
              <a:gd name="connsiteY539" fmla="*/ 4011330 h 5392467"/>
              <a:gd name="connsiteX540" fmla="*/ 5486155 w 6096001"/>
              <a:gd name="connsiteY540" fmla="*/ 4015198 h 5392467"/>
              <a:gd name="connsiteX541" fmla="*/ 5488088 w 6096001"/>
              <a:gd name="connsiteY541" fmla="*/ 4013263 h 5392467"/>
              <a:gd name="connsiteX542" fmla="*/ 5474551 w 6096001"/>
              <a:gd name="connsiteY542" fmla="*/ 4015198 h 5392467"/>
              <a:gd name="connsiteX543" fmla="*/ 5457142 w 6096001"/>
              <a:gd name="connsiteY543" fmla="*/ 4015198 h 5392467"/>
              <a:gd name="connsiteX544" fmla="*/ 5443604 w 6096001"/>
              <a:gd name="connsiteY544" fmla="*/ 4020999 h 5392467"/>
              <a:gd name="connsiteX545" fmla="*/ 5432000 w 6096001"/>
              <a:gd name="connsiteY545" fmla="*/ 4022935 h 5392467"/>
              <a:gd name="connsiteX546" fmla="*/ 5402987 w 6096001"/>
              <a:gd name="connsiteY546" fmla="*/ 4026803 h 5392467"/>
              <a:gd name="connsiteX547" fmla="*/ 5401054 w 6096001"/>
              <a:gd name="connsiteY547" fmla="*/ 4030671 h 5392467"/>
              <a:gd name="connsiteX548" fmla="*/ 5433933 w 6096001"/>
              <a:gd name="connsiteY548" fmla="*/ 4022935 h 5392467"/>
              <a:gd name="connsiteX549" fmla="*/ 5430064 w 6096001"/>
              <a:gd name="connsiteY549" fmla="*/ 4030671 h 5392467"/>
              <a:gd name="connsiteX550" fmla="*/ 5393317 w 6096001"/>
              <a:gd name="connsiteY550" fmla="*/ 4040341 h 5392467"/>
              <a:gd name="connsiteX551" fmla="*/ 5372043 w 6096001"/>
              <a:gd name="connsiteY551" fmla="*/ 4048077 h 5392467"/>
              <a:gd name="connsiteX552" fmla="*/ 5391384 w 6096001"/>
              <a:gd name="connsiteY552" fmla="*/ 4044209 h 5392467"/>
              <a:gd name="connsiteX553" fmla="*/ 5437803 w 6096001"/>
              <a:gd name="connsiteY553" fmla="*/ 4030671 h 5392467"/>
              <a:gd name="connsiteX554" fmla="*/ 5476483 w 6096001"/>
              <a:gd name="connsiteY554" fmla="*/ 4019066 h 5392467"/>
              <a:gd name="connsiteX555" fmla="*/ 5503561 w 6096001"/>
              <a:gd name="connsiteY555" fmla="*/ 4013263 h 5392467"/>
              <a:gd name="connsiteX556" fmla="*/ 5530639 w 6096001"/>
              <a:gd name="connsiteY556" fmla="*/ 4009395 h 5392467"/>
              <a:gd name="connsiteX557" fmla="*/ 5387514 w 6096001"/>
              <a:gd name="connsiteY557" fmla="*/ 4003593 h 5392467"/>
              <a:gd name="connsiteX558" fmla="*/ 5383645 w 6096001"/>
              <a:gd name="connsiteY558" fmla="*/ 4005526 h 5392467"/>
              <a:gd name="connsiteX559" fmla="*/ 5385581 w 6096001"/>
              <a:gd name="connsiteY559" fmla="*/ 4005526 h 5392467"/>
              <a:gd name="connsiteX560" fmla="*/ 5387514 w 6096001"/>
              <a:gd name="connsiteY560" fmla="*/ 4003593 h 5392467"/>
              <a:gd name="connsiteX561" fmla="*/ 5188302 w 6096001"/>
              <a:gd name="connsiteY561" fmla="*/ 4001658 h 5392467"/>
              <a:gd name="connsiteX562" fmla="*/ 5188302 w 6096001"/>
              <a:gd name="connsiteY562" fmla="*/ 4013263 h 5392467"/>
              <a:gd name="connsiteX563" fmla="*/ 5194106 w 6096001"/>
              <a:gd name="connsiteY563" fmla="*/ 4015198 h 5392467"/>
              <a:gd name="connsiteX564" fmla="*/ 5188302 w 6096001"/>
              <a:gd name="connsiteY564" fmla="*/ 4001658 h 5392467"/>
              <a:gd name="connsiteX565" fmla="*/ 5462946 w 6096001"/>
              <a:gd name="connsiteY565" fmla="*/ 3997790 h 5392467"/>
              <a:gd name="connsiteX566" fmla="*/ 5461010 w 6096001"/>
              <a:gd name="connsiteY566" fmla="*/ 3999725 h 5392467"/>
              <a:gd name="connsiteX567" fmla="*/ 5466814 w 6096001"/>
              <a:gd name="connsiteY567" fmla="*/ 3999725 h 5392467"/>
              <a:gd name="connsiteX568" fmla="*/ 5466814 w 6096001"/>
              <a:gd name="connsiteY568" fmla="*/ 3997790 h 5392467"/>
              <a:gd name="connsiteX569" fmla="*/ 5462946 w 6096001"/>
              <a:gd name="connsiteY569" fmla="*/ 3997790 h 5392467"/>
              <a:gd name="connsiteX570" fmla="*/ 5600265 w 6096001"/>
              <a:gd name="connsiteY570" fmla="*/ 3988120 h 5392467"/>
              <a:gd name="connsiteX571" fmla="*/ 5592531 w 6096001"/>
              <a:gd name="connsiteY571" fmla="*/ 3991989 h 5392467"/>
              <a:gd name="connsiteX572" fmla="*/ 5600265 w 6096001"/>
              <a:gd name="connsiteY572" fmla="*/ 3988120 h 5392467"/>
              <a:gd name="connsiteX573" fmla="*/ 5325624 w 6096001"/>
              <a:gd name="connsiteY573" fmla="*/ 3986187 h 5392467"/>
              <a:gd name="connsiteX574" fmla="*/ 5310151 w 6096001"/>
              <a:gd name="connsiteY574" fmla="*/ 3988120 h 5392467"/>
              <a:gd name="connsiteX575" fmla="*/ 5310151 w 6096001"/>
              <a:gd name="connsiteY575" fmla="*/ 3990053 h 5392467"/>
              <a:gd name="connsiteX576" fmla="*/ 5323689 w 6096001"/>
              <a:gd name="connsiteY576" fmla="*/ 3990053 h 5392467"/>
              <a:gd name="connsiteX577" fmla="*/ 5325624 w 6096001"/>
              <a:gd name="connsiteY577" fmla="*/ 3986187 h 5392467"/>
              <a:gd name="connsiteX578" fmla="*/ 5252127 w 6096001"/>
              <a:gd name="connsiteY578" fmla="*/ 3984252 h 5392467"/>
              <a:gd name="connsiteX579" fmla="*/ 5240522 w 6096001"/>
              <a:gd name="connsiteY579" fmla="*/ 3990053 h 5392467"/>
              <a:gd name="connsiteX580" fmla="*/ 5242458 w 6096001"/>
              <a:gd name="connsiteY580" fmla="*/ 3991989 h 5392467"/>
              <a:gd name="connsiteX581" fmla="*/ 5255995 w 6096001"/>
              <a:gd name="connsiteY581" fmla="*/ 3986187 h 5392467"/>
              <a:gd name="connsiteX582" fmla="*/ 5252127 w 6096001"/>
              <a:gd name="connsiteY582" fmla="*/ 3984252 h 5392467"/>
              <a:gd name="connsiteX583" fmla="*/ 5640883 w 6096001"/>
              <a:gd name="connsiteY583" fmla="*/ 3980384 h 5392467"/>
              <a:gd name="connsiteX584" fmla="*/ 5638948 w 6096001"/>
              <a:gd name="connsiteY584" fmla="*/ 3982319 h 5392467"/>
              <a:gd name="connsiteX585" fmla="*/ 5629278 w 6096001"/>
              <a:gd name="connsiteY585" fmla="*/ 3982319 h 5392467"/>
              <a:gd name="connsiteX586" fmla="*/ 5640883 w 6096001"/>
              <a:gd name="connsiteY586" fmla="*/ 3980384 h 5392467"/>
              <a:gd name="connsiteX587" fmla="*/ 5279205 w 6096001"/>
              <a:gd name="connsiteY587" fmla="*/ 3976516 h 5392467"/>
              <a:gd name="connsiteX588" fmla="*/ 5277270 w 6096001"/>
              <a:gd name="connsiteY588" fmla="*/ 3982319 h 5392467"/>
              <a:gd name="connsiteX589" fmla="*/ 5275337 w 6096001"/>
              <a:gd name="connsiteY589" fmla="*/ 3986187 h 5392467"/>
              <a:gd name="connsiteX590" fmla="*/ 5294678 w 6096001"/>
              <a:gd name="connsiteY590" fmla="*/ 3982319 h 5392467"/>
              <a:gd name="connsiteX591" fmla="*/ 5294678 w 6096001"/>
              <a:gd name="connsiteY591" fmla="*/ 3978449 h 5392467"/>
              <a:gd name="connsiteX592" fmla="*/ 5283073 w 6096001"/>
              <a:gd name="connsiteY592" fmla="*/ 3976516 h 5392467"/>
              <a:gd name="connsiteX593" fmla="*/ 5279205 w 6096001"/>
              <a:gd name="connsiteY593" fmla="*/ 3976516 h 5392467"/>
              <a:gd name="connsiteX594" fmla="*/ 5331427 w 6096001"/>
              <a:gd name="connsiteY594" fmla="*/ 3972647 h 5392467"/>
              <a:gd name="connsiteX595" fmla="*/ 5314019 w 6096001"/>
              <a:gd name="connsiteY595" fmla="*/ 3976516 h 5392467"/>
              <a:gd name="connsiteX596" fmla="*/ 5319820 w 6096001"/>
              <a:gd name="connsiteY596" fmla="*/ 3976516 h 5392467"/>
              <a:gd name="connsiteX597" fmla="*/ 5331427 w 6096001"/>
              <a:gd name="connsiteY597" fmla="*/ 3972647 h 5392467"/>
              <a:gd name="connsiteX598" fmla="*/ 5418462 w 6096001"/>
              <a:gd name="connsiteY598" fmla="*/ 3970714 h 5392467"/>
              <a:gd name="connsiteX599" fmla="*/ 5420395 w 6096001"/>
              <a:gd name="connsiteY599" fmla="*/ 3972647 h 5392467"/>
              <a:gd name="connsiteX600" fmla="*/ 5422328 w 6096001"/>
              <a:gd name="connsiteY600" fmla="*/ 3970714 h 5392467"/>
              <a:gd name="connsiteX601" fmla="*/ 5418462 w 6096001"/>
              <a:gd name="connsiteY601" fmla="*/ 3970714 h 5392467"/>
              <a:gd name="connsiteX602" fmla="*/ 5633147 w 6096001"/>
              <a:gd name="connsiteY602" fmla="*/ 3966846 h 5392467"/>
              <a:gd name="connsiteX603" fmla="*/ 5606069 w 6096001"/>
              <a:gd name="connsiteY603" fmla="*/ 3972647 h 5392467"/>
              <a:gd name="connsiteX604" fmla="*/ 5608002 w 6096001"/>
              <a:gd name="connsiteY604" fmla="*/ 3972647 h 5392467"/>
              <a:gd name="connsiteX605" fmla="*/ 5592531 w 6096001"/>
              <a:gd name="connsiteY605" fmla="*/ 3974583 h 5392467"/>
              <a:gd name="connsiteX606" fmla="*/ 5588663 w 6096001"/>
              <a:gd name="connsiteY606" fmla="*/ 3974583 h 5392467"/>
              <a:gd name="connsiteX607" fmla="*/ 5584795 w 6096001"/>
              <a:gd name="connsiteY607" fmla="*/ 3978449 h 5392467"/>
              <a:gd name="connsiteX608" fmla="*/ 5646684 w 6096001"/>
              <a:gd name="connsiteY608" fmla="*/ 3966846 h 5392467"/>
              <a:gd name="connsiteX609" fmla="*/ 5633147 w 6096001"/>
              <a:gd name="connsiteY609" fmla="*/ 3966846 h 5392467"/>
              <a:gd name="connsiteX610" fmla="*/ 5497758 w 6096001"/>
              <a:gd name="connsiteY610" fmla="*/ 3966846 h 5392467"/>
              <a:gd name="connsiteX611" fmla="*/ 5490021 w 6096001"/>
              <a:gd name="connsiteY611" fmla="*/ 3974583 h 5392467"/>
              <a:gd name="connsiteX612" fmla="*/ 5495825 w 6096001"/>
              <a:gd name="connsiteY612" fmla="*/ 3974583 h 5392467"/>
              <a:gd name="connsiteX613" fmla="*/ 5490021 w 6096001"/>
              <a:gd name="connsiteY613" fmla="*/ 3976516 h 5392467"/>
              <a:gd name="connsiteX614" fmla="*/ 5486155 w 6096001"/>
              <a:gd name="connsiteY614" fmla="*/ 3980384 h 5392467"/>
              <a:gd name="connsiteX615" fmla="*/ 5497758 w 6096001"/>
              <a:gd name="connsiteY615" fmla="*/ 3980384 h 5392467"/>
              <a:gd name="connsiteX616" fmla="*/ 5499693 w 6096001"/>
              <a:gd name="connsiteY616" fmla="*/ 3980384 h 5392467"/>
              <a:gd name="connsiteX617" fmla="*/ 5507430 w 6096001"/>
              <a:gd name="connsiteY617" fmla="*/ 3980384 h 5392467"/>
              <a:gd name="connsiteX618" fmla="*/ 5528704 w 6096001"/>
              <a:gd name="connsiteY618" fmla="*/ 3980384 h 5392467"/>
              <a:gd name="connsiteX619" fmla="*/ 5540308 w 6096001"/>
              <a:gd name="connsiteY619" fmla="*/ 3980384 h 5392467"/>
              <a:gd name="connsiteX620" fmla="*/ 5559650 w 6096001"/>
              <a:gd name="connsiteY620" fmla="*/ 3972647 h 5392467"/>
              <a:gd name="connsiteX621" fmla="*/ 5544177 w 6096001"/>
              <a:gd name="connsiteY621" fmla="*/ 3974583 h 5392467"/>
              <a:gd name="connsiteX622" fmla="*/ 5542244 w 6096001"/>
              <a:gd name="connsiteY622" fmla="*/ 3974583 h 5392467"/>
              <a:gd name="connsiteX623" fmla="*/ 5497758 w 6096001"/>
              <a:gd name="connsiteY623" fmla="*/ 3966846 h 5392467"/>
              <a:gd name="connsiteX624" fmla="*/ 5536198 w 6096001"/>
              <a:gd name="connsiteY624" fmla="*/ 3960318 h 5392467"/>
              <a:gd name="connsiteX625" fmla="*/ 5517099 w 6096001"/>
              <a:gd name="connsiteY625" fmla="*/ 3964911 h 5392467"/>
              <a:gd name="connsiteX626" fmla="*/ 5553849 w 6096001"/>
              <a:gd name="connsiteY626" fmla="*/ 3962978 h 5392467"/>
              <a:gd name="connsiteX627" fmla="*/ 5536198 w 6096001"/>
              <a:gd name="connsiteY627" fmla="*/ 3960318 h 5392467"/>
              <a:gd name="connsiteX628" fmla="*/ 5199907 w 6096001"/>
              <a:gd name="connsiteY628" fmla="*/ 3959110 h 5392467"/>
              <a:gd name="connsiteX629" fmla="*/ 5192170 w 6096001"/>
              <a:gd name="connsiteY629" fmla="*/ 3964911 h 5392467"/>
              <a:gd name="connsiteX630" fmla="*/ 5201842 w 6096001"/>
              <a:gd name="connsiteY630" fmla="*/ 3962978 h 5392467"/>
              <a:gd name="connsiteX631" fmla="*/ 5201842 w 6096001"/>
              <a:gd name="connsiteY631" fmla="*/ 3959110 h 5392467"/>
              <a:gd name="connsiteX632" fmla="*/ 5199907 w 6096001"/>
              <a:gd name="connsiteY632" fmla="*/ 3959110 h 5392467"/>
              <a:gd name="connsiteX633" fmla="*/ 5139950 w 6096001"/>
              <a:gd name="connsiteY633" fmla="*/ 3959110 h 5392467"/>
              <a:gd name="connsiteX634" fmla="*/ 5126410 w 6096001"/>
              <a:gd name="connsiteY634" fmla="*/ 3964911 h 5392467"/>
              <a:gd name="connsiteX635" fmla="*/ 5134149 w 6096001"/>
              <a:gd name="connsiteY635" fmla="*/ 3964911 h 5392467"/>
              <a:gd name="connsiteX636" fmla="*/ 5141883 w 6096001"/>
              <a:gd name="connsiteY636" fmla="*/ 3962978 h 5392467"/>
              <a:gd name="connsiteX637" fmla="*/ 5139950 w 6096001"/>
              <a:gd name="connsiteY637" fmla="*/ 3959110 h 5392467"/>
              <a:gd name="connsiteX638" fmla="*/ 5472615 w 6096001"/>
              <a:gd name="connsiteY638" fmla="*/ 3957174 h 5392467"/>
              <a:gd name="connsiteX639" fmla="*/ 5457142 w 6096001"/>
              <a:gd name="connsiteY639" fmla="*/ 3961043 h 5392467"/>
              <a:gd name="connsiteX640" fmla="*/ 5476483 w 6096001"/>
              <a:gd name="connsiteY640" fmla="*/ 3964911 h 5392467"/>
              <a:gd name="connsiteX641" fmla="*/ 5472615 w 6096001"/>
              <a:gd name="connsiteY641" fmla="*/ 3968779 h 5392467"/>
              <a:gd name="connsiteX642" fmla="*/ 5441669 w 6096001"/>
              <a:gd name="connsiteY642" fmla="*/ 3970714 h 5392467"/>
              <a:gd name="connsiteX643" fmla="*/ 5422328 w 6096001"/>
              <a:gd name="connsiteY643" fmla="*/ 3976516 h 5392467"/>
              <a:gd name="connsiteX644" fmla="*/ 5397185 w 6096001"/>
              <a:gd name="connsiteY644" fmla="*/ 3982319 h 5392467"/>
              <a:gd name="connsiteX645" fmla="*/ 5372043 w 6096001"/>
              <a:gd name="connsiteY645" fmla="*/ 3988120 h 5392467"/>
              <a:gd name="connsiteX646" fmla="*/ 5348833 w 6096001"/>
              <a:gd name="connsiteY646" fmla="*/ 3995857 h 5392467"/>
              <a:gd name="connsiteX647" fmla="*/ 5327559 w 6096001"/>
              <a:gd name="connsiteY647" fmla="*/ 4001658 h 5392467"/>
              <a:gd name="connsiteX648" fmla="*/ 5300479 w 6096001"/>
              <a:gd name="connsiteY648" fmla="*/ 4007462 h 5392467"/>
              <a:gd name="connsiteX649" fmla="*/ 5298546 w 6096001"/>
              <a:gd name="connsiteY649" fmla="*/ 4009395 h 5392467"/>
              <a:gd name="connsiteX650" fmla="*/ 5296611 w 6096001"/>
              <a:gd name="connsiteY650" fmla="*/ 4007462 h 5392467"/>
              <a:gd name="connsiteX651" fmla="*/ 5283073 w 6096001"/>
              <a:gd name="connsiteY651" fmla="*/ 4011330 h 5392467"/>
              <a:gd name="connsiteX652" fmla="*/ 5261799 w 6096001"/>
              <a:gd name="connsiteY652" fmla="*/ 4013263 h 5392467"/>
              <a:gd name="connsiteX653" fmla="*/ 5255995 w 6096001"/>
              <a:gd name="connsiteY653" fmla="*/ 4009395 h 5392467"/>
              <a:gd name="connsiteX654" fmla="*/ 5269535 w 6096001"/>
              <a:gd name="connsiteY654" fmla="*/ 4003593 h 5392467"/>
              <a:gd name="connsiteX655" fmla="*/ 5281140 w 6096001"/>
              <a:gd name="connsiteY655" fmla="*/ 3999725 h 5392467"/>
              <a:gd name="connsiteX656" fmla="*/ 5283073 w 6096001"/>
              <a:gd name="connsiteY656" fmla="*/ 3991989 h 5392467"/>
              <a:gd name="connsiteX657" fmla="*/ 5259864 w 6096001"/>
              <a:gd name="connsiteY657" fmla="*/ 3997790 h 5392467"/>
              <a:gd name="connsiteX658" fmla="*/ 5228918 w 6096001"/>
              <a:gd name="connsiteY658" fmla="*/ 4003593 h 5392467"/>
              <a:gd name="connsiteX659" fmla="*/ 5221183 w 6096001"/>
              <a:gd name="connsiteY659" fmla="*/ 4003593 h 5392467"/>
              <a:gd name="connsiteX660" fmla="*/ 5219248 w 6096001"/>
              <a:gd name="connsiteY660" fmla="*/ 4015198 h 5392467"/>
              <a:gd name="connsiteX661" fmla="*/ 5184434 w 6096001"/>
              <a:gd name="connsiteY661" fmla="*/ 4026803 h 5392467"/>
              <a:gd name="connsiteX662" fmla="*/ 5190235 w 6096001"/>
              <a:gd name="connsiteY662" fmla="*/ 4026803 h 5392467"/>
              <a:gd name="connsiteX663" fmla="*/ 5197974 w 6096001"/>
              <a:gd name="connsiteY663" fmla="*/ 4026803 h 5392467"/>
              <a:gd name="connsiteX664" fmla="*/ 5199907 w 6096001"/>
              <a:gd name="connsiteY664" fmla="*/ 4026803 h 5392467"/>
              <a:gd name="connsiteX665" fmla="*/ 5206097 w 6096001"/>
              <a:gd name="connsiteY665" fmla="*/ 4028350 h 5392467"/>
              <a:gd name="connsiteX666" fmla="*/ 5203775 w 6096001"/>
              <a:gd name="connsiteY666" fmla="*/ 4030671 h 5392467"/>
              <a:gd name="connsiteX667" fmla="*/ 5204792 w 6096001"/>
              <a:gd name="connsiteY667" fmla="*/ 4030875 h 5392467"/>
              <a:gd name="connsiteX668" fmla="*/ 5199907 w 6096001"/>
              <a:gd name="connsiteY668" fmla="*/ 4034539 h 5392467"/>
              <a:gd name="connsiteX669" fmla="*/ 5197974 w 6096001"/>
              <a:gd name="connsiteY669" fmla="*/ 4034539 h 5392467"/>
              <a:gd name="connsiteX670" fmla="*/ 5178633 w 6096001"/>
              <a:gd name="connsiteY670" fmla="*/ 4042276 h 5392467"/>
              <a:gd name="connsiteX671" fmla="*/ 5153488 w 6096001"/>
              <a:gd name="connsiteY671" fmla="*/ 4046144 h 5392467"/>
              <a:gd name="connsiteX672" fmla="*/ 5134149 w 6096001"/>
              <a:gd name="connsiteY672" fmla="*/ 4055814 h 5392467"/>
              <a:gd name="connsiteX673" fmla="*/ 5101268 w 6096001"/>
              <a:gd name="connsiteY673" fmla="*/ 4065483 h 5392467"/>
              <a:gd name="connsiteX674" fmla="*/ 5103200 w 6096001"/>
              <a:gd name="connsiteY674" fmla="*/ 4069354 h 5392467"/>
              <a:gd name="connsiteX675" fmla="*/ 5097399 w 6096001"/>
              <a:gd name="connsiteY675" fmla="*/ 4071287 h 5392467"/>
              <a:gd name="connsiteX676" fmla="*/ 5095466 w 6096001"/>
              <a:gd name="connsiteY676" fmla="*/ 4069354 h 5392467"/>
              <a:gd name="connsiteX677" fmla="*/ 5097399 w 6096001"/>
              <a:gd name="connsiteY677" fmla="*/ 4067418 h 5392467"/>
              <a:gd name="connsiteX678" fmla="*/ 5047114 w 6096001"/>
              <a:gd name="connsiteY678" fmla="*/ 4082891 h 5392467"/>
              <a:gd name="connsiteX679" fmla="*/ 5025838 w 6096001"/>
              <a:gd name="connsiteY679" fmla="*/ 4088693 h 5392467"/>
              <a:gd name="connsiteX680" fmla="*/ 5020037 w 6096001"/>
              <a:gd name="connsiteY680" fmla="*/ 4090628 h 5392467"/>
              <a:gd name="connsiteX681" fmla="*/ 5021969 w 6096001"/>
              <a:gd name="connsiteY681" fmla="*/ 4092561 h 5392467"/>
              <a:gd name="connsiteX682" fmla="*/ 5095466 w 6096001"/>
              <a:gd name="connsiteY682" fmla="*/ 4080959 h 5392467"/>
              <a:gd name="connsiteX683" fmla="*/ 5138017 w 6096001"/>
              <a:gd name="connsiteY683" fmla="*/ 4075155 h 5392467"/>
              <a:gd name="connsiteX684" fmla="*/ 5139950 w 6096001"/>
              <a:gd name="connsiteY684" fmla="*/ 4075155 h 5392467"/>
              <a:gd name="connsiteX685" fmla="*/ 5145751 w 6096001"/>
              <a:gd name="connsiteY685" fmla="*/ 4073222 h 5392467"/>
              <a:gd name="connsiteX686" fmla="*/ 5151555 w 6096001"/>
              <a:gd name="connsiteY686" fmla="*/ 4071287 h 5392467"/>
              <a:gd name="connsiteX687" fmla="*/ 5186369 w 6096001"/>
              <a:gd name="connsiteY687" fmla="*/ 4065483 h 5392467"/>
              <a:gd name="connsiteX688" fmla="*/ 5199907 w 6096001"/>
              <a:gd name="connsiteY688" fmla="*/ 4059682 h 5392467"/>
              <a:gd name="connsiteX689" fmla="*/ 5211512 w 6096001"/>
              <a:gd name="connsiteY689" fmla="*/ 4050013 h 5392467"/>
              <a:gd name="connsiteX690" fmla="*/ 5226985 w 6096001"/>
              <a:gd name="connsiteY690" fmla="*/ 4046144 h 5392467"/>
              <a:gd name="connsiteX691" fmla="*/ 5234721 w 6096001"/>
              <a:gd name="connsiteY691" fmla="*/ 4044209 h 5392467"/>
              <a:gd name="connsiteX692" fmla="*/ 5255995 w 6096001"/>
              <a:gd name="connsiteY692" fmla="*/ 4038408 h 5392467"/>
              <a:gd name="connsiteX693" fmla="*/ 5285008 w 6096001"/>
              <a:gd name="connsiteY693" fmla="*/ 4030671 h 5392467"/>
              <a:gd name="connsiteX694" fmla="*/ 5246326 w 6096001"/>
              <a:gd name="connsiteY694" fmla="*/ 4034539 h 5392467"/>
              <a:gd name="connsiteX695" fmla="*/ 5223116 w 6096001"/>
              <a:gd name="connsiteY695" fmla="*/ 4030671 h 5392467"/>
              <a:gd name="connsiteX696" fmla="*/ 5213445 w 6096001"/>
              <a:gd name="connsiteY696" fmla="*/ 4032604 h 5392467"/>
              <a:gd name="connsiteX697" fmla="*/ 5204792 w 6096001"/>
              <a:gd name="connsiteY697" fmla="*/ 4030875 h 5392467"/>
              <a:gd name="connsiteX698" fmla="*/ 5207643 w 6096001"/>
              <a:gd name="connsiteY698" fmla="*/ 4028736 h 5392467"/>
              <a:gd name="connsiteX699" fmla="*/ 5206097 w 6096001"/>
              <a:gd name="connsiteY699" fmla="*/ 4028350 h 5392467"/>
              <a:gd name="connsiteX700" fmla="*/ 5207643 w 6096001"/>
              <a:gd name="connsiteY700" fmla="*/ 4026803 h 5392467"/>
              <a:gd name="connsiteX701" fmla="*/ 5232786 w 6096001"/>
              <a:gd name="connsiteY701" fmla="*/ 4015198 h 5392467"/>
              <a:gd name="connsiteX702" fmla="*/ 5238589 w 6096001"/>
              <a:gd name="connsiteY702" fmla="*/ 4015198 h 5392467"/>
              <a:gd name="connsiteX703" fmla="*/ 5250194 w 6096001"/>
              <a:gd name="connsiteY703" fmla="*/ 4015198 h 5392467"/>
              <a:gd name="connsiteX704" fmla="*/ 5236654 w 6096001"/>
              <a:gd name="connsiteY704" fmla="*/ 4024868 h 5392467"/>
              <a:gd name="connsiteX705" fmla="*/ 5252127 w 6096001"/>
              <a:gd name="connsiteY705" fmla="*/ 4020999 h 5392467"/>
              <a:gd name="connsiteX706" fmla="*/ 5257931 w 6096001"/>
              <a:gd name="connsiteY706" fmla="*/ 4020999 h 5392467"/>
              <a:gd name="connsiteX707" fmla="*/ 5279205 w 6096001"/>
              <a:gd name="connsiteY707" fmla="*/ 4020999 h 5392467"/>
              <a:gd name="connsiteX708" fmla="*/ 5306283 w 6096001"/>
              <a:gd name="connsiteY708" fmla="*/ 4015198 h 5392467"/>
              <a:gd name="connsiteX709" fmla="*/ 5317887 w 6096001"/>
              <a:gd name="connsiteY709" fmla="*/ 4015198 h 5392467"/>
              <a:gd name="connsiteX710" fmla="*/ 5362371 w 6096001"/>
              <a:gd name="connsiteY710" fmla="*/ 4009395 h 5392467"/>
              <a:gd name="connsiteX711" fmla="*/ 5368175 w 6096001"/>
              <a:gd name="connsiteY711" fmla="*/ 3993922 h 5392467"/>
              <a:gd name="connsiteX712" fmla="*/ 5370108 w 6096001"/>
              <a:gd name="connsiteY712" fmla="*/ 3991989 h 5392467"/>
              <a:gd name="connsiteX713" fmla="*/ 5416527 w 6096001"/>
              <a:gd name="connsiteY713" fmla="*/ 3984252 h 5392467"/>
              <a:gd name="connsiteX714" fmla="*/ 5437803 w 6096001"/>
              <a:gd name="connsiteY714" fmla="*/ 3980384 h 5392467"/>
              <a:gd name="connsiteX715" fmla="*/ 5482287 w 6096001"/>
              <a:gd name="connsiteY715" fmla="*/ 3976516 h 5392467"/>
              <a:gd name="connsiteX716" fmla="*/ 5482287 w 6096001"/>
              <a:gd name="connsiteY716" fmla="*/ 3974583 h 5392467"/>
              <a:gd name="connsiteX717" fmla="*/ 5445537 w 6096001"/>
              <a:gd name="connsiteY717" fmla="*/ 3976516 h 5392467"/>
              <a:gd name="connsiteX718" fmla="*/ 5484220 w 6096001"/>
              <a:gd name="connsiteY718" fmla="*/ 3970714 h 5392467"/>
              <a:gd name="connsiteX719" fmla="*/ 5490021 w 6096001"/>
              <a:gd name="connsiteY719" fmla="*/ 3966846 h 5392467"/>
              <a:gd name="connsiteX720" fmla="*/ 5486155 w 6096001"/>
              <a:gd name="connsiteY720" fmla="*/ 3966846 h 5392467"/>
              <a:gd name="connsiteX721" fmla="*/ 5490021 w 6096001"/>
              <a:gd name="connsiteY721" fmla="*/ 3962978 h 5392467"/>
              <a:gd name="connsiteX722" fmla="*/ 5495825 w 6096001"/>
              <a:gd name="connsiteY722" fmla="*/ 3961043 h 5392467"/>
              <a:gd name="connsiteX723" fmla="*/ 5499693 w 6096001"/>
              <a:gd name="connsiteY723" fmla="*/ 3961043 h 5392467"/>
              <a:gd name="connsiteX724" fmla="*/ 5501628 w 6096001"/>
              <a:gd name="connsiteY724" fmla="*/ 3961043 h 5392467"/>
              <a:gd name="connsiteX725" fmla="*/ 5519034 w 6096001"/>
              <a:gd name="connsiteY725" fmla="*/ 3961043 h 5392467"/>
              <a:gd name="connsiteX726" fmla="*/ 5517099 w 6096001"/>
              <a:gd name="connsiteY726" fmla="*/ 3957174 h 5392467"/>
              <a:gd name="connsiteX727" fmla="*/ 5501628 w 6096001"/>
              <a:gd name="connsiteY727" fmla="*/ 3957174 h 5392467"/>
              <a:gd name="connsiteX728" fmla="*/ 5482287 w 6096001"/>
              <a:gd name="connsiteY728" fmla="*/ 3957174 h 5392467"/>
              <a:gd name="connsiteX729" fmla="*/ 5472615 w 6096001"/>
              <a:gd name="connsiteY729" fmla="*/ 3957174 h 5392467"/>
              <a:gd name="connsiteX730" fmla="*/ 5134149 w 6096001"/>
              <a:gd name="connsiteY730" fmla="*/ 3951373 h 5392467"/>
              <a:gd name="connsiteX731" fmla="*/ 5128345 w 6096001"/>
              <a:gd name="connsiteY731" fmla="*/ 3959110 h 5392467"/>
              <a:gd name="connsiteX732" fmla="*/ 5130281 w 6096001"/>
              <a:gd name="connsiteY732" fmla="*/ 3957174 h 5392467"/>
              <a:gd name="connsiteX733" fmla="*/ 5138017 w 6096001"/>
              <a:gd name="connsiteY733" fmla="*/ 3955241 h 5392467"/>
              <a:gd name="connsiteX734" fmla="*/ 5134149 w 6096001"/>
              <a:gd name="connsiteY734" fmla="*/ 3951373 h 5392467"/>
              <a:gd name="connsiteX735" fmla="*/ 5602201 w 6096001"/>
              <a:gd name="connsiteY735" fmla="*/ 3947505 h 5392467"/>
              <a:gd name="connsiteX736" fmla="*/ 5590596 w 6096001"/>
              <a:gd name="connsiteY736" fmla="*/ 3959110 h 5392467"/>
              <a:gd name="connsiteX737" fmla="*/ 5621542 w 6096001"/>
              <a:gd name="connsiteY737" fmla="*/ 3951373 h 5392467"/>
              <a:gd name="connsiteX738" fmla="*/ 5611872 w 6096001"/>
              <a:gd name="connsiteY738" fmla="*/ 3949438 h 5392467"/>
              <a:gd name="connsiteX739" fmla="*/ 5602201 w 6096001"/>
              <a:gd name="connsiteY739" fmla="*/ 3947505 h 5392467"/>
              <a:gd name="connsiteX740" fmla="*/ 5472615 w 6096001"/>
              <a:gd name="connsiteY740" fmla="*/ 3945570 h 5392467"/>
              <a:gd name="connsiteX741" fmla="*/ 5443604 w 6096001"/>
              <a:gd name="connsiteY741" fmla="*/ 3947505 h 5392467"/>
              <a:gd name="connsiteX742" fmla="*/ 5430064 w 6096001"/>
              <a:gd name="connsiteY742" fmla="*/ 3949438 h 5392467"/>
              <a:gd name="connsiteX743" fmla="*/ 5466814 w 6096001"/>
              <a:gd name="connsiteY743" fmla="*/ 3949438 h 5392467"/>
              <a:gd name="connsiteX744" fmla="*/ 5474551 w 6096001"/>
              <a:gd name="connsiteY744" fmla="*/ 3947505 h 5392467"/>
              <a:gd name="connsiteX745" fmla="*/ 5472615 w 6096001"/>
              <a:gd name="connsiteY745" fmla="*/ 3945570 h 5392467"/>
              <a:gd name="connsiteX746" fmla="*/ 5395252 w 6096001"/>
              <a:gd name="connsiteY746" fmla="*/ 3945570 h 5392467"/>
              <a:gd name="connsiteX747" fmla="*/ 5385581 w 6096001"/>
              <a:gd name="connsiteY747" fmla="*/ 3947505 h 5392467"/>
              <a:gd name="connsiteX748" fmla="*/ 5391384 w 6096001"/>
              <a:gd name="connsiteY748" fmla="*/ 3947505 h 5392467"/>
              <a:gd name="connsiteX749" fmla="*/ 5395252 w 6096001"/>
              <a:gd name="connsiteY749" fmla="*/ 3945570 h 5392467"/>
              <a:gd name="connsiteX750" fmla="*/ 5491956 w 6096001"/>
              <a:gd name="connsiteY750" fmla="*/ 3943637 h 5392467"/>
              <a:gd name="connsiteX751" fmla="*/ 5491956 w 6096001"/>
              <a:gd name="connsiteY751" fmla="*/ 3945570 h 5392467"/>
              <a:gd name="connsiteX752" fmla="*/ 5493889 w 6096001"/>
              <a:gd name="connsiteY752" fmla="*/ 3945570 h 5392467"/>
              <a:gd name="connsiteX753" fmla="*/ 5495825 w 6096001"/>
              <a:gd name="connsiteY753" fmla="*/ 3943637 h 5392467"/>
              <a:gd name="connsiteX754" fmla="*/ 5491956 w 6096001"/>
              <a:gd name="connsiteY754" fmla="*/ 3943637 h 5392467"/>
              <a:gd name="connsiteX755" fmla="*/ 5211512 w 6096001"/>
              <a:gd name="connsiteY755" fmla="*/ 3943637 h 5392467"/>
              <a:gd name="connsiteX756" fmla="*/ 5197974 w 6096001"/>
              <a:gd name="connsiteY756" fmla="*/ 3947505 h 5392467"/>
              <a:gd name="connsiteX757" fmla="*/ 5199907 w 6096001"/>
              <a:gd name="connsiteY757" fmla="*/ 3953306 h 5392467"/>
              <a:gd name="connsiteX758" fmla="*/ 5201842 w 6096001"/>
              <a:gd name="connsiteY758" fmla="*/ 3953306 h 5392467"/>
              <a:gd name="connsiteX759" fmla="*/ 5228918 w 6096001"/>
              <a:gd name="connsiteY759" fmla="*/ 3943637 h 5392467"/>
              <a:gd name="connsiteX760" fmla="*/ 5211512 w 6096001"/>
              <a:gd name="connsiteY760" fmla="*/ 3943637 h 5392467"/>
              <a:gd name="connsiteX761" fmla="*/ 5716313 w 6096001"/>
              <a:gd name="connsiteY761" fmla="*/ 3941701 h 5392467"/>
              <a:gd name="connsiteX762" fmla="*/ 5720181 w 6096001"/>
              <a:gd name="connsiteY762" fmla="*/ 3941701 h 5392467"/>
              <a:gd name="connsiteX763" fmla="*/ 5720181 w 6096001"/>
              <a:gd name="connsiteY763" fmla="*/ 3943637 h 5392467"/>
              <a:gd name="connsiteX764" fmla="*/ 5716313 w 6096001"/>
              <a:gd name="connsiteY764" fmla="*/ 3941701 h 5392467"/>
              <a:gd name="connsiteX765" fmla="*/ 5679566 w 6096001"/>
              <a:gd name="connsiteY765" fmla="*/ 3939768 h 5392467"/>
              <a:gd name="connsiteX766" fmla="*/ 5681499 w 6096001"/>
              <a:gd name="connsiteY766" fmla="*/ 3941701 h 5392467"/>
              <a:gd name="connsiteX767" fmla="*/ 5691168 w 6096001"/>
              <a:gd name="connsiteY767" fmla="*/ 3939768 h 5392467"/>
              <a:gd name="connsiteX768" fmla="*/ 5679566 w 6096001"/>
              <a:gd name="connsiteY768" fmla="*/ 3939768 h 5392467"/>
              <a:gd name="connsiteX769" fmla="*/ 5132214 w 6096001"/>
              <a:gd name="connsiteY769" fmla="*/ 3933965 h 5392467"/>
              <a:gd name="connsiteX770" fmla="*/ 5124477 w 6096001"/>
              <a:gd name="connsiteY770" fmla="*/ 3935900 h 5392467"/>
              <a:gd name="connsiteX771" fmla="*/ 5124475 w 6096001"/>
              <a:gd name="connsiteY771" fmla="*/ 3935900 h 5392467"/>
              <a:gd name="connsiteX772" fmla="*/ 5350766 w 6096001"/>
              <a:gd name="connsiteY772" fmla="*/ 3930097 h 5392467"/>
              <a:gd name="connsiteX773" fmla="*/ 5335293 w 6096001"/>
              <a:gd name="connsiteY773" fmla="*/ 3935900 h 5392467"/>
              <a:gd name="connsiteX774" fmla="*/ 5358503 w 6096001"/>
              <a:gd name="connsiteY774" fmla="*/ 3935900 h 5392467"/>
              <a:gd name="connsiteX775" fmla="*/ 5360438 w 6096001"/>
              <a:gd name="connsiteY775" fmla="*/ 3935900 h 5392467"/>
              <a:gd name="connsiteX776" fmla="*/ 5366239 w 6096001"/>
              <a:gd name="connsiteY776" fmla="*/ 3935900 h 5392467"/>
              <a:gd name="connsiteX777" fmla="*/ 5373976 w 6096001"/>
              <a:gd name="connsiteY777" fmla="*/ 3933965 h 5392467"/>
              <a:gd name="connsiteX778" fmla="*/ 5370108 w 6096001"/>
              <a:gd name="connsiteY778" fmla="*/ 3932032 h 5392467"/>
              <a:gd name="connsiteX779" fmla="*/ 5350766 w 6096001"/>
              <a:gd name="connsiteY779" fmla="*/ 3930097 h 5392467"/>
              <a:gd name="connsiteX780" fmla="*/ 5393317 w 6096001"/>
              <a:gd name="connsiteY780" fmla="*/ 3924295 h 5392467"/>
              <a:gd name="connsiteX781" fmla="*/ 5381712 w 6096001"/>
              <a:gd name="connsiteY781" fmla="*/ 3926228 h 5392467"/>
              <a:gd name="connsiteX782" fmla="*/ 5385581 w 6096001"/>
              <a:gd name="connsiteY782" fmla="*/ 3930097 h 5392467"/>
              <a:gd name="connsiteX783" fmla="*/ 5399121 w 6096001"/>
              <a:gd name="connsiteY783" fmla="*/ 3928164 h 5392467"/>
              <a:gd name="connsiteX784" fmla="*/ 5393317 w 6096001"/>
              <a:gd name="connsiteY784" fmla="*/ 3924295 h 5392467"/>
              <a:gd name="connsiteX785" fmla="*/ 5492736 w 6096001"/>
              <a:gd name="connsiteY785" fmla="*/ 3920206 h 5392467"/>
              <a:gd name="connsiteX786" fmla="*/ 5495825 w 6096001"/>
              <a:gd name="connsiteY786" fmla="*/ 3920427 h 5392467"/>
              <a:gd name="connsiteX787" fmla="*/ 5496049 w 6096001"/>
              <a:gd name="connsiteY787" fmla="*/ 3922450 h 5392467"/>
              <a:gd name="connsiteX788" fmla="*/ 5495825 w 6096001"/>
              <a:gd name="connsiteY788" fmla="*/ 3922360 h 5392467"/>
              <a:gd name="connsiteX789" fmla="*/ 5493889 w 6096001"/>
              <a:gd name="connsiteY789" fmla="*/ 3922360 h 5392467"/>
              <a:gd name="connsiteX790" fmla="*/ 5368175 w 6096001"/>
              <a:gd name="connsiteY790" fmla="*/ 3914624 h 5392467"/>
              <a:gd name="connsiteX791" fmla="*/ 5367745 w 6096001"/>
              <a:gd name="connsiteY791" fmla="*/ 3915053 h 5392467"/>
              <a:gd name="connsiteX792" fmla="*/ 5327559 w 6096001"/>
              <a:gd name="connsiteY792" fmla="*/ 3922360 h 5392467"/>
              <a:gd name="connsiteX793" fmla="*/ 5339162 w 6096001"/>
              <a:gd name="connsiteY793" fmla="*/ 3920427 h 5392467"/>
              <a:gd name="connsiteX794" fmla="*/ 5341097 w 6096001"/>
              <a:gd name="connsiteY794" fmla="*/ 3920427 h 5392467"/>
              <a:gd name="connsiteX795" fmla="*/ 5343030 w 6096001"/>
              <a:gd name="connsiteY795" fmla="*/ 3920427 h 5392467"/>
              <a:gd name="connsiteX796" fmla="*/ 5364306 w 6096001"/>
              <a:gd name="connsiteY796" fmla="*/ 3918492 h 5392467"/>
              <a:gd name="connsiteX797" fmla="*/ 5367745 w 6096001"/>
              <a:gd name="connsiteY797" fmla="*/ 3915053 h 5392467"/>
              <a:gd name="connsiteX798" fmla="*/ 5370108 w 6096001"/>
              <a:gd name="connsiteY798" fmla="*/ 3914624 h 5392467"/>
              <a:gd name="connsiteX799" fmla="*/ 5368175 w 6096001"/>
              <a:gd name="connsiteY799" fmla="*/ 3914624 h 5392467"/>
              <a:gd name="connsiteX800" fmla="*/ 5503561 w 6096001"/>
              <a:gd name="connsiteY800" fmla="*/ 3899153 h 5392467"/>
              <a:gd name="connsiteX801" fmla="*/ 5503561 w 6096001"/>
              <a:gd name="connsiteY801" fmla="*/ 3901086 h 5392467"/>
              <a:gd name="connsiteX802" fmla="*/ 5507430 w 6096001"/>
              <a:gd name="connsiteY802" fmla="*/ 3899153 h 5392467"/>
              <a:gd name="connsiteX803" fmla="*/ 5505497 w 6096001"/>
              <a:gd name="connsiteY803" fmla="*/ 3899153 h 5392467"/>
              <a:gd name="connsiteX804" fmla="*/ 5503561 w 6096001"/>
              <a:gd name="connsiteY804" fmla="*/ 3899153 h 5392467"/>
              <a:gd name="connsiteX805" fmla="*/ 5549980 w 6096001"/>
              <a:gd name="connsiteY805" fmla="*/ 3897218 h 5392467"/>
              <a:gd name="connsiteX806" fmla="*/ 5538376 w 6096001"/>
              <a:gd name="connsiteY806" fmla="*/ 3899153 h 5392467"/>
              <a:gd name="connsiteX807" fmla="*/ 5530639 w 6096001"/>
              <a:gd name="connsiteY807" fmla="*/ 3903019 h 5392467"/>
              <a:gd name="connsiteX808" fmla="*/ 5526771 w 6096001"/>
              <a:gd name="connsiteY808" fmla="*/ 3906887 h 5392467"/>
              <a:gd name="connsiteX809" fmla="*/ 5505497 w 6096001"/>
              <a:gd name="connsiteY809" fmla="*/ 3901086 h 5392467"/>
              <a:gd name="connsiteX810" fmla="*/ 5484220 w 6096001"/>
              <a:gd name="connsiteY810" fmla="*/ 3910755 h 5392467"/>
              <a:gd name="connsiteX811" fmla="*/ 5476483 w 6096001"/>
              <a:gd name="connsiteY811" fmla="*/ 3910755 h 5392467"/>
              <a:gd name="connsiteX812" fmla="*/ 5430064 w 6096001"/>
              <a:gd name="connsiteY812" fmla="*/ 3910755 h 5392467"/>
              <a:gd name="connsiteX813" fmla="*/ 5428131 w 6096001"/>
              <a:gd name="connsiteY813" fmla="*/ 3912691 h 5392467"/>
              <a:gd name="connsiteX814" fmla="*/ 5410723 w 6096001"/>
              <a:gd name="connsiteY814" fmla="*/ 3920427 h 5392467"/>
              <a:gd name="connsiteX815" fmla="*/ 5416527 w 6096001"/>
              <a:gd name="connsiteY815" fmla="*/ 3924295 h 5392467"/>
              <a:gd name="connsiteX816" fmla="*/ 5424263 w 6096001"/>
              <a:gd name="connsiteY816" fmla="*/ 3924295 h 5392467"/>
              <a:gd name="connsiteX817" fmla="*/ 5437803 w 6096001"/>
              <a:gd name="connsiteY817" fmla="*/ 3920427 h 5392467"/>
              <a:gd name="connsiteX818" fmla="*/ 5482287 w 6096001"/>
              <a:gd name="connsiteY818" fmla="*/ 3914624 h 5392467"/>
              <a:gd name="connsiteX819" fmla="*/ 5490264 w 6096001"/>
              <a:gd name="connsiteY819" fmla="*/ 3915592 h 5392467"/>
              <a:gd name="connsiteX820" fmla="*/ 5492736 w 6096001"/>
              <a:gd name="connsiteY820" fmla="*/ 3920206 h 5392467"/>
              <a:gd name="connsiteX821" fmla="*/ 5482287 w 6096001"/>
              <a:gd name="connsiteY821" fmla="*/ 3919460 h 5392467"/>
              <a:gd name="connsiteX822" fmla="*/ 5468747 w 6096001"/>
              <a:gd name="connsiteY822" fmla="*/ 3924295 h 5392467"/>
              <a:gd name="connsiteX823" fmla="*/ 5451341 w 6096001"/>
              <a:gd name="connsiteY823" fmla="*/ 3930097 h 5392467"/>
              <a:gd name="connsiteX824" fmla="*/ 5476483 w 6096001"/>
              <a:gd name="connsiteY824" fmla="*/ 3930097 h 5392467"/>
              <a:gd name="connsiteX825" fmla="*/ 5493889 w 6096001"/>
              <a:gd name="connsiteY825" fmla="*/ 3926228 h 5392467"/>
              <a:gd name="connsiteX826" fmla="*/ 5496308 w 6096001"/>
              <a:gd name="connsiteY826" fmla="*/ 3924778 h 5392467"/>
              <a:gd name="connsiteX827" fmla="*/ 5496049 w 6096001"/>
              <a:gd name="connsiteY827" fmla="*/ 3922450 h 5392467"/>
              <a:gd name="connsiteX828" fmla="*/ 5505497 w 6096001"/>
              <a:gd name="connsiteY828" fmla="*/ 3926228 h 5392467"/>
              <a:gd name="connsiteX829" fmla="*/ 5555781 w 6096001"/>
              <a:gd name="connsiteY829" fmla="*/ 3916559 h 5392467"/>
              <a:gd name="connsiteX830" fmla="*/ 5549980 w 6096001"/>
              <a:gd name="connsiteY830" fmla="*/ 3920427 h 5392467"/>
              <a:gd name="connsiteX831" fmla="*/ 5598332 w 6096001"/>
              <a:gd name="connsiteY831" fmla="*/ 3918492 h 5392467"/>
              <a:gd name="connsiteX832" fmla="*/ 5608002 w 6096001"/>
              <a:gd name="connsiteY832" fmla="*/ 3912691 h 5392467"/>
              <a:gd name="connsiteX833" fmla="*/ 5573190 w 6096001"/>
              <a:gd name="connsiteY833" fmla="*/ 3912691 h 5392467"/>
              <a:gd name="connsiteX834" fmla="*/ 5578991 w 6096001"/>
              <a:gd name="connsiteY834" fmla="*/ 3903019 h 5392467"/>
              <a:gd name="connsiteX835" fmla="*/ 5573190 w 6096001"/>
              <a:gd name="connsiteY835" fmla="*/ 3904954 h 5392467"/>
              <a:gd name="connsiteX836" fmla="*/ 5565453 w 6096001"/>
              <a:gd name="connsiteY836" fmla="*/ 3901086 h 5392467"/>
              <a:gd name="connsiteX837" fmla="*/ 5563518 w 6096001"/>
              <a:gd name="connsiteY837" fmla="*/ 3897218 h 5392467"/>
              <a:gd name="connsiteX838" fmla="*/ 5551913 w 6096001"/>
              <a:gd name="connsiteY838" fmla="*/ 3897218 h 5392467"/>
              <a:gd name="connsiteX839" fmla="*/ 5549980 w 6096001"/>
              <a:gd name="connsiteY839" fmla="*/ 3897218 h 5392467"/>
              <a:gd name="connsiteX840" fmla="*/ 5604133 w 6096001"/>
              <a:gd name="connsiteY840" fmla="*/ 3885613 h 5392467"/>
              <a:gd name="connsiteX841" fmla="*/ 5590596 w 6096001"/>
              <a:gd name="connsiteY841" fmla="*/ 3887548 h 5392467"/>
              <a:gd name="connsiteX842" fmla="*/ 5577056 w 6096001"/>
              <a:gd name="connsiteY842" fmla="*/ 3897218 h 5392467"/>
              <a:gd name="connsiteX843" fmla="*/ 5582859 w 6096001"/>
              <a:gd name="connsiteY843" fmla="*/ 3901086 h 5392467"/>
              <a:gd name="connsiteX844" fmla="*/ 5602201 w 6096001"/>
              <a:gd name="connsiteY844" fmla="*/ 3895282 h 5392467"/>
              <a:gd name="connsiteX845" fmla="*/ 5629278 w 6096001"/>
              <a:gd name="connsiteY845" fmla="*/ 3903019 h 5392467"/>
              <a:gd name="connsiteX846" fmla="*/ 5642816 w 6096001"/>
              <a:gd name="connsiteY846" fmla="*/ 3895282 h 5392467"/>
              <a:gd name="connsiteX847" fmla="*/ 5631211 w 6096001"/>
              <a:gd name="connsiteY847" fmla="*/ 3891414 h 5392467"/>
              <a:gd name="connsiteX848" fmla="*/ 5625410 w 6096001"/>
              <a:gd name="connsiteY848" fmla="*/ 3889481 h 5392467"/>
              <a:gd name="connsiteX849" fmla="*/ 5617674 w 6096001"/>
              <a:gd name="connsiteY849" fmla="*/ 3889481 h 5392467"/>
              <a:gd name="connsiteX850" fmla="*/ 5619607 w 6096001"/>
              <a:gd name="connsiteY850" fmla="*/ 3887548 h 5392467"/>
              <a:gd name="connsiteX851" fmla="*/ 5604133 w 6096001"/>
              <a:gd name="connsiteY851" fmla="*/ 3885613 h 5392467"/>
              <a:gd name="connsiteX852" fmla="*/ 5228918 w 6096001"/>
              <a:gd name="connsiteY852" fmla="*/ 3870140 h 5392467"/>
              <a:gd name="connsiteX853" fmla="*/ 5219248 w 6096001"/>
              <a:gd name="connsiteY853" fmla="*/ 3872075 h 5392467"/>
              <a:gd name="connsiteX854" fmla="*/ 5221183 w 6096001"/>
              <a:gd name="connsiteY854" fmla="*/ 3872075 h 5392467"/>
              <a:gd name="connsiteX855" fmla="*/ 5228918 w 6096001"/>
              <a:gd name="connsiteY855" fmla="*/ 3870140 h 5392467"/>
              <a:gd name="connsiteX856" fmla="*/ 5443604 w 6096001"/>
              <a:gd name="connsiteY856" fmla="*/ 3862403 h 5392467"/>
              <a:gd name="connsiteX857" fmla="*/ 5441669 w 6096001"/>
              <a:gd name="connsiteY857" fmla="*/ 3864339 h 5392467"/>
              <a:gd name="connsiteX858" fmla="*/ 5445537 w 6096001"/>
              <a:gd name="connsiteY858" fmla="*/ 3864339 h 5392467"/>
              <a:gd name="connsiteX859" fmla="*/ 5443604 w 6096001"/>
              <a:gd name="connsiteY859" fmla="*/ 3862403 h 5392467"/>
              <a:gd name="connsiteX860" fmla="*/ 5478177 w 6096001"/>
              <a:gd name="connsiteY860" fmla="*/ 3853701 h 5392467"/>
              <a:gd name="connsiteX861" fmla="*/ 5461010 w 6096001"/>
              <a:gd name="connsiteY861" fmla="*/ 3858535 h 5392467"/>
              <a:gd name="connsiteX862" fmla="*/ 5474551 w 6096001"/>
              <a:gd name="connsiteY862" fmla="*/ 3858535 h 5392467"/>
              <a:gd name="connsiteX863" fmla="*/ 5493889 w 6096001"/>
              <a:gd name="connsiteY863" fmla="*/ 3854667 h 5392467"/>
              <a:gd name="connsiteX864" fmla="*/ 5478177 w 6096001"/>
              <a:gd name="connsiteY864" fmla="*/ 3853701 h 5392467"/>
              <a:gd name="connsiteX865" fmla="*/ 5422328 w 6096001"/>
              <a:gd name="connsiteY865" fmla="*/ 3848866 h 5392467"/>
              <a:gd name="connsiteX866" fmla="*/ 5424263 w 6096001"/>
              <a:gd name="connsiteY866" fmla="*/ 3848866 h 5392467"/>
              <a:gd name="connsiteX867" fmla="*/ 5424263 w 6096001"/>
              <a:gd name="connsiteY867" fmla="*/ 3850798 h 5392467"/>
              <a:gd name="connsiteX868" fmla="*/ 5422328 w 6096001"/>
              <a:gd name="connsiteY868" fmla="*/ 3848866 h 5392467"/>
              <a:gd name="connsiteX869" fmla="*/ 5399121 w 6096001"/>
              <a:gd name="connsiteY869" fmla="*/ 3844997 h 5392467"/>
              <a:gd name="connsiteX870" fmla="*/ 5385581 w 6096001"/>
              <a:gd name="connsiteY870" fmla="*/ 3846930 h 5392467"/>
              <a:gd name="connsiteX871" fmla="*/ 5327559 w 6096001"/>
              <a:gd name="connsiteY871" fmla="*/ 3860470 h 5392467"/>
              <a:gd name="connsiteX872" fmla="*/ 5317887 w 6096001"/>
              <a:gd name="connsiteY872" fmla="*/ 3862403 h 5392467"/>
              <a:gd name="connsiteX873" fmla="*/ 5314019 w 6096001"/>
              <a:gd name="connsiteY873" fmla="*/ 3852734 h 5392467"/>
              <a:gd name="connsiteX874" fmla="*/ 5315952 w 6096001"/>
              <a:gd name="connsiteY874" fmla="*/ 3848866 h 5392467"/>
              <a:gd name="connsiteX875" fmla="*/ 5314019 w 6096001"/>
              <a:gd name="connsiteY875" fmla="*/ 3848866 h 5392467"/>
              <a:gd name="connsiteX876" fmla="*/ 5283073 w 6096001"/>
              <a:gd name="connsiteY876" fmla="*/ 3854667 h 5392467"/>
              <a:gd name="connsiteX877" fmla="*/ 5255995 w 6096001"/>
              <a:gd name="connsiteY877" fmla="*/ 3862403 h 5392467"/>
              <a:gd name="connsiteX878" fmla="*/ 5236654 w 6096001"/>
              <a:gd name="connsiteY878" fmla="*/ 3872075 h 5392467"/>
              <a:gd name="connsiteX879" fmla="*/ 5184434 w 6096001"/>
              <a:gd name="connsiteY879" fmla="*/ 3885613 h 5392467"/>
              <a:gd name="connsiteX880" fmla="*/ 5180566 w 6096001"/>
              <a:gd name="connsiteY880" fmla="*/ 3885613 h 5392467"/>
              <a:gd name="connsiteX881" fmla="*/ 5155423 w 6096001"/>
              <a:gd name="connsiteY881" fmla="*/ 3891414 h 5392467"/>
              <a:gd name="connsiteX882" fmla="*/ 5147687 w 6096001"/>
              <a:gd name="connsiteY882" fmla="*/ 3893349 h 5392467"/>
              <a:gd name="connsiteX883" fmla="*/ 5155423 w 6096001"/>
              <a:gd name="connsiteY883" fmla="*/ 3897218 h 5392467"/>
              <a:gd name="connsiteX884" fmla="*/ 5145751 w 6096001"/>
              <a:gd name="connsiteY884" fmla="*/ 3904954 h 5392467"/>
              <a:gd name="connsiteX885" fmla="*/ 5155423 w 6096001"/>
              <a:gd name="connsiteY885" fmla="*/ 3906887 h 5392467"/>
              <a:gd name="connsiteX886" fmla="*/ 5153488 w 6096001"/>
              <a:gd name="connsiteY886" fmla="*/ 3908822 h 5392467"/>
              <a:gd name="connsiteX887" fmla="*/ 5124477 w 6096001"/>
              <a:gd name="connsiteY887" fmla="*/ 3918492 h 5392467"/>
              <a:gd name="connsiteX888" fmla="*/ 5097399 w 6096001"/>
              <a:gd name="connsiteY888" fmla="*/ 3926228 h 5392467"/>
              <a:gd name="connsiteX889" fmla="*/ 5132214 w 6096001"/>
              <a:gd name="connsiteY889" fmla="*/ 3926228 h 5392467"/>
              <a:gd name="connsiteX890" fmla="*/ 5147687 w 6096001"/>
              <a:gd name="connsiteY890" fmla="*/ 3928164 h 5392467"/>
              <a:gd name="connsiteX891" fmla="*/ 5146929 w 6096001"/>
              <a:gd name="connsiteY891" fmla="*/ 3928488 h 5392467"/>
              <a:gd name="connsiteX892" fmla="*/ 5137774 w 6096001"/>
              <a:gd name="connsiteY892" fmla="*/ 3929131 h 5392467"/>
              <a:gd name="connsiteX893" fmla="*/ 5122542 w 6096001"/>
              <a:gd name="connsiteY893" fmla="*/ 3935900 h 5392467"/>
              <a:gd name="connsiteX894" fmla="*/ 5124475 w 6096001"/>
              <a:gd name="connsiteY894" fmla="*/ 3935900 h 5392467"/>
              <a:gd name="connsiteX895" fmla="*/ 5109004 w 6096001"/>
              <a:gd name="connsiteY895" fmla="*/ 3939768 h 5392467"/>
              <a:gd name="connsiteX896" fmla="*/ 5108290 w 6096001"/>
              <a:gd name="connsiteY896" fmla="*/ 3941911 h 5392467"/>
              <a:gd name="connsiteX897" fmla="*/ 5088581 w 6096001"/>
              <a:gd name="connsiteY897" fmla="*/ 3945339 h 5392467"/>
              <a:gd name="connsiteX898" fmla="*/ 5087730 w 6096001"/>
              <a:gd name="connsiteY898" fmla="*/ 3943637 h 5392467"/>
              <a:gd name="connsiteX899" fmla="*/ 5069255 w 6096001"/>
              <a:gd name="connsiteY899" fmla="*/ 3945483 h 5392467"/>
              <a:gd name="connsiteX900" fmla="*/ 5066453 w 6096001"/>
              <a:gd name="connsiteY900" fmla="*/ 3941701 h 5392467"/>
              <a:gd name="connsiteX901" fmla="*/ 5066453 w 6096001"/>
              <a:gd name="connsiteY901" fmla="*/ 3943637 h 5392467"/>
              <a:gd name="connsiteX902" fmla="*/ 5068389 w 6096001"/>
              <a:gd name="connsiteY902" fmla="*/ 3945570 h 5392467"/>
              <a:gd name="connsiteX903" fmla="*/ 5069255 w 6096001"/>
              <a:gd name="connsiteY903" fmla="*/ 3945483 h 5392467"/>
              <a:gd name="connsiteX904" fmla="*/ 5071290 w 6096001"/>
              <a:gd name="connsiteY904" fmla="*/ 3948230 h 5392467"/>
              <a:gd name="connsiteX905" fmla="*/ 5076125 w 6096001"/>
              <a:gd name="connsiteY905" fmla="*/ 3947505 h 5392467"/>
              <a:gd name="connsiteX906" fmla="*/ 5088581 w 6096001"/>
              <a:gd name="connsiteY906" fmla="*/ 3945339 h 5392467"/>
              <a:gd name="connsiteX907" fmla="*/ 5091598 w 6096001"/>
              <a:gd name="connsiteY907" fmla="*/ 3951373 h 5392467"/>
              <a:gd name="connsiteX908" fmla="*/ 5107071 w 6096001"/>
              <a:gd name="connsiteY908" fmla="*/ 3947505 h 5392467"/>
              <a:gd name="connsiteX909" fmla="*/ 5120609 w 6096001"/>
              <a:gd name="connsiteY909" fmla="*/ 3947505 h 5392467"/>
              <a:gd name="connsiteX910" fmla="*/ 5120609 w 6096001"/>
              <a:gd name="connsiteY910" fmla="*/ 3945570 h 5392467"/>
              <a:gd name="connsiteX911" fmla="*/ 5107071 w 6096001"/>
              <a:gd name="connsiteY911" fmla="*/ 3945570 h 5392467"/>
              <a:gd name="connsiteX912" fmla="*/ 5108290 w 6096001"/>
              <a:gd name="connsiteY912" fmla="*/ 3941911 h 5392467"/>
              <a:gd name="connsiteX913" fmla="*/ 5120609 w 6096001"/>
              <a:gd name="connsiteY913" fmla="*/ 3939768 h 5392467"/>
              <a:gd name="connsiteX914" fmla="*/ 5146929 w 6096001"/>
              <a:gd name="connsiteY914" fmla="*/ 3928488 h 5392467"/>
              <a:gd name="connsiteX915" fmla="*/ 5151555 w 6096001"/>
              <a:gd name="connsiteY915" fmla="*/ 3928164 h 5392467"/>
              <a:gd name="connsiteX916" fmla="*/ 5176697 w 6096001"/>
              <a:gd name="connsiteY916" fmla="*/ 3922360 h 5392467"/>
              <a:gd name="connsiteX917" fmla="*/ 5167028 w 6096001"/>
              <a:gd name="connsiteY917" fmla="*/ 3918492 h 5392467"/>
              <a:gd name="connsiteX918" fmla="*/ 5197974 w 6096001"/>
              <a:gd name="connsiteY918" fmla="*/ 3908822 h 5392467"/>
              <a:gd name="connsiteX919" fmla="*/ 5203775 w 6096001"/>
              <a:gd name="connsiteY919" fmla="*/ 3908822 h 5392467"/>
              <a:gd name="connsiteX920" fmla="*/ 5225052 w 6096001"/>
              <a:gd name="connsiteY920" fmla="*/ 3908822 h 5392467"/>
              <a:gd name="connsiteX921" fmla="*/ 5252127 w 6096001"/>
              <a:gd name="connsiteY921" fmla="*/ 3903019 h 5392467"/>
              <a:gd name="connsiteX922" fmla="*/ 5255995 w 6096001"/>
              <a:gd name="connsiteY922" fmla="*/ 3903019 h 5392467"/>
              <a:gd name="connsiteX923" fmla="*/ 5261799 w 6096001"/>
              <a:gd name="connsiteY923" fmla="*/ 3901086 h 5392467"/>
              <a:gd name="connsiteX924" fmla="*/ 5310151 w 6096001"/>
              <a:gd name="connsiteY924" fmla="*/ 3889481 h 5392467"/>
              <a:gd name="connsiteX925" fmla="*/ 5310151 w 6096001"/>
              <a:gd name="connsiteY925" fmla="*/ 3887548 h 5392467"/>
              <a:gd name="connsiteX926" fmla="*/ 5312086 w 6096001"/>
              <a:gd name="connsiteY926" fmla="*/ 3885613 h 5392467"/>
              <a:gd name="connsiteX927" fmla="*/ 5327559 w 6096001"/>
              <a:gd name="connsiteY927" fmla="*/ 3885613 h 5392467"/>
              <a:gd name="connsiteX928" fmla="*/ 5352702 w 6096001"/>
              <a:gd name="connsiteY928" fmla="*/ 3879812 h 5392467"/>
              <a:gd name="connsiteX929" fmla="*/ 5356570 w 6096001"/>
              <a:gd name="connsiteY929" fmla="*/ 3877876 h 5392467"/>
              <a:gd name="connsiteX930" fmla="*/ 5377844 w 6096001"/>
              <a:gd name="connsiteY930" fmla="*/ 3874008 h 5392467"/>
              <a:gd name="connsiteX931" fmla="*/ 5395252 w 6096001"/>
              <a:gd name="connsiteY931" fmla="*/ 3872075 h 5392467"/>
              <a:gd name="connsiteX932" fmla="*/ 5418462 w 6096001"/>
              <a:gd name="connsiteY932" fmla="*/ 3862403 h 5392467"/>
              <a:gd name="connsiteX933" fmla="*/ 5432000 w 6096001"/>
              <a:gd name="connsiteY933" fmla="*/ 3860470 h 5392467"/>
              <a:gd name="connsiteX934" fmla="*/ 5432000 w 6096001"/>
              <a:gd name="connsiteY934" fmla="*/ 3856602 h 5392467"/>
              <a:gd name="connsiteX935" fmla="*/ 5437803 w 6096001"/>
              <a:gd name="connsiteY935" fmla="*/ 3854667 h 5392467"/>
              <a:gd name="connsiteX936" fmla="*/ 5461010 w 6096001"/>
              <a:gd name="connsiteY936" fmla="*/ 3852734 h 5392467"/>
              <a:gd name="connsiteX937" fmla="*/ 5459078 w 6096001"/>
              <a:gd name="connsiteY937" fmla="*/ 3844997 h 5392467"/>
              <a:gd name="connsiteX938" fmla="*/ 5451341 w 6096001"/>
              <a:gd name="connsiteY938" fmla="*/ 3846930 h 5392467"/>
              <a:gd name="connsiteX939" fmla="*/ 5416527 w 6096001"/>
              <a:gd name="connsiteY939" fmla="*/ 3846930 h 5392467"/>
              <a:gd name="connsiteX940" fmla="*/ 5408790 w 6096001"/>
              <a:gd name="connsiteY940" fmla="*/ 3844997 h 5392467"/>
              <a:gd name="connsiteX941" fmla="*/ 5399121 w 6096001"/>
              <a:gd name="connsiteY941" fmla="*/ 3854667 h 5392467"/>
              <a:gd name="connsiteX942" fmla="*/ 5418462 w 6096001"/>
              <a:gd name="connsiteY942" fmla="*/ 3858535 h 5392467"/>
              <a:gd name="connsiteX943" fmla="*/ 5414594 w 6096001"/>
              <a:gd name="connsiteY943" fmla="*/ 3862403 h 5392467"/>
              <a:gd name="connsiteX944" fmla="*/ 5368175 w 6096001"/>
              <a:gd name="connsiteY944" fmla="*/ 3866272 h 5392467"/>
              <a:gd name="connsiteX945" fmla="*/ 5366239 w 6096001"/>
              <a:gd name="connsiteY945" fmla="*/ 3864339 h 5392467"/>
              <a:gd name="connsiteX946" fmla="*/ 5375911 w 6096001"/>
              <a:gd name="connsiteY946" fmla="*/ 3862403 h 5392467"/>
              <a:gd name="connsiteX947" fmla="*/ 5387514 w 6096001"/>
              <a:gd name="connsiteY947" fmla="*/ 3860470 h 5392467"/>
              <a:gd name="connsiteX948" fmla="*/ 5397185 w 6096001"/>
              <a:gd name="connsiteY948" fmla="*/ 3848866 h 5392467"/>
              <a:gd name="connsiteX949" fmla="*/ 5399121 w 6096001"/>
              <a:gd name="connsiteY949" fmla="*/ 3844997 h 5392467"/>
              <a:gd name="connsiteX950" fmla="*/ 5491956 w 6096001"/>
              <a:gd name="connsiteY950" fmla="*/ 3843062 h 5392467"/>
              <a:gd name="connsiteX951" fmla="*/ 5490021 w 6096001"/>
              <a:gd name="connsiteY951" fmla="*/ 3844997 h 5392467"/>
              <a:gd name="connsiteX952" fmla="*/ 5493889 w 6096001"/>
              <a:gd name="connsiteY952" fmla="*/ 3846930 h 5392467"/>
              <a:gd name="connsiteX953" fmla="*/ 5493889 w 6096001"/>
              <a:gd name="connsiteY953" fmla="*/ 3844997 h 5392467"/>
              <a:gd name="connsiteX954" fmla="*/ 5491956 w 6096001"/>
              <a:gd name="connsiteY954" fmla="*/ 3843062 h 5392467"/>
              <a:gd name="connsiteX955" fmla="*/ 5531847 w 6096001"/>
              <a:gd name="connsiteY955" fmla="*/ 3842579 h 5392467"/>
              <a:gd name="connsiteX956" fmla="*/ 5528704 w 6096001"/>
              <a:gd name="connsiteY956" fmla="*/ 3844997 h 5392467"/>
              <a:gd name="connsiteX957" fmla="*/ 5536440 w 6096001"/>
              <a:gd name="connsiteY957" fmla="*/ 3843062 h 5392467"/>
              <a:gd name="connsiteX958" fmla="*/ 5531847 w 6096001"/>
              <a:gd name="connsiteY958" fmla="*/ 3842579 h 5392467"/>
              <a:gd name="connsiteX959" fmla="*/ 5281140 w 6096001"/>
              <a:gd name="connsiteY959" fmla="*/ 3839194 h 5392467"/>
              <a:gd name="connsiteX960" fmla="*/ 5269535 w 6096001"/>
              <a:gd name="connsiteY960" fmla="*/ 3843062 h 5392467"/>
              <a:gd name="connsiteX961" fmla="*/ 5275337 w 6096001"/>
              <a:gd name="connsiteY961" fmla="*/ 3843062 h 5392467"/>
              <a:gd name="connsiteX962" fmla="*/ 5281140 w 6096001"/>
              <a:gd name="connsiteY962" fmla="*/ 3839194 h 5392467"/>
              <a:gd name="connsiteX963" fmla="*/ 5582859 w 6096001"/>
              <a:gd name="connsiteY963" fmla="*/ 3837261 h 5392467"/>
              <a:gd name="connsiteX964" fmla="*/ 5553849 w 6096001"/>
              <a:gd name="connsiteY964" fmla="*/ 3843062 h 5392467"/>
              <a:gd name="connsiteX965" fmla="*/ 5544177 w 6096001"/>
              <a:gd name="connsiteY965" fmla="*/ 3846930 h 5392467"/>
              <a:gd name="connsiteX966" fmla="*/ 5538376 w 6096001"/>
              <a:gd name="connsiteY966" fmla="*/ 3852734 h 5392467"/>
              <a:gd name="connsiteX967" fmla="*/ 5571255 w 6096001"/>
              <a:gd name="connsiteY967" fmla="*/ 3850798 h 5392467"/>
              <a:gd name="connsiteX968" fmla="*/ 5573190 w 6096001"/>
              <a:gd name="connsiteY968" fmla="*/ 3848866 h 5392467"/>
              <a:gd name="connsiteX969" fmla="*/ 5577056 w 6096001"/>
              <a:gd name="connsiteY969" fmla="*/ 3848866 h 5392467"/>
              <a:gd name="connsiteX970" fmla="*/ 5580924 w 6096001"/>
              <a:gd name="connsiteY970" fmla="*/ 3846930 h 5392467"/>
              <a:gd name="connsiteX971" fmla="*/ 5596397 w 6096001"/>
              <a:gd name="connsiteY971" fmla="*/ 3841129 h 5392467"/>
              <a:gd name="connsiteX972" fmla="*/ 5598332 w 6096001"/>
              <a:gd name="connsiteY972" fmla="*/ 3839194 h 5392467"/>
              <a:gd name="connsiteX973" fmla="*/ 5582859 w 6096001"/>
              <a:gd name="connsiteY973" fmla="*/ 3837261 h 5392467"/>
              <a:gd name="connsiteX974" fmla="*/ 5480352 w 6096001"/>
              <a:gd name="connsiteY974" fmla="*/ 3829524 h 5392467"/>
              <a:gd name="connsiteX975" fmla="*/ 5462946 w 6096001"/>
              <a:gd name="connsiteY975" fmla="*/ 3833393 h 5392467"/>
              <a:gd name="connsiteX976" fmla="*/ 5443604 w 6096001"/>
              <a:gd name="connsiteY976" fmla="*/ 3839194 h 5392467"/>
              <a:gd name="connsiteX977" fmla="*/ 5437803 w 6096001"/>
              <a:gd name="connsiteY977" fmla="*/ 3839194 h 5392467"/>
              <a:gd name="connsiteX978" fmla="*/ 5437803 w 6096001"/>
              <a:gd name="connsiteY978" fmla="*/ 3841129 h 5392467"/>
              <a:gd name="connsiteX979" fmla="*/ 5439736 w 6096001"/>
              <a:gd name="connsiteY979" fmla="*/ 3841129 h 5392467"/>
              <a:gd name="connsiteX980" fmla="*/ 5443604 w 6096001"/>
              <a:gd name="connsiteY980" fmla="*/ 3839194 h 5392467"/>
              <a:gd name="connsiteX981" fmla="*/ 5451341 w 6096001"/>
              <a:gd name="connsiteY981" fmla="*/ 3841129 h 5392467"/>
              <a:gd name="connsiteX982" fmla="*/ 5459078 w 6096001"/>
              <a:gd name="connsiteY982" fmla="*/ 3843062 h 5392467"/>
              <a:gd name="connsiteX983" fmla="*/ 5464879 w 6096001"/>
              <a:gd name="connsiteY983" fmla="*/ 3837261 h 5392467"/>
              <a:gd name="connsiteX984" fmla="*/ 5470680 w 6096001"/>
              <a:gd name="connsiteY984" fmla="*/ 3837261 h 5392467"/>
              <a:gd name="connsiteX985" fmla="*/ 5472615 w 6096001"/>
              <a:gd name="connsiteY985" fmla="*/ 3835325 h 5392467"/>
              <a:gd name="connsiteX986" fmla="*/ 5480352 w 6096001"/>
              <a:gd name="connsiteY986" fmla="*/ 3829524 h 5392467"/>
              <a:gd name="connsiteX987" fmla="*/ 5517099 w 6096001"/>
              <a:gd name="connsiteY987" fmla="*/ 3827589 h 5392467"/>
              <a:gd name="connsiteX988" fmla="*/ 5488088 w 6096001"/>
              <a:gd name="connsiteY988" fmla="*/ 3829524 h 5392467"/>
              <a:gd name="connsiteX989" fmla="*/ 5491956 w 6096001"/>
              <a:gd name="connsiteY989" fmla="*/ 3835325 h 5392467"/>
              <a:gd name="connsiteX990" fmla="*/ 5555781 w 6096001"/>
              <a:gd name="connsiteY990" fmla="*/ 3833393 h 5392467"/>
              <a:gd name="connsiteX991" fmla="*/ 5534507 w 6096001"/>
              <a:gd name="connsiteY991" fmla="*/ 3829524 h 5392467"/>
              <a:gd name="connsiteX992" fmla="*/ 5517099 w 6096001"/>
              <a:gd name="connsiteY992" fmla="*/ 3827589 h 5392467"/>
              <a:gd name="connsiteX993" fmla="*/ 5613805 w 6096001"/>
              <a:gd name="connsiteY993" fmla="*/ 3825656 h 5392467"/>
              <a:gd name="connsiteX994" fmla="*/ 5606069 w 6096001"/>
              <a:gd name="connsiteY994" fmla="*/ 3829524 h 5392467"/>
              <a:gd name="connsiteX995" fmla="*/ 5611872 w 6096001"/>
              <a:gd name="connsiteY995" fmla="*/ 3831457 h 5392467"/>
              <a:gd name="connsiteX996" fmla="*/ 5613805 w 6096001"/>
              <a:gd name="connsiteY996" fmla="*/ 3831457 h 5392467"/>
              <a:gd name="connsiteX997" fmla="*/ 5625410 w 6096001"/>
              <a:gd name="connsiteY997" fmla="*/ 3825656 h 5392467"/>
              <a:gd name="connsiteX998" fmla="*/ 5613805 w 6096001"/>
              <a:gd name="connsiteY998" fmla="*/ 3825656 h 5392467"/>
              <a:gd name="connsiteX999" fmla="*/ 5756928 w 6096001"/>
              <a:gd name="connsiteY999" fmla="*/ 3815984 h 5392467"/>
              <a:gd name="connsiteX1000" fmla="*/ 5756928 w 6096001"/>
              <a:gd name="connsiteY1000" fmla="*/ 3817919 h 5392467"/>
              <a:gd name="connsiteX1001" fmla="*/ 5762732 w 6096001"/>
              <a:gd name="connsiteY1001" fmla="*/ 3815984 h 5392467"/>
              <a:gd name="connsiteX1002" fmla="*/ 5756928 w 6096001"/>
              <a:gd name="connsiteY1002" fmla="*/ 3815984 h 5392467"/>
              <a:gd name="connsiteX1003" fmla="*/ 5548045 w 6096001"/>
              <a:gd name="connsiteY1003" fmla="*/ 3812118 h 5392467"/>
              <a:gd name="connsiteX1004" fmla="*/ 5549980 w 6096001"/>
              <a:gd name="connsiteY1004" fmla="*/ 3814051 h 5392467"/>
              <a:gd name="connsiteX1005" fmla="*/ 5551913 w 6096001"/>
              <a:gd name="connsiteY1005" fmla="*/ 3812118 h 5392467"/>
              <a:gd name="connsiteX1006" fmla="*/ 5549980 w 6096001"/>
              <a:gd name="connsiteY1006" fmla="*/ 3812118 h 5392467"/>
              <a:gd name="connsiteX1007" fmla="*/ 5548045 w 6096001"/>
              <a:gd name="connsiteY1007" fmla="*/ 3812118 h 5392467"/>
              <a:gd name="connsiteX1008" fmla="*/ 5503561 w 6096001"/>
              <a:gd name="connsiteY1008" fmla="*/ 3798578 h 5392467"/>
              <a:gd name="connsiteX1009" fmla="*/ 5495825 w 6096001"/>
              <a:gd name="connsiteY1009" fmla="*/ 3800514 h 5392467"/>
              <a:gd name="connsiteX1010" fmla="*/ 5422328 w 6096001"/>
              <a:gd name="connsiteY1010" fmla="*/ 3812118 h 5392467"/>
              <a:gd name="connsiteX1011" fmla="*/ 5377844 w 6096001"/>
              <a:gd name="connsiteY1011" fmla="*/ 3821788 h 5392467"/>
              <a:gd name="connsiteX1012" fmla="*/ 5375911 w 6096001"/>
              <a:gd name="connsiteY1012" fmla="*/ 3823721 h 5392467"/>
              <a:gd name="connsiteX1013" fmla="*/ 5354635 w 6096001"/>
              <a:gd name="connsiteY1013" fmla="*/ 3825656 h 5392467"/>
              <a:gd name="connsiteX1014" fmla="*/ 5343030 w 6096001"/>
              <a:gd name="connsiteY1014" fmla="*/ 3825656 h 5392467"/>
              <a:gd name="connsiteX1015" fmla="*/ 5331427 w 6096001"/>
              <a:gd name="connsiteY1015" fmla="*/ 3823721 h 5392467"/>
              <a:gd name="connsiteX1016" fmla="*/ 5331427 w 6096001"/>
              <a:gd name="connsiteY1016" fmla="*/ 3827589 h 5392467"/>
              <a:gd name="connsiteX1017" fmla="*/ 5317887 w 6096001"/>
              <a:gd name="connsiteY1017" fmla="*/ 3825656 h 5392467"/>
              <a:gd name="connsiteX1018" fmla="*/ 5306283 w 6096001"/>
              <a:gd name="connsiteY1018" fmla="*/ 3829524 h 5392467"/>
              <a:gd name="connsiteX1019" fmla="*/ 5308218 w 6096001"/>
              <a:gd name="connsiteY1019" fmla="*/ 3833393 h 5392467"/>
              <a:gd name="connsiteX1020" fmla="*/ 5296611 w 6096001"/>
              <a:gd name="connsiteY1020" fmla="*/ 3835325 h 5392467"/>
              <a:gd name="connsiteX1021" fmla="*/ 5288877 w 6096001"/>
              <a:gd name="connsiteY1021" fmla="*/ 3843062 h 5392467"/>
              <a:gd name="connsiteX1022" fmla="*/ 5341097 w 6096001"/>
              <a:gd name="connsiteY1022" fmla="*/ 3839194 h 5392467"/>
              <a:gd name="connsiteX1023" fmla="*/ 5344965 w 6096001"/>
              <a:gd name="connsiteY1023" fmla="*/ 3839194 h 5392467"/>
              <a:gd name="connsiteX1024" fmla="*/ 5362371 w 6096001"/>
              <a:gd name="connsiteY1024" fmla="*/ 3831457 h 5392467"/>
              <a:gd name="connsiteX1025" fmla="*/ 5368175 w 6096001"/>
              <a:gd name="connsiteY1025" fmla="*/ 3831457 h 5392467"/>
              <a:gd name="connsiteX1026" fmla="*/ 5422328 w 6096001"/>
              <a:gd name="connsiteY1026" fmla="*/ 3823721 h 5392467"/>
              <a:gd name="connsiteX1027" fmla="*/ 5468747 w 6096001"/>
              <a:gd name="connsiteY1027" fmla="*/ 3815984 h 5392467"/>
              <a:gd name="connsiteX1028" fmla="*/ 5503561 w 6096001"/>
              <a:gd name="connsiteY1028" fmla="*/ 3798578 h 5392467"/>
              <a:gd name="connsiteX1029" fmla="*/ 5410723 w 6096001"/>
              <a:gd name="connsiteY1029" fmla="*/ 3794710 h 5392467"/>
              <a:gd name="connsiteX1030" fmla="*/ 5395252 w 6096001"/>
              <a:gd name="connsiteY1030" fmla="*/ 3796643 h 5392467"/>
              <a:gd name="connsiteX1031" fmla="*/ 5399121 w 6096001"/>
              <a:gd name="connsiteY1031" fmla="*/ 3796643 h 5392467"/>
              <a:gd name="connsiteX1032" fmla="*/ 5401054 w 6096001"/>
              <a:gd name="connsiteY1032" fmla="*/ 3796643 h 5392467"/>
              <a:gd name="connsiteX1033" fmla="*/ 5410723 w 6096001"/>
              <a:gd name="connsiteY1033" fmla="*/ 3794710 h 5392467"/>
              <a:gd name="connsiteX1034" fmla="*/ 5420395 w 6096001"/>
              <a:gd name="connsiteY1034" fmla="*/ 3786973 h 5392467"/>
              <a:gd name="connsiteX1035" fmla="*/ 5408790 w 6096001"/>
              <a:gd name="connsiteY1035" fmla="*/ 3790842 h 5392467"/>
              <a:gd name="connsiteX1036" fmla="*/ 5414594 w 6096001"/>
              <a:gd name="connsiteY1036" fmla="*/ 3794710 h 5392467"/>
              <a:gd name="connsiteX1037" fmla="*/ 5420395 w 6096001"/>
              <a:gd name="connsiteY1037" fmla="*/ 3786973 h 5392467"/>
              <a:gd name="connsiteX1038" fmla="*/ 5542244 w 6096001"/>
              <a:gd name="connsiteY1038" fmla="*/ 3752159 h 5392467"/>
              <a:gd name="connsiteX1039" fmla="*/ 5484220 w 6096001"/>
              <a:gd name="connsiteY1039" fmla="*/ 3761831 h 5392467"/>
              <a:gd name="connsiteX1040" fmla="*/ 5472615 w 6096001"/>
              <a:gd name="connsiteY1040" fmla="*/ 3763764 h 5392467"/>
              <a:gd name="connsiteX1041" fmla="*/ 5395252 w 6096001"/>
              <a:gd name="connsiteY1041" fmla="*/ 3775369 h 5392467"/>
              <a:gd name="connsiteX1042" fmla="*/ 5379779 w 6096001"/>
              <a:gd name="connsiteY1042" fmla="*/ 3783105 h 5392467"/>
              <a:gd name="connsiteX1043" fmla="*/ 5424263 w 6096001"/>
              <a:gd name="connsiteY1043" fmla="*/ 3779237 h 5392467"/>
              <a:gd name="connsiteX1044" fmla="*/ 5447473 w 6096001"/>
              <a:gd name="connsiteY1044" fmla="*/ 3773436 h 5392467"/>
              <a:gd name="connsiteX1045" fmla="*/ 5509362 w 6096001"/>
              <a:gd name="connsiteY1045" fmla="*/ 3769567 h 5392467"/>
              <a:gd name="connsiteX1046" fmla="*/ 5511298 w 6096001"/>
              <a:gd name="connsiteY1046" fmla="*/ 3769567 h 5392467"/>
              <a:gd name="connsiteX1047" fmla="*/ 5555781 w 6096001"/>
              <a:gd name="connsiteY1047" fmla="*/ 3765699 h 5392467"/>
              <a:gd name="connsiteX1048" fmla="*/ 5557714 w 6096001"/>
              <a:gd name="connsiteY1048" fmla="*/ 3765699 h 5392467"/>
              <a:gd name="connsiteX1049" fmla="*/ 5580924 w 6096001"/>
              <a:gd name="connsiteY1049" fmla="*/ 3757963 h 5392467"/>
              <a:gd name="connsiteX1050" fmla="*/ 5584795 w 6096001"/>
              <a:gd name="connsiteY1050" fmla="*/ 3756027 h 5392467"/>
              <a:gd name="connsiteX1051" fmla="*/ 5542244 w 6096001"/>
              <a:gd name="connsiteY1051" fmla="*/ 3752159 h 5392467"/>
              <a:gd name="connsiteX1052" fmla="*/ 5453274 w 6096001"/>
              <a:gd name="connsiteY1052" fmla="*/ 3744423 h 5392467"/>
              <a:gd name="connsiteX1053" fmla="*/ 5435868 w 6096001"/>
              <a:gd name="connsiteY1053" fmla="*/ 3748291 h 5392467"/>
              <a:gd name="connsiteX1054" fmla="*/ 5443604 w 6096001"/>
              <a:gd name="connsiteY1054" fmla="*/ 3746358 h 5392467"/>
              <a:gd name="connsiteX1055" fmla="*/ 5453274 w 6096001"/>
              <a:gd name="connsiteY1055" fmla="*/ 3748291 h 5392467"/>
              <a:gd name="connsiteX1056" fmla="*/ 5453274 w 6096001"/>
              <a:gd name="connsiteY1056" fmla="*/ 3744423 h 5392467"/>
              <a:gd name="connsiteX1057" fmla="*/ 5457142 w 6096001"/>
              <a:gd name="connsiteY1057" fmla="*/ 3727017 h 5392467"/>
              <a:gd name="connsiteX1058" fmla="*/ 5435868 w 6096001"/>
              <a:gd name="connsiteY1058" fmla="*/ 3732818 h 5392467"/>
              <a:gd name="connsiteX1059" fmla="*/ 5418462 w 6096001"/>
              <a:gd name="connsiteY1059" fmla="*/ 3736686 h 5392467"/>
              <a:gd name="connsiteX1060" fmla="*/ 5393317 w 6096001"/>
              <a:gd name="connsiteY1060" fmla="*/ 3744423 h 5392467"/>
              <a:gd name="connsiteX1061" fmla="*/ 5406855 w 6096001"/>
              <a:gd name="connsiteY1061" fmla="*/ 3744423 h 5392467"/>
              <a:gd name="connsiteX1062" fmla="*/ 5433933 w 6096001"/>
              <a:gd name="connsiteY1062" fmla="*/ 3742490 h 5392467"/>
              <a:gd name="connsiteX1063" fmla="*/ 5435868 w 6096001"/>
              <a:gd name="connsiteY1063" fmla="*/ 3742490 h 5392467"/>
              <a:gd name="connsiteX1064" fmla="*/ 5439736 w 6096001"/>
              <a:gd name="connsiteY1064" fmla="*/ 3738621 h 5392467"/>
              <a:gd name="connsiteX1065" fmla="*/ 5470680 w 6096001"/>
              <a:gd name="connsiteY1065" fmla="*/ 3730885 h 5392467"/>
              <a:gd name="connsiteX1066" fmla="*/ 5470680 w 6096001"/>
              <a:gd name="connsiteY1066" fmla="*/ 3728950 h 5392467"/>
              <a:gd name="connsiteX1067" fmla="*/ 5466814 w 6096001"/>
              <a:gd name="connsiteY1067" fmla="*/ 3727017 h 5392467"/>
              <a:gd name="connsiteX1068" fmla="*/ 5457142 w 6096001"/>
              <a:gd name="connsiteY1068" fmla="*/ 3727017 h 5392467"/>
              <a:gd name="connsiteX1069" fmla="*/ 5511298 w 6096001"/>
              <a:gd name="connsiteY1069" fmla="*/ 3651587 h 5392467"/>
              <a:gd name="connsiteX1070" fmla="*/ 5511298 w 6096001"/>
              <a:gd name="connsiteY1070" fmla="*/ 3655455 h 5392467"/>
              <a:gd name="connsiteX1071" fmla="*/ 5513231 w 6096001"/>
              <a:gd name="connsiteY1071" fmla="*/ 3655455 h 5392467"/>
              <a:gd name="connsiteX1072" fmla="*/ 5515166 w 6096001"/>
              <a:gd name="connsiteY1072" fmla="*/ 3651587 h 5392467"/>
              <a:gd name="connsiteX1073" fmla="*/ 5511298 w 6096001"/>
              <a:gd name="connsiteY1073" fmla="*/ 3651587 h 5392467"/>
              <a:gd name="connsiteX1074" fmla="*/ 5627343 w 6096001"/>
              <a:gd name="connsiteY1074" fmla="*/ 3614840 h 5392467"/>
              <a:gd name="connsiteX1075" fmla="*/ 5642816 w 6096001"/>
              <a:gd name="connsiteY1075" fmla="*/ 3614840 h 5392467"/>
              <a:gd name="connsiteX1076" fmla="*/ 5633147 w 6096001"/>
              <a:gd name="connsiteY1076" fmla="*/ 3614840 h 5392467"/>
              <a:gd name="connsiteX1077" fmla="*/ 5631211 w 6096001"/>
              <a:gd name="connsiteY1077" fmla="*/ 3614840 h 5392467"/>
              <a:gd name="connsiteX1078" fmla="*/ 5627343 w 6096001"/>
              <a:gd name="connsiteY1078" fmla="*/ 3614840 h 5392467"/>
              <a:gd name="connsiteX1079" fmla="*/ 5967745 w 6096001"/>
              <a:gd name="connsiteY1079" fmla="*/ 3345999 h 5392467"/>
              <a:gd name="connsiteX1080" fmla="*/ 5967745 w 6096001"/>
              <a:gd name="connsiteY1080" fmla="*/ 3347932 h 5392467"/>
              <a:gd name="connsiteX1081" fmla="*/ 5965812 w 6096001"/>
              <a:gd name="connsiteY1081" fmla="*/ 3353733 h 5392467"/>
              <a:gd name="connsiteX1082" fmla="*/ 5963876 w 6096001"/>
              <a:gd name="connsiteY1082" fmla="*/ 3347932 h 5392467"/>
              <a:gd name="connsiteX1083" fmla="*/ 5967745 w 6096001"/>
              <a:gd name="connsiteY1083" fmla="*/ 3345999 h 5392467"/>
              <a:gd name="connsiteX1084" fmla="*/ 5910690 w 6096001"/>
              <a:gd name="connsiteY1084" fmla="*/ 3319888 h 5392467"/>
              <a:gd name="connsiteX1085" fmla="*/ 5905855 w 6096001"/>
              <a:gd name="connsiteY1085" fmla="*/ 3324723 h 5392467"/>
              <a:gd name="connsiteX1086" fmla="*/ 5915524 w 6096001"/>
              <a:gd name="connsiteY1086" fmla="*/ 3320855 h 5392467"/>
              <a:gd name="connsiteX1087" fmla="*/ 5910690 w 6096001"/>
              <a:gd name="connsiteY1087" fmla="*/ 3319888 h 5392467"/>
              <a:gd name="connsiteX1088" fmla="*/ 5942844 w 6096001"/>
              <a:gd name="connsiteY1088" fmla="*/ 3319163 h 5392467"/>
              <a:gd name="connsiteX1089" fmla="*/ 5919393 w 6096001"/>
              <a:gd name="connsiteY1089" fmla="*/ 3324723 h 5392467"/>
              <a:gd name="connsiteX1090" fmla="*/ 5932933 w 6096001"/>
              <a:gd name="connsiteY1090" fmla="*/ 3326658 h 5392467"/>
              <a:gd name="connsiteX1091" fmla="*/ 5948403 w 6096001"/>
              <a:gd name="connsiteY1091" fmla="*/ 3326658 h 5392467"/>
              <a:gd name="connsiteX1092" fmla="*/ 5961943 w 6096001"/>
              <a:gd name="connsiteY1092" fmla="*/ 3320855 h 5392467"/>
              <a:gd name="connsiteX1093" fmla="*/ 5942844 w 6096001"/>
              <a:gd name="connsiteY1093" fmla="*/ 3319163 h 5392467"/>
              <a:gd name="connsiteX1094" fmla="*/ 5938734 w 6096001"/>
              <a:gd name="connsiteY1094" fmla="*/ 3305381 h 5392467"/>
              <a:gd name="connsiteX1095" fmla="*/ 5936801 w 6096001"/>
              <a:gd name="connsiteY1095" fmla="*/ 3309250 h 5392467"/>
              <a:gd name="connsiteX1096" fmla="*/ 5938734 w 6096001"/>
              <a:gd name="connsiteY1096" fmla="*/ 3313118 h 5392467"/>
              <a:gd name="connsiteX1097" fmla="*/ 5940669 w 6096001"/>
              <a:gd name="connsiteY1097" fmla="*/ 3307317 h 5392467"/>
              <a:gd name="connsiteX1098" fmla="*/ 5938734 w 6096001"/>
              <a:gd name="connsiteY1098" fmla="*/ 3305381 h 5392467"/>
              <a:gd name="connsiteX1099" fmla="*/ 5718246 w 6096001"/>
              <a:gd name="connsiteY1099" fmla="*/ 3301513 h 5392467"/>
              <a:gd name="connsiteX1100" fmla="*/ 5710509 w 6096001"/>
              <a:gd name="connsiteY1100" fmla="*/ 3305381 h 5392467"/>
              <a:gd name="connsiteX1101" fmla="*/ 5720181 w 6096001"/>
              <a:gd name="connsiteY1101" fmla="*/ 3305381 h 5392467"/>
              <a:gd name="connsiteX1102" fmla="*/ 5718246 w 6096001"/>
              <a:gd name="connsiteY1102" fmla="*/ 3301513 h 5392467"/>
              <a:gd name="connsiteX1103" fmla="*/ 5954207 w 6096001"/>
              <a:gd name="connsiteY1103" fmla="*/ 3299580 h 5392467"/>
              <a:gd name="connsiteX1104" fmla="*/ 5946470 w 6096001"/>
              <a:gd name="connsiteY1104" fmla="*/ 3301513 h 5392467"/>
              <a:gd name="connsiteX1105" fmla="*/ 5946470 w 6096001"/>
              <a:gd name="connsiteY1105" fmla="*/ 3303448 h 5392467"/>
              <a:gd name="connsiteX1106" fmla="*/ 5954207 w 6096001"/>
              <a:gd name="connsiteY1106" fmla="*/ 3303448 h 5392467"/>
              <a:gd name="connsiteX1107" fmla="*/ 5954207 w 6096001"/>
              <a:gd name="connsiteY1107" fmla="*/ 3299580 h 5392467"/>
              <a:gd name="connsiteX1108" fmla="*/ 5830425 w 6096001"/>
              <a:gd name="connsiteY1108" fmla="*/ 3295712 h 5392467"/>
              <a:gd name="connsiteX1109" fmla="*/ 5826557 w 6096001"/>
              <a:gd name="connsiteY1109" fmla="*/ 3299580 h 5392467"/>
              <a:gd name="connsiteX1110" fmla="*/ 5828490 w 6096001"/>
              <a:gd name="connsiteY1110" fmla="*/ 3301513 h 5392467"/>
              <a:gd name="connsiteX1111" fmla="*/ 5832358 w 6096001"/>
              <a:gd name="connsiteY1111" fmla="*/ 3297645 h 5392467"/>
              <a:gd name="connsiteX1112" fmla="*/ 5830425 w 6096001"/>
              <a:gd name="connsiteY1112" fmla="*/ 3295712 h 5392467"/>
              <a:gd name="connsiteX1113" fmla="*/ 5911656 w 6096001"/>
              <a:gd name="connsiteY1113" fmla="*/ 3266699 h 5392467"/>
              <a:gd name="connsiteX1114" fmla="*/ 5911656 w 6096001"/>
              <a:gd name="connsiteY1114" fmla="*/ 3270570 h 5392467"/>
              <a:gd name="connsiteX1115" fmla="*/ 5919393 w 6096001"/>
              <a:gd name="connsiteY1115" fmla="*/ 3266699 h 5392467"/>
              <a:gd name="connsiteX1116" fmla="*/ 5911656 w 6096001"/>
              <a:gd name="connsiteY1116" fmla="*/ 3266699 h 5392467"/>
              <a:gd name="connsiteX1117" fmla="*/ 5822689 w 6096001"/>
              <a:gd name="connsiteY1117" fmla="*/ 3266699 h 5392467"/>
              <a:gd name="connsiteX1118" fmla="*/ 5822689 w 6096001"/>
              <a:gd name="connsiteY1118" fmla="*/ 3270570 h 5392467"/>
              <a:gd name="connsiteX1119" fmla="*/ 5828490 w 6096001"/>
              <a:gd name="connsiteY1119" fmla="*/ 3270570 h 5392467"/>
              <a:gd name="connsiteX1120" fmla="*/ 5828490 w 6096001"/>
              <a:gd name="connsiteY1120" fmla="*/ 3266699 h 5392467"/>
              <a:gd name="connsiteX1121" fmla="*/ 5822689 w 6096001"/>
              <a:gd name="connsiteY1121" fmla="*/ 3266699 h 5392467"/>
              <a:gd name="connsiteX1122" fmla="*/ 5843963 w 6096001"/>
              <a:gd name="connsiteY1122" fmla="*/ 3255094 h 5392467"/>
              <a:gd name="connsiteX1123" fmla="*/ 5830425 w 6096001"/>
              <a:gd name="connsiteY1123" fmla="*/ 3260898 h 5392467"/>
              <a:gd name="connsiteX1124" fmla="*/ 5830425 w 6096001"/>
              <a:gd name="connsiteY1124" fmla="*/ 3264766 h 5392467"/>
              <a:gd name="connsiteX1125" fmla="*/ 5843963 w 6096001"/>
              <a:gd name="connsiteY1125" fmla="*/ 3264766 h 5392467"/>
              <a:gd name="connsiteX1126" fmla="*/ 5847831 w 6096001"/>
              <a:gd name="connsiteY1126" fmla="*/ 3258965 h 5392467"/>
              <a:gd name="connsiteX1127" fmla="*/ 5843963 w 6096001"/>
              <a:gd name="connsiteY1127" fmla="*/ 3255094 h 5392467"/>
              <a:gd name="connsiteX1128" fmla="*/ 5780138 w 6096001"/>
              <a:gd name="connsiteY1128" fmla="*/ 3255094 h 5392467"/>
              <a:gd name="connsiteX1129" fmla="*/ 5762732 w 6096001"/>
              <a:gd name="connsiteY1129" fmla="*/ 3266699 h 5392467"/>
              <a:gd name="connsiteX1130" fmla="*/ 5780138 w 6096001"/>
              <a:gd name="connsiteY1130" fmla="*/ 3255094 h 5392467"/>
              <a:gd name="connsiteX1131" fmla="*/ 5896183 w 6096001"/>
              <a:gd name="connsiteY1131" fmla="*/ 3251228 h 5392467"/>
              <a:gd name="connsiteX1132" fmla="*/ 5900051 w 6096001"/>
              <a:gd name="connsiteY1132" fmla="*/ 3255094 h 5392467"/>
              <a:gd name="connsiteX1133" fmla="*/ 5880710 w 6096001"/>
              <a:gd name="connsiteY1133" fmla="*/ 3262831 h 5392467"/>
              <a:gd name="connsiteX1134" fmla="*/ 5876842 w 6096001"/>
              <a:gd name="connsiteY1134" fmla="*/ 3262831 h 5392467"/>
              <a:gd name="connsiteX1135" fmla="*/ 5874909 w 6096001"/>
              <a:gd name="connsiteY1135" fmla="*/ 3270570 h 5392467"/>
              <a:gd name="connsiteX1136" fmla="*/ 5896183 w 6096001"/>
              <a:gd name="connsiteY1136" fmla="*/ 3268634 h 5392467"/>
              <a:gd name="connsiteX1137" fmla="*/ 5917460 w 6096001"/>
              <a:gd name="connsiteY1137" fmla="*/ 3251228 h 5392467"/>
              <a:gd name="connsiteX1138" fmla="*/ 5896183 w 6096001"/>
              <a:gd name="connsiteY1138" fmla="*/ 3251228 h 5392467"/>
              <a:gd name="connsiteX1139" fmla="*/ 5930997 w 6096001"/>
              <a:gd name="connsiteY1139" fmla="*/ 3249293 h 5392467"/>
              <a:gd name="connsiteX1140" fmla="*/ 5926416 w 6096001"/>
              <a:gd name="connsiteY1140" fmla="*/ 3253872 h 5392467"/>
              <a:gd name="connsiteX1141" fmla="*/ 5927996 w 6096001"/>
              <a:gd name="connsiteY1141" fmla="*/ 3249793 h 5392467"/>
              <a:gd name="connsiteX1142" fmla="*/ 5778203 w 6096001"/>
              <a:gd name="connsiteY1142" fmla="*/ 3243489 h 5392467"/>
              <a:gd name="connsiteX1143" fmla="*/ 5762732 w 6096001"/>
              <a:gd name="connsiteY1143" fmla="*/ 3247360 h 5392467"/>
              <a:gd name="connsiteX1144" fmla="*/ 5741455 w 6096001"/>
              <a:gd name="connsiteY1144" fmla="*/ 3249293 h 5392467"/>
              <a:gd name="connsiteX1145" fmla="*/ 5741455 w 6096001"/>
              <a:gd name="connsiteY1145" fmla="*/ 3253161 h 5392467"/>
              <a:gd name="connsiteX1146" fmla="*/ 5749192 w 6096001"/>
              <a:gd name="connsiteY1146" fmla="*/ 3251228 h 5392467"/>
              <a:gd name="connsiteX1147" fmla="*/ 5743391 w 6096001"/>
              <a:gd name="connsiteY1147" fmla="*/ 3253161 h 5392467"/>
              <a:gd name="connsiteX1148" fmla="*/ 5756928 w 6096001"/>
              <a:gd name="connsiteY1148" fmla="*/ 3253161 h 5392467"/>
              <a:gd name="connsiteX1149" fmla="*/ 5766600 w 6096001"/>
              <a:gd name="connsiteY1149" fmla="*/ 3251228 h 5392467"/>
              <a:gd name="connsiteX1150" fmla="*/ 5822689 w 6096001"/>
              <a:gd name="connsiteY1150" fmla="*/ 3251228 h 5392467"/>
              <a:gd name="connsiteX1151" fmla="*/ 5828490 w 6096001"/>
              <a:gd name="connsiteY1151" fmla="*/ 3249293 h 5392467"/>
              <a:gd name="connsiteX1152" fmla="*/ 5813017 w 6096001"/>
              <a:gd name="connsiteY1152" fmla="*/ 3245425 h 5392467"/>
              <a:gd name="connsiteX1153" fmla="*/ 5789807 w 6096001"/>
              <a:gd name="connsiteY1153" fmla="*/ 3243489 h 5392467"/>
              <a:gd name="connsiteX1154" fmla="*/ 5778203 w 6096001"/>
              <a:gd name="connsiteY1154" fmla="*/ 3243489 h 5392467"/>
              <a:gd name="connsiteX1155" fmla="*/ 5768533 w 6096001"/>
              <a:gd name="connsiteY1155" fmla="*/ 3231887 h 5392467"/>
              <a:gd name="connsiteX1156" fmla="*/ 5766600 w 6096001"/>
              <a:gd name="connsiteY1156" fmla="*/ 3235755 h 5392467"/>
              <a:gd name="connsiteX1157" fmla="*/ 5776270 w 6096001"/>
              <a:gd name="connsiteY1157" fmla="*/ 3237688 h 5392467"/>
              <a:gd name="connsiteX1158" fmla="*/ 5811084 w 6096001"/>
              <a:gd name="connsiteY1158" fmla="*/ 3235755 h 5392467"/>
              <a:gd name="connsiteX1159" fmla="*/ 5813017 w 6096001"/>
              <a:gd name="connsiteY1159" fmla="*/ 3235755 h 5392467"/>
              <a:gd name="connsiteX1160" fmla="*/ 5840095 w 6096001"/>
              <a:gd name="connsiteY1160" fmla="*/ 3235755 h 5392467"/>
              <a:gd name="connsiteX1161" fmla="*/ 5845898 w 6096001"/>
              <a:gd name="connsiteY1161" fmla="*/ 3235755 h 5392467"/>
              <a:gd name="connsiteX1162" fmla="*/ 5785941 w 6096001"/>
              <a:gd name="connsiteY1162" fmla="*/ 3231887 h 5392467"/>
              <a:gd name="connsiteX1163" fmla="*/ 5768533 w 6096001"/>
              <a:gd name="connsiteY1163" fmla="*/ 3231887 h 5392467"/>
              <a:gd name="connsiteX1164" fmla="*/ 5861369 w 6096001"/>
              <a:gd name="connsiteY1164" fmla="*/ 3164194 h 5392467"/>
              <a:gd name="connsiteX1165" fmla="*/ 5863304 w 6096001"/>
              <a:gd name="connsiteY1165" fmla="*/ 3164194 h 5392467"/>
              <a:gd name="connsiteX1166" fmla="*/ 5863304 w 6096001"/>
              <a:gd name="connsiteY1166" fmla="*/ 3168060 h 5392467"/>
              <a:gd name="connsiteX1167" fmla="*/ 5861369 w 6096001"/>
              <a:gd name="connsiteY1167" fmla="*/ 3164194 h 5392467"/>
              <a:gd name="connsiteX1168" fmla="*/ 5664090 w 6096001"/>
              <a:gd name="connsiteY1168" fmla="*/ 3150654 h 5392467"/>
              <a:gd name="connsiteX1169" fmla="*/ 5662157 w 6096001"/>
              <a:gd name="connsiteY1169" fmla="*/ 3158390 h 5392467"/>
              <a:gd name="connsiteX1170" fmla="*/ 5664090 w 6096001"/>
              <a:gd name="connsiteY1170" fmla="*/ 3150654 h 5392467"/>
              <a:gd name="connsiteX1171" fmla="*/ 5567386 w 6096001"/>
              <a:gd name="connsiteY1171" fmla="*/ 3111971 h 5392467"/>
              <a:gd name="connsiteX1172" fmla="*/ 5569322 w 6096001"/>
              <a:gd name="connsiteY1172" fmla="*/ 3113907 h 5392467"/>
              <a:gd name="connsiteX1173" fmla="*/ 5580924 w 6096001"/>
              <a:gd name="connsiteY1173" fmla="*/ 3115839 h 5392467"/>
              <a:gd name="connsiteX1174" fmla="*/ 5586728 w 6096001"/>
              <a:gd name="connsiteY1174" fmla="*/ 3113907 h 5392467"/>
              <a:gd name="connsiteX1175" fmla="*/ 5567386 w 6096001"/>
              <a:gd name="connsiteY1175" fmla="*/ 3111971 h 5392467"/>
              <a:gd name="connsiteX1176" fmla="*/ 5370108 w 6096001"/>
              <a:gd name="connsiteY1176" fmla="*/ 3071355 h 5392467"/>
              <a:gd name="connsiteX1177" fmla="*/ 5364306 w 6096001"/>
              <a:gd name="connsiteY1177" fmla="*/ 3075224 h 5392467"/>
              <a:gd name="connsiteX1178" fmla="*/ 5364306 w 6096001"/>
              <a:gd name="connsiteY1178" fmla="*/ 3077159 h 5392467"/>
              <a:gd name="connsiteX1179" fmla="*/ 5387514 w 6096001"/>
              <a:gd name="connsiteY1179" fmla="*/ 3073291 h 5392467"/>
              <a:gd name="connsiteX1180" fmla="*/ 5370108 w 6096001"/>
              <a:gd name="connsiteY1180" fmla="*/ 3071355 h 5392467"/>
              <a:gd name="connsiteX1181" fmla="*/ 5416527 w 6096001"/>
              <a:gd name="connsiteY1181" fmla="*/ 3063619 h 5392467"/>
              <a:gd name="connsiteX1182" fmla="*/ 5402987 w 6096001"/>
              <a:gd name="connsiteY1182" fmla="*/ 3071355 h 5392467"/>
              <a:gd name="connsiteX1183" fmla="*/ 5402987 w 6096001"/>
              <a:gd name="connsiteY1183" fmla="*/ 3073291 h 5392467"/>
              <a:gd name="connsiteX1184" fmla="*/ 5416527 w 6096001"/>
              <a:gd name="connsiteY1184" fmla="*/ 3063619 h 5392467"/>
              <a:gd name="connsiteX1185" fmla="*/ 5470680 w 6096001"/>
              <a:gd name="connsiteY1185" fmla="*/ 3059751 h 5392467"/>
              <a:gd name="connsiteX1186" fmla="*/ 5459078 w 6096001"/>
              <a:gd name="connsiteY1186" fmla="*/ 3065555 h 5392467"/>
              <a:gd name="connsiteX1187" fmla="*/ 5468747 w 6096001"/>
              <a:gd name="connsiteY1187" fmla="*/ 3065555 h 5392467"/>
              <a:gd name="connsiteX1188" fmla="*/ 5470680 w 6096001"/>
              <a:gd name="connsiteY1188" fmla="*/ 3059751 h 5392467"/>
              <a:gd name="connsiteX1189" fmla="*/ 5556265 w 6096001"/>
              <a:gd name="connsiteY1189" fmla="*/ 3057817 h 5392467"/>
              <a:gd name="connsiteX1190" fmla="*/ 5553849 w 6096001"/>
              <a:gd name="connsiteY1190" fmla="*/ 3063619 h 5392467"/>
              <a:gd name="connsiteX1191" fmla="*/ 5557714 w 6096001"/>
              <a:gd name="connsiteY1191" fmla="*/ 3063619 h 5392467"/>
              <a:gd name="connsiteX1192" fmla="*/ 5561585 w 6096001"/>
              <a:gd name="connsiteY1192" fmla="*/ 3061686 h 5392467"/>
              <a:gd name="connsiteX1193" fmla="*/ 5561585 w 6096001"/>
              <a:gd name="connsiteY1193" fmla="*/ 3057818 h 5392467"/>
              <a:gd name="connsiteX1194" fmla="*/ 5556265 w 6096001"/>
              <a:gd name="connsiteY1194" fmla="*/ 3057817 h 5392467"/>
              <a:gd name="connsiteX1195" fmla="*/ 5681499 w 6096001"/>
              <a:gd name="connsiteY1195" fmla="*/ 2937902 h 5392467"/>
              <a:gd name="connsiteX1196" fmla="*/ 5685367 w 6096001"/>
              <a:gd name="connsiteY1196" fmla="*/ 2937902 h 5392467"/>
              <a:gd name="connsiteX1197" fmla="*/ 5681499 w 6096001"/>
              <a:gd name="connsiteY1197" fmla="*/ 2941770 h 5392467"/>
              <a:gd name="connsiteX1198" fmla="*/ 5681499 w 6096001"/>
              <a:gd name="connsiteY1198" fmla="*/ 2937902 h 5392467"/>
              <a:gd name="connsiteX1199" fmla="*/ 128691 w 6096001"/>
              <a:gd name="connsiteY1199" fmla="*/ 2382815 h 5392467"/>
              <a:gd name="connsiteX1200" fmla="*/ 113218 w 6096001"/>
              <a:gd name="connsiteY1200" fmla="*/ 2396353 h 5392467"/>
              <a:gd name="connsiteX1201" fmla="*/ 122890 w 6096001"/>
              <a:gd name="connsiteY1201" fmla="*/ 2388616 h 5392467"/>
              <a:gd name="connsiteX1202" fmla="*/ 122890 w 6096001"/>
              <a:gd name="connsiteY1202" fmla="*/ 2390552 h 5392467"/>
              <a:gd name="connsiteX1203" fmla="*/ 128691 w 6096001"/>
              <a:gd name="connsiteY1203" fmla="*/ 2382815 h 5392467"/>
              <a:gd name="connsiteX1204" fmla="*/ 5683432 w 6096001"/>
              <a:gd name="connsiteY1204" fmla="*/ 1839331 h 5392467"/>
              <a:gd name="connsiteX1205" fmla="*/ 5685367 w 6096001"/>
              <a:gd name="connsiteY1205" fmla="*/ 1841267 h 5392467"/>
              <a:gd name="connsiteX1206" fmla="*/ 5679566 w 6096001"/>
              <a:gd name="connsiteY1206" fmla="*/ 1845135 h 5392467"/>
              <a:gd name="connsiteX1207" fmla="*/ 5677630 w 6096001"/>
              <a:gd name="connsiteY1207" fmla="*/ 1843200 h 5392467"/>
              <a:gd name="connsiteX1208" fmla="*/ 5683432 w 6096001"/>
              <a:gd name="connsiteY1208" fmla="*/ 1839331 h 5392467"/>
              <a:gd name="connsiteX1209" fmla="*/ 5644749 w 6096001"/>
              <a:gd name="connsiteY1209" fmla="*/ 1810321 h 5392467"/>
              <a:gd name="connsiteX1210" fmla="*/ 5638948 w 6096001"/>
              <a:gd name="connsiteY1210" fmla="*/ 1823858 h 5392467"/>
              <a:gd name="connsiteX1211" fmla="*/ 5632854 w 6096001"/>
              <a:gd name="connsiteY1211" fmla="*/ 1825383 h 5392467"/>
              <a:gd name="connsiteX1212" fmla="*/ 5631521 w 6096001"/>
              <a:gd name="connsiteY1212" fmla="*/ 1814730 h 5392467"/>
              <a:gd name="connsiteX1213" fmla="*/ 5584795 w 6096001"/>
              <a:gd name="connsiteY1213" fmla="*/ 1796783 h 5392467"/>
              <a:gd name="connsiteX1214" fmla="*/ 5582859 w 6096001"/>
              <a:gd name="connsiteY1214" fmla="*/ 1798716 h 5392467"/>
              <a:gd name="connsiteX1215" fmla="*/ 5586728 w 6096001"/>
              <a:gd name="connsiteY1215" fmla="*/ 1800651 h 5392467"/>
              <a:gd name="connsiteX1216" fmla="*/ 5584795 w 6096001"/>
              <a:gd name="connsiteY1216" fmla="*/ 1796783 h 5392467"/>
              <a:gd name="connsiteX1217" fmla="*/ 5663912 w 6096001"/>
              <a:gd name="connsiteY1217" fmla="*/ 1792035 h 5392467"/>
              <a:gd name="connsiteX1218" fmla="*/ 5659256 w 6096001"/>
              <a:gd name="connsiteY1218" fmla="*/ 1799925 h 5392467"/>
              <a:gd name="connsiteX1219" fmla="*/ 5644749 w 6096001"/>
              <a:gd name="connsiteY1219" fmla="*/ 1810321 h 5392467"/>
              <a:gd name="connsiteX1220" fmla="*/ 5652488 w 6096001"/>
              <a:gd name="connsiteY1220" fmla="*/ 1796783 h 5392467"/>
              <a:gd name="connsiteX1221" fmla="*/ 5653777 w 6096001"/>
              <a:gd name="connsiteY1221" fmla="*/ 1795492 h 5392467"/>
              <a:gd name="connsiteX1222" fmla="*/ 5656356 w 6096001"/>
              <a:gd name="connsiteY1222" fmla="*/ 1800651 h 5392467"/>
              <a:gd name="connsiteX1223" fmla="*/ 5662157 w 6096001"/>
              <a:gd name="connsiteY1223" fmla="*/ 1794848 h 5392467"/>
              <a:gd name="connsiteX1224" fmla="*/ 5662157 w 6096001"/>
              <a:gd name="connsiteY1224" fmla="*/ 1792912 h 5392467"/>
              <a:gd name="connsiteX1225" fmla="*/ 5667959 w 6096001"/>
              <a:gd name="connsiteY1225" fmla="*/ 1785178 h 5392467"/>
              <a:gd name="connsiteX1226" fmla="*/ 5673762 w 6096001"/>
              <a:gd name="connsiteY1226" fmla="*/ 1785178 h 5392467"/>
              <a:gd name="connsiteX1227" fmla="*/ 5673762 w 6096001"/>
              <a:gd name="connsiteY1227" fmla="*/ 1787111 h 5392467"/>
              <a:gd name="connsiteX1228" fmla="*/ 5663912 w 6096001"/>
              <a:gd name="connsiteY1228" fmla="*/ 1792035 h 5392467"/>
              <a:gd name="connsiteX1229" fmla="*/ 5638948 w 6096001"/>
              <a:gd name="connsiteY1229" fmla="*/ 1783243 h 5392467"/>
              <a:gd name="connsiteX1230" fmla="*/ 5631211 w 6096001"/>
              <a:gd name="connsiteY1230" fmla="*/ 1785178 h 5392467"/>
              <a:gd name="connsiteX1231" fmla="*/ 5633147 w 6096001"/>
              <a:gd name="connsiteY1231" fmla="*/ 1787111 h 5392467"/>
              <a:gd name="connsiteX1232" fmla="*/ 5621542 w 6096001"/>
              <a:gd name="connsiteY1232" fmla="*/ 1794848 h 5392467"/>
              <a:gd name="connsiteX1233" fmla="*/ 5602201 w 6096001"/>
              <a:gd name="connsiteY1233" fmla="*/ 1808388 h 5392467"/>
              <a:gd name="connsiteX1234" fmla="*/ 5600265 w 6096001"/>
              <a:gd name="connsiteY1234" fmla="*/ 1810321 h 5392467"/>
              <a:gd name="connsiteX1235" fmla="*/ 5604133 w 6096001"/>
              <a:gd name="connsiteY1235" fmla="*/ 1812254 h 5392467"/>
              <a:gd name="connsiteX1236" fmla="*/ 5621542 w 6096001"/>
              <a:gd name="connsiteY1236" fmla="*/ 1796783 h 5392467"/>
              <a:gd name="connsiteX1237" fmla="*/ 5625410 w 6096001"/>
              <a:gd name="connsiteY1237" fmla="*/ 1802584 h 5392467"/>
              <a:gd name="connsiteX1238" fmla="*/ 5633147 w 6096001"/>
              <a:gd name="connsiteY1238" fmla="*/ 1800651 h 5392467"/>
              <a:gd name="connsiteX1239" fmla="*/ 5635080 w 6096001"/>
              <a:gd name="connsiteY1239" fmla="*/ 1790979 h 5392467"/>
              <a:gd name="connsiteX1240" fmla="*/ 5638948 w 6096001"/>
              <a:gd name="connsiteY1240" fmla="*/ 1783243 h 5392467"/>
              <a:gd name="connsiteX1241" fmla="*/ 5646684 w 6096001"/>
              <a:gd name="connsiteY1241" fmla="*/ 1761969 h 5392467"/>
              <a:gd name="connsiteX1242" fmla="*/ 5646684 w 6096001"/>
              <a:gd name="connsiteY1242" fmla="*/ 1763902 h 5392467"/>
              <a:gd name="connsiteX1243" fmla="*/ 5652488 w 6096001"/>
              <a:gd name="connsiteY1243" fmla="*/ 1761969 h 5392467"/>
              <a:gd name="connsiteX1244" fmla="*/ 5646684 w 6096001"/>
              <a:gd name="connsiteY1244" fmla="*/ 1761969 h 5392467"/>
              <a:gd name="connsiteX1245" fmla="*/ 5573190 w 6096001"/>
              <a:gd name="connsiteY1245" fmla="*/ 1742627 h 5392467"/>
              <a:gd name="connsiteX1246" fmla="*/ 5551913 w 6096001"/>
              <a:gd name="connsiteY1246" fmla="*/ 1748429 h 5392467"/>
              <a:gd name="connsiteX1247" fmla="*/ 5551913 w 6096001"/>
              <a:gd name="connsiteY1247" fmla="*/ 1752297 h 5392467"/>
              <a:gd name="connsiteX1248" fmla="*/ 5573190 w 6096001"/>
              <a:gd name="connsiteY1248" fmla="*/ 1742627 h 5392467"/>
              <a:gd name="connsiteX1249" fmla="*/ 5524838 w 6096001"/>
              <a:gd name="connsiteY1249" fmla="*/ 1742627 h 5392467"/>
              <a:gd name="connsiteX1250" fmla="*/ 5522903 w 6096001"/>
              <a:gd name="connsiteY1250" fmla="*/ 1744560 h 5392467"/>
              <a:gd name="connsiteX1251" fmla="*/ 5524838 w 6096001"/>
              <a:gd name="connsiteY1251" fmla="*/ 1744560 h 5392467"/>
              <a:gd name="connsiteX1252" fmla="*/ 5524838 w 6096001"/>
              <a:gd name="connsiteY1252" fmla="*/ 1742627 h 5392467"/>
              <a:gd name="connsiteX1253" fmla="*/ 5731784 w 6096001"/>
              <a:gd name="connsiteY1253" fmla="*/ 1711681 h 5392467"/>
              <a:gd name="connsiteX1254" fmla="*/ 5733719 w 6096001"/>
              <a:gd name="connsiteY1254" fmla="*/ 1713616 h 5392467"/>
              <a:gd name="connsiteX1255" fmla="*/ 5725982 w 6096001"/>
              <a:gd name="connsiteY1255" fmla="*/ 1721353 h 5392467"/>
              <a:gd name="connsiteX1256" fmla="*/ 5724049 w 6096001"/>
              <a:gd name="connsiteY1256" fmla="*/ 1717482 h 5392467"/>
              <a:gd name="connsiteX1257" fmla="*/ 5731784 w 6096001"/>
              <a:gd name="connsiteY1257" fmla="*/ 1711681 h 5392467"/>
              <a:gd name="connsiteX1258" fmla="*/ 5588663 w 6096001"/>
              <a:gd name="connsiteY1258" fmla="*/ 1698144 h 5392467"/>
              <a:gd name="connsiteX1259" fmla="*/ 5557714 w 6096001"/>
              <a:gd name="connsiteY1259" fmla="*/ 1715549 h 5392467"/>
              <a:gd name="connsiteX1260" fmla="*/ 5553849 w 6096001"/>
              <a:gd name="connsiteY1260" fmla="*/ 1723286 h 5392467"/>
              <a:gd name="connsiteX1261" fmla="*/ 5555781 w 6096001"/>
              <a:gd name="connsiteY1261" fmla="*/ 1729087 h 5392467"/>
              <a:gd name="connsiteX1262" fmla="*/ 5557714 w 6096001"/>
              <a:gd name="connsiteY1262" fmla="*/ 1723286 h 5392467"/>
              <a:gd name="connsiteX1263" fmla="*/ 5563518 w 6096001"/>
              <a:gd name="connsiteY1263" fmla="*/ 1725219 h 5392467"/>
              <a:gd name="connsiteX1264" fmla="*/ 5567386 w 6096001"/>
              <a:gd name="connsiteY1264" fmla="*/ 1719418 h 5392467"/>
              <a:gd name="connsiteX1265" fmla="*/ 5577056 w 6096001"/>
              <a:gd name="connsiteY1265" fmla="*/ 1721353 h 5392467"/>
              <a:gd name="connsiteX1266" fmla="*/ 5582859 w 6096001"/>
              <a:gd name="connsiteY1266" fmla="*/ 1713616 h 5392467"/>
              <a:gd name="connsiteX1267" fmla="*/ 5578991 w 6096001"/>
              <a:gd name="connsiteY1267" fmla="*/ 1723286 h 5392467"/>
              <a:gd name="connsiteX1268" fmla="*/ 5586728 w 6096001"/>
              <a:gd name="connsiteY1268" fmla="*/ 1729087 h 5392467"/>
              <a:gd name="connsiteX1269" fmla="*/ 5575123 w 6096001"/>
              <a:gd name="connsiteY1269" fmla="*/ 1740692 h 5392467"/>
              <a:gd name="connsiteX1270" fmla="*/ 5590596 w 6096001"/>
              <a:gd name="connsiteY1270" fmla="*/ 1740692 h 5392467"/>
              <a:gd name="connsiteX1271" fmla="*/ 5563518 w 6096001"/>
              <a:gd name="connsiteY1271" fmla="*/ 1763902 h 5392467"/>
              <a:gd name="connsiteX1272" fmla="*/ 5571255 w 6096001"/>
              <a:gd name="connsiteY1272" fmla="*/ 1773573 h 5392467"/>
              <a:gd name="connsiteX1273" fmla="*/ 5577056 w 6096001"/>
              <a:gd name="connsiteY1273" fmla="*/ 1767770 h 5392467"/>
              <a:gd name="connsiteX1274" fmla="*/ 5575123 w 6096001"/>
              <a:gd name="connsiteY1274" fmla="*/ 1779374 h 5392467"/>
              <a:gd name="connsiteX1275" fmla="*/ 5577056 w 6096001"/>
              <a:gd name="connsiteY1275" fmla="*/ 1785178 h 5392467"/>
              <a:gd name="connsiteX1276" fmla="*/ 5584795 w 6096001"/>
              <a:gd name="connsiteY1276" fmla="*/ 1777442 h 5392467"/>
              <a:gd name="connsiteX1277" fmla="*/ 5598332 w 6096001"/>
              <a:gd name="connsiteY1277" fmla="*/ 1765837 h 5392467"/>
              <a:gd name="connsiteX1278" fmla="*/ 5592531 w 6096001"/>
              <a:gd name="connsiteY1278" fmla="*/ 1760033 h 5392467"/>
              <a:gd name="connsiteX1279" fmla="*/ 5604133 w 6096001"/>
              <a:gd name="connsiteY1279" fmla="*/ 1742627 h 5392467"/>
              <a:gd name="connsiteX1280" fmla="*/ 5617674 w 6096001"/>
              <a:gd name="connsiteY1280" fmla="*/ 1736824 h 5392467"/>
              <a:gd name="connsiteX1281" fmla="*/ 5594464 w 6096001"/>
              <a:gd name="connsiteY1281" fmla="*/ 1738759 h 5392467"/>
              <a:gd name="connsiteX1282" fmla="*/ 5598332 w 6096001"/>
              <a:gd name="connsiteY1282" fmla="*/ 1721353 h 5392467"/>
              <a:gd name="connsiteX1283" fmla="*/ 5590596 w 6096001"/>
              <a:gd name="connsiteY1283" fmla="*/ 1715549 h 5392467"/>
              <a:gd name="connsiteX1284" fmla="*/ 5588663 w 6096001"/>
              <a:gd name="connsiteY1284" fmla="*/ 1707813 h 5392467"/>
              <a:gd name="connsiteX1285" fmla="*/ 5588663 w 6096001"/>
              <a:gd name="connsiteY1285" fmla="*/ 1698144 h 5392467"/>
              <a:gd name="connsiteX1286" fmla="*/ 5684596 w 6096001"/>
              <a:gd name="connsiteY1286" fmla="*/ 1686440 h 5392467"/>
              <a:gd name="connsiteX1287" fmla="*/ 5679566 w 6096001"/>
              <a:gd name="connsiteY1287" fmla="*/ 1702012 h 5392467"/>
              <a:gd name="connsiteX1288" fmla="*/ 5662157 w 6096001"/>
              <a:gd name="connsiteY1288" fmla="*/ 1719418 h 5392467"/>
              <a:gd name="connsiteX1289" fmla="*/ 5664090 w 6096001"/>
              <a:gd name="connsiteY1289" fmla="*/ 1713616 h 5392467"/>
              <a:gd name="connsiteX1290" fmla="*/ 5664090 w 6096001"/>
              <a:gd name="connsiteY1290" fmla="*/ 1711681 h 5392467"/>
              <a:gd name="connsiteX1291" fmla="*/ 5662157 w 6096001"/>
              <a:gd name="connsiteY1291" fmla="*/ 1709748 h 5392467"/>
              <a:gd name="connsiteX1292" fmla="*/ 5661103 w 6096001"/>
              <a:gd name="connsiteY1292" fmla="*/ 1711066 h 5392467"/>
              <a:gd name="connsiteX1293" fmla="*/ 5667959 w 6096001"/>
              <a:gd name="connsiteY1293" fmla="*/ 1696208 h 5392467"/>
              <a:gd name="connsiteX1294" fmla="*/ 5673762 w 6096001"/>
              <a:gd name="connsiteY1294" fmla="*/ 1698144 h 5392467"/>
              <a:gd name="connsiteX1295" fmla="*/ 5681499 w 6096001"/>
              <a:gd name="connsiteY1295" fmla="*/ 1688956 h 5392467"/>
              <a:gd name="connsiteX1296" fmla="*/ 5747259 w 6096001"/>
              <a:gd name="connsiteY1296" fmla="*/ 1680735 h 5392467"/>
              <a:gd name="connsiteX1297" fmla="*/ 5740888 w 6096001"/>
              <a:gd name="connsiteY1297" fmla="*/ 1691885 h 5392467"/>
              <a:gd name="connsiteX1298" fmla="*/ 5739522 w 6096001"/>
              <a:gd name="connsiteY1298" fmla="*/ 1692340 h 5392467"/>
              <a:gd name="connsiteX1299" fmla="*/ 5734407 w 6096001"/>
              <a:gd name="connsiteY1299" fmla="*/ 1687225 h 5392467"/>
              <a:gd name="connsiteX1300" fmla="*/ 5736620 w 6096001"/>
              <a:gd name="connsiteY1300" fmla="*/ 1682911 h 5392467"/>
              <a:gd name="connsiteX1301" fmla="*/ 5747259 w 6096001"/>
              <a:gd name="connsiteY1301" fmla="*/ 1680735 h 5392467"/>
              <a:gd name="connsiteX1302" fmla="*/ 5739522 w 6096001"/>
              <a:gd name="connsiteY1302" fmla="*/ 1620778 h 5392467"/>
              <a:gd name="connsiteX1303" fmla="*/ 5743391 w 6096001"/>
              <a:gd name="connsiteY1303" fmla="*/ 1632383 h 5392467"/>
              <a:gd name="connsiteX1304" fmla="*/ 5748547 w 6096001"/>
              <a:gd name="connsiteY1304" fmla="*/ 1632383 h 5392467"/>
              <a:gd name="connsiteX1305" fmla="*/ 5741455 w 6096001"/>
              <a:gd name="connsiteY1305" fmla="*/ 1640120 h 5392467"/>
              <a:gd name="connsiteX1306" fmla="*/ 5747259 w 6096001"/>
              <a:gd name="connsiteY1306" fmla="*/ 1642053 h 5392467"/>
              <a:gd name="connsiteX1307" fmla="*/ 5741455 w 6096001"/>
              <a:gd name="connsiteY1307" fmla="*/ 1671066 h 5392467"/>
              <a:gd name="connsiteX1308" fmla="*/ 5731784 w 6096001"/>
              <a:gd name="connsiteY1308" fmla="*/ 1678802 h 5392467"/>
              <a:gd name="connsiteX1309" fmla="*/ 5733478 w 6096001"/>
              <a:gd name="connsiteY1309" fmla="*/ 1686296 h 5392467"/>
              <a:gd name="connsiteX1310" fmla="*/ 5734407 w 6096001"/>
              <a:gd name="connsiteY1310" fmla="*/ 1687225 h 5392467"/>
              <a:gd name="connsiteX1311" fmla="*/ 5731784 w 6096001"/>
              <a:gd name="connsiteY1311" fmla="*/ 1692340 h 5392467"/>
              <a:gd name="connsiteX1312" fmla="*/ 5739522 w 6096001"/>
              <a:gd name="connsiteY1312" fmla="*/ 1694275 h 5392467"/>
              <a:gd name="connsiteX1313" fmla="*/ 5740888 w 6096001"/>
              <a:gd name="connsiteY1313" fmla="*/ 1691885 h 5392467"/>
              <a:gd name="connsiteX1314" fmla="*/ 5756928 w 6096001"/>
              <a:gd name="connsiteY1314" fmla="*/ 1686539 h 5392467"/>
              <a:gd name="connsiteX1315" fmla="*/ 5756928 w 6096001"/>
              <a:gd name="connsiteY1315" fmla="*/ 1692340 h 5392467"/>
              <a:gd name="connsiteX1316" fmla="*/ 5725982 w 6096001"/>
              <a:gd name="connsiteY1316" fmla="*/ 1709748 h 5392467"/>
              <a:gd name="connsiteX1317" fmla="*/ 5720181 w 6096001"/>
              <a:gd name="connsiteY1317" fmla="*/ 1713616 h 5392467"/>
              <a:gd name="connsiteX1318" fmla="*/ 5704708 w 6096001"/>
              <a:gd name="connsiteY1318" fmla="*/ 1721353 h 5392467"/>
              <a:gd name="connsiteX1319" fmla="*/ 5706641 w 6096001"/>
              <a:gd name="connsiteY1319" fmla="*/ 1692340 h 5392467"/>
              <a:gd name="connsiteX1320" fmla="*/ 5710509 w 6096001"/>
              <a:gd name="connsiteY1320" fmla="*/ 1688472 h 5392467"/>
              <a:gd name="connsiteX1321" fmla="*/ 5710509 w 6096001"/>
              <a:gd name="connsiteY1321" fmla="*/ 1684603 h 5392467"/>
              <a:gd name="connsiteX1322" fmla="*/ 5689235 w 6096001"/>
              <a:gd name="connsiteY1322" fmla="*/ 1682670 h 5392467"/>
              <a:gd name="connsiteX1323" fmla="*/ 5684596 w 6096001"/>
              <a:gd name="connsiteY1323" fmla="*/ 1686440 h 5392467"/>
              <a:gd name="connsiteX1324" fmla="*/ 5684642 w 6096001"/>
              <a:gd name="connsiteY1324" fmla="*/ 1686297 h 5392467"/>
              <a:gd name="connsiteX1325" fmla="*/ 5696972 w 6096001"/>
              <a:gd name="connsiteY1325" fmla="*/ 1674934 h 5392467"/>
              <a:gd name="connsiteX1326" fmla="*/ 5698907 w 6096001"/>
              <a:gd name="connsiteY1326" fmla="*/ 1674934 h 5392467"/>
              <a:gd name="connsiteX1327" fmla="*/ 5729851 w 6096001"/>
              <a:gd name="connsiteY1327" fmla="*/ 1636251 h 5392467"/>
              <a:gd name="connsiteX1328" fmla="*/ 5739522 w 6096001"/>
              <a:gd name="connsiteY1328" fmla="*/ 1620778 h 5392467"/>
              <a:gd name="connsiteX1329" fmla="*/ 5784006 w 6096001"/>
              <a:gd name="connsiteY1329" fmla="*/ 1613042 h 5392467"/>
              <a:gd name="connsiteX1330" fmla="*/ 5790991 w 6096001"/>
              <a:gd name="connsiteY1330" fmla="*/ 1616035 h 5392467"/>
              <a:gd name="connsiteX1331" fmla="*/ 5789807 w 6096001"/>
              <a:gd name="connsiteY1331" fmla="*/ 1616910 h 5392467"/>
              <a:gd name="connsiteX1332" fmla="*/ 5766600 w 6096001"/>
              <a:gd name="connsiteY1332" fmla="*/ 1632383 h 5392467"/>
              <a:gd name="connsiteX1333" fmla="*/ 5761693 w 6096001"/>
              <a:gd name="connsiteY1333" fmla="*/ 1631401 h 5392467"/>
              <a:gd name="connsiteX1334" fmla="*/ 5770951 w 6096001"/>
              <a:gd name="connsiteY1334" fmla="*/ 1621262 h 5392467"/>
              <a:gd name="connsiteX1335" fmla="*/ 5784006 w 6096001"/>
              <a:gd name="connsiteY1335" fmla="*/ 1613042 h 5392467"/>
              <a:gd name="connsiteX1336" fmla="*/ 5770466 w 6096001"/>
              <a:gd name="connsiteY1336" fmla="*/ 1603834 h 5392467"/>
              <a:gd name="connsiteX1337" fmla="*/ 5770466 w 6096001"/>
              <a:gd name="connsiteY1337" fmla="*/ 1618843 h 5392467"/>
              <a:gd name="connsiteX1338" fmla="*/ 5756928 w 6096001"/>
              <a:gd name="connsiteY1338" fmla="*/ 1630448 h 5392467"/>
              <a:gd name="connsiteX1339" fmla="*/ 5761693 w 6096001"/>
              <a:gd name="connsiteY1339" fmla="*/ 1631401 h 5392467"/>
              <a:gd name="connsiteX1340" fmla="*/ 5760797 w 6096001"/>
              <a:gd name="connsiteY1340" fmla="*/ 1632383 h 5392467"/>
              <a:gd name="connsiteX1341" fmla="*/ 5748547 w 6096001"/>
              <a:gd name="connsiteY1341" fmla="*/ 1632383 h 5392467"/>
              <a:gd name="connsiteX1342" fmla="*/ 5762732 w 6096001"/>
              <a:gd name="connsiteY1342" fmla="*/ 1616910 h 5392467"/>
              <a:gd name="connsiteX1343" fmla="*/ 5762732 w 6096001"/>
              <a:gd name="connsiteY1343" fmla="*/ 1613042 h 5392467"/>
              <a:gd name="connsiteX1344" fmla="*/ 5754993 w 6096001"/>
              <a:gd name="connsiteY1344" fmla="*/ 1616910 h 5392467"/>
              <a:gd name="connsiteX1345" fmla="*/ 5754993 w 6096001"/>
              <a:gd name="connsiteY1345" fmla="*/ 1613042 h 5392467"/>
              <a:gd name="connsiteX1346" fmla="*/ 5757403 w 6096001"/>
              <a:gd name="connsiteY1346" fmla="*/ 1610934 h 5392467"/>
              <a:gd name="connsiteX1347" fmla="*/ 5814235 w 6096001"/>
              <a:gd name="connsiteY1347" fmla="*/ 1598856 h 5392467"/>
              <a:gd name="connsiteX1348" fmla="*/ 5824622 w 6096001"/>
              <a:gd name="connsiteY1348" fmla="*/ 1603372 h 5392467"/>
              <a:gd name="connsiteX1349" fmla="*/ 5797544 w 6096001"/>
              <a:gd name="connsiteY1349" fmla="*/ 1618843 h 5392467"/>
              <a:gd name="connsiteX1350" fmla="*/ 5790991 w 6096001"/>
              <a:gd name="connsiteY1350" fmla="*/ 1616035 h 5392467"/>
              <a:gd name="connsiteX1351" fmla="*/ 5834293 w 6096001"/>
              <a:gd name="connsiteY1351" fmla="*/ 1584031 h 5392467"/>
              <a:gd name="connsiteX1352" fmla="*/ 5834293 w 6096001"/>
              <a:gd name="connsiteY1352" fmla="*/ 1585964 h 5392467"/>
              <a:gd name="connsiteX1353" fmla="*/ 5831678 w 6096001"/>
              <a:gd name="connsiteY1353" fmla="*/ 1585964 h 5392467"/>
              <a:gd name="connsiteX1354" fmla="*/ 5846918 w 6096001"/>
              <a:gd name="connsiteY1354" fmla="*/ 1573903 h 5392467"/>
              <a:gd name="connsiteX1355" fmla="*/ 5847831 w 6096001"/>
              <a:gd name="connsiteY1355" fmla="*/ 1574359 h 5392467"/>
              <a:gd name="connsiteX1356" fmla="*/ 5842028 w 6096001"/>
              <a:gd name="connsiteY1356" fmla="*/ 1580163 h 5392467"/>
              <a:gd name="connsiteX1357" fmla="*/ 5840732 w 6096001"/>
              <a:gd name="connsiteY1357" fmla="*/ 1578866 h 5392467"/>
              <a:gd name="connsiteX1358" fmla="*/ 5818820 w 6096001"/>
              <a:gd name="connsiteY1358" fmla="*/ 1572426 h 5392467"/>
              <a:gd name="connsiteX1359" fmla="*/ 5807216 w 6096001"/>
              <a:gd name="connsiteY1359" fmla="*/ 1578227 h 5392467"/>
              <a:gd name="connsiteX1360" fmla="*/ 5809149 w 6096001"/>
              <a:gd name="connsiteY1360" fmla="*/ 1585964 h 5392467"/>
              <a:gd name="connsiteX1361" fmla="*/ 5818820 w 6096001"/>
              <a:gd name="connsiteY1361" fmla="*/ 1572426 h 5392467"/>
              <a:gd name="connsiteX1362" fmla="*/ 5843963 w 6096001"/>
              <a:gd name="connsiteY1362" fmla="*/ 1560822 h 5392467"/>
              <a:gd name="connsiteX1363" fmla="*/ 5832358 w 6096001"/>
              <a:gd name="connsiteY1363" fmla="*/ 1566623 h 5392467"/>
              <a:gd name="connsiteX1364" fmla="*/ 5830425 w 6096001"/>
              <a:gd name="connsiteY1364" fmla="*/ 1578227 h 5392467"/>
              <a:gd name="connsiteX1365" fmla="*/ 5834293 w 6096001"/>
              <a:gd name="connsiteY1365" fmla="*/ 1578227 h 5392467"/>
              <a:gd name="connsiteX1366" fmla="*/ 5843963 w 6096001"/>
              <a:gd name="connsiteY1366" fmla="*/ 1560822 h 5392467"/>
              <a:gd name="connsiteX1367" fmla="*/ 5876842 w 6096001"/>
              <a:gd name="connsiteY1367" fmla="*/ 1555018 h 5392467"/>
              <a:gd name="connsiteX1368" fmla="*/ 5878777 w 6096001"/>
              <a:gd name="connsiteY1368" fmla="*/ 1556953 h 5392467"/>
              <a:gd name="connsiteX1369" fmla="*/ 5872976 w 6096001"/>
              <a:gd name="connsiteY1369" fmla="*/ 1560822 h 5392467"/>
              <a:gd name="connsiteX1370" fmla="*/ 5876842 w 6096001"/>
              <a:gd name="connsiteY1370" fmla="*/ 1555018 h 5392467"/>
              <a:gd name="connsiteX1371" fmla="*/ 5890595 w 6096001"/>
              <a:gd name="connsiteY1371" fmla="*/ 1530009 h 5392467"/>
              <a:gd name="connsiteX1372" fmla="*/ 5882645 w 6096001"/>
              <a:gd name="connsiteY1372" fmla="*/ 1539547 h 5392467"/>
              <a:gd name="connsiteX1373" fmla="*/ 5869108 w 6096001"/>
              <a:gd name="connsiteY1373" fmla="*/ 1545349 h 5392467"/>
              <a:gd name="connsiteX1374" fmla="*/ 5875713 w 6096001"/>
              <a:gd name="connsiteY1374" fmla="*/ 1538142 h 5392467"/>
              <a:gd name="connsiteX1375" fmla="*/ 5884578 w 6096001"/>
              <a:gd name="connsiteY1375" fmla="*/ 1531809 h 5392467"/>
              <a:gd name="connsiteX1376" fmla="*/ 5987086 w 6096001"/>
              <a:gd name="connsiteY1376" fmla="*/ 1481524 h 5392467"/>
              <a:gd name="connsiteX1377" fmla="*/ 5977417 w 6096001"/>
              <a:gd name="connsiteY1377" fmla="*/ 1489260 h 5392467"/>
              <a:gd name="connsiteX1378" fmla="*/ 5987086 w 6096001"/>
              <a:gd name="connsiteY1378" fmla="*/ 1481524 h 5392467"/>
              <a:gd name="connsiteX1379" fmla="*/ 5468747 w 6096001"/>
              <a:gd name="connsiteY1379" fmla="*/ 1429303 h 5392467"/>
              <a:gd name="connsiteX1380" fmla="*/ 5464879 w 6096001"/>
              <a:gd name="connsiteY1380" fmla="*/ 1431236 h 5392467"/>
              <a:gd name="connsiteX1381" fmla="*/ 5462946 w 6096001"/>
              <a:gd name="connsiteY1381" fmla="*/ 1435104 h 5392467"/>
              <a:gd name="connsiteX1382" fmla="*/ 5468747 w 6096001"/>
              <a:gd name="connsiteY1382" fmla="*/ 1435104 h 5392467"/>
              <a:gd name="connsiteX1383" fmla="*/ 5468747 w 6096001"/>
              <a:gd name="connsiteY1383" fmla="*/ 1429303 h 5392467"/>
              <a:gd name="connsiteX1384" fmla="*/ 5488088 w 6096001"/>
              <a:gd name="connsiteY1384" fmla="*/ 1419631 h 5392467"/>
              <a:gd name="connsiteX1385" fmla="*/ 5482287 w 6096001"/>
              <a:gd name="connsiteY1385" fmla="*/ 1421567 h 5392467"/>
              <a:gd name="connsiteX1386" fmla="*/ 5472615 w 6096001"/>
              <a:gd name="connsiteY1386" fmla="*/ 1433172 h 5392467"/>
              <a:gd name="connsiteX1387" fmla="*/ 5482287 w 6096001"/>
              <a:gd name="connsiteY1387" fmla="*/ 1435104 h 5392467"/>
              <a:gd name="connsiteX1388" fmla="*/ 5484220 w 6096001"/>
              <a:gd name="connsiteY1388" fmla="*/ 1435104 h 5392467"/>
              <a:gd name="connsiteX1389" fmla="*/ 5490021 w 6096001"/>
              <a:gd name="connsiteY1389" fmla="*/ 1431236 h 5392467"/>
              <a:gd name="connsiteX1390" fmla="*/ 5495825 w 6096001"/>
              <a:gd name="connsiteY1390" fmla="*/ 1419631 h 5392467"/>
              <a:gd name="connsiteX1391" fmla="*/ 5488088 w 6096001"/>
              <a:gd name="connsiteY1391" fmla="*/ 1419631 h 5392467"/>
              <a:gd name="connsiteX1392" fmla="*/ 5476483 w 6096001"/>
              <a:gd name="connsiteY1392" fmla="*/ 1408027 h 5392467"/>
              <a:gd name="connsiteX1393" fmla="*/ 5472615 w 6096001"/>
              <a:gd name="connsiteY1393" fmla="*/ 1411895 h 5392467"/>
              <a:gd name="connsiteX1394" fmla="*/ 5474551 w 6096001"/>
              <a:gd name="connsiteY1394" fmla="*/ 1413830 h 5392467"/>
              <a:gd name="connsiteX1395" fmla="*/ 5476483 w 6096001"/>
              <a:gd name="connsiteY1395" fmla="*/ 1408027 h 5392467"/>
              <a:gd name="connsiteX1396" fmla="*/ 5975481 w 6096001"/>
              <a:gd name="connsiteY1396" fmla="*/ 1390621 h 5392467"/>
              <a:gd name="connsiteX1397" fmla="*/ 5971613 w 6096001"/>
              <a:gd name="connsiteY1397" fmla="*/ 1398357 h 5392467"/>
              <a:gd name="connsiteX1398" fmla="*/ 5973548 w 6096001"/>
              <a:gd name="connsiteY1398" fmla="*/ 1400290 h 5392467"/>
              <a:gd name="connsiteX1399" fmla="*/ 5979352 w 6096001"/>
              <a:gd name="connsiteY1399" fmla="*/ 1392554 h 5392467"/>
              <a:gd name="connsiteX1400" fmla="*/ 5975481 w 6096001"/>
              <a:gd name="connsiteY1400" fmla="*/ 1390621 h 5392467"/>
              <a:gd name="connsiteX1401" fmla="*/ 5987086 w 6096001"/>
              <a:gd name="connsiteY1401" fmla="*/ 1385301 h 5392467"/>
              <a:gd name="connsiteX1402" fmla="*/ 5987086 w 6096001"/>
              <a:gd name="connsiteY1402" fmla="*/ 1390621 h 5392467"/>
              <a:gd name="connsiteX1403" fmla="*/ 5982327 w 6096001"/>
              <a:gd name="connsiteY1403" fmla="*/ 1387795 h 5392467"/>
              <a:gd name="connsiteX1404" fmla="*/ 5981285 w 6096001"/>
              <a:gd name="connsiteY1404" fmla="*/ 1386752 h 5392467"/>
              <a:gd name="connsiteX1405" fmla="*/ 6021900 w 6096001"/>
              <a:gd name="connsiteY1405" fmla="*/ 1379338 h 5392467"/>
              <a:gd name="connsiteX1406" fmla="*/ 6021900 w 6096001"/>
              <a:gd name="connsiteY1406" fmla="*/ 1380949 h 5392467"/>
              <a:gd name="connsiteX1407" fmla="*/ 6020519 w 6096001"/>
              <a:gd name="connsiteY1407" fmla="*/ 1380489 h 5392467"/>
              <a:gd name="connsiteX1408" fmla="*/ 5529913 w 6096001"/>
              <a:gd name="connsiteY1408" fmla="*/ 1372488 h 5392467"/>
              <a:gd name="connsiteX1409" fmla="*/ 5520967 w 6096001"/>
              <a:gd name="connsiteY1409" fmla="*/ 1379016 h 5392467"/>
              <a:gd name="connsiteX1410" fmla="*/ 5513231 w 6096001"/>
              <a:gd name="connsiteY1410" fmla="*/ 1380949 h 5392467"/>
              <a:gd name="connsiteX1411" fmla="*/ 5507430 w 6096001"/>
              <a:gd name="connsiteY1411" fmla="*/ 1386752 h 5392467"/>
              <a:gd name="connsiteX1412" fmla="*/ 5501628 w 6096001"/>
              <a:gd name="connsiteY1412" fmla="*/ 1382884 h 5392467"/>
              <a:gd name="connsiteX1413" fmla="*/ 5495825 w 6096001"/>
              <a:gd name="connsiteY1413" fmla="*/ 1388685 h 5392467"/>
              <a:gd name="connsiteX1414" fmla="*/ 5493889 w 6096001"/>
              <a:gd name="connsiteY1414" fmla="*/ 1386752 h 5392467"/>
              <a:gd name="connsiteX1415" fmla="*/ 5478419 w 6096001"/>
              <a:gd name="connsiteY1415" fmla="*/ 1406094 h 5392467"/>
              <a:gd name="connsiteX1416" fmla="*/ 5484220 w 6096001"/>
              <a:gd name="connsiteY1416" fmla="*/ 1409962 h 5392467"/>
              <a:gd name="connsiteX1417" fmla="*/ 5484220 w 6096001"/>
              <a:gd name="connsiteY1417" fmla="*/ 1417699 h 5392467"/>
              <a:gd name="connsiteX1418" fmla="*/ 5499693 w 6096001"/>
              <a:gd name="connsiteY1418" fmla="*/ 1404158 h 5392467"/>
              <a:gd name="connsiteX1419" fmla="*/ 5505497 w 6096001"/>
              <a:gd name="connsiteY1419" fmla="*/ 1400290 h 5392467"/>
              <a:gd name="connsiteX1420" fmla="*/ 5505497 w 6096001"/>
              <a:gd name="connsiteY1420" fmla="*/ 1402225 h 5392467"/>
              <a:gd name="connsiteX1421" fmla="*/ 5522903 w 6096001"/>
              <a:gd name="connsiteY1421" fmla="*/ 1392554 h 5392467"/>
              <a:gd name="connsiteX1422" fmla="*/ 5538376 w 6096001"/>
              <a:gd name="connsiteY1422" fmla="*/ 1377081 h 5392467"/>
              <a:gd name="connsiteX1423" fmla="*/ 5540308 w 6096001"/>
              <a:gd name="connsiteY1423" fmla="*/ 1373212 h 5392467"/>
              <a:gd name="connsiteX1424" fmla="*/ 5529913 w 6096001"/>
              <a:gd name="connsiteY1424" fmla="*/ 1372488 h 5392467"/>
              <a:gd name="connsiteX1425" fmla="*/ 5546112 w 6096001"/>
              <a:gd name="connsiteY1425" fmla="*/ 1369344 h 5392467"/>
              <a:gd name="connsiteX1426" fmla="*/ 5540308 w 6096001"/>
              <a:gd name="connsiteY1426" fmla="*/ 1375148 h 5392467"/>
              <a:gd name="connsiteX1427" fmla="*/ 5546112 w 6096001"/>
              <a:gd name="connsiteY1427" fmla="*/ 1375148 h 5392467"/>
              <a:gd name="connsiteX1428" fmla="*/ 5548045 w 6096001"/>
              <a:gd name="connsiteY1428" fmla="*/ 1371279 h 5392467"/>
              <a:gd name="connsiteX1429" fmla="*/ 5546112 w 6096001"/>
              <a:gd name="connsiteY1429" fmla="*/ 1369344 h 5392467"/>
              <a:gd name="connsiteX1430" fmla="*/ 5971613 w 6096001"/>
              <a:gd name="connsiteY1430" fmla="*/ 1361607 h 5392467"/>
              <a:gd name="connsiteX1431" fmla="*/ 5960011 w 6096001"/>
              <a:gd name="connsiteY1431" fmla="*/ 1371279 h 5392467"/>
              <a:gd name="connsiteX1432" fmla="*/ 5971613 w 6096001"/>
              <a:gd name="connsiteY1432" fmla="*/ 1361607 h 5392467"/>
              <a:gd name="connsiteX1433" fmla="*/ 6023836 w 6096001"/>
              <a:gd name="connsiteY1433" fmla="*/ 1351938 h 5392467"/>
              <a:gd name="connsiteX1434" fmla="*/ 6024801 w 6096001"/>
              <a:gd name="connsiteY1434" fmla="*/ 1351938 h 5392467"/>
              <a:gd name="connsiteX1435" fmla="*/ 6025769 w 6096001"/>
              <a:gd name="connsiteY1435" fmla="*/ 1353873 h 5392467"/>
              <a:gd name="connsiteX1436" fmla="*/ 6027853 w 6096001"/>
              <a:gd name="connsiteY1436" fmla="*/ 1352236 h 5392467"/>
              <a:gd name="connsiteX1437" fmla="*/ 6029637 w 6096001"/>
              <a:gd name="connsiteY1437" fmla="*/ 1355806 h 5392467"/>
              <a:gd name="connsiteX1438" fmla="*/ 6023836 w 6096001"/>
              <a:gd name="connsiteY1438" fmla="*/ 1363543 h 5392467"/>
              <a:gd name="connsiteX1439" fmla="*/ 6019967 w 6096001"/>
              <a:gd name="connsiteY1439" fmla="*/ 1361607 h 5392467"/>
              <a:gd name="connsiteX1440" fmla="*/ 6023836 w 6096001"/>
              <a:gd name="connsiteY1440" fmla="*/ 1351938 h 5392467"/>
              <a:gd name="connsiteX1441" fmla="*/ 6019967 w 6096001"/>
              <a:gd name="connsiteY1441" fmla="*/ 1342269 h 5392467"/>
              <a:gd name="connsiteX1442" fmla="*/ 6020353 w 6096001"/>
              <a:gd name="connsiteY1442" fmla="*/ 1343041 h 5392467"/>
              <a:gd name="connsiteX1443" fmla="*/ 6012406 w 6096001"/>
              <a:gd name="connsiteY1443" fmla="*/ 1347015 h 5392467"/>
              <a:gd name="connsiteX1444" fmla="*/ 6010295 w 6096001"/>
              <a:gd name="connsiteY1444" fmla="*/ 1344202 h 5392467"/>
              <a:gd name="connsiteX1445" fmla="*/ 6019967 w 6096001"/>
              <a:gd name="connsiteY1445" fmla="*/ 1342269 h 5392467"/>
              <a:gd name="connsiteX1446" fmla="*/ 6033505 w 6096001"/>
              <a:gd name="connsiteY1446" fmla="*/ 1336465 h 5392467"/>
              <a:gd name="connsiteX1447" fmla="*/ 6036149 w 6096001"/>
              <a:gd name="connsiteY1447" fmla="*/ 1345717 h 5392467"/>
              <a:gd name="connsiteX1448" fmla="*/ 6027853 w 6096001"/>
              <a:gd name="connsiteY1448" fmla="*/ 1352236 h 5392467"/>
              <a:gd name="connsiteX1449" fmla="*/ 6027704 w 6096001"/>
              <a:gd name="connsiteY1449" fmla="*/ 1351938 h 5392467"/>
              <a:gd name="connsiteX1450" fmla="*/ 6024801 w 6096001"/>
              <a:gd name="connsiteY1450" fmla="*/ 1351938 h 5392467"/>
              <a:gd name="connsiteX1451" fmla="*/ 6020353 w 6096001"/>
              <a:gd name="connsiteY1451" fmla="*/ 1343041 h 5392467"/>
              <a:gd name="connsiteX1452" fmla="*/ 5608002 w 6096001"/>
              <a:gd name="connsiteY1452" fmla="*/ 1324860 h 5392467"/>
              <a:gd name="connsiteX1453" fmla="*/ 5604133 w 6096001"/>
              <a:gd name="connsiteY1453" fmla="*/ 1326796 h 5392467"/>
              <a:gd name="connsiteX1454" fmla="*/ 5606069 w 6096001"/>
              <a:gd name="connsiteY1454" fmla="*/ 1328729 h 5392467"/>
              <a:gd name="connsiteX1455" fmla="*/ 5608002 w 6096001"/>
              <a:gd name="connsiteY1455" fmla="*/ 1324860 h 5392467"/>
              <a:gd name="connsiteX1456" fmla="*/ 6095397 w 6096001"/>
              <a:gd name="connsiteY1456" fmla="*/ 1307454 h 5392467"/>
              <a:gd name="connsiteX1457" fmla="*/ 6093946 w 6096001"/>
              <a:gd name="connsiteY1457" fmla="*/ 1310597 h 5392467"/>
              <a:gd name="connsiteX1458" fmla="*/ 6092743 w 6096001"/>
              <a:gd name="connsiteY1458" fmla="*/ 1309401 h 5392467"/>
              <a:gd name="connsiteX1459" fmla="*/ 5642816 w 6096001"/>
              <a:gd name="connsiteY1459" fmla="*/ 1303586 h 5392467"/>
              <a:gd name="connsiteX1460" fmla="*/ 5623475 w 6096001"/>
              <a:gd name="connsiteY1460" fmla="*/ 1315191 h 5392467"/>
              <a:gd name="connsiteX1461" fmla="*/ 5613805 w 6096001"/>
              <a:gd name="connsiteY1461" fmla="*/ 1320992 h 5392467"/>
              <a:gd name="connsiteX1462" fmla="*/ 5609937 w 6096001"/>
              <a:gd name="connsiteY1462" fmla="*/ 1330664 h 5392467"/>
              <a:gd name="connsiteX1463" fmla="*/ 5627343 w 6096001"/>
              <a:gd name="connsiteY1463" fmla="*/ 1328729 h 5392467"/>
              <a:gd name="connsiteX1464" fmla="*/ 5642816 w 6096001"/>
              <a:gd name="connsiteY1464" fmla="*/ 1303586 h 5392467"/>
              <a:gd name="connsiteX1465" fmla="*/ 6077989 w 6096001"/>
              <a:gd name="connsiteY1465" fmla="*/ 1291981 h 5392467"/>
              <a:gd name="connsiteX1466" fmla="*/ 6088325 w 6096001"/>
              <a:gd name="connsiteY1466" fmla="*/ 1305006 h 5392467"/>
              <a:gd name="connsiteX1467" fmla="*/ 6092743 w 6096001"/>
              <a:gd name="connsiteY1467" fmla="*/ 1309401 h 5392467"/>
              <a:gd name="connsiteX1468" fmla="*/ 6066386 w 6096001"/>
              <a:gd name="connsiteY1468" fmla="*/ 1328729 h 5392467"/>
              <a:gd name="connsiteX1469" fmla="*/ 6037373 w 6096001"/>
              <a:gd name="connsiteY1469" fmla="*/ 1350003 h 5392467"/>
              <a:gd name="connsiteX1470" fmla="*/ 6036149 w 6096001"/>
              <a:gd name="connsiteY1470" fmla="*/ 1345717 h 5392467"/>
              <a:gd name="connsiteX1471" fmla="*/ 6052846 w 6096001"/>
              <a:gd name="connsiteY1471" fmla="*/ 1332597 h 5392467"/>
              <a:gd name="connsiteX1472" fmla="*/ 6050911 w 6096001"/>
              <a:gd name="connsiteY1472" fmla="*/ 1330664 h 5392467"/>
              <a:gd name="connsiteX1473" fmla="*/ 6031570 w 6096001"/>
              <a:gd name="connsiteY1473" fmla="*/ 1334532 h 5392467"/>
              <a:gd name="connsiteX1474" fmla="*/ 6033505 w 6096001"/>
              <a:gd name="connsiteY1474" fmla="*/ 1330664 h 5392467"/>
              <a:gd name="connsiteX1475" fmla="*/ 6077989 w 6096001"/>
              <a:gd name="connsiteY1475" fmla="*/ 1291981 h 5392467"/>
              <a:gd name="connsiteX1476" fmla="*/ 5644749 w 6096001"/>
              <a:gd name="connsiteY1476" fmla="*/ 1251363 h 5392467"/>
              <a:gd name="connsiteX1477" fmla="*/ 5635080 w 6096001"/>
              <a:gd name="connsiteY1477" fmla="*/ 1262968 h 5392467"/>
              <a:gd name="connsiteX1478" fmla="*/ 5638948 w 6096001"/>
              <a:gd name="connsiteY1478" fmla="*/ 1276508 h 5392467"/>
              <a:gd name="connsiteX1479" fmla="*/ 5629278 w 6096001"/>
              <a:gd name="connsiteY1479" fmla="*/ 1286178 h 5392467"/>
              <a:gd name="connsiteX1480" fmla="*/ 5623475 w 6096001"/>
              <a:gd name="connsiteY1480" fmla="*/ 1295850 h 5392467"/>
              <a:gd name="connsiteX1481" fmla="*/ 5644749 w 6096001"/>
              <a:gd name="connsiteY1481" fmla="*/ 1301651 h 5392467"/>
              <a:gd name="connsiteX1482" fmla="*/ 5660224 w 6096001"/>
              <a:gd name="connsiteY1482" fmla="*/ 1305519 h 5392467"/>
              <a:gd name="connsiteX1483" fmla="*/ 5615738 w 6096001"/>
              <a:gd name="connsiteY1483" fmla="*/ 1346137 h 5392467"/>
              <a:gd name="connsiteX1484" fmla="*/ 5557714 w 6096001"/>
              <a:gd name="connsiteY1484" fmla="*/ 1382884 h 5392467"/>
              <a:gd name="connsiteX1485" fmla="*/ 5559650 w 6096001"/>
              <a:gd name="connsiteY1485" fmla="*/ 1390621 h 5392467"/>
              <a:gd name="connsiteX1486" fmla="*/ 5551913 w 6096001"/>
              <a:gd name="connsiteY1486" fmla="*/ 1396422 h 5392467"/>
              <a:gd name="connsiteX1487" fmla="*/ 5522903 w 6096001"/>
              <a:gd name="connsiteY1487" fmla="*/ 1409962 h 5392467"/>
              <a:gd name="connsiteX1488" fmla="*/ 5517099 w 6096001"/>
              <a:gd name="connsiteY1488" fmla="*/ 1402225 h 5392467"/>
              <a:gd name="connsiteX1489" fmla="*/ 5503561 w 6096001"/>
              <a:gd name="connsiteY1489" fmla="*/ 1409962 h 5392467"/>
              <a:gd name="connsiteX1490" fmla="*/ 5501628 w 6096001"/>
              <a:gd name="connsiteY1490" fmla="*/ 1417699 h 5392467"/>
              <a:gd name="connsiteX1491" fmla="*/ 5503561 w 6096001"/>
              <a:gd name="connsiteY1491" fmla="*/ 1417699 h 5392467"/>
              <a:gd name="connsiteX1492" fmla="*/ 5503561 w 6096001"/>
              <a:gd name="connsiteY1492" fmla="*/ 1419631 h 5392467"/>
              <a:gd name="connsiteX1493" fmla="*/ 5502112 w 6096001"/>
              <a:gd name="connsiteY1493" fmla="*/ 1421083 h 5392467"/>
              <a:gd name="connsiteX1494" fmla="*/ 5501628 w 6096001"/>
              <a:gd name="connsiteY1494" fmla="*/ 1419631 h 5392467"/>
              <a:gd name="connsiteX1495" fmla="*/ 5501628 w 6096001"/>
              <a:gd name="connsiteY1495" fmla="*/ 1421567 h 5392467"/>
              <a:gd name="connsiteX1496" fmla="*/ 5502112 w 6096001"/>
              <a:gd name="connsiteY1496" fmla="*/ 1421083 h 5392467"/>
              <a:gd name="connsiteX1497" fmla="*/ 5503561 w 6096001"/>
              <a:gd name="connsiteY1497" fmla="*/ 1425435 h 5392467"/>
              <a:gd name="connsiteX1498" fmla="*/ 5573190 w 6096001"/>
              <a:gd name="connsiteY1498" fmla="*/ 1388685 h 5392467"/>
              <a:gd name="connsiteX1499" fmla="*/ 5644749 w 6096001"/>
              <a:gd name="connsiteY1499" fmla="*/ 1396422 h 5392467"/>
              <a:gd name="connsiteX1500" fmla="*/ 5650553 w 6096001"/>
              <a:gd name="connsiteY1500" fmla="*/ 1386752 h 5392467"/>
              <a:gd name="connsiteX1501" fmla="*/ 5631211 w 6096001"/>
              <a:gd name="connsiteY1501" fmla="*/ 1382884 h 5392467"/>
              <a:gd name="connsiteX1502" fmla="*/ 5635080 w 6096001"/>
              <a:gd name="connsiteY1502" fmla="*/ 1375148 h 5392467"/>
              <a:gd name="connsiteX1503" fmla="*/ 5646684 w 6096001"/>
              <a:gd name="connsiteY1503" fmla="*/ 1367411 h 5392467"/>
              <a:gd name="connsiteX1504" fmla="*/ 5637015 w 6096001"/>
              <a:gd name="connsiteY1504" fmla="*/ 1350003 h 5392467"/>
              <a:gd name="connsiteX1505" fmla="*/ 5664090 w 6096001"/>
              <a:gd name="connsiteY1505" fmla="*/ 1328729 h 5392467"/>
              <a:gd name="connsiteX1506" fmla="*/ 5664090 w 6096001"/>
              <a:gd name="connsiteY1506" fmla="*/ 1313255 h 5392467"/>
              <a:gd name="connsiteX1507" fmla="*/ 5664090 w 6096001"/>
              <a:gd name="connsiteY1507" fmla="*/ 1311323 h 5392467"/>
              <a:gd name="connsiteX1508" fmla="*/ 5662157 w 6096001"/>
              <a:gd name="connsiteY1508" fmla="*/ 1261035 h 5392467"/>
              <a:gd name="connsiteX1509" fmla="*/ 5654421 w 6096001"/>
              <a:gd name="connsiteY1509" fmla="*/ 1262968 h 5392467"/>
              <a:gd name="connsiteX1510" fmla="*/ 5644749 w 6096001"/>
              <a:gd name="connsiteY1510" fmla="*/ 1251363 h 5392467"/>
              <a:gd name="connsiteX1511" fmla="*/ 5635080 w 6096001"/>
              <a:gd name="connsiteY1511" fmla="*/ 1241694 h 5392467"/>
              <a:gd name="connsiteX1512" fmla="*/ 5629278 w 6096001"/>
              <a:gd name="connsiteY1512" fmla="*/ 1247497 h 5392467"/>
              <a:gd name="connsiteX1513" fmla="*/ 5640883 w 6096001"/>
              <a:gd name="connsiteY1513" fmla="*/ 1255234 h 5392467"/>
              <a:gd name="connsiteX1514" fmla="*/ 5640883 w 6096001"/>
              <a:gd name="connsiteY1514" fmla="*/ 1247497 h 5392467"/>
              <a:gd name="connsiteX1515" fmla="*/ 5635080 w 6096001"/>
              <a:gd name="connsiteY1515" fmla="*/ 1241694 h 5392467"/>
              <a:gd name="connsiteX1516" fmla="*/ 5573190 w 6096001"/>
              <a:gd name="connsiteY1516" fmla="*/ 1013469 h 5392467"/>
              <a:gd name="connsiteX1517" fmla="*/ 5569322 w 6096001"/>
              <a:gd name="connsiteY1517" fmla="*/ 1015404 h 5392467"/>
              <a:gd name="connsiteX1518" fmla="*/ 5565453 w 6096001"/>
              <a:gd name="connsiteY1518" fmla="*/ 1021206 h 5392467"/>
              <a:gd name="connsiteX1519" fmla="*/ 5565453 w 6096001"/>
              <a:gd name="connsiteY1519" fmla="*/ 1023141 h 5392467"/>
              <a:gd name="connsiteX1520" fmla="*/ 5573190 w 6096001"/>
              <a:gd name="connsiteY1520" fmla="*/ 1013469 h 5392467"/>
              <a:gd name="connsiteX1521" fmla="*/ 4991023 w 6096001"/>
              <a:gd name="connsiteY1521" fmla="*/ 986394 h 5392467"/>
              <a:gd name="connsiteX1522" fmla="*/ 4985222 w 6096001"/>
              <a:gd name="connsiteY1522" fmla="*/ 990260 h 5392467"/>
              <a:gd name="connsiteX1523" fmla="*/ 4987155 w 6096001"/>
              <a:gd name="connsiteY1523" fmla="*/ 992195 h 5392467"/>
              <a:gd name="connsiteX1524" fmla="*/ 4992959 w 6096001"/>
              <a:gd name="connsiteY1524" fmla="*/ 988327 h 5392467"/>
              <a:gd name="connsiteX1525" fmla="*/ 4991023 w 6096001"/>
              <a:gd name="connsiteY1525" fmla="*/ 986394 h 5392467"/>
              <a:gd name="connsiteX1526" fmla="*/ 5462946 w 6096001"/>
              <a:gd name="connsiteY1526" fmla="*/ 965117 h 5392467"/>
              <a:gd name="connsiteX1527" fmla="*/ 5451341 w 6096001"/>
              <a:gd name="connsiteY1527" fmla="*/ 967052 h 5392467"/>
              <a:gd name="connsiteX1528" fmla="*/ 5428131 w 6096001"/>
              <a:gd name="connsiteY1528" fmla="*/ 986394 h 5392467"/>
              <a:gd name="connsiteX1529" fmla="*/ 5424263 w 6096001"/>
              <a:gd name="connsiteY1529" fmla="*/ 990260 h 5392467"/>
              <a:gd name="connsiteX1530" fmla="*/ 5426196 w 6096001"/>
              <a:gd name="connsiteY1530" fmla="*/ 1009601 h 5392467"/>
              <a:gd name="connsiteX1531" fmla="*/ 5445537 w 6096001"/>
              <a:gd name="connsiteY1531" fmla="*/ 996063 h 5392467"/>
              <a:gd name="connsiteX1532" fmla="*/ 5461010 w 6096001"/>
              <a:gd name="connsiteY1532" fmla="*/ 978657 h 5392467"/>
              <a:gd name="connsiteX1533" fmla="*/ 5462946 w 6096001"/>
              <a:gd name="connsiteY1533" fmla="*/ 965117 h 5392467"/>
              <a:gd name="connsiteX1534" fmla="*/ 5468747 w 6096001"/>
              <a:gd name="connsiteY1534" fmla="*/ 943843 h 5392467"/>
              <a:gd name="connsiteX1535" fmla="*/ 5466814 w 6096001"/>
              <a:gd name="connsiteY1535" fmla="*/ 949644 h 5392467"/>
              <a:gd name="connsiteX1536" fmla="*/ 5468747 w 6096001"/>
              <a:gd name="connsiteY1536" fmla="*/ 955448 h 5392467"/>
              <a:gd name="connsiteX1537" fmla="*/ 5472615 w 6096001"/>
              <a:gd name="connsiteY1537" fmla="*/ 951579 h 5392467"/>
              <a:gd name="connsiteX1538" fmla="*/ 5472615 w 6096001"/>
              <a:gd name="connsiteY1538" fmla="*/ 945776 h 5392467"/>
              <a:gd name="connsiteX1539" fmla="*/ 5470680 w 6096001"/>
              <a:gd name="connsiteY1539" fmla="*/ 943843 h 5392467"/>
              <a:gd name="connsiteX1540" fmla="*/ 5468747 w 6096001"/>
              <a:gd name="connsiteY1540" fmla="*/ 943843 h 5392467"/>
              <a:gd name="connsiteX1541" fmla="*/ 5298546 w 6096001"/>
              <a:gd name="connsiteY1541" fmla="*/ 878083 h 5392467"/>
              <a:gd name="connsiteX1542" fmla="*/ 5281140 w 6096001"/>
              <a:gd name="connsiteY1542" fmla="*/ 893556 h 5392467"/>
              <a:gd name="connsiteX1543" fmla="*/ 5283073 w 6096001"/>
              <a:gd name="connsiteY1543" fmla="*/ 895488 h 5392467"/>
              <a:gd name="connsiteX1544" fmla="*/ 5290810 w 6096001"/>
              <a:gd name="connsiteY1544" fmla="*/ 883884 h 5392467"/>
              <a:gd name="connsiteX1545" fmla="*/ 5298546 w 6096001"/>
              <a:gd name="connsiteY1545" fmla="*/ 878083 h 5392467"/>
              <a:gd name="connsiteX1546" fmla="*/ 999037 w 6096001"/>
              <a:gd name="connsiteY1546" fmla="*/ 876150 h 5392467"/>
              <a:gd name="connsiteX1547" fmla="*/ 999037 w 6096001"/>
              <a:gd name="connsiteY1547" fmla="*/ 878083 h 5392467"/>
              <a:gd name="connsiteX1548" fmla="*/ 1000972 w 6096001"/>
              <a:gd name="connsiteY1548" fmla="*/ 876150 h 5392467"/>
              <a:gd name="connsiteX1549" fmla="*/ 999037 w 6096001"/>
              <a:gd name="connsiteY1549" fmla="*/ 876150 h 5392467"/>
              <a:gd name="connsiteX1550" fmla="*/ 886860 w 6096001"/>
              <a:gd name="connsiteY1550" fmla="*/ 860677 h 5392467"/>
              <a:gd name="connsiteX1551" fmla="*/ 886860 w 6096001"/>
              <a:gd name="connsiteY1551" fmla="*/ 864545 h 5392467"/>
              <a:gd name="connsiteX1552" fmla="*/ 890728 w 6096001"/>
              <a:gd name="connsiteY1552" fmla="*/ 864545 h 5392467"/>
              <a:gd name="connsiteX1553" fmla="*/ 892661 w 6096001"/>
              <a:gd name="connsiteY1553" fmla="*/ 860677 h 5392467"/>
              <a:gd name="connsiteX1554" fmla="*/ 886860 w 6096001"/>
              <a:gd name="connsiteY1554" fmla="*/ 860677 h 5392467"/>
              <a:gd name="connsiteX1555" fmla="*/ 5321756 w 6096001"/>
              <a:gd name="connsiteY1555" fmla="*/ 854873 h 5392467"/>
              <a:gd name="connsiteX1556" fmla="*/ 5304350 w 6096001"/>
              <a:gd name="connsiteY1556" fmla="*/ 866478 h 5392467"/>
              <a:gd name="connsiteX1557" fmla="*/ 5310151 w 6096001"/>
              <a:gd name="connsiteY1557" fmla="*/ 872281 h 5392467"/>
              <a:gd name="connsiteX1558" fmla="*/ 5321756 w 6096001"/>
              <a:gd name="connsiteY1558" fmla="*/ 854873 h 5392467"/>
              <a:gd name="connsiteX1559" fmla="*/ 1873250 w 6096001"/>
              <a:gd name="connsiteY1559" fmla="*/ 835532 h 5392467"/>
              <a:gd name="connsiteX1560" fmla="*/ 1865516 w 6096001"/>
              <a:gd name="connsiteY1560" fmla="*/ 841335 h 5392467"/>
              <a:gd name="connsiteX1561" fmla="*/ 1865516 w 6096001"/>
              <a:gd name="connsiteY1561" fmla="*/ 843268 h 5392467"/>
              <a:gd name="connsiteX1562" fmla="*/ 1879054 w 6096001"/>
              <a:gd name="connsiteY1562" fmla="*/ 837467 h 5392467"/>
              <a:gd name="connsiteX1563" fmla="*/ 1873250 w 6096001"/>
              <a:gd name="connsiteY1563" fmla="*/ 835532 h 5392467"/>
              <a:gd name="connsiteX1564" fmla="*/ 1902263 w 6096001"/>
              <a:gd name="connsiteY1564" fmla="*/ 827795 h 5392467"/>
              <a:gd name="connsiteX1565" fmla="*/ 1882922 w 6096001"/>
              <a:gd name="connsiteY1565" fmla="*/ 835532 h 5392467"/>
              <a:gd name="connsiteX1566" fmla="*/ 1884855 w 6096001"/>
              <a:gd name="connsiteY1566" fmla="*/ 835532 h 5392467"/>
              <a:gd name="connsiteX1567" fmla="*/ 1882922 w 6096001"/>
              <a:gd name="connsiteY1567" fmla="*/ 843268 h 5392467"/>
              <a:gd name="connsiteX1568" fmla="*/ 1880987 w 6096001"/>
              <a:gd name="connsiteY1568" fmla="*/ 845204 h 5392467"/>
              <a:gd name="connsiteX1569" fmla="*/ 1902263 w 6096001"/>
              <a:gd name="connsiteY1569" fmla="*/ 827795 h 5392467"/>
              <a:gd name="connsiteX1570" fmla="*/ 1718523 w 6096001"/>
              <a:gd name="connsiteY1570" fmla="*/ 816190 h 5392467"/>
              <a:gd name="connsiteX1571" fmla="*/ 1677907 w 6096001"/>
              <a:gd name="connsiteY1571" fmla="*/ 835532 h 5392467"/>
              <a:gd name="connsiteX1572" fmla="*/ 1718523 w 6096001"/>
              <a:gd name="connsiteY1572" fmla="*/ 816190 h 5392467"/>
              <a:gd name="connsiteX1573" fmla="*/ 1991231 w 6096001"/>
              <a:gd name="connsiteY1573" fmla="*/ 792983 h 5392467"/>
              <a:gd name="connsiteX1574" fmla="*/ 1979626 w 6096001"/>
              <a:gd name="connsiteY1574" fmla="*/ 802653 h 5392467"/>
              <a:gd name="connsiteX1575" fmla="*/ 1989298 w 6096001"/>
              <a:gd name="connsiteY1575" fmla="*/ 800720 h 5392467"/>
              <a:gd name="connsiteX1576" fmla="*/ 1993166 w 6096001"/>
              <a:gd name="connsiteY1576" fmla="*/ 792983 h 5392467"/>
              <a:gd name="connsiteX1577" fmla="*/ 1991231 w 6096001"/>
              <a:gd name="connsiteY1577" fmla="*/ 792983 h 5392467"/>
              <a:gd name="connsiteX1578" fmla="*/ 1037719 w 6096001"/>
              <a:gd name="connsiteY1578" fmla="*/ 781378 h 5392467"/>
              <a:gd name="connsiteX1579" fmla="*/ 1033851 w 6096001"/>
              <a:gd name="connsiteY1579" fmla="*/ 783311 h 5392467"/>
              <a:gd name="connsiteX1580" fmla="*/ 1035784 w 6096001"/>
              <a:gd name="connsiteY1580" fmla="*/ 785247 h 5392467"/>
              <a:gd name="connsiteX1581" fmla="*/ 1037719 w 6096001"/>
              <a:gd name="connsiteY1581" fmla="*/ 781378 h 5392467"/>
              <a:gd name="connsiteX1582" fmla="*/ 1782350 w 6096001"/>
              <a:gd name="connsiteY1582" fmla="*/ 777510 h 5392467"/>
              <a:gd name="connsiteX1583" fmla="*/ 1753337 w 6096001"/>
              <a:gd name="connsiteY1583" fmla="*/ 794916 h 5392467"/>
              <a:gd name="connsiteX1584" fmla="*/ 1755272 w 6096001"/>
              <a:gd name="connsiteY1584" fmla="*/ 798784 h 5392467"/>
              <a:gd name="connsiteX1585" fmla="*/ 1784283 w 6096001"/>
              <a:gd name="connsiteY1585" fmla="*/ 779443 h 5392467"/>
              <a:gd name="connsiteX1586" fmla="*/ 1782350 w 6096001"/>
              <a:gd name="connsiteY1586" fmla="*/ 777510 h 5392467"/>
              <a:gd name="connsiteX1587" fmla="*/ 4911725 w 6096001"/>
              <a:gd name="connsiteY1587" fmla="*/ 767838 h 5392467"/>
              <a:gd name="connsiteX1588" fmla="*/ 4900121 w 6096001"/>
              <a:gd name="connsiteY1588" fmla="*/ 777510 h 5392467"/>
              <a:gd name="connsiteX1589" fmla="*/ 4894319 w 6096001"/>
              <a:gd name="connsiteY1589" fmla="*/ 781378 h 5392467"/>
              <a:gd name="connsiteX1590" fmla="*/ 4878846 w 6096001"/>
              <a:gd name="connsiteY1590" fmla="*/ 787180 h 5392467"/>
              <a:gd name="connsiteX1591" fmla="*/ 4834363 w 6096001"/>
              <a:gd name="connsiteY1591" fmla="*/ 820059 h 5392467"/>
              <a:gd name="connsiteX1592" fmla="*/ 4826626 w 6096001"/>
              <a:gd name="connsiteY1592" fmla="*/ 827795 h 5392467"/>
              <a:gd name="connsiteX1593" fmla="*/ 4844032 w 6096001"/>
              <a:gd name="connsiteY1593" fmla="*/ 820059 h 5392467"/>
              <a:gd name="connsiteX1594" fmla="*/ 4847900 w 6096001"/>
              <a:gd name="connsiteY1594" fmla="*/ 825862 h 5392467"/>
              <a:gd name="connsiteX1595" fmla="*/ 4855637 w 6096001"/>
              <a:gd name="connsiteY1595" fmla="*/ 816190 h 5392467"/>
              <a:gd name="connsiteX1596" fmla="*/ 4857572 w 6096001"/>
              <a:gd name="connsiteY1596" fmla="*/ 810389 h 5392467"/>
              <a:gd name="connsiteX1597" fmla="*/ 4886583 w 6096001"/>
              <a:gd name="connsiteY1597" fmla="*/ 792983 h 5392467"/>
              <a:gd name="connsiteX1598" fmla="*/ 4911725 w 6096001"/>
              <a:gd name="connsiteY1598" fmla="*/ 779443 h 5392467"/>
              <a:gd name="connsiteX1599" fmla="*/ 4911725 w 6096001"/>
              <a:gd name="connsiteY1599" fmla="*/ 767838 h 5392467"/>
              <a:gd name="connsiteX1600" fmla="*/ 5325624 w 6096001"/>
              <a:gd name="connsiteY1600" fmla="*/ 762037 h 5392467"/>
              <a:gd name="connsiteX1601" fmla="*/ 5321756 w 6096001"/>
              <a:gd name="connsiteY1601" fmla="*/ 765905 h 5392467"/>
              <a:gd name="connsiteX1602" fmla="*/ 5325624 w 6096001"/>
              <a:gd name="connsiteY1602" fmla="*/ 765905 h 5392467"/>
              <a:gd name="connsiteX1603" fmla="*/ 5327559 w 6096001"/>
              <a:gd name="connsiteY1603" fmla="*/ 763970 h 5392467"/>
              <a:gd name="connsiteX1604" fmla="*/ 5325624 w 6096001"/>
              <a:gd name="connsiteY1604" fmla="*/ 762037 h 5392467"/>
              <a:gd name="connsiteX1605" fmla="*/ 4902056 w 6096001"/>
              <a:gd name="connsiteY1605" fmla="*/ 762037 h 5392467"/>
              <a:gd name="connsiteX1606" fmla="*/ 4898188 w 6096001"/>
              <a:gd name="connsiteY1606" fmla="*/ 765905 h 5392467"/>
              <a:gd name="connsiteX1607" fmla="*/ 4898188 w 6096001"/>
              <a:gd name="connsiteY1607" fmla="*/ 767838 h 5392467"/>
              <a:gd name="connsiteX1608" fmla="*/ 4902056 w 6096001"/>
              <a:gd name="connsiteY1608" fmla="*/ 762037 h 5392467"/>
              <a:gd name="connsiteX1609" fmla="*/ 5401054 w 6096001"/>
              <a:gd name="connsiteY1609" fmla="*/ 756234 h 5392467"/>
              <a:gd name="connsiteX1610" fmla="*/ 5385581 w 6096001"/>
              <a:gd name="connsiteY1610" fmla="*/ 767838 h 5392467"/>
              <a:gd name="connsiteX1611" fmla="*/ 5389449 w 6096001"/>
              <a:gd name="connsiteY1611" fmla="*/ 767838 h 5392467"/>
              <a:gd name="connsiteX1612" fmla="*/ 5397185 w 6096001"/>
              <a:gd name="connsiteY1612" fmla="*/ 762037 h 5392467"/>
              <a:gd name="connsiteX1613" fmla="*/ 5401054 w 6096001"/>
              <a:gd name="connsiteY1613" fmla="*/ 756234 h 5392467"/>
              <a:gd name="connsiteX1614" fmla="*/ 1834568 w 6096001"/>
              <a:gd name="connsiteY1614" fmla="*/ 756234 h 5392467"/>
              <a:gd name="connsiteX1615" fmla="*/ 1832635 w 6096001"/>
              <a:gd name="connsiteY1615" fmla="*/ 758169 h 5392467"/>
              <a:gd name="connsiteX1616" fmla="*/ 1836503 w 6096001"/>
              <a:gd name="connsiteY1616" fmla="*/ 756234 h 5392467"/>
              <a:gd name="connsiteX1617" fmla="*/ 1834568 w 6096001"/>
              <a:gd name="connsiteY1617" fmla="*/ 756234 h 5392467"/>
              <a:gd name="connsiteX1618" fmla="*/ 1828767 w 6096001"/>
              <a:gd name="connsiteY1618" fmla="*/ 748497 h 5392467"/>
              <a:gd name="connsiteX1619" fmla="*/ 1822965 w 6096001"/>
              <a:gd name="connsiteY1619" fmla="*/ 750432 h 5392467"/>
              <a:gd name="connsiteX1620" fmla="*/ 1824898 w 6096001"/>
              <a:gd name="connsiteY1620" fmla="*/ 750432 h 5392467"/>
              <a:gd name="connsiteX1621" fmla="*/ 1809425 w 6096001"/>
              <a:gd name="connsiteY1621" fmla="*/ 763970 h 5392467"/>
              <a:gd name="connsiteX1622" fmla="*/ 1819097 w 6096001"/>
              <a:gd name="connsiteY1622" fmla="*/ 767838 h 5392467"/>
              <a:gd name="connsiteX1623" fmla="*/ 1822965 w 6096001"/>
              <a:gd name="connsiteY1623" fmla="*/ 756234 h 5392467"/>
              <a:gd name="connsiteX1624" fmla="*/ 1826834 w 6096001"/>
              <a:gd name="connsiteY1624" fmla="*/ 750432 h 5392467"/>
              <a:gd name="connsiteX1625" fmla="*/ 1828767 w 6096001"/>
              <a:gd name="connsiteY1625" fmla="*/ 748497 h 5392467"/>
              <a:gd name="connsiteX1626" fmla="*/ 5397185 w 6096001"/>
              <a:gd name="connsiteY1626" fmla="*/ 742696 h 5392467"/>
              <a:gd name="connsiteX1627" fmla="*/ 5393317 w 6096001"/>
              <a:gd name="connsiteY1627" fmla="*/ 748497 h 5392467"/>
              <a:gd name="connsiteX1628" fmla="*/ 5399121 w 6096001"/>
              <a:gd name="connsiteY1628" fmla="*/ 744629 h 5392467"/>
              <a:gd name="connsiteX1629" fmla="*/ 5397185 w 6096001"/>
              <a:gd name="connsiteY1629" fmla="*/ 742696 h 5392467"/>
              <a:gd name="connsiteX1630" fmla="*/ 2122235 w 6096001"/>
              <a:gd name="connsiteY1630" fmla="*/ 705949 h 5392467"/>
              <a:gd name="connsiteX1631" fmla="*/ 2122752 w 6096001"/>
              <a:gd name="connsiteY1631" fmla="*/ 705949 h 5392467"/>
              <a:gd name="connsiteX1632" fmla="*/ 2122752 w 6096001"/>
              <a:gd name="connsiteY1632" fmla="*/ 709815 h 5392467"/>
              <a:gd name="connsiteX1633" fmla="*/ 2121769 w 6096001"/>
              <a:gd name="connsiteY1633" fmla="*/ 707852 h 5392467"/>
              <a:gd name="connsiteX1634" fmla="*/ 5445537 w 6096001"/>
              <a:gd name="connsiteY1634" fmla="*/ 702080 h 5392467"/>
              <a:gd name="connsiteX1635" fmla="*/ 5441669 w 6096001"/>
              <a:gd name="connsiteY1635" fmla="*/ 705949 h 5392467"/>
              <a:gd name="connsiteX1636" fmla="*/ 5445537 w 6096001"/>
              <a:gd name="connsiteY1636" fmla="*/ 707882 h 5392467"/>
              <a:gd name="connsiteX1637" fmla="*/ 5447473 w 6096001"/>
              <a:gd name="connsiteY1637" fmla="*/ 704013 h 5392467"/>
              <a:gd name="connsiteX1638" fmla="*/ 5445537 w 6096001"/>
              <a:gd name="connsiteY1638" fmla="*/ 702080 h 5392467"/>
              <a:gd name="connsiteX1639" fmla="*/ 1832635 w 6096001"/>
              <a:gd name="connsiteY1639" fmla="*/ 700145 h 5392467"/>
              <a:gd name="connsiteX1640" fmla="*/ 1805557 w 6096001"/>
              <a:gd name="connsiteY1640" fmla="*/ 707882 h 5392467"/>
              <a:gd name="connsiteX1641" fmla="*/ 1813294 w 6096001"/>
              <a:gd name="connsiteY1641" fmla="*/ 711750 h 5392467"/>
              <a:gd name="connsiteX1642" fmla="*/ 1811361 w 6096001"/>
              <a:gd name="connsiteY1642" fmla="*/ 713685 h 5392467"/>
              <a:gd name="connsiteX1643" fmla="*/ 1706918 w 6096001"/>
              <a:gd name="connsiteY1643" fmla="*/ 756234 h 5392467"/>
              <a:gd name="connsiteX1644" fmla="*/ 1703050 w 6096001"/>
              <a:gd name="connsiteY1644" fmla="*/ 758169 h 5392467"/>
              <a:gd name="connsiteX1645" fmla="*/ 1697248 w 6096001"/>
              <a:gd name="connsiteY1645" fmla="*/ 769774 h 5392467"/>
              <a:gd name="connsiteX1646" fmla="*/ 1689512 w 6096001"/>
              <a:gd name="connsiteY1646" fmla="*/ 789115 h 5392467"/>
              <a:gd name="connsiteX1647" fmla="*/ 1701117 w 6096001"/>
              <a:gd name="connsiteY1647" fmla="*/ 783311 h 5392467"/>
              <a:gd name="connsiteX1648" fmla="*/ 1710786 w 6096001"/>
              <a:gd name="connsiteY1648" fmla="*/ 777510 h 5392467"/>
              <a:gd name="connsiteX1649" fmla="*/ 1714654 w 6096001"/>
              <a:gd name="connsiteY1649" fmla="*/ 775575 h 5392467"/>
              <a:gd name="connsiteX1650" fmla="*/ 1726259 w 6096001"/>
              <a:gd name="connsiteY1650" fmla="*/ 769774 h 5392467"/>
              <a:gd name="connsiteX1651" fmla="*/ 1730127 w 6096001"/>
              <a:gd name="connsiteY1651" fmla="*/ 767838 h 5392467"/>
              <a:gd name="connsiteX1652" fmla="*/ 1741732 w 6096001"/>
              <a:gd name="connsiteY1652" fmla="*/ 762037 h 5392467"/>
              <a:gd name="connsiteX1653" fmla="*/ 1830702 w 6096001"/>
              <a:gd name="connsiteY1653" fmla="*/ 719486 h 5392467"/>
              <a:gd name="connsiteX1654" fmla="*/ 1836503 w 6096001"/>
              <a:gd name="connsiteY1654" fmla="*/ 715618 h 5392467"/>
              <a:gd name="connsiteX1655" fmla="*/ 1853909 w 6096001"/>
              <a:gd name="connsiteY1655" fmla="*/ 705949 h 5392467"/>
              <a:gd name="connsiteX1656" fmla="*/ 1844240 w 6096001"/>
              <a:gd name="connsiteY1656" fmla="*/ 707882 h 5392467"/>
              <a:gd name="connsiteX1657" fmla="*/ 1836503 w 6096001"/>
              <a:gd name="connsiteY1657" fmla="*/ 713685 h 5392467"/>
              <a:gd name="connsiteX1658" fmla="*/ 1832635 w 6096001"/>
              <a:gd name="connsiteY1658" fmla="*/ 700145 h 5392467"/>
              <a:gd name="connsiteX1659" fmla="*/ 5372043 w 6096001"/>
              <a:gd name="connsiteY1659" fmla="*/ 694344 h 5392467"/>
              <a:gd name="connsiteX1660" fmla="*/ 5364306 w 6096001"/>
              <a:gd name="connsiteY1660" fmla="*/ 700145 h 5392467"/>
              <a:gd name="connsiteX1661" fmla="*/ 5366239 w 6096001"/>
              <a:gd name="connsiteY1661" fmla="*/ 702080 h 5392467"/>
              <a:gd name="connsiteX1662" fmla="*/ 5372043 w 6096001"/>
              <a:gd name="connsiteY1662" fmla="*/ 694344 h 5392467"/>
              <a:gd name="connsiteX1663" fmla="*/ 1981562 w 6096001"/>
              <a:gd name="connsiteY1663" fmla="*/ 690476 h 5392467"/>
              <a:gd name="connsiteX1664" fmla="*/ 1952551 w 6096001"/>
              <a:gd name="connsiteY1664" fmla="*/ 698212 h 5392467"/>
              <a:gd name="connsiteX1665" fmla="*/ 1948680 w 6096001"/>
              <a:gd name="connsiteY1665" fmla="*/ 707882 h 5392467"/>
              <a:gd name="connsiteX1666" fmla="*/ 1973825 w 6096001"/>
              <a:gd name="connsiteY1666" fmla="*/ 698212 h 5392467"/>
              <a:gd name="connsiteX1667" fmla="*/ 1981562 w 6096001"/>
              <a:gd name="connsiteY1667" fmla="*/ 690476 h 5392467"/>
              <a:gd name="connsiteX1668" fmla="*/ 1860437 w 6096001"/>
              <a:gd name="connsiteY1668" fmla="*/ 685157 h 5392467"/>
              <a:gd name="connsiteX1669" fmla="*/ 1850043 w 6096001"/>
              <a:gd name="connsiteY1669" fmla="*/ 694344 h 5392467"/>
              <a:gd name="connsiteX1670" fmla="*/ 1863581 w 6096001"/>
              <a:gd name="connsiteY1670" fmla="*/ 690476 h 5392467"/>
              <a:gd name="connsiteX1671" fmla="*/ 1860437 w 6096001"/>
              <a:gd name="connsiteY1671" fmla="*/ 685157 h 5392467"/>
              <a:gd name="connsiteX1672" fmla="*/ 1735931 w 6096001"/>
              <a:gd name="connsiteY1672" fmla="*/ 684672 h 5392467"/>
              <a:gd name="connsiteX1673" fmla="*/ 1714654 w 6096001"/>
              <a:gd name="connsiteY1673" fmla="*/ 686607 h 5392467"/>
              <a:gd name="connsiteX1674" fmla="*/ 1718523 w 6096001"/>
              <a:gd name="connsiteY1674" fmla="*/ 692409 h 5392467"/>
              <a:gd name="connsiteX1675" fmla="*/ 1735931 w 6096001"/>
              <a:gd name="connsiteY1675" fmla="*/ 688540 h 5392467"/>
              <a:gd name="connsiteX1676" fmla="*/ 1735931 w 6096001"/>
              <a:gd name="connsiteY1676" fmla="*/ 684672 h 5392467"/>
              <a:gd name="connsiteX1677" fmla="*/ 5414594 w 6096001"/>
              <a:gd name="connsiteY1677" fmla="*/ 663398 h 5392467"/>
              <a:gd name="connsiteX1678" fmla="*/ 5399121 w 6096001"/>
              <a:gd name="connsiteY1678" fmla="*/ 671134 h 5392467"/>
              <a:gd name="connsiteX1679" fmla="*/ 5414594 w 6096001"/>
              <a:gd name="connsiteY1679" fmla="*/ 663398 h 5392467"/>
              <a:gd name="connsiteX1680" fmla="*/ 1726259 w 6096001"/>
              <a:gd name="connsiteY1680" fmla="*/ 663398 h 5392467"/>
              <a:gd name="connsiteX1681" fmla="*/ 1716590 w 6096001"/>
              <a:gd name="connsiteY1681" fmla="*/ 669199 h 5392467"/>
              <a:gd name="connsiteX1682" fmla="*/ 1708853 w 6096001"/>
              <a:gd name="connsiteY1682" fmla="*/ 678871 h 5392467"/>
              <a:gd name="connsiteX1683" fmla="*/ 1710786 w 6096001"/>
              <a:gd name="connsiteY1683" fmla="*/ 682739 h 5392467"/>
              <a:gd name="connsiteX1684" fmla="*/ 1712721 w 6096001"/>
              <a:gd name="connsiteY1684" fmla="*/ 678871 h 5392467"/>
              <a:gd name="connsiteX1685" fmla="*/ 1714654 w 6096001"/>
              <a:gd name="connsiteY1685" fmla="*/ 676936 h 5392467"/>
              <a:gd name="connsiteX1686" fmla="*/ 1726259 w 6096001"/>
              <a:gd name="connsiteY1686" fmla="*/ 663398 h 5392467"/>
              <a:gd name="connsiteX1687" fmla="*/ 1163436 w 6096001"/>
              <a:gd name="connsiteY1687" fmla="*/ 653726 h 5392467"/>
              <a:gd name="connsiteX1688" fmla="*/ 1118950 w 6096001"/>
              <a:gd name="connsiteY1688" fmla="*/ 669199 h 5392467"/>
              <a:gd name="connsiteX1689" fmla="*/ 1163436 w 6096001"/>
              <a:gd name="connsiteY1689" fmla="*/ 653726 h 5392467"/>
              <a:gd name="connsiteX1690" fmla="*/ 3539475 w 6096001"/>
              <a:gd name="connsiteY1690" fmla="*/ 647925 h 5392467"/>
              <a:gd name="connsiteX1691" fmla="*/ 3542382 w 6096001"/>
              <a:gd name="connsiteY1691" fmla="*/ 647925 h 5392467"/>
              <a:gd name="connsiteX1692" fmla="*/ 3530777 w 6096001"/>
              <a:gd name="connsiteY1692" fmla="*/ 655661 h 5392467"/>
              <a:gd name="connsiteX1693" fmla="*/ 3526574 w 6096001"/>
              <a:gd name="connsiteY1693" fmla="*/ 654461 h 5392467"/>
              <a:gd name="connsiteX1694" fmla="*/ 3532710 w 6096001"/>
              <a:gd name="connsiteY1694" fmla="*/ 649858 h 5392467"/>
              <a:gd name="connsiteX1695" fmla="*/ 3563656 w 6096001"/>
              <a:gd name="connsiteY1695" fmla="*/ 634385 h 5392467"/>
              <a:gd name="connsiteX1696" fmla="*/ 3563656 w 6096001"/>
              <a:gd name="connsiteY1696" fmla="*/ 638253 h 5392467"/>
              <a:gd name="connsiteX1697" fmla="*/ 3557855 w 6096001"/>
              <a:gd name="connsiteY1697" fmla="*/ 642121 h 5392467"/>
              <a:gd name="connsiteX1698" fmla="*/ 3557855 w 6096001"/>
              <a:gd name="connsiteY1698" fmla="*/ 640188 h 5392467"/>
              <a:gd name="connsiteX1699" fmla="*/ 3563656 w 6096001"/>
              <a:gd name="connsiteY1699" fmla="*/ 634385 h 5392467"/>
              <a:gd name="connsiteX1700" fmla="*/ 3534646 w 6096001"/>
              <a:gd name="connsiteY1700" fmla="*/ 632452 h 5392467"/>
              <a:gd name="connsiteX1701" fmla="*/ 3534646 w 6096001"/>
              <a:gd name="connsiteY1701" fmla="*/ 636320 h 5392467"/>
              <a:gd name="connsiteX1702" fmla="*/ 3538514 w 6096001"/>
              <a:gd name="connsiteY1702" fmla="*/ 642121 h 5392467"/>
              <a:gd name="connsiteX1703" fmla="*/ 3540447 w 6096001"/>
              <a:gd name="connsiteY1703" fmla="*/ 636320 h 5392467"/>
              <a:gd name="connsiteX1704" fmla="*/ 3534646 w 6096001"/>
              <a:gd name="connsiteY1704" fmla="*/ 632452 h 5392467"/>
              <a:gd name="connsiteX1705" fmla="*/ 5248259 w 6096001"/>
              <a:gd name="connsiteY1705" fmla="*/ 624715 h 5392467"/>
              <a:gd name="connsiteX1706" fmla="*/ 5250194 w 6096001"/>
              <a:gd name="connsiteY1706" fmla="*/ 626651 h 5392467"/>
              <a:gd name="connsiteX1707" fmla="*/ 5244393 w 6096001"/>
              <a:gd name="connsiteY1707" fmla="*/ 630519 h 5392467"/>
              <a:gd name="connsiteX1708" fmla="*/ 5242458 w 6096001"/>
              <a:gd name="connsiteY1708" fmla="*/ 628584 h 5392467"/>
              <a:gd name="connsiteX1709" fmla="*/ 5248259 w 6096001"/>
              <a:gd name="connsiteY1709" fmla="*/ 624715 h 5392467"/>
              <a:gd name="connsiteX1710" fmla="*/ 2076333 w 6096001"/>
              <a:gd name="connsiteY1710" fmla="*/ 616979 h 5392467"/>
              <a:gd name="connsiteX1711" fmla="*/ 2076333 w 6096001"/>
              <a:gd name="connsiteY1711" fmla="*/ 624715 h 5392467"/>
              <a:gd name="connsiteX1712" fmla="*/ 2076333 w 6096001"/>
              <a:gd name="connsiteY1712" fmla="*/ 616979 h 5392467"/>
              <a:gd name="connsiteX1713" fmla="*/ 1991231 w 6096001"/>
              <a:gd name="connsiteY1713" fmla="*/ 611178 h 5392467"/>
              <a:gd name="connsiteX1714" fmla="*/ 1969957 w 6096001"/>
              <a:gd name="connsiteY1714" fmla="*/ 616979 h 5392467"/>
              <a:gd name="connsiteX1715" fmla="*/ 1971890 w 6096001"/>
              <a:gd name="connsiteY1715" fmla="*/ 616979 h 5392467"/>
              <a:gd name="connsiteX1716" fmla="*/ 1985430 w 6096001"/>
              <a:gd name="connsiteY1716" fmla="*/ 615046 h 5392467"/>
              <a:gd name="connsiteX1717" fmla="*/ 1991231 w 6096001"/>
              <a:gd name="connsiteY1717" fmla="*/ 611178 h 5392467"/>
              <a:gd name="connsiteX1718" fmla="*/ 1821030 w 6096001"/>
              <a:gd name="connsiteY1718" fmla="*/ 603441 h 5392467"/>
              <a:gd name="connsiteX1719" fmla="*/ 1820451 w 6096001"/>
              <a:gd name="connsiteY1719" fmla="*/ 607623 h 5392467"/>
              <a:gd name="connsiteX1720" fmla="*/ 1817162 w 6096001"/>
              <a:gd name="connsiteY1720" fmla="*/ 609242 h 5392467"/>
              <a:gd name="connsiteX1721" fmla="*/ 1816673 w 6096001"/>
              <a:gd name="connsiteY1721" fmla="*/ 606553 h 5392467"/>
              <a:gd name="connsiteX1722" fmla="*/ 3523041 w 6096001"/>
              <a:gd name="connsiteY1722" fmla="*/ 601506 h 5392467"/>
              <a:gd name="connsiteX1723" fmla="*/ 3519173 w 6096001"/>
              <a:gd name="connsiteY1723" fmla="*/ 603441 h 5392467"/>
              <a:gd name="connsiteX1724" fmla="*/ 3521106 w 6096001"/>
              <a:gd name="connsiteY1724" fmla="*/ 607309 h 5392467"/>
              <a:gd name="connsiteX1725" fmla="*/ 3524974 w 6096001"/>
              <a:gd name="connsiteY1725" fmla="*/ 603441 h 5392467"/>
              <a:gd name="connsiteX1726" fmla="*/ 3523041 w 6096001"/>
              <a:gd name="connsiteY1726" fmla="*/ 601506 h 5392467"/>
              <a:gd name="connsiteX1727" fmla="*/ 1478696 w 6096001"/>
              <a:gd name="connsiteY1727" fmla="*/ 599573 h 5392467"/>
              <a:gd name="connsiteX1728" fmla="*/ 1467088 w 6096001"/>
              <a:gd name="connsiteY1728" fmla="*/ 603441 h 5392467"/>
              <a:gd name="connsiteX1729" fmla="*/ 1474827 w 6096001"/>
              <a:gd name="connsiteY1729" fmla="*/ 605374 h 5392467"/>
              <a:gd name="connsiteX1730" fmla="*/ 1476760 w 6096001"/>
              <a:gd name="connsiteY1730" fmla="*/ 605374 h 5392467"/>
              <a:gd name="connsiteX1731" fmla="*/ 1480628 w 6096001"/>
              <a:gd name="connsiteY1731" fmla="*/ 601506 h 5392467"/>
              <a:gd name="connsiteX1732" fmla="*/ 1478696 w 6096001"/>
              <a:gd name="connsiteY1732" fmla="*/ 599573 h 5392467"/>
              <a:gd name="connsiteX1733" fmla="*/ 3473721 w 6096001"/>
              <a:gd name="connsiteY1733" fmla="*/ 589901 h 5392467"/>
              <a:gd name="connsiteX1734" fmla="*/ 3478555 w 6096001"/>
              <a:gd name="connsiteY1734" fmla="*/ 589901 h 5392467"/>
              <a:gd name="connsiteX1735" fmla="*/ 3478555 w 6096001"/>
              <a:gd name="connsiteY1735" fmla="*/ 591836 h 5392467"/>
              <a:gd name="connsiteX1736" fmla="*/ 3473778 w 6096001"/>
              <a:gd name="connsiteY1736" fmla="*/ 590243 h 5392467"/>
              <a:gd name="connsiteX1737" fmla="*/ 1420672 w 6096001"/>
              <a:gd name="connsiteY1737" fmla="*/ 580232 h 5392467"/>
              <a:gd name="connsiteX1738" fmla="*/ 1391661 w 6096001"/>
              <a:gd name="connsiteY1738" fmla="*/ 595705 h 5392467"/>
              <a:gd name="connsiteX1739" fmla="*/ 1428408 w 6096001"/>
              <a:gd name="connsiteY1739" fmla="*/ 589901 h 5392467"/>
              <a:gd name="connsiteX1740" fmla="*/ 1420672 w 6096001"/>
              <a:gd name="connsiteY1740" fmla="*/ 580232 h 5392467"/>
              <a:gd name="connsiteX1741" fmla="*/ 3492895 w 6096001"/>
              <a:gd name="connsiteY1741" fmla="*/ 576352 h 5392467"/>
              <a:gd name="connsiteX1742" fmla="*/ 3491611 w 6096001"/>
              <a:gd name="connsiteY1742" fmla="*/ 580714 h 5392467"/>
              <a:gd name="connsiteX1743" fmla="*/ 3486294 w 6096001"/>
              <a:gd name="connsiteY1743" fmla="*/ 580232 h 5392467"/>
              <a:gd name="connsiteX1744" fmla="*/ 3488472 w 6096001"/>
              <a:gd name="connsiteY1744" fmla="*/ 578053 h 5392467"/>
              <a:gd name="connsiteX1745" fmla="*/ 4145820 w 6096001"/>
              <a:gd name="connsiteY1745" fmla="*/ 562823 h 5392467"/>
              <a:gd name="connsiteX1746" fmla="*/ 4138086 w 6096001"/>
              <a:gd name="connsiteY1746" fmla="*/ 566691 h 5392467"/>
              <a:gd name="connsiteX1747" fmla="*/ 4118745 w 6096001"/>
              <a:gd name="connsiteY1747" fmla="*/ 576363 h 5392467"/>
              <a:gd name="connsiteX1748" fmla="*/ 4141955 w 6096001"/>
              <a:gd name="connsiteY1748" fmla="*/ 574428 h 5392467"/>
              <a:gd name="connsiteX1749" fmla="*/ 4149689 w 6096001"/>
              <a:gd name="connsiteY1749" fmla="*/ 570560 h 5392467"/>
              <a:gd name="connsiteX1750" fmla="*/ 4151624 w 6096001"/>
              <a:gd name="connsiteY1750" fmla="*/ 568627 h 5392467"/>
              <a:gd name="connsiteX1751" fmla="*/ 4145820 w 6096001"/>
              <a:gd name="connsiteY1751" fmla="*/ 562823 h 5392467"/>
              <a:gd name="connsiteX1752" fmla="*/ 1494166 w 6096001"/>
              <a:gd name="connsiteY1752" fmla="*/ 562823 h 5392467"/>
              <a:gd name="connsiteX1753" fmla="*/ 1463222 w 6096001"/>
              <a:gd name="connsiteY1753" fmla="*/ 572495 h 5392467"/>
              <a:gd name="connsiteX1754" fmla="*/ 1494166 w 6096001"/>
              <a:gd name="connsiteY1754" fmla="*/ 562823 h 5392467"/>
              <a:gd name="connsiteX1755" fmla="*/ 4027842 w 6096001"/>
              <a:gd name="connsiteY1755" fmla="*/ 560890 h 5392467"/>
              <a:gd name="connsiteX1756" fmla="*/ 4014302 w 6096001"/>
              <a:gd name="connsiteY1756" fmla="*/ 566691 h 5392467"/>
              <a:gd name="connsiteX1757" fmla="*/ 4008501 w 6096001"/>
              <a:gd name="connsiteY1757" fmla="*/ 570560 h 5392467"/>
              <a:gd name="connsiteX1758" fmla="*/ 4008501 w 6096001"/>
              <a:gd name="connsiteY1758" fmla="*/ 574428 h 5392467"/>
              <a:gd name="connsiteX1759" fmla="*/ 4014302 w 6096001"/>
              <a:gd name="connsiteY1759" fmla="*/ 572495 h 5392467"/>
              <a:gd name="connsiteX1760" fmla="*/ 4027842 w 6096001"/>
              <a:gd name="connsiteY1760" fmla="*/ 560890 h 5392467"/>
              <a:gd name="connsiteX1761" fmla="*/ 2269743 w 6096001"/>
              <a:gd name="connsiteY1761" fmla="*/ 560890 h 5392467"/>
              <a:gd name="connsiteX1762" fmla="*/ 2267808 w 6096001"/>
              <a:gd name="connsiteY1762" fmla="*/ 562823 h 5392467"/>
              <a:gd name="connsiteX1763" fmla="*/ 2267808 w 6096001"/>
              <a:gd name="connsiteY1763" fmla="*/ 564758 h 5392467"/>
              <a:gd name="connsiteX1764" fmla="*/ 2269743 w 6096001"/>
              <a:gd name="connsiteY1764" fmla="*/ 564758 h 5392467"/>
              <a:gd name="connsiteX1765" fmla="*/ 2269743 w 6096001"/>
              <a:gd name="connsiteY1765" fmla="*/ 560890 h 5392467"/>
              <a:gd name="connsiteX1766" fmla="*/ 4167097 w 6096001"/>
              <a:gd name="connsiteY1766" fmla="*/ 551218 h 5392467"/>
              <a:gd name="connsiteX1767" fmla="*/ 4163229 w 6096001"/>
              <a:gd name="connsiteY1767" fmla="*/ 555087 h 5392467"/>
              <a:gd name="connsiteX1768" fmla="*/ 4161296 w 6096001"/>
              <a:gd name="connsiteY1768" fmla="*/ 557022 h 5392467"/>
              <a:gd name="connsiteX1769" fmla="*/ 4167097 w 6096001"/>
              <a:gd name="connsiteY1769" fmla="*/ 551218 h 5392467"/>
              <a:gd name="connsiteX1770" fmla="*/ 4029775 w 6096001"/>
              <a:gd name="connsiteY1770" fmla="*/ 551218 h 5392467"/>
              <a:gd name="connsiteX1771" fmla="*/ 4029775 w 6096001"/>
              <a:gd name="connsiteY1771" fmla="*/ 555087 h 5392467"/>
              <a:gd name="connsiteX1772" fmla="*/ 4028324 w 6096001"/>
              <a:gd name="connsiteY1772" fmla="*/ 553636 h 5392467"/>
              <a:gd name="connsiteX1773" fmla="*/ 4028163 w 6096001"/>
              <a:gd name="connsiteY1773" fmla="*/ 552832 h 5392467"/>
              <a:gd name="connsiteX1774" fmla="*/ 4027840 w 6096001"/>
              <a:gd name="connsiteY1774" fmla="*/ 551216 h 5392467"/>
              <a:gd name="connsiteX1775" fmla="*/ 4027842 w 6096001"/>
              <a:gd name="connsiteY1775" fmla="*/ 551218 h 5392467"/>
              <a:gd name="connsiteX1776" fmla="*/ 4027841 w 6096001"/>
              <a:gd name="connsiteY1776" fmla="*/ 551219 h 5392467"/>
              <a:gd name="connsiteX1777" fmla="*/ 3540447 w 6096001"/>
              <a:gd name="connsiteY1777" fmla="*/ 547350 h 5392467"/>
              <a:gd name="connsiteX1778" fmla="*/ 3542382 w 6096001"/>
              <a:gd name="connsiteY1778" fmla="*/ 551218 h 5392467"/>
              <a:gd name="connsiteX1779" fmla="*/ 3534646 w 6096001"/>
              <a:gd name="connsiteY1779" fmla="*/ 555087 h 5392467"/>
              <a:gd name="connsiteX1780" fmla="*/ 3532710 w 6096001"/>
              <a:gd name="connsiteY1780" fmla="*/ 553154 h 5392467"/>
              <a:gd name="connsiteX1781" fmla="*/ 3540447 w 6096001"/>
              <a:gd name="connsiteY1781" fmla="*/ 547350 h 5392467"/>
              <a:gd name="connsiteX1782" fmla="*/ 3548183 w 6096001"/>
              <a:gd name="connsiteY1782" fmla="*/ 541549 h 5392467"/>
              <a:gd name="connsiteX1783" fmla="*/ 3550119 w 6096001"/>
              <a:gd name="connsiteY1783" fmla="*/ 543484 h 5392467"/>
              <a:gd name="connsiteX1784" fmla="*/ 3546248 w 6096001"/>
              <a:gd name="connsiteY1784" fmla="*/ 547350 h 5392467"/>
              <a:gd name="connsiteX1785" fmla="*/ 3544315 w 6096001"/>
              <a:gd name="connsiteY1785" fmla="*/ 545417 h 5392467"/>
              <a:gd name="connsiteX1786" fmla="*/ 3548183 w 6096001"/>
              <a:gd name="connsiteY1786" fmla="*/ 541549 h 5392467"/>
              <a:gd name="connsiteX1787" fmla="*/ 1641157 w 6096001"/>
              <a:gd name="connsiteY1787" fmla="*/ 539614 h 5392467"/>
              <a:gd name="connsiteX1788" fmla="*/ 1637292 w 6096001"/>
              <a:gd name="connsiteY1788" fmla="*/ 541549 h 5392467"/>
              <a:gd name="connsiteX1789" fmla="*/ 1637292 w 6096001"/>
              <a:gd name="connsiteY1789" fmla="*/ 547350 h 5392467"/>
              <a:gd name="connsiteX1790" fmla="*/ 1643093 w 6096001"/>
              <a:gd name="connsiteY1790" fmla="*/ 543484 h 5392467"/>
              <a:gd name="connsiteX1791" fmla="*/ 1641157 w 6096001"/>
              <a:gd name="connsiteY1791" fmla="*/ 539614 h 5392467"/>
              <a:gd name="connsiteX1792" fmla="*/ 1604410 w 6096001"/>
              <a:gd name="connsiteY1792" fmla="*/ 537681 h 5392467"/>
              <a:gd name="connsiteX1793" fmla="*/ 1602477 w 6096001"/>
              <a:gd name="connsiteY1793" fmla="*/ 547350 h 5392467"/>
              <a:gd name="connsiteX1794" fmla="*/ 1612147 w 6096001"/>
              <a:gd name="connsiteY1794" fmla="*/ 545417 h 5392467"/>
              <a:gd name="connsiteX1795" fmla="*/ 1614082 w 6096001"/>
              <a:gd name="connsiteY1795" fmla="*/ 537681 h 5392467"/>
              <a:gd name="connsiteX1796" fmla="*/ 1604410 w 6096001"/>
              <a:gd name="connsiteY1796" fmla="*/ 537681 h 5392467"/>
              <a:gd name="connsiteX1797" fmla="*/ 4130347 w 6096001"/>
              <a:gd name="connsiteY1797" fmla="*/ 528009 h 5392467"/>
              <a:gd name="connsiteX1798" fmla="*/ 4118745 w 6096001"/>
              <a:gd name="connsiteY1798" fmla="*/ 535745 h 5392467"/>
              <a:gd name="connsiteX1799" fmla="*/ 4130347 w 6096001"/>
              <a:gd name="connsiteY1799" fmla="*/ 528009 h 5392467"/>
              <a:gd name="connsiteX1800" fmla="*/ 4199976 w 6096001"/>
              <a:gd name="connsiteY1800" fmla="*/ 520275 h 5392467"/>
              <a:gd name="connsiteX1801" fmla="*/ 4176767 w 6096001"/>
              <a:gd name="connsiteY1801" fmla="*/ 531879 h 5392467"/>
              <a:gd name="connsiteX1802" fmla="*/ 4176767 w 6096001"/>
              <a:gd name="connsiteY1802" fmla="*/ 541549 h 5392467"/>
              <a:gd name="connsiteX1803" fmla="*/ 4178702 w 6096001"/>
              <a:gd name="connsiteY1803" fmla="*/ 541549 h 5392467"/>
              <a:gd name="connsiteX1804" fmla="*/ 4176767 w 6096001"/>
              <a:gd name="connsiteY1804" fmla="*/ 543484 h 5392467"/>
              <a:gd name="connsiteX1805" fmla="*/ 4176767 w 6096001"/>
              <a:gd name="connsiteY1805" fmla="*/ 547350 h 5392467"/>
              <a:gd name="connsiteX1806" fmla="*/ 4180635 w 6096001"/>
              <a:gd name="connsiteY1806" fmla="*/ 549285 h 5392467"/>
              <a:gd name="connsiteX1807" fmla="*/ 4199976 w 6096001"/>
              <a:gd name="connsiteY1807" fmla="*/ 520275 h 5392467"/>
              <a:gd name="connsiteX1808" fmla="*/ 4112941 w 6096001"/>
              <a:gd name="connsiteY1808" fmla="*/ 518339 h 5392467"/>
              <a:gd name="connsiteX1809" fmla="*/ 4105205 w 6096001"/>
              <a:gd name="connsiteY1809" fmla="*/ 520275 h 5392467"/>
              <a:gd name="connsiteX1810" fmla="*/ 4107138 w 6096001"/>
              <a:gd name="connsiteY1810" fmla="*/ 522208 h 5392467"/>
              <a:gd name="connsiteX1811" fmla="*/ 4112941 w 6096001"/>
              <a:gd name="connsiteY1811" fmla="*/ 518339 h 5392467"/>
              <a:gd name="connsiteX1812" fmla="*/ 4234790 w 6096001"/>
              <a:gd name="connsiteY1812" fmla="*/ 504802 h 5392467"/>
              <a:gd name="connsiteX1813" fmla="*/ 4225121 w 6096001"/>
              <a:gd name="connsiteY1813" fmla="*/ 512538 h 5392467"/>
              <a:gd name="connsiteX1814" fmla="*/ 4234790 w 6096001"/>
              <a:gd name="connsiteY1814" fmla="*/ 504802 h 5392467"/>
              <a:gd name="connsiteX1815" fmla="*/ 4917188 w 6096001"/>
              <a:gd name="connsiteY1815" fmla="*/ 495811 h 5392467"/>
              <a:gd name="connsiteX1816" fmla="*/ 4913661 w 6096001"/>
              <a:gd name="connsiteY1816" fmla="*/ 502866 h 5392467"/>
              <a:gd name="connsiteX1817" fmla="*/ 4911725 w 6096001"/>
              <a:gd name="connsiteY1817" fmla="*/ 500933 h 5392467"/>
              <a:gd name="connsiteX1818" fmla="*/ 4914633 w 6096001"/>
              <a:gd name="connsiteY1818" fmla="*/ 498025 h 5392467"/>
              <a:gd name="connsiteX1819" fmla="*/ 4252196 w 6096001"/>
              <a:gd name="connsiteY1819" fmla="*/ 495130 h 5392467"/>
              <a:gd name="connsiteX1820" fmla="*/ 4234790 w 6096001"/>
              <a:gd name="connsiteY1820" fmla="*/ 506735 h 5392467"/>
              <a:gd name="connsiteX1821" fmla="*/ 4242527 w 6096001"/>
              <a:gd name="connsiteY1821" fmla="*/ 508670 h 5392467"/>
              <a:gd name="connsiteX1822" fmla="*/ 4252196 w 6096001"/>
              <a:gd name="connsiteY1822" fmla="*/ 495130 h 5392467"/>
              <a:gd name="connsiteX1823" fmla="*/ 4184503 w 6096001"/>
              <a:gd name="connsiteY1823" fmla="*/ 495130 h 5392467"/>
              <a:gd name="connsiteX1824" fmla="*/ 4178702 w 6096001"/>
              <a:gd name="connsiteY1824" fmla="*/ 498998 h 5392467"/>
              <a:gd name="connsiteX1825" fmla="*/ 4149689 w 6096001"/>
              <a:gd name="connsiteY1825" fmla="*/ 512538 h 5392467"/>
              <a:gd name="connsiteX1826" fmla="*/ 4140019 w 6096001"/>
              <a:gd name="connsiteY1826" fmla="*/ 524143 h 5392467"/>
              <a:gd name="connsiteX1827" fmla="*/ 4143888 w 6096001"/>
              <a:gd name="connsiteY1827" fmla="*/ 529944 h 5392467"/>
              <a:gd name="connsiteX1828" fmla="*/ 4157425 w 6096001"/>
              <a:gd name="connsiteY1828" fmla="*/ 526076 h 5392467"/>
              <a:gd name="connsiteX1829" fmla="*/ 4159361 w 6096001"/>
              <a:gd name="connsiteY1829" fmla="*/ 526076 h 5392467"/>
              <a:gd name="connsiteX1830" fmla="*/ 4159361 w 6096001"/>
              <a:gd name="connsiteY1830" fmla="*/ 528009 h 5392467"/>
              <a:gd name="connsiteX1831" fmla="*/ 4163229 w 6096001"/>
              <a:gd name="connsiteY1831" fmla="*/ 529944 h 5392467"/>
              <a:gd name="connsiteX1832" fmla="*/ 4163229 w 6096001"/>
              <a:gd name="connsiteY1832" fmla="*/ 526076 h 5392467"/>
              <a:gd name="connsiteX1833" fmla="*/ 4169030 w 6096001"/>
              <a:gd name="connsiteY1833" fmla="*/ 516406 h 5392467"/>
              <a:gd name="connsiteX1834" fmla="*/ 4192240 w 6096001"/>
              <a:gd name="connsiteY1834" fmla="*/ 498998 h 5392467"/>
              <a:gd name="connsiteX1835" fmla="*/ 4190307 w 6096001"/>
              <a:gd name="connsiteY1835" fmla="*/ 495130 h 5392467"/>
              <a:gd name="connsiteX1836" fmla="*/ 4184503 w 6096001"/>
              <a:gd name="connsiteY1836" fmla="*/ 495130 h 5392467"/>
              <a:gd name="connsiteX1837" fmla="*/ 4143888 w 6096001"/>
              <a:gd name="connsiteY1837" fmla="*/ 489329 h 5392467"/>
              <a:gd name="connsiteX1838" fmla="*/ 4136151 w 6096001"/>
              <a:gd name="connsiteY1838" fmla="*/ 491262 h 5392467"/>
              <a:gd name="connsiteX1839" fmla="*/ 4136151 w 6096001"/>
              <a:gd name="connsiteY1839" fmla="*/ 493197 h 5392467"/>
              <a:gd name="connsiteX1840" fmla="*/ 4143888 w 6096001"/>
              <a:gd name="connsiteY1840" fmla="*/ 491262 h 5392467"/>
              <a:gd name="connsiteX1841" fmla="*/ 4143888 w 6096001"/>
              <a:gd name="connsiteY1841" fmla="*/ 489329 h 5392467"/>
              <a:gd name="connsiteX1842" fmla="*/ 4128415 w 6096001"/>
              <a:gd name="connsiteY1842" fmla="*/ 489329 h 5392467"/>
              <a:gd name="connsiteX1843" fmla="*/ 4114877 w 6096001"/>
              <a:gd name="connsiteY1843" fmla="*/ 497065 h 5392467"/>
              <a:gd name="connsiteX1844" fmla="*/ 4116810 w 6096001"/>
              <a:gd name="connsiteY1844" fmla="*/ 498998 h 5392467"/>
              <a:gd name="connsiteX1845" fmla="*/ 4128415 w 6096001"/>
              <a:gd name="connsiteY1845" fmla="*/ 489329 h 5392467"/>
              <a:gd name="connsiteX1846" fmla="*/ 3488227 w 6096001"/>
              <a:gd name="connsiteY1846" fmla="*/ 485460 h 5392467"/>
              <a:gd name="connsiteX1847" fmla="*/ 3486294 w 6096001"/>
              <a:gd name="connsiteY1847" fmla="*/ 487393 h 5392467"/>
              <a:gd name="connsiteX1848" fmla="*/ 3480490 w 6096001"/>
              <a:gd name="connsiteY1848" fmla="*/ 491262 h 5392467"/>
              <a:gd name="connsiteX1849" fmla="*/ 3482423 w 6096001"/>
              <a:gd name="connsiteY1849" fmla="*/ 487393 h 5392467"/>
              <a:gd name="connsiteX1850" fmla="*/ 3488227 w 6096001"/>
              <a:gd name="connsiteY1850" fmla="*/ 485460 h 5392467"/>
              <a:gd name="connsiteX1851" fmla="*/ 4136151 w 6096001"/>
              <a:gd name="connsiteY1851" fmla="*/ 471920 h 5392467"/>
              <a:gd name="connsiteX1852" fmla="*/ 4128415 w 6096001"/>
              <a:gd name="connsiteY1852" fmla="*/ 477724 h 5392467"/>
              <a:gd name="connsiteX1853" fmla="*/ 4138086 w 6096001"/>
              <a:gd name="connsiteY1853" fmla="*/ 473856 h 5392467"/>
              <a:gd name="connsiteX1854" fmla="*/ 4136151 w 6096001"/>
              <a:gd name="connsiteY1854" fmla="*/ 471920 h 5392467"/>
              <a:gd name="connsiteX1855" fmla="*/ 4247120 w 6096001"/>
              <a:gd name="connsiteY1855" fmla="*/ 469019 h 5392467"/>
              <a:gd name="connsiteX1856" fmla="*/ 4244460 w 6096001"/>
              <a:gd name="connsiteY1856" fmla="*/ 469987 h 5392467"/>
              <a:gd name="connsiteX1857" fmla="*/ 4223186 w 6096001"/>
              <a:gd name="connsiteY1857" fmla="*/ 487393 h 5392467"/>
              <a:gd name="connsiteX1858" fmla="*/ 4190307 w 6096001"/>
              <a:gd name="connsiteY1858" fmla="*/ 504802 h 5392467"/>
              <a:gd name="connsiteX1859" fmla="*/ 4186438 w 6096001"/>
              <a:gd name="connsiteY1859" fmla="*/ 508670 h 5392467"/>
              <a:gd name="connsiteX1860" fmla="*/ 4190307 w 6096001"/>
              <a:gd name="connsiteY1860" fmla="*/ 512538 h 5392467"/>
              <a:gd name="connsiteX1861" fmla="*/ 4199976 w 6096001"/>
              <a:gd name="connsiteY1861" fmla="*/ 510603 h 5392467"/>
              <a:gd name="connsiteX1862" fmla="*/ 4232855 w 6096001"/>
              <a:gd name="connsiteY1862" fmla="*/ 489329 h 5392467"/>
              <a:gd name="connsiteX1863" fmla="*/ 4254132 w 6096001"/>
              <a:gd name="connsiteY1863" fmla="*/ 473856 h 5392467"/>
              <a:gd name="connsiteX1864" fmla="*/ 4247120 w 6096001"/>
              <a:gd name="connsiteY1864" fmla="*/ 469019 h 5392467"/>
              <a:gd name="connsiteX1865" fmla="*/ 4238659 w 6096001"/>
              <a:gd name="connsiteY1865" fmla="*/ 458383 h 5392467"/>
              <a:gd name="connsiteX1866" fmla="*/ 4232855 w 6096001"/>
              <a:gd name="connsiteY1866" fmla="*/ 460316 h 5392467"/>
              <a:gd name="connsiteX1867" fmla="*/ 4201911 w 6096001"/>
              <a:gd name="connsiteY1867" fmla="*/ 483525 h 5392467"/>
              <a:gd name="connsiteX1868" fmla="*/ 4201911 w 6096001"/>
              <a:gd name="connsiteY1868" fmla="*/ 485460 h 5392467"/>
              <a:gd name="connsiteX1869" fmla="*/ 4199976 w 6096001"/>
              <a:gd name="connsiteY1869" fmla="*/ 495130 h 5392467"/>
              <a:gd name="connsiteX1870" fmla="*/ 4215449 w 6096001"/>
              <a:gd name="connsiteY1870" fmla="*/ 483525 h 5392467"/>
              <a:gd name="connsiteX1871" fmla="*/ 4211581 w 6096001"/>
              <a:gd name="connsiteY1871" fmla="*/ 485460 h 5392467"/>
              <a:gd name="connsiteX1872" fmla="*/ 4209648 w 6096001"/>
              <a:gd name="connsiteY1872" fmla="*/ 481592 h 5392467"/>
              <a:gd name="connsiteX1873" fmla="*/ 4223186 w 6096001"/>
              <a:gd name="connsiteY1873" fmla="*/ 475789 h 5392467"/>
              <a:gd name="connsiteX1874" fmla="*/ 4240592 w 6096001"/>
              <a:gd name="connsiteY1874" fmla="*/ 462251 h 5392467"/>
              <a:gd name="connsiteX1875" fmla="*/ 4238659 w 6096001"/>
              <a:gd name="connsiteY1875" fmla="*/ 458383 h 5392467"/>
              <a:gd name="connsiteX1876" fmla="*/ 2836434 w 6096001"/>
              <a:gd name="connsiteY1876" fmla="*/ 448711 h 5392467"/>
              <a:gd name="connsiteX1877" fmla="*/ 2832566 w 6096001"/>
              <a:gd name="connsiteY1877" fmla="*/ 450646 h 5392467"/>
              <a:gd name="connsiteX1878" fmla="*/ 2828697 w 6096001"/>
              <a:gd name="connsiteY1878" fmla="*/ 454514 h 5392467"/>
              <a:gd name="connsiteX1879" fmla="*/ 2817093 w 6096001"/>
              <a:gd name="connsiteY1879" fmla="*/ 458383 h 5392467"/>
              <a:gd name="connsiteX1880" fmla="*/ 2819028 w 6096001"/>
              <a:gd name="connsiteY1880" fmla="*/ 464184 h 5392467"/>
              <a:gd name="connsiteX1881" fmla="*/ 2822896 w 6096001"/>
              <a:gd name="connsiteY1881" fmla="*/ 466119 h 5392467"/>
              <a:gd name="connsiteX1882" fmla="*/ 2828697 w 6096001"/>
              <a:gd name="connsiteY1882" fmla="*/ 462251 h 5392467"/>
              <a:gd name="connsiteX1883" fmla="*/ 2836434 w 6096001"/>
              <a:gd name="connsiteY1883" fmla="*/ 456450 h 5392467"/>
              <a:gd name="connsiteX1884" fmla="*/ 2838369 w 6096001"/>
              <a:gd name="connsiteY1884" fmla="*/ 454514 h 5392467"/>
              <a:gd name="connsiteX1885" fmla="*/ 2838369 w 6096001"/>
              <a:gd name="connsiteY1885" fmla="*/ 450646 h 5392467"/>
              <a:gd name="connsiteX1886" fmla="*/ 2836434 w 6096001"/>
              <a:gd name="connsiteY1886" fmla="*/ 448711 h 5392467"/>
              <a:gd name="connsiteX1887" fmla="*/ 4221253 w 6096001"/>
              <a:gd name="connsiteY1887" fmla="*/ 435173 h 5392467"/>
              <a:gd name="connsiteX1888" fmla="*/ 4211581 w 6096001"/>
              <a:gd name="connsiteY1888" fmla="*/ 442910 h 5392467"/>
              <a:gd name="connsiteX1889" fmla="*/ 4221253 w 6096001"/>
              <a:gd name="connsiteY1889" fmla="*/ 435173 h 5392467"/>
              <a:gd name="connsiteX1890" fmla="*/ 4316024 w 6096001"/>
              <a:gd name="connsiteY1890" fmla="*/ 415832 h 5392467"/>
              <a:gd name="connsiteX1891" fmla="*/ 4296682 w 6096001"/>
              <a:gd name="connsiteY1891" fmla="*/ 423568 h 5392467"/>
              <a:gd name="connsiteX1892" fmla="*/ 4298615 w 6096001"/>
              <a:gd name="connsiteY1892" fmla="*/ 425504 h 5392467"/>
              <a:gd name="connsiteX1893" fmla="*/ 4316024 w 6096001"/>
              <a:gd name="connsiteY1893" fmla="*/ 415832 h 5392467"/>
              <a:gd name="connsiteX1894" fmla="*/ 4263560 w 6096001"/>
              <a:gd name="connsiteY1894" fmla="*/ 406645 h 5392467"/>
              <a:gd name="connsiteX1895" fmla="*/ 4256065 w 6096001"/>
              <a:gd name="connsiteY1895" fmla="*/ 413899 h 5392467"/>
              <a:gd name="connsiteX1896" fmla="*/ 4269605 w 6096001"/>
              <a:gd name="connsiteY1896" fmla="*/ 413899 h 5392467"/>
              <a:gd name="connsiteX1897" fmla="*/ 4263560 w 6096001"/>
              <a:gd name="connsiteY1897" fmla="*/ 406645 h 5392467"/>
              <a:gd name="connsiteX1898" fmla="*/ 4319890 w 6096001"/>
              <a:gd name="connsiteY1898" fmla="*/ 406162 h 5392467"/>
              <a:gd name="connsiteX1899" fmla="*/ 4319890 w 6096001"/>
              <a:gd name="connsiteY1899" fmla="*/ 411964 h 5392467"/>
              <a:gd name="connsiteX1900" fmla="*/ 4327626 w 6096001"/>
              <a:gd name="connsiteY1900" fmla="*/ 413899 h 5392467"/>
              <a:gd name="connsiteX1901" fmla="*/ 4325693 w 6096001"/>
              <a:gd name="connsiteY1901" fmla="*/ 406162 h 5392467"/>
              <a:gd name="connsiteX1902" fmla="*/ 4319890 w 6096001"/>
              <a:gd name="connsiteY1902" fmla="*/ 406162 h 5392467"/>
              <a:gd name="connsiteX1903" fmla="*/ 4304417 w 6096001"/>
              <a:gd name="connsiteY1903" fmla="*/ 381018 h 5392467"/>
              <a:gd name="connsiteX1904" fmla="*/ 4300548 w 6096001"/>
              <a:gd name="connsiteY1904" fmla="*/ 382953 h 5392467"/>
              <a:gd name="connsiteX1905" fmla="*/ 4298615 w 6096001"/>
              <a:gd name="connsiteY1905" fmla="*/ 388754 h 5392467"/>
              <a:gd name="connsiteX1906" fmla="*/ 4304417 w 6096001"/>
              <a:gd name="connsiteY1906" fmla="*/ 384886 h 5392467"/>
              <a:gd name="connsiteX1907" fmla="*/ 4304417 w 6096001"/>
              <a:gd name="connsiteY1907" fmla="*/ 381018 h 5392467"/>
              <a:gd name="connsiteX1908" fmla="*/ 4316024 w 6096001"/>
              <a:gd name="connsiteY1908" fmla="*/ 373281 h 5392467"/>
              <a:gd name="connsiteX1909" fmla="*/ 4314088 w 6096001"/>
              <a:gd name="connsiteY1909" fmla="*/ 379085 h 5392467"/>
              <a:gd name="connsiteX1910" fmla="*/ 4317957 w 6096001"/>
              <a:gd name="connsiteY1910" fmla="*/ 375216 h 5392467"/>
              <a:gd name="connsiteX1911" fmla="*/ 4316024 w 6096001"/>
              <a:gd name="connsiteY1911" fmla="*/ 373281 h 5392467"/>
              <a:gd name="connsiteX1912" fmla="*/ 4366309 w 6096001"/>
              <a:gd name="connsiteY1912" fmla="*/ 350074 h 5392467"/>
              <a:gd name="connsiteX1913" fmla="*/ 4337298 w 6096001"/>
              <a:gd name="connsiteY1913" fmla="*/ 369415 h 5392467"/>
              <a:gd name="connsiteX1914" fmla="*/ 4366309 w 6096001"/>
              <a:gd name="connsiteY1914" fmla="*/ 350074 h 5392467"/>
              <a:gd name="connsiteX1915" fmla="*/ 4780207 w 6096001"/>
              <a:gd name="connsiteY1915" fmla="*/ 321061 h 5392467"/>
              <a:gd name="connsiteX1916" fmla="*/ 4778272 w 6096001"/>
              <a:gd name="connsiteY1916" fmla="*/ 322996 h 5392467"/>
              <a:gd name="connsiteX1917" fmla="*/ 4782140 w 6096001"/>
              <a:gd name="connsiteY1917" fmla="*/ 328797 h 5392467"/>
              <a:gd name="connsiteX1918" fmla="*/ 4784075 w 6096001"/>
              <a:gd name="connsiteY1918" fmla="*/ 326864 h 5392467"/>
              <a:gd name="connsiteX1919" fmla="*/ 4780207 w 6096001"/>
              <a:gd name="connsiteY1919" fmla="*/ 321061 h 5392467"/>
              <a:gd name="connsiteX1920" fmla="*/ 4795680 w 6096001"/>
              <a:gd name="connsiteY1920" fmla="*/ 317192 h 5392467"/>
              <a:gd name="connsiteX1921" fmla="*/ 4795680 w 6096001"/>
              <a:gd name="connsiteY1921" fmla="*/ 319128 h 5392467"/>
              <a:gd name="connsiteX1922" fmla="*/ 4787944 w 6096001"/>
              <a:gd name="connsiteY1922" fmla="*/ 324929 h 5392467"/>
              <a:gd name="connsiteX1923" fmla="*/ 4787138 w 6096001"/>
              <a:gd name="connsiteY1923" fmla="*/ 323317 h 5392467"/>
              <a:gd name="connsiteX1924" fmla="*/ 4787420 w 6096001"/>
              <a:gd name="connsiteY1924" fmla="*/ 320497 h 5392467"/>
              <a:gd name="connsiteX1925" fmla="*/ 4420464 w 6096001"/>
              <a:gd name="connsiteY1925" fmla="*/ 313324 h 5392467"/>
              <a:gd name="connsiteX1926" fmla="*/ 4385650 w 6096001"/>
              <a:gd name="connsiteY1926" fmla="*/ 326864 h 5392467"/>
              <a:gd name="connsiteX1927" fmla="*/ 4370177 w 6096001"/>
              <a:gd name="connsiteY1927" fmla="*/ 340402 h 5392467"/>
              <a:gd name="connsiteX1928" fmla="*/ 4375980 w 6096001"/>
              <a:gd name="connsiteY1928" fmla="*/ 342335 h 5392467"/>
              <a:gd name="connsiteX1929" fmla="*/ 4408859 w 6096001"/>
              <a:gd name="connsiteY1929" fmla="*/ 324929 h 5392467"/>
              <a:gd name="connsiteX1930" fmla="*/ 4420464 w 6096001"/>
              <a:gd name="connsiteY1930" fmla="*/ 313324 h 5392467"/>
              <a:gd name="connsiteX1931" fmla="*/ 4453343 w 6096001"/>
              <a:gd name="connsiteY1931" fmla="*/ 299786 h 5392467"/>
              <a:gd name="connsiteX1932" fmla="*/ 4428201 w 6096001"/>
              <a:gd name="connsiteY1932" fmla="*/ 313324 h 5392467"/>
              <a:gd name="connsiteX1933" fmla="*/ 4430134 w 6096001"/>
              <a:gd name="connsiteY1933" fmla="*/ 315260 h 5392467"/>
              <a:gd name="connsiteX1934" fmla="*/ 4453343 w 6096001"/>
              <a:gd name="connsiteY1934" fmla="*/ 299786 h 5392467"/>
              <a:gd name="connsiteX1935" fmla="*/ 4787944 w 6096001"/>
              <a:gd name="connsiteY1935" fmla="*/ 295918 h 5392467"/>
              <a:gd name="connsiteX1936" fmla="*/ 4787944 w 6096001"/>
              <a:gd name="connsiteY1936" fmla="*/ 311391 h 5392467"/>
              <a:gd name="connsiteX1937" fmla="*/ 4787944 w 6096001"/>
              <a:gd name="connsiteY1937" fmla="*/ 295918 h 5392467"/>
              <a:gd name="connsiteX1938" fmla="*/ 4517168 w 6096001"/>
              <a:gd name="connsiteY1938" fmla="*/ 282378 h 5392467"/>
              <a:gd name="connsiteX1939" fmla="*/ 4515235 w 6096001"/>
              <a:gd name="connsiteY1939" fmla="*/ 286246 h 5392467"/>
              <a:gd name="connsiteX1940" fmla="*/ 4521036 w 6096001"/>
              <a:gd name="connsiteY1940" fmla="*/ 288182 h 5392467"/>
              <a:gd name="connsiteX1941" fmla="*/ 4521036 w 6096001"/>
              <a:gd name="connsiteY1941" fmla="*/ 282378 h 5392467"/>
              <a:gd name="connsiteX1942" fmla="*/ 4517168 w 6096001"/>
              <a:gd name="connsiteY1942" fmla="*/ 282378 h 5392467"/>
              <a:gd name="connsiteX1943" fmla="*/ 4764734 w 6096001"/>
              <a:gd name="connsiteY1943" fmla="*/ 276577 h 5392467"/>
              <a:gd name="connsiteX1944" fmla="*/ 4765701 w 6096001"/>
              <a:gd name="connsiteY1944" fmla="*/ 277543 h 5392467"/>
              <a:gd name="connsiteX1945" fmla="*/ 4764734 w 6096001"/>
              <a:gd name="connsiteY1945" fmla="*/ 278510 h 5392467"/>
              <a:gd name="connsiteX1946" fmla="*/ 4764033 w 6096001"/>
              <a:gd name="connsiteY1946" fmla="*/ 277208 h 5392467"/>
              <a:gd name="connsiteX1947" fmla="*/ 4567455 w 6096001"/>
              <a:gd name="connsiteY1947" fmla="*/ 268840 h 5392467"/>
              <a:gd name="connsiteX1948" fmla="*/ 4548114 w 6096001"/>
              <a:gd name="connsiteY1948" fmla="*/ 278510 h 5392467"/>
              <a:gd name="connsiteX1949" fmla="*/ 4567455 w 6096001"/>
              <a:gd name="connsiteY1949" fmla="*/ 268840 h 5392467"/>
              <a:gd name="connsiteX1950" fmla="*/ 4572774 w 6096001"/>
              <a:gd name="connsiteY1950" fmla="*/ 254576 h 5392467"/>
              <a:gd name="connsiteX1951" fmla="*/ 4571324 w 6096001"/>
              <a:gd name="connsiteY1951" fmla="*/ 261104 h 5392467"/>
              <a:gd name="connsiteX1952" fmla="*/ 4582928 w 6096001"/>
              <a:gd name="connsiteY1952" fmla="*/ 255300 h 5392467"/>
              <a:gd name="connsiteX1953" fmla="*/ 4572774 w 6096001"/>
              <a:gd name="connsiteY1953" fmla="*/ 254576 h 5392467"/>
              <a:gd name="connsiteX1954" fmla="*/ 4727987 w 6096001"/>
              <a:gd name="connsiteY1954" fmla="*/ 253367 h 5392467"/>
              <a:gd name="connsiteX1955" fmla="*/ 4710579 w 6096001"/>
              <a:gd name="connsiteY1955" fmla="*/ 266905 h 5392467"/>
              <a:gd name="connsiteX1956" fmla="*/ 4727987 w 6096001"/>
              <a:gd name="connsiteY1956" fmla="*/ 253367 h 5392467"/>
              <a:gd name="connsiteX1957" fmla="*/ 4596469 w 6096001"/>
              <a:gd name="connsiteY1957" fmla="*/ 243698 h 5392467"/>
              <a:gd name="connsiteX1958" fmla="*/ 4582928 w 6096001"/>
              <a:gd name="connsiteY1958" fmla="*/ 249499 h 5392467"/>
              <a:gd name="connsiteX1959" fmla="*/ 4596469 w 6096001"/>
              <a:gd name="connsiteY1959" fmla="*/ 243698 h 5392467"/>
              <a:gd name="connsiteX1960" fmla="*/ 4563587 w 6096001"/>
              <a:gd name="connsiteY1960" fmla="*/ 230158 h 5392467"/>
              <a:gd name="connsiteX1961" fmla="*/ 4557367 w 6096001"/>
              <a:gd name="connsiteY1961" fmla="*/ 234824 h 5392467"/>
              <a:gd name="connsiteX1962" fmla="*/ 4555372 w 6096001"/>
              <a:gd name="connsiteY1962" fmla="*/ 235482 h 5392467"/>
              <a:gd name="connsiteX1963" fmla="*/ 4555078 w 6096001"/>
              <a:gd name="connsiteY1963" fmla="*/ 235188 h 5392467"/>
              <a:gd name="connsiteX1964" fmla="*/ 4561177 w 6096001"/>
              <a:gd name="connsiteY1964" fmla="*/ 231122 h 5392467"/>
              <a:gd name="connsiteX1965" fmla="*/ 4712514 w 6096001"/>
              <a:gd name="connsiteY1965" fmla="*/ 228225 h 5392467"/>
              <a:gd name="connsiteX1966" fmla="*/ 4704777 w 6096001"/>
              <a:gd name="connsiteY1966" fmla="*/ 237894 h 5392467"/>
              <a:gd name="connsiteX1967" fmla="*/ 4712514 w 6096001"/>
              <a:gd name="connsiteY1967" fmla="*/ 228225 h 5392467"/>
              <a:gd name="connsiteX1968" fmla="*/ 3863443 w 6096001"/>
              <a:gd name="connsiteY1968" fmla="*/ 0 h 5392467"/>
              <a:gd name="connsiteX1969" fmla="*/ 3869244 w 6096001"/>
              <a:gd name="connsiteY1969" fmla="*/ 3868 h 5392467"/>
              <a:gd name="connsiteX1970" fmla="*/ 3867311 w 6096001"/>
              <a:gd name="connsiteY1970" fmla="*/ 7737 h 5392467"/>
              <a:gd name="connsiteX1971" fmla="*/ 3865376 w 6096001"/>
              <a:gd name="connsiteY1971" fmla="*/ 9670 h 5392467"/>
              <a:gd name="connsiteX1972" fmla="*/ 3859574 w 6096001"/>
              <a:gd name="connsiteY1972" fmla="*/ 21274 h 5392467"/>
              <a:gd name="connsiteX1973" fmla="*/ 3853771 w 6096001"/>
              <a:gd name="connsiteY1973" fmla="*/ 32879 h 5392467"/>
              <a:gd name="connsiteX1974" fmla="*/ 3826693 w 6096001"/>
              <a:gd name="connsiteY1974" fmla="*/ 50288 h 5392467"/>
              <a:gd name="connsiteX1975" fmla="*/ 3795749 w 6096001"/>
              <a:gd name="connsiteY1975" fmla="*/ 71562 h 5392467"/>
              <a:gd name="connsiteX1976" fmla="*/ 3791881 w 6096001"/>
              <a:gd name="connsiteY1976" fmla="*/ 79298 h 5392467"/>
              <a:gd name="connsiteX1977" fmla="*/ 3795749 w 6096001"/>
              <a:gd name="connsiteY1977" fmla="*/ 87035 h 5392467"/>
              <a:gd name="connsiteX1978" fmla="*/ 3799618 w 6096001"/>
              <a:gd name="connsiteY1978" fmla="*/ 88970 h 5392467"/>
              <a:gd name="connsiteX1979" fmla="*/ 3801551 w 6096001"/>
              <a:gd name="connsiteY1979" fmla="*/ 92836 h 5392467"/>
              <a:gd name="connsiteX1980" fmla="*/ 3799618 w 6096001"/>
              <a:gd name="connsiteY1980" fmla="*/ 94771 h 5392467"/>
              <a:gd name="connsiteX1981" fmla="*/ 3789946 w 6096001"/>
              <a:gd name="connsiteY1981" fmla="*/ 96704 h 5392467"/>
              <a:gd name="connsiteX1982" fmla="*/ 3774475 w 6096001"/>
              <a:gd name="connsiteY1982" fmla="*/ 104441 h 5392467"/>
              <a:gd name="connsiteX1983" fmla="*/ 3764803 w 6096001"/>
              <a:gd name="connsiteY1983" fmla="*/ 106376 h 5392467"/>
              <a:gd name="connsiteX1984" fmla="*/ 3760935 w 6096001"/>
              <a:gd name="connsiteY1984" fmla="*/ 112177 h 5392467"/>
              <a:gd name="connsiteX1985" fmla="*/ 3751266 w 6096001"/>
              <a:gd name="connsiteY1985" fmla="*/ 119914 h 5392467"/>
              <a:gd name="connsiteX1986" fmla="*/ 3745462 w 6096001"/>
              <a:gd name="connsiteY1986" fmla="*/ 125717 h 5392467"/>
              <a:gd name="connsiteX1987" fmla="*/ 3739658 w 6096001"/>
              <a:gd name="connsiteY1987" fmla="*/ 133454 h 5392467"/>
              <a:gd name="connsiteX1988" fmla="*/ 3726121 w 6096001"/>
              <a:gd name="connsiteY1988" fmla="*/ 141190 h 5392467"/>
              <a:gd name="connsiteX1989" fmla="*/ 3722253 w 6096001"/>
              <a:gd name="connsiteY1989" fmla="*/ 154728 h 5392467"/>
              <a:gd name="connsiteX1990" fmla="*/ 3728056 w 6096001"/>
              <a:gd name="connsiteY1990" fmla="*/ 158596 h 5392467"/>
              <a:gd name="connsiteX1991" fmla="*/ 3729989 w 6096001"/>
              <a:gd name="connsiteY1991" fmla="*/ 160532 h 5392467"/>
              <a:gd name="connsiteX1992" fmla="*/ 3728056 w 6096001"/>
              <a:gd name="connsiteY1992" fmla="*/ 164400 h 5392467"/>
              <a:gd name="connsiteX1993" fmla="*/ 3724188 w 6096001"/>
              <a:gd name="connsiteY1993" fmla="*/ 166333 h 5392467"/>
              <a:gd name="connsiteX1994" fmla="*/ 3720320 w 6096001"/>
              <a:gd name="connsiteY1994" fmla="*/ 168266 h 5392467"/>
              <a:gd name="connsiteX1995" fmla="*/ 3714516 w 6096001"/>
              <a:gd name="connsiteY1995" fmla="*/ 176005 h 5392467"/>
              <a:gd name="connsiteX1996" fmla="*/ 3697110 w 6096001"/>
              <a:gd name="connsiteY1996" fmla="*/ 185674 h 5392467"/>
              <a:gd name="connsiteX1997" fmla="*/ 3687441 w 6096001"/>
              <a:gd name="connsiteY1997" fmla="*/ 195343 h 5392467"/>
              <a:gd name="connsiteX1998" fmla="*/ 3679702 w 6096001"/>
              <a:gd name="connsiteY1998" fmla="*/ 201147 h 5392467"/>
              <a:gd name="connsiteX1999" fmla="*/ 3662296 w 6096001"/>
              <a:gd name="connsiteY1999" fmla="*/ 206948 h 5392467"/>
              <a:gd name="connsiteX2000" fmla="*/ 3648758 w 6096001"/>
              <a:gd name="connsiteY2000" fmla="*/ 214685 h 5392467"/>
              <a:gd name="connsiteX2001" fmla="*/ 3635218 w 6096001"/>
              <a:gd name="connsiteY2001" fmla="*/ 232093 h 5392467"/>
              <a:gd name="connsiteX2002" fmla="*/ 3631350 w 6096001"/>
              <a:gd name="connsiteY2002" fmla="*/ 237894 h 5392467"/>
              <a:gd name="connsiteX2003" fmla="*/ 3608140 w 6096001"/>
              <a:gd name="connsiteY2003" fmla="*/ 253367 h 5392467"/>
              <a:gd name="connsiteX2004" fmla="*/ 3606207 w 6096001"/>
              <a:gd name="connsiteY2004" fmla="*/ 259171 h 5392467"/>
              <a:gd name="connsiteX2005" fmla="*/ 3606207 w 6096001"/>
              <a:gd name="connsiteY2005" fmla="*/ 263039 h 5392467"/>
              <a:gd name="connsiteX2006" fmla="*/ 3594602 w 6096001"/>
              <a:gd name="connsiteY2006" fmla="*/ 276577 h 5392467"/>
              <a:gd name="connsiteX2007" fmla="*/ 3586866 w 6096001"/>
              <a:gd name="connsiteY2007" fmla="*/ 282378 h 5392467"/>
              <a:gd name="connsiteX2008" fmla="*/ 3582998 w 6096001"/>
              <a:gd name="connsiteY2008" fmla="*/ 288182 h 5392467"/>
              <a:gd name="connsiteX2009" fmla="*/ 3586866 w 6096001"/>
              <a:gd name="connsiteY2009" fmla="*/ 311391 h 5392467"/>
              <a:gd name="connsiteX2010" fmla="*/ 3594602 w 6096001"/>
              <a:gd name="connsiteY2010" fmla="*/ 322996 h 5392467"/>
              <a:gd name="connsiteX2011" fmla="*/ 3594602 w 6096001"/>
              <a:gd name="connsiteY2011" fmla="*/ 326864 h 5392467"/>
              <a:gd name="connsiteX2012" fmla="*/ 3569458 w 6096001"/>
              <a:gd name="connsiteY2012" fmla="*/ 342335 h 5392467"/>
              <a:gd name="connsiteX2013" fmla="*/ 3563656 w 6096001"/>
              <a:gd name="connsiteY2013" fmla="*/ 342335 h 5392467"/>
              <a:gd name="connsiteX2014" fmla="*/ 3559788 w 6096001"/>
              <a:gd name="connsiteY2014" fmla="*/ 350074 h 5392467"/>
              <a:gd name="connsiteX2015" fmla="*/ 3561723 w 6096001"/>
              <a:gd name="connsiteY2015" fmla="*/ 352007 h 5392467"/>
              <a:gd name="connsiteX2016" fmla="*/ 3563656 w 6096001"/>
              <a:gd name="connsiteY2016" fmla="*/ 352007 h 5392467"/>
              <a:gd name="connsiteX2017" fmla="*/ 3561723 w 6096001"/>
              <a:gd name="connsiteY2017" fmla="*/ 361676 h 5392467"/>
              <a:gd name="connsiteX2018" fmla="*/ 3555920 w 6096001"/>
              <a:gd name="connsiteY2018" fmla="*/ 363612 h 5392467"/>
              <a:gd name="connsiteX2019" fmla="*/ 3552052 w 6096001"/>
              <a:gd name="connsiteY2019" fmla="*/ 365544 h 5392467"/>
              <a:gd name="connsiteX2020" fmla="*/ 3548183 w 6096001"/>
              <a:gd name="connsiteY2020" fmla="*/ 371348 h 5392467"/>
              <a:gd name="connsiteX2021" fmla="*/ 3538514 w 6096001"/>
              <a:gd name="connsiteY2021" fmla="*/ 379085 h 5392467"/>
              <a:gd name="connsiteX2022" fmla="*/ 3532710 w 6096001"/>
              <a:gd name="connsiteY2022" fmla="*/ 386821 h 5392467"/>
              <a:gd name="connsiteX2023" fmla="*/ 3524974 w 6096001"/>
              <a:gd name="connsiteY2023" fmla="*/ 398426 h 5392467"/>
              <a:gd name="connsiteX2024" fmla="*/ 3511436 w 6096001"/>
              <a:gd name="connsiteY2024" fmla="*/ 411964 h 5392467"/>
              <a:gd name="connsiteX2025" fmla="*/ 3503700 w 6096001"/>
              <a:gd name="connsiteY2025" fmla="*/ 417767 h 5392467"/>
              <a:gd name="connsiteX2026" fmla="*/ 3494030 w 6096001"/>
              <a:gd name="connsiteY2026" fmla="*/ 425504 h 5392467"/>
              <a:gd name="connsiteX2027" fmla="*/ 3486294 w 6096001"/>
              <a:gd name="connsiteY2027" fmla="*/ 435173 h 5392467"/>
              <a:gd name="connsiteX2028" fmla="*/ 3488227 w 6096001"/>
              <a:gd name="connsiteY2028" fmla="*/ 439041 h 5392467"/>
              <a:gd name="connsiteX2029" fmla="*/ 3495963 w 6096001"/>
              <a:gd name="connsiteY2029" fmla="*/ 435173 h 5392467"/>
              <a:gd name="connsiteX2030" fmla="*/ 3499831 w 6096001"/>
              <a:gd name="connsiteY2030" fmla="*/ 431305 h 5392467"/>
              <a:gd name="connsiteX2031" fmla="*/ 3505633 w 6096001"/>
              <a:gd name="connsiteY2031" fmla="*/ 433240 h 5392467"/>
              <a:gd name="connsiteX2032" fmla="*/ 3505633 w 6096001"/>
              <a:gd name="connsiteY2032" fmla="*/ 440974 h 5392467"/>
              <a:gd name="connsiteX2033" fmla="*/ 3503700 w 6096001"/>
              <a:gd name="connsiteY2033" fmla="*/ 444845 h 5392467"/>
              <a:gd name="connsiteX2034" fmla="*/ 3492095 w 6096001"/>
              <a:gd name="connsiteY2034" fmla="*/ 462251 h 5392467"/>
              <a:gd name="connsiteX2035" fmla="*/ 3470821 w 6096001"/>
              <a:gd name="connsiteY2035" fmla="*/ 475789 h 5392467"/>
              <a:gd name="connsiteX2036" fmla="*/ 3472754 w 6096001"/>
              <a:gd name="connsiteY2036" fmla="*/ 475789 h 5392467"/>
              <a:gd name="connsiteX2037" fmla="*/ 3484358 w 6096001"/>
              <a:gd name="connsiteY2037" fmla="*/ 473856 h 5392467"/>
              <a:gd name="connsiteX2038" fmla="*/ 3524974 w 6096001"/>
              <a:gd name="connsiteY2038" fmla="*/ 460316 h 5392467"/>
              <a:gd name="connsiteX2039" fmla="*/ 3524974 w 6096001"/>
              <a:gd name="connsiteY2039" fmla="*/ 466119 h 5392467"/>
              <a:gd name="connsiteX2040" fmla="*/ 3501764 w 6096001"/>
              <a:gd name="connsiteY2040" fmla="*/ 473856 h 5392467"/>
              <a:gd name="connsiteX2041" fmla="*/ 3494030 w 6096001"/>
              <a:gd name="connsiteY2041" fmla="*/ 475789 h 5392467"/>
              <a:gd name="connsiteX2042" fmla="*/ 3480490 w 6096001"/>
              <a:gd name="connsiteY2042" fmla="*/ 479657 h 5392467"/>
              <a:gd name="connsiteX2043" fmla="*/ 3474689 w 6096001"/>
              <a:gd name="connsiteY2043" fmla="*/ 481592 h 5392467"/>
              <a:gd name="connsiteX2044" fmla="*/ 3449544 w 6096001"/>
              <a:gd name="connsiteY2044" fmla="*/ 493197 h 5392467"/>
              <a:gd name="connsiteX2045" fmla="*/ 3447611 w 6096001"/>
              <a:gd name="connsiteY2045" fmla="*/ 493197 h 5392467"/>
              <a:gd name="connsiteX2046" fmla="*/ 3443743 w 6096001"/>
              <a:gd name="connsiteY2046" fmla="*/ 498998 h 5392467"/>
              <a:gd name="connsiteX2047" fmla="*/ 3437939 w 6096001"/>
              <a:gd name="connsiteY2047" fmla="*/ 502866 h 5392467"/>
              <a:gd name="connsiteX2048" fmla="*/ 3437939 w 6096001"/>
              <a:gd name="connsiteY2048" fmla="*/ 504802 h 5392467"/>
              <a:gd name="connsiteX2049" fmla="*/ 3443743 w 6096001"/>
              <a:gd name="connsiteY2049" fmla="*/ 508670 h 5392467"/>
              <a:gd name="connsiteX2050" fmla="*/ 3434071 w 6096001"/>
              <a:gd name="connsiteY2050" fmla="*/ 516406 h 5392467"/>
              <a:gd name="connsiteX2051" fmla="*/ 3497896 w 6096001"/>
              <a:gd name="connsiteY2051" fmla="*/ 502866 h 5392467"/>
              <a:gd name="connsiteX2052" fmla="*/ 3488227 w 6096001"/>
              <a:gd name="connsiteY2052" fmla="*/ 514471 h 5392467"/>
              <a:gd name="connsiteX2053" fmla="*/ 3501764 w 6096001"/>
              <a:gd name="connsiteY2053" fmla="*/ 508670 h 5392467"/>
              <a:gd name="connsiteX2054" fmla="*/ 3569458 w 6096001"/>
              <a:gd name="connsiteY2054" fmla="*/ 487393 h 5392467"/>
              <a:gd name="connsiteX2055" fmla="*/ 3563656 w 6096001"/>
              <a:gd name="connsiteY2055" fmla="*/ 495130 h 5392467"/>
              <a:gd name="connsiteX2056" fmla="*/ 3571393 w 6096001"/>
              <a:gd name="connsiteY2056" fmla="*/ 498998 h 5392467"/>
              <a:gd name="connsiteX2057" fmla="*/ 3538514 w 6096001"/>
              <a:gd name="connsiteY2057" fmla="*/ 510603 h 5392467"/>
              <a:gd name="connsiteX2058" fmla="*/ 3534646 w 6096001"/>
              <a:gd name="connsiteY2058" fmla="*/ 510603 h 5392467"/>
              <a:gd name="connsiteX2059" fmla="*/ 3515304 w 6096001"/>
              <a:gd name="connsiteY2059" fmla="*/ 518339 h 5392467"/>
              <a:gd name="connsiteX2060" fmla="*/ 3503700 w 6096001"/>
              <a:gd name="connsiteY2060" fmla="*/ 524143 h 5392467"/>
              <a:gd name="connsiteX2061" fmla="*/ 3509501 w 6096001"/>
              <a:gd name="connsiteY2061" fmla="*/ 516406 h 5392467"/>
              <a:gd name="connsiteX2062" fmla="*/ 3488227 w 6096001"/>
              <a:gd name="connsiteY2062" fmla="*/ 528009 h 5392467"/>
              <a:gd name="connsiteX2063" fmla="*/ 3476622 w 6096001"/>
              <a:gd name="connsiteY2063" fmla="*/ 535745 h 5392467"/>
              <a:gd name="connsiteX2064" fmla="*/ 3472754 w 6096001"/>
              <a:gd name="connsiteY2064" fmla="*/ 539614 h 5392467"/>
              <a:gd name="connsiteX2065" fmla="*/ 3470821 w 6096001"/>
              <a:gd name="connsiteY2065" fmla="*/ 541549 h 5392467"/>
              <a:gd name="connsiteX2066" fmla="*/ 3472754 w 6096001"/>
              <a:gd name="connsiteY2066" fmla="*/ 547350 h 5392467"/>
              <a:gd name="connsiteX2067" fmla="*/ 3505633 w 6096001"/>
              <a:gd name="connsiteY2067" fmla="*/ 533812 h 5392467"/>
              <a:gd name="connsiteX2068" fmla="*/ 3540447 w 6096001"/>
              <a:gd name="connsiteY2068" fmla="*/ 520275 h 5392467"/>
              <a:gd name="connsiteX2069" fmla="*/ 3575261 w 6096001"/>
              <a:gd name="connsiteY2069" fmla="*/ 510603 h 5392467"/>
              <a:gd name="connsiteX2070" fmla="*/ 3577197 w 6096001"/>
              <a:gd name="connsiteY2070" fmla="*/ 518339 h 5392467"/>
              <a:gd name="connsiteX2071" fmla="*/ 3571393 w 6096001"/>
              <a:gd name="connsiteY2071" fmla="*/ 522208 h 5392467"/>
              <a:gd name="connsiteX2072" fmla="*/ 3540447 w 6096001"/>
              <a:gd name="connsiteY2072" fmla="*/ 533812 h 5392467"/>
              <a:gd name="connsiteX2073" fmla="*/ 3532710 w 6096001"/>
              <a:gd name="connsiteY2073" fmla="*/ 543484 h 5392467"/>
              <a:gd name="connsiteX2074" fmla="*/ 3524974 w 6096001"/>
              <a:gd name="connsiteY2074" fmla="*/ 560890 h 5392467"/>
              <a:gd name="connsiteX2075" fmla="*/ 3524974 w 6096001"/>
              <a:gd name="connsiteY2075" fmla="*/ 566691 h 5392467"/>
              <a:gd name="connsiteX2076" fmla="*/ 3505633 w 6096001"/>
              <a:gd name="connsiteY2076" fmla="*/ 562823 h 5392467"/>
              <a:gd name="connsiteX2077" fmla="*/ 3495963 w 6096001"/>
              <a:gd name="connsiteY2077" fmla="*/ 568627 h 5392467"/>
              <a:gd name="connsiteX2078" fmla="*/ 3497896 w 6096001"/>
              <a:gd name="connsiteY2078" fmla="*/ 574428 h 5392467"/>
              <a:gd name="connsiteX2079" fmla="*/ 3492895 w 6096001"/>
              <a:gd name="connsiteY2079" fmla="*/ 576352 h 5392467"/>
              <a:gd name="connsiteX2080" fmla="*/ 3494030 w 6096001"/>
              <a:gd name="connsiteY2080" fmla="*/ 572495 h 5392467"/>
              <a:gd name="connsiteX2081" fmla="*/ 3488472 w 6096001"/>
              <a:gd name="connsiteY2081" fmla="*/ 578053 h 5392467"/>
              <a:gd name="connsiteX2082" fmla="*/ 3472754 w 6096001"/>
              <a:gd name="connsiteY2082" fmla="*/ 584100 h 5392467"/>
              <a:gd name="connsiteX2083" fmla="*/ 3473721 w 6096001"/>
              <a:gd name="connsiteY2083" fmla="*/ 589901 h 5392467"/>
              <a:gd name="connsiteX2084" fmla="*/ 3472754 w 6096001"/>
              <a:gd name="connsiteY2084" fmla="*/ 589901 h 5392467"/>
              <a:gd name="connsiteX2085" fmla="*/ 3473778 w 6096001"/>
              <a:gd name="connsiteY2085" fmla="*/ 590243 h 5392467"/>
              <a:gd name="connsiteX2086" fmla="*/ 3474689 w 6096001"/>
              <a:gd name="connsiteY2086" fmla="*/ 595705 h 5392467"/>
              <a:gd name="connsiteX2087" fmla="*/ 3470821 w 6096001"/>
              <a:gd name="connsiteY2087" fmla="*/ 609242 h 5392467"/>
              <a:gd name="connsiteX2088" fmla="*/ 3463084 w 6096001"/>
              <a:gd name="connsiteY2088" fmla="*/ 615046 h 5392467"/>
              <a:gd name="connsiteX2089" fmla="*/ 3451479 w 6096001"/>
              <a:gd name="connsiteY2089" fmla="*/ 616979 h 5392467"/>
              <a:gd name="connsiteX2090" fmla="*/ 3441808 w 6096001"/>
              <a:gd name="connsiteY2090" fmla="*/ 622780 h 5392467"/>
              <a:gd name="connsiteX2091" fmla="*/ 3428270 w 6096001"/>
              <a:gd name="connsiteY2091" fmla="*/ 628584 h 5392467"/>
              <a:gd name="connsiteX2092" fmla="*/ 3410862 w 6096001"/>
              <a:gd name="connsiteY2092" fmla="*/ 638253 h 5392467"/>
              <a:gd name="connsiteX2093" fmla="*/ 3408929 w 6096001"/>
              <a:gd name="connsiteY2093" fmla="*/ 644057 h 5392467"/>
              <a:gd name="connsiteX2094" fmla="*/ 3422466 w 6096001"/>
              <a:gd name="connsiteY2094" fmla="*/ 638253 h 5392467"/>
              <a:gd name="connsiteX2095" fmla="*/ 3428270 w 6096001"/>
              <a:gd name="connsiteY2095" fmla="*/ 644057 h 5392467"/>
              <a:gd name="connsiteX2096" fmla="*/ 3441808 w 6096001"/>
              <a:gd name="connsiteY2096" fmla="*/ 636320 h 5392467"/>
              <a:gd name="connsiteX2097" fmla="*/ 3470821 w 6096001"/>
              <a:gd name="connsiteY2097" fmla="*/ 622780 h 5392467"/>
              <a:gd name="connsiteX2098" fmla="*/ 3486294 w 6096001"/>
              <a:gd name="connsiteY2098" fmla="*/ 607309 h 5392467"/>
              <a:gd name="connsiteX2099" fmla="*/ 3482423 w 6096001"/>
              <a:gd name="connsiteY2099" fmla="*/ 603441 h 5392467"/>
              <a:gd name="connsiteX2100" fmla="*/ 3480490 w 6096001"/>
              <a:gd name="connsiteY2100" fmla="*/ 595705 h 5392467"/>
              <a:gd name="connsiteX2101" fmla="*/ 3486294 w 6096001"/>
              <a:gd name="connsiteY2101" fmla="*/ 593769 h 5392467"/>
              <a:gd name="connsiteX2102" fmla="*/ 3497896 w 6096001"/>
              <a:gd name="connsiteY2102" fmla="*/ 580232 h 5392467"/>
              <a:gd name="connsiteX2103" fmla="*/ 3509501 w 6096001"/>
              <a:gd name="connsiteY2103" fmla="*/ 570560 h 5392467"/>
              <a:gd name="connsiteX2104" fmla="*/ 3523041 w 6096001"/>
              <a:gd name="connsiteY2104" fmla="*/ 576363 h 5392467"/>
              <a:gd name="connsiteX2105" fmla="*/ 3509501 w 6096001"/>
              <a:gd name="connsiteY2105" fmla="*/ 597637 h 5392467"/>
              <a:gd name="connsiteX2106" fmla="*/ 3532710 w 6096001"/>
              <a:gd name="connsiteY2106" fmla="*/ 582164 h 5392467"/>
              <a:gd name="connsiteX2107" fmla="*/ 3557855 w 6096001"/>
              <a:gd name="connsiteY2107" fmla="*/ 560890 h 5392467"/>
              <a:gd name="connsiteX2108" fmla="*/ 3559788 w 6096001"/>
              <a:gd name="connsiteY2108" fmla="*/ 549285 h 5392467"/>
              <a:gd name="connsiteX2109" fmla="*/ 3573328 w 6096001"/>
              <a:gd name="connsiteY2109" fmla="*/ 566691 h 5392467"/>
              <a:gd name="connsiteX2110" fmla="*/ 3559788 w 6096001"/>
              <a:gd name="connsiteY2110" fmla="*/ 576363 h 5392467"/>
              <a:gd name="connsiteX2111" fmla="*/ 3561723 w 6096001"/>
              <a:gd name="connsiteY2111" fmla="*/ 580232 h 5392467"/>
              <a:gd name="connsiteX2112" fmla="*/ 3592667 w 6096001"/>
              <a:gd name="connsiteY2112" fmla="*/ 570560 h 5392467"/>
              <a:gd name="connsiteX2113" fmla="*/ 3592667 w 6096001"/>
              <a:gd name="connsiteY2113" fmla="*/ 568627 h 5392467"/>
              <a:gd name="connsiteX2114" fmla="*/ 3582998 w 6096001"/>
              <a:gd name="connsiteY2114" fmla="*/ 564758 h 5392467"/>
              <a:gd name="connsiteX2115" fmla="*/ 3606207 w 6096001"/>
              <a:gd name="connsiteY2115" fmla="*/ 558955 h 5392467"/>
              <a:gd name="connsiteX2116" fmla="*/ 3612008 w 6096001"/>
              <a:gd name="connsiteY2116" fmla="*/ 572495 h 5392467"/>
              <a:gd name="connsiteX2117" fmla="*/ 3608140 w 6096001"/>
              <a:gd name="connsiteY2117" fmla="*/ 576363 h 5392467"/>
              <a:gd name="connsiteX2118" fmla="*/ 3602339 w 6096001"/>
              <a:gd name="connsiteY2118" fmla="*/ 564758 h 5392467"/>
              <a:gd name="connsiteX2119" fmla="*/ 3598471 w 6096001"/>
              <a:gd name="connsiteY2119" fmla="*/ 570560 h 5392467"/>
              <a:gd name="connsiteX2120" fmla="*/ 3592667 w 6096001"/>
              <a:gd name="connsiteY2120" fmla="*/ 580232 h 5392467"/>
              <a:gd name="connsiteX2121" fmla="*/ 3577197 w 6096001"/>
              <a:gd name="connsiteY2121" fmla="*/ 587968 h 5392467"/>
              <a:gd name="connsiteX2122" fmla="*/ 3575261 w 6096001"/>
              <a:gd name="connsiteY2122" fmla="*/ 587968 h 5392467"/>
              <a:gd name="connsiteX2123" fmla="*/ 3565589 w 6096001"/>
              <a:gd name="connsiteY2123" fmla="*/ 589901 h 5392467"/>
              <a:gd name="connsiteX2124" fmla="*/ 3540447 w 6096001"/>
              <a:gd name="connsiteY2124" fmla="*/ 605374 h 5392467"/>
              <a:gd name="connsiteX2125" fmla="*/ 3534646 w 6096001"/>
              <a:gd name="connsiteY2125" fmla="*/ 595705 h 5392467"/>
              <a:gd name="connsiteX2126" fmla="*/ 3528842 w 6096001"/>
              <a:gd name="connsiteY2126" fmla="*/ 609242 h 5392467"/>
              <a:gd name="connsiteX2127" fmla="*/ 3513372 w 6096001"/>
              <a:gd name="connsiteY2127" fmla="*/ 613111 h 5392467"/>
              <a:gd name="connsiteX2128" fmla="*/ 3515304 w 6096001"/>
              <a:gd name="connsiteY2128" fmla="*/ 605374 h 5392467"/>
              <a:gd name="connsiteX2129" fmla="*/ 3511436 w 6096001"/>
              <a:gd name="connsiteY2129" fmla="*/ 605374 h 5392467"/>
              <a:gd name="connsiteX2130" fmla="*/ 3492095 w 6096001"/>
              <a:gd name="connsiteY2130" fmla="*/ 622780 h 5392467"/>
              <a:gd name="connsiteX2131" fmla="*/ 3486294 w 6096001"/>
              <a:gd name="connsiteY2131" fmla="*/ 630519 h 5392467"/>
              <a:gd name="connsiteX2132" fmla="*/ 3492095 w 6096001"/>
              <a:gd name="connsiteY2132" fmla="*/ 630519 h 5392467"/>
              <a:gd name="connsiteX2133" fmla="*/ 3532710 w 6096001"/>
              <a:gd name="connsiteY2133" fmla="*/ 613111 h 5392467"/>
              <a:gd name="connsiteX2134" fmla="*/ 3542382 w 6096001"/>
              <a:gd name="connsiteY2134" fmla="*/ 611178 h 5392467"/>
              <a:gd name="connsiteX2135" fmla="*/ 3573328 w 6096001"/>
              <a:gd name="connsiteY2135" fmla="*/ 599573 h 5392467"/>
              <a:gd name="connsiteX2136" fmla="*/ 3579129 w 6096001"/>
              <a:gd name="connsiteY2136" fmla="*/ 597637 h 5392467"/>
              <a:gd name="connsiteX2137" fmla="*/ 3584931 w 6096001"/>
              <a:gd name="connsiteY2137" fmla="*/ 605374 h 5392467"/>
              <a:gd name="connsiteX2138" fmla="*/ 3569458 w 6096001"/>
              <a:gd name="connsiteY2138" fmla="*/ 605374 h 5392467"/>
              <a:gd name="connsiteX2139" fmla="*/ 3555920 w 6096001"/>
              <a:gd name="connsiteY2139" fmla="*/ 624715 h 5392467"/>
              <a:gd name="connsiteX2140" fmla="*/ 3546248 w 6096001"/>
              <a:gd name="connsiteY2140" fmla="*/ 645990 h 5392467"/>
              <a:gd name="connsiteX2141" fmla="*/ 3539475 w 6096001"/>
              <a:gd name="connsiteY2141" fmla="*/ 647925 h 5392467"/>
              <a:gd name="connsiteX2142" fmla="*/ 3524974 w 6096001"/>
              <a:gd name="connsiteY2142" fmla="*/ 647925 h 5392467"/>
              <a:gd name="connsiteX2143" fmla="*/ 3517237 w 6096001"/>
              <a:gd name="connsiteY2143" fmla="*/ 640188 h 5392467"/>
              <a:gd name="connsiteX2144" fmla="*/ 3503700 w 6096001"/>
              <a:gd name="connsiteY2144" fmla="*/ 645990 h 5392467"/>
              <a:gd name="connsiteX2145" fmla="*/ 3503700 w 6096001"/>
              <a:gd name="connsiteY2145" fmla="*/ 647925 h 5392467"/>
              <a:gd name="connsiteX2146" fmla="*/ 3526574 w 6096001"/>
              <a:gd name="connsiteY2146" fmla="*/ 654461 h 5392467"/>
              <a:gd name="connsiteX2147" fmla="*/ 3524974 w 6096001"/>
              <a:gd name="connsiteY2147" fmla="*/ 655661 h 5392467"/>
              <a:gd name="connsiteX2148" fmla="*/ 3532710 w 6096001"/>
              <a:gd name="connsiteY2148" fmla="*/ 663398 h 5392467"/>
              <a:gd name="connsiteX2149" fmla="*/ 3536579 w 6096001"/>
              <a:gd name="connsiteY2149" fmla="*/ 661463 h 5392467"/>
              <a:gd name="connsiteX2150" fmla="*/ 3534646 w 6096001"/>
              <a:gd name="connsiteY2150" fmla="*/ 665331 h 5392467"/>
              <a:gd name="connsiteX2151" fmla="*/ 3538514 w 6096001"/>
              <a:gd name="connsiteY2151" fmla="*/ 671134 h 5392467"/>
              <a:gd name="connsiteX2152" fmla="*/ 3917598 w 6096001"/>
              <a:gd name="connsiteY2152" fmla="*/ 508670 h 5392467"/>
              <a:gd name="connsiteX2153" fmla="*/ 3985291 w 6096001"/>
              <a:gd name="connsiteY2153" fmla="*/ 537681 h 5392467"/>
              <a:gd name="connsiteX2154" fmla="*/ 3987224 w 6096001"/>
              <a:gd name="connsiteY2154" fmla="*/ 537681 h 5392467"/>
              <a:gd name="connsiteX2155" fmla="*/ 3987224 w 6096001"/>
              <a:gd name="connsiteY2155" fmla="*/ 539614 h 5392467"/>
              <a:gd name="connsiteX2156" fmla="*/ 3989160 w 6096001"/>
              <a:gd name="connsiteY2156" fmla="*/ 545417 h 5392467"/>
              <a:gd name="connsiteX2157" fmla="*/ 3994961 w 6096001"/>
              <a:gd name="connsiteY2157" fmla="*/ 541549 h 5392467"/>
              <a:gd name="connsiteX2158" fmla="*/ 3998829 w 6096001"/>
              <a:gd name="connsiteY2158" fmla="*/ 539614 h 5392467"/>
              <a:gd name="connsiteX2159" fmla="*/ 4002697 w 6096001"/>
              <a:gd name="connsiteY2159" fmla="*/ 537681 h 5392467"/>
              <a:gd name="connsiteX2160" fmla="*/ 3994961 w 6096001"/>
              <a:gd name="connsiteY2160" fmla="*/ 535745 h 5392467"/>
              <a:gd name="connsiteX2161" fmla="*/ 4016237 w 6096001"/>
              <a:gd name="connsiteY2161" fmla="*/ 529944 h 5392467"/>
              <a:gd name="connsiteX2162" fmla="*/ 4022039 w 6096001"/>
              <a:gd name="connsiteY2162" fmla="*/ 528009 h 5392467"/>
              <a:gd name="connsiteX2163" fmla="*/ 4031711 w 6096001"/>
              <a:gd name="connsiteY2163" fmla="*/ 522208 h 5392467"/>
              <a:gd name="connsiteX2164" fmla="*/ 4018170 w 6096001"/>
              <a:gd name="connsiteY2164" fmla="*/ 539614 h 5392467"/>
              <a:gd name="connsiteX2165" fmla="*/ 4025907 w 6096001"/>
              <a:gd name="connsiteY2165" fmla="*/ 541549 h 5392467"/>
              <a:gd name="connsiteX2166" fmla="*/ 4027840 w 6096001"/>
              <a:gd name="connsiteY2166" fmla="*/ 551216 h 5392467"/>
              <a:gd name="connsiteX2167" fmla="*/ 4025423 w 6096001"/>
              <a:gd name="connsiteY2167" fmla="*/ 548559 h 5392467"/>
              <a:gd name="connsiteX2168" fmla="*/ 4020103 w 6096001"/>
              <a:gd name="connsiteY2168" fmla="*/ 553154 h 5392467"/>
              <a:gd name="connsiteX2169" fmla="*/ 4022039 w 6096001"/>
              <a:gd name="connsiteY2169" fmla="*/ 553154 h 5392467"/>
              <a:gd name="connsiteX2170" fmla="*/ 4027841 w 6096001"/>
              <a:gd name="connsiteY2170" fmla="*/ 551219 h 5392467"/>
              <a:gd name="connsiteX2171" fmla="*/ 4028163 w 6096001"/>
              <a:gd name="connsiteY2171" fmla="*/ 552832 h 5392467"/>
              <a:gd name="connsiteX2172" fmla="*/ 4027842 w 6096001"/>
              <a:gd name="connsiteY2172" fmla="*/ 553154 h 5392467"/>
              <a:gd name="connsiteX2173" fmla="*/ 4028324 w 6096001"/>
              <a:gd name="connsiteY2173" fmla="*/ 553636 h 5392467"/>
              <a:gd name="connsiteX2174" fmla="*/ 4029775 w 6096001"/>
              <a:gd name="connsiteY2174" fmla="*/ 560890 h 5392467"/>
              <a:gd name="connsiteX2175" fmla="*/ 4051052 w 6096001"/>
              <a:gd name="connsiteY2175" fmla="*/ 545417 h 5392467"/>
              <a:gd name="connsiteX2176" fmla="*/ 4052985 w 6096001"/>
              <a:gd name="connsiteY2176" fmla="*/ 543484 h 5392467"/>
              <a:gd name="connsiteX2177" fmla="*/ 4076194 w 6096001"/>
              <a:gd name="connsiteY2177" fmla="*/ 524143 h 5392467"/>
              <a:gd name="connsiteX2178" fmla="*/ 4078127 w 6096001"/>
              <a:gd name="connsiteY2178" fmla="*/ 520275 h 5392467"/>
              <a:gd name="connsiteX2179" fmla="*/ 4080063 w 6096001"/>
              <a:gd name="connsiteY2179" fmla="*/ 522208 h 5392467"/>
              <a:gd name="connsiteX2180" fmla="*/ 4085864 w 6096001"/>
              <a:gd name="connsiteY2180" fmla="*/ 514471 h 5392467"/>
              <a:gd name="connsiteX2181" fmla="*/ 4095536 w 6096001"/>
              <a:gd name="connsiteY2181" fmla="*/ 504802 h 5392467"/>
              <a:gd name="connsiteX2182" fmla="*/ 4099404 w 6096001"/>
              <a:gd name="connsiteY2182" fmla="*/ 498998 h 5392467"/>
              <a:gd name="connsiteX2183" fmla="*/ 4095536 w 6096001"/>
              <a:gd name="connsiteY2183" fmla="*/ 497065 h 5392467"/>
              <a:gd name="connsiteX2184" fmla="*/ 4072326 w 6096001"/>
              <a:gd name="connsiteY2184" fmla="*/ 510603 h 5392467"/>
              <a:gd name="connsiteX2185" fmla="*/ 4062654 w 6096001"/>
              <a:gd name="connsiteY2185" fmla="*/ 520275 h 5392467"/>
              <a:gd name="connsiteX2186" fmla="*/ 4066522 w 6096001"/>
              <a:gd name="connsiteY2186" fmla="*/ 524143 h 5392467"/>
              <a:gd name="connsiteX2187" fmla="*/ 4052985 w 6096001"/>
              <a:gd name="connsiteY2187" fmla="*/ 537681 h 5392467"/>
              <a:gd name="connsiteX2188" fmla="*/ 4039445 w 6096001"/>
              <a:gd name="connsiteY2188" fmla="*/ 545417 h 5392467"/>
              <a:gd name="connsiteX2189" fmla="*/ 4037512 w 6096001"/>
              <a:gd name="connsiteY2189" fmla="*/ 543484 h 5392467"/>
              <a:gd name="connsiteX2190" fmla="*/ 4054920 w 6096001"/>
              <a:gd name="connsiteY2190" fmla="*/ 529944 h 5392467"/>
              <a:gd name="connsiteX2191" fmla="*/ 4037512 w 6096001"/>
              <a:gd name="connsiteY2191" fmla="*/ 522208 h 5392467"/>
              <a:gd name="connsiteX2192" fmla="*/ 4049116 w 6096001"/>
              <a:gd name="connsiteY2192" fmla="*/ 516406 h 5392467"/>
              <a:gd name="connsiteX2193" fmla="*/ 4052985 w 6096001"/>
              <a:gd name="connsiteY2193" fmla="*/ 514471 h 5392467"/>
              <a:gd name="connsiteX2194" fmla="*/ 4056853 w 6096001"/>
              <a:gd name="connsiteY2194" fmla="*/ 500933 h 5392467"/>
              <a:gd name="connsiteX2195" fmla="*/ 4081995 w 6096001"/>
              <a:gd name="connsiteY2195" fmla="*/ 483525 h 5392467"/>
              <a:gd name="connsiteX2196" fmla="*/ 4105205 w 6096001"/>
              <a:gd name="connsiteY2196" fmla="*/ 471920 h 5392467"/>
              <a:gd name="connsiteX2197" fmla="*/ 4118745 w 6096001"/>
              <a:gd name="connsiteY2197" fmla="*/ 458383 h 5392467"/>
              <a:gd name="connsiteX2198" fmla="*/ 4134216 w 6096001"/>
              <a:gd name="connsiteY2198" fmla="*/ 442910 h 5392467"/>
              <a:gd name="connsiteX2199" fmla="*/ 4149689 w 6096001"/>
              <a:gd name="connsiteY2199" fmla="*/ 433240 h 5392467"/>
              <a:gd name="connsiteX2200" fmla="*/ 4151624 w 6096001"/>
              <a:gd name="connsiteY2200" fmla="*/ 435173 h 5392467"/>
              <a:gd name="connsiteX2201" fmla="*/ 4147756 w 6096001"/>
              <a:gd name="connsiteY2201" fmla="*/ 448711 h 5392467"/>
              <a:gd name="connsiteX2202" fmla="*/ 4167097 w 6096001"/>
              <a:gd name="connsiteY2202" fmla="*/ 433240 h 5392467"/>
              <a:gd name="connsiteX2203" fmla="*/ 4178702 w 6096001"/>
              <a:gd name="connsiteY2203" fmla="*/ 411964 h 5392467"/>
              <a:gd name="connsiteX2204" fmla="*/ 4201911 w 6096001"/>
              <a:gd name="connsiteY2204" fmla="*/ 417767 h 5392467"/>
              <a:gd name="connsiteX2205" fmla="*/ 4213514 w 6096001"/>
              <a:gd name="connsiteY2205" fmla="*/ 410031 h 5392467"/>
              <a:gd name="connsiteX2206" fmla="*/ 4227054 w 6096001"/>
              <a:gd name="connsiteY2206" fmla="*/ 425504 h 5392467"/>
              <a:gd name="connsiteX2207" fmla="*/ 4238659 w 6096001"/>
              <a:gd name="connsiteY2207" fmla="*/ 408095 h 5392467"/>
              <a:gd name="connsiteX2208" fmla="*/ 4236723 w 6096001"/>
              <a:gd name="connsiteY2208" fmla="*/ 402294 h 5392467"/>
              <a:gd name="connsiteX2209" fmla="*/ 4238659 w 6096001"/>
              <a:gd name="connsiteY2209" fmla="*/ 402294 h 5392467"/>
              <a:gd name="connsiteX2210" fmla="*/ 4285078 w 6096001"/>
              <a:gd name="connsiteY2210" fmla="*/ 369415 h 5392467"/>
              <a:gd name="connsiteX2211" fmla="*/ 4287011 w 6096001"/>
              <a:gd name="connsiteY2211" fmla="*/ 367480 h 5392467"/>
              <a:gd name="connsiteX2212" fmla="*/ 4296682 w 6096001"/>
              <a:gd name="connsiteY2212" fmla="*/ 357810 h 5392467"/>
              <a:gd name="connsiteX2213" fmla="*/ 4316024 w 6096001"/>
              <a:gd name="connsiteY2213" fmla="*/ 361676 h 5392467"/>
              <a:gd name="connsiteX2214" fmla="*/ 4314088 w 6096001"/>
              <a:gd name="connsiteY2214" fmla="*/ 348139 h 5392467"/>
              <a:gd name="connsiteX2215" fmla="*/ 4346967 w 6096001"/>
              <a:gd name="connsiteY2215" fmla="*/ 326864 h 5392467"/>
              <a:gd name="connsiteX2216" fmla="*/ 4348903 w 6096001"/>
              <a:gd name="connsiteY2216" fmla="*/ 328797 h 5392467"/>
              <a:gd name="connsiteX2217" fmla="*/ 4341166 w 6096001"/>
              <a:gd name="connsiteY2217" fmla="*/ 338469 h 5392467"/>
              <a:gd name="connsiteX2218" fmla="*/ 4343099 w 6096001"/>
              <a:gd name="connsiteY2218" fmla="*/ 340402 h 5392467"/>
              <a:gd name="connsiteX2219" fmla="*/ 4372112 w 6096001"/>
              <a:gd name="connsiteY2219" fmla="*/ 322996 h 5392467"/>
              <a:gd name="connsiteX2220" fmla="*/ 4370177 w 6096001"/>
              <a:gd name="connsiteY2220" fmla="*/ 317192 h 5392467"/>
              <a:gd name="connsiteX2221" fmla="*/ 4372112 w 6096001"/>
              <a:gd name="connsiteY2221" fmla="*/ 315260 h 5392467"/>
              <a:gd name="connsiteX2222" fmla="*/ 4375980 w 6096001"/>
              <a:gd name="connsiteY2222" fmla="*/ 322996 h 5392467"/>
              <a:gd name="connsiteX2223" fmla="*/ 4391451 w 6096001"/>
              <a:gd name="connsiteY2223" fmla="*/ 307523 h 5392467"/>
              <a:gd name="connsiteX2224" fmla="*/ 4395322 w 6096001"/>
              <a:gd name="connsiteY2224" fmla="*/ 305588 h 5392467"/>
              <a:gd name="connsiteX2225" fmla="*/ 4412728 w 6096001"/>
              <a:gd name="connsiteY2225" fmla="*/ 299786 h 5392467"/>
              <a:gd name="connsiteX2226" fmla="*/ 4426265 w 6096001"/>
              <a:gd name="connsiteY2226" fmla="*/ 288182 h 5392467"/>
              <a:gd name="connsiteX2227" fmla="*/ 4447542 w 6096001"/>
              <a:gd name="connsiteY2227" fmla="*/ 274642 h 5392467"/>
              <a:gd name="connsiteX2228" fmla="*/ 4439805 w 6096001"/>
              <a:gd name="connsiteY2228" fmla="*/ 284313 h 5392467"/>
              <a:gd name="connsiteX2229" fmla="*/ 4453343 w 6096001"/>
              <a:gd name="connsiteY2229" fmla="*/ 282378 h 5392467"/>
              <a:gd name="connsiteX2230" fmla="*/ 4455278 w 6096001"/>
              <a:gd name="connsiteY2230" fmla="*/ 290115 h 5392467"/>
              <a:gd name="connsiteX2231" fmla="*/ 4478488 w 6096001"/>
              <a:gd name="connsiteY2231" fmla="*/ 278510 h 5392467"/>
              <a:gd name="connsiteX2232" fmla="*/ 4482356 w 6096001"/>
              <a:gd name="connsiteY2232" fmla="*/ 284313 h 5392467"/>
              <a:gd name="connsiteX2233" fmla="*/ 4484289 w 6096001"/>
              <a:gd name="connsiteY2233" fmla="*/ 282378 h 5392467"/>
              <a:gd name="connsiteX2234" fmla="*/ 4507499 w 6096001"/>
              <a:gd name="connsiteY2234" fmla="*/ 264972 h 5392467"/>
              <a:gd name="connsiteX2235" fmla="*/ 4534577 w 6096001"/>
              <a:gd name="connsiteY2235" fmla="*/ 251434 h 5392467"/>
              <a:gd name="connsiteX2236" fmla="*/ 4534577 w 6096001"/>
              <a:gd name="connsiteY2236" fmla="*/ 241763 h 5392467"/>
              <a:gd name="connsiteX2237" fmla="*/ 4536509 w 6096001"/>
              <a:gd name="connsiteY2237" fmla="*/ 234026 h 5392467"/>
              <a:gd name="connsiteX2238" fmla="*/ 4546181 w 6096001"/>
              <a:gd name="connsiteY2238" fmla="*/ 226290 h 5392467"/>
              <a:gd name="connsiteX2239" fmla="*/ 4586797 w 6096001"/>
              <a:gd name="connsiteY2239" fmla="*/ 208884 h 5392467"/>
              <a:gd name="connsiteX2240" fmla="*/ 4573259 w 6096001"/>
              <a:gd name="connsiteY2240" fmla="*/ 216620 h 5392467"/>
              <a:gd name="connsiteX2241" fmla="*/ 4565523 w 6096001"/>
              <a:gd name="connsiteY2241" fmla="*/ 228225 h 5392467"/>
              <a:gd name="connsiteX2242" fmla="*/ 4561177 w 6096001"/>
              <a:gd name="connsiteY2242" fmla="*/ 231122 h 5392467"/>
              <a:gd name="connsiteX2243" fmla="*/ 4553918 w 6096001"/>
              <a:gd name="connsiteY2243" fmla="*/ 234026 h 5392467"/>
              <a:gd name="connsiteX2244" fmla="*/ 4555078 w 6096001"/>
              <a:gd name="connsiteY2244" fmla="*/ 235188 h 5392467"/>
              <a:gd name="connsiteX2245" fmla="*/ 4553918 w 6096001"/>
              <a:gd name="connsiteY2245" fmla="*/ 235961 h 5392467"/>
              <a:gd name="connsiteX2246" fmla="*/ 4555372 w 6096001"/>
              <a:gd name="connsiteY2246" fmla="*/ 235482 h 5392467"/>
              <a:gd name="connsiteX2247" fmla="*/ 4555851 w 6096001"/>
              <a:gd name="connsiteY2247" fmla="*/ 235961 h 5392467"/>
              <a:gd name="connsiteX2248" fmla="*/ 4557367 w 6096001"/>
              <a:gd name="connsiteY2248" fmla="*/ 234824 h 5392467"/>
              <a:gd name="connsiteX2249" fmla="*/ 4575918 w 6096001"/>
              <a:gd name="connsiteY2249" fmla="*/ 228708 h 5392467"/>
              <a:gd name="connsiteX2250" fmla="*/ 4596469 w 6096001"/>
              <a:gd name="connsiteY2250" fmla="*/ 218553 h 5392467"/>
              <a:gd name="connsiteX2251" fmla="*/ 4640952 w 6096001"/>
              <a:gd name="connsiteY2251" fmla="*/ 197279 h 5392467"/>
              <a:gd name="connsiteX2252" fmla="*/ 4685436 w 6096001"/>
              <a:gd name="connsiteY2252" fmla="*/ 181806 h 5392467"/>
              <a:gd name="connsiteX2253" fmla="*/ 4658358 w 6096001"/>
              <a:gd name="connsiteY2253" fmla="*/ 197279 h 5392467"/>
              <a:gd name="connsiteX2254" fmla="*/ 4629348 w 6096001"/>
              <a:gd name="connsiteY2254" fmla="*/ 220488 h 5392467"/>
              <a:gd name="connsiteX2255" fmla="*/ 4669963 w 6096001"/>
              <a:gd name="connsiteY2255" fmla="*/ 201147 h 5392467"/>
              <a:gd name="connsiteX2256" fmla="*/ 4673831 w 6096001"/>
              <a:gd name="connsiteY2256" fmla="*/ 206948 h 5392467"/>
              <a:gd name="connsiteX2257" fmla="*/ 4689304 w 6096001"/>
              <a:gd name="connsiteY2257" fmla="*/ 203080 h 5392467"/>
              <a:gd name="connsiteX2258" fmla="*/ 4691237 w 6096001"/>
              <a:gd name="connsiteY2258" fmla="*/ 210817 h 5392467"/>
              <a:gd name="connsiteX2259" fmla="*/ 4733788 w 6096001"/>
              <a:gd name="connsiteY2259" fmla="*/ 197279 h 5392467"/>
              <a:gd name="connsiteX2260" fmla="*/ 4712514 w 6096001"/>
              <a:gd name="connsiteY2260" fmla="*/ 214685 h 5392467"/>
              <a:gd name="connsiteX2261" fmla="*/ 4739592 w 6096001"/>
              <a:gd name="connsiteY2261" fmla="*/ 228225 h 5392467"/>
              <a:gd name="connsiteX2262" fmla="*/ 4726052 w 6096001"/>
              <a:gd name="connsiteY2262" fmla="*/ 232093 h 5392467"/>
              <a:gd name="connsiteX2263" fmla="*/ 4749261 w 6096001"/>
              <a:gd name="connsiteY2263" fmla="*/ 235961 h 5392467"/>
              <a:gd name="connsiteX2264" fmla="*/ 4770538 w 6096001"/>
              <a:gd name="connsiteY2264" fmla="*/ 220488 h 5392467"/>
              <a:gd name="connsiteX2265" fmla="*/ 4756998 w 6096001"/>
              <a:gd name="connsiteY2265" fmla="*/ 243698 h 5392467"/>
              <a:gd name="connsiteX2266" fmla="*/ 4774404 w 6096001"/>
              <a:gd name="connsiteY2266" fmla="*/ 232093 h 5392467"/>
              <a:gd name="connsiteX2267" fmla="*/ 4762801 w 6096001"/>
              <a:gd name="connsiteY2267" fmla="*/ 245631 h 5392467"/>
              <a:gd name="connsiteX2268" fmla="*/ 4774404 w 6096001"/>
              <a:gd name="connsiteY2268" fmla="*/ 249499 h 5392467"/>
              <a:gd name="connsiteX2269" fmla="*/ 4755062 w 6096001"/>
              <a:gd name="connsiteY2269" fmla="*/ 268840 h 5392467"/>
              <a:gd name="connsiteX2270" fmla="*/ 4761350 w 6096001"/>
              <a:gd name="connsiteY2270" fmla="*/ 272225 h 5392467"/>
              <a:gd name="connsiteX2271" fmla="*/ 4764033 w 6096001"/>
              <a:gd name="connsiteY2271" fmla="*/ 277208 h 5392467"/>
              <a:gd name="connsiteX2272" fmla="*/ 4745393 w 6096001"/>
              <a:gd name="connsiteY2272" fmla="*/ 293983 h 5392467"/>
              <a:gd name="connsiteX2273" fmla="*/ 4745393 w 6096001"/>
              <a:gd name="connsiteY2273" fmla="*/ 295918 h 5392467"/>
              <a:gd name="connsiteX2274" fmla="*/ 4756998 w 6096001"/>
              <a:gd name="connsiteY2274" fmla="*/ 293983 h 5392467"/>
              <a:gd name="connsiteX2275" fmla="*/ 4762801 w 6096001"/>
              <a:gd name="connsiteY2275" fmla="*/ 301719 h 5392467"/>
              <a:gd name="connsiteX2276" fmla="*/ 4772471 w 6096001"/>
              <a:gd name="connsiteY2276" fmla="*/ 284313 h 5392467"/>
              <a:gd name="connsiteX2277" fmla="*/ 4762801 w 6096001"/>
              <a:gd name="connsiteY2277" fmla="*/ 290115 h 5392467"/>
              <a:gd name="connsiteX2278" fmla="*/ 4760866 w 6096001"/>
              <a:gd name="connsiteY2278" fmla="*/ 288182 h 5392467"/>
              <a:gd name="connsiteX2279" fmla="*/ 4766669 w 6096001"/>
              <a:gd name="connsiteY2279" fmla="*/ 278510 h 5392467"/>
              <a:gd name="connsiteX2280" fmla="*/ 4765701 w 6096001"/>
              <a:gd name="connsiteY2280" fmla="*/ 277543 h 5392467"/>
              <a:gd name="connsiteX2281" fmla="*/ 4784075 w 6096001"/>
              <a:gd name="connsiteY2281" fmla="*/ 259171 h 5392467"/>
              <a:gd name="connsiteX2282" fmla="*/ 4787944 w 6096001"/>
              <a:gd name="connsiteY2282" fmla="*/ 272709 h 5392467"/>
              <a:gd name="connsiteX2283" fmla="*/ 4780207 w 6096001"/>
              <a:gd name="connsiteY2283" fmla="*/ 284313 h 5392467"/>
              <a:gd name="connsiteX2284" fmla="*/ 4799548 w 6096001"/>
              <a:gd name="connsiteY2284" fmla="*/ 282378 h 5392467"/>
              <a:gd name="connsiteX2285" fmla="*/ 4797613 w 6096001"/>
              <a:gd name="connsiteY2285" fmla="*/ 292050 h 5392467"/>
              <a:gd name="connsiteX2286" fmla="*/ 4805350 w 6096001"/>
              <a:gd name="connsiteY2286" fmla="*/ 293983 h 5392467"/>
              <a:gd name="connsiteX2287" fmla="*/ 4787944 w 6096001"/>
              <a:gd name="connsiteY2287" fmla="*/ 315260 h 5392467"/>
              <a:gd name="connsiteX2288" fmla="*/ 4787420 w 6096001"/>
              <a:gd name="connsiteY2288" fmla="*/ 320497 h 5392467"/>
              <a:gd name="connsiteX2289" fmla="*/ 4786011 w 6096001"/>
              <a:gd name="connsiteY2289" fmla="*/ 321061 h 5392467"/>
              <a:gd name="connsiteX2290" fmla="*/ 4787138 w 6096001"/>
              <a:gd name="connsiteY2290" fmla="*/ 323317 h 5392467"/>
              <a:gd name="connsiteX2291" fmla="*/ 4786011 w 6096001"/>
              <a:gd name="connsiteY2291" fmla="*/ 334601 h 5392467"/>
              <a:gd name="connsiteX2292" fmla="*/ 4815021 w 6096001"/>
              <a:gd name="connsiteY2292" fmla="*/ 313324 h 5392467"/>
              <a:gd name="connsiteX2293" fmla="*/ 4844032 w 6096001"/>
              <a:gd name="connsiteY2293" fmla="*/ 293983 h 5392467"/>
              <a:gd name="connsiteX2294" fmla="*/ 4851769 w 6096001"/>
              <a:gd name="connsiteY2294" fmla="*/ 292050 h 5392467"/>
              <a:gd name="connsiteX2295" fmla="*/ 4842097 w 6096001"/>
              <a:gd name="connsiteY2295" fmla="*/ 299786 h 5392467"/>
              <a:gd name="connsiteX2296" fmla="*/ 4844032 w 6096001"/>
              <a:gd name="connsiteY2296" fmla="*/ 303655 h 5392467"/>
              <a:gd name="connsiteX2297" fmla="*/ 4859505 w 6096001"/>
              <a:gd name="connsiteY2297" fmla="*/ 295918 h 5392467"/>
              <a:gd name="connsiteX2298" fmla="*/ 4816954 w 6096001"/>
              <a:gd name="connsiteY2298" fmla="*/ 332665 h 5392467"/>
              <a:gd name="connsiteX2299" fmla="*/ 4811153 w 6096001"/>
              <a:gd name="connsiteY2299" fmla="*/ 355875 h 5392467"/>
              <a:gd name="connsiteX2300" fmla="*/ 4818890 w 6096001"/>
              <a:gd name="connsiteY2300" fmla="*/ 369415 h 5392467"/>
              <a:gd name="connsiteX2301" fmla="*/ 4828559 w 6096001"/>
              <a:gd name="connsiteY2301" fmla="*/ 379085 h 5392467"/>
              <a:gd name="connsiteX2302" fmla="*/ 4861438 w 6096001"/>
              <a:gd name="connsiteY2302" fmla="*/ 373281 h 5392467"/>
              <a:gd name="connsiteX2303" fmla="*/ 4853704 w 6096001"/>
              <a:gd name="connsiteY2303" fmla="*/ 382953 h 5392467"/>
              <a:gd name="connsiteX2304" fmla="*/ 4900121 w 6096001"/>
              <a:gd name="connsiteY2304" fmla="*/ 357810 h 5392467"/>
              <a:gd name="connsiteX2305" fmla="*/ 4880779 w 6096001"/>
              <a:gd name="connsiteY2305" fmla="*/ 375216 h 5392467"/>
              <a:gd name="connsiteX2306" fmla="*/ 4859505 w 6096001"/>
              <a:gd name="connsiteY2306" fmla="*/ 396491 h 5392467"/>
              <a:gd name="connsiteX2307" fmla="*/ 4886583 w 6096001"/>
              <a:gd name="connsiteY2307" fmla="*/ 382953 h 5392467"/>
              <a:gd name="connsiteX2308" fmla="*/ 4911725 w 6096001"/>
              <a:gd name="connsiteY2308" fmla="*/ 369415 h 5392467"/>
              <a:gd name="connsiteX2309" fmla="*/ 4874978 w 6096001"/>
              <a:gd name="connsiteY2309" fmla="*/ 410031 h 5392467"/>
              <a:gd name="connsiteX2310" fmla="*/ 4876913 w 6096001"/>
              <a:gd name="connsiteY2310" fmla="*/ 425504 h 5392467"/>
              <a:gd name="connsiteX2311" fmla="*/ 4886583 w 6096001"/>
              <a:gd name="connsiteY2311" fmla="*/ 421635 h 5392467"/>
              <a:gd name="connsiteX2312" fmla="*/ 4884648 w 6096001"/>
              <a:gd name="connsiteY2312" fmla="*/ 435173 h 5392467"/>
              <a:gd name="connsiteX2313" fmla="*/ 4919462 w 6096001"/>
              <a:gd name="connsiteY2313" fmla="*/ 411964 h 5392467"/>
              <a:gd name="connsiteX2314" fmla="*/ 4921397 w 6096001"/>
              <a:gd name="connsiteY2314" fmla="*/ 413899 h 5392467"/>
              <a:gd name="connsiteX2315" fmla="*/ 4907857 w 6096001"/>
              <a:gd name="connsiteY2315" fmla="*/ 431305 h 5392467"/>
              <a:gd name="connsiteX2316" fmla="*/ 4919462 w 6096001"/>
              <a:gd name="connsiteY2316" fmla="*/ 431305 h 5392467"/>
              <a:gd name="connsiteX2317" fmla="*/ 4894319 w 6096001"/>
              <a:gd name="connsiteY2317" fmla="*/ 456450 h 5392467"/>
              <a:gd name="connsiteX2318" fmla="*/ 4907857 w 6096001"/>
              <a:gd name="connsiteY2318" fmla="*/ 456450 h 5392467"/>
              <a:gd name="connsiteX2319" fmla="*/ 4902056 w 6096001"/>
              <a:gd name="connsiteY2319" fmla="*/ 466119 h 5392467"/>
              <a:gd name="connsiteX2320" fmla="*/ 4921397 w 6096001"/>
              <a:gd name="connsiteY2320" fmla="*/ 481592 h 5392467"/>
              <a:gd name="connsiteX2321" fmla="*/ 4911725 w 6096001"/>
              <a:gd name="connsiteY2321" fmla="*/ 489329 h 5392467"/>
              <a:gd name="connsiteX2322" fmla="*/ 4913661 w 6096001"/>
              <a:gd name="connsiteY2322" fmla="*/ 491262 h 5392467"/>
              <a:gd name="connsiteX2323" fmla="*/ 4927198 w 6096001"/>
              <a:gd name="connsiteY2323" fmla="*/ 483525 h 5392467"/>
              <a:gd name="connsiteX2324" fmla="*/ 4929131 w 6096001"/>
              <a:gd name="connsiteY2324" fmla="*/ 485460 h 5392467"/>
              <a:gd name="connsiteX2325" fmla="*/ 4917188 w 6096001"/>
              <a:gd name="connsiteY2325" fmla="*/ 495811 h 5392467"/>
              <a:gd name="connsiteX2326" fmla="*/ 4917529 w 6096001"/>
              <a:gd name="connsiteY2326" fmla="*/ 495130 h 5392467"/>
              <a:gd name="connsiteX2327" fmla="*/ 4914633 w 6096001"/>
              <a:gd name="connsiteY2327" fmla="*/ 498025 h 5392467"/>
              <a:gd name="connsiteX2328" fmla="*/ 4900121 w 6096001"/>
              <a:gd name="connsiteY2328" fmla="*/ 510603 h 5392467"/>
              <a:gd name="connsiteX2329" fmla="*/ 4892384 w 6096001"/>
              <a:gd name="connsiteY2329" fmla="*/ 504802 h 5392467"/>
              <a:gd name="connsiteX2330" fmla="*/ 4890451 w 6096001"/>
              <a:gd name="connsiteY2330" fmla="*/ 520275 h 5392467"/>
              <a:gd name="connsiteX2331" fmla="*/ 4882715 w 6096001"/>
              <a:gd name="connsiteY2331" fmla="*/ 547350 h 5392467"/>
              <a:gd name="connsiteX2332" fmla="*/ 4902056 w 6096001"/>
              <a:gd name="connsiteY2332" fmla="*/ 558955 h 5392467"/>
              <a:gd name="connsiteX2333" fmla="*/ 4880779 w 6096001"/>
              <a:gd name="connsiteY2333" fmla="*/ 584100 h 5392467"/>
              <a:gd name="connsiteX2334" fmla="*/ 4880779 w 6096001"/>
              <a:gd name="connsiteY2334" fmla="*/ 586033 h 5392467"/>
              <a:gd name="connsiteX2335" fmla="*/ 4890451 w 6096001"/>
              <a:gd name="connsiteY2335" fmla="*/ 584100 h 5392467"/>
              <a:gd name="connsiteX2336" fmla="*/ 4934935 w 6096001"/>
              <a:gd name="connsiteY2336" fmla="*/ 553154 h 5392467"/>
              <a:gd name="connsiteX2337" fmla="*/ 4944607 w 6096001"/>
              <a:gd name="connsiteY2337" fmla="*/ 549285 h 5392467"/>
              <a:gd name="connsiteX2338" fmla="*/ 4950408 w 6096001"/>
              <a:gd name="connsiteY2338" fmla="*/ 547350 h 5392467"/>
              <a:gd name="connsiteX2339" fmla="*/ 4983289 w 6096001"/>
              <a:gd name="connsiteY2339" fmla="*/ 529944 h 5392467"/>
              <a:gd name="connsiteX2340" fmla="*/ 4789879 w 6096001"/>
              <a:gd name="connsiteY2340" fmla="*/ 804588 h 5392467"/>
              <a:gd name="connsiteX2341" fmla="*/ 4815021 w 6096001"/>
              <a:gd name="connsiteY2341" fmla="*/ 796849 h 5392467"/>
              <a:gd name="connsiteX2342" fmla="*/ 4824691 w 6096001"/>
              <a:gd name="connsiteY2342" fmla="*/ 792983 h 5392467"/>
              <a:gd name="connsiteX2343" fmla="*/ 4842097 w 6096001"/>
              <a:gd name="connsiteY2343" fmla="*/ 789115 h 5392467"/>
              <a:gd name="connsiteX2344" fmla="*/ 4857572 w 6096001"/>
              <a:gd name="connsiteY2344" fmla="*/ 779443 h 5392467"/>
              <a:gd name="connsiteX2345" fmla="*/ 4869175 w 6096001"/>
              <a:gd name="connsiteY2345" fmla="*/ 763970 h 5392467"/>
              <a:gd name="connsiteX2346" fmla="*/ 4874978 w 6096001"/>
              <a:gd name="connsiteY2346" fmla="*/ 756234 h 5392467"/>
              <a:gd name="connsiteX2347" fmla="*/ 4894319 w 6096001"/>
              <a:gd name="connsiteY2347" fmla="*/ 744629 h 5392467"/>
              <a:gd name="connsiteX2348" fmla="*/ 4900121 w 6096001"/>
              <a:gd name="connsiteY2348" fmla="*/ 752365 h 5392467"/>
              <a:gd name="connsiteX2349" fmla="*/ 4915594 w 6096001"/>
              <a:gd name="connsiteY2349" fmla="*/ 733024 h 5392467"/>
              <a:gd name="connsiteX2350" fmla="*/ 4929131 w 6096001"/>
              <a:gd name="connsiteY2350" fmla="*/ 725290 h 5392467"/>
              <a:gd name="connsiteX2351" fmla="*/ 4950408 w 6096001"/>
              <a:gd name="connsiteY2351" fmla="*/ 715618 h 5392467"/>
              <a:gd name="connsiteX2352" fmla="*/ 4971682 w 6096001"/>
              <a:gd name="connsiteY2352" fmla="*/ 715618 h 5392467"/>
              <a:gd name="connsiteX2353" fmla="*/ 4965881 w 6096001"/>
              <a:gd name="connsiteY2353" fmla="*/ 707882 h 5392467"/>
              <a:gd name="connsiteX2354" fmla="*/ 5016166 w 6096001"/>
              <a:gd name="connsiteY2354" fmla="*/ 680804 h 5392467"/>
              <a:gd name="connsiteX2355" fmla="*/ 5008432 w 6096001"/>
              <a:gd name="connsiteY2355" fmla="*/ 688540 h 5392467"/>
              <a:gd name="connsiteX2356" fmla="*/ 5039375 w 6096001"/>
              <a:gd name="connsiteY2356" fmla="*/ 673067 h 5392467"/>
              <a:gd name="connsiteX2357" fmla="*/ 5041311 w 6096001"/>
              <a:gd name="connsiteY2357" fmla="*/ 671134 h 5392467"/>
              <a:gd name="connsiteX2358" fmla="*/ 5060652 w 6096001"/>
              <a:gd name="connsiteY2358" fmla="*/ 657594 h 5392467"/>
              <a:gd name="connsiteX2359" fmla="*/ 5078058 w 6096001"/>
              <a:gd name="connsiteY2359" fmla="*/ 647925 h 5392467"/>
              <a:gd name="connsiteX2360" fmla="*/ 5079993 w 6096001"/>
              <a:gd name="connsiteY2360" fmla="*/ 655661 h 5392467"/>
              <a:gd name="connsiteX2361" fmla="*/ 5095466 w 6096001"/>
              <a:gd name="connsiteY2361" fmla="*/ 642121 h 5392467"/>
              <a:gd name="connsiteX2362" fmla="*/ 5114808 w 6096001"/>
              <a:gd name="connsiteY2362" fmla="*/ 632452 h 5392467"/>
              <a:gd name="connsiteX2363" fmla="*/ 5105136 w 6096001"/>
              <a:gd name="connsiteY2363" fmla="*/ 644057 h 5392467"/>
              <a:gd name="connsiteX2364" fmla="*/ 5147687 w 6096001"/>
              <a:gd name="connsiteY2364" fmla="*/ 630519 h 5392467"/>
              <a:gd name="connsiteX2365" fmla="*/ 5136082 w 6096001"/>
              <a:gd name="connsiteY2365" fmla="*/ 640188 h 5392467"/>
              <a:gd name="connsiteX2366" fmla="*/ 5139950 w 6096001"/>
              <a:gd name="connsiteY2366" fmla="*/ 642121 h 5392467"/>
              <a:gd name="connsiteX2367" fmla="*/ 5184434 w 6096001"/>
              <a:gd name="connsiteY2367" fmla="*/ 620847 h 5392467"/>
              <a:gd name="connsiteX2368" fmla="*/ 5242458 w 6096001"/>
              <a:gd name="connsiteY2368" fmla="*/ 593769 h 5392467"/>
              <a:gd name="connsiteX2369" fmla="*/ 5244393 w 6096001"/>
              <a:gd name="connsiteY2369" fmla="*/ 593769 h 5392467"/>
              <a:gd name="connsiteX2370" fmla="*/ 5207643 w 6096001"/>
              <a:gd name="connsiteY2370" fmla="*/ 616979 h 5392467"/>
              <a:gd name="connsiteX2371" fmla="*/ 5221183 w 6096001"/>
              <a:gd name="connsiteY2371" fmla="*/ 620847 h 5392467"/>
              <a:gd name="connsiteX2372" fmla="*/ 5259864 w 6096001"/>
              <a:gd name="connsiteY2372" fmla="*/ 605374 h 5392467"/>
              <a:gd name="connsiteX2373" fmla="*/ 5271468 w 6096001"/>
              <a:gd name="connsiteY2373" fmla="*/ 603441 h 5392467"/>
              <a:gd name="connsiteX2374" fmla="*/ 5244393 w 6096001"/>
              <a:gd name="connsiteY2374" fmla="*/ 626651 h 5392467"/>
              <a:gd name="connsiteX2375" fmla="*/ 5238589 w 6096001"/>
              <a:gd name="connsiteY2375" fmla="*/ 630519 h 5392467"/>
              <a:gd name="connsiteX2376" fmla="*/ 5240522 w 6096001"/>
              <a:gd name="connsiteY2376" fmla="*/ 632452 h 5392467"/>
              <a:gd name="connsiteX2377" fmla="*/ 5290810 w 6096001"/>
              <a:gd name="connsiteY2377" fmla="*/ 609242 h 5392467"/>
              <a:gd name="connsiteX2378" fmla="*/ 5308218 w 6096001"/>
              <a:gd name="connsiteY2378" fmla="*/ 618914 h 5392467"/>
              <a:gd name="connsiteX2379" fmla="*/ 5304350 w 6096001"/>
              <a:gd name="connsiteY2379" fmla="*/ 613111 h 5392467"/>
              <a:gd name="connsiteX2380" fmla="*/ 5300479 w 6096001"/>
              <a:gd name="connsiteY2380" fmla="*/ 605374 h 5392467"/>
              <a:gd name="connsiteX2381" fmla="*/ 5308218 w 6096001"/>
              <a:gd name="connsiteY2381" fmla="*/ 599573 h 5392467"/>
              <a:gd name="connsiteX2382" fmla="*/ 5329492 w 6096001"/>
              <a:gd name="connsiteY2382" fmla="*/ 593769 h 5392467"/>
              <a:gd name="connsiteX2383" fmla="*/ 5350766 w 6096001"/>
              <a:gd name="connsiteY2383" fmla="*/ 584100 h 5392467"/>
              <a:gd name="connsiteX2384" fmla="*/ 5370108 w 6096001"/>
              <a:gd name="connsiteY2384" fmla="*/ 576363 h 5392467"/>
              <a:gd name="connsiteX2385" fmla="*/ 5364306 w 6096001"/>
              <a:gd name="connsiteY2385" fmla="*/ 586033 h 5392467"/>
              <a:gd name="connsiteX2386" fmla="*/ 5439736 w 6096001"/>
              <a:gd name="connsiteY2386" fmla="*/ 549285 h 5392467"/>
              <a:gd name="connsiteX2387" fmla="*/ 5441669 w 6096001"/>
              <a:gd name="connsiteY2387" fmla="*/ 560890 h 5392467"/>
              <a:gd name="connsiteX2388" fmla="*/ 5439736 w 6096001"/>
              <a:gd name="connsiteY2388" fmla="*/ 562823 h 5392467"/>
              <a:gd name="connsiteX2389" fmla="*/ 5428131 w 6096001"/>
              <a:gd name="connsiteY2389" fmla="*/ 562823 h 5392467"/>
              <a:gd name="connsiteX2390" fmla="*/ 5389449 w 6096001"/>
              <a:gd name="connsiteY2390" fmla="*/ 582164 h 5392467"/>
              <a:gd name="connsiteX2391" fmla="*/ 5381712 w 6096001"/>
              <a:gd name="connsiteY2391" fmla="*/ 586033 h 5392467"/>
              <a:gd name="connsiteX2392" fmla="*/ 5352702 w 6096001"/>
              <a:gd name="connsiteY2392" fmla="*/ 605374 h 5392467"/>
              <a:gd name="connsiteX2393" fmla="*/ 5362371 w 6096001"/>
              <a:gd name="connsiteY2393" fmla="*/ 605374 h 5392467"/>
              <a:gd name="connsiteX2394" fmla="*/ 5387514 w 6096001"/>
              <a:gd name="connsiteY2394" fmla="*/ 595705 h 5392467"/>
              <a:gd name="connsiteX2395" fmla="*/ 5397185 w 6096001"/>
              <a:gd name="connsiteY2395" fmla="*/ 597637 h 5392467"/>
              <a:gd name="connsiteX2396" fmla="*/ 5406855 w 6096001"/>
              <a:gd name="connsiteY2396" fmla="*/ 607309 h 5392467"/>
              <a:gd name="connsiteX2397" fmla="*/ 5391384 w 6096001"/>
              <a:gd name="connsiteY2397" fmla="*/ 626651 h 5392467"/>
              <a:gd name="connsiteX2398" fmla="*/ 5377844 w 6096001"/>
              <a:gd name="connsiteY2398" fmla="*/ 616979 h 5392467"/>
              <a:gd name="connsiteX2399" fmla="*/ 5362371 w 6096001"/>
              <a:gd name="connsiteY2399" fmla="*/ 630519 h 5392467"/>
              <a:gd name="connsiteX2400" fmla="*/ 5356570 w 6096001"/>
              <a:gd name="connsiteY2400" fmla="*/ 642121 h 5392467"/>
              <a:gd name="connsiteX2401" fmla="*/ 5346898 w 6096001"/>
              <a:gd name="connsiteY2401" fmla="*/ 642121 h 5392467"/>
              <a:gd name="connsiteX2402" fmla="*/ 5350766 w 6096001"/>
              <a:gd name="connsiteY2402" fmla="*/ 655661 h 5392467"/>
              <a:gd name="connsiteX2403" fmla="*/ 5375911 w 6096001"/>
              <a:gd name="connsiteY2403" fmla="*/ 649858 h 5392467"/>
              <a:gd name="connsiteX2404" fmla="*/ 5370108 w 6096001"/>
              <a:gd name="connsiteY2404" fmla="*/ 657594 h 5392467"/>
              <a:gd name="connsiteX2405" fmla="*/ 5350766 w 6096001"/>
              <a:gd name="connsiteY2405" fmla="*/ 678871 h 5392467"/>
              <a:gd name="connsiteX2406" fmla="*/ 5339162 w 6096001"/>
              <a:gd name="connsiteY2406" fmla="*/ 688540 h 5392467"/>
              <a:gd name="connsiteX2407" fmla="*/ 5308218 w 6096001"/>
              <a:gd name="connsiteY2407" fmla="*/ 727223 h 5392467"/>
              <a:gd name="connsiteX2408" fmla="*/ 5325624 w 6096001"/>
              <a:gd name="connsiteY2408" fmla="*/ 717553 h 5392467"/>
              <a:gd name="connsiteX2409" fmla="*/ 5339162 w 6096001"/>
              <a:gd name="connsiteY2409" fmla="*/ 702080 h 5392467"/>
              <a:gd name="connsiteX2410" fmla="*/ 5343030 w 6096001"/>
              <a:gd name="connsiteY2410" fmla="*/ 704013 h 5392467"/>
              <a:gd name="connsiteX2411" fmla="*/ 5341097 w 6096001"/>
              <a:gd name="connsiteY2411" fmla="*/ 698212 h 5392467"/>
              <a:gd name="connsiteX2412" fmla="*/ 5350766 w 6096001"/>
              <a:gd name="connsiteY2412" fmla="*/ 684672 h 5392467"/>
              <a:gd name="connsiteX2413" fmla="*/ 5358503 w 6096001"/>
              <a:gd name="connsiteY2413" fmla="*/ 678871 h 5392467"/>
              <a:gd name="connsiteX2414" fmla="*/ 5385581 w 6096001"/>
              <a:gd name="connsiteY2414" fmla="*/ 671134 h 5392467"/>
              <a:gd name="connsiteX2415" fmla="*/ 5381712 w 6096001"/>
              <a:gd name="connsiteY2415" fmla="*/ 667266 h 5392467"/>
              <a:gd name="connsiteX2416" fmla="*/ 5391384 w 6096001"/>
              <a:gd name="connsiteY2416" fmla="*/ 669199 h 5392467"/>
              <a:gd name="connsiteX2417" fmla="*/ 5391384 w 6096001"/>
              <a:gd name="connsiteY2417" fmla="*/ 671134 h 5392467"/>
              <a:gd name="connsiteX2418" fmla="*/ 5399121 w 6096001"/>
              <a:gd name="connsiteY2418" fmla="*/ 671134 h 5392467"/>
              <a:gd name="connsiteX2419" fmla="*/ 5404922 w 6096001"/>
              <a:gd name="connsiteY2419" fmla="*/ 671134 h 5392467"/>
              <a:gd name="connsiteX2420" fmla="*/ 5406855 w 6096001"/>
              <a:gd name="connsiteY2420" fmla="*/ 671134 h 5392467"/>
              <a:gd name="connsiteX2421" fmla="*/ 5430064 w 6096001"/>
              <a:gd name="connsiteY2421" fmla="*/ 665331 h 5392467"/>
              <a:gd name="connsiteX2422" fmla="*/ 5424263 w 6096001"/>
              <a:gd name="connsiteY2422" fmla="*/ 669199 h 5392467"/>
              <a:gd name="connsiteX2423" fmla="*/ 5418462 w 6096001"/>
              <a:gd name="connsiteY2423" fmla="*/ 671134 h 5392467"/>
              <a:gd name="connsiteX2424" fmla="*/ 5433933 w 6096001"/>
              <a:gd name="connsiteY2424" fmla="*/ 671134 h 5392467"/>
              <a:gd name="connsiteX2425" fmla="*/ 5480352 w 6096001"/>
              <a:gd name="connsiteY2425" fmla="*/ 665331 h 5392467"/>
              <a:gd name="connsiteX2426" fmla="*/ 5490021 w 6096001"/>
              <a:gd name="connsiteY2426" fmla="*/ 661463 h 5392467"/>
              <a:gd name="connsiteX2427" fmla="*/ 5503561 w 6096001"/>
              <a:gd name="connsiteY2427" fmla="*/ 651793 h 5392467"/>
              <a:gd name="connsiteX2428" fmla="*/ 5540308 w 6096001"/>
              <a:gd name="connsiteY2428" fmla="*/ 647925 h 5392467"/>
              <a:gd name="connsiteX2429" fmla="*/ 5542244 w 6096001"/>
              <a:gd name="connsiteY2429" fmla="*/ 663398 h 5392467"/>
              <a:gd name="connsiteX2430" fmla="*/ 5561585 w 6096001"/>
              <a:gd name="connsiteY2430" fmla="*/ 667266 h 5392467"/>
              <a:gd name="connsiteX2431" fmla="*/ 5555781 w 6096001"/>
              <a:gd name="connsiteY2431" fmla="*/ 680804 h 5392467"/>
              <a:gd name="connsiteX2432" fmla="*/ 5559650 w 6096001"/>
              <a:gd name="connsiteY2432" fmla="*/ 694344 h 5392467"/>
              <a:gd name="connsiteX2433" fmla="*/ 5559650 w 6096001"/>
              <a:gd name="connsiteY2433" fmla="*/ 707882 h 5392467"/>
              <a:gd name="connsiteX2434" fmla="*/ 5548045 w 6096001"/>
              <a:gd name="connsiteY2434" fmla="*/ 738828 h 5392467"/>
              <a:gd name="connsiteX2435" fmla="*/ 5549980 w 6096001"/>
              <a:gd name="connsiteY2435" fmla="*/ 738828 h 5392467"/>
              <a:gd name="connsiteX2436" fmla="*/ 5548045 w 6096001"/>
              <a:gd name="connsiteY2436" fmla="*/ 740761 h 5392467"/>
              <a:gd name="connsiteX2437" fmla="*/ 5540308 w 6096001"/>
              <a:gd name="connsiteY2437" fmla="*/ 752365 h 5392467"/>
              <a:gd name="connsiteX2438" fmla="*/ 5528704 w 6096001"/>
              <a:gd name="connsiteY2438" fmla="*/ 794916 h 5392467"/>
              <a:gd name="connsiteX2439" fmla="*/ 5522903 w 6096001"/>
              <a:gd name="connsiteY2439" fmla="*/ 835532 h 5392467"/>
              <a:gd name="connsiteX2440" fmla="*/ 5511298 w 6096001"/>
              <a:gd name="connsiteY2440" fmla="*/ 885819 h 5392467"/>
              <a:gd name="connsiteX2441" fmla="*/ 5507430 w 6096001"/>
              <a:gd name="connsiteY2441" fmla="*/ 901292 h 5392467"/>
              <a:gd name="connsiteX2442" fmla="*/ 5544177 w 6096001"/>
              <a:gd name="connsiteY2442" fmla="*/ 893556 h 5392467"/>
              <a:gd name="connsiteX2443" fmla="*/ 5519034 w 6096001"/>
              <a:gd name="connsiteY2443" fmla="*/ 907093 h 5392467"/>
              <a:gd name="connsiteX2444" fmla="*/ 5503561 w 6096001"/>
              <a:gd name="connsiteY2444" fmla="*/ 910964 h 5392467"/>
              <a:gd name="connsiteX2445" fmla="*/ 5497758 w 6096001"/>
              <a:gd name="connsiteY2445" fmla="*/ 926435 h 5392467"/>
              <a:gd name="connsiteX2446" fmla="*/ 5493889 w 6096001"/>
              <a:gd name="connsiteY2446" fmla="*/ 934171 h 5392467"/>
              <a:gd name="connsiteX2447" fmla="*/ 5468747 w 6096001"/>
              <a:gd name="connsiteY2447" fmla="*/ 1005733 h 5392467"/>
              <a:gd name="connsiteX2448" fmla="*/ 5476483 w 6096001"/>
              <a:gd name="connsiteY2448" fmla="*/ 1003800 h 5392467"/>
              <a:gd name="connsiteX2449" fmla="*/ 5484220 w 6096001"/>
              <a:gd name="connsiteY2449" fmla="*/ 1001864 h 5392467"/>
              <a:gd name="connsiteX2450" fmla="*/ 5538376 w 6096001"/>
              <a:gd name="connsiteY2450" fmla="*/ 982523 h 5392467"/>
              <a:gd name="connsiteX2451" fmla="*/ 5553849 w 6096001"/>
              <a:gd name="connsiteY2451" fmla="*/ 980590 h 5392467"/>
              <a:gd name="connsiteX2452" fmla="*/ 5594464 w 6096001"/>
              <a:gd name="connsiteY2452" fmla="*/ 990260 h 5392467"/>
              <a:gd name="connsiteX2453" fmla="*/ 5594464 w 6096001"/>
              <a:gd name="connsiteY2453" fmla="*/ 992195 h 5392467"/>
              <a:gd name="connsiteX2454" fmla="*/ 5592531 w 6096001"/>
              <a:gd name="connsiteY2454" fmla="*/ 996063 h 5392467"/>
              <a:gd name="connsiteX2455" fmla="*/ 5567386 w 6096001"/>
              <a:gd name="connsiteY2455" fmla="*/ 1009601 h 5392467"/>
              <a:gd name="connsiteX2456" fmla="*/ 5588663 w 6096001"/>
              <a:gd name="connsiteY2456" fmla="*/ 1003800 h 5392467"/>
              <a:gd name="connsiteX2457" fmla="*/ 5596397 w 6096001"/>
              <a:gd name="connsiteY2457" fmla="*/ 999931 h 5392467"/>
              <a:gd name="connsiteX2458" fmla="*/ 5617674 w 6096001"/>
              <a:gd name="connsiteY2458" fmla="*/ 992195 h 5392467"/>
              <a:gd name="connsiteX2459" fmla="*/ 5638948 w 6096001"/>
              <a:gd name="connsiteY2459" fmla="*/ 984458 h 5392467"/>
              <a:gd name="connsiteX2460" fmla="*/ 5625410 w 6096001"/>
              <a:gd name="connsiteY2460" fmla="*/ 997998 h 5392467"/>
              <a:gd name="connsiteX2461" fmla="*/ 5608002 w 6096001"/>
              <a:gd name="connsiteY2461" fmla="*/ 1013469 h 5392467"/>
              <a:gd name="connsiteX2462" fmla="*/ 5633147 w 6096001"/>
              <a:gd name="connsiteY2462" fmla="*/ 1011536 h 5392467"/>
              <a:gd name="connsiteX2463" fmla="*/ 5623475 w 6096001"/>
              <a:gd name="connsiteY2463" fmla="*/ 1021206 h 5392467"/>
              <a:gd name="connsiteX2464" fmla="*/ 5611872 w 6096001"/>
              <a:gd name="connsiteY2464" fmla="*/ 1040547 h 5392467"/>
              <a:gd name="connsiteX2465" fmla="*/ 5578991 w 6096001"/>
              <a:gd name="connsiteY2465" fmla="*/ 1057955 h 5392467"/>
              <a:gd name="connsiteX2466" fmla="*/ 5588663 w 6096001"/>
              <a:gd name="connsiteY2466" fmla="*/ 1059888 h 5392467"/>
              <a:gd name="connsiteX2467" fmla="*/ 5557714 w 6096001"/>
              <a:gd name="connsiteY2467" fmla="*/ 1086966 h 5392467"/>
              <a:gd name="connsiteX2468" fmla="*/ 5563518 w 6096001"/>
              <a:gd name="connsiteY2468" fmla="*/ 1088899 h 5392467"/>
              <a:gd name="connsiteX2469" fmla="*/ 5571255 w 6096001"/>
              <a:gd name="connsiteY2469" fmla="*/ 1083098 h 5392467"/>
              <a:gd name="connsiteX2470" fmla="*/ 5594464 w 6096001"/>
              <a:gd name="connsiteY2470" fmla="*/ 1067625 h 5392467"/>
              <a:gd name="connsiteX2471" fmla="*/ 5573190 w 6096001"/>
              <a:gd name="connsiteY2471" fmla="*/ 1086966 h 5392467"/>
              <a:gd name="connsiteX2472" fmla="*/ 5577056 w 6096001"/>
              <a:gd name="connsiteY2472" fmla="*/ 1086966 h 5392467"/>
              <a:gd name="connsiteX2473" fmla="*/ 5577056 w 6096001"/>
              <a:gd name="connsiteY2473" fmla="*/ 1094703 h 5392467"/>
              <a:gd name="connsiteX2474" fmla="*/ 5586728 w 6096001"/>
              <a:gd name="connsiteY2474" fmla="*/ 1085033 h 5392467"/>
              <a:gd name="connsiteX2475" fmla="*/ 5604133 w 6096001"/>
              <a:gd name="connsiteY2475" fmla="*/ 1071493 h 5392467"/>
              <a:gd name="connsiteX2476" fmla="*/ 5629278 w 6096001"/>
              <a:gd name="connsiteY2476" fmla="*/ 1054087 h 5392467"/>
              <a:gd name="connsiteX2477" fmla="*/ 5638948 w 6096001"/>
              <a:gd name="connsiteY2477" fmla="*/ 1054087 h 5392467"/>
              <a:gd name="connsiteX2478" fmla="*/ 5621542 w 6096001"/>
              <a:gd name="connsiteY2478" fmla="*/ 1065692 h 5392467"/>
              <a:gd name="connsiteX2479" fmla="*/ 5602201 w 6096001"/>
              <a:gd name="connsiteY2479" fmla="*/ 1081162 h 5392467"/>
              <a:gd name="connsiteX2480" fmla="*/ 5594464 w 6096001"/>
              <a:gd name="connsiteY2480" fmla="*/ 1086966 h 5392467"/>
              <a:gd name="connsiteX2481" fmla="*/ 5578991 w 6096001"/>
              <a:gd name="connsiteY2481" fmla="*/ 1100504 h 5392467"/>
              <a:gd name="connsiteX2482" fmla="*/ 5584795 w 6096001"/>
              <a:gd name="connsiteY2482" fmla="*/ 1108240 h 5392467"/>
              <a:gd name="connsiteX2483" fmla="*/ 5582859 w 6096001"/>
              <a:gd name="connsiteY2483" fmla="*/ 1123713 h 5392467"/>
              <a:gd name="connsiteX2484" fmla="*/ 5578991 w 6096001"/>
              <a:gd name="connsiteY2484" fmla="*/ 1129517 h 5392467"/>
              <a:gd name="connsiteX2485" fmla="*/ 5573190 w 6096001"/>
              <a:gd name="connsiteY2485" fmla="*/ 1123713 h 5392467"/>
              <a:gd name="connsiteX2486" fmla="*/ 5557714 w 6096001"/>
              <a:gd name="connsiteY2486" fmla="*/ 1125649 h 5392467"/>
              <a:gd name="connsiteX2487" fmla="*/ 5565453 w 6096001"/>
              <a:gd name="connsiteY2487" fmla="*/ 1112109 h 5392467"/>
              <a:gd name="connsiteX2488" fmla="*/ 5559650 w 6096001"/>
              <a:gd name="connsiteY2488" fmla="*/ 1110176 h 5392467"/>
              <a:gd name="connsiteX2489" fmla="*/ 5546112 w 6096001"/>
              <a:gd name="connsiteY2489" fmla="*/ 1121780 h 5392467"/>
              <a:gd name="connsiteX2490" fmla="*/ 5549980 w 6096001"/>
              <a:gd name="connsiteY2490" fmla="*/ 1133385 h 5392467"/>
              <a:gd name="connsiteX2491" fmla="*/ 5544177 w 6096001"/>
              <a:gd name="connsiteY2491" fmla="*/ 1133385 h 5392467"/>
              <a:gd name="connsiteX2492" fmla="*/ 5540308 w 6096001"/>
              <a:gd name="connsiteY2492" fmla="*/ 1137253 h 5392467"/>
              <a:gd name="connsiteX2493" fmla="*/ 5548045 w 6096001"/>
              <a:gd name="connsiteY2493" fmla="*/ 1139186 h 5392467"/>
              <a:gd name="connsiteX2494" fmla="*/ 5557714 w 6096001"/>
              <a:gd name="connsiteY2494" fmla="*/ 1135318 h 5392467"/>
              <a:gd name="connsiteX2495" fmla="*/ 5553849 w 6096001"/>
              <a:gd name="connsiteY2495" fmla="*/ 1168199 h 5392467"/>
              <a:gd name="connsiteX2496" fmla="*/ 5555781 w 6096001"/>
              <a:gd name="connsiteY2496" fmla="*/ 1168199 h 5392467"/>
              <a:gd name="connsiteX2497" fmla="*/ 5563518 w 6096001"/>
              <a:gd name="connsiteY2497" fmla="*/ 1158528 h 5392467"/>
              <a:gd name="connsiteX2498" fmla="*/ 5565453 w 6096001"/>
              <a:gd name="connsiteY2498" fmla="*/ 1162396 h 5392467"/>
              <a:gd name="connsiteX2499" fmla="*/ 5563518 w 6096001"/>
              <a:gd name="connsiteY2499" fmla="*/ 1174001 h 5392467"/>
              <a:gd name="connsiteX2500" fmla="*/ 5571255 w 6096001"/>
              <a:gd name="connsiteY2500" fmla="*/ 1175934 h 5392467"/>
              <a:gd name="connsiteX2501" fmla="*/ 5588663 w 6096001"/>
              <a:gd name="connsiteY2501" fmla="*/ 1187538 h 5392467"/>
              <a:gd name="connsiteX2502" fmla="*/ 5588663 w 6096001"/>
              <a:gd name="connsiteY2502" fmla="*/ 1195275 h 5392467"/>
              <a:gd name="connsiteX2503" fmla="*/ 5602201 w 6096001"/>
              <a:gd name="connsiteY2503" fmla="*/ 1199143 h 5392467"/>
              <a:gd name="connsiteX2504" fmla="*/ 5608002 w 6096001"/>
              <a:gd name="connsiteY2504" fmla="*/ 1204947 h 5392467"/>
              <a:gd name="connsiteX2505" fmla="*/ 5621542 w 6096001"/>
              <a:gd name="connsiteY2505" fmla="*/ 1218484 h 5392467"/>
              <a:gd name="connsiteX2506" fmla="*/ 5629278 w 6096001"/>
              <a:gd name="connsiteY2506" fmla="*/ 1220420 h 5392467"/>
              <a:gd name="connsiteX2507" fmla="*/ 5642816 w 6096001"/>
              <a:gd name="connsiteY2507" fmla="*/ 1233957 h 5392467"/>
              <a:gd name="connsiteX2508" fmla="*/ 5646684 w 6096001"/>
              <a:gd name="connsiteY2508" fmla="*/ 1251363 h 5392467"/>
              <a:gd name="connsiteX2509" fmla="*/ 5669894 w 6096001"/>
              <a:gd name="connsiteY2509" fmla="*/ 1249430 h 5392467"/>
              <a:gd name="connsiteX2510" fmla="*/ 5669894 w 6096001"/>
              <a:gd name="connsiteY2510" fmla="*/ 1268772 h 5392467"/>
              <a:gd name="connsiteX2511" fmla="*/ 5683432 w 6096001"/>
              <a:gd name="connsiteY2511" fmla="*/ 1286178 h 5392467"/>
              <a:gd name="connsiteX2512" fmla="*/ 5685367 w 6096001"/>
              <a:gd name="connsiteY2512" fmla="*/ 1299718 h 5392467"/>
              <a:gd name="connsiteX2513" fmla="*/ 5679566 w 6096001"/>
              <a:gd name="connsiteY2513" fmla="*/ 1307454 h 5392467"/>
              <a:gd name="connsiteX2514" fmla="*/ 5696972 w 6096001"/>
              <a:gd name="connsiteY2514" fmla="*/ 1313255 h 5392467"/>
              <a:gd name="connsiteX2515" fmla="*/ 5710509 w 6096001"/>
              <a:gd name="connsiteY2515" fmla="*/ 1313255 h 5392467"/>
              <a:gd name="connsiteX2516" fmla="*/ 5699632 w 6096001"/>
              <a:gd name="connsiteY2516" fmla="*/ 1331389 h 5392467"/>
              <a:gd name="connsiteX2517" fmla="*/ 5698907 w 6096001"/>
              <a:gd name="connsiteY2517" fmla="*/ 1332597 h 5392467"/>
              <a:gd name="connsiteX2518" fmla="*/ 5695036 w 6096001"/>
              <a:gd name="connsiteY2518" fmla="*/ 1359675 h 5392467"/>
              <a:gd name="connsiteX2519" fmla="*/ 5691168 w 6096001"/>
              <a:gd name="connsiteY2519" fmla="*/ 1363543 h 5392467"/>
              <a:gd name="connsiteX2520" fmla="*/ 5650553 w 6096001"/>
              <a:gd name="connsiteY2520" fmla="*/ 1400290 h 5392467"/>
              <a:gd name="connsiteX2521" fmla="*/ 5642816 w 6096001"/>
              <a:gd name="connsiteY2521" fmla="*/ 1406094 h 5392467"/>
              <a:gd name="connsiteX2522" fmla="*/ 5654421 w 6096001"/>
              <a:gd name="connsiteY2522" fmla="*/ 1404158 h 5392467"/>
              <a:gd name="connsiteX2523" fmla="*/ 5662157 w 6096001"/>
              <a:gd name="connsiteY2523" fmla="*/ 1400290 h 5392467"/>
              <a:gd name="connsiteX2524" fmla="*/ 5669894 w 6096001"/>
              <a:gd name="connsiteY2524" fmla="*/ 1400290 h 5392467"/>
              <a:gd name="connsiteX2525" fmla="*/ 5669894 w 6096001"/>
              <a:gd name="connsiteY2525" fmla="*/ 1409962 h 5392467"/>
              <a:gd name="connsiteX2526" fmla="*/ 5660224 w 6096001"/>
              <a:gd name="connsiteY2526" fmla="*/ 1417699 h 5392467"/>
              <a:gd name="connsiteX2527" fmla="*/ 5648620 w 6096001"/>
              <a:gd name="connsiteY2527" fmla="*/ 1427368 h 5392467"/>
              <a:gd name="connsiteX2528" fmla="*/ 5650553 w 6096001"/>
              <a:gd name="connsiteY2528" fmla="*/ 1438973 h 5392467"/>
              <a:gd name="connsiteX2529" fmla="*/ 5855568 w 6096001"/>
              <a:gd name="connsiteY2529" fmla="*/ 1342269 h 5392467"/>
              <a:gd name="connsiteX2530" fmla="*/ 5905855 w 6096001"/>
              <a:gd name="connsiteY2530" fmla="*/ 1338398 h 5392467"/>
              <a:gd name="connsiteX2531" fmla="*/ 5909723 w 6096001"/>
              <a:gd name="connsiteY2531" fmla="*/ 1330664 h 5392467"/>
              <a:gd name="connsiteX2532" fmla="*/ 5921328 w 6096001"/>
              <a:gd name="connsiteY2532" fmla="*/ 1326796 h 5392467"/>
              <a:gd name="connsiteX2533" fmla="*/ 5915524 w 6096001"/>
              <a:gd name="connsiteY2533" fmla="*/ 1338398 h 5392467"/>
              <a:gd name="connsiteX2534" fmla="*/ 5925194 w 6096001"/>
              <a:gd name="connsiteY2534" fmla="*/ 1342269 h 5392467"/>
              <a:gd name="connsiteX2535" fmla="*/ 5921328 w 6096001"/>
              <a:gd name="connsiteY2535" fmla="*/ 1346137 h 5392467"/>
              <a:gd name="connsiteX2536" fmla="*/ 5927129 w 6096001"/>
              <a:gd name="connsiteY2536" fmla="*/ 1350003 h 5392467"/>
              <a:gd name="connsiteX2537" fmla="*/ 5930997 w 6096001"/>
              <a:gd name="connsiteY2537" fmla="*/ 1344202 h 5392467"/>
              <a:gd name="connsiteX2538" fmla="*/ 5946470 w 6096001"/>
              <a:gd name="connsiteY2538" fmla="*/ 1332597 h 5392467"/>
              <a:gd name="connsiteX2539" fmla="*/ 5950339 w 6096001"/>
              <a:gd name="connsiteY2539" fmla="*/ 1332597 h 5392467"/>
              <a:gd name="connsiteX2540" fmla="*/ 5967745 w 6096001"/>
              <a:gd name="connsiteY2540" fmla="*/ 1336465 h 5392467"/>
              <a:gd name="connsiteX2541" fmla="*/ 5971613 w 6096001"/>
              <a:gd name="connsiteY2541" fmla="*/ 1355806 h 5392467"/>
              <a:gd name="connsiteX2542" fmla="*/ 5973548 w 6096001"/>
              <a:gd name="connsiteY2542" fmla="*/ 1371279 h 5392467"/>
              <a:gd name="connsiteX2543" fmla="*/ 5981285 w 6096001"/>
              <a:gd name="connsiteY2543" fmla="*/ 1375148 h 5392467"/>
              <a:gd name="connsiteX2544" fmla="*/ 5977417 w 6096001"/>
              <a:gd name="connsiteY2544" fmla="*/ 1359675 h 5392467"/>
              <a:gd name="connsiteX2545" fmla="*/ 5979352 w 6096001"/>
              <a:gd name="connsiteY2545" fmla="*/ 1357739 h 5392467"/>
              <a:gd name="connsiteX2546" fmla="*/ 5985153 w 6096001"/>
              <a:gd name="connsiteY2546" fmla="*/ 1365478 h 5392467"/>
              <a:gd name="connsiteX2547" fmla="*/ 5998691 w 6096001"/>
              <a:gd name="connsiteY2547" fmla="*/ 1353873 h 5392467"/>
              <a:gd name="connsiteX2548" fmla="*/ 5990954 w 6096001"/>
              <a:gd name="connsiteY2548" fmla="*/ 1338398 h 5392467"/>
              <a:gd name="connsiteX2549" fmla="*/ 5969680 w 6096001"/>
              <a:gd name="connsiteY2549" fmla="*/ 1332597 h 5392467"/>
              <a:gd name="connsiteX2550" fmla="*/ 6021900 w 6096001"/>
              <a:gd name="connsiteY2550" fmla="*/ 1290046 h 5392467"/>
              <a:gd name="connsiteX2551" fmla="*/ 6018032 w 6096001"/>
              <a:gd name="connsiteY2551" fmla="*/ 1313255 h 5392467"/>
              <a:gd name="connsiteX2552" fmla="*/ 6012228 w 6096001"/>
              <a:gd name="connsiteY2552" fmla="*/ 1305519 h 5392467"/>
              <a:gd name="connsiteX2553" fmla="*/ 6008363 w 6096001"/>
              <a:gd name="connsiteY2553" fmla="*/ 1320992 h 5392467"/>
              <a:gd name="connsiteX2554" fmla="*/ 6000626 w 6096001"/>
              <a:gd name="connsiteY2554" fmla="*/ 1328729 h 5392467"/>
              <a:gd name="connsiteX2555" fmla="*/ 6008363 w 6096001"/>
              <a:gd name="connsiteY2555" fmla="*/ 1336465 h 5392467"/>
              <a:gd name="connsiteX2556" fmla="*/ 6010295 w 6096001"/>
              <a:gd name="connsiteY2556" fmla="*/ 1348070 h 5392467"/>
              <a:gd name="connsiteX2557" fmla="*/ 6012406 w 6096001"/>
              <a:gd name="connsiteY2557" fmla="*/ 1347015 h 5392467"/>
              <a:gd name="connsiteX2558" fmla="*/ 6016099 w 6096001"/>
              <a:gd name="connsiteY2558" fmla="*/ 1351938 h 5392467"/>
              <a:gd name="connsiteX2559" fmla="*/ 6002559 w 6096001"/>
              <a:gd name="connsiteY2559" fmla="*/ 1377081 h 5392467"/>
              <a:gd name="connsiteX2560" fmla="*/ 6025769 w 6096001"/>
              <a:gd name="connsiteY2560" fmla="*/ 1363543 h 5392467"/>
              <a:gd name="connsiteX2561" fmla="*/ 6045110 w 6096001"/>
              <a:gd name="connsiteY2561" fmla="*/ 1350003 h 5392467"/>
              <a:gd name="connsiteX2562" fmla="*/ 6043177 w 6096001"/>
              <a:gd name="connsiteY2562" fmla="*/ 1355806 h 5392467"/>
              <a:gd name="connsiteX2563" fmla="*/ 6031570 w 6096001"/>
              <a:gd name="connsiteY2563" fmla="*/ 1371279 h 5392467"/>
              <a:gd name="connsiteX2564" fmla="*/ 6021900 w 6096001"/>
              <a:gd name="connsiteY2564" fmla="*/ 1379338 h 5392467"/>
              <a:gd name="connsiteX2565" fmla="*/ 6021900 w 6096001"/>
              <a:gd name="connsiteY2565" fmla="*/ 1375148 h 5392467"/>
              <a:gd name="connsiteX2566" fmla="*/ 6016099 w 6096001"/>
              <a:gd name="connsiteY2566" fmla="*/ 1375148 h 5392467"/>
              <a:gd name="connsiteX2567" fmla="*/ 6016099 w 6096001"/>
              <a:gd name="connsiteY2567" fmla="*/ 1379016 h 5392467"/>
              <a:gd name="connsiteX2568" fmla="*/ 6020519 w 6096001"/>
              <a:gd name="connsiteY2568" fmla="*/ 1380489 h 5392467"/>
              <a:gd name="connsiteX2569" fmla="*/ 6019967 w 6096001"/>
              <a:gd name="connsiteY2569" fmla="*/ 1380949 h 5392467"/>
              <a:gd name="connsiteX2570" fmla="*/ 6014164 w 6096001"/>
              <a:gd name="connsiteY2570" fmla="*/ 1382884 h 5392467"/>
              <a:gd name="connsiteX2571" fmla="*/ 5989021 w 6096001"/>
              <a:gd name="connsiteY2571" fmla="*/ 1384817 h 5392467"/>
              <a:gd name="connsiteX2572" fmla="*/ 5987086 w 6096001"/>
              <a:gd name="connsiteY2572" fmla="*/ 1385301 h 5392467"/>
              <a:gd name="connsiteX2573" fmla="*/ 5987086 w 6096001"/>
              <a:gd name="connsiteY2573" fmla="*/ 1377081 h 5392467"/>
              <a:gd name="connsiteX2574" fmla="*/ 5983218 w 6096001"/>
              <a:gd name="connsiteY2574" fmla="*/ 1377081 h 5392467"/>
              <a:gd name="connsiteX2575" fmla="*/ 5979350 w 6096001"/>
              <a:gd name="connsiteY2575" fmla="*/ 1386027 h 5392467"/>
              <a:gd name="connsiteX2576" fmla="*/ 5982327 w 6096001"/>
              <a:gd name="connsiteY2576" fmla="*/ 1387795 h 5392467"/>
              <a:gd name="connsiteX2577" fmla="*/ 5987086 w 6096001"/>
              <a:gd name="connsiteY2577" fmla="*/ 1392554 h 5392467"/>
              <a:gd name="connsiteX2578" fmla="*/ 5989021 w 6096001"/>
              <a:gd name="connsiteY2578" fmla="*/ 1406094 h 5392467"/>
              <a:gd name="connsiteX2579" fmla="*/ 5971613 w 6096001"/>
              <a:gd name="connsiteY2579" fmla="*/ 1421567 h 5392467"/>
              <a:gd name="connsiteX2580" fmla="*/ 5958075 w 6096001"/>
              <a:gd name="connsiteY2580" fmla="*/ 1431236 h 5392467"/>
              <a:gd name="connsiteX2581" fmla="*/ 5946470 w 6096001"/>
              <a:gd name="connsiteY2581" fmla="*/ 1442841 h 5392467"/>
              <a:gd name="connsiteX2582" fmla="*/ 5940669 w 6096001"/>
              <a:gd name="connsiteY2582" fmla="*/ 1454446 h 5392467"/>
              <a:gd name="connsiteX2583" fmla="*/ 5942602 w 6096001"/>
              <a:gd name="connsiteY2583" fmla="*/ 1456379 h 5392467"/>
              <a:gd name="connsiteX2584" fmla="*/ 5987086 w 6096001"/>
              <a:gd name="connsiteY2584" fmla="*/ 1423500 h 5392467"/>
              <a:gd name="connsiteX2585" fmla="*/ 5992890 w 6096001"/>
              <a:gd name="connsiteY2585" fmla="*/ 1429303 h 5392467"/>
              <a:gd name="connsiteX2586" fmla="*/ 6002559 w 6096001"/>
              <a:gd name="connsiteY2586" fmla="*/ 1417699 h 5392467"/>
              <a:gd name="connsiteX2587" fmla="*/ 6016099 w 6096001"/>
              <a:gd name="connsiteY2587" fmla="*/ 1423500 h 5392467"/>
              <a:gd name="connsiteX2588" fmla="*/ 5983218 w 6096001"/>
              <a:gd name="connsiteY2588" fmla="*/ 1458314 h 5392467"/>
              <a:gd name="connsiteX2589" fmla="*/ 5936801 w 6096001"/>
              <a:gd name="connsiteY2589" fmla="*/ 1504733 h 5392467"/>
              <a:gd name="connsiteX2590" fmla="*/ 5912866 w 6096001"/>
              <a:gd name="connsiteY2590" fmla="*/ 1523347 h 5392467"/>
              <a:gd name="connsiteX2591" fmla="*/ 5890595 w 6096001"/>
              <a:gd name="connsiteY2591" fmla="*/ 1530009 h 5392467"/>
              <a:gd name="connsiteX2592" fmla="*/ 5892317 w 6096001"/>
              <a:gd name="connsiteY2592" fmla="*/ 1527943 h 5392467"/>
              <a:gd name="connsiteX2593" fmla="*/ 5898118 w 6096001"/>
              <a:gd name="connsiteY2593" fmla="*/ 1522139 h 5392467"/>
              <a:gd name="connsiteX2594" fmla="*/ 5890382 w 6096001"/>
              <a:gd name="connsiteY2594" fmla="*/ 1522139 h 5392467"/>
              <a:gd name="connsiteX2595" fmla="*/ 5875713 w 6096001"/>
              <a:gd name="connsiteY2595" fmla="*/ 1538142 h 5392467"/>
              <a:gd name="connsiteX2596" fmla="*/ 5871041 w 6096001"/>
              <a:gd name="connsiteY2596" fmla="*/ 1541480 h 5392467"/>
              <a:gd name="connsiteX2597" fmla="*/ 5856293 w 6096001"/>
              <a:gd name="connsiteY2597" fmla="*/ 1566382 h 5392467"/>
              <a:gd name="connsiteX2598" fmla="*/ 5846918 w 6096001"/>
              <a:gd name="connsiteY2598" fmla="*/ 1573903 h 5392467"/>
              <a:gd name="connsiteX2599" fmla="*/ 5843963 w 6096001"/>
              <a:gd name="connsiteY2599" fmla="*/ 1572426 h 5392467"/>
              <a:gd name="connsiteX2600" fmla="*/ 5840095 w 6096001"/>
              <a:gd name="connsiteY2600" fmla="*/ 1578227 h 5392467"/>
              <a:gd name="connsiteX2601" fmla="*/ 5840732 w 6096001"/>
              <a:gd name="connsiteY2601" fmla="*/ 1578866 h 5392467"/>
              <a:gd name="connsiteX2602" fmla="*/ 5834293 w 6096001"/>
              <a:gd name="connsiteY2602" fmla="*/ 1584031 h 5392467"/>
              <a:gd name="connsiteX2603" fmla="*/ 5828490 w 6096001"/>
              <a:gd name="connsiteY2603" fmla="*/ 1580163 h 5392467"/>
              <a:gd name="connsiteX2604" fmla="*/ 5828490 w 6096001"/>
              <a:gd name="connsiteY2604" fmla="*/ 1585964 h 5392467"/>
              <a:gd name="connsiteX2605" fmla="*/ 5831678 w 6096001"/>
              <a:gd name="connsiteY2605" fmla="*/ 1585964 h 5392467"/>
              <a:gd name="connsiteX2606" fmla="*/ 5814235 w 6096001"/>
              <a:gd name="connsiteY2606" fmla="*/ 1598856 h 5392467"/>
              <a:gd name="connsiteX2607" fmla="*/ 5813501 w 6096001"/>
              <a:gd name="connsiteY2607" fmla="*/ 1598537 h 5392467"/>
              <a:gd name="connsiteX2608" fmla="*/ 5805280 w 6096001"/>
              <a:gd name="connsiteY2608" fmla="*/ 1605305 h 5392467"/>
              <a:gd name="connsiteX2609" fmla="*/ 5803347 w 6096001"/>
              <a:gd name="connsiteY2609" fmla="*/ 1585964 h 5392467"/>
              <a:gd name="connsiteX2610" fmla="*/ 5770466 w 6096001"/>
              <a:gd name="connsiteY2610" fmla="*/ 1603834 h 5392467"/>
              <a:gd name="connsiteX2611" fmla="*/ 5770466 w 6096001"/>
              <a:gd name="connsiteY2611" fmla="*/ 1599504 h 5392467"/>
              <a:gd name="connsiteX2612" fmla="*/ 5757403 w 6096001"/>
              <a:gd name="connsiteY2612" fmla="*/ 1610934 h 5392467"/>
              <a:gd name="connsiteX2613" fmla="*/ 5714378 w 6096001"/>
              <a:gd name="connsiteY2613" fmla="*/ 1634316 h 5392467"/>
              <a:gd name="connsiteX2614" fmla="*/ 5695036 w 6096001"/>
              <a:gd name="connsiteY2614" fmla="*/ 1647856 h 5392467"/>
              <a:gd name="connsiteX2615" fmla="*/ 5660224 w 6096001"/>
              <a:gd name="connsiteY2615" fmla="*/ 1671066 h 5392467"/>
              <a:gd name="connsiteX2616" fmla="*/ 5650553 w 6096001"/>
              <a:gd name="connsiteY2616" fmla="*/ 1672999 h 5392467"/>
              <a:gd name="connsiteX2617" fmla="*/ 5642816 w 6096001"/>
              <a:gd name="connsiteY2617" fmla="*/ 1672999 h 5392467"/>
              <a:gd name="connsiteX2618" fmla="*/ 5640883 w 6096001"/>
              <a:gd name="connsiteY2618" fmla="*/ 1674934 h 5392467"/>
              <a:gd name="connsiteX2619" fmla="*/ 5638948 w 6096001"/>
              <a:gd name="connsiteY2619" fmla="*/ 1682670 h 5392467"/>
              <a:gd name="connsiteX2620" fmla="*/ 5635080 w 6096001"/>
              <a:gd name="connsiteY2620" fmla="*/ 1690407 h 5392467"/>
              <a:gd name="connsiteX2621" fmla="*/ 5631211 w 6096001"/>
              <a:gd name="connsiteY2621" fmla="*/ 1694275 h 5392467"/>
              <a:gd name="connsiteX2622" fmla="*/ 5644749 w 6096001"/>
              <a:gd name="connsiteY2622" fmla="*/ 1698144 h 5392467"/>
              <a:gd name="connsiteX2623" fmla="*/ 5625410 w 6096001"/>
              <a:gd name="connsiteY2623" fmla="*/ 1700077 h 5392467"/>
              <a:gd name="connsiteX2624" fmla="*/ 5619607 w 6096001"/>
              <a:gd name="connsiteY2624" fmla="*/ 1705878 h 5392467"/>
              <a:gd name="connsiteX2625" fmla="*/ 5617674 w 6096001"/>
              <a:gd name="connsiteY2625" fmla="*/ 1690407 h 5392467"/>
              <a:gd name="connsiteX2626" fmla="*/ 5617674 w 6096001"/>
              <a:gd name="connsiteY2626" fmla="*/ 1688472 h 5392467"/>
              <a:gd name="connsiteX2627" fmla="*/ 5604133 w 6096001"/>
              <a:gd name="connsiteY2627" fmla="*/ 1696208 h 5392467"/>
              <a:gd name="connsiteX2628" fmla="*/ 5623475 w 6096001"/>
              <a:gd name="connsiteY2628" fmla="*/ 1731022 h 5392467"/>
              <a:gd name="connsiteX2629" fmla="*/ 5625410 w 6096001"/>
              <a:gd name="connsiteY2629" fmla="*/ 1732958 h 5392467"/>
              <a:gd name="connsiteX2630" fmla="*/ 5631211 w 6096001"/>
              <a:gd name="connsiteY2630" fmla="*/ 1727154 h 5392467"/>
              <a:gd name="connsiteX2631" fmla="*/ 5644749 w 6096001"/>
              <a:gd name="connsiteY2631" fmla="*/ 1731022 h 5392467"/>
              <a:gd name="connsiteX2632" fmla="*/ 5648620 w 6096001"/>
              <a:gd name="connsiteY2632" fmla="*/ 1727154 h 5392467"/>
              <a:gd name="connsiteX2633" fmla="*/ 5640883 w 6096001"/>
              <a:gd name="connsiteY2633" fmla="*/ 1725219 h 5392467"/>
              <a:gd name="connsiteX2634" fmla="*/ 5650553 w 6096001"/>
              <a:gd name="connsiteY2634" fmla="*/ 1717482 h 5392467"/>
              <a:gd name="connsiteX2635" fmla="*/ 5654421 w 6096001"/>
              <a:gd name="connsiteY2635" fmla="*/ 1719418 h 5392467"/>
              <a:gd name="connsiteX2636" fmla="*/ 5661103 w 6096001"/>
              <a:gd name="connsiteY2636" fmla="*/ 1711066 h 5392467"/>
              <a:gd name="connsiteX2637" fmla="*/ 5656356 w 6096001"/>
              <a:gd name="connsiteY2637" fmla="*/ 1721353 h 5392467"/>
              <a:gd name="connsiteX2638" fmla="*/ 5664090 w 6096001"/>
              <a:gd name="connsiteY2638" fmla="*/ 1734891 h 5392467"/>
              <a:gd name="connsiteX2639" fmla="*/ 5660224 w 6096001"/>
              <a:gd name="connsiteY2639" fmla="*/ 1740692 h 5392467"/>
              <a:gd name="connsiteX2640" fmla="*/ 5664090 w 6096001"/>
              <a:gd name="connsiteY2640" fmla="*/ 1744560 h 5392467"/>
              <a:gd name="connsiteX2641" fmla="*/ 5667959 w 6096001"/>
              <a:gd name="connsiteY2641" fmla="*/ 1748429 h 5392467"/>
              <a:gd name="connsiteX2642" fmla="*/ 5666026 w 6096001"/>
              <a:gd name="connsiteY2642" fmla="*/ 1752297 h 5392467"/>
              <a:gd name="connsiteX2643" fmla="*/ 5664090 w 6096001"/>
              <a:gd name="connsiteY2643" fmla="*/ 1754232 h 5392467"/>
              <a:gd name="connsiteX2644" fmla="*/ 5664090 w 6096001"/>
              <a:gd name="connsiteY2644" fmla="*/ 1779374 h 5392467"/>
              <a:gd name="connsiteX2645" fmla="*/ 5666026 w 6096001"/>
              <a:gd name="connsiteY2645" fmla="*/ 1779374 h 5392467"/>
              <a:gd name="connsiteX2646" fmla="*/ 5666026 w 6096001"/>
              <a:gd name="connsiteY2646" fmla="*/ 1781310 h 5392467"/>
              <a:gd name="connsiteX2647" fmla="*/ 5664090 w 6096001"/>
              <a:gd name="connsiteY2647" fmla="*/ 1785178 h 5392467"/>
              <a:gd name="connsiteX2648" fmla="*/ 5667959 w 6096001"/>
              <a:gd name="connsiteY2648" fmla="*/ 1785178 h 5392467"/>
              <a:gd name="connsiteX2649" fmla="*/ 5658289 w 6096001"/>
              <a:gd name="connsiteY2649" fmla="*/ 1792912 h 5392467"/>
              <a:gd name="connsiteX2650" fmla="*/ 5654421 w 6096001"/>
              <a:gd name="connsiteY2650" fmla="*/ 1794848 h 5392467"/>
              <a:gd name="connsiteX2651" fmla="*/ 5653777 w 6096001"/>
              <a:gd name="connsiteY2651" fmla="*/ 1795492 h 5392467"/>
              <a:gd name="connsiteX2652" fmla="*/ 5652488 w 6096001"/>
              <a:gd name="connsiteY2652" fmla="*/ 1792912 h 5392467"/>
              <a:gd name="connsiteX2653" fmla="*/ 5648620 w 6096001"/>
              <a:gd name="connsiteY2653" fmla="*/ 1792912 h 5392467"/>
              <a:gd name="connsiteX2654" fmla="*/ 5631211 w 6096001"/>
              <a:gd name="connsiteY2654" fmla="*/ 1812254 h 5392467"/>
              <a:gd name="connsiteX2655" fmla="*/ 5631521 w 6096001"/>
              <a:gd name="connsiteY2655" fmla="*/ 1814730 h 5392467"/>
              <a:gd name="connsiteX2656" fmla="*/ 5621542 w 6096001"/>
              <a:gd name="connsiteY2656" fmla="*/ 1818057 h 5392467"/>
              <a:gd name="connsiteX2657" fmla="*/ 5631211 w 6096001"/>
              <a:gd name="connsiteY2657" fmla="*/ 1825794 h 5392467"/>
              <a:gd name="connsiteX2658" fmla="*/ 5632854 w 6096001"/>
              <a:gd name="connsiteY2658" fmla="*/ 1825383 h 5392467"/>
              <a:gd name="connsiteX2659" fmla="*/ 5633147 w 6096001"/>
              <a:gd name="connsiteY2659" fmla="*/ 1827726 h 5392467"/>
              <a:gd name="connsiteX2660" fmla="*/ 5633147 w 6096001"/>
              <a:gd name="connsiteY2660" fmla="*/ 1839331 h 5392467"/>
              <a:gd name="connsiteX2661" fmla="*/ 5646684 w 6096001"/>
              <a:gd name="connsiteY2661" fmla="*/ 1829662 h 5392467"/>
              <a:gd name="connsiteX2662" fmla="*/ 5654421 w 6096001"/>
              <a:gd name="connsiteY2662" fmla="*/ 1829662 h 5392467"/>
              <a:gd name="connsiteX2663" fmla="*/ 5648620 w 6096001"/>
              <a:gd name="connsiteY2663" fmla="*/ 1841267 h 5392467"/>
              <a:gd name="connsiteX2664" fmla="*/ 5667959 w 6096001"/>
              <a:gd name="connsiteY2664" fmla="*/ 1831595 h 5392467"/>
              <a:gd name="connsiteX2665" fmla="*/ 5671829 w 6096001"/>
              <a:gd name="connsiteY2665" fmla="*/ 1829662 h 5392467"/>
              <a:gd name="connsiteX2666" fmla="*/ 5673762 w 6096001"/>
              <a:gd name="connsiteY2666" fmla="*/ 1825794 h 5392467"/>
              <a:gd name="connsiteX2667" fmla="*/ 5689235 w 6096001"/>
              <a:gd name="connsiteY2667" fmla="*/ 1814189 h 5392467"/>
              <a:gd name="connsiteX2668" fmla="*/ 5683432 w 6096001"/>
              <a:gd name="connsiteY2668" fmla="*/ 1821925 h 5392467"/>
              <a:gd name="connsiteX2669" fmla="*/ 5700840 w 6096001"/>
              <a:gd name="connsiteY2669" fmla="*/ 1823858 h 5392467"/>
              <a:gd name="connsiteX2670" fmla="*/ 5704708 w 6096001"/>
              <a:gd name="connsiteY2670" fmla="*/ 1833530 h 5392467"/>
              <a:gd name="connsiteX2671" fmla="*/ 5691168 w 6096001"/>
              <a:gd name="connsiteY2671" fmla="*/ 1845135 h 5392467"/>
              <a:gd name="connsiteX2672" fmla="*/ 5683432 w 6096001"/>
              <a:gd name="connsiteY2672" fmla="*/ 1839331 h 5392467"/>
              <a:gd name="connsiteX2673" fmla="*/ 5671829 w 6096001"/>
              <a:gd name="connsiteY2673" fmla="*/ 1833530 h 5392467"/>
              <a:gd name="connsiteX2674" fmla="*/ 5658289 w 6096001"/>
              <a:gd name="connsiteY2674" fmla="*/ 1850936 h 5392467"/>
              <a:gd name="connsiteX2675" fmla="*/ 5666026 w 6096001"/>
              <a:gd name="connsiteY2675" fmla="*/ 1852871 h 5392467"/>
              <a:gd name="connsiteX2676" fmla="*/ 5646684 w 6096001"/>
              <a:gd name="connsiteY2676" fmla="*/ 1870277 h 5392467"/>
              <a:gd name="connsiteX2677" fmla="*/ 5650553 w 6096001"/>
              <a:gd name="connsiteY2677" fmla="*/ 1856740 h 5392467"/>
              <a:gd name="connsiteX2678" fmla="*/ 5631211 w 6096001"/>
              <a:gd name="connsiteY2678" fmla="*/ 1864476 h 5392467"/>
              <a:gd name="connsiteX2679" fmla="*/ 5623475 w 6096001"/>
              <a:gd name="connsiteY2679" fmla="*/ 1870277 h 5392467"/>
              <a:gd name="connsiteX2680" fmla="*/ 5604133 w 6096001"/>
              <a:gd name="connsiteY2680" fmla="*/ 1924433 h 5392467"/>
              <a:gd name="connsiteX2681" fmla="*/ 5588663 w 6096001"/>
              <a:gd name="connsiteY2681" fmla="*/ 1965049 h 5392467"/>
              <a:gd name="connsiteX2682" fmla="*/ 5565453 w 6096001"/>
              <a:gd name="connsiteY2682" fmla="*/ 2015336 h 5392467"/>
              <a:gd name="connsiteX2683" fmla="*/ 5582859 w 6096001"/>
              <a:gd name="connsiteY2683" fmla="*/ 2011468 h 5392467"/>
              <a:gd name="connsiteX2684" fmla="*/ 5588663 w 6096001"/>
              <a:gd name="connsiteY2684" fmla="*/ 2013400 h 5392467"/>
              <a:gd name="connsiteX2685" fmla="*/ 5561585 w 6096001"/>
              <a:gd name="connsiteY2685" fmla="*/ 2025005 h 5392467"/>
              <a:gd name="connsiteX2686" fmla="*/ 5544177 w 6096001"/>
              <a:gd name="connsiteY2686" fmla="*/ 2065623 h 5392467"/>
              <a:gd name="connsiteX2687" fmla="*/ 5542244 w 6096001"/>
              <a:gd name="connsiteY2687" fmla="*/ 2069491 h 5392467"/>
              <a:gd name="connsiteX2688" fmla="*/ 5559650 w 6096001"/>
              <a:gd name="connsiteY2688" fmla="*/ 2063688 h 5392467"/>
              <a:gd name="connsiteX2689" fmla="*/ 5546112 w 6096001"/>
              <a:gd name="connsiteY2689" fmla="*/ 2081096 h 5392467"/>
              <a:gd name="connsiteX2690" fmla="*/ 5536440 w 6096001"/>
              <a:gd name="connsiteY2690" fmla="*/ 2088830 h 5392467"/>
              <a:gd name="connsiteX2691" fmla="*/ 5530639 w 6096001"/>
              <a:gd name="connsiteY2691" fmla="*/ 2092698 h 5392467"/>
              <a:gd name="connsiteX2692" fmla="*/ 5497758 w 6096001"/>
              <a:gd name="connsiteY2692" fmla="*/ 2170064 h 5392467"/>
              <a:gd name="connsiteX2693" fmla="*/ 5490021 w 6096001"/>
              <a:gd name="connsiteY2693" fmla="*/ 2193273 h 5392467"/>
              <a:gd name="connsiteX2694" fmla="*/ 5488088 w 6096001"/>
              <a:gd name="connsiteY2694" fmla="*/ 2206811 h 5392467"/>
              <a:gd name="connsiteX2695" fmla="*/ 5503561 w 6096001"/>
              <a:gd name="connsiteY2695" fmla="*/ 2201010 h 5392467"/>
              <a:gd name="connsiteX2696" fmla="*/ 5546112 w 6096001"/>
              <a:gd name="connsiteY2696" fmla="*/ 2183602 h 5392467"/>
              <a:gd name="connsiteX2697" fmla="*/ 5679566 w 6096001"/>
              <a:gd name="connsiteY2697" fmla="*/ 2123645 h 5392467"/>
              <a:gd name="connsiteX2698" fmla="*/ 5720181 w 6096001"/>
              <a:gd name="connsiteY2698" fmla="*/ 2113975 h 5392467"/>
              <a:gd name="connsiteX2699" fmla="*/ 5756928 w 6096001"/>
              <a:gd name="connsiteY2699" fmla="*/ 2113975 h 5392467"/>
              <a:gd name="connsiteX2700" fmla="*/ 5782073 w 6096001"/>
              <a:gd name="connsiteY2700" fmla="*/ 2121712 h 5392467"/>
              <a:gd name="connsiteX2701" fmla="*/ 5811084 w 6096001"/>
              <a:gd name="connsiteY2701" fmla="*/ 2129448 h 5392467"/>
              <a:gd name="connsiteX2702" fmla="*/ 5836226 w 6096001"/>
              <a:gd name="connsiteY2702" fmla="*/ 2141053 h 5392467"/>
              <a:gd name="connsiteX2703" fmla="*/ 5845898 w 6096001"/>
              <a:gd name="connsiteY2703" fmla="*/ 2148789 h 5392467"/>
              <a:gd name="connsiteX2704" fmla="*/ 5882645 w 6096001"/>
              <a:gd name="connsiteY2704" fmla="*/ 2175867 h 5392467"/>
              <a:gd name="connsiteX2705" fmla="*/ 5898118 w 6096001"/>
              <a:gd name="connsiteY2705" fmla="*/ 2195206 h 5392467"/>
              <a:gd name="connsiteX2706" fmla="*/ 5901987 w 6096001"/>
              <a:gd name="connsiteY2706" fmla="*/ 2199075 h 5392467"/>
              <a:gd name="connsiteX2707" fmla="*/ 5929065 w 6096001"/>
              <a:gd name="connsiteY2707" fmla="*/ 2230020 h 5392467"/>
              <a:gd name="connsiteX2708" fmla="*/ 5942602 w 6096001"/>
              <a:gd name="connsiteY2708" fmla="*/ 2251297 h 5392467"/>
              <a:gd name="connsiteX2709" fmla="*/ 5967745 w 6096001"/>
              <a:gd name="connsiteY2709" fmla="*/ 2289977 h 5392467"/>
              <a:gd name="connsiteX2710" fmla="*/ 5979352 w 6096001"/>
              <a:gd name="connsiteY2710" fmla="*/ 2305450 h 5392467"/>
              <a:gd name="connsiteX2711" fmla="*/ 5992890 w 6096001"/>
              <a:gd name="connsiteY2711" fmla="*/ 2326727 h 5392467"/>
              <a:gd name="connsiteX2712" fmla="*/ 6000626 w 6096001"/>
              <a:gd name="connsiteY2712" fmla="*/ 2349937 h 5392467"/>
              <a:gd name="connsiteX2713" fmla="*/ 6000626 w 6096001"/>
              <a:gd name="connsiteY2713" fmla="*/ 2371211 h 5392467"/>
              <a:gd name="connsiteX2714" fmla="*/ 6000626 w 6096001"/>
              <a:gd name="connsiteY2714" fmla="*/ 2377012 h 5392467"/>
              <a:gd name="connsiteX2715" fmla="*/ 6008363 w 6096001"/>
              <a:gd name="connsiteY2715" fmla="*/ 2446640 h 5392467"/>
              <a:gd name="connsiteX2716" fmla="*/ 5990954 w 6096001"/>
              <a:gd name="connsiteY2716" fmla="*/ 2489191 h 5392467"/>
              <a:gd name="connsiteX2717" fmla="*/ 5981285 w 6096001"/>
              <a:gd name="connsiteY2717" fmla="*/ 2508533 h 5392467"/>
              <a:gd name="connsiteX2718" fmla="*/ 5979352 w 6096001"/>
              <a:gd name="connsiteY2718" fmla="*/ 2514334 h 5392467"/>
              <a:gd name="connsiteX2719" fmla="*/ 5956142 w 6096001"/>
              <a:gd name="connsiteY2719" fmla="*/ 2547213 h 5392467"/>
              <a:gd name="connsiteX2720" fmla="*/ 5913591 w 6096001"/>
              <a:gd name="connsiteY2720" fmla="*/ 2599435 h 5392467"/>
              <a:gd name="connsiteX2721" fmla="*/ 5847831 w 6096001"/>
              <a:gd name="connsiteY2721" fmla="*/ 2655524 h 5392467"/>
              <a:gd name="connsiteX2722" fmla="*/ 5842028 w 6096001"/>
              <a:gd name="connsiteY2722" fmla="*/ 2659392 h 5392467"/>
              <a:gd name="connsiteX2723" fmla="*/ 5693103 w 6096001"/>
              <a:gd name="connsiteY2723" fmla="*/ 2759964 h 5392467"/>
              <a:gd name="connsiteX2724" fmla="*/ 5642816 w 6096001"/>
              <a:gd name="connsiteY2724" fmla="*/ 2804451 h 5392467"/>
              <a:gd name="connsiteX2725" fmla="*/ 5577056 w 6096001"/>
              <a:gd name="connsiteY2725" fmla="*/ 2862472 h 5392467"/>
              <a:gd name="connsiteX2726" fmla="*/ 5580924 w 6096001"/>
              <a:gd name="connsiteY2726" fmla="*/ 2866340 h 5392467"/>
              <a:gd name="connsiteX2727" fmla="*/ 5598332 w 6096001"/>
              <a:gd name="connsiteY2727" fmla="*/ 2854735 h 5392467"/>
              <a:gd name="connsiteX2728" fmla="*/ 5592531 w 6096001"/>
              <a:gd name="connsiteY2728" fmla="*/ 2868276 h 5392467"/>
              <a:gd name="connsiteX2729" fmla="*/ 5582859 w 6096001"/>
              <a:gd name="connsiteY2729" fmla="*/ 2870208 h 5392467"/>
              <a:gd name="connsiteX2730" fmla="*/ 5569322 w 6096001"/>
              <a:gd name="connsiteY2730" fmla="*/ 2881813 h 5392467"/>
              <a:gd name="connsiteX2731" fmla="*/ 5561585 w 6096001"/>
              <a:gd name="connsiteY2731" fmla="*/ 2887617 h 5392467"/>
              <a:gd name="connsiteX2732" fmla="*/ 5559650 w 6096001"/>
              <a:gd name="connsiteY2732" fmla="*/ 2889550 h 5392467"/>
              <a:gd name="connsiteX2733" fmla="*/ 5563518 w 6096001"/>
              <a:gd name="connsiteY2733" fmla="*/ 2893418 h 5392467"/>
              <a:gd name="connsiteX2734" fmla="*/ 5584795 w 6096001"/>
              <a:gd name="connsiteY2734" fmla="*/ 2883749 h 5392467"/>
              <a:gd name="connsiteX2735" fmla="*/ 5592531 w 6096001"/>
              <a:gd name="connsiteY2735" fmla="*/ 2885682 h 5392467"/>
              <a:gd name="connsiteX2736" fmla="*/ 5580924 w 6096001"/>
              <a:gd name="connsiteY2736" fmla="*/ 2889550 h 5392467"/>
              <a:gd name="connsiteX2737" fmla="*/ 5573190 w 6096001"/>
              <a:gd name="connsiteY2737" fmla="*/ 2893418 h 5392467"/>
              <a:gd name="connsiteX2738" fmla="*/ 5563518 w 6096001"/>
              <a:gd name="connsiteY2738" fmla="*/ 2897287 h 5392467"/>
              <a:gd name="connsiteX2739" fmla="*/ 5561585 w 6096001"/>
              <a:gd name="connsiteY2739" fmla="*/ 2897287 h 5392467"/>
              <a:gd name="connsiteX2740" fmla="*/ 5561585 w 6096001"/>
              <a:gd name="connsiteY2740" fmla="*/ 2899219 h 5392467"/>
              <a:gd name="connsiteX2741" fmla="*/ 5542244 w 6096001"/>
              <a:gd name="connsiteY2741" fmla="*/ 2901155 h 5392467"/>
              <a:gd name="connsiteX2742" fmla="*/ 5530639 w 6096001"/>
              <a:gd name="connsiteY2742" fmla="*/ 2903090 h 5392467"/>
              <a:gd name="connsiteX2743" fmla="*/ 5526771 w 6096001"/>
              <a:gd name="connsiteY2743" fmla="*/ 2906956 h 5392467"/>
              <a:gd name="connsiteX2744" fmla="*/ 5584795 w 6096001"/>
              <a:gd name="connsiteY2744" fmla="*/ 2910824 h 5392467"/>
              <a:gd name="connsiteX2745" fmla="*/ 5577056 w 6096001"/>
              <a:gd name="connsiteY2745" fmla="*/ 2912759 h 5392467"/>
              <a:gd name="connsiteX2746" fmla="*/ 5617674 w 6096001"/>
              <a:gd name="connsiteY2746" fmla="*/ 2916628 h 5392467"/>
              <a:gd name="connsiteX2747" fmla="*/ 5623475 w 6096001"/>
              <a:gd name="connsiteY2747" fmla="*/ 2916628 h 5392467"/>
              <a:gd name="connsiteX2748" fmla="*/ 5627343 w 6096001"/>
              <a:gd name="connsiteY2748" fmla="*/ 2916628 h 5392467"/>
              <a:gd name="connsiteX2749" fmla="*/ 5648620 w 6096001"/>
              <a:gd name="connsiteY2749" fmla="*/ 2905023 h 5392467"/>
              <a:gd name="connsiteX2750" fmla="*/ 5662157 w 6096001"/>
              <a:gd name="connsiteY2750" fmla="*/ 2899219 h 5392467"/>
              <a:gd name="connsiteX2751" fmla="*/ 5656356 w 6096001"/>
              <a:gd name="connsiteY2751" fmla="*/ 2905023 h 5392467"/>
              <a:gd name="connsiteX2752" fmla="*/ 5658289 w 6096001"/>
              <a:gd name="connsiteY2752" fmla="*/ 2906956 h 5392467"/>
              <a:gd name="connsiteX2753" fmla="*/ 5685367 w 6096001"/>
              <a:gd name="connsiteY2753" fmla="*/ 2910824 h 5392467"/>
              <a:gd name="connsiteX2754" fmla="*/ 5696972 w 6096001"/>
              <a:gd name="connsiteY2754" fmla="*/ 2891485 h 5392467"/>
              <a:gd name="connsiteX2755" fmla="*/ 5712445 w 6096001"/>
              <a:gd name="connsiteY2755" fmla="*/ 2891485 h 5392467"/>
              <a:gd name="connsiteX2756" fmla="*/ 5702773 w 6096001"/>
              <a:gd name="connsiteY2756" fmla="*/ 2895351 h 5392467"/>
              <a:gd name="connsiteX2757" fmla="*/ 5708576 w 6096001"/>
              <a:gd name="connsiteY2757" fmla="*/ 2901155 h 5392467"/>
              <a:gd name="connsiteX2758" fmla="*/ 5704708 w 6096001"/>
              <a:gd name="connsiteY2758" fmla="*/ 2908891 h 5392467"/>
              <a:gd name="connsiteX2759" fmla="*/ 5733719 w 6096001"/>
              <a:gd name="connsiteY2759" fmla="*/ 2908891 h 5392467"/>
              <a:gd name="connsiteX2760" fmla="*/ 5733719 w 6096001"/>
              <a:gd name="connsiteY2760" fmla="*/ 2916628 h 5392467"/>
              <a:gd name="connsiteX2761" fmla="*/ 5693103 w 6096001"/>
              <a:gd name="connsiteY2761" fmla="*/ 2922429 h 5392467"/>
              <a:gd name="connsiteX2762" fmla="*/ 5646684 w 6096001"/>
              <a:gd name="connsiteY2762" fmla="*/ 2926297 h 5392467"/>
              <a:gd name="connsiteX2763" fmla="*/ 5650553 w 6096001"/>
              <a:gd name="connsiteY2763" fmla="*/ 2930165 h 5392467"/>
              <a:gd name="connsiteX2764" fmla="*/ 5654421 w 6096001"/>
              <a:gd name="connsiteY2764" fmla="*/ 2934034 h 5392467"/>
              <a:gd name="connsiteX2765" fmla="*/ 5673762 w 6096001"/>
              <a:gd name="connsiteY2765" fmla="*/ 2932101 h 5392467"/>
              <a:gd name="connsiteX2766" fmla="*/ 5658289 w 6096001"/>
              <a:gd name="connsiteY2766" fmla="*/ 2939837 h 5392467"/>
              <a:gd name="connsiteX2767" fmla="*/ 5658289 w 6096001"/>
              <a:gd name="connsiteY2767" fmla="*/ 2947574 h 5392467"/>
              <a:gd name="connsiteX2768" fmla="*/ 5652488 w 6096001"/>
              <a:gd name="connsiteY2768" fmla="*/ 2959178 h 5392467"/>
              <a:gd name="connsiteX2769" fmla="*/ 5660224 w 6096001"/>
              <a:gd name="connsiteY2769" fmla="*/ 2959178 h 5392467"/>
              <a:gd name="connsiteX2770" fmla="*/ 5658289 w 6096001"/>
              <a:gd name="connsiteY2770" fmla="*/ 2963047 h 5392467"/>
              <a:gd name="connsiteX2771" fmla="*/ 5687300 w 6096001"/>
              <a:gd name="connsiteY2771" fmla="*/ 2963047 h 5392467"/>
              <a:gd name="connsiteX2772" fmla="*/ 5582859 w 6096001"/>
              <a:gd name="connsiteY2772" fmla="*/ 2988189 h 5392467"/>
              <a:gd name="connsiteX2773" fmla="*/ 5590596 w 6096001"/>
              <a:gd name="connsiteY2773" fmla="*/ 3003662 h 5392467"/>
              <a:gd name="connsiteX2774" fmla="*/ 5594464 w 6096001"/>
              <a:gd name="connsiteY2774" fmla="*/ 3007531 h 5392467"/>
              <a:gd name="connsiteX2775" fmla="*/ 5613805 w 6096001"/>
              <a:gd name="connsiteY2775" fmla="*/ 3009464 h 5392467"/>
              <a:gd name="connsiteX2776" fmla="*/ 5714378 w 6096001"/>
              <a:gd name="connsiteY2776" fmla="*/ 3017200 h 5392467"/>
              <a:gd name="connsiteX2777" fmla="*/ 5722114 w 6096001"/>
              <a:gd name="connsiteY2777" fmla="*/ 3009464 h 5392467"/>
              <a:gd name="connsiteX2778" fmla="*/ 5720181 w 6096001"/>
              <a:gd name="connsiteY2778" fmla="*/ 3019135 h 5392467"/>
              <a:gd name="connsiteX2779" fmla="*/ 5747259 w 6096001"/>
              <a:gd name="connsiteY2779" fmla="*/ 3024936 h 5392467"/>
              <a:gd name="connsiteX2780" fmla="*/ 5762732 w 6096001"/>
              <a:gd name="connsiteY2780" fmla="*/ 3024936 h 5392467"/>
              <a:gd name="connsiteX2781" fmla="*/ 5754993 w 6096001"/>
              <a:gd name="connsiteY2781" fmla="*/ 3028805 h 5392467"/>
              <a:gd name="connsiteX2782" fmla="*/ 5764665 w 6096001"/>
              <a:gd name="connsiteY2782" fmla="*/ 3036541 h 5392467"/>
              <a:gd name="connsiteX2783" fmla="*/ 5745324 w 6096001"/>
              <a:gd name="connsiteY2783" fmla="*/ 3036541 h 5392467"/>
              <a:gd name="connsiteX2784" fmla="*/ 5578991 w 6096001"/>
              <a:gd name="connsiteY2784" fmla="*/ 3021068 h 5392467"/>
              <a:gd name="connsiteX2785" fmla="*/ 5575123 w 6096001"/>
              <a:gd name="connsiteY2785" fmla="*/ 3021068 h 5392467"/>
              <a:gd name="connsiteX2786" fmla="*/ 5577056 w 6096001"/>
              <a:gd name="connsiteY2786" fmla="*/ 3026872 h 5392467"/>
              <a:gd name="connsiteX2787" fmla="*/ 5544177 w 6096001"/>
              <a:gd name="connsiteY2787" fmla="*/ 3024936 h 5392467"/>
              <a:gd name="connsiteX2788" fmla="*/ 5551913 w 6096001"/>
              <a:gd name="connsiteY2788" fmla="*/ 3032673 h 5392467"/>
              <a:gd name="connsiteX2789" fmla="*/ 5490021 w 6096001"/>
              <a:gd name="connsiteY2789" fmla="*/ 3034608 h 5392467"/>
              <a:gd name="connsiteX2790" fmla="*/ 5480352 w 6096001"/>
              <a:gd name="connsiteY2790" fmla="*/ 3038476 h 5392467"/>
              <a:gd name="connsiteX2791" fmla="*/ 5480352 w 6096001"/>
              <a:gd name="connsiteY2791" fmla="*/ 3034608 h 5392467"/>
              <a:gd name="connsiteX2792" fmla="*/ 5476483 w 6096001"/>
              <a:gd name="connsiteY2792" fmla="*/ 3034608 h 5392467"/>
              <a:gd name="connsiteX2793" fmla="*/ 5474551 w 6096001"/>
              <a:gd name="connsiteY2793" fmla="*/ 3048146 h 5392467"/>
              <a:gd name="connsiteX2794" fmla="*/ 5497758 w 6096001"/>
              <a:gd name="connsiteY2794" fmla="*/ 3048146 h 5392467"/>
              <a:gd name="connsiteX2795" fmla="*/ 5524838 w 6096001"/>
              <a:gd name="connsiteY2795" fmla="*/ 3044278 h 5392467"/>
              <a:gd name="connsiteX2796" fmla="*/ 5530639 w 6096001"/>
              <a:gd name="connsiteY2796" fmla="*/ 3040409 h 5392467"/>
              <a:gd name="connsiteX2797" fmla="*/ 5548045 w 6096001"/>
              <a:gd name="connsiteY2797" fmla="*/ 3036541 h 5392467"/>
              <a:gd name="connsiteX2798" fmla="*/ 5548045 w 6096001"/>
              <a:gd name="connsiteY2798" fmla="*/ 3040409 h 5392467"/>
              <a:gd name="connsiteX2799" fmla="*/ 5551913 w 6096001"/>
              <a:gd name="connsiteY2799" fmla="*/ 3042345 h 5392467"/>
              <a:gd name="connsiteX2800" fmla="*/ 5563518 w 6096001"/>
              <a:gd name="connsiteY2800" fmla="*/ 3040409 h 5392467"/>
              <a:gd name="connsiteX2801" fmla="*/ 5569322 w 6096001"/>
              <a:gd name="connsiteY2801" fmla="*/ 3040409 h 5392467"/>
              <a:gd name="connsiteX2802" fmla="*/ 5600265 w 6096001"/>
              <a:gd name="connsiteY2802" fmla="*/ 3042345 h 5392467"/>
              <a:gd name="connsiteX2803" fmla="*/ 5600265 w 6096001"/>
              <a:gd name="connsiteY2803" fmla="*/ 3040409 h 5392467"/>
              <a:gd name="connsiteX2804" fmla="*/ 5602201 w 6096001"/>
              <a:gd name="connsiteY2804" fmla="*/ 3042345 h 5392467"/>
              <a:gd name="connsiteX2805" fmla="*/ 5602201 w 6096001"/>
              <a:gd name="connsiteY2805" fmla="*/ 3044278 h 5392467"/>
              <a:gd name="connsiteX2806" fmla="*/ 5617674 w 6096001"/>
              <a:gd name="connsiteY2806" fmla="*/ 3046213 h 5392467"/>
              <a:gd name="connsiteX2807" fmla="*/ 5613805 w 6096001"/>
              <a:gd name="connsiteY2807" fmla="*/ 3044278 h 5392467"/>
              <a:gd name="connsiteX2808" fmla="*/ 5633147 w 6096001"/>
              <a:gd name="connsiteY2808" fmla="*/ 3036541 h 5392467"/>
              <a:gd name="connsiteX2809" fmla="*/ 5627343 w 6096001"/>
              <a:gd name="connsiteY2809" fmla="*/ 3046213 h 5392467"/>
              <a:gd name="connsiteX2810" fmla="*/ 5658289 w 6096001"/>
              <a:gd name="connsiteY2810" fmla="*/ 3050081 h 5392467"/>
              <a:gd name="connsiteX2811" fmla="*/ 5696972 w 6096001"/>
              <a:gd name="connsiteY2811" fmla="*/ 3052014 h 5392467"/>
              <a:gd name="connsiteX2812" fmla="*/ 5735654 w 6096001"/>
              <a:gd name="connsiteY2812" fmla="*/ 3057818 h 5392467"/>
              <a:gd name="connsiteX2813" fmla="*/ 5735654 w 6096001"/>
              <a:gd name="connsiteY2813" fmla="*/ 3055883 h 5392467"/>
              <a:gd name="connsiteX2814" fmla="*/ 5737587 w 6096001"/>
              <a:gd name="connsiteY2814" fmla="*/ 3057818 h 5392467"/>
              <a:gd name="connsiteX2815" fmla="*/ 5743391 w 6096001"/>
              <a:gd name="connsiteY2815" fmla="*/ 3057818 h 5392467"/>
              <a:gd name="connsiteX2816" fmla="*/ 5751125 w 6096001"/>
              <a:gd name="connsiteY2816" fmla="*/ 3061686 h 5392467"/>
              <a:gd name="connsiteX2817" fmla="*/ 5735654 w 6096001"/>
              <a:gd name="connsiteY2817" fmla="*/ 3065555 h 5392467"/>
              <a:gd name="connsiteX2818" fmla="*/ 5731784 w 6096001"/>
              <a:gd name="connsiteY2818" fmla="*/ 3067487 h 5392467"/>
              <a:gd name="connsiteX2819" fmla="*/ 5745324 w 6096001"/>
              <a:gd name="connsiteY2819" fmla="*/ 3077159 h 5392467"/>
              <a:gd name="connsiteX2820" fmla="*/ 5768533 w 6096001"/>
              <a:gd name="connsiteY2820" fmla="*/ 3079092 h 5392467"/>
              <a:gd name="connsiteX2821" fmla="*/ 5782073 w 6096001"/>
              <a:gd name="connsiteY2821" fmla="*/ 3092630 h 5392467"/>
              <a:gd name="connsiteX2822" fmla="*/ 5770466 w 6096001"/>
              <a:gd name="connsiteY2822" fmla="*/ 3098433 h 5392467"/>
              <a:gd name="connsiteX2823" fmla="*/ 5662157 w 6096001"/>
              <a:gd name="connsiteY2823" fmla="*/ 3106170 h 5392467"/>
              <a:gd name="connsiteX2824" fmla="*/ 5633147 w 6096001"/>
              <a:gd name="connsiteY2824" fmla="*/ 3111971 h 5392467"/>
              <a:gd name="connsiteX2825" fmla="*/ 5623475 w 6096001"/>
              <a:gd name="connsiteY2825" fmla="*/ 3111971 h 5392467"/>
              <a:gd name="connsiteX2826" fmla="*/ 5635080 w 6096001"/>
              <a:gd name="connsiteY2826" fmla="*/ 3115839 h 5392467"/>
              <a:gd name="connsiteX2827" fmla="*/ 5648620 w 6096001"/>
              <a:gd name="connsiteY2827" fmla="*/ 3113907 h 5392467"/>
              <a:gd name="connsiteX2828" fmla="*/ 5644749 w 6096001"/>
              <a:gd name="connsiteY2828" fmla="*/ 3117775 h 5392467"/>
              <a:gd name="connsiteX2829" fmla="*/ 5648620 w 6096001"/>
              <a:gd name="connsiteY2829" fmla="*/ 3119708 h 5392467"/>
              <a:gd name="connsiteX2830" fmla="*/ 5652488 w 6096001"/>
              <a:gd name="connsiteY2830" fmla="*/ 3137116 h 5392467"/>
              <a:gd name="connsiteX2831" fmla="*/ 5644749 w 6096001"/>
              <a:gd name="connsiteY2831" fmla="*/ 3140984 h 5392467"/>
              <a:gd name="connsiteX2832" fmla="*/ 5642816 w 6096001"/>
              <a:gd name="connsiteY2832" fmla="*/ 3144852 h 5392467"/>
              <a:gd name="connsiteX2833" fmla="*/ 5652488 w 6096001"/>
              <a:gd name="connsiteY2833" fmla="*/ 3144852 h 5392467"/>
              <a:gd name="connsiteX2834" fmla="*/ 5658289 w 6096001"/>
              <a:gd name="connsiteY2834" fmla="*/ 3139049 h 5392467"/>
              <a:gd name="connsiteX2835" fmla="*/ 5669894 w 6096001"/>
              <a:gd name="connsiteY2835" fmla="*/ 3139049 h 5392467"/>
              <a:gd name="connsiteX2836" fmla="*/ 5669894 w 6096001"/>
              <a:gd name="connsiteY2836" fmla="*/ 3137116 h 5392467"/>
              <a:gd name="connsiteX2837" fmla="*/ 5677630 w 6096001"/>
              <a:gd name="connsiteY2837" fmla="*/ 3135181 h 5392467"/>
              <a:gd name="connsiteX2838" fmla="*/ 5677630 w 6096001"/>
              <a:gd name="connsiteY2838" fmla="*/ 3137116 h 5392467"/>
              <a:gd name="connsiteX2839" fmla="*/ 5681499 w 6096001"/>
              <a:gd name="connsiteY2839" fmla="*/ 3137116 h 5392467"/>
              <a:gd name="connsiteX2840" fmla="*/ 5708576 w 6096001"/>
              <a:gd name="connsiteY2840" fmla="*/ 3139049 h 5392467"/>
              <a:gd name="connsiteX2841" fmla="*/ 5809149 w 6096001"/>
              <a:gd name="connsiteY2841" fmla="*/ 3135181 h 5392467"/>
              <a:gd name="connsiteX2842" fmla="*/ 5830425 w 6096001"/>
              <a:gd name="connsiteY2842" fmla="*/ 3131312 h 5392467"/>
              <a:gd name="connsiteX2843" fmla="*/ 5876842 w 6096001"/>
              <a:gd name="connsiteY2843" fmla="*/ 3119708 h 5392467"/>
              <a:gd name="connsiteX2844" fmla="*/ 5894250 w 6096001"/>
              <a:gd name="connsiteY2844" fmla="*/ 3123576 h 5392467"/>
              <a:gd name="connsiteX2845" fmla="*/ 5896183 w 6096001"/>
              <a:gd name="connsiteY2845" fmla="*/ 3129379 h 5392467"/>
              <a:gd name="connsiteX2846" fmla="*/ 5892317 w 6096001"/>
              <a:gd name="connsiteY2846" fmla="*/ 3135181 h 5392467"/>
              <a:gd name="connsiteX2847" fmla="*/ 5871041 w 6096001"/>
              <a:gd name="connsiteY2847" fmla="*/ 3144852 h 5392467"/>
              <a:gd name="connsiteX2848" fmla="*/ 5882645 w 6096001"/>
              <a:gd name="connsiteY2848" fmla="*/ 3152589 h 5392467"/>
              <a:gd name="connsiteX2849" fmla="*/ 5956142 w 6096001"/>
              <a:gd name="connsiteY2849" fmla="*/ 3162259 h 5392467"/>
              <a:gd name="connsiteX2850" fmla="*/ 5884578 w 6096001"/>
              <a:gd name="connsiteY2850" fmla="*/ 3160326 h 5392467"/>
              <a:gd name="connsiteX2851" fmla="*/ 5853635 w 6096001"/>
              <a:gd name="connsiteY2851" fmla="*/ 3162259 h 5392467"/>
              <a:gd name="connsiteX2852" fmla="*/ 5820753 w 6096001"/>
              <a:gd name="connsiteY2852" fmla="*/ 3164194 h 5392467"/>
              <a:gd name="connsiteX2853" fmla="*/ 5797544 w 6096001"/>
              <a:gd name="connsiteY2853" fmla="*/ 3169995 h 5392467"/>
              <a:gd name="connsiteX2854" fmla="*/ 5809149 w 6096001"/>
              <a:gd name="connsiteY2854" fmla="*/ 3175796 h 5392467"/>
              <a:gd name="connsiteX2855" fmla="*/ 5855568 w 6096001"/>
              <a:gd name="connsiteY2855" fmla="*/ 3189336 h 5392467"/>
              <a:gd name="connsiteX2856" fmla="*/ 5898118 w 6096001"/>
              <a:gd name="connsiteY2856" fmla="*/ 3189336 h 5392467"/>
              <a:gd name="connsiteX2857" fmla="*/ 6018032 w 6096001"/>
              <a:gd name="connsiteY2857" fmla="*/ 3195137 h 5392467"/>
              <a:gd name="connsiteX2858" fmla="*/ 6043177 w 6096001"/>
              <a:gd name="connsiteY2858" fmla="*/ 3199006 h 5392467"/>
              <a:gd name="connsiteX2859" fmla="*/ 6037373 w 6096001"/>
              <a:gd name="connsiteY2859" fmla="*/ 3204809 h 5392467"/>
              <a:gd name="connsiteX2860" fmla="*/ 5956142 w 6096001"/>
              <a:gd name="connsiteY2860" fmla="*/ 3218347 h 5392467"/>
              <a:gd name="connsiteX2861" fmla="*/ 5901987 w 6096001"/>
              <a:gd name="connsiteY2861" fmla="*/ 3218347 h 5392467"/>
              <a:gd name="connsiteX2862" fmla="*/ 5898118 w 6096001"/>
              <a:gd name="connsiteY2862" fmla="*/ 3218347 h 5392467"/>
              <a:gd name="connsiteX2863" fmla="*/ 5890382 w 6096001"/>
              <a:gd name="connsiteY2863" fmla="*/ 3222215 h 5392467"/>
              <a:gd name="connsiteX2864" fmla="*/ 5890382 w 6096001"/>
              <a:gd name="connsiteY2864" fmla="*/ 3218347 h 5392467"/>
              <a:gd name="connsiteX2865" fmla="*/ 5853635 w 6096001"/>
              <a:gd name="connsiteY2865" fmla="*/ 3218347 h 5392467"/>
              <a:gd name="connsiteX2866" fmla="*/ 5838159 w 6096001"/>
              <a:gd name="connsiteY2866" fmla="*/ 3228019 h 5392467"/>
              <a:gd name="connsiteX2867" fmla="*/ 5822689 w 6096001"/>
              <a:gd name="connsiteY2867" fmla="*/ 3228019 h 5392467"/>
              <a:gd name="connsiteX2868" fmla="*/ 5822689 w 6096001"/>
              <a:gd name="connsiteY2868" fmla="*/ 3231887 h 5392467"/>
              <a:gd name="connsiteX2869" fmla="*/ 5851699 w 6096001"/>
              <a:gd name="connsiteY2869" fmla="*/ 3233820 h 5392467"/>
              <a:gd name="connsiteX2870" fmla="*/ 5869108 w 6096001"/>
              <a:gd name="connsiteY2870" fmla="*/ 3235755 h 5392467"/>
              <a:gd name="connsiteX2871" fmla="*/ 5874909 w 6096001"/>
              <a:gd name="connsiteY2871" fmla="*/ 3235755 h 5392467"/>
              <a:gd name="connsiteX2872" fmla="*/ 5898118 w 6096001"/>
              <a:gd name="connsiteY2872" fmla="*/ 3229952 h 5392467"/>
              <a:gd name="connsiteX2873" fmla="*/ 5915524 w 6096001"/>
              <a:gd name="connsiteY2873" fmla="*/ 3228019 h 5392467"/>
              <a:gd name="connsiteX2874" fmla="*/ 5942602 w 6096001"/>
              <a:gd name="connsiteY2874" fmla="*/ 3229952 h 5392467"/>
              <a:gd name="connsiteX2875" fmla="*/ 5930997 w 6096001"/>
              <a:gd name="connsiteY2875" fmla="*/ 3233820 h 5392467"/>
              <a:gd name="connsiteX2876" fmla="*/ 5942602 w 6096001"/>
              <a:gd name="connsiteY2876" fmla="*/ 3235755 h 5392467"/>
              <a:gd name="connsiteX2877" fmla="*/ 5930998 w 6096001"/>
              <a:gd name="connsiteY2877" fmla="*/ 3242040 h 5392467"/>
              <a:gd name="connsiteX2878" fmla="*/ 5927996 w 6096001"/>
              <a:gd name="connsiteY2878" fmla="*/ 3249793 h 5392467"/>
              <a:gd name="connsiteX2879" fmla="*/ 5926645 w 6096001"/>
              <a:gd name="connsiteY2879" fmla="*/ 3250018 h 5392467"/>
              <a:gd name="connsiteX2880" fmla="*/ 5925194 w 6096001"/>
              <a:gd name="connsiteY2880" fmla="*/ 3255094 h 5392467"/>
              <a:gd name="connsiteX2881" fmla="*/ 5926416 w 6096001"/>
              <a:gd name="connsiteY2881" fmla="*/ 3253872 h 5392467"/>
              <a:gd name="connsiteX2882" fmla="*/ 5925194 w 6096001"/>
              <a:gd name="connsiteY2882" fmla="*/ 3257029 h 5392467"/>
              <a:gd name="connsiteX2883" fmla="*/ 5989021 w 6096001"/>
              <a:gd name="connsiteY2883" fmla="*/ 3262831 h 5392467"/>
              <a:gd name="connsiteX2884" fmla="*/ 5987086 w 6096001"/>
              <a:gd name="connsiteY2884" fmla="*/ 3270570 h 5392467"/>
              <a:gd name="connsiteX2885" fmla="*/ 5983218 w 6096001"/>
              <a:gd name="connsiteY2885" fmla="*/ 3276371 h 5392467"/>
              <a:gd name="connsiteX2886" fmla="*/ 5973548 w 6096001"/>
              <a:gd name="connsiteY2886" fmla="*/ 3280239 h 5392467"/>
              <a:gd name="connsiteX2887" fmla="*/ 5952272 w 6096001"/>
              <a:gd name="connsiteY2887" fmla="*/ 3282172 h 5392467"/>
              <a:gd name="connsiteX2888" fmla="*/ 5958075 w 6096001"/>
              <a:gd name="connsiteY2888" fmla="*/ 3297645 h 5392467"/>
              <a:gd name="connsiteX2889" fmla="*/ 5973548 w 6096001"/>
              <a:gd name="connsiteY2889" fmla="*/ 3301513 h 5392467"/>
              <a:gd name="connsiteX2890" fmla="*/ 5985153 w 6096001"/>
              <a:gd name="connsiteY2890" fmla="*/ 3301513 h 5392467"/>
              <a:gd name="connsiteX2891" fmla="*/ 5973548 w 6096001"/>
              <a:gd name="connsiteY2891" fmla="*/ 3309250 h 5392467"/>
              <a:gd name="connsiteX2892" fmla="*/ 5977417 w 6096001"/>
              <a:gd name="connsiteY2892" fmla="*/ 3320855 h 5392467"/>
              <a:gd name="connsiteX2893" fmla="*/ 5994822 w 6096001"/>
              <a:gd name="connsiteY2893" fmla="*/ 3316986 h 5392467"/>
              <a:gd name="connsiteX2894" fmla="*/ 6027704 w 6096001"/>
              <a:gd name="connsiteY2894" fmla="*/ 3322790 h 5392467"/>
              <a:gd name="connsiteX2895" fmla="*/ 6016099 w 6096001"/>
              <a:gd name="connsiteY2895" fmla="*/ 3322790 h 5392467"/>
              <a:gd name="connsiteX2896" fmla="*/ 6004494 w 6096001"/>
              <a:gd name="connsiteY2896" fmla="*/ 3324723 h 5392467"/>
              <a:gd name="connsiteX2897" fmla="*/ 5996758 w 6096001"/>
              <a:gd name="connsiteY2897" fmla="*/ 3326658 h 5392467"/>
              <a:gd name="connsiteX2898" fmla="*/ 5985153 w 6096001"/>
              <a:gd name="connsiteY2898" fmla="*/ 3340196 h 5392467"/>
              <a:gd name="connsiteX2899" fmla="*/ 5971613 w 6096001"/>
              <a:gd name="connsiteY2899" fmla="*/ 3330527 h 5392467"/>
              <a:gd name="connsiteX2900" fmla="*/ 5967745 w 6096001"/>
              <a:gd name="connsiteY2900" fmla="*/ 3338263 h 5392467"/>
              <a:gd name="connsiteX2901" fmla="*/ 5925194 w 6096001"/>
              <a:gd name="connsiteY2901" fmla="*/ 3342129 h 5392467"/>
              <a:gd name="connsiteX2902" fmla="*/ 5921328 w 6096001"/>
              <a:gd name="connsiteY2902" fmla="*/ 3344064 h 5392467"/>
              <a:gd name="connsiteX2903" fmla="*/ 5948403 w 6096001"/>
              <a:gd name="connsiteY2903" fmla="*/ 3349865 h 5392467"/>
              <a:gd name="connsiteX2904" fmla="*/ 5909723 w 6096001"/>
              <a:gd name="connsiteY2904" fmla="*/ 3351801 h 5392467"/>
              <a:gd name="connsiteX2905" fmla="*/ 5907788 w 6096001"/>
              <a:gd name="connsiteY2905" fmla="*/ 3373075 h 5392467"/>
              <a:gd name="connsiteX2906" fmla="*/ 5969680 w 6096001"/>
              <a:gd name="connsiteY2906" fmla="*/ 3376943 h 5392467"/>
              <a:gd name="connsiteX2907" fmla="*/ 5942602 w 6096001"/>
              <a:gd name="connsiteY2907" fmla="*/ 3477518 h 5392467"/>
              <a:gd name="connsiteX2908" fmla="*/ 5867172 w 6096001"/>
              <a:gd name="connsiteY2908" fmla="*/ 3504595 h 5392467"/>
              <a:gd name="connsiteX2909" fmla="*/ 5824622 w 6096001"/>
              <a:gd name="connsiteY2909" fmla="*/ 3541343 h 5392467"/>
              <a:gd name="connsiteX2910" fmla="*/ 5720181 w 6096001"/>
              <a:gd name="connsiteY2910" fmla="*/ 3568420 h 5392467"/>
              <a:gd name="connsiteX2911" fmla="*/ 5722114 w 6096001"/>
              <a:gd name="connsiteY2911" fmla="*/ 3568420 h 5392467"/>
              <a:gd name="connsiteX2912" fmla="*/ 5762732 w 6096001"/>
              <a:gd name="connsiteY2912" fmla="*/ 3568420 h 5392467"/>
              <a:gd name="connsiteX2913" fmla="*/ 5824622 w 6096001"/>
              <a:gd name="connsiteY2913" fmla="*/ 3564552 h 5392467"/>
              <a:gd name="connsiteX2914" fmla="*/ 5834293 w 6096001"/>
              <a:gd name="connsiteY2914" fmla="*/ 3562617 h 5392467"/>
              <a:gd name="connsiteX2915" fmla="*/ 5855568 w 6096001"/>
              <a:gd name="connsiteY2915" fmla="*/ 3576157 h 5392467"/>
              <a:gd name="connsiteX2916" fmla="*/ 5836226 w 6096001"/>
              <a:gd name="connsiteY2916" fmla="*/ 3583894 h 5392467"/>
              <a:gd name="connsiteX2917" fmla="*/ 5762732 w 6096001"/>
              <a:gd name="connsiteY2917" fmla="*/ 3589695 h 5392467"/>
              <a:gd name="connsiteX2918" fmla="*/ 5741455 w 6096001"/>
              <a:gd name="connsiteY2918" fmla="*/ 3589695 h 5392467"/>
              <a:gd name="connsiteX2919" fmla="*/ 5702773 w 6096001"/>
              <a:gd name="connsiteY2919" fmla="*/ 3593563 h 5392467"/>
              <a:gd name="connsiteX2920" fmla="*/ 5716313 w 6096001"/>
              <a:gd name="connsiteY2920" fmla="*/ 3597431 h 5392467"/>
              <a:gd name="connsiteX2921" fmla="*/ 5718246 w 6096001"/>
              <a:gd name="connsiteY2921" fmla="*/ 3597431 h 5392467"/>
              <a:gd name="connsiteX2922" fmla="*/ 5762732 w 6096001"/>
              <a:gd name="connsiteY2922" fmla="*/ 3589695 h 5392467"/>
              <a:gd name="connsiteX2923" fmla="*/ 5749192 w 6096001"/>
              <a:gd name="connsiteY2923" fmla="*/ 3599367 h 5392467"/>
              <a:gd name="connsiteX2924" fmla="*/ 5768533 w 6096001"/>
              <a:gd name="connsiteY2924" fmla="*/ 3605168 h 5392467"/>
              <a:gd name="connsiteX2925" fmla="*/ 5774334 w 6096001"/>
              <a:gd name="connsiteY2925" fmla="*/ 3607103 h 5392467"/>
              <a:gd name="connsiteX2926" fmla="*/ 5785941 w 6096001"/>
              <a:gd name="connsiteY2926" fmla="*/ 3610969 h 5392467"/>
              <a:gd name="connsiteX2927" fmla="*/ 5797544 w 6096001"/>
              <a:gd name="connsiteY2927" fmla="*/ 3620641 h 5392467"/>
              <a:gd name="connsiteX2928" fmla="*/ 5799479 w 6096001"/>
              <a:gd name="connsiteY2928" fmla="*/ 3639982 h 5392467"/>
              <a:gd name="connsiteX2929" fmla="*/ 5789807 w 6096001"/>
              <a:gd name="connsiteY2929" fmla="*/ 3641915 h 5392467"/>
              <a:gd name="connsiteX2930" fmla="*/ 5793676 w 6096001"/>
              <a:gd name="connsiteY2930" fmla="*/ 3630310 h 5392467"/>
              <a:gd name="connsiteX2931" fmla="*/ 5772401 w 6096001"/>
              <a:gd name="connsiteY2931" fmla="*/ 3616773 h 5392467"/>
              <a:gd name="connsiteX2932" fmla="*/ 5762732 w 6096001"/>
              <a:gd name="connsiteY2932" fmla="*/ 3612904 h 5392467"/>
              <a:gd name="connsiteX2933" fmla="*/ 5749192 w 6096001"/>
              <a:gd name="connsiteY2933" fmla="*/ 3607103 h 5392467"/>
              <a:gd name="connsiteX2934" fmla="*/ 5722114 w 6096001"/>
              <a:gd name="connsiteY2934" fmla="*/ 3605168 h 5392467"/>
              <a:gd name="connsiteX2935" fmla="*/ 5687300 w 6096001"/>
              <a:gd name="connsiteY2935" fmla="*/ 3616773 h 5392467"/>
              <a:gd name="connsiteX2936" fmla="*/ 5671829 w 6096001"/>
              <a:gd name="connsiteY2936" fmla="*/ 3610969 h 5392467"/>
              <a:gd name="connsiteX2937" fmla="*/ 5667959 w 6096001"/>
              <a:gd name="connsiteY2937" fmla="*/ 3614840 h 5392467"/>
              <a:gd name="connsiteX2938" fmla="*/ 5666026 w 6096001"/>
              <a:gd name="connsiteY2938" fmla="*/ 3624509 h 5392467"/>
              <a:gd name="connsiteX2939" fmla="*/ 5681499 w 6096001"/>
              <a:gd name="connsiteY2939" fmla="*/ 3628377 h 5392467"/>
              <a:gd name="connsiteX2940" fmla="*/ 5669894 w 6096001"/>
              <a:gd name="connsiteY2940" fmla="*/ 3632246 h 5392467"/>
              <a:gd name="connsiteX2941" fmla="*/ 5675697 w 6096001"/>
              <a:gd name="connsiteY2941" fmla="*/ 3636114 h 5392467"/>
              <a:gd name="connsiteX2942" fmla="*/ 5689235 w 6096001"/>
              <a:gd name="connsiteY2942" fmla="*/ 3653520 h 5392467"/>
              <a:gd name="connsiteX2943" fmla="*/ 5675697 w 6096001"/>
              <a:gd name="connsiteY2943" fmla="*/ 3659323 h 5392467"/>
              <a:gd name="connsiteX2944" fmla="*/ 5681499 w 6096001"/>
              <a:gd name="connsiteY2944" fmla="*/ 3665125 h 5392467"/>
              <a:gd name="connsiteX2945" fmla="*/ 5716313 w 6096001"/>
              <a:gd name="connsiteY2945" fmla="*/ 3657388 h 5392467"/>
              <a:gd name="connsiteX2946" fmla="*/ 5747259 w 6096001"/>
              <a:gd name="connsiteY2946" fmla="*/ 3653520 h 5392467"/>
              <a:gd name="connsiteX2947" fmla="*/ 5747259 w 6096001"/>
              <a:gd name="connsiteY2947" fmla="*/ 3663192 h 5392467"/>
              <a:gd name="connsiteX2948" fmla="*/ 5689235 w 6096001"/>
              <a:gd name="connsiteY2948" fmla="*/ 3670928 h 5392467"/>
              <a:gd name="connsiteX2949" fmla="*/ 5695036 w 6096001"/>
              <a:gd name="connsiteY2949" fmla="*/ 3676729 h 5392467"/>
              <a:gd name="connsiteX2950" fmla="*/ 5696972 w 6096001"/>
              <a:gd name="connsiteY2950" fmla="*/ 3678665 h 5392467"/>
              <a:gd name="connsiteX2951" fmla="*/ 5702773 w 6096001"/>
              <a:gd name="connsiteY2951" fmla="*/ 3678665 h 5392467"/>
              <a:gd name="connsiteX2952" fmla="*/ 5704708 w 6096001"/>
              <a:gd name="connsiteY2952" fmla="*/ 3684466 h 5392467"/>
              <a:gd name="connsiteX2953" fmla="*/ 5712445 w 6096001"/>
              <a:gd name="connsiteY2953" fmla="*/ 3684466 h 5392467"/>
              <a:gd name="connsiteX2954" fmla="*/ 5716313 w 6096001"/>
              <a:gd name="connsiteY2954" fmla="*/ 3692202 h 5392467"/>
              <a:gd name="connsiteX2955" fmla="*/ 5718246 w 6096001"/>
              <a:gd name="connsiteY2955" fmla="*/ 3692202 h 5392467"/>
              <a:gd name="connsiteX2956" fmla="*/ 5731784 w 6096001"/>
              <a:gd name="connsiteY2956" fmla="*/ 3686401 h 5392467"/>
              <a:gd name="connsiteX2957" fmla="*/ 5753060 w 6096001"/>
              <a:gd name="connsiteY2957" fmla="*/ 3686401 h 5392467"/>
              <a:gd name="connsiteX2958" fmla="*/ 5853635 w 6096001"/>
              <a:gd name="connsiteY2958" fmla="*/ 3668993 h 5392467"/>
              <a:gd name="connsiteX2959" fmla="*/ 5963876 w 6096001"/>
              <a:gd name="connsiteY2959" fmla="*/ 3670928 h 5392467"/>
              <a:gd name="connsiteX2960" fmla="*/ 5956142 w 6096001"/>
              <a:gd name="connsiteY2960" fmla="*/ 3678665 h 5392467"/>
              <a:gd name="connsiteX2961" fmla="*/ 5919393 w 6096001"/>
              <a:gd name="connsiteY2961" fmla="*/ 3686401 h 5392467"/>
              <a:gd name="connsiteX2962" fmla="*/ 5900051 w 6096001"/>
              <a:gd name="connsiteY2962" fmla="*/ 3682533 h 5392467"/>
              <a:gd name="connsiteX2963" fmla="*/ 5884578 w 6096001"/>
              <a:gd name="connsiteY2963" fmla="*/ 3686401 h 5392467"/>
              <a:gd name="connsiteX2964" fmla="*/ 5872976 w 6096001"/>
              <a:gd name="connsiteY2964" fmla="*/ 3684466 h 5392467"/>
              <a:gd name="connsiteX2965" fmla="*/ 5851699 w 6096001"/>
              <a:gd name="connsiteY2965" fmla="*/ 3684466 h 5392467"/>
              <a:gd name="connsiteX2966" fmla="*/ 5822689 w 6096001"/>
              <a:gd name="connsiteY2966" fmla="*/ 3686401 h 5392467"/>
              <a:gd name="connsiteX2967" fmla="*/ 5787874 w 6096001"/>
              <a:gd name="connsiteY2967" fmla="*/ 3696071 h 5392467"/>
              <a:gd name="connsiteX2968" fmla="*/ 5751125 w 6096001"/>
              <a:gd name="connsiteY2968" fmla="*/ 3699939 h 5392467"/>
              <a:gd name="connsiteX2969" fmla="*/ 5768533 w 6096001"/>
              <a:gd name="connsiteY2969" fmla="*/ 3703807 h 5392467"/>
              <a:gd name="connsiteX2970" fmla="*/ 5784006 w 6096001"/>
              <a:gd name="connsiteY2970" fmla="*/ 3705742 h 5392467"/>
              <a:gd name="connsiteX2971" fmla="*/ 5822689 w 6096001"/>
              <a:gd name="connsiteY2971" fmla="*/ 3713479 h 5392467"/>
              <a:gd name="connsiteX2972" fmla="*/ 5828490 w 6096001"/>
              <a:gd name="connsiteY2972" fmla="*/ 3715412 h 5392467"/>
              <a:gd name="connsiteX2973" fmla="*/ 5840095 w 6096001"/>
              <a:gd name="connsiteY2973" fmla="*/ 3719280 h 5392467"/>
              <a:gd name="connsiteX2974" fmla="*/ 5851699 w 6096001"/>
              <a:gd name="connsiteY2974" fmla="*/ 3728950 h 5392467"/>
              <a:gd name="connsiteX2975" fmla="*/ 5853635 w 6096001"/>
              <a:gd name="connsiteY2975" fmla="*/ 3748291 h 5392467"/>
              <a:gd name="connsiteX2976" fmla="*/ 5843963 w 6096001"/>
              <a:gd name="connsiteY2976" fmla="*/ 3750226 h 5392467"/>
              <a:gd name="connsiteX2977" fmla="*/ 5847831 w 6096001"/>
              <a:gd name="connsiteY2977" fmla="*/ 3738621 h 5392467"/>
              <a:gd name="connsiteX2978" fmla="*/ 5826557 w 6096001"/>
              <a:gd name="connsiteY2978" fmla="*/ 3725084 h 5392467"/>
              <a:gd name="connsiteX2979" fmla="*/ 5816885 w 6096001"/>
              <a:gd name="connsiteY2979" fmla="*/ 3721213 h 5392467"/>
              <a:gd name="connsiteX2980" fmla="*/ 5803347 w 6096001"/>
              <a:gd name="connsiteY2980" fmla="*/ 3715412 h 5392467"/>
              <a:gd name="connsiteX2981" fmla="*/ 5754993 w 6096001"/>
              <a:gd name="connsiteY2981" fmla="*/ 3713479 h 5392467"/>
              <a:gd name="connsiteX2982" fmla="*/ 5737587 w 6096001"/>
              <a:gd name="connsiteY2982" fmla="*/ 3711544 h 5392467"/>
              <a:gd name="connsiteX2983" fmla="*/ 5743391 w 6096001"/>
              <a:gd name="connsiteY2983" fmla="*/ 3709608 h 5392467"/>
              <a:gd name="connsiteX2984" fmla="*/ 5743391 w 6096001"/>
              <a:gd name="connsiteY2984" fmla="*/ 3707675 h 5392467"/>
              <a:gd name="connsiteX2985" fmla="*/ 5729851 w 6096001"/>
              <a:gd name="connsiteY2985" fmla="*/ 3707675 h 5392467"/>
              <a:gd name="connsiteX2986" fmla="*/ 5689235 w 6096001"/>
              <a:gd name="connsiteY2986" fmla="*/ 3717345 h 5392467"/>
              <a:gd name="connsiteX2987" fmla="*/ 5685367 w 6096001"/>
              <a:gd name="connsiteY2987" fmla="*/ 3723148 h 5392467"/>
              <a:gd name="connsiteX2988" fmla="*/ 5683432 w 6096001"/>
              <a:gd name="connsiteY2988" fmla="*/ 3730885 h 5392467"/>
              <a:gd name="connsiteX2989" fmla="*/ 5660224 w 6096001"/>
              <a:gd name="connsiteY2989" fmla="*/ 3725084 h 5392467"/>
              <a:gd name="connsiteX2990" fmla="*/ 5654421 w 6096001"/>
              <a:gd name="connsiteY2990" fmla="*/ 3728950 h 5392467"/>
              <a:gd name="connsiteX2991" fmla="*/ 5644749 w 6096001"/>
              <a:gd name="connsiteY2991" fmla="*/ 3736686 h 5392467"/>
              <a:gd name="connsiteX2992" fmla="*/ 5631211 w 6096001"/>
              <a:gd name="connsiteY2992" fmla="*/ 3738621 h 5392467"/>
              <a:gd name="connsiteX2993" fmla="*/ 5606069 w 6096001"/>
              <a:gd name="connsiteY2993" fmla="*/ 3742490 h 5392467"/>
              <a:gd name="connsiteX2994" fmla="*/ 5666026 w 6096001"/>
              <a:gd name="connsiteY2994" fmla="*/ 3736686 h 5392467"/>
              <a:gd name="connsiteX2995" fmla="*/ 5695036 w 6096001"/>
              <a:gd name="connsiteY2995" fmla="*/ 3736686 h 5392467"/>
              <a:gd name="connsiteX2996" fmla="*/ 5695036 w 6096001"/>
              <a:gd name="connsiteY2996" fmla="*/ 3740554 h 5392467"/>
              <a:gd name="connsiteX2997" fmla="*/ 5621542 w 6096001"/>
              <a:gd name="connsiteY2997" fmla="*/ 3769567 h 5392467"/>
              <a:gd name="connsiteX2998" fmla="*/ 5553849 w 6096001"/>
              <a:gd name="connsiteY2998" fmla="*/ 3781172 h 5392467"/>
              <a:gd name="connsiteX2999" fmla="*/ 5598332 w 6096001"/>
              <a:gd name="connsiteY2999" fmla="*/ 3779237 h 5392467"/>
              <a:gd name="connsiteX3000" fmla="*/ 5573190 w 6096001"/>
              <a:gd name="connsiteY3000" fmla="*/ 3792777 h 5392467"/>
              <a:gd name="connsiteX3001" fmla="*/ 5557714 w 6096001"/>
              <a:gd name="connsiteY3001" fmla="*/ 3806315 h 5392467"/>
              <a:gd name="connsiteX3002" fmla="*/ 5629278 w 6096001"/>
              <a:gd name="connsiteY3002" fmla="*/ 3806315 h 5392467"/>
              <a:gd name="connsiteX3003" fmla="*/ 5650553 w 6096001"/>
              <a:gd name="connsiteY3003" fmla="*/ 3804379 h 5392467"/>
              <a:gd name="connsiteX3004" fmla="*/ 5646684 w 6096001"/>
              <a:gd name="connsiteY3004" fmla="*/ 3812118 h 5392467"/>
              <a:gd name="connsiteX3005" fmla="*/ 5656356 w 6096001"/>
              <a:gd name="connsiteY3005" fmla="*/ 3814051 h 5392467"/>
              <a:gd name="connsiteX3006" fmla="*/ 5669894 w 6096001"/>
              <a:gd name="connsiteY3006" fmla="*/ 3819852 h 5392467"/>
              <a:gd name="connsiteX3007" fmla="*/ 5675697 w 6096001"/>
              <a:gd name="connsiteY3007" fmla="*/ 3808248 h 5392467"/>
              <a:gd name="connsiteX3008" fmla="*/ 5691168 w 6096001"/>
              <a:gd name="connsiteY3008" fmla="*/ 3804379 h 5392467"/>
              <a:gd name="connsiteX3009" fmla="*/ 5687300 w 6096001"/>
              <a:gd name="connsiteY3009" fmla="*/ 3804379 h 5392467"/>
              <a:gd name="connsiteX3010" fmla="*/ 5669894 w 6096001"/>
              <a:gd name="connsiteY3010" fmla="*/ 3802446 h 5392467"/>
              <a:gd name="connsiteX3011" fmla="*/ 5718246 w 6096001"/>
              <a:gd name="connsiteY3011" fmla="*/ 3796643 h 5392467"/>
              <a:gd name="connsiteX3012" fmla="*/ 5762732 w 6096001"/>
              <a:gd name="connsiteY3012" fmla="*/ 3786973 h 5392467"/>
              <a:gd name="connsiteX3013" fmla="*/ 5820753 w 6096001"/>
              <a:gd name="connsiteY3013" fmla="*/ 3781172 h 5392467"/>
              <a:gd name="connsiteX3014" fmla="*/ 5828490 w 6096001"/>
              <a:gd name="connsiteY3014" fmla="*/ 3783105 h 5392467"/>
              <a:gd name="connsiteX3015" fmla="*/ 5832358 w 6096001"/>
              <a:gd name="connsiteY3015" fmla="*/ 3796643 h 5392467"/>
              <a:gd name="connsiteX3016" fmla="*/ 5867172 w 6096001"/>
              <a:gd name="connsiteY3016" fmla="*/ 3796643 h 5392467"/>
              <a:gd name="connsiteX3017" fmla="*/ 5847831 w 6096001"/>
              <a:gd name="connsiteY3017" fmla="*/ 3804379 h 5392467"/>
              <a:gd name="connsiteX3018" fmla="*/ 5826557 w 6096001"/>
              <a:gd name="connsiteY3018" fmla="*/ 3808248 h 5392467"/>
              <a:gd name="connsiteX3019" fmla="*/ 5805280 w 6096001"/>
              <a:gd name="connsiteY3019" fmla="*/ 3814051 h 5392467"/>
              <a:gd name="connsiteX3020" fmla="*/ 5784006 w 6096001"/>
              <a:gd name="connsiteY3020" fmla="*/ 3817919 h 5392467"/>
              <a:gd name="connsiteX3021" fmla="*/ 5762732 w 6096001"/>
              <a:gd name="connsiteY3021" fmla="*/ 3823721 h 5392467"/>
              <a:gd name="connsiteX3022" fmla="*/ 5739522 w 6096001"/>
              <a:gd name="connsiteY3022" fmla="*/ 3823721 h 5392467"/>
              <a:gd name="connsiteX3023" fmla="*/ 5768533 w 6096001"/>
              <a:gd name="connsiteY3023" fmla="*/ 3831457 h 5392467"/>
              <a:gd name="connsiteX3024" fmla="*/ 5764665 w 6096001"/>
              <a:gd name="connsiteY3024" fmla="*/ 3833393 h 5392467"/>
              <a:gd name="connsiteX3025" fmla="*/ 5774334 w 6096001"/>
              <a:gd name="connsiteY3025" fmla="*/ 3833393 h 5392467"/>
              <a:gd name="connsiteX3026" fmla="*/ 5747259 w 6096001"/>
              <a:gd name="connsiteY3026" fmla="*/ 3839194 h 5392467"/>
              <a:gd name="connsiteX3027" fmla="*/ 5689235 w 6096001"/>
              <a:gd name="connsiteY3027" fmla="*/ 3848866 h 5392467"/>
              <a:gd name="connsiteX3028" fmla="*/ 5671829 w 6096001"/>
              <a:gd name="connsiteY3028" fmla="*/ 3852734 h 5392467"/>
              <a:gd name="connsiteX3029" fmla="*/ 5646684 w 6096001"/>
              <a:gd name="connsiteY3029" fmla="*/ 3854667 h 5392467"/>
              <a:gd name="connsiteX3030" fmla="*/ 5642816 w 6096001"/>
              <a:gd name="connsiteY3030" fmla="*/ 3860470 h 5392467"/>
              <a:gd name="connsiteX3031" fmla="*/ 5644749 w 6096001"/>
              <a:gd name="connsiteY3031" fmla="*/ 3862403 h 5392467"/>
              <a:gd name="connsiteX3032" fmla="*/ 5679566 w 6096001"/>
              <a:gd name="connsiteY3032" fmla="*/ 3856602 h 5392467"/>
              <a:gd name="connsiteX3033" fmla="*/ 5660224 w 6096001"/>
              <a:gd name="connsiteY3033" fmla="*/ 3866272 h 5392467"/>
              <a:gd name="connsiteX3034" fmla="*/ 5650553 w 6096001"/>
              <a:gd name="connsiteY3034" fmla="*/ 3868207 h 5392467"/>
              <a:gd name="connsiteX3035" fmla="*/ 5654421 w 6096001"/>
              <a:gd name="connsiteY3035" fmla="*/ 3870140 h 5392467"/>
              <a:gd name="connsiteX3036" fmla="*/ 5666026 w 6096001"/>
              <a:gd name="connsiteY3036" fmla="*/ 3874008 h 5392467"/>
              <a:gd name="connsiteX3037" fmla="*/ 5679566 w 6096001"/>
              <a:gd name="connsiteY3037" fmla="*/ 3872075 h 5392467"/>
              <a:gd name="connsiteX3038" fmla="*/ 5785941 w 6096001"/>
              <a:gd name="connsiteY3038" fmla="*/ 3854667 h 5392467"/>
              <a:gd name="connsiteX3039" fmla="*/ 5811084 w 6096001"/>
              <a:gd name="connsiteY3039" fmla="*/ 3852734 h 5392467"/>
              <a:gd name="connsiteX3040" fmla="*/ 5820753 w 6096001"/>
              <a:gd name="connsiteY3040" fmla="*/ 3856602 h 5392467"/>
              <a:gd name="connsiteX3041" fmla="*/ 5811084 w 6096001"/>
              <a:gd name="connsiteY3041" fmla="*/ 3858535 h 5392467"/>
              <a:gd name="connsiteX3042" fmla="*/ 5869108 w 6096001"/>
              <a:gd name="connsiteY3042" fmla="*/ 3850798 h 5392467"/>
              <a:gd name="connsiteX3043" fmla="*/ 5913591 w 6096001"/>
              <a:gd name="connsiteY3043" fmla="*/ 3846930 h 5392467"/>
              <a:gd name="connsiteX3044" fmla="*/ 5907788 w 6096001"/>
              <a:gd name="connsiteY3044" fmla="*/ 3854667 h 5392467"/>
              <a:gd name="connsiteX3045" fmla="*/ 5836226 w 6096001"/>
              <a:gd name="connsiteY3045" fmla="*/ 3866272 h 5392467"/>
              <a:gd name="connsiteX3046" fmla="*/ 5778203 w 6096001"/>
              <a:gd name="connsiteY3046" fmla="*/ 3872075 h 5392467"/>
              <a:gd name="connsiteX3047" fmla="*/ 5722114 w 6096001"/>
              <a:gd name="connsiteY3047" fmla="*/ 3881745 h 5392467"/>
              <a:gd name="connsiteX3048" fmla="*/ 5679566 w 6096001"/>
              <a:gd name="connsiteY3048" fmla="*/ 3883677 h 5392467"/>
              <a:gd name="connsiteX3049" fmla="*/ 5669894 w 6096001"/>
              <a:gd name="connsiteY3049" fmla="*/ 3887548 h 5392467"/>
              <a:gd name="connsiteX3050" fmla="*/ 5646684 w 6096001"/>
              <a:gd name="connsiteY3050" fmla="*/ 3895282 h 5392467"/>
              <a:gd name="connsiteX3051" fmla="*/ 5708576 w 6096001"/>
              <a:gd name="connsiteY3051" fmla="*/ 3889481 h 5392467"/>
              <a:gd name="connsiteX3052" fmla="*/ 5727918 w 6096001"/>
              <a:gd name="connsiteY3052" fmla="*/ 3883677 h 5392467"/>
              <a:gd name="connsiteX3053" fmla="*/ 5756928 w 6096001"/>
              <a:gd name="connsiteY3053" fmla="*/ 3881745 h 5392467"/>
              <a:gd name="connsiteX3054" fmla="*/ 5803347 w 6096001"/>
              <a:gd name="connsiteY3054" fmla="*/ 3874008 h 5392467"/>
              <a:gd name="connsiteX3055" fmla="*/ 5826557 w 6096001"/>
              <a:gd name="connsiteY3055" fmla="*/ 3872075 h 5392467"/>
              <a:gd name="connsiteX3056" fmla="*/ 5820753 w 6096001"/>
              <a:gd name="connsiteY3056" fmla="*/ 3875943 h 5392467"/>
              <a:gd name="connsiteX3057" fmla="*/ 5776270 w 6096001"/>
              <a:gd name="connsiteY3057" fmla="*/ 3885613 h 5392467"/>
              <a:gd name="connsiteX3058" fmla="*/ 5725982 w 6096001"/>
              <a:gd name="connsiteY3058" fmla="*/ 3895282 h 5392467"/>
              <a:gd name="connsiteX3059" fmla="*/ 5698907 w 6096001"/>
              <a:gd name="connsiteY3059" fmla="*/ 3899153 h 5392467"/>
              <a:gd name="connsiteX3060" fmla="*/ 5700840 w 6096001"/>
              <a:gd name="connsiteY3060" fmla="*/ 3895282 h 5392467"/>
              <a:gd name="connsiteX3061" fmla="*/ 5654421 w 6096001"/>
              <a:gd name="connsiteY3061" fmla="*/ 3904954 h 5392467"/>
              <a:gd name="connsiteX3062" fmla="*/ 5656356 w 6096001"/>
              <a:gd name="connsiteY3062" fmla="*/ 3904954 h 5392467"/>
              <a:gd name="connsiteX3063" fmla="*/ 5693103 w 6096001"/>
              <a:gd name="connsiteY3063" fmla="*/ 3910755 h 5392467"/>
              <a:gd name="connsiteX3064" fmla="*/ 5704708 w 6096001"/>
              <a:gd name="connsiteY3064" fmla="*/ 3910755 h 5392467"/>
              <a:gd name="connsiteX3065" fmla="*/ 5704708 w 6096001"/>
              <a:gd name="connsiteY3065" fmla="*/ 3914624 h 5392467"/>
              <a:gd name="connsiteX3066" fmla="*/ 5706641 w 6096001"/>
              <a:gd name="connsiteY3066" fmla="*/ 3920427 h 5392467"/>
              <a:gd name="connsiteX3067" fmla="*/ 5695036 w 6096001"/>
              <a:gd name="connsiteY3067" fmla="*/ 3928164 h 5392467"/>
              <a:gd name="connsiteX3068" fmla="*/ 5727918 w 6096001"/>
              <a:gd name="connsiteY3068" fmla="*/ 3922360 h 5392467"/>
              <a:gd name="connsiteX3069" fmla="*/ 5725982 w 6096001"/>
              <a:gd name="connsiteY3069" fmla="*/ 3920427 h 5392467"/>
              <a:gd name="connsiteX3070" fmla="*/ 5778203 w 6096001"/>
              <a:gd name="connsiteY3070" fmla="*/ 3906887 h 5392467"/>
              <a:gd name="connsiteX3071" fmla="*/ 5774334 w 6096001"/>
              <a:gd name="connsiteY3071" fmla="*/ 3910755 h 5392467"/>
              <a:gd name="connsiteX3072" fmla="*/ 5764665 w 6096001"/>
              <a:gd name="connsiteY3072" fmla="*/ 3912691 h 5392467"/>
              <a:gd name="connsiteX3073" fmla="*/ 5756928 w 6096001"/>
              <a:gd name="connsiteY3073" fmla="*/ 3914624 h 5392467"/>
              <a:gd name="connsiteX3074" fmla="*/ 5745324 w 6096001"/>
              <a:gd name="connsiteY3074" fmla="*/ 3918492 h 5392467"/>
              <a:gd name="connsiteX3075" fmla="*/ 5743391 w 6096001"/>
              <a:gd name="connsiteY3075" fmla="*/ 3918492 h 5392467"/>
              <a:gd name="connsiteX3076" fmla="*/ 5720181 w 6096001"/>
              <a:gd name="connsiteY3076" fmla="*/ 3932032 h 5392467"/>
              <a:gd name="connsiteX3077" fmla="*/ 5687300 w 6096001"/>
              <a:gd name="connsiteY3077" fmla="*/ 3941701 h 5392467"/>
              <a:gd name="connsiteX3078" fmla="*/ 5712445 w 6096001"/>
              <a:gd name="connsiteY3078" fmla="*/ 3943637 h 5392467"/>
              <a:gd name="connsiteX3079" fmla="*/ 5706641 w 6096001"/>
              <a:gd name="connsiteY3079" fmla="*/ 3947505 h 5392467"/>
              <a:gd name="connsiteX3080" fmla="*/ 5693103 w 6096001"/>
              <a:gd name="connsiteY3080" fmla="*/ 3949438 h 5392467"/>
              <a:gd name="connsiteX3081" fmla="*/ 5687300 w 6096001"/>
              <a:gd name="connsiteY3081" fmla="*/ 3961043 h 5392467"/>
              <a:gd name="connsiteX3082" fmla="*/ 5698907 w 6096001"/>
              <a:gd name="connsiteY3082" fmla="*/ 3968779 h 5392467"/>
              <a:gd name="connsiteX3083" fmla="*/ 5712445 w 6096001"/>
              <a:gd name="connsiteY3083" fmla="*/ 3974583 h 5392467"/>
              <a:gd name="connsiteX3084" fmla="*/ 5702773 w 6096001"/>
              <a:gd name="connsiteY3084" fmla="*/ 3984252 h 5392467"/>
              <a:gd name="connsiteX3085" fmla="*/ 5693103 w 6096001"/>
              <a:gd name="connsiteY3085" fmla="*/ 3988120 h 5392467"/>
              <a:gd name="connsiteX3086" fmla="*/ 5671829 w 6096001"/>
              <a:gd name="connsiteY3086" fmla="*/ 3982319 h 5392467"/>
              <a:gd name="connsiteX3087" fmla="*/ 5635080 w 6096001"/>
              <a:gd name="connsiteY3087" fmla="*/ 3978449 h 5392467"/>
              <a:gd name="connsiteX3088" fmla="*/ 5623475 w 6096001"/>
              <a:gd name="connsiteY3088" fmla="*/ 3978449 h 5392467"/>
              <a:gd name="connsiteX3089" fmla="*/ 5617674 w 6096001"/>
              <a:gd name="connsiteY3089" fmla="*/ 3980384 h 5392467"/>
              <a:gd name="connsiteX3090" fmla="*/ 5598332 w 6096001"/>
              <a:gd name="connsiteY3090" fmla="*/ 3986187 h 5392467"/>
              <a:gd name="connsiteX3091" fmla="*/ 5580924 w 6096001"/>
              <a:gd name="connsiteY3091" fmla="*/ 3986187 h 5392467"/>
              <a:gd name="connsiteX3092" fmla="*/ 5578991 w 6096001"/>
              <a:gd name="connsiteY3092" fmla="*/ 3986187 h 5392467"/>
              <a:gd name="connsiteX3093" fmla="*/ 5563518 w 6096001"/>
              <a:gd name="connsiteY3093" fmla="*/ 3990053 h 5392467"/>
              <a:gd name="connsiteX3094" fmla="*/ 5519034 w 6096001"/>
              <a:gd name="connsiteY3094" fmla="*/ 4001658 h 5392467"/>
              <a:gd name="connsiteX3095" fmla="*/ 5515166 w 6096001"/>
              <a:gd name="connsiteY3095" fmla="*/ 4003593 h 5392467"/>
              <a:gd name="connsiteX3096" fmla="*/ 5526771 w 6096001"/>
              <a:gd name="connsiteY3096" fmla="*/ 4001658 h 5392467"/>
              <a:gd name="connsiteX3097" fmla="*/ 5538376 w 6096001"/>
              <a:gd name="connsiteY3097" fmla="*/ 4009395 h 5392467"/>
              <a:gd name="connsiteX3098" fmla="*/ 5540308 w 6096001"/>
              <a:gd name="connsiteY3098" fmla="*/ 4009395 h 5392467"/>
              <a:gd name="connsiteX3099" fmla="*/ 5577056 w 6096001"/>
              <a:gd name="connsiteY3099" fmla="*/ 4007462 h 5392467"/>
              <a:gd name="connsiteX3100" fmla="*/ 5586728 w 6096001"/>
              <a:gd name="connsiteY3100" fmla="*/ 4005526 h 5392467"/>
              <a:gd name="connsiteX3101" fmla="*/ 5606069 w 6096001"/>
              <a:gd name="connsiteY3101" fmla="*/ 4007462 h 5392467"/>
              <a:gd name="connsiteX3102" fmla="*/ 5627343 w 6096001"/>
              <a:gd name="connsiteY3102" fmla="*/ 4001658 h 5392467"/>
              <a:gd name="connsiteX3103" fmla="*/ 5700840 w 6096001"/>
              <a:gd name="connsiteY3103" fmla="*/ 3988120 h 5392467"/>
              <a:gd name="connsiteX3104" fmla="*/ 5712445 w 6096001"/>
              <a:gd name="connsiteY3104" fmla="*/ 3986187 h 5392467"/>
              <a:gd name="connsiteX3105" fmla="*/ 5696972 w 6096001"/>
              <a:gd name="connsiteY3105" fmla="*/ 3997790 h 5392467"/>
              <a:gd name="connsiteX3106" fmla="*/ 5693103 w 6096001"/>
              <a:gd name="connsiteY3106" fmla="*/ 3999725 h 5392467"/>
              <a:gd name="connsiteX3107" fmla="*/ 5710509 w 6096001"/>
              <a:gd name="connsiteY3107" fmla="*/ 4001658 h 5392467"/>
              <a:gd name="connsiteX3108" fmla="*/ 5753060 w 6096001"/>
              <a:gd name="connsiteY3108" fmla="*/ 4007462 h 5392467"/>
              <a:gd name="connsiteX3109" fmla="*/ 5758864 w 6096001"/>
              <a:gd name="connsiteY3109" fmla="*/ 4011330 h 5392467"/>
              <a:gd name="connsiteX3110" fmla="*/ 5760797 w 6096001"/>
              <a:gd name="connsiteY3110" fmla="*/ 4017131 h 5392467"/>
              <a:gd name="connsiteX3111" fmla="*/ 5743391 w 6096001"/>
              <a:gd name="connsiteY3111" fmla="*/ 4028736 h 5392467"/>
              <a:gd name="connsiteX3112" fmla="*/ 5698907 w 6096001"/>
              <a:gd name="connsiteY3112" fmla="*/ 4028736 h 5392467"/>
              <a:gd name="connsiteX3113" fmla="*/ 5716313 w 6096001"/>
              <a:gd name="connsiteY3113" fmla="*/ 4030671 h 5392467"/>
              <a:gd name="connsiteX3114" fmla="*/ 5733719 w 6096001"/>
              <a:gd name="connsiteY3114" fmla="*/ 4034539 h 5392467"/>
              <a:gd name="connsiteX3115" fmla="*/ 5727918 w 6096001"/>
              <a:gd name="connsiteY3115" fmla="*/ 4038408 h 5392467"/>
              <a:gd name="connsiteX3116" fmla="*/ 5679566 w 6096001"/>
              <a:gd name="connsiteY3116" fmla="*/ 4040341 h 5392467"/>
              <a:gd name="connsiteX3117" fmla="*/ 5658289 w 6096001"/>
              <a:gd name="connsiteY3117" fmla="*/ 4036472 h 5392467"/>
              <a:gd name="connsiteX3118" fmla="*/ 5635080 w 6096001"/>
              <a:gd name="connsiteY3118" fmla="*/ 4038408 h 5392467"/>
              <a:gd name="connsiteX3119" fmla="*/ 5604133 w 6096001"/>
              <a:gd name="connsiteY3119" fmla="*/ 4044209 h 5392467"/>
              <a:gd name="connsiteX3120" fmla="*/ 5515166 w 6096001"/>
              <a:gd name="connsiteY3120" fmla="*/ 4048077 h 5392467"/>
              <a:gd name="connsiteX3121" fmla="*/ 5484220 w 6096001"/>
              <a:gd name="connsiteY3121" fmla="*/ 4059682 h 5392467"/>
              <a:gd name="connsiteX3122" fmla="*/ 5462946 w 6096001"/>
              <a:gd name="connsiteY3122" fmla="*/ 4065483 h 5392467"/>
              <a:gd name="connsiteX3123" fmla="*/ 5437803 w 6096001"/>
              <a:gd name="connsiteY3123" fmla="*/ 4071287 h 5392467"/>
              <a:gd name="connsiteX3124" fmla="*/ 5412658 w 6096001"/>
              <a:gd name="connsiteY3124" fmla="*/ 4077088 h 5392467"/>
              <a:gd name="connsiteX3125" fmla="*/ 5389449 w 6096001"/>
              <a:gd name="connsiteY3125" fmla="*/ 4084824 h 5392467"/>
              <a:gd name="connsiteX3126" fmla="*/ 5368175 w 6096001"/>
              <a:gd name="connsiteY3126" fmla="*/ 4090628 h 5392467"/>
              <a:gd name="connsiteX3127" fmla="*/ 5323689 w 6096001"/>
              <a:gd name="connsiteY3127" fmla="*/ 4102233 h 5392467"/>
              <a:gd name="connsiteX3128" fmla="*/ 5302414 w 6096001"/>
              <a:gd name="connsiteY3128" fmla="*/ 4104166 h 5392467"/>
              <a:gd name="connsiteX3129" fmla="*/ 5298546 w 6096001"/>
              <a:gd name="connsiteY3129" fmla="*/ 4102233 h 5392467"/>
              <a:gd name="connsiteX3130" fmla="*/ 5292745 w 6096001"/>
              <a:gd name="connsiteY3130" fmla="*/ 4104166 h 5392467"/>
              <a:gd name="connsiteX3131" fmla="*/ 5259864 w 6096001"/>
              <a:gd name="connsiteY3131" fmla="*/ 4119639 h 5392467"/>
              <a:gd name="connsiteX3132" fmla="*/ 5250194 w 6096001"/>
              <a:gd name="connsiteY3132" fmla="*/ 4117706 h 5392467"/>
              <a:gd name="connsiteX3133" fmla="*/ 5253096 w 6096001"/>
              <a:gd name="connsiteY3133" fmla="*/ 4114805 h 5392467"/>
              <a:gd name="connsiteX3134" fmla="*/ 5255995 w 6096001"/>
              <a:gd name="connsiteY3134" fmla="*/ 4113838 h 5392467"/>
              <a:gd name="connsiteX3135" fmla="*/ 5254062 w 6096001"/>
              <a:gd name="connsiteY3135" fmla="*/ 4113838 h 5392467"/>
              <a:gd name="connsiteX3136" fmla="*/ 5253096 w 6096001"/>
              <a:gd name="connsiteY3136" fmla="*/ 4114805 h 5392467"/>
              <a:gd name="connsiteX3137" fmla="*/ 5246050 w 6096001"/>
              <a:gd name="connsiteY3137" fmla="*/ 4117154 h 5392467"/>
              <a:gd name="connsiteX3138" fmla="*/ 5244393 w 6096001"/>
              <a:gd name="connsiteY3138" fmla="*/ 4113838 h 5392467"/>
              <a:gd name="connsiteX3139" fmla="*/ 5242458 w 6096001"/>
              <a:gd name="connsiteY3139" fmla="*/ 4113838 h 5392467"/>
              <a:gd name="connsiteX3140" fmla="*/ 5242458 w 6096001"/>
              <a:gd name="connsiteY3140" fmla="*/ 4118672 h 5392467"/>
              <a:gd name="connsiteX3141" fmla="*/ 5240522 w 6096001"/>
              <a:gd name="connsiteY3141" fmla="*/ 4119639 h 5392467"/>
              <a:gd name="connsiteX3142" fmla="*/ 5242458 w 6096001"/>
              <a:gd name="connsiteY3142" fmla="*/ 4119639 h 5392467"/>
              <a:gd name="connsiteX3143" fmla="*/ 5246326 w 6096001"/>
              <a:gd name="connsiteY3143" fmla="*/ 4123507 h 5392467"/>
              <a:gd name="connsiteX3144" fmla="*/ 5238589 w 6096001"/>
              <a:gd name="connsiteY3144" fmla="*/ 4129311 h 5392467"/>
              <a:gd name="connsiteX3145" fmla="*/ 5223116 w 6096001"/>
              <a:gd name="connsiteY3145" fmla="*/ 4133179 h 5392467"/>
              <a:gd name="connsiteX3146" fmla="*/ 5219248 w 6096001"/>
              <a:gd name="connsiteY3146" fmla="*/ 4135112 h 5392467"/>
              <a:gd name="connsiteX3147" fmla="*/ 5197974 w 6096001"/>
              <a:gd name="connsiteY3147" fmla="*/ 4138980 h 5392467"/>
              <a:gd name="connsiteX3148" fmla="*/ 5180566 w 6096001"/>
              <a:gd name="connsiteY3148" fmla="*/ 4148652 h 5392467"/>
              <a:gd name="connsiteX3149" fmla="*/ 5174764 w 6096001"/>
              <a:gd name="connsiteY3149" fmla="*/ 4156388 h 5392467"/>
              <a:gd name="connsiteX3150" fmla="*/ 5101268 w 6096001"/>
              <a:gd name="connsiteY3150" fmla="*/ 4189267 h 5392467"/>
              <a:gd name="connsiteX3151" fmla="*/ 5095466 w 6096001"/>
              <a:gd name="connsiteY3151" fmla="*/ 4191200 h 5392467"/>
              <a:gd name="connsiteX3152" fmla="*/ 5049047 w 6096001"/>
              <a:gd name="connsiteY3152" fmla="*/ 4214410 h 5392467"/>
              <a:gd name="connsiteX3153" fmla="*/ 5035507 w 6096001"/>
              <a:gd name="connsiteY3153" fmla="*/ 4224082 h 5392467"/>
              <a:gd name="connsiteX3154" fmla="*/ 5014233 w 6096001"/>
              <a:gd name="connsiteY3154" fmla="*/ 4241488 h 5392467"/>
              <a:gd name="connsiteX3155" fmla="*/ 5058717 w 6096001"/>
              <a:gd name="connsiteY3155" fmla="*/ 4229883 h 5392467"/>
              <a:gd name="connsiteX3156" fmla="*/ 5085794 w 6096001"/>
              <a:gd name="connsiteY3156" fmla="*/ 4220214 h 5392467"/>
              <a:gd name="connsiteX3157" fmla="*/ 5093531 w 6096001"/>
              <a:gd name="connsiteY3157" fmla="*/ 4218278 h 5392467"/>
              <a:gd name="connsiteX3158" fmla="*/ 5161224 w 6096001"/>
              <a:gd name="connsiteY3158" fmla="*/ 4197004 h 5392467"/>
              <a:gd name="connsiteX3159" fmla="*/ 5180566 w 6096001"/>
              <a:gd name="connsiteY3159" fmla="*/ 4195069 h 5392467"/>
              <a:gd name="connsiteX3160" fmla="*/ 5211512 w 6096001"/>
              <a:gd name="connsiteY3160" fmla="*/ 4181531 h 5392467"/>
              <a:gd name="connsiteX3161" fmla="*/ 5267600 w 6096001"/>
              <a:gd name="connsiteY3161" fmla="*/ 4162190 h 5392467"/>
              <a:gd name="connsiteX3162" fmla="*/ 5300479 w 6096001"/>
              <a:gd name="connsiteY3162" fmla="*/ 4154453 h 5392467"/>
              <a:gd name="connsiteX3163" fmla="*/ 5288877 w 6096001"/>
              <a:gd name="connsiteY3163" fmla="*/ 4166058 h 5392467"/>
              <a:gd name="connsiteX3164" fmla="*/ 5304350 w 6096001"/>
              <a:gd name="connsiteY3164" fmla="*/ 4166058 h 5392467"/>
              <a:gd name="connsiteX3165" fmla="*/ 5302414 w 6096001"/>
              <a:gd name="connsiteY3165" fmla="*/ 4177663 h 5392467"/>
              <a:gd name="connsiteX3166" fmla="*/ 5292745 w 6096001"/>
              <a:gd name="connsiteY3166" fmla="*/ 4173794 h 5392467"/>
              <a:gd name="connsiteX3167" fmla="*/ 5288877 w 6096001"/>
              <a:gd name="connsiteY3167" fmla="*/ 4175727 h 5392467"/>
              <a:gd name="connsiteX3168" fmla="*/ 5261799 w 6096001"/>
              <a:gd name="connsiteY3168" fmla="*/ 4197004 h 5392467"/>
              <a:gd name="connsiteX3169" fmla="*/ 5192170 w 6096001"/>
              <a:gd name="connsiteY3169" fmla="*/ 4218278 h 5392467"/>
              <a:gd name="connsiteX3170" fmla="*/ 5182501 w 6096001"/>
              <a:gd name="connsiteY3170" fmla="*/ 4214410 h 5392467"/>
              <a:gd name="connsiteX3171" fmla="*/ 5149620 w 6096001"/>
              <a:gd name="connsiteY3171" fmla="*/ 4222146 h 5392467"/>
              <a:gd name="connsiteX3172" fmla="*/ 5132214 w 6096001"/>
              <a:gd name="connsiteY3172" fmla="*/ 4231818 h 5392467"/>
              <a:gd name="connsiteX3173" fmla="*/ 5112872 w 6096001"/>
              <a:gd name="connsiteY3173" fmla="*/ 4243423 h 5392467"/>
              <a:gd name="connsiteX3174" fmla="*/ 5130281 w 6096001"/>
              <a:gd name="connsiteY3174" fmla="*/ 4239552 h 5392467"/>
              <a:gd name="connsiteX3175" fmla="*/ 5109004 w 6096001"/>
              <a:gd name="connsiteY3175" fmla="*/ 4251157 h 5392467"/>
              <a:gd name="connsiteX3176" fmla="*/ 5101268 w 6096001"/>
              <a:gd name="connsiteY3176" fmla="*/ 4249224 h 5392467"/>
              <a:gd name="connsiteX3177" fmla="*/ 5085794 w 6096001"/>
              <a:gd name="connsiteY3177" fmla="*/ 4255028 h 5392467"/>
              <a:gd name="connsiteX3178" fmla="*/ 5085794 w 6096001"/>
              <a:gd name="connsiteY3178" fmla="*/ 4256961 h 5392467"/>
              <a:gd name="connsiteX3179" fmla="*/ 5066453 w 6096001"/>
              <a:gd name="connsiteY3179" fmla="*/ 4262762 h 5392467"/>
              <a:gd name="connsiteX3180" fmla="*/ 5068389 w 6096001"/>
              <a:gd name="connsiteY3180" fmla="*/ 4260829 h 5392467"/>
              <a:gd name="connsiteX3181" fmla="*/ 5025838 w 6096001"/>
              <a:gd name="connsiteY3181" fmla="*/ 4276302 h 5392467"/>
              <a:gd name="connsiteX3182" fmla="*/ 4944607 w 6096001"/>
              <a:gd name="connsiteY3182" fmla="*/ 4307248 h 5392467"/>
              <a:gd name="connsiteX3183" fmla="*/ 4828559 w 6096001"/>
              <a:gd name="connsiteY3183" fmla="*/ 4351732 h 5392467"/>
              <a:gd name="connsiteX3184" fmla="*/ 4805350 w 6096001"/>
              <a:gd name="connsiteY3184" fmla="*/ 4365270 h 5392467"/>
              <a:gd name="connsiteX3185" fmla="*/ 4795680 w 6096001"/>
              <a:gd name="connsiteY3185" fmla="*/ 4371073 h 5392467"/>
              <a:gd name="connsiteX3186" fmla="*/ 4772471 w 6096001"/>
              <a:gd name="connsiteY3186" fmla="*/ 4384611 h 5392467"/>
              <a:gd name="connsiteX3187" fmla="*/ 4753129 w 6096001"/>
              <a:gd name="connsiteY3187" fmla="*/ 4394283 h 5392467"/>
              <a:gd name="connsiteX3188" fmla="*/ 4648686 w 6096001"/>
              <a:gd name="connsiteY3188" fmla="*/ 4438766 h 5392467"/>
              <a:gd name="connsiteX3189" fmla="*/ 4617743 w 6096001"/>
              <a:gd name="connsiteY3189" fmla="*/ 4454239 h 5392467"/>
              <a:gd name="connsiteX3190" fmla="*/ 4557786 w 6096001"/>
              <a:gd name="connsiteY3190" fmla="*/ 4483250 h 5392467"/>
              <a:gd name="connsiteX3191" fmla="*/ 4548114 w 6096001"/>
              <a:gd name="connsiteY3191" fmla="*/ 4490987 h 5392467"/>
              <a:gd name="connsiteX3192" fmla="*/ 4553918 w 6096001"/>
              <a:gd name="connsiteY3192" fmla="*/ 4494855 h 5392467"/>
              <a:gd name="connsiteX3193" fmla="*/ 4540378 w 6096001"/>
              <a:gd name="connsiteY3193" fmla="*/ 4498723 h 5392467"/>
              <a:gd name="connsiteX3194" fmla="*/ 4517168 w 6096001"/>
              <a:gd name="connsiteY3194" fmla="*/ 4506460 h 5392467"/>
              <a:gd name="connsiteX3195" fmla="*/ 4486225 w 6096001"/>
              <a:gd name="connsiteY3195" fmla="*/ 4529669 h 5392467"/>
              <a:gd name="connsiteX3196" fmla="*/ 4435937 w 6096001"/>
              <a:gd name="connsiteY3196" fmla="*/ 4556747 h 5392467"/>
              <a:gd name="connsiteX3197" fmla="*/ 4381782 w 6096001"/>
              <a:gd name="connsiteY3197" fmla="*/ 4587693 h 5392467"/>
              <a:gd name="connsiteX3198" fmla="*/ 4374045 w 6096001"/>
              <a:gd name="connsiteY3198" fmla="*/ 4593494 h 5392467"/>
              <a:gd name="connsiteX3199" fmla="*/ 4346967 w 6096001"/>
              <a:gd name="connsiteY3199" fmla="*/ 4610903 h 5392467"/>
              <a:gd name="connsiteX3200" fmla="*/ 4234790 w 6096001"/>
              <a:gd name="connsiteY3200" fmla="*/ 4763695 h 5392467"/>
              <a:gd name="connsiteX3201" fmla="*/ 4203844 w 6096001"/>
              <a:gd name="connsiteY3201" fmla="*/ 4777233 h 5392467"/>
              <a:gd name="connsiteX3202" fmla="*/ 4196108 w 6096001"/>
              <a:gd name="connsiteY3202" fmla="*/ 4779168 h 5392467"/>
              <a:gd name="connsiteX3203" fmla="*/ 4182570 w 6096001"/>
              <a:gd name="connsiteY3203" fmla="*/ 4779168 h 5392467"/>
              <a:gd name="connsiteX3204" fmla="*/ 4178702 w 6096001"/>
              <a:gd name="connsiteY3204" fmla="*/ 4781101 h 5392467"/>
              <a:gd name="connsiteX3205" fmla="*/ 4176767 w 6096001"/>
              <a:gd name="connsiteY3205" fmla="*/ 4783037 h 5392467"/>
              <a:gd name="connsiteX3206" fmla="*/ 4099404 w 6096001"/>
              <a:gd name="connsiteY3206" fmla="*/ 4827520 h 5392467"/>
              <a:gd name="connsiteX3207" fmla="*/ 4052985 w 6096001"/>
              <a:gd name="connsiteY3207" fmla="*/ 4852665 h 5392467"/>
              <a:gd name="connsiteX3208" fmla="*/ 4002697 w 6096001"/>
              <a:gd name="connsiteY3208" fmla="*/ 4887477 h 5392467"/>
              <a:gd name="connsiteX3209" fmla="*/ 3964015 w 6096001"/>
              <a:gd name="connsiteY3209" fmla="*/ 4918426 h 5392467"/>
              <a:gd name="connsiteX3210" fmla="*/ 3904058 w 6096001"/>
              <a:gd name="connsiteY3210" fmla="*/ 4964842 h 5392467"/>
              <a:gd name="connsiteX3211" fmla="*/ 3844101 w 6096001"/>
              <a:gd name="connsiteY3211" fmla="*/ 5005460 h 5392467"/>
              <a:gd name="connsiteX3212" fmla="*/ 3809287 w 6096001"/>
              <a:gd name="connsiteY3212" fmla="*/ 5026734 h 5392467"/>
              <a:gd name="connsiteX3213" fmla="*/ 3733857 w 6096001"/>
              <a:gd name="connsiteY3213" fmla="*/ 5063482 h 5392467"/>
              <a:gd name="connsiteX3214" fmla="*/ 3724188 w 6096001"/>
              <a:gd name="connsiteY3214" fmla="*/ 5065417 h 5392467"/>
              <a:gd name="connsiteX3215" fmla="*/ 3670032 w 6096001"/>
              <a:gd name="connsiteY3215" fmla="*/ 5082823 h 5392467"/>
              <a:gd name="connsiteX3216" fmla="*/ 3615877 w 6096001"/>
              <a:gd name="connsiteY3216" fmla="*/ 5096361 h 5392467"/>
              <a:gd name="connsiteX3217" fmla="*/ 3590734 w 6096001"/>
              <a:gd name="connsiteY3217" fmla="*/ 5096361 h 5392467"/>
              <a:gd name="connsiteX3218" fmla="*/ 3586866 w 6096001"/>
              <a:gd name="connsiteY3218" fmla="*/ 5100229 h 5392467"/>
              <a:gd name="connsiteX3219" fmla="*/ 3567525 w 6096001"/>
              <a:gd name="connsiteY3219" fmla="*/ 5123438 h 5392467"/>
              <a:gd name="connsiteX3220" fmla="*/ 3540447 w 6096001"/>
              <a:gd name="connsiteY3220" fmla="*/ 5156320 h 5392467"/>
              <a:gd name="connsiteX3221" fmla="*/ 3536579 w 6096001"/>
              <a:gd name="connsiteY3221" fmla="*/ 5160188 h 5392467"/>
              <a:gd name="connsiteX3222" fmla="*/ 3484358 w 6096001"/>
              <a:gd name="connsiteY3222" fmla="*/ 5218209 h 5392467"/>
              <a:gd name="connsiteX3223" fmla="*/ 3478555 w 6096001"/>
              <a:gd name="connsiteY3223" fmla="*/ 5222078 h 5392467"/>
              <a:gd name="connsiteX3224" fmla="*/ 3484358 w 6096001"/>
              <a:gd name="connsiteY3224" fmla="*/ 5212408 h 5392467"/>
              <a:gd name="connsiteX3225" fmla="*/ 3546248 w 6096001"/>
              <a:gd name="connsiteY3225" fmla="*/ 5135043 h 5392467"/>
              <a:gd name="connsiteX3226" fmla="*/ 3581065 w 6096001"/>
              <a:gd name="connsiteY3226" fmla="*/ 5092495 h 5392467"/>
              <a:gd name="connsiteX3227" fmla="*/ 3567525 w 6096001"/>
              <a:gd name="connsiteY3227" fmla="*/ 5092495 h 5392467"/>
              <a:gd name="connsiteX3228" fmla="*/ 3555920 w 6096001"/>
              <a:gd name="connsiteY3228" fmla="*/ 5102164 h 5392467"/>
              <a:gd name="connsiteX3229" fmla="*/ 3561723 w 6096001"/>
              <a:gd name="connsiteY3229" fmla="*/ 5092495 h 5392467"/>
              <a:gd name="connsiteX3230" fmla="*/ 3557855 w 6096001"/>
              <a:gd name="connsiteY3230" fmla="*/ 5092495 h 5392467"/>
              <a:gd name="connsiteX3231" fmla="*/ 3548183 w 6096001"/>
              <a:gd name="connsiteY3231" fmla="*/ 5106032 h 5392467"/>
              <a:gd name="connsiteX3232" fmla="*/ 3542382 w 6096001"/>
              <a:gd name="connsiteY3232" fmla="*/ 5115702 h 5392467"/>
              <a:gd name="connsiteX3233" fmla="*/ 3526909 w 6096001"/>
              <a:gd name="connsiteY3233" fmla="*/ 5129242 h 5392467"/>
              <a:gd name="connsiteX3234" fmla="*/ 3490162 w 6096001"/>
              <a:gd name="connsiteY3234" fmla="*/ 5175661 h 5392467"/>
              <a:gd name="connsiteX3235" fmla="*/ 3478555 w 6096001"/>
              <a:gd name="connsiteY3235" fmla="*/ 5195000 h 5392467"/>
              <a:gd name="connsiteX3236" fmla="*/ 3468885 w 6096001"/>
              <a:gd name="connsiteY3236" fmla="*/ 5204672 h 5392467"/>
              <a:gd name="connsiteX3237" fmla="*/ 3455348 w 6096001"/>
              <a:gd name="connsiteY3237" fmla="*/ 5218209 h 5392467"/>
              <a:gd name="connsiteX3238" fmla="*/ 3439875 w 6096001"/>
              <a:gd name="connsiteY3238" fmla="*/ 5235618 h 5392467"/>
              <a:gd name="connsiteX3239" fmla="*/ 3430203 w 6096001"/>
              <a:gd name="connsiteY3239" fmla="*/ 5234005 h 5392467"/>
              <a:gd name="connsiteX3240" fmla="*/ 3432138 w 6096001"/>
              <a:gd name="connsiteY3240" fmla="*/ 5231747 h 5392467"/>
              <a:gd name="connsiteX3241" fmla="*/ 3429777 w 6096001"/>
              <a:gd name="connsiteY3241" fmla="*/ 5233934 h 5392467"/>
              <a:gd name="connsiteX3242" fmla="*/ 3428270 w 6096001"/>
              <a:gd name="connsiteY3242" fmla="*/ 5233683 h 5392467"/>
              <a:gd name="connsiteX3243" fmla="*/ 3453412 w 6096001"/>
              <a:gd name="connsiteY3243" fmla="*/ 5195000 h 5392467"/>
              <a:gd name="connsiteX3244" fmla="*/ 3497896 w 6096001"/>
              <a:gd name="connsiteY3244" fmla="*/ 5135043 h 5392467"/>
              <a:gd name="connsiteX3245" fmla="*/ 3499831 w 6096001"/>
              <a:gd name="connsiteY3245" fmla="*/ 5129242 h 5392467"/>
              <a:gd name="connsiteX3246" fmla="*/ 3486294 w 6096001"/>
              <a:gd name="connsiteY3246" fmla="*/ 5142780 h 5392467"/>
              <a:gd name="connsiteX3247" fmla="*/ 3488227 w 6096001"/>
              <a:gd name="connsiteY3247" fmla="*/ 5129242 h 5392467"/>
              <a:gd name="connsiteX3248" fmla="*/ 3484358 w 6096001"/>
              <a:gd name="connsiteY3248" fmla="*/ 5129242 h 5392467"/>
              <a:gd name="connsiteX3249" fmla="*/ 3463084 w 6096001"/>
              <a:gd name="connsiteY3249" fmla="*/ 5136978 h 5392467"/>
              <a:gd name="connsiteX3250" fmla="*/ 3428270 w 6096001"/>
              <a:gd name="connsiteY3250" fmla="*/ 5183395 h 5392467"/>
              <a:gd name="connsiteX3251" fmla="*/ 3426337 w 6096001"/>
              <a:gd name="connsiteY3251" fmla="*/ 5189199 h 5392467"/>
              <a:gd name="connsiteX3252" fmla="*/ 3443743 w 6096001"/>
              <a:gd name="connsiteY3252" fmla="*/ 5173726 h 5392467"/>
              <a:gd name="connsiteX3253" fmla="*/ 3439875 w 6096001"/>
              <a:gd name="connsiteY3253" fmla="*/ 5191132 h 5392467"/>
              <a:gd name="connsiteX3254" fmla="*/ 3449544 w 6096001"/>
              <a:gd name="connsiteY3254" fmla="*/ 5181462 h 5392467"/>
              <a:gd name="connsiteX3255" fmla="*/ 3470821 w 6096001"/>
              <a:gd name="connsiteY3255" fmla="*/ 5152451 h 5392467"/>
              <a:gd name="connsiteX3256" fmla="*/ 3484358 w 6096001"/>
              <a:gd name="connsiteY3256" fmla="*/ 5142780 h 5392467"/>
              <a:gd name="connsiteX3257" fmla="*/ 3441808 w 6096001"/>
              <a:gd name="connsiteY3257" fmla="*/ 5200804 h 5392467"/>
              <a:gd name="connsiteX3258" fmla="*/ 3434071 w 6096001"/>
              <a:gd name="connsiteY3258" fmla="*/ 5206605 h 5392467"/>
              <a:gd name="connsiteX3259" fmla="*/ 3434071 w 6096001"/>
              <a:gd name="connsiteY3259" fmla="*/ 5202736 h 5392467"/>
              <a:gd name="connsiteX3260" fmla="*/ 3437939 w 6096001"/>
              <a:gd name="connsiteY3260" fmla="*/ 5193067 h 5392467"/>
              <a:gd name="connsiteX3261" fmla="*/ 3432138 w 6096001"/>
              <a:gd name="connsiteY3261" fmla="*/ 5202736 h 5392467"/>
              <a:gd name="connsiteX3262" fmla="*/ 3422466 w 6096001"/>
              <a:gd name="connsiteY3262" fmla="*/ 5218209 h 5392467"/>
              <a:gd name="connsiteX3263" fmla="*/ 3428270 w 6096001"/>
              <a:gd name="connsiteY3263" fmla="*/ 5214341 h 5392467"/>
              <a:gd name="connsiteX3264" fmla="*/ 3399257 w 6096001"/>
              <a:gd name="connsiteY3264" fmla="*/ 5253024 h 5392467"/>
              <a:gd name="connsiteX3265" fmla="*/ 3401192 w 6096001"/>
              <a:gd name="connsiteY3265" fmla="*/ 5249156 h 5392467"/>
              <a:gd name="connsiteX3266" fmla="*/ 3393456 w 6096001"/>
              <a:gd name="connsiteY3266" fmla="*/ 5254957 h 5392467"/>
              <a:gd name="connsiteX3267" fmla="*/ 3381851 w 6096001"/>
              <a:gd name="connsiteY3267" fmla="*/ 5272365 h 5392467"/>
              <a:gd name="connsiteX3268" fmla="*/ 3364445 w 6096001"/>
              <a:gd name="connsiteY3268" fmla="*/ 5295575 h 5392467"/>
              <a:gd name="connsiteX3269" fmla="*/ 3372179 w 6096001"/>
              <a:gd name="connsiteY3269" fmla="*/ 5291706 h 5392467"/>
              <a:gd name="connsiteX3270" fmla="*/ 3362510 w 6096001"/>
              <a:gd name="connsiteY3270" fmla="*/ 5311048 h 5392467"/>
              <a:gd name="connsiteX3271" fmla="*/ 3360577 w 6096001"/>
              <a:gd name="connsiteY3271" fmla="*/ 5303311 h 5392467"/>
              <a:gd name="connsiteX3272" fmla="*/ 3354773 w 6096001"/>
              <a:gd name="connsiteY3272" fmla="*/ 5312981 h 5392467"/>
              <a:gd name="connsiteX3273" fmla="*/ 3348972 w 6096001"/>
              <a:gd name="connsiteY3273" fmla="*/ 5324585 h 5392467"/>
              <a:gd name="connsiteX3274" fmla="*/ 3339302 w 6096001"/>
              <a:gd name="connsiteY3274" fmla="*/ 5328454 h 5392467"/>
              <a:gd name="connsiteX3275" fmla="*/ 3331564 w 6096001"/>
              <a:gd name="connsiteY3275" fmla="*/ 5322652 h 5392467"/>
              <a:gd name="connsiteX3276" fmla="*/ 3331564 w 6096001"/>
              <a:gd name="connsiteY3276" fmla="*/ 5314916 h 5392467"/>
              <a:gd name="connsiteX3277" fmla="*/ 3329631 w 6096001"/>
              <a:gd name="connsiteY3277" fmla="*/ 5309112 h 5392467"/>
              <a:gd name="connsiteX3278" fmla="*/ 3323827 w 6096001"/>
              <a:gd name="connsiteY3278" fmla="*/ 5297508 h 5392467"/>
              <a:gd name="connsiteX3279" fmla="*/ 3310289 w 6096001"/>
              <a:gd name="connsiteY3279" fmla="*/ 5309112 h 5392467"/>
              <a:gd name="connsiteX3280" fmla="*/ 3310289 w 6096001"/>
              <a:gd name="connsiteY3280" fmla="*/ 5301376 h 5392467"/>
              <a:gd name="connsiteX3281" fmla="*/ 3314158 w 6096001"/>
              <a:gd name="connsiteY3281" fmla="*/ 5293639 h 5392467"/>
              <a:gd name="connsiteX3282" fmla="*/ 3306421 w 6096001"/>
              <a:gd name="connsiteY3282" fmla="*/ 5293639 h 5392467"/>
              <a:gd name="connsiteX3283" fmla="*/ 3302553 w 6096001"/>
              <a:gd name="connsiteY3283" fmla="*/ 5289771 h 5392467"/>
              <a:gd name="connsiteX3284" fmla="*/ 3300620 w 6096001"/>
              <a:gd name="connsiteY3284" fmla="*/ 5293639 h 5392467"/>
              <a:gd name="connsiteX3285" fmla="*/ 3290948 w 6096001"/>
              <a:gd name="connsiteY3285" fmla="*/ 5293639 h 5392467"/>
              <a:gd name="connsiteX3286" fmla="*/ 3290948 w 6096001"/>
              <a:gd name="connsiteY3286" fmla="*/ 5285905 h 5392467"/>
              <a:gd name="connsiteX3287" fmla="*/ 3298685 w 6096001"/>
              <a:gd name="connsiteY3287" fmla="*/ 5264629 h 5392467"/>
              <a:gd name="connsiteX3288" fmla="*/ 3294816 w 6096001"/>
              <a:gd name="connsiteY3288" fmla="*/ 5260760 h 5392467"/>
              <a:gd name="connsiteX3289" fmla="*/ 3294816 w 6096001"/>
              <a:gd name="connsiteY3289" fmla="*/ 5262696 h 5392467"/>
              <a:gd name="connsiteX3290" fmla="*/ 3290948 w 6096001"/>
              <a:gd name="connsiteY3290" fmla="*/ 5260760 h 5392467"/>
              <a:gd name="connsiteX3291" fmla="*/ 3290948 w 6096001"/>
              <a:gd name="connsiteY3291" fmla="*/ 5256892 h 5392467"/>
              <a:gd name="connsiteX3292" fmla="*/ 3277410 w 6096001"/>
              <a:gd name="connsiteY3292" fmla="*/ 5224013 h 5392467"/>
              <a:gd name="connsiteX3293" fmla="*/ 3275475 w 6096001"/>
              <a:gd name="connsiteY3293" fmla="*/ 5220145 h 5392467"/>
              <a:gd name="connsiteX3294" fmla="*/ 3275475 w 6096001"/>
              <a:gd name="connsiteY3294" fmla="*/ 5216277 h 5392467"/>
              <a:gd name="connsiteX3295" fmla="*/ 3275475 w 6096001"/>
              <a:gd name="connsiteY3295" fmla="*/ 5210473 h 5392467"/>
              <a:gd name="connsiteX3296" fmla="*/ 3273542 w 6096001"/>
              <a:gd name="connsiteY3296" fmla="*/ 5208540 h 5392467"/>
              <a:gd name="connsiteX3297" fmla="*/ 3267739 w 6096001"/>
              <a:gd name="connsiteY3297" fmla="*/ 5196935 h 5392467"/>
              <a:gd name="connsiteX3298" fmla="*/ 3254201 w 6096001"/>
              <a:gd name="connsiteY3298" fmla="*/ 5208540 h 5392467"/>
              <a:gd name="connsiteX3299" fmla="*/ 3254201 w 6096001"/>
              <a:gd name="connsiteY3299" fmla="*/ 5200804 h 5392467"/>
              <a:gd name="connsiteX3300" fmla="*/ 3254201 w 6096001"/>
              <a:gd name="connsiteY3300" fmla="*/ 5198871 h 5392467"/>
              <a:gd name="connsiteX3301" fmla="*/ 3252265 w 6096001"/>
              <a:gd name="connsiteY3301" fmla="*/ 5200804 h 5392467"/>
              <a:gd name="connsiteX3302" fmla="*/ 3250333 w 6096001"/>
              <a:gd name="connsiteY3302" fmla="*/ 5196935 h 5392467"/>
              <a:gd name="connsiteX3303" fmla="*/ 3254201 w 6096001"/>
              <a:gd name="connsiteY3303" fmla="*/ 5193067 h 5392467"/>
              <a:gd name="connsiteX3304" fmla="*/ 3256134 w 6096001"/>
              <a:gd name="connsiteY3304" fmla="*/ 5195000 h 5392467"/>
              <a:gd name="connsiteX3305" fmla="*/ 3256134 w 6096001"/>
              <a:gd name="connsiteY3305" fmla="*/ 5196935 h 5392467"/>
              <a:gd name="connsiteX3306" fmla="*/ 3258069 w 6096001"/>
              <a:gd name="connsiteY3306" fmla="*/ 5191132 h 5392467"/>
              <a:gd name="connsiteX3307" fmla="*/ 3250333 w 6096001"/>
              <a:gd name="connsiteY3307" fmla="*/ 5191132 h 5392467"/>
              <a:gd name="connsiteX3308" fmla="*/ 3246464 w 6096001"/>
              <a:gd name="connsiteY3308" fmla="*/ 5187263 h 5392467"/>
              <a:gd name="connsiteX3309" fmla="*/ 3244529 w 6096001"/>
              <a:gd name="connsiteY3309" fmla="*/ 5191132 h 5392467"/>
              <a:gd name="connsiteX3310" fmla="*/ 3234860 w 6096001"/>
              <a:gd name="connsiteY3310" fmla="*/ 5191132 h 5392467"/>
              <a:gd name="connsiteX3311" fmla="*/ 3234860 w 6096001"/>
              <a:gd name="connsiteY3311" fmla="*/ 5183395 h 5392467"/>
              <a:gd name="connsiteX3312" fmla="*/ 3242596 w 6096001"/>
              <a:gd name="connsiteY3312" fmla="*/ 5162121 h 5392467"/>
              <a:gd name="connsiteX3313" fmla="*/ 3223255 w 6096001"/>
              <a:gd name="connsiteY3313" fmla="*/ 5117637 h 5392467"/>
              <a:gd name="connsiteX3314" fmla="*/ 3221319 w 6096001"/>
              <a:gd name="connsiteY3314" fmla="*/ 5107965 h 5392467"/>
              <a:gd name="connsiteX3315" fmla="*/ 3201978 w 6096001"/>
              <a:gd name="connsiteY3315" fmla="*/ 5121505 h 5392467"/>
              <a:gd name="connsiteX3316" fmla="*/ 3203913 w 6096001"/>
              <a:gd name="connsiteY3316" fmla="*/ 5113769 h 5392467"/>
              <a:gd name="connsiteX3317" fmla="*/ 3221319 w 6096001"/>
              <a:gd name="connsiteY3317" fmla="*/ 5098296 h 5392467"/>
              <a:gd name="connsiteX3318" fmla="*/ 3225188 w 6096001"/>
              <a:gd name="connsiteY3318" fmla="*/ 5082823 h 5392467"/>
              <a:gd name="connsiteX3319" fmla="*/ 3227123 w 6096001"/>
              <a:gd name="connsiteY3319" fmla="*/ 5077019 h 5392467"/>
              <a:gd name="connsiteX3320" fmla="*/ 3225188 w 6096001"/>
              <a:gd name="connsiteY3320" fmla="*/ 5077019 h 5392467"/>
              <a:gd name="connsiteX3321" fmla="*/ 3198110 w 6096001"/>
              <a:gd name="connsiteY3321" fmla="*/ 5063482 h 5392467"/>
              <a:gd name="connsiteX3322" fmla="*/ 3215518 w 6096001"/>
              <a:gd name="connsiteY3322" fmla="*/ 5042207 h 5392467"/>
              <a:gd name="connsiteX3323" fmla="*/ 3217451 w 6096001"/>
              <a:gd name="connsiteY3323" fmla="*/ 5036404 h 5392467"/>
              <a:gd name="connsiteX3324" fmla="*/ 3211650 w 6096001"/>
              <a:gd name="connsiteY3324" fmla="*/ 5028667 h 5392467"/>
              <a:gd name="connsiteX3325" fmla="*/ 3219387 w 6096001"/>
              <a:gd name="connsiteY3325" fmla="*/ 5024801 h 5392467"/>
              <a:gd name="connsiteX3326" fmla="*/ 3219387 w 6096001"/>
              <a:gd name="connsiteY3326" fmla="*/ 5022866 h 5392467"/>
              <a:gd name="connsiteX3327" fmla="*/ 3215518 w 6096001"/>
              <a:gd name="connsiteY3327" fmla="*/ 5018998 h 5392467"/>
              <a:gd name="connsiteX3328" fmla="*/ 3203913 w 6096001"/>
              <a:gd name="connsiteY3328" fmla="*/ 5009326 h 5392467"/>
              <a:gd name="connsiteX3329" fmla="*/ 3196177 w 6096001"/>
              <a:gd name="connsiteY3329" fmla="*/ 4999657 h 5392467"/>
              <a:gd name="connsiteX3330" fmla="*/ 3167166 w 6096001"/>
              <a:gd name="connsiteY3330" fmla="*/ 5015130 h 5392467"/>
              <a:gd name="connsiteX3331" fmla="*/ 3184572 w 6096001"/>
              <a:gd name="connsiteY3331" fmla="*/ 4999657 h 5392467"/>
              <a:gd name="connsiteX3332" fmla="*/ 3184572 w 6096001"/>
              <a:gd name="connsiteY3332" fmla="*/ 4995788 h 5392467"/>
              <a:gd name="connsiteX3333" fmla="*/ 3203913 w 6096001"/>
              <a:gd name="connsiteY3333" fmla="*/ 4974512 h 5392467"/>
              <a:gd name="connsiteX3334" fmla="*/ 3219387 w 6096001"/>
              <a:gd name="connsiteY3334" fmla="*/ 4959041 h 5392467"/>
              <a:gd name="connsiteX3335" fmla="*/ 3213585 w 6096001"/>
              <a:gd name="connsiteY3335" fmla="*/ 4953237 h 5392467"/>
              <a:gd name="connsiteX3336" fmla="*/ 3211650 w 6096001"/>
              <a:gd name="connsiteY3336" fmla="*/ 4955173 h 5392467"/>
              <a:gd name="connsiteX3337" fmla="*/ 3176836 w 6096001"/>
              <a:gd name="connsiteY3337" fmla="*/ 4988052 h 5392467"/>
              <a:gd name="connsiteX3338" fmla="*/ 3173291 w 6096001"/>
              <a:gd name="connsiteY3338" fmla="*/ 4990416 h 5392467"/>
              <a:gd name="connsiteX3339" fmla="*/ 3172967 w 6096001"/>
              <a:gd name="connsiteY3339" fmla="*/ 4989985 h 5392467"/>
              <a:gd name="connsiteX3340" fmla="*/ 3171034 w 6096001"/>
              <a:gd name="connsiteY3340" fmla="*/ 4991920 h 5392467"/>
              <a:gd name="connsiteX3341" fmla="*/ 3173291 w 6096001"/>
              <a:gd name="connsiteY3341" fmla="*/ 4990416 h 5392467"/>
              <a:gd name="connsiteX3342" fmla="*/ 3175144 w 6096001"/>
              <a:gd name="connsiteY3342" fmla="*/ 4992887 h 5392467"/>
              <a:gd name="connsiteX3343" fmla="*/ 3172967 w 6096001"/>
              <a:gd name="connsiteY3343" fmla="*/ 4995788 h 5392467"/>
              <a:gd name="connsiteX3344" fmla="*/ 3145892 w 6096001"/>
              <a:gd name="connsiteY3344" fmla="*/ 5017063 h 5392467"/>
              <a:gd name="connsiteX3345" fmla="*/ 3147825 w 6096001"/>
              <a:gd name="connsiteY3345" fmla="*/ 5009326 h 5392467"/>
              <a:gd name="connsiteX3346" fmla="*/ 3165231 w 6096001"/>
              <a:gd name="connsiteY3346" fmla="*/ 4993853 h 5392467"/>
              <a:gd name="connsiteX3347" fmla="*/ 3169099 w 6096001"/>
              <a:gd name="connsiteY3347" fmla="*/ 4986119 h 5392467"/>
              <a:gd name="connsiteX3348" fmla="*/ 3192309 w 6096001"/>
              <a:gd name="connsiteY3348" fmla="*/ 4962909 h 5392467"/>
              <a:gd name="connsiteX3349" fmla="*/ 3203913 w 6096001"/>
              <a:gd name="connsiteY3349" fmla="*/ 4951302 h 5392467"/>
              <a:gd name="connsiteX3350" fmla="*/ 3205849 w 6096001"/>
              <a:gd name="connsiteY3350" fmla="*/ 4949369 h 5392467"/>
              <a:gd name="connsiteX3351" fmla="*/ 3196177 w 6096001"/>
              <a:gd name="connsiteY3351" fmla="*/ 4941633 h 5392467"/>
              <a:gd name="connsiteX3352" fmla="*/ 3180704 w 6096001"/>
              <a:gd name="connsiteY3352" fmla="*/ 4947436 h 5392467"/>
              <a:gd name="connsiteX3353" fmla="*/ 3174903 w 6096001"/>
              <a:gd name="connsiteY3353" fmla="*/ 4953237 h 5392467"/>
              <a:gd name="connsiteX3354" fmla="*/ 3176836 w 6096001"/>
              <a:gd name="connsiteY3354" fmla="*/ 4960974 h 5392467"/>
              <a:gd name="connsiteX3355" fmla="*/ 3178771 w 6096001"/>
              <a:gd name="connsiteY3355" fmla="*/ 4960974 h 5392467"/>
              <a:gd name="connsiteX3356" fmla="*/ 3171034 w 6096001"/>
              <a:gd name="connsiteY3356" fmla="*/ 4972579 h 5392467"/>
              <a:gd name="connsiteX3357" fmla="*/ 3167166 w 6096001"/>
              <a:gd name="connsiteY3357" fmla="*/ 4972579 h 5392467"/>
              <a:gd name="connsiteX3358" fmla="*/ 3161363 w 6096001"/>
              <a:gd name="connsiteY3358" fmla="*/ 4978380 h 5392467"/>
              <a:gd name="connsiteX3359" fmla="*/ 3134285 w 6096001"/>
              <a:gd name="connsiteY3359" fmla="*/ 5001592 h 5392467"/>
              <a:gd name="connsiteX3360" fmla="*/ 3114944 w 6096001"/>
              <a:gd name="connsiteY3360" fmla="*/ 5013194 h 5392467"/>
              <a:gd name="connsiteX3361" fmla="*/ 3130417 w 6096001"/>
              <a:gd name="connsiteY3361" fmla="*/ 4988052 h 5392467"/>
              <a:gd name="connsiteX3362" fmla="*/ 3149758 w 6096001"/>
              <a:gd name="connsiteY3362" fmla="*/ 4976447 h 5392467"/>
              <a:gd name="connsiteX3363" fmla="*/ 3155561 w 6096001"/>
              <a:gd name="connsiteY3363" fmla="*/ 4970643 h 5392467"/>
              <a:gd name="connsiteX3364" fmla="*/ 3157494 w 6096001"/>
              <a:gd name="connsiteY3364" fmla="*/ 4968710 h 5392467"/>
              <a:gd name="connsiteX3365" fmla="*/ 3145892 w 6096001"/>
              <a:gd name="connsiteY3365" fmla="*/ 4957106 h 5392467"/>
              <a:gd name="connsiteX3366" fmla="*/ 3157494 w 6096001"/>
              <a:gd name="connsiteY3366" fmla="*/ 4939700 h 5392467"/>
              <a:gd name="connsiteX3367" fmla="*/ 3147825 w 6096001"/>
              <a:gd name="connsiteY3367" fmla="*/ 4937764 h 5392467"/>
              <a:gd name="connsiteX3368" fmla="*/ 3132352 w 6096001"/>
              <a:gd name="connsiteY3368" fmla="*/ 4953237 h 5392467"/>
              <a:gd name="connsiteX3369" fmla="*/ 3116879 w 6096001"/>
              <a:gd name="connsiteY3369" fmla="*/ 4951302 h 5392467"/>
              <a:gd name="connsiteX3370" fmla="*/ 3116879 w 6096001"/>
              <a:gd name="connsiteY3370" fmla="*/ 4945501 h 5392467"/>
              <a:gd name="connsiteX3371" fmla="*/ 3126551 w 6096001"/>
              <a:gd name="connsiteY3371" fmla="*/ 4931963 h 5392467"/>
              <a:gd name="connsiteX3372" fmla="*/ 3109142 w 6096001"/>
              <a:gd name="connsiteY3372" fmla="*/ 4941633 h 5392467"/>
              <a:gd name="connsiteX3373" fmla="*/ 3113011 w 6096001"/>
              <a:gd name="connsiteY3373" fmla="*/ 4926160 h 5392467"/>
              <a:gd name="connsiteX3374" fmla="*/ 3103341 w 6096001"/>
              <a:gd name="connsiteY3374" fmla="*/ 4931963 h 5392467"/>
              <a:gd name="connsiteX3375" fmla="*/ 3105274 w 6096001"/>
              <a:gd name="connsiteY3375" fmla="*/ 4926160 h 5392467"/>
              <a:gd name="connsiteX3376" fmla="*/ 3087868 w 6096001"/>
              <a:gd name="connsiteY3376" fmla="*/ 4941633 h 5392467"/>
              <a:gd name="connsiteX3377" fmla="*/ 3085933 w 6096001"/>
              <a:gd name="connsiteY3377" fmla="*/ 4943567 h 5392467"/>
              <a:gd name="connsiteX3378" fmla="*/ 3087384 w 6096001"/>
              <a:gd name="connsiteY3378" fmla="*/ 4941150 h 5392467"/>
              <a:gd name="connsiteX3379" fmla="*/ 3091734 w 6096001"/>
              <a:gd name="connsiteY3379" fmla="*/ 4935832 h 5392467"/>
              <a:gd name="connsiteX3380" fmla="*/ 3087868 w 6096001"/>
              <a:gd name="connsiteY3380" fmla="*/ 4937764 h 5392467"/>
              <a:gd name="connsiteX3381" fmla="*/ 3076263 w 6096001"/>
              <a:gd name="connsiteY3381" fmla="*/ 4930028 h 5392467"/>
              <a:gd name="connsiteX3382" fmla="*/ 3074328 w 6096001"/>
              <a:gd name="connsiteY3382" fmla="*/ 4930028 h 5392467"/>
              <a:gd name="connsiteX3383" fmla="*/ 3064659 w 6096001"/>
              <a:gd name="connsiteY3383" fmla="*/ 4935832 h 5392467"/>
              <a:gd name="connsiteX3384" fmla="*/ 3064659 w 6096001"/>
              <a:gd name="connsiteY3384" fmla="*/ 4933896 h 5392467"/>
              <a:gd name="connsiteX3385" fmla="*/ 3006635 w 6096001"/>
              <a:gd name="connsiteY3385" fmla="*/ 4976447 h 5392467"/>
              <a:gd name="connsiteX3386" fmla="*/ 2998898 w 6096001"/>
              <a:gd name="connsiteY3386" fmla="*/ 4984184 h 5392467"/>
              <a:gd name="connsiteX3387" fmla="*/ 3012438 w 6096001"/>
              <a:gd name="connsiteY3387" fmla="*/ 4986119 h 5392467"/>
              <a:gd name="connsiteX3388" fmla="*/ 3033713 w 6096001"/>
              <a:gd name="connsiteY3388" fmla="*/ 4970643 h 5392467"/>
              <a:gd name="connsiteX3389" fmla="*/ 3027909 w 6096001"/>
              <a:gd name="connsiteY3389" fmla="*/ 4986119 h 5392467"/>
              <a:gd name="connsiteX3390" fmla="*/ 3033713 w 6096001"/>
              <a:gd name="connsiteY3390" fmla="*/ 4986119 h 5392467"/>
              <a:gd name="connsiteX3391" fmla="*/ 3041449 w 6096001"/>
              <a:gd name="connsiteY3391" fmla="*/ 4976447 h 5392467"/>
              <a:gd name="connsiteX3392" fmla="*/ 3041449 w 6096001"/>
              <a:gd name="connsiteY3392" fmla="*/ 4974512 h 5392467"/>
              <a:gd name="connsiteX3393" fmla="*/ 3045317 w 6096001"/>
              <a:gd name="connsiteY3393" fmla="*/ 4972579 h 5392467"/>
              <a:gd name="connsiteX3394" fmla="*/ 3053054 w 6096001"/>
              <a:gd name="connsiteY3394" fmla="*/ 4966778 h 5392467"/>
              <a:gd name="connsiteX3395" fmla="*/ 3060790 w 6096001"/>
              <a:gd name="connsiteY3395" fmla="*/ 4962909 h 5392467"/>
              <a:gd name="connsiteX3396" fmla="*/ 3068527 w 6096001"/>
              <a:gd name="connsiteY3396" fmla="*/ 4959041 h 5392467"/>
              <a:gd name="connsiteX3397" fmla="*/ 3053054 w 6096001"/>
              <a:gd name="connsiteY3397" fmla="*/ 4978380 h 5392467"/>
              <a:gd name="connsiteX3398" fmla="*/ 3049186 w 6096001"/>
              <a:gd name="connsiteY3398" fmla="*/ 4978380 h 5392467"/>
              <a:gd name="connsiteX3399" fmla="*/ 3047250 w 6096001"/>
              <a:gd name="connsiteY3399" fmla="*/ 4978380 h 5392467"/>
              <a:gd name="connsiteX3400" fmla="*/ 3043382 w 6096001"/>
              <a:gd name="connsiteY3400" fmla="*/ 4995788 h 5392467"/>
              <a:gd name="connsiteX3401" fmla="*/ 3058857 w 6096001"/>
              <a:gd name="connsiteY3401" fmla="*/ 4980315 h 5392467"/>
              <a:gd name="connsiteX3402" fmla="*/ 3074328 w 6096001"/>
              <a:gd name="connsiteY3402" fmla="*/ 4966778 h 5392467"/>
              <a:gd name="connsiteX3403" fmla="*/ 3078196 w 6096001"/>
              <a:gd name="connsiteY3403" fmla="*/ 4972579 h 5392467"/>
              <a:gd name="connsiteX3404" fmla="*/ 3051118 w 6096001"/>
              <a:gd name="connsiteY3404" fmla="*/ 5018998 h 5392467"/>
              <a:gd name="connsiteX3405" fmla="*/ 3043382 w 6096001"/>
              <a:gd name="connsiteY3405" fmla="*/ 5018998 h 5392467"/>
              <a:gd name="connsiteX3406" fmla="*/ 3031780 w 6096001"/>
              <a:gd name="connsiteY3406" fmla="*/ 5034471 h 5392467"/>
              <a:gd name="connsiteX3407" fmla="*/ 3033713 w 6096001"/>
              <a:gd name="connsiteY3407" fmla="*/ 5040272 h 5392467"/>
              <a:gd name="connsiteX3408" fmla="*/ 3039516 w 6096001"/>
              <a:gd name="connsiteY3408" fmla="*/ 5028667 h 5392467"/>
              <a:gd name="connsiteX3409" fmla="*/ 3043382 w 6096001"/>
              <a:gd name="connsiteY3409" fmla="*/ 5026734 h 5392467"/>
              <a:gd name="connsiteX3410" fmla="*/ 3049186 w 6096001"/>
              <a:gd name="connsiteY3410" fmla="*/ 5034471 h 5392467"/>
              <a:gd name="connsiteX3411" fmla="*/ 3041449 w 6096001"/>
              <a:gd name="connsiteY3411" fmla="*/ 5059613 h 5392467"/>
              <a:gd name="connsiteX3412" fmla="*/ 3043382 w 6096001"/>
              <a:gd name="connsiteY3412" fmla="*/ 5084756 h 5392467"/>
              <a:gd name="connsiteX3413" fmla="*/ 3049186 w 6096001"/>
              <a:gd name="connsiteY3413" fmla="*/ 5088626 h 5392467"/>
              <a:gd name="connsiteX3414" fmla="*/ 3045800 w 6096001"/>
              <a:gd name="connsiteY3414" fmla="*/ 5096119 h 5392467"/>
              <a:gd name="connsiteX3415" fmla="*/ 3034689 w 6096001"/>
              <a:gd name="connsiteY3415" fmla="*/ 5107009 h 5392467"/>
              <a:gd name="connsiteX3416" fmla="*/ 3033713 w 6096001"/>
              <a:gd name="connsiteY3416" fmla="*/ 5106032 h 5392467"/>
              <a:gd name="connsiteX3417" fmla="*/ 3033713 w 6096001"/>
              <a:gd name="connsiteY3417" fmla="*/ 5104097 h 5392467"/>
              <a:gd name="connsiteX3418" fmla="*/ 3029844 w 6096001"/>
              <a:gd name="connsiteY3418" fmla="*/ 5107965 h 5392467"/>
              <a:gd name="connsiteX3419" fmla="*/ 3033713 w 6096001"/>
              <a:gd name="connsiteY3419" fmla="*/ 5108933 h 5392467"/>
              <a:gd name="connsiteX3420" fmla="*/ 3033713 w 6096001"/>
              <a:gd name="connsiteY3420" fmla="*/ 5109901 h 5392467"/>
              <a:gd name="connsiteX3421" fmla="*/ 3037581 w 6096001"/>
              <a:gd name="connsiteY3421" fmla="*/ 5109901 h 5392467"/>
              <a:gd name="connsiteX3422" fmla="*/ 3043382 w 6096001"/>
              <a:gd name="connsiteY3422" fmla="*/ 5109901 h 5392467"/>
              <a:gd name="connsiteX3423" fmla="*/ 3043382 w 6096001"/>
              <a:gd name="connsiteY3423" fmla="*/ 5113769 h 5392467"/>
              <a:gd name="connsiteX3424" fmla="*/ 3042975 w 6096001"/>
              <a:gd name="connsiteY3424" fmla="*/ 5114379 h 5392467"/>
              <a:gd name="connsiteX3425" fmla="*/ 3041449 w 6096001"/>
              <a:gd name="connsiteY3425" fmla="*/ 5111836 h 5392467"/>
              <a:gd name="connsiteX3426" fmla="*/ 3041449 w 6096001"/>
              <a:gd name="connsiteY3426" fmla="*/ 5116669 h 5392467"/>
              <a:gd name="connsiteX3427" fmla="*/ 3039516 w 6096001"/>
              <a:gd name="connsiteY3427" fmla="*/ 5119570 h 5392467"/>
              <a:gd name="connsiteX3428" fmla="*/ 3041449 w 6096001"/>
              <a:gd name="connsiteY3428" fmla="*/ 5120538 h 5392467"/>
              <a:gd name="connsiteX3429" fmla="*/ 3041449 w 6096001"/>
              <a:gd name="connsiteY3429" fmla="*/ 5122665 h 5392467"/>
              <a:gd name="connsiteX3430" fmla="*/ 3033713 w 6096001"/>
              <a:gd name="connsiteY3430" fmla="*/ 5127307 h 5392467"/>
              <a:gd name="connsiteX3431" fmla="*/ 3031780 w 6096001"/>
              <a:gd name="connsiteY3431" fmla="*/ 5125374 h 5392467"/>
              <a:gd name="connsiteX3432" fmla="*/ 2991162 w 6096001"/>
              <a:gd name="connsiteY3432" fmla="*/ 5160188 h 5392467"/>
              <a:gd name="connsiteX3433" fmla="*/ 2969888 w 6096001"/>
              <a:gd name="connsiteY3433" fmla="*/ 5171790 h 5392467"/>
              <a:gd name="connsiteX3434" fmla="*/ 2956347 w 6096001"/>
              <a:gd name="connsiteY3434" fmla="*/ 5177594 h 5392467"/>
              <a:gd name="connsiteX3435" fmla="*/ 2938941 w 6096001"/>
              <a:gd name="connsiteY3435" fmla="*/ 5164054 h 5392467"/>
              <a:gd name="connsiteX3436" fmla="*/ 2929272 w 6096001"/>
              <a:gd name="connsiteY3436" fmla="*/ 5138911 h 5392467"/>
              <a:gd name="connsiteX3437" fmla="*/ 2925404 w 6096001"/>
              <a:gd name="connsiteY3437" fmla="*/ 5123438 h 5392467"/>
              <a:gd name="connsiteX3438" fmla="*/ 2900259 w 6096001"/>
              <a:gd name="connsiteY3438" fmla="*/ 5127307 h 5392467"/>
              <a:gd name="connsiteX3439" fmla="*/ 2898326 w 6096001"/>
              <a:gd name="connsiteY3439" fmla="*/ 5121505 h 5392467"/>
              <a:gd name="connsiteX3440" fmla="*/ 2898326 w 6096001"/>
              <a:gd name="connsiteY3440" fmla="*/ 5117637 h 5392467"/>
              <a:gd name="connsiteX3441" fmla="*/ 2888654 w 6096001"/>
              <a:gd name="connsiteY3441" fmla="*/ 5127307 h 5392467"/>
              <a:gd name="connsiteX3442" fmla="*/ 2873181 w 6096001"/>
              <a:gd name="connsiteY3442" fmla="*/ 5136978 h 5392467"/>
              <a:gd name="connsiteX3443" fmla="*/ 2871248 w 6096001"/>
              <a:gd name="connsiteY3443" fmla="*/ 5135043 h 5392467"/>
              <a:gd name="connsiteX3444" fmla="*/ 2875116 w 6096001"/>
              <a:gd name="connsiteY3444" fmla="*/ 5121505 h 5392467"/>
              <a:gd name="connsiteX3445" fmla="*/ 2855775 w 6096001"/>
              <a:gd name="connsiteY3445" fmla="*/ 5136978 h 5392467"/>
              <a:gd name="connsiteX3446" fmla="*/ 2844170 w 6096001"/>
              <a:gd name="connsiteY3446" fmla="*/ 5158253 h 5392467"/>
              <a:gd name="connsiteX3447" fmla="*/ 2840101 w 6096001"/>
              <a:gd name="connsiteY3447" fmla="*/ 5153312 h 5392467"/>
              <a:gd name="connsiteX3448" fmla="*/ 2842237 w 6096001"/>
              <a:gd name="connsiteY3448" fmla="*/ 5148583 h 5392467"/>
              <a:gd name="connsiteX3449" fmla="*/ 2838602 w 6096001"/>
              <a:gd name="connsiteY3449" fmla="*/ 5151491 h 5392467"/>
              <a:gd name="connsiteX3450" fmla="*/ 2834016 w 6096001"/>
              <a:gd name="connsiteY3450" fmla="*/ 5145923 h 5392467"/>
              <a:gd name="connsiteX3451" fmla="*/ 2820961 w 6096001"/>
              <a:gd name="connsiteY3451" fmla="*/ 5152451 h 5392467"/>
              <a:gd name="connsiteX3452" fmla="*/ 2811291 w 6096001"/>
              <a:gd name="connsiteY3452" fmla="*/ 5160188 h 5392467"/>
              <a:gd name="connsiteX3453" fmla="*/ 2797754 w 6096001"/>
              <a:gd name="connsiteY3453" fmla="*/ 5146648 h 5392467"/>
              <a:gd name="connsiteX3454" fmla="*/ 2786147 w 6096001"/>
              <a:gd name="connsiteY3454" fmla="*/ 5164054 h 5392467"/>
              <a:gd name="connsiteX3455" fmla="*/ 2790015 w 6096001"/>
              <a:gd name="connsiteY3455" fmla="*/ 5169857 h 5392467"/>
              <a:gd name="connsiteX3456" fmla="*/ 2788082 w 6096001"/>
              <a:gd name="connsiteY3456" fmla="*/ 5169857 h 5392467"/>
              <a:gd name="connsiteX3457" fmla="*/ 2741663 w 6096001"/>
              <a:gd name="connsiteY3457" fmla="*/ 5202736 h 5392467"/>
              <a:gd name="connsiteX3458" fmla="*/ 2739730 w 6096001"/>
              <a:gd name="connsiteY3458" fmla="*/ 5204672 h 5392467"/>
              <a:gd name="connsiteX3459" fmla="*/ 2730058 w 6096001"/>
              <a:gd name="connsiteY3459" fmla="*/ 5214341 h 5392467"/>
              <a:gd name="connsiteX3460" fmla="*/ 2710717 w 6096001"/>
              <a:gd name="connsiteY3460" fmla="*/ 5210473 h 5392467"/>
              <a:gd name="connsiteX3461" fmla="*/ 2712652 w 6096001"/>
              <a:gd name="connsiteY3461" fmla="*/ 5224013 h 5392467"/>
              <a:gd name="connsiteX3462" fmla="*/ 2679771 w 6096001"/>
              <a:gd name="connsiteY3462" fmla="*/ 5245287 h 5392467"/>
              <a:gd name="connsiteX3463" fmla="*/ 2677838 w 6096001"/>
              <a:gd name="connsiteY3463" fmla="*/ 5243354 h 5392467"/>
              <a:gd name="connsiteX3464" fmla="*/ 2685574 w 6096001"/>
              <a:gd name="connsiteY3464" fmla="*/ 5233683 h 5392467"/>
              <a:gd name="connsiteX3465" fmla="*/ 2683639 w 6096001"/>
              <a:gd name="connsiteY3465" fmla="*/ 5231747 h 5392467"/>
              <a:gd name="connsiteX3466" fmla="*/ 2654628 w 6096001"/>
              <a:gd name="connsiteY3466" fmla="*/ 5249156 h 5392467"/>
              <a:gd name="connsiteX3467" fmla="*/ 2656561 w 6096001"/>
              <a:gd name="connsiteY3467" fmla="*/ 5254957 h 5392467"/>
              <a:gd name="connsiteX3468" fmla="*/ 2654628 w 6096001"/>
              <a:gd name="connsiteY3468" fmla="*/ 5256892 h 5392467"/>
              <a:gd name="connsiteX3469" fmla="*/ 2650760 w 6096001"/>
              <a:gd name="connsiteY3469" fmla="*/ 5249156 h 5392467"/>
              <a:gd name="connsiteX3470" fmla="*/ 2635287 w 6096001"/>
              <a:gd name="connsiteY3470" fmla="*/ 5264629 h 5392467"/>
              <a:gd name="connsiteX3471" fmla="*/ 2631419 w 6096001"/>
              <a:gd name="connsiteY3471" fmla="*/ 5266564 h 5392467"/>
              <a:gd name="connsiteX3472" fmla="*/ 2614013 w 6096001"/>
              <a:gd name="connsiteY3472" fmla="*/ 5272365 h 5392467"/>
              <a:gd name="connsiteX3473" fmla="*/ 2600473 w 6096001"/>
              <a:gd name="connsiteY3473" fmla="*/ 5285905 h 5392467"/>
              <a:gd name="connsiteX3474" fmla="*/ 2579199 w 6096001"/>
              <a:gd name="connsiteY3474" fmla="*/ 5299443 h 5392467"/>
              <a:gd name="connsiteX3475" fmla="*/ 2586935 w 6096001"/>
              <a:gd name="connsiteY3475" fmla="*/ 5289771 h 5392467"/>
              <a:gd name="connsiteX3476" fmla="*/ 2573395 w 6096001"/>
              <a:gd name="connsiteY3476" fmla="*/ 5291706 h 5392467"/>
              <a:gd name="connsiteX3477" fmla="*/ 2571462 w 6096001"/>
              <a:gd name="connsiteY3477" fmla="*/ 5283970 h 5392467"/>
              <a:gd name="connsiteX3478" fmla="*/ 2548253 w 6096001"/>
              <a:gd name="connsiteY3478" fmla="*/ 5295575 h 5392467"/>
              <a:gd name="connsiteX3479" fmla="*/ 2544384 w 6096001"/>
              <a:gd name="connsiteY3479" fmla="*/ 5289771 h 5392467"/>
              <a:gd name="connsiteX3480" fmla="*/ 2542451 w 6096001"/>
              <a:gd name="connsiteY3480" fmla="*/ 5291706 h 5392467"/>
              <a:gd name="connsiteX3481" fmla="*/ 2519242 w 6096001"/>
              <a:gd name="connsiteY3481" fmla="*/ 5309112 h 5392467"/>
              <a:gd name="connsiteX3482" fmla="*/ 2507636 w 6096001"/>
              <a:gd name="connsiteY3482" fmla="*/ 5314916 h 5392467"/>
              <a:gd name="connsiteX3483" fmla="*/ 2495066 w 6096001"/>
              <a:gd name="connsiteY3483" fmla="*/ 5313223 h 5392467"/>
              <a:gd name="connsiteX3484" fmla="*/ 2488296 w 6096001"/>
              <a:gd name="connsiteY3484" fmla="*/ 5324585 h 5392467"/>
              <a:gd name="connsiteX3485" fmla="*/ 2501533 w 6096001"/>
              <a:gd name="connsiteY3485" fmla="*/ 5317968 h 5392467"/>
              <a:gd name="connsiteX3486" fmla="*/ 2492164 w 6096001"/>
              <a:gd name="connsiteY3486" fmla="*/ 5322652 h 5392467"/>
              <a:gd name="connsiteX3487" fmla="*/ 2494099 w 6096001"/>
              <a:gd name="connsiteY3487" fmla="*/ 5332322 h 5392467"/>
              <a:gd name="connsiteX3488" fmla="*/ 2492164 w 6096001"/>
              <a:gd name="connsiteY3488" fmla="*/ 5340058 h 5392467"/>
              <a:gd name="connsiteX3489" fmla="*/ 2482492 w 6096001"/>
              <a:gd name="connsiteY3489" fmla="*/ 5347795 h 5392467"/>
              <a:gd name="connsiteX3490" fmla="*/ 2441877 w 6096001"/>
              <a:gd name="connsiteY3490" fmla="*/ 5365201 h 5392467"/>
              <a:gd name="connsiteX3491" fmla="*/ 2455417 w 6096001"/>
              <a:gd name="connsiteY3491" fmla="*/ 5357464 h 5392467"/>
              <a:gd name="connsiteX3492" fmla="*/ 2457593 w 6096001"/>
              <a:gd name="connsiteY3492" fmla="*/ 5351663 h 5392467"/>
              <a:gd name="connsiteX3493" fmla="*/ 2459331 w 6096001"/>
              <a:gd name="connsiteY3493" fmla="*/ 5348881 h 5392467"/>
              <a:gd name="connsiteX3494" fmla="*/ 2470890 w 6096001"/>
              <a:gd name="connsiteY3494" fmla="*/ 5343927 h 5392467"/>
              <a:gd name="connsiteX3495" fmla="*/ 2466220 w 6096001"/>
              <a:gd name="connsiteY3495" fmla="*/ 5342526 h 5392467"/>
              <a:gd name="connsiteX3496" fmla="*/ 2472823 w 6096001"/>
              <a:gd name="connsiteY3496" fmla="*/ 5338123 h 5392467"/>
              <a:gd name="connsiteX3497" fmla="*/ 2462686 w 6096001"/>
              <a:gd name="connsiteY3497" fmla="*/ 5341466 h 5392467"/>
              <a:gd name="connsiteX3498" fmla="*/ 2461218 w 6096001"/>
              <a:gd name="connsiteY3498" fmla="*/ 5341025 h 5392467"/>
              <a:gd name="connsiteX3499" fmla="*/ 2460736 w 6096001"/>
              <a:gd name="connsiteY3499" fmla="*/ 5342109 h 5392467"/>
              <a:gd name="connsiteX3500" fmla="*/ 2450823 w 6096001"/>
              <a:gd name="connsiteY3500" fmla="*/ 5345378 h 5392467"/>
              <a:gd name="connsiteX3501" fmla="*/ 2430274 w 6096001"/>
              <a:gd name="connsiteY3501" fmla="*/ 5355531 h 5392467"/>
              <a:gd name="connsiteX3502" fmla="*/ 2385788 w 6096001"/>
              <a:gd name="connsiteY3502" fmla="*/ 5376806 h 5392467"/>
              <a:gd name="connsiteX3503" fmla="*/ 2341304 w 6096001"/>
              <a:gd name="connsiteY3503" fmla="*/ 5392279 h 5392467"/>
              <a:gd name="connsiteX3504" fmla="*/ 2366447 w 6096001"/>
              <a:gd name="connsiteY3504" fmla="*/ 5376806 h 5392467"/>
              <a:gd name="connsiteX3505" fmla="*/ 2395458 w 6096001"/>
              <a:gd name="connsiteY3505" fmla="*/ 5353598 h 5392467"/>
              <a:gd name="connsiteX3506" fmla="*/ 2354842 w 6096001"/>
              <a:gd name="connsiteY3506" fmla="*/ 5372940 h 5392467"/>
              <a:gd name="connsiteX3507" fmla="*/ 2350974 w 6096001"/>
              <a:gd name="connsiteY3507" fmla="*/ 5367136 h 5392467"/>
              <a:gd name="connsiteX3508" fmla="*/ 2335501 w 6096001"/>
              <a:gd name="connsiteY3508" fmla="*/ 5371004 h 5392467"/>
              <a:gd name="connsiteX3509" fmla="*/ 2333568 w 6096001"/>
              <a:gd name="connsiteY3509" fmla="*/ 5363268 h 5392467"/>
              <a:gd name="connsiteX3510" fmla="*/ 2291017 w 6096001"/>
              <a:gd name="connsiteY3510" fmla="*/ 5376806 h 5392467"/>
              <a:gd name="connsiteX3511" fmla="*/ 2312291 w 6096001"/>
              <a:gd name="connsiteY3511" fmla="*/ 5359400 h 5392467"/>
              <a:gd name="connsiteX3512" fmla="*/ 2285216 w 6096001"/>
              <a:gd name="connsiteY3512" fmla="*/ 5345862 h 5392467"/>
              <a:gd name="connsiteX3513" fmla="*/ 2298754 w 6096001"/>
              <a:gd name="connsiteY3513" fmla="*/ 5341991 h 5392467"/>
              <a:gd name="connsiteX3514" fmla="*/ 2275544 w 6096001"/>
              <a:gd name="connsiteY3514" fmla="*/ 5340058 h 5392467"/>
              <a:gd name="connsiteX3515" fmla="*/ 2254270 w 6096001"/>
              <a:gd name="connsiteY3515" fmla="*/ 5355531 h 5392467"/>
              <a:gd name="connsiteX3516" fmla="*/ 2267808 w 6096001"/>
              <a:gd name="connsiteY3516" fmla="*/ 5332322 h 5392467"/>
              <a:gd name="connsiteX3517" fmla="*/ 2250402 w 6096001"/>
              <a:gd name="connsiteY3517" fmla="*/ 5343927 h 5392467"/>
              <a:gd name="connsiteX3518" fmla="*/ 2260071 w 6096001"/>
              <a:gd name="connsiteY3518" fmla="*/ 5330389 h 5392467"/>
              <a:gd name="connsiteX3519" fmla="*/ 2248466 w 6096001"/>
              <a:gd name="connsiteY3519" fmla="*/ 5326521 h 5392467"/>
              <a:gd name="connsiteX3520" fmla="*/ 2267808 w 6096001"/>
              <a:gd name="connsiteY3520" fmla="*/ 5307179 h 5392467"/>
              <a:gd name="connsiteX3521" fmla="*/ 2258138 w 6096001"/>
              <a:gd name="connsiteY3521" fmla="*/ 5297508 h 5392467"/>
              <a:gd name="connsiteX3522" fmla="*/ 2238797 w 6096001"/>
              <a:gd name="connsiteY3522" fmla="*/ 5316849 h 5392467"/>
              <a:gd name="connsiteX3523" fmla="*/ 2234929 w 6096001"/>
              <a:gd name="connsiteY3523" fmla="*/ 5303311 h 5392467"/>
              <a:gd name="connsiteX3524" fmla="*/ 2242665 w 6096001"/>
              <a:gd name="connsiteY3524" fmla="*/ 5291706 h 5392467"/>
              <a:gd name="connsiteX3525" fmla="*/ 2223324 w 6096001"/>
              <a:gd name="connsiteY3525" fmla="*/ 5293639 h 5392467"/>
              <a:gd name="connsiteX3526" fmla="*/ 2225257 w 6096001"/>
              <a:gd name="connsiteY3526" fmla="*/ 5283970 h 5392467"/>
              <a:gd name="connsiteX3527" fmla="*/ 2217523 w 6096001"/>
              <a:gd name="connsiteY3527" fmla="*/ 5282035 h 5392467"/>
              <a:gd name="connsiteX3528" fmla="*/ 2234929 w 6096001"/>
              <a:gd name="connsiteY3528" fmla="*/ 5260760 h 5392467"/>
              <a:gd name="connsiteX3529" fmla="*/ 2236864 w 6096001"/>
              <a:gd name="connsiteY3529" fmla="*/ 5241419 h 5392467"/>
              <a:gd name="connsiteX3530" fmla="*/ 2207851 w 6096001"/>
              <a:gd name="connsiteY3530" fmla="*/ 5262696 h 5392467"/>
              <a:gd name="connsiteX3531" fmla="*/ 2180773 w 6096001"/>
              <a:gd name="connsiteY3531" fmla="*/ 5282035 h 5392467"/>
              <a:gd name="connsiteX3532" fmla="*/ 2173037 w 6096001"/>
              <a:gd name="connsiteY3532" fmla="*/ 5283970 h 5392467"/>
              <a:gd name="connsiteX3533" fmla="*/ 2182706 w 6096001"/>
              <a:gd name="connsiteY3533" fmla="*/ 5276233 h 5392467"/>
              <a:gd name="connsiteX3534" fmla="*/ 2180773 w 6096001"/>
              <a:gd name="connsiteY3534" fmla="*/ 5274298 h 5392467"/>
              <a:gd name="connsiteX3535" fmla="*/ 2165300 w 6096001"/>
              <a:gd name="connsiteY3535" fmla="*/ 5282035 h 5392467"/>
              <a:gd name="connsiteX3536" fmla="*/ 2207851 w 6096001"/>
              <a:gd name="connsiteY3536" fmla="*/ 5245287 h 5392467"/>
              <a:gd name="connsiteX3537" fmla="*/ 2213655 w 6096001"/>
              <a:gd name="connsiteY3537" fmla="*/ 5222078 h 5392467"/>
              <a:gd name="connsiteX3538" fmla="*/ 2205916 w 6096001"/>
              <a:gd name="connsiteY3538" fmla="*/ 5208540 h 5392467"/>
              <a:gd name="connsiteX3539" fmla="*/ 2196246 w 6096001"/>
              <a:gd name="connsiteY3539" fmla="*/ 5198871 h 5392467"/>
              <a:gd name="connsiteX3540" fmla="*/ 2163367 w 6096001"/>
              <a:gd name="connsiteY3540" fmla="*/ 5204672 h 5392467"/>
              <a:gd name="connsiteX3541" fmla="*/ 2171104 w 6096001"/>
              <a:gd name="connsiteY3541" fmla="*/ 5195000 h 5392467"/>
              <a:gd name="connsiteX3542" fmla="*/ 2124685 w 6096001"/>
              <a:gd name="connsiteY3542" fmla="*/ 5220145 h 5392467"/>
              <a:gd name="connsiteX3543" fmla="*/ 2144026 w 6096001"/>
              <a:gd name="connsiteY3543" fmla="*/ 5202736 h 5392467"/>
              <a:gd name="connsiteX3544" fmla="*/ 2165300 w 6096001"/>
              <a:gd name="connsiteY3544" fmla="*/ 5181462 h 5392467"/>
              <a:gd name="connsiteX3545" fmla="*/ 2138223 w 6096001"/>
              <a:gd name="connsiteY3545" fmla="*/ 5195000 h 5392467"/>
              <a:gd name="connsiteX3546" fmla="*/ 2113080 w 6096001"/>
              <a:gd name="connsiteY3546" fmla="*/ 5210473 h 5392467"/>
              <a:gd name="connsiteX3547" fmla="*/ 2149829 w 6096001"/>
              <a:gd name="connsiteY3547" fmla="*/ 5169857 h 5392467"/>
              <a:gd name="connsiteX3548" fmla="*/ 2147894 w 6096001"/>
              <a:gd name="connsiteY3548" fmla="*/ 5154384 h 5392467"/>
              <a:gd name="connsiteX3549" fmla="*/ 2138223 w 6096001"/>
              <a:gd name="connsiteY3549" fmla="*/ 5158253 h 5392467"/>
              <a:gd name="connsiteX3550" fmla="*/ 2140158 w 6096001"/>
              <a:gd name="connsiteY3550" fmla="*/ 5144713 h 5392467"/>
              <a:gd name="connsiteX3551" fmla="*/ 2107279 w 6096001"/>
              <a:gd name="connsiteY3551" fmla="*/ 5167922 h 5392467"/>
              <a:gd name="connsiteX3552" fmla="*/ 2105343 w 6096001"/>
              <a:gd name="connsiteY3552" fmla="*/ 5165989 h 5392467"/>
              <a:gd name="connsiteX3553" fmla="*/ 2118881 w 6096001"/>
              <a:gd name="connsiteY3553" fmla="*/ 5148583 h 5392467"/>
              <a:gd name="connsiteX3554" fmla="*/ 2107279 w 6096001"/>
              <a:gd name="connsiteY3554" fmla="*/ 5148583 h 5392467"/>
              <a:gd name="connsiteX3555" fmla="*/ 2132421 w 6096001"/>
              <a:gd name="connsiteY3555" fmla="*/ 5121505 h 5392467"/>
              <a:gd name="connsiteX3556" fmla="*/ 2118881 w 6096001"/>
              <a:gd name="connsiteY3556" fmla="*/ 5121505 h 5392467"/>
              <a:gd name="connsiteX3557" fmla="*/ 2124685 w 6096001"/>
              <a:gd name="connsiteY3557" fmla="*/ 5111836 h 5392467"/>
              <a:gd name="connsiteX3558" fmla="*/ 2105343 w 6096001"/>
              <a:gd name="connsiteY3558" fmla="*/ 5096361 h 5392467"/>
              <a:gd name="connsiteX3559" fmla="*/ 2115013 w 6096001"/>
              <a:gd name="connsiteY3559" fmla="*/ 5088626 h 5392467"/>
              <a:gd name="connsiteX3560" fmla="*/ 2113080 w 6096001"/>
              <a:gd name="connsiteY3560" fmla="*/ 5086691 h 5392467"/>
              <a:gd name="connsiteX3561" fmla="*/ 2099542 w 6096001"/>
              <a:gd name="connsiteY3561" fmla="*/ 5094428 h 5392467"/>
              <a:gd name="connsiteX3562" fmla="*/ 2097607 w 6096001"/>
              <a:gd name="connsiteY3562" fmla="*/ 5092495 h 5392467"/>
              <a:gd name="connsiteX3563" fmla="*/ 2126620 w 6096001"/>
              <a:gd name="connsiteY3563" fmla="*/ 5067350 h 5392467"/>
              <a:gd name="connsiteX3564" fmla="*/ 2134354 w 6096001"/>
              <a:gd name="connsiteY3564" fmla="*/ 5073153 h 5392467"/>
              <a:gd name="connsiteX3565" fmla="*/ 2136290 w 6096001"/>
              <a:gd name="connsiteY3565" fmla="*/ 5057678 h 5392467"/>
              <a:gd name="connsiteX3566" fmla="*/ 2144026 w 6096001"/>
              <a:gd name="connsiteY3566" fmla="*/ 5030603 h 5392467"/>
              <a:gd name="connsiteX3567" fmla="*/ 2124685 w 6096001"/>
              <a:gd name="connsiteY3567" fmla="*/ 5018998 h 5392467"/>
              <a:gd name="connsiteX3568" fmla="*/ 2144026 w 6096001"/>
              <a:gd name="connsiteY3568" fmla="*/ 4993853 h 5392467"/>
              <a:gd name="connsiteX3569" fmla="*/ 2144026 w 6096001"/>
              <a:gd name="connsiteY3569" fmla="*/ 4991920 h 5392467"/>
              <a:gd name="connsiteX3570" fmla="*/ 2134354 w 6096001"/>
              <a:gd name="connsiteY3570" fmla="*/ 4993853 h 5392467"/>
              <a:gd name="connsiteX3571" fmla="*/ 2089870 w 6096001"/>
              <a:gd name="connsiteY3571" fmla="*/ 5024801 h 5392467"/>
              <a:gd name="connsiteX3572" fmla="*/ 2080201 w 6096001"/>
              <a:gd name="connsiteY3572" fmla="*/ 5028667 h 5392467"/>
              <a:gd name="connsiteX3573" fmla="*/ 2074397 w 6096001"/>
              <a:gd name="connsiteY3573" fmla="*/ 5030603 h 5392467"/>
              <a:gd name="connsiteX3574" fmla="*/ 2041518 w 6096001"/>
              <a:gd name="connsiteY3574" fmla="*/ 5048009 h 5392467"/>
              <a:gd name="connsiteX3575" fmla="*/ 1892592 w 6096001"/>
              <a:gd name="connsiteY3575" fmla="*/ 5044140 h 5392467"/>
              <a:gd name="connsiteX3576" fmla="*/ 1882197 w 6096001"/>
              <a:gd name="connsiteY3576" fmla="*/ 5050910 h 5392467"/>
              <a:gd name="connsiteX3577" fmla="*/ 1870196 w 6096001"/>
              <a:gd name="connsiteY3577" fmla="*/ 5051697 h 5392467"/>
              <a:gd name="connsiteX3578" fmla="*/ 1875186 w 6096001"/>
              <a:gd name="connsiteY3578" fmla="*/ 5048009 h 5392467"/>
              <a:gd name="connsiteX3579" fmla="*/ 1882922 w 6096001"/>
              <a:gd name="connsiteY3579" fmla="*/ 5042207 h 5392467"/>
              <a:gd name="connsiteX3580" fmla="*/ 1880987 w 6096001"/>
              <a:gd name="connsiteY3580" fmla="*/ 5040272 h 5392467"/>
              <a:gd name="connsiteX3581" fmla="*/ 1865516 w 6096001"/>
              <a:gd name="connsiteY3581" fmla="*/ 5048009 h 5392467"/>
              <a:gd name="connsiteX3582" fmla="*/ 1861646 w 6096001"/>
              <a:gd name="connsiteY3582" fmla="*/ 5042207 h 5392467"/>
              <a:gd name="connsiteX3583" fmla="*/ 1853909 w 6096001"/>
              <a:gd name="connsiteY3583" fmla="*/ 5051877 h 5392467"/>
              <a:gd name="connsiteX3584" fmla="*/ 1851976 w 6096001"/>
              <a:gd name="connsiteY3584" fmla="*/ 5057678 h 5392467"/>
              <a:gd name="connsiteX3585" fmla="*/ 1846700 w 6096001"/>
              <a:gd name="connsiteY3585" fmla="*/ 5060844 h 5392467"/>
              <a:gd name="connsiteX3586" fmla="*/ 1840371 w 6096001"/>
              <a:gd name="connsiteY3586" fmla="*/ 5059613 h 5392467"/>
              <a:gd name="connsiteX3587" fmla="*/ 1824898 w 6096001"/>
              <a:gd name="connsiteY3587" fmla="*/ 5069285 h 5392467"/>
              <a:gd name="connsiteX3588" fmla="*/ 1816196 w 6096001"/>
              <a:gd name="connsiteY3588" fmla="*/ 5074120 h 5392467"/>
              <a:gd name="connsiteX3589" fmla="*/ 1814721 w 6096001"/>
              <a:gd name="connsiteY3589" fmla="*/ 5079526 h 5392467"/>
              <a:gd name="connsiteX3590" fmla="*/ 1797821 w 6096001"/>
              <a:gd name="connsiteY3590" fmla="*/ 5088626 h 5392467"/>
              <a:gd name="connsiteX3591" fmla="*/ 1793470 w 6096001"/>
              <a:gd name="connsiteY3591" fmla="*/ 5093703 h 5392467"/>
              <a:gd name="connsiteX3592" fmla="*/ 1796901 w 6096001"/>
              <a:gd name="connsiteY3592" fmla="*/ 5098849 h 5392467"/>
              <a:gd name="connsiteX3593" fmla="*/ 1788151 w 6096001"/>
              <a:gd name="connsiteY3593" fmla="*/ 5104097 h 5392467"/>
              <a:gd name="connsiteX3594" fmla="*/ 1782350 w 6096001"/>
              <a:gd name="connsiteY3594" fmla="*/ 5096361 h 5392467"/>
              <a:gd name="connsiteX3595" fmla="*/ 1768810 w 6096001"/>
              <a:gd name="connsiteY3595" fmla="*/ 5115702 h 5392467"/>
              <a:gd name="connsiteX3596" fmla="*/ 1755272 w 6096001"/>
              <a:gd name="connsiteY3596" fmla="*/ 5123438 h 5392467"/>
              <a:gd name="connsiteX3597" fmla="*/ 1733996 w 6096001"/>
              <a:gd name="connsiteY3597" fmla="*/ 5133110 h 5392467"/>
              <a:gd name="connsiteX3598" fmla="*/ 1712721 w 6096001"/>
              <a:gd name="connsiteY3598" fmla="*/ 5135043 h 5392467"/>
              <a:gd name="connsiteX3599" fmla="*/ 1718523 w 6096001"/>
              <a:gd name="connsiteY3599" fmla="*/ 5142780 h 5392467"/>
              <a:gd name="connsiteX3600" fmla="*/ 1668238 w 6096001"/>
              <a:gd name="connsiteY3600" fmla="*/ 5171790 h 5392467"/>
              <a:gd name="connsiteX3601" fmla="*/ 1675974 w 6096001"/>
              <a:gd name="connsiteY3601" fmla="*/ 5164054 h 5392467"/>
              <a:gd name="connsiteX3602" fmla="*/ 1645028 w 6096001"/>
              <a:gd name="connsiteY3602" fmla="*/ 5179529 h 5392467"/>
              <a:gd name="connsiteX3603" fmla="*/ 1643093 w 6096001"/>
              <a:gd name="connsiteY3603" fmla="*/ 5181462 h 5392467"/>
              <a:gd name="connsiteX3604" fmla="*/ 1623752 w 6096001"/>
              <a:gd name="connsiteY3604" fmla="*/ 5195000 h 5392467"/>
              <a:gd name="connsiteX3605" fmla="*/ 1606346 w 6096001"/>
              <a:gd name="connsiteY3605" fmla="*/ 5204672 h 5392467"/>
              <a:gd name="connsiteX3606" fmla="*/ 1604410 w 6096001"/>
              <a:gd name="connsiteY3606" fmla="*/ 5196935 h 5392467"/>
              <a:gd name="connsiteX3607" fmla="*/ 1588940 w 6096001"/>
              <a:gd name="connsiteY3607" fmla="*/ 5210473 h 5392467"/>
              <a:gd name="connsiteX3608" fmla="*/ 1569598 w 6096001"/>
              <a:gd name="connsiteY3608" fmla="*/ 5220145 h 5392467"/>
              <a:gd name="connsiteX3609" fmla="*/ 1579268 w 6096001"/>
              <a:gd name="connsiteY3609" fmla="*/ 5208540 h 5392467"/>
              <a:gd name="connsiteX3610" fmla="*/ 1536717 w 6096001"/>
              <a:gd name="connsiteY3610" fmla="*/ 5222078 h 5392467"/>
              <a:gd name="connsiteX3611" fmla="*/ 1546389 w 6096001"/>
              <a:gd name="connsiteY3611" fmla="*/ 5212408 h 5392467"/>
              <a:gd name="connsiteX3612" fmla="*/ 1542521 w 6096001"/>
              <a:gd name="connsiteY3612" fmla="*/ 5210473 h 5392467"/>
              <a:gd name="connsiteX3613" fmla="*/ 1498037 w 6096001"/>
              <a:gd name="connsiteY3613" fmla="*/ 5231747 h 5392467"/>
              <a:gd name="connsiteX3614" fmla="*/ 1440013 w 6096001"/>
              <a:gd name="connsiteY3614" fmla="*/ 5258827 h 5392467"/>
              <a:gd name="connsiteX3615" fmla="*/ 1438078 w 6096001"/>
              <a:gd name="connsiteY3615" fmla="*/ 5258827 h 5392467"/>
              <a:gd name="connsiteX3616" fmla="*/ 1461787 w 6096001"/>
              <a:gd name="connsiteY3616" fmla="*/ 5243853 h 5392467"/>
              <a:gd name="connsiteX3617" fmla="*/ 1463222 w 6096001"/>
              <a:gd name="connsiteY3617" fmla="*/ 5245287 h 5392467"/>
              <a:gd name="connsiteX3618" fmla="*/ 1469024 w 6096001"/>
              <a:gd name="connsiteY3618" fmla="*/ 5241419 h 5392467"/>
              <a:gd name="connsiteX3619" fmla="*/ 1467713 w 6096001"/>
              <a:gd name="connsiteY3619" fmla="*/ 5240111 h 5392467"/>
              <a:gd name="connsiteX3620" fmla="*/ 1474827 w 6096001"/>
              <a:gd name="connsiteY3620" fmla="*/ 5235618 h 5392467"/>
              <a:gd name="connsiteX3621" fmla="*/ 1461287 w 6096001"/>
              <a:gd name="connsiteY3621" fmla="*/ 5231747 h 5392467"/>
              <a:gd name="connsiteX3622" fmla="*/ 1422605 w 6096001"/>
              <a:gd name="connsiteY3622" fmla="*/ 5247223 h 5392467"/>
              <a:gd name="connsiteX3623" fmla="*/ 1411002 w 6096001"/>
              <a:gd name="connsiteY3623" fmla="*/ 5249156 h 5392467"/>
              <a:gd name="connsiteX3624" fmla="*/ 1438078 w 6096001"/>
              <a:gd name="connsiteY3624" fmla="*/ 5225946 h 5392467"/>
              <a:gd name="connsiteX3625" fmla="*/ 1443881 w 6096001"/>
              <a:gd name="connsiteY3625" fmla="*/ 5222078 h 5392467"/>
              <a:gd name="connsiteX3626" fmla="*/ 1441946 w 6096001"/>
              <a:gd name="connsiteY3626" fmla="*/ 5220145 h 5392467"/>
              <a:gd name="connsiteX3627" fmla="*/ 1391661 w 6096001"/>
              <a:gd name="connsiteY3627" fmla="*/ 5243354 h 5392467"/>
              <a:gd name="connsiteX3628" fmla="*/ 1374253 w 6096001"/>
              <a:gd name="connsiteY3628" fmla="*/ 5233683 h 5392467"/>
              <a:gd name="connsiteX3629" fmla="*/ 1378121 w 6096001"/>
              <a:gd name="connsiteY3629" fmla="*/ 5239486 h 5392467"/>
              <a:gd name="connsiteX3630" fmla="*/ 1381989 w 6096001"/>
              <a:gd name="connsiteY3630" fmla="*/ 5247223 h 5392467"/>
              <a:gd name="connsiteX3631" fmla="*/ 1374253 w 6096001"/>
              <a:gd name="connsiteY3631" fmla="*/ 5253024 h 5392467"/>
              <a:gd name="connsiteX3632" fmla="*/ 1352978 w 6096001"/>
              <a:gd name="connsiteY3632" fmla="*/ 5258827 h 5392467"/>
              <a:gd name="connsiteX3633" fmla="*/ 1331702 w 6096001"/>
              <a:gd name="connsiteY3633" fmla="*/ 5268497 h 5392467"/>
              <a:gd name="connsiteX3634" fmla="*/ 1312361 w 6096001"/>
              <a:gd name="connsiteY3634" fmla="*/ 5276233 h 5392467"/>
              <a:gd name="connsiteX3635" fmla="*/ 1318164 w 6096001"/>
              <a:gd name="connsiteY3635" fmla="*/ 5266564 h 5392467"/>
              <a:gd name="connsiteX3636" fmla="*/ 1242734 w 6096001"/>
              <a:gd name="connsiteY3636" fmla="*/ 5303311 h 5392467"/>
              <a:gd name="connsiteX3637" fmla="*/ 1240801 w 6096001"/>
              <a:gd name="connsiteY3637" fmla="*/ 5291706 h 5392467"/>
              <a:gd name="connsiteX3638" fmla="*/ 1242734 w 6096001"/>
              <a:gd name="connsiteY3638" fmla="*/ 5289771 h 5392467"/>
              <a:gd name="connsiteX3639" fmla="*/ 1254339 w 6096001"/>
              <a:gd name="connsiteY3639" fmla="*/ 5289771 h 5392467"/>
              <a:gd name="connsiteX3640" fmla="*/ 1293019 w 6096001"/>
              <a:gd name="connsiteY3640" fmla="*/ 5270430 h 5392467"/>
              <a:gd name="connsiteX3641" fmla="*/ 1300758 w 6096001"/>
              <a:gd name="connsiteY3641" fmla="*/ 5266564 h 5392467"/>
              <a:gd name="connsiteX3642" fmla="*/ 1329769 w 6096001"/>
              <a:gd name="connsiteY3642" fmla="*/ 5247223 h 5392467"/>
              <a:gd name="connsiteX3643" fmla="*/ 1320097 w 6096001"/>
              <a:gd name="connsiteY3643" fmla="*/ 5247223 h 5392467"/>
              <a:gd name="connsiteX3644" fmla="*/ 1294955 w 6096001"/>
              <a:gd name="connsiteY3644" fmla="*/ 5256892 h 5392467"/>
              <a:gd name="connsiteX3645" fmla="*/ 1285285 w 6096001"/>
              <a:gd name="connsiteY3645" fmla="*/ 5254957 h 5392467"/>
              <a:gd name="connsiteX3646" fmla="*/ 1275613 w 6096001"/>
              <a:gd name="connsiteY3646" fmla="*/ 5247223 h 5392467"/>
              <a:gd name="connsiteX3647" fmla="*/ 1291086 w 6096001"/>
              <a:gd name="connsiteY3647" fmla="*/ 5227881 h 5392467"/>
              <a:gd name="connsiteX3648" fmla="*/ 1304626 w 6096001"/>
              <a:gd name="connsiteY3648" fmla="*/ 5237551 h 5392467"/>
              <a:gd name="connsiteX3649" fmla="*/ 1320097 w 6096001"/>
              <a:gd name="connsiteY3649" fmla="*/ 5224013 h 5392467"/>
              <a:gd name="connsiteX3650" fmla="*/ 1325901 w 6096001"/>
              <a:gd name="connsiteY3650" fmla="*/ 5212408 h 5392467"/>
              <a:gd name="connsiteX3651" fmla="*/ 1335570 w 6096001"/>
              <a:gd name="connsiteY3651" fmla="*/ 5212408 h 5392467"/>
              <a:gd name="connsiteX3652" fmla="*/ 1331702 w 6096001"/>
              <a:gd name="connsiteY3652" fmla="*/ 5198871 h 5392467"/>
              <a:gd name="connsiteX3653" fmla="*/ 1306559 w 6096001"/>
              <a:gd name="connsiteY3653" fmla="*/ 5204672 h 5392467"/>
              <a:gd name="connsiteX3654" fmla="*/ 1312361 w 6096001"/>
              <a:gd name="connsiteY3654" fmla="*/ 5196935 h 5392467"/>
              <a:gd name="connsiteX3655" fmla="*/ 1331702 w 6096001"/>
              <a:gd name="connsiteY3655" fmla="*/ 5175661 h 5392467"/>
              <a:gd name="connsiteX3656" fmla="*/ 1343307 w 6096001"/>
              <a:gd name="connsiteY3656" fmla="*/ 5165989 h 5392467"/>
              <a:gd name="connsiteX3657" fmla="*/ 1374253 w 6096001"/>
              <a:gd name="connsiteY3657" fmla="*/ 5127307 h 5392467"/>
              <a:gd name="connsiteX3658" fmla="*/ 1356847 w 6096001"/>
              <a:gd name="connsiteY3658" fmla="*/ 5136978 h 5392467"/>
              <a:gd name="connsiteX3659" fmla="*/ 1343307 w 6096001"/>
              <a:gd name="connsiteY3659" fmla="*/ 5152451 h 5392467"/>
              <a:gd name="connsiteX3660" fmla="*/ 1325901 w 6096001"/>
              <a:gd name="connsiteY3660" fmla="*/ 5156320 h 5392467"/>
              <a:gd name="connsiteX3661" fmla="*/ 1294955 w 6096001"/>
              <a:gd name="connsiteY3661" fmla="*/ 5181462 h 5392467"/>
              <a:gd name="connsiteX3662" fmla="*/ 1302691 w 6096001"/>
              <a:gd name="connsiteY3662" fmla="*/ 5187263 h 5392467"/>
              <a:gd name="connsiteX3663" fmla="*/ 1293019 w 6096001"/>
              <a:gd name="connsiteY3663" fmla="*/ 5185330 h 5392467"/>
              <a:gd name="connsiteX3664" fmla="*/ 1291086 w 6096001"/>
              <a:gd name="connsiteY3664" fmla="*/ 5175661 h 5392467"/>
              <a:gd name="connsiteX3665" fmla="*/ 1252404 w 6096001"/>
              <a:gd name="connsiteY3665" fmla="*/ 5191132 h 5392467"/>
              <a:gd name="connsiteX3666" fmla="*/ 1258207 w 6096001"/>
              <a:gd name="connsiteY3666" fmla="*/ 5187263 h 5392467"/>
              <a:gd name="connsiteX3667" fmla="*/ 1275613 w 6096001"/>
              <a:gd name="connsiteY3667" fmla="*/ 5177594 h 5392467"/>
              <a:gd name="connsiteX3668" fmla="*/ 1293019 w 6096001"/>
              <a:gd name="connsiteY3668" fmla="*/ 5156320 h 5392467"/>
              <a:gd name="connsiteX3669" fmla="*/ 1306559 w 6096001"/>
              <a:gd name="connsiteY3669" fmla="*/ 5142780 h 5392467"/>
              <a:gd name="connsiteX3670" fmla="*/ 1312361 w 6096001"/>
              <a:gd name="connsiteY3670" fmla="*/ 5150516 h 5392467"/>
              <a:gd name="connsiteX3671" fmla="*/ 1318164 w 6096001"/>
              <a:gd name="connsiteY3671" fmla="*/ 5138911 h 5392467"/>
              <a:gd name="connsiteX3672" fmla="*/ 1337505 w 6096001"/>
              <a:gd name="connsiteY3672" fmla="*/ 5117637 h 5392467"/>
              <a:gd name="connsiteX3673" fmla="*/ 1345242 w 6096001"/>
              <a:gd name="connsiteY3673" fmla="*/ 5111836 h 5392467"/>
              <a:gd name="connsiteX3674" fmla="*/ 1364583 w 6096001"/>
              <a:gd name="connsiteY3674" fmla="*/ 5102164 h 5392467"/>
              <a:gd name="connsiteX3675" fmla="*/ 1369543 w 6096001"/>
              <a:gd name="connsiteY3675" fmla="*/ 5095551 h 5392467"/>
              <a:gd name="connsiteX3676" fmla="*/ 1376429 w 6096001"/>
              <a:gd name="connsiteY3676" fmla="*/ 5094427 h 5392467"/>
              <a:gd name="connsiteX3677" fmla="*/ 1383922 w 6096001"/>
              <a:gd name="connsiteY3677" fmla="*/ 5086691 h 5392467"/>
              <a:gd name="connsiteX3678" fmla="*/ 1375502 w 6096001"/>
              <a:gd name="connsiteY3678" fmla="*/ 5087606 h 5392467"/>
              <a:gd name="connsiteX3679" fmla="*/ 1376188 w 6096001"/>
              <a:gd name="connsiteY3679" fmla="*/ 5086691 h 5392467"/>
              <a:gd name="connsiteX3680" fmla="*/ 1374253 w 6096001"/>
              <a:gd name="connsiteY3680" fmla="*/ 5084756 h 5392467"/>
              <a:gd name="connsiteX3681" fmla="*/ 1354911 w 6096001"/>
              <a:gd name="connsiteY3681" fmla="*/ 5096361 h 5392467"/>
              <a:gd name="connsiteX3682" fmla="*/ 1349110 w 6096001"/>
              <a:gd name="connsiteY3682" fmla="*/ 5100229 h 5392467"/>
              <a:gd name="connsiteX3683" fmla="*/ 1316229 w 6096001"/>
              <a:gd name="connsiteY3683" fmla="*/ 5107965 h 5392467"/>
              <a:gd name="connsiteX3684" fmla="*/ 1310428 w 6096001"/>
              <a:gd name="connsiteY3684" fmla="*/ 5123438 h 5392467"/>
              <a:gd name="connsiteX3685" fmla="*/ 1293019 w 6096001"/>
              <a:gd name="connsiteY3685" fmla="*/ 5127307 h 5392467"/>
              <a:gd name="connsiteX3686" fmla="*/ 1298823 w 6096001"/>
              <a:gd name="connsiteY3686" fmla="*/ 5111836 h 5392467"/>
              <a:gd name="connsiteX3687" fmla="*/ 1252404 w 6096001"/>
              <a:gd name="connsiteY3687" fmla="*/ 5135043 h 5392467"/>
              <a:gd name="connsiteX3688" fmla="*/ 1250471 w 6096001"/>
              <a:gd name="connsiteY3688" fmla="*/ 5133110 h 5392467"/>
              <a:gd name="connsiteX3689" fmla="*/ 1279482 w 6096001"/>
              <a:gd name="connsiteY3689" fmla="*/ 5111836 h 5392467"/>
              <a:gd name="connsiteX3690" fmla="*/ 1306559 w 6096001"/>
              <a:gd name="connsiteY3690" fmla="*/ 5088626 h 5392467"/>
              <a:gd name="connsiteX3691" fmla="*/ 1275613 w 6096001"/>
              <a:gd name="connsiteY3691" fmla="*/ 5107965 h 5392467"/>
              <a:gd name="connsiteX3692" fmla="*/ 1275613 w 6096001"/>
              <a:gd name="connsiteY3692" fmla="*/ 5106032 h 5392467"/>
              <a:gd name="connsiteX3693" fmla="*/ 1289153 w 6096001"/>
              <a:gd name="connsiteY3693" fmla="*/ 5094428 h 5392467"/>
              <a:gd name="connsiteX3694" fmla="*/ 1302691 w 6096001"/>
              <a:gd name="connsiteY3694" fmla="*/ 5082823 h 5392467"/>
              <a:gd name="connsiteX3695" fmla="*/ 1244667 w 6096001"/>
              <a:gd name="connsiteY3695" fmla="*/ 5115702 h 5392467"/>
              <a:gd name="connsiteX3696" fmla="*/ 1240801 w 6096001"/>
              <a:gd name="connsiteY3696" fmla="*/ 5113769 h 5392467"/>
              <a:gd name="connsiteX3697" fmla="*/ 1246603 w 6096001"/>
              <a:gd name="connsiteY3697" fmla="*/ 5107965 h 5392467"/>
              <a:gd name="connsiteX3698" fmla="*/ 1277549 w 6096001"/>
              <a:gd name="connsiteY3698" fmla="*/ 5084756 h 5392467"/>
              <a:gd name="connsiteX3699" fmla="*/ 1283350 w 6096001"/>
              <a:gd name="connsiteY3699" fmla="*/ 5080888 h 5392467"/>
              <a:gd name="connsiteX3700" fmla="*/ 1302691 w 6096001"/>
              <a:gd name="connsiteY3700" fmla="*/ 5067350 h 5392467"/>
              <a:gd name="connsiteX3701" fmla="*/ 1310428 w 6096001"/>
              <a:gd name="connsiteY3701" fmla="*/ 5069285 h 5392467"/>
              <a:gd name="connsiteX3702" fmla="*/ 1316229 w 6096001"/>
              <a:gd name="connsiteY3702" fmla="*/ 5059613 h 5392467"/>
              <a:gd name="connsiteX3703" fmla="*/ 1331702 w 6096001"/>
              <a:gd name="connsiteY3703" fmla="*/ 5038339 h 5392467"/>
              <a:gd name="connsiteX3704" fmla="*/ 1345242 w 6096001"/>
              <a:gd name="connsiteY3704" fmla="*/ 5036404 h 5392467"/>
              <a:gd name="connsiteX3705" fmla="*/ 1358780 w 6096001"/>
              <a:gd name="connsiteY3705" fmla="*/ 5011261 h 5392467"/>
              <a:gd name="connsiteX3706" fmla="*/ 1370384 w 6096001"/>
              <a:gd name="connsiteY3706" fmla="*/ 5003525 h 5392467"/>
              <a:gd name="connsiteX3707" fmla="*/ 1387793 w 6096001"/>
              <a:gd name="connsiteY3707" fmla="*/ 4991920 h 5392467"/>
              <a:gd name="connsiteX3708" fmla="*/ 1381989 w 6096001"/>
              <a:gd name="connsiteY3708" fmla="*/ 4986119 h 5392467"/>
              <a:gd name="connsiteX3709" fmla="*/ 1412935 w 6096001"/>
              <a:gd name="connsiteY3709" fmla="*/ 4964842 h 5392467"/>
              <a:gd name="connsiteX3710" fmla="*/ 1403263 w 6096001"/>
              <a:gd name="connsiteY3710" fmla="*/ 4957106 h 5392467"/>
              <a:gd name="connsiteX3711" fmla="*/ 1395529 w 6096001"/>
              <a:gd name="connsiteY3711" fmla="*/ 4970643 h 5392467"/>
              <a:gd name="connsiteX3712" fmla="*/ 1393594 w 6096001"/>
              <a:gd name="connsiteY3712" fmla="*/ 4960974 h 5392467"/>
              <a:gd name="connsiteX3713" fmla="*/ 1381989 w 6096001"/>
              <a:gd name="connsiteY3713" fmla="*/ 4968710 h 5392467"/>
              <a:gd name="connsiteX3714" fmla="*/ 1372320 w 6096001"/>
              <a:gd name="connsiteY3714" fmla="*/ 4972579 h 5392467"/>
              <a:gd name="connsiteX3715" fmla="*/ 1343307 w 6096001"/>
              <a:gd name="connsiteY3715" fmla="*/ 4989985 h 5392467"/>
              <a:gd name="connsiteX3716" fmla="*/ 1327836 w 6096001"/>
              <a:gd name="connsiteY3716" fmla="*/ 4995788 h 5392467"/>
              <a:gd name="connsiteX3717" fmla="*/ 1291086 w 6096001"/>
              <a:gd name="connsiteY3717" fmla="*/ 5005460 h 5392467"/>
              <a:gd name="connsiteX3718" fmla="*/ 1287218 w 6096001"/>
              <a:gd name="connsiteY3718" fmla="*/ 5005460 h 5392467"/>
              <a:gd name="connsiteX3719" fmla="*/ 1298823 w 6096001"/>
              <a:gd name="connsiteY3719" fmla="*/ 4993853 h 5392467"/>
              <a:gd name="connsiteX3720" fmla="*/ 1300758 w 6096001"/>
              <a:gd name="connsiteY3720" fmla="*/ 4989985 h 5392467"/>
              <a:gd name="connsiteX3721" fmla="*/ 1312361 w 6096001"/>
              <a:gd name="connsiteY3721" fmla="*/ 4972579 h 5392467"/>
              <a:gd name="connsiteX3722" fmla="*/ 1331702 w 6096001"/>
              <a:gd name="connsiteY3722" fmla="*/ 4960974 h 5392467"/>
              <a:gd name="connsiteX3723" fmla="*/ 1351043 w 6096001"/>
              <a:gd name="connsiteY3723" fmla="*/ 4943568 h 5392467"/>
              <a:gd name="connsiteX3724" fmla="*/ 1312361 w 6096001"/>
              <a:gd name="connsiteY3724" fmla="*/ 4955173 h 5392467"/>
              <a:gd name="connsiteX3725" fmla="*/ 1304626 w 6096001"/>
              <a:gd name="connsiteY3725" fmla="*/ 4960974 h 5392467"/>
              <a:gd name="connsiteX3726" fmla="*/ 1273678 w 6096001"/>
              <a:gd name="connsiteY3726" fmla="*/ 4984184 h 5392467"/>
              <a:gd name="connsiteX3727" fmla="*/ 1269812 w 6096001"/>
              <a:gd name="connsiteY3727" fmla="*/ 4995788 h 5392467"/>
              <a:gd name="connsiteX3728" fmla="*/ 1264009 w 6096001"/>
              <a:gd name="connsiteY3728" fmla="*/ 4997721 h 5392467"/>
              <a:gd name="connsiteX3729" fmla="*/ 1258207 w 6096001"/>
              <a:gd name="connsiteY3729" fmla="*/ 4989985 h 5392467"/>
              <a:gd name="connsiteX3730" fmla="*/ 1279482 w 6096001"/>
              <a:gd name="connsiteY3730" fmla="*/ 4970643 h 5392467"/>
              <a:gd name="connsiteX3731" fmla="*/ 1285285 w 6096001"/>
              <a:gd name="connsiteY3731" fmla="*/ 4968710 h 5392467"/>
              <a:gd name="connsiteX3732" fmla="*/ 1294955 w 6096001"/>
              <a:gd name="connsiteY3732" fmla="*/ 4959041 h 5392467"/>
              <a:gd name="connsiteX3733" fmla="*/ 1277549 w 6096001"/>
              <a:gd name="connsiteY3733" fmla="*/ 4964842 h 5392467"/>
              <a:gd name="connsiteX3734" fmla="*/ 1271745 w 6096001"/>
              <a:gd name="connsiteY3734" fmla="*/ 4970643 h 5392467"/>
              <a:gd name="connsiteX3735" fmla="*/ 1267877 w 6096001"/>
              <a:gd name="connsiteY3735" fmla="*/ 4966778 h 5392467"/>
              <a:gd name="connsiteX3736" fmla="*/ 1254339 w 6096001"/>
              <a:gd name="connsiteY3736" fmla="*/ 4962909 h 5392467"/>
              <a:gd name="connsiteX3737" fmla="*/ 1267877 w 6096001"/>
              <a:gd name="connsiteY3737" fmla="*/ 4955173 h 5392467"/>
              <a:gd name="connsiteX3738" fmla="*/ 1267877 w 6096001"/>
              <a:gd name="connsiteY3738" fmla="*/ 4953237 h 5392467"/>
              <a:gd name="connsiteX3739" fmla="*/ 1269812 w 6096001"/>
              <a:gd name="connsiteY3739" fmla="*/ 4953237 h 5392467"/>
              <a:gd name="connsiteX3740" fmla="*/ 1281417 w 6096001"/>
              <a:gd name="connsiteY3740" fmla="*/ 4945501 h 5392467"/>
              <a:gd name="connsiteX3741" fmla="*/ 1293019 w 6096001"/>
              <a:gd name="connsiteY3741" fmla="*/ 4945501 h 5392467"/>
              <a:gd name="connsiteX3742" fmla="*/ 1302691 w 6096001"/>
              <a:gd name="connsiteY3742" fmla="*/ 4926160 h 5392467"/>
              <a:gd name="connsiteX3743" fmla="*/ 1298823 w 6096001"/>
              <a:gd name="connsiteY3743" fmla="*/ 4924227 h 5392467"/>
              <a:gd name="connsiteX3744" fmla="*/ 1260140 w 6096001"/>
              <a:gd name="connsiteY3744" fmla="*/ 4951302 h 5392467"/>
              <a:gd name="connsiteX3745" fmla="*/ 1265944 w 6096001"/>
              <a:gd name="connsiteY3745" fmla="*/ 4939700 h 5392467"/>
              <a:gd name="connsiteX3746" fmla="*/ 1279482 w 6096001"/>
              <a:gd name="connsiteY3746" fmla="*/ 4922291 h 5392467"/>
              <a:gd name="connsiteX3747" fmla="*/ 1250471 w 6096001"/>
              <a:gd name="connsiteY3747" fmla="*/ 4931963 h 5392467"/>
              <a:gd name="connsiteX3748" fmla="*/ 1204052 w 6096001"/>
              <a:gd name="connsiteY3748" fmla="*/ 4943568 h 5392467"/>
              <a:gd name="connsiteX3749" fmla="*/ 1184711 w 6096001"/>
              <a:gd name="connsiteY3749" fmla="*/ 4949369 h 5392467"/>
              <a:gd name="connsiteX3750" fmla="*/ 1138291 w 6096001"/>
              <a:gd name="connsiteY3750" fmla="*/ 4960974 h 5392467"/>
              <a:gd name="connsiteX3751" fmla="*/ 1163436 w 6096001"/>
              <a:gd name="connsiteY3751" fmla="*/ 4947436 h 5392467"/>
              <a:gd name="connsiteX3752" fmla="*/ 1215657 w 6096001"/>
              <a:gd name="connsiteY3752" fmla="*/ 4930028 h 5392467"/>
              <a:gd name="connsiteX3753" fmla="*/ 1236931 w 6096001"/>
              <a:gd name="connsiteY3753" fmla="*/ 4922291 h 5392467"/>
              <a:gd name="connsiteX3754" fmla="*/ 1269812 w 6096001"/>
              <a:gd name="connsiteY3754" fmla="*/ 4914555 h 5392467"/>
              <a:gd name="connsiteX3755" fmla="*/ 1277549 w 6096001"/>
              <a:gd name="connsiteY3755" fmla="*/ 4908754 h 5392467"/>
              <a:gd name="connsiteX3756" fmla="*/ 1294955 w 6096001"/>
              <a:gd name="connsiteY3756" fmla="*/ 4901017 h 5392467"/>
              <a:gd name="connsiteX3757" fmla="*/ 1302691 w 6096001"/>
              <a:gd name="connsiteY3757" fmla="*/ 4895216 h 5392467"/>
              <a:gd name="connsiteX3758" fmla="*/ 1320097 w 6096001"/>
              <a:gd name="connsiteY3758" fmla="*/ 4879743 h 5392467"/>
              <a:gd name="connsiteX3759" fmla="*/ 1300758 w 6096001"/>
              <a:gd name="connsiteY3759" fmla="*/ 4885544 h 5392467"/>
              <a:gd name="connsiteX3760" fmla="*/ 1362648 w 6096001"/>
              <a:gd name="connsiteY3760" fmla="*/ 4839125 h 5392467"/>
              <a:gd name="connsiteX3761" fmla="*/ 1360713 w 6096001"/>
              <a:gd name="connsiteY3761" fmla="*/ 4837192 h 5392467"/>
              <a:gd name="connsiteX3762" fmla="*/ 1294955 w 6096001"/>
              <a:gd name="connsiteY3762" fmla="*/ 4881676 h 5392467"/>
              <a:gd name="connsiteX3763" fmla="*/ 1304626 w 6096001"/>
              <a:gd name="connsiteY3763" fmla="*/ 4862335 h 5392467"/>
              <a:gd name="connsiteX3764" fmla="*/ 1356847 w 6096001"/>
              <a:gd name="connsiteY3764" fmla="*/ 4821719 h 5392467"/>
              <a:gd name="connsiteX3765" fmla="*/ 1360713 w 6096001"/>
              <a:gd name="connsiteY3765" fmla="*/ 4812050 h 5392467"/>
              <a:gd name="connsiteX3766" fmla="*/ 1325901 w 6096001"/>
              <a:gd name="connsiteY3766" fmla="*/ 4837192 h 5392467"/>
              <a:gd name="connsiteX3767" fmla="*/ 1325901 w 6096001"/>
              <a:gd name="connsiteY3767" fmla="*/ 4823652 h 5392467"/>
              <a:gd name="connsiteX3768" fmla="*/ 1316229 w 6096001"/>
              <a:gd name="connsiteY3768" fmla="*/ 4839125 h 5392467"/>
              <a:gd name="connsiteX3769" fmla="*/ 1294955 w 6096001"/>
              <a:gd name="connsiteY3769" fmla="*/ 4839125 h 5392467"/>
              <a:gd name="connsiteX3770" fmla="*/ 1333637 w 6096001"/>
              <a:gd name="connsiteY3770" fmla="*/ 4808181 h 5392467"/>
              <a:gd name="connsiteX3771" fmla="*/ 1343307 w 6096001"/>
              <a:gd name="connsiteY3771" fmla="*/ 4819784 h 5392467"/>
              <a:gd name="connsiteX3772" fmla="*/ 1339438 w 6096001"/>
              <a:gd name="connsiteY3772" fmla="*/ 4804311 h 5392467"/>
              <a:gd name="connsiteX3773" fmla="*/ 1368451 w 6096001"/>
              <a:gd name="connsiteY3773" fmla="*/ 4783037 h 5392467"/>
              <a:gd name="connsiteX3774" fmla="*/ 1372320 w 6096001"/>
              <a:gd name="connsiteY3774" fmla="*/ 4779168 h 5392467"/>
              <a:gd name="connsiteX3775" fmla="*/ 1393594 w 6096001"/>
              <a:gd name="connsiteY3775" fmla="*/ 4761762 h 5392467"/>
              <a:gd name="connsiteX3776" fmla="*/ 1374253 w 6096001"/>
              <a:gd name="connsiteY3776" fmla="*/ 4769499 h 5392467"/>
              <a:gd name="connsiteX3777" fmla="*/ 1364583 w 6096001"/>
              <a:gd name="connsiteY3777" fmla="*/ 4775300 h 5392467"/>
              <a:gd name="connsiteX3778" fmla="*/ 1358780 w 6096001"/>
              <a:gd name="connsiteY3778" fmla="*/ 4779168 h 5392467"/>
              <a:gd name="connsiteX3779" fmla="*/ 1356847 w 6096001"/>
              <a:gd name="connsiteY3779" fmla="*/ 4781101 h 5392467"/>
              <a:gd name="connsiteX3780" fmla="*/ 1322032 w 6096001"/>
              <a:gd name="connsiteY3780" fmla="*/ 4808181 h 5392467"/>
              <a:gd name="connsiteX3781" fmla="*/ 1310428 w 6096001"/>
              <a:gd name="connsiteY3781" fmla="*/ 4813983 h 5392467"/>
              <a:gd name="connsiteX3782" fmla="*/ 1316229 w 6096001"/>
              <a:gd name="connsiteY3782" fmla="*/ 4802378 h 5392467"/>
              <a:gd name="connsiteX3783" fmla="*/ 1308495 w 6096001"/>
              <a:gd name="connsiteY3783" fmla="*/ 4804311 h 5392467"/>
              <a:gd name="connsiteX3784" fmla="*/ 1275613 w 6096001"/>
              <a:gd name="connsiteY3784" fmla="*/ 4817851 h 5392467"/>
              <a:gd name="connsiteX3785" fmla="*/ 1267877 w 6096001"/>
              <a:gd name="connsiteY3785" fmla="*/ 4821719 h 5392467"/>
              <a:gd name="connsiteX3786" fmla="*/ 1236931 w 6096001"/>
              <a:gd name="connsiteY3786" fmla="*/ 4835257 h 5392467"/>
              <a:gd name="connsiteX3787" fmla="*/ 1202119 w 6096001"/>
              <a:gd name="connsiteY3787" fmla="*/ 4850730 h 5392467"/>
              <a:gd name="connsiteX3788" fmla="*/ 1194382 w 6096001"/>
              <a:gd name="connsiteY3788" fmla="*/ 4852665 h 5392467"/>
              <a:gd name="connsiteX3789" fmla="*/ 1140227 w 6096001"/>
              <a:gd name="connsiteY3789" fmla="*/ 4872006 h 5392467"/>
              <a:gd name="connsiteX3790" fmla="*/ 1124754 w 6096001"/>
              <a:gd name="connsiteY3790" fmla="*/ 4873939 h 5392467"/>
              <a:gd name="connsiteX3791" fmla="*/ 1084138 w 6096001"/>
              <a:gd name="connsiteY3791" fmla="*/ 4864268 h 5392467"/>
              <a:gd name="connsiteX3792" fmla="*/ 1084138 w 6096001"/>
              <a:gd name="connsiteY3792" fmla="*/ 4862335 h 5392467"/>
              <a:gd name="connsiteX3793" fmla="*/ 1086071 w 6096001"/>
              <a:gd name="connsiteY3793" fmla="*/ 4858466 h 5392467"/>
              <a:gd name="connsiteX3794" fmla="*/ 1111216 w 6096001"/>
              <a:gd name="connsiteY3794" fmla="*/ 4844929 h 5392467"/>
              <a:gd name="connsiteX3795" fmla="*/ 1089939 w 6096001"/>
              <a:gd name="connsiteY3795" fmla="*/ 4850730 h 5392467"/>
              <a:gd name="connsiteX3796" fmla="*/ 1082203 w 6096001"/>
              <a:gd name="connsiteY3796" fmla="*/ 4854598 h 5392467"/>
              <a:gd name="connsiteX3797" fmla="*/ 1060929 w 6096001"/>
              <a:gd name="connsiteY3797" fmla="*/ 4864268 h 5392467"/>
              <a:gd name="connsiteX3798" fmla="*/ 1039652 w 6096001"/>
              <a:gd name="connsiteY3798" fmla="*/ 4872006 h 5392467"/>
              <a:gd name="connsiteX3799" fmla="*/ 1053192 w 6096001"/>
              <a:gd name="connsiteY3799" fmla="*/ 4858466 h 5392467"/>
              <a:gd name="connsiteX3800" fmla="*/ 1070598 w 6096001"/>
              <a:gd name="connsiteY3800" fmla="*/ 4842993 h 5392467"/>
              <a:gd name="connsiteX3801" fmla="*/ 1045456 w 6096001"/>
              <a:gd name="connsiteY3801" fmla="*/ 4844929 h 5392467"/>
              <a:gd name="connsiteX3802" fmla="*/ 1055125 w 6096001"/>
              <a:gd name="connsiteY3802" fmla="*/ 4835257 h 5392467"/>
              <a:gd name="connsiteX3803" fmla="*/ 1066732 w 6096001"/>
              <a:gd name="connsiteY3803" fmla="*/ 4815916 h 5392467"/>
              <a:gd name="connsiteX3804" fmla="*/ 1099609 w 6096001"/>
              <a:gd name="connsiteY3804" fmla="*/ 4796574 h 5392467"/>
              <a:gd name="connsiteX3805" fmla="*/ 1089939 w 6096001"/>
              <a:gd name="connsiteY3805" fmla="*/ 4796574 h 5392467"/>
              <a:gd name="connsiteX3806" fmla="*/ 1120886 w 6096001"/>
              <a:gd name="connsiteY3806" fmla="*/ 4769499 h 5392467"/>
              <a:gd name="connsiteX3807" fmla="*/ 1115084 w 6096001"/>
              <a:gd name="connsiteY3807" fmla="*/ 4767564 h 5392467"/>
              <a:gd name="connsiteX3808" fmla="*/ 1107348 w 6096001"/>
              <a:gd name="connsiteY3808" fmla="*/ 4773367 h 5392467"/>
              <a:gd name="connsiteX3809" fmla="*/ 1084138 w 6096001"/>
              <a:gd name="connsiteY3809" fmla="*/ 4788840 h 5392467"/>
              <a:gd name="connsiteX3810" fmla="*/ 1105413 w 6096001"/>
              <a:gd name="connsiteY3810" fmla="*/ 4769499 h 5392467"/>
              <a:gd name="connsiteX3811" fmla="*/ 1101544 w 6096001"/>
              <a:gd name="connsiteY3811" fmla="*/ 4769499 h 5392467"/>
              <a:gd name="connsiteX3812" fmla="*/ 1101544 w 6096001"/>
              <a:gd name="connsiteY3812" fmla="*/ 4761762 h 5392467"/>
              <a:gd name="connsiteX3813" fmla="*/ 1091875 w 6096001"/>
              <a:gd name="connsiteY3813" fmla="*/ 4771432 h 5392467"/>
              <a:gd name="connsiteX3814" fmla="*/ 1074467 w 6096001"/>
              <a:gd name="connsiteY3814" fmla="*/ 4784972 h 5392467"/>
              <a:gd name="connsiteX3815" fmla="*/ 1049324 w 6096001"/>
              <a:gd name="connsiteY3815" fmla="*/ 4802378 h 5392467"/>
              <a:gd name="connsiteX3816" fmla="*/ 1039652 w 6096001"/>
              <a:gd name="connsiteY3816" fmla="*/ 4802378 h 5392467"/>
              <a:gd name="connsiteX3817" fmla="*/ 1057061 w 6096001"/>
              <a:gd name="connsiteY3817" fmla="*/ 4790773 h 5392467"/>
              <a:gd name="connsiteX3818" fmla="*/ 1076402 w 6096001"/>
              <a:gd name="connsiteY3818" fmla="*/ 4775300 h 5392467"/>
              <a:gd name="connsiteX3819" fmla="*/ 1084138 w 6096001"/>
              <a:gd name="connsiteY3819" fmla="*/ 4769499 h 5392467"/>
              <a:gd name="connsiteX3820" fmla="*/ 1099609 w 6096001"/>
              <a:gd name="connsiteY3820" fmla="*/ 4755959 h 5392467"/>
              <a:gd name="connsiteX3821" fmla="*/ 1093808 w 6096001"/>
              <a:gd name="connsiteY3821" fmla="*/ 4748222 h 5392467"/>
              <a:gd name="connsiteX3822" fmla="*/ 1095743 w 6096001"/>
              <a:gd name="connsiteY3822" fmla="*/ 4732749 h 5392467"/>
              <a:gd name="connsiteX3823" fmla="*/ 1099609 w 6096001"/>
              <a:gd name="connsiteY3823" fmla="*/ 4726948 h 5392467"/>
              <a:gd name="connsiteX3824" fmla="*/ 1105413 w 6096001"/>
              <a:gd name="connsiteY3824" fmla="*/ 4732749 h 5392467"/>
              <a:gd name="connsiteX3825" fmla="*/ 1120886 w 6096001"/>
              <a:gd name="connsiteY3825" fmla="*/ 4730816 h 5392467"/>
              <a:gd name="connsiteX3826" fmla="*/ 1113149 w 6096001"/>
              <a:gd name="connsiteY3826" fmla="*/ 4744354 h 5392467"/>
              <a:gd name="connsiteX3827" fmla="*/ 1118950 w 6096001"/>
              <a:gd name="connsiteY3827" fmla="*/ 4746289 h 5392467"/>
              <a:gd name="connsiteX3828" fmla="*/ 1132490 w 6096001"/>
              <a:gd name="connsiteY3828" fmla="*/ 4734685 h 5392467"/>
              <a:gd name="connsiteX3829" fmla="*/ 1128622 w 6096001"/>
              <a:gd name="connsiteY3829" fmla="*/ 4723080 h 5392467"/>
              <a:gd name="connsiteX3830" fmla="*/ 1134426 w 6096001"/>
              <a:gd name="connsiteY3830" fmla="*/ 4723080 h 5392467"/>
              <a:gd name="connsiteX3831" fmla="*/ 1138291 w 6096001"/>
              <a:gd name="connsiteY3831" fmla="*/ 4719212 h 5392467"/>
              <a:gd name="connsiteX3832" fmla="*/ 1130557 w 6096001"/>
              <a:gd name="connsiteY3832" fmla="*/ 4717276 h 5392467"/>
              <a:gd name="connsiteX3833" fmla="*/ 1120886 w 6096001"/>
              <a:gd name="connsiteY3833" fmla="*/ 4721147 h 5392467"/>
              <a:gd name="connsiteX3834" fmla="*/ 1124754 w 6096001"/>
              <a:gd name="connsiteY3834" fmla="*/ 4688265 h 5392467"/>
              <a:gd name="connsiteX3835" fmla="*/ 1122818 w 6096001"/>
              <a:gd name="connsiteY3835" fmla="*/ 4688265 h 5392467"/>
              <a:gd name="connsiteX3836" fmla="*/ 1115084 w 6096001"/>
              <a:gd name="connsiteY3836" fmla="*/ 4697937 h 5392467"/>
              <a:gd name="connsiteX3837" fmla="*/ 1113149 w 6096001"/>
              <a:gd name="connsiteY3837" fmla="*/ 4694067 h 5392467"/>
              <a:gd name="connsiteX3838" fmla="*/ 1115084 w 6096001"/>
              <a:gd name="connsiteY3838" fmla="*/ 4682464 h 5392467"/>
              <a:gd name="connsiteX3839" fmla="*/ 1107348 w 6096001"/>
              <a:gd name="connsiteY3839" fmla="*/ 4682464 h 5392467"/>
              <a:gd name="connsiteX3840" fmla="*/ 1089939 w 6096001"/>
              <a:gd name="connsiteY3840" fmla="*/ 4670859 h 5392467"/>
              <a:gd name="connsiteX3841" fmla="*/ 1146028 w 6096001"/>
              <a:gd name="connsiteY3841" fmla="*/ 4641846 h 5392467"/>
              <a:gd name="connsiteX3842" fmla="*/ 1132490 w 6096001"/>
              <a:gd name="connsiteY3842" fmla="*/ 4637980 h 5392467"/>
              <a:gd name="connsiteX3843" fmla="*/ 1126687 w 6096001"/>
              <a:gd name="connsiteY3843" fmla="*/ 4632177 h 5392467"/>
              <a:gd name="connsiteX3844" fmla="*/ 1113149 w 6096001"/>
              <a:gd name="connsiteY3844" fmla="*/ 4618639 h 5392467"/>
              <a:gd name="connsiteX3845" fmla="*/ 1105413 w 6096001"/>
              <a:gd name="connsiteY3845" fmla="*/ 4616704 h 5392467"/>
              <a:gd name="connsiteX3846" fmla="*/ 1091875 w 6096001"/>
              <a:gd name="connsiteY3846" fmla="*/ 4603164 h 5392467"/>
              <a:gd name="connsiteX3847" fmla="*/ 1088007 w 6096001"/>
              <a:gd name="connsiteY3847" fmla="*/ 4585758 h 5392467"/>
              <a:gd name="connsiteX3848" fmla="*/ 1064797 w 6096001"/>
              <a:gd name="connsiteY3848" fmla="*/ 4587693 h 5392467"/>
              <a:gd name="connsiteX3849" fmla="*/ 1064797 w 6096001"/>
              <a:gd name="connsiteY3849" fmla="*/ 4572220 h 5392467"/>
              <a:gd name="connsiteX3850" fmla="*/ 1049324 w 6096001"/>
              <a:gd name="connsiteY3850" fmla="*/ 4564484 h 5392467"/>
              <a:gd name="connsiteX3851" fmla="*/ 1029983 w 6096001"/>
              <a:gd name="connsiteY3851" fmla="*/ 4556747 h 5392467"/>
              <a:gd name="connsiteX3852" fmla="*/ 1024182 w 6096001"/>
              <a:gd name="connsiteY3852" fmla="*/ 4552879 h 5392467"/>
              <a:gd name="connsiteX3853" fmla="*/ 1004840 w 6096001"/>
              <a:gd name="connsiteY3853" fmla="*/ 4539339 h 5392467"/>
              <a:gd name="connsiteX3854" fmla="*/ 997104 w 6096001"/>
              <a:gd name="connsiteY3854" fmla="*/ 4537406 h 5392467"/>
              <a:gd name="connsiteX3855" fmla="*/ 991300 w 6096001"/>
              <a:gd name="connsiteY3855" fmla="*/ 4537406 h 5392467"/>
              <a:gd name="connsiteX3856" fmla="*/ 954553 w 6096001"/>
              <a:gd name="connsiteY3856" fmla="*/ 4558680 h 5392467"/>
              <a:gd name="connsiteX3857" fmla="*/ 952618 w 6096001"/>
              <a:gd name="connsiteY3857" fmla="*/ 4560615 h 5392467"/>
              <a:gd name="connsiteX3858" fmla="*/ 942948 w 6096001"/>
              <a:gd name="connsiteY3858" fmla="*/ 4566417 h 5392467"/>
              <a:gd name="connsiteX3859" fmla="*/ 935212 w 6096001"/>
              <a:gd name="connsiteY3859" fmla="*/ 4578021 h 5392467"/>
              <a:gd name="connsiteX3860" fmla="*/ 939080 w 6096001"/>
              <a:gd name="connsiteY3860" fmla="*/ 4583823 h 5392467"/>
              <a:gd name="connsiteX3861" fmla="*/ 939080 w 6096001"/>
              <a:gd name="connsiteY3861" fmla="*/ 4589626 h 5392467"/>
              <a:gd name="connsiteX3862" fmla="*/ 915870 w 6096001"/>
              <a:gd name="connsiteY3862" fmla="*/ 4610903 h 5392467"/>
              <a:gd name="connsiteX3863" fmla="*/ 910069 w 6096001"/>
              <a:gd name="connsiteY3863" fmla="*/ 4618639 h 5392467"/>
              <a:gd name="connsiteX3864" fmla="*/ 888793 w 6096001"/>
              <a:gd name="connsiteY3864" fmla="*/ 4626373 h 5392467"/>
              <a:gd name="connsiteX3865" fmla="*/ 881056 w 6096001"/>
              <a:gd name="connsiteY3865" fmla="*/ 4620572 h 5392467"/>
              <a:gd name="connsiteX3866" fmla="*/ 875255 w 6096001"/>
              <a:gd name="connsiteY3866" fmla="*/ 4610903 h 5392467"/>
              <a:gd name="connsiteX3867" fmla="*/ 877188 w 6096001"/>
              <a:gd name="connsiteY3867" fmla="*/ 4599298 h 5392467"/>
              <a:gd name="connsiteX3868" fmla="*/ 879123 w 6096001"/>
              <a:gd name="connsiteY3868" fmla="*/ 4589626 h 5392467"/>
              <a:gd name="connsiteX3869" fmla="*/ 873320 w 6096001"/>
              <a:gd name="connsiteY3869" fmla="*/ 4576088 h 5392467"/>
              <a:gd name="connsiteX3870" fmla="*/ 863650 w 6096001"/>
              <a:gd name="connsiteY3870" fmla="*/ 4566417 h 5392467"/>
              <a:gd name="connsiteX3871" fmla="*/ 846244 w 6096001"/>
              <a:gd name="connsiteY3871" fmla="*/ 4566417 h 5392467"/>
              <a:gd name="connsiteX3872" fmla="*/ 826903 w 6096001"/>
              <a:gd name="connsiteY3872" fmla="*/ 4564484 h 5392467"/>
              <a:gd name="connsiteX3873" fmla="*/ 797890 w 6096001"/>
              <a:gd name="connsiteY3873" fmla="*/ 4552879 h 5392467"/>
              <a:gd name="connsiteX3874" fmla="*/ 792089 w 6096001"/>
              <a:gd name="connsiteY3874" fmla="*/ 4554812 h 5392467"/>
              <a:gd name="connsiteX3875" fmla="*/ 780484 w 6096001"/>
              <a:gd name="connsiteY3875" fmla="*/ 4552879 h 5392467"/>
              <a:gd name="connsiteX3876" fmla="*/ 770812 w 6096001"/>
              <a:gd name="connsiteY3876" fmla="*/ 4550944 h 5392467"/>
              <a:gd name="connsiteX3877" fmla="*/ 765011 w 6096001"/>
              <a:gd name="connsiteY3877" fmla="*/ 4552879 h 5392467"/>
              <a:gd name="connsiteX3878" fmla="*/ 759210 w 6096001"/>
              <a:gd name="connsiteY3878" fmla="*/ 4552879 h 5392467"/>
              <a:gd name="connsiteX3879" fmla="*/ 745670 w 6096001"/>
              <a:gd name="connsiteY3879" fmla="*/ 4543207 h 5392467"/>
              <a:gd name="connsiteX3880" fmla="*/ 734065 w 6096001"/>
              <a:gd name="connsiteY3880" fmla="*/ 4539339 h 5392467"/>
              <a:gd name="connsiteX3881" fmla="*/ 724395 w 6096001"/>
              <a:gd name="connsiteY3881" fmla="*/ 4539339 h 5392467"/>
              <a:gd name="connsiteX3882" fmla="*/ 708922 w 6096001"/>
              <a:gd name="connsiteY3882" fmla="*/ 4535471 h 5392467"/>
              <a:gd name="connsiteX3883" fmla="*/ 693449 w 6096001"/>
              <a:gd name="connsiteY3883" fmla="*/ 4521933 h 5392467"/>
              <a:gd name="connsiteX3884" fmla="*/ 687646 w 6096001"/>
              <a:gd name="connsiteY3884" fmla="*/ 4514196 h 5392467"/>
              <a:gd name="connsiteX3885" fmla="*/ 670240 w 6096001"/>
              <a:gd name="connsiteY3885" fmla="*/ 4502592 h 5392467"/>
              <a:gd name="connsiteX3886" fmla="*/ 706987 w 6096001"/>
              <a:gd name="connsiteY3886" fmla="*/ 4448436 h 5392467"/>
              <a:gd name="connsiteX3887" fmla="*/ 691514 w 6096001"/>
              <a:gd name="connsiteY3887" fmla="*/ 4432963 h 5392467"/>
              <a:gd name="connsiteX3888" fmla="*/ 679909 w 6096001"/>
              <a:gd name="connsiteY3888" fmla="*/ 4425229 h 5392467"/>
              <a:gd name="connsiteX3889" fmla="*/ 658635 w 6096001"/>
              <a:gd name="connsiteY3889" fmla="*/ 4436831 h 5392467"/>
              <a:gd name="connsiteX3890" fmla="*/ 645097 w 6096001"/>
              <a:gd name="connsiteY3890" fmla="*/ 4442635 h 5392467"/>
              <a:gd name="connsiteX3891" fmla="*/ 631557 w 6096001"/>
              <a:gd name="connsiteY3891" fmla="*/ 4444568 h 5392467"/>
              <a:gd name="connsiteX3892" fmla="*/ 618019 w 6096001"/>
              <a:gd name="connsiteY3892" fmla="*/ 4448436 h 5392467"/>
              <a:gd name="connsiteX3893" fmla="*/ 606415 w 6096001"/>
              <a:gd name="connsiteY3893" fmla="*/ 4450371 h 5392467"/>
              <a:gd name="connsiteX3894" fmla="*/ 592875 w 6096001"/>
              <a:gd name="connsiteY3894" fmla="*/ 4448436 h 5392467"/>
              <a:gd name="connsiteX3895" fmla="*/ 583205 w 6096001"/>
              <a:gd name="connsiteY3895" fmla="*/ 4440702 h 5392467"/>
              <a:gd name="connsiteX3896" fmla="*/ 575469 w 6096001"/>
              <a:gd name="connsiteY3896" fmla="*/ 4434898 h 5392467"/>
              <a:gd name="connsiteX3897" fmla="*/ 558063 w 6096001"/>
              <a:gd name="connsiteY3897" fmla="*/ 4444568 h 5392467"/>
              <a:gd name="connsiteX3898" fmla="*/ 544523 w 6096001"/>
              <a:gd name="connsiteY3898" fmla="*/ 4446503 h 5392467"/>
              <a:gd name="connsiteX3899" fmla="*/ 532918 w 6096001"/>
              <a:gd name="connsiteY3899" fmla="*/ 4460041 h 5392467"/>
              <a:gd name="connsiteX3900" fmla="*/ 503907 w 6096001"/>
              <a:gd name="connsiteY3900" fmla="*/ 4475514 h 5392467"/>
              <a:gd name="connsiteX3901" fmla="*/ 490370 w 6096001"/>
              <a:gd name="connsiteY3901" fmla="*/ 4481317 h 5392467"/>
              <a:gd name="connsiteX3902" fmla="*/ 459424 w 6096001"/>
              <a:gd name="connsiteY3902" fmla="*/ 4502592 h 5392467"/>
              <a:gd name="connsiteX3903" fmla="*/ 451687 w 6096001"/>
              <a:gd name="connsiteY3903" fmla="*/ 4508395 h 5392467"/>
              <a:gd name="connsiteX3904" fmla="*/ 378190 w 6096001"/>
              <a:gd name="connsiteY3904" fmla="*/ 4545142 h 5392467"/>
              <a:gd name="connsiteX3905" fmla="*/ 368521 w 6096001"/>
              <a:gd name="connsiteY3905" fmla="*/ 4547075 h 5392467"/>
              <a:gd name="connsiteX3906" fmla="*/ 354981 w 6096001"/>
              <a:gd name="connsiteY3906" fmla="*/ 4554812 h 5392467"/>
              <a:gd name="connsiteX3907" fmla="*/ 347244 w 6096001"/>
              <a:gd name="connsiteY3907" fmla="*/ 4560615 h 5392467"/>
              <a:gd name="connsiteX3908" fmla="*/ 337575 w 6096001"/>
              <a:gd name="connsiteY3908" fmla="*/ 4560615 h 5392467"/>
              <a:gd name="connsiteX3909" fmla="*/ 277618 w 6096001"/>
              <a:gd name="connsiteY3909" fmla="*/ 4591561 h 5392467"/>
              <a:gd name="connsiteX3910" fmla="*/ 237000 w 6096001"/>
              <a:gd name="connsiteY3910" fmla="*/ 4572220 h 5392467"/>
              <a:gd name="connsiteX3911" fmla="*/ 200253 w 6096001"/>
              <a:gd name="connsiteY3911" fmla="*/ 4597363 h 5392467"/>
              <a:gd name="connsiteX3912" fmla="*/ 155769 w 6096001"/>
              <a:gd name="connsiteY3912" fmla="*/ 4620572 h 5392467"/>
              <a:gd name="connsiteX3913" fmla="*/ 132559 w 6096001"/>
              <a:gd name="connsiteY3913" fmla="*/ 4630242 h 5392467"/>
              <a:gd name="connsiteX3914" fmla="*/ 109350 w 6096001"/>
              <a:gd name="connsiteY3914" fmla="*/ 4634112 h 5392467"/>
              <a:gd name="connsiteX3915" fmla="*/ 86140 w 6096001"/>
              <a:gd name="connsiteY3915" fmla="*/ 4639913 h 5392467"/>
              <a:gd name="connsiteX3916" fmla="*/ 64866 w 6096001"/>
              <a:gd name="connsiteY3916" fmla="*/ 4643782 h 5392467"/>
              <a:gd name="connsiteX3917" fmla="*/ 41657 w 6096001"/>
              <a:gd name="connsiteY3917" fmla="*/ 4639913 h 5392467"/>
              <a:gd name="connsiteX3918" fmla="*/ 26184 w 6096001"/>
              <a:gd name="connsiteY3918" fmla="*/ 4626373 h 5392467"/>
              <a:gd name="connsiteX3919" fmla="*/ 12646 w 6096001"/>
              <a:gd name="connsiteY3919" fmla="*/ 4614771 h 5392467"/>
              <a:gd name="connsiteX3920" fmla="*/ 2491 w 6096001"/>
              <a:gd name="connsiteY3920" fmla="*/ 4604132 h 5392467"/>
              <a:gd name="connsiteX3921" fmla="*/ 0 w 6096001"/>
              <a:gd name="connsiteY3921" fmla="*/ 4603210 h 5392467"/>
              <a:gd name="connsiteX3922" fmla="*/ 0 w 6096001"/>
              <a:gd name="connsiteY3922" fmla="*/ 1780731 h 5392467"/>
              <a:gd name="connsiteX3923" fmla="*/ 12646 w 6096001"/>
              <a:gd name="connsiteY3923" fmla="*/ 1765837 h 5392467"/>
              <a:gd name="connsiteX3924" fmla="*/ 0 w 6096001"/>
              <a:gd name="connsiteY3924" fmla="*/ 1774315 h 5392467"/>
              <a:gd name="connsiteX3925" fmla="*/ 0 w 6096001"/>
              <a:gd name="connsiteY3925" fmla="*/ 1288043 h 5392467"/>
              <a:gd name="connsiteX3926" fmla="*/ 9019 w 6096001"/>
              <a:gd name="connsiteY3926" fmla="*/ 1280134 h 5392467"/>
              <a:gd name="connsiteX3927" fmla="*/ 26184 w 6096001"/>
              <a:gd name="connsiteY3927" fmla="*/ 1270705 h 5392467"/>
              <a:gd name="connsiteX3928" fmla="*/ 33920 w 6096001"/>
              <a:gd name="connsiteY3928" fmla="*/ 1264903 h 5392467"/>
              <a:gd name="connsiteX3929" fmla="*/ 91944 w 6096001"/>
              <a:gd name="connsiteY3929" fmla="*/ 1195275 h 5392467"/>
              <a:gd name="connsiteX3930" fmla="*/ 155769 w 6096001"/>
              <a:gd name="connsiteY3930" fmla="*/ 1150791 h 5392467"/>
              <a:gd name="connsiteX3931" fmla="*/ 175110 w 6096001"/>
              <a:gd name="connsiteY3931" fmla="*/ 1133385 h 5392467"/>
              <a:gd name="connsiteX3932" fmla="*/ 202188 w 6096001"/>
              <a:gd name="connsiteY3932" fmla="*/ 1114044 h 5392467"/>
              <a:gd name="connsiteX3933" fmla="*/ 266013 w 6096001"/>
              <a:gd name="connsiteY3933" fmla="*/ 1079230 h 5392467"/>
              <a:gd name="connsiteX3934" fmla="*/ 318233 w 6096001"/>
              <a:gd name="connsiteY3934" fmla="*/ 1046350 h 5392467"/>
              <a:gd name="connsiteX3935" fmla="*/ 399464 w 6096001"/>
              <a:gd name="connsiteY3935" fmla="*/ 980590 h 5392467"/>
              <a:gd name="connsiteX3936" fmla="*/ 474894 w 6096001"/>
              <a:gd name="connsiteY3936" fmla="*/ 936106 h 5392467"/>
              <a:gd name="connsiteX3937" fmla="*/ 498104 w 6096001"/>
              <a:gd name="connsiteY3937" fmla="*/ 922566 h 5392467"/>
              <a:gd name="connsiteX3938" fmla="*/ 610283 w 6096001"/>
              <a:gd name="connsiteY3938" fmla="*/ 854873 h 5392467"/>
              <a:gd name="connsiteX3939" fmla="*/ 627689 w 6096001"/>
              <a:gd name="connsiteY3939" fmla="*/ 843268 h 5392467"/>
              <a:gd name="connsiteX3940" fmla="*/ 674108 w 6096001"/>
              <a:gd name="connsiteY3940" fmla="*/ 816190 h 5392467"/>
              <a:gd name="connsiteX3941" fmla="*/ 718592 w 6096001"/>
              <a:gd name="connsiteY3941" fmla="*/ 792983 h 5392467"/>
              <a:gd name="connsiteX3942" fmla="*/ 927475 w 6096001"/>
              <a:gd name="connsiteY3942" fmla="*/ 725290 h 5392467"/>
              <a:gd name="connsiteX3943" fmla="*/ 997104 w 6096001"/>
              <a:gd name="connsiteY3943" fmla="*/ 694344 h 5392467"/>
              <a:gd name="connsiteX3944" fmla="*/ 1068665 w 6096001"/>
              <a:gd name="connsiteY3944" fmla="*/ 657594 h 5392467"/>
              <a:gd name="connsiteX3945" fmla="*/ 1167305 w 6096001"/>
              <a:gd name="connsiteY3945" fmla="*/ 624715 h 5392467"/>
              <a:gd name="connsiteX3946" fmla="*/ 1176974 w 6096001"/>
              <a:gd name="connsiteY3946" fmla="*/ 622780 h 5392467"/>
              <a:gd name="connsiteX3947" fmla="*/ 1215657 w 6096001"/>
              <a:gd name="connsiteY3947" fmla="*/ 601506 h 5392467"/>
              <a:gd name="connsiteX3948" fmla="*/ 1283350 w 6096001"/>
              <a:gd name="connsiteY3948" fmla="*/ 572495 h 5392467"/>
              <a:gd name="connsiteX3949" fmla="*/ 1300758 w 6096001"/>
              <a:gd name="connsiteY3949" fmla="*/ 568627 h 5392467"/>
              <a:gd name="connsiteX3950" fmla="*/ 1358780 w 6096001"/>
              <a:gd name="connsiteY3950" fmla="*/ 547350 h 5392467"/>
              <a:gd name="connsiteX3951" fmla="*/ 1368451 w 6096001"/>
              <a:gd name="connsiteY3951" fmla="*/ 543484 h 5392467"/>
              <a:gd name="connsiteX3952" fmla="*/ 1447749 w 6096001"/>
              <a:gd name="connsiteY3952" fmla="*/ 526076 h 5392467"/>
              <a:gd name="connsiteX3953" fmla="*/ 1525112 w 6096001"/>
              <a:gd name="connsiteY3953" fmla="*/ 508670 h 5392467"/>
              <a:gd name="connsiteX3954" fmla="*/ 1561862 w 6096001"/>
              <a:gd name="connsiteY3954" fmla="*/ 500933 h 5392467"/>
              <a:gd name="connsiteX3955" fmla="*/ 1579268 w 6096001"/>
              <a:gd name="connsiteY3955" fmla="*/ 497065 h 5392467"/>
              <a:gd name="connsiteX3956" fmla="*/ 1646961 w 6096001"/>
              <a:gd name="connsiteY3956" fmla="*/ 495130 h 5392467"/>
              <a:gd name="connsiteX3957" fmla="*/ 1666302 w 6096001"/>
              <a:gd name="connsiteY3957" fmla="*/ 491262 h 5392467"/>
              <a:gd name="connsiteX3958" fmla="*/ 1691447 w 6096001"/>
              <a:gd name="connsiteY3958" fmla="*/ 500933 h 5392467"/>
              <a:gd name="connsiteX3959" fmla="*/ 1691447 w 6096001"/>
              <a:gd name="connsiteY3959" fmla="*/ 502866 h 5392467"/>
              <a:gd name="connsiteX3960" fmla="*/ 1755272 w 6096001"/>
              <a:gd name="connsiteY3960" fmla="*/ 469987 h 5392467"/>
              <a:gd name="connsiteX3961" fmla="*/ 1871317 w 6096001"/>
              <a:gd name="connsiteY3961" fmla="*/ 417767 h 5392467"/>
              <a:gd name="connsiteX3962" fmla="*/ 1894527 w 6096001"/>
              <a:gd name="connsiteY3962" fmla="*/ 410031 h 5392467"/>
              <a:gd name="connsiteX3963" fmla="*/ 1904196 w 6096001"/>
              <a:gd name="connsiteY3963" fmla="*/ 415832 h 5392467"/>
              <a:gd name="connsiteX3964" fmla="*/ 1861646 w 6096001"/>
              <a:gd name="connsiteY3964" fmla="*/ 437108 h 5392467"/>
              <a:gd name="connsiteX3965" fmla="*/ 1819097 w 6096001"/>
              <a:gd name="connsiteY3965" fmla="*/ 460316 h 5392467"/>
              <a:gd name="connsiteX3966" fmla="*/ 1776546 w 6096001"/>
              <a:gd name="connsiteY3966" fmla="*/ 483525 h 5392467"/>
              <a:gd name="connsiteX3967" fmla="*/ 1792019 w 6096001"/>
              <a:gd name="connsiteY3967" fmla="*/ 483525 h 5392467"/>
              <a:gd name="connsiteX3968" fmla="*/ 1855844 w 6096001"/>
              <a:gd name="connsiteY3968" fmla="*/ 450646 h 5392467"/>
              <a:gd name="connsiteX3969" fmla="*/ 1964153 w 6096001"/>
              <a:gd name="connsiteY3969" fmla="*/ 411964 h 5392467"/>
              <a:gd name="connsiteX3970" fmla="*/ 1979626 w 6096001"/>
              <a:gd name="connsiteY3970" fmla="*/ 410031 h 5392467"/>
              <a:gd name="connsiteX3971" fmla="*/ 1993166 w 6096001"/>
              <a:gd name="connsiteY3971" fmla="*/ 417767 h 5392467"/>
              <a:gd name="connsiteX3972" fmla="*/ 2004771 w 6096001"/>
              <a:gd name="connsiteY3972" fmla="*/ 431305 h 5392467"/>
              <a:gd name="connsiteX3973" fmla="*/ 2002836 w 6096001"/>
              <a:gd name="connsiteY3973" fmla="*/ 446778 h 5392467"/>
              <a:gd name="connsiteX3974" fmla="*/ 2035717 w 6096001"/>
              <a:gd name="connsiteY3974" fmla="*/ 433240 h 5392467"/>
              <a:gd name="connsiteX3975" fmla="*/ 1944812 w 6096001"/>
              <a:gd name="connsiteY3975" fmla="*/ 493197 h 5392467"/>
              <a:gd name="connsiteX3976" fmla="*/ 1956419 w 6096001"/>
              <a:gd name="connsiteY3976" fmla="*/ 504802 h 5392467"/>
              <a:gd name="connsiteX3977" fmla="*/ 1962220 w 6096001"/>
              <a:gd name="connsiteY3977" fmla="*/ 506735 h 5392467"/>
              <a:gd name="connsiteX3978" fmla="*/ 1981562 w 6096001"/>
              <a:gd name="connsiteY3978" fmla="*/ 502866 h 5392467"/>
              <a:gd name="connsiteX3979" fmla="*/ 2078265 w 6096001"/>
              <a:gd name="connsiteY3979" fmla="*/ 475789 h 5392467"/>
              <a:gd name="connsiteX3980" fmla="*/ 2116948 w 6096001"/>
              <a:gd name="connsiteY3980" fmla="*/ 469987 h 5392467"/>
              <a:gd name="connsiteX3981" fmla="*/ 2132421 w 6096001"/>
              <a:gd name="connsiteY3981" fmla="*/ 475789 h 5392467"/>
              <a:gd name="connsiteX3982" fmla="*/ 2115013 w 6096001"/>
              <a:gd name="connsiteY3982" fmla="*/ 483525 h 5392467"/>
              <a:gd name="connsiteX3983" fmla="*/ 1954484 w 6096001"/>
              <a:gd name="connsiteY3983" fmla="*/ 526076 h 5392467"/>
              <a:gd name="connsiteX3984" fmla="*/ 1952551 w 6096001"/>
              <a:gd name="connsiteY3984" fmla="*/ 528009 h 5392467"/>
              <a:gd name="connsiteX3985" fmla="*/ 1956419 w 6096001"/>
              <a:gd name="connsiteY3985" fmla="*/ 533812 h 5392467"/>
              <a:gd name="connsiteX3986" fmla="*/ 1923538 w 6096001"/>
              <a:gd name="connsiteY3986" fmla="*/ 543484 h 5392467"/>
              <a:gd name="connsiteX3987" fmla="*/ 1933210 w 6096001"/>
              <a:gd name="connsiteY3987" fmla="*/ 547350 h 5392467"/>
              <a:gd name="connsiteX3988" fmla="*/ 1855844 w 6096001"/>
              <a:gd name="connsiteY3988" fmla="*/ 574428 h 5392467"/>
              <a:gd name="connsiteX3989" fmla="*/ 1900328 w 6096001"/>
              <a:gd name="connsiteY3989" fmla="*/ 549285 h 5392467"/>
              <a:gd name="connsiteX3990" fmla="*/ 1890659 w 6096001"/>
              <a:gd name="connsiteY3990" fmla="*/ 553154 h 5392467"/>
              <a:gd name="connsiteX3991" fmla="*/ 1848108 w 6096001"/>
              <a:gd name="connsiteY3991" fmla="*/ 570560 h 5392467"/>
              <a:gd name="connsiteX3992" fmla="*/ 1813294 w 6096001"/>
              <a:gd name="connsiteY3992" fmla="*/ 587968 h 5392467"/>
              <a:gd name="connsiteX3993" fmla="*/ 1816673 w 6096001"/>
              <a:gd name="connsiteY3993" fmla="*/ 606553 h 5392467"/>
              <a:gd name="connsiteX3994" fmla="*/ 1807492 w 6096001"/>
              <a:gd name="connsiteY3994" fmla="*/ 613111 h 5392467"/>
              <a:gd name="connsiteX3995" fmla="*/ 1780415 w 6096001"/>
              <a:gd name="connsiteY3995" fmla="*/ 630519 h 5392467"/>
              <a:gd name="connsiteX3996" fmla="*/ 1733996 w 6096001"/>
              <a:gd name="connsiteY3996" fmla="*/ 655661 h 5392467"/>
              <a:gd name="connsiteX3997" fmla="*/ 1737864 w 6096001"/>
              <a:gd name="connsiteY3997" fmla="*/ 665331 h 5392467"/>
              <a:gd name="connsiteX3998" fmla="*/ 1811361 w 6096001"/>
              <a:gd name="connsiteY3998" fmla="*/ 632452 h 5392467"/>
              <a:gd name="connsiteX3999" fmla="*/ 1815229 w 6096001"/>
              <a:gd name="connsiteY3999" fmla="*/ 630519 h 5392467"/>
              <a:gd name="connsiteX4000" fmla="*/ 1818855 w 6096001"/>
              <a:gd name="connsiteY4000" fmla="*/ 619155 h 5392467"/>
              <a:gd name="connsiteX4001" fmla="*/ 1820451 w 6096001"/>
              <a:gd name="connsiteY4001" fmla="*/ 607623 h 5392467"/>
              <a:gd name="connsiteX4002" fmla="*/ 1864789 w 6096001"/>
              <a:gd name="connsiteY4002" fmla="*/ 585791 h 5392467"/>
              <a:gd name="connsiteX4003" fmla="*/ 1913868 w 6096001"/>
              <a:gd name="connsiteY4003" fmla="*/ 566691 h 5392467"/>
              <a:gd name="connsiteX4004" fmla="*/ 1927406 w 6096001"/>
              <a:gd name="connsiteY4004" fmla="*/ 560890 h 5392467"/>
              <a:gd name="connsiteX4005" fmla="*/ 1981562 w 6096001"/>
              <a:gd name="connsiteY4005" fmla="*/ 539614 h 5392467"/>
              <a:gd name="connsiteX4006" fmla="*/ 2037650 w 6096001"/>
              <a:gd name="connsiteY4006" fmla="*/ 526076 h 5392467"/>
              <a:gd name="connsiteX4007" fmla="*/ 2076333 w 6096001"/>
              <a:gd name="connsiteY4007" fmla="*/ 514471 h 5392467"/>
              <a:gd name="connsiteX4008" fmla="*/ 2116948 w 6096001"/>
              <a:gd name="connsiteY4008" fmla="*/ 506735 h 5392467"/>
              <a:gd name="connsiteX4009" fmla="*/ 2116948 w 6096001"/>
              <a:gd name="connsiteY4009" fmla="*/ 518339 h 5392467"/>
              <a:gd name="connsiteX4010" fmla="*/ 2132421 w 6096001"/>
              <a:gd name="connsiteY4010" fmla="*/ 522208 h 5392467"/>
              <a:gd name="connsiteX4011" fmla="*/ 2153695 w 6096001"/>
              <a:gd name="connsiteY4011" fmla="*/ 516406 h 5392467"/>
              <a:gd name="connsiteX4012" fmla="*/ 2171104 w 6096001"/>
              <a:gd name="connsiteY4012" fmla="*/ 524143 h 5392467"/>
              <a:gd name="connsiteX4013" fmla="*/ 2161432 w 6096001"/>
              <a:gd name="connsiteY4013" fmla="*/ 533812 h 5392467"/>
              <a:gd name="connsiteX4014" fmla="*/ 2062795 w 6096001"/>
              <a:gd name="connsiteY4014" fmla="*/ 578296 h 5392467"/>
              <a:gd name="connsiteX4015" fmla="*/ 2037650 w 6096001"/>
              <a:gd name="connsiteY4015" fmla="*/ 593769 h 5392467"/>
              <a:gd name="connsiteX4016" fmla="*/ 2029913 w 6096001"/>
              <a:gd name="connsiteY4016" fmla="*/ 597637 h 5392467"/>
              <a:gd name="connsiteX4017" fmla="*/ 2045387 w 6096001"/>
              <a:gd name="connsiteY4017" fmla="*/ 597637 h 5392467"/>
              <a:gd name="connsiteX4018" fmla="*/ 2056991 w 6096001"/>
              <a:gd name="connsiteY4018" fmla="*/ 595705 h 5392467"/>
              <a:gd name="connsiteX4019" fmla="*/ 2066661 w 6096001"/>
              <a:gd name="connsiteY4019" fmla="*/ 611178 h 5392467"/>
              <a:gd name="connsiteX4020" fmla="*/ 2060860 w 6096001"/>
              <a:gd name="connsiteY4020" fmla="*/ 616979 h 5392467"/>
              <a:gd name="connsiteX4021" fmla="*/ 2060860 w 6096001"/>
              <a:gd name="connsiteY4021" fmla="*/ 620847 h 5392467"/>
              <a:gd name="connsiteX4022" fmla="*/ 2068596 w 6096001"/>
              <a:gd name="connsiteY4022" fmla="*/ 616979 h 5392467"/>
              <a:gd name="connsiteX4023" fmla="*/ 2072464 w 6096001"/>
              <a:gd name="connsiteY4023" fmla="*/ 609242 h 5392467"/>
              <a:gd name="connsiteX4024" fmla="*/ 2084069 w 6096001"/>
              <a:gd name="connsiteY4024" fmla="*/ 607309 h 5392467"/>
              <a:gd name="connsiteX4025" fmla="*/ 2093739 w 6096001"/>
              <a:gd name="connsiteY4025" fmla="*/ 605374 h 5392467"/>
              <a:gd name="connsiteX4026" fmla="*/ 2118881 w 6096001"/>
              <a:gd name="connsiteY4026" fmla="*/ 597637 h 5392467"/>
              <a:gd name="connsiteX4027" fmla="*/ 2211719 w 6096001"/>
              <a:gd name="connsiteY4027" fmla="*/ 560890 h 5392467"/>
              <a:gd name="connsiteX4028" fmla="*/ 2229125 w 6096001"/>
              <a:gd name="connsiteY4028" fmla="*/ 551218 h 5392467"/>
              <a:gd name="connsiteX4029" fmla="*/ 2269743 w 6096001"/>
              <a:gd name="connsiteY4029" fmla="*/ 524143 h 5392467"/>
              <a:gd name="connsiteX4030" fmla="*/ 2287149 w 6096001"/>
              <a:gd name="connsiteY4030" fmla="*/ 520275 h 5392467"/>
              <a:gd name="connsiteX4031" fmla="*/ 2291017 w 6096001"/>
              <a:gd name="connsiteY4031" fmla="*/ 524143 h 5392467"/>
              <a:gd name="connsiteX4032" fmla="*/ 2289082 w 6096001"/>
              <a:gd name="connsiteY4032" fmla="*/ 529944 h 5392467"/>
              <a:gd name="connsiteX4033" fmla="*/ 2271676 w 6096001"/>
              <a:gd name="connsiteY4033" fmla="*/ 545417 h 5392467"/>
              <a:gd name="connsiteX4034" fmla="*/ 2285216 w 6096001"/>
              <a:gd name="connsiteY4034" fmla="*/ 549285 h 5392467"/>
              <a:gd name="connsiteX4035" fmla="*/ 2358710 w 6096001"/>
              <a:gd name="connsiteY4035" fmla="*/ 533812 h 5392467"/>
              <a:gd name="connsiteX4036" fmla="*/ 2291017 w 6096001"/>
              <a:gd name="connsiteY4036" fmla="*/ 557022 h 5392467"/>
              <a:gd name="connsiteX4037" fmla="*/ 2262007 w 6096001"/>
              <a:gd name="connsiteY4037" fmla="*/ 568627 h 5392467"/>
              <a:gd name="connsiteX4038" fmla="*/ 2231061 w 6096001"/>
              <a:gd name="connsiteY4038" fmla="*/ 582164 h 5392467"/>
              <a:gd name="connsiteX4039" fmla="*/ 2209786 w 6096001"/>
              <a:gd name="connsiteY4039" fmla="*/ 595705 h 5392467"/>
              <a:gd name="connsiteX4040" fmla="*/ 2221389 w 6096001"/>
              <a:gd name="connsiteY4040" fmla="*/ 597637 h 5392467"/>
              <a:gd name="connsiteX4041" fmla="*/ 2269743 w 6096001"/>
              <a:gd name="connsiteY4041" fmla="*/ 595705 h 5392467"/>
              <a:gd name="connsiteX4042" fmla="*/ 2310359 w 6096001"/>
              <a:gd name="connsiteY4042" fmla="*/ 582164 h 5392467"/>
              <a:gd name="connsiteX4043" fmla="*/ 2424471 w 6096001"/>
              <a:gd name="connsiteY4043" fmla="*/ 547350 h 5392467"/>
              <a:gd name="connsiteX4044" fmla="*/ 2449613 w 6096001"/>
              <a:gd name="connsiteY4044" fmla="*/ 543484 h 5392467"/>
              <a:gd name="connsiteX4045" fmla="*/ 2445745 w 6096001"/>
              <a:gd name="connsiteY4045" fmla="*/ 549285 h 5392467"/>
              <a:gd name="connsiteX4046" fmla="*/ 2374184 w 6096001"/>
              <a:gd name="connsiteY4046" fmla="*/ 589901 h 5392467"/>
              <a:gd name="connsiteX4047" fmla="*/ 2321963 w 6096001"/>
              <a:gd name="connsiteY4047" fmla="*/ 609242 h 5392467"/>
              <a:gd name="connsiteX4048" fmla="*/ 2196246 w 6096001"/>
              <a:gd name="connsiteY4048" fmla="*/ 649858 h 5392467"/>
              <a:gd name="connsiteX4049" fmla="*/ 2107279 w 6096001"/>
              <a:gd name="connsiteY4049" fmla="*/ 684672 h 5392467"/>
              <a:gd name="connsiteX4050" fmla="*/ 2109212 w 6096001"/>
              <a:gd name="connsiteY4050" fmla="*/ 692409 h 5392467"/>
              <a:gd name="connsiteX4051" fmla="*/ 2120816 w 6096001"/>
              <a:gd name="connsiteY4051" fmla="*/ 692409 h 5392467"/>
              <a:gd name="connsiteX4052" fmla="*/ 2113080 w 6096001"/>
              <a:gd name="connsiteY4052" fmla="*/ 696277 h 5392467"/>
              <a:gd name="connsiteX4053" fmla="*/ 2115013 w 6096001"/>
              <a:gd name="connsiteY4053" fmla="*/ 700145 h 5392467"/>
              <a:gd name="connsiteX4054" fmla="*/ 2122752 w 6096001"/>
              <a:gd name="connsiteY4054" fmla="*/ 698212 h 5392467"/>
              <a:gd name="connsiteX4055" fmla="*/ 2120816 w 6096001"/>
              <a:gd name="connsiteY4055" fmla="*/ 692409 h 5392467"/>
              <a:gd name="connsiteX4056" fmla="*/ 2126620 w 6096001"/>
              <a:gd name="connsiteY4056" fmla="*/ 692409 h 5392467"/>
              <a:gd name="connsiteX4057" fmla="*/ 2130488 w 6096001"/>
              <a:gd name="connsiteY4057" fmla="*/ 694344 h 5392467"/>
              <a:gd name="connsiteX4058" fmla="*/ 2123476 w 6096001"/>
              <a:gd name="connsiteY4058" fmla="*/ 700871 h 5392467"/>
              <a:gd name="connsiteX4059" fmla="*/ 2122235 w 6096001"/>
              <a:gd name="connsiteY4059" fmla="*/ 705949 h 5392467"/>
              <a:gd name="connsiteX4060" fmla="*/ 2120816 w 6096001"/>
              <a:gd name="connsiteY4060" fmla="*/ 705949 h 5392467"/>
              <a:gd name="connsiteX4061" fmla="*/ 2121769 w 6096001"/>
              <a:gd name="connsiteY4061" fmla="*/ 707852 h 5392467"/>
              <a:gd name="connsiteX4062" fmla="*/ 2120816 w 6096001"/>
              <a:gd name="connsiteY4062" fmla="*/ 711750 h 5392467"/>
              <a:gd name="connsiteX4063" fmla="*/ 2105343 w 6096001"/>
              <a:gd name="connsiteY4063" fmla="*/ 704013 h 5392467"/>
              <a:gd name="connsiteX4064" fmla="*/ 2099542 w 6096001"/>
              <a:gd name="connsiteY4064" fmla="*/ 705949 h 5392467"/>
              <a:gd name="connsiteX4065" fmla="*/ 2095671 w 6096001"/>
              <a:gd name="connsiteY4065" fmla="*/ 717553 h 5392467"/>
              <a:gd name="connsiteX4066" fmla="*/ 2078265 w 6096001"/>
              <a:gd name="connsiteY4066" fmla="*/ 723355 h 5392467"/>
              <a:gd name="connsiteX4067" fmla="*/ 2070529 w 6096001"/>
              <a:gd name="connsiteY4067" fmla="*/ 725290 h 5392467"/>
              <a:gd name="connsiteX4068" fmla="*/ 2072464 w 6096001"/>
              <a:gd name="connsiteY4068" fmla="*/ 704013 h 5392467"/>
              <a:gd name="connsiteX4069" fmla="*/ 2045387 w 6096001"/>
              <a:gd name="connsiteY4069" fmla="*/ 721419 h 5392467"/>
              <a:gd name="connsiteX4070" fmla="*/ 2058924 w 6096001"/>
              <a:gd name="connsiteY4070" fmla="*/ 713685 h 5392467"/>
              <a:gd name="connsiteX4071" fmla="*/ 2039585 w 6096001"/>
              <a:gd name="connsiteY4071" fmla="*/ 729156 h 5392467"/>
              <a:gd name="connsiteX4072" fmla="*/ 2014440 w 6096001"/>
              <a:gd name="connsiteY4072" fmla="*/ 758169 h 5392467"/>
              <a:gd name="connsiteX4073" fmla="*/ 2066661 w 6096001"/>
              <a:gd name="connsiteY4073" fmla="*/ 740761 h 5392467"/>
              <a:gd name="connsiteX4074" fmla="*/ 2058924 w 6096001"/>
              <a:gd name="connsiteY4074" fmla="*/ 748497 h 5392467"/>
              <a:gd name="connsiteX4075" fmla="*/ 2008637 w 6096001"/>
              <a:gd name="connsiteY4075" fmla="*/ 769774 h 5392467"/>
              <a:gd name="connsiteX4076" fmla="*/ 1989298 w 6096001"/>
              <a:gd name="connsiteY4076" fmla="*/ 779443 h 5392467"/>
              <a:gd name="connsiteX4077" fmla="*/ 1997035 w 6096001"/>
              <a:gd name="connsiteY4077" fmla="*/ 789115 h 5392467"/>
              <a:gd name="connsiteX4078" fmla="*/ 2010572 w 6096001"/>
              <a:gd name="connsiteY4078" fmla="*/ 785247 h 5392467"/>
              <a:gd name="connsiteX4079" fmla="*/ 2018309 w 6096001"/>
              <a:gd name="connsiteY4079" fmla="*/ 779443 h 5392467"/>
              <a:gd name="connsiteX4080" fmla="*/ 2058924 w 6096001"/>
              <a:gd name="connsiteY4080" fmla="*/ 771707 h 5392467"/>
              <a:gd name="connsiteX4081" fmla="*/ 2314227 w 6096001"/>
              <a:gd name="connsiteY4081" fmla="*/ 704013 h 5392467"/>
              <a:gd name="connsiteX4082" fmla="*/ 2329700 w 6096001"/>
              <a:gd name="connsiteY4082" fmla="*/ 702080 h 5392467"/>
              <a:gd name="connsiteX4083" fmla="*/ 2331633 w 6096001"/>
              <a:gd name="connsiteY4083" fmla="*/ 700145 h 5392467"/>
              <a:gd name="connsiteX4084" fmla="*/ 2337436 w 6096001"/>
              <a:gd name="connsiteY4084" fmla="*/ 696277 h 5392467"/>
              <a:gd name="connsiteX4085" fmla="*/ 2360646 w 6096001"/>
              <a:gd name="connsiteY4085" fmla="*/ 686607 h 5392467"/>
              <a:gd name="connsiteX4086" fmla="*/ 2362579 w 6096001"/>
              <a:gd name="connsiteY4086" fmla="*/ 682739 h 5392467"/>
              <a:gd name="connsiteX4087" fmla="*/ 2370315 w 6096001"/>
              <a:gd name="connsiteY4087" fmla="*/ 678871 h 5392467"/>
              <a:gd name="connsiteX4088" fmla="*/ 2378052 w 6096001"/>
              <a:gd name="connsiteY4088" fmla="*/ 675003 h 5392467"/>
              <a:gd name="connsiteX4089" fmla="*/ 2381920 w 6096001"/>
              <a:gd name="connsiteY4089" fmla="*/ 669199 h 5392467"/>
              <a:gd name="connsiteX4090" fmla="*/ 2399326 w 6096001"/>
              <a:gd name="connsiteY4090" fmla="*/ 657594 h 5392467"/>
              <a:gd name="connsiteX4091" fmla="*/ 2410933 w 6096001"/>
              <a:gd name="connsiteY4091" fmla="*/ 653726 h 5392467"/>
              <a:gd name="connsiteX4092" fmla="*/ 2420602 w 6096001"/>
              <a:gd name="connsiteY4092" fmla="*/ 651793 h 5392467"/>
              <a:gd name="connsiteX4093" fmla="*/ 2428339 w 6096001"/>
              <a:gd name="connsiteY4093" fmla="*/ 644057 h 5392467"/>
              <a:gd name="connsiteX4094" fmla="*/ 2430274 w 6096001"/>
              <a:gd name="connsiteY4094" fmla="*/ 640188 h 5392467"/>
              <a:gd name="connsiteX4095" fmla="*/ 2438008 w 6096001"/>
              <a:gd name="connsiteY4095" fmla="*/ 634385 h 5392467"/>
              <a:gd name="connsiteX4096" fmla="*/ 2445745 w 6096001"/>
              <a:gd name="connsiteY4096" fmla="*/ 630519 h 5392467"/>
              <a:gd name="connsiteX4097" fmla="*/ 2453481 w 6096001"/>
              <a:gd name="connsiteY4097" fmla="*/ 620847 h 5392467"/>
              <a:gd name="connsiteX4098" fmla="*/ 2517309 w 6096001"/>
              <a:gd name="connsiteY4098" fmla="*/ 582164 h 5392467"/>
              <a:gd name="connsiteX4099" fmla="*/ 2530847 w 6096001"/>
              <a:gd name="connsiteY4099" fmla="*/ 580232 h 5392467"/>
              <a:gd name="connsiteX4100" fmla="*/ 2542451 w 6096001"/>
              <a:gd name="connsiteY4100" fmla="*/ 578296 h 5392467"/>
              <a:gd name="connsiteX4101" fmla="*/ 2565661 w 6096001"/>
              <a:gd name="connsiteY4101" fmla="*/ 564758 h 5392467"/>
              <a:gd name="connsiteX4102" fmla="*/ 2575330 w 6096001"/>
              <a:gd name="connsiteY4102" fmla="*/ 562823 h 5392467"/>
              <a:gd name="connsiteX4103" fmla="*/ 2594672 w 6096001"/>
              <a:gd name="connsiteY4103" fmla="*/ 549285 h 5392467"/>
              <a:gd name="connsiteX4104" fmla="*/ 2598540 w 6096001"/>
              <a:gd name="connsiteY4104" fmla="*/ 547350 h 5392467"/>
              <a:gd name="connsiteX4105" fmla="*/ 2606276 w 6096001"/>
              <a:gd name="connsiteY4105" fmla="*/ 545417 h 5392467"/>
              <a:gd name="connsiteX4106" fmla="*/ 2652695 w 6096001"/>
              <a:gd name="connsiteY4106" fmla="*/ 516406 h 5392467"/>
              <a:gd name="connsiteX4107" fmla="*/ 2693311 w 6096001"/>
              <a:gd name="connsiteY4107" fmla="*/ 491262 h 5392467"/>
              <a:gd name="connsiteX4108" fmla="*/ 2701047 w 6096001"/>
              <a:gd name="connsiteY4108" fmla="*/ 489329 h 5392467"/>
              <a:gd name="connsiteX4109" fmla="*/ 2704916 w 6096001"/>
              <a:gd name="connsiteY4109" fmla="*/ 487393 h 5392467"/>
              <a:gd name="connsiteX4110" fmla="*/ 2708784 w 6096001"/>
              <a:gd name="connsiteY4110" fmla="*/ 481592 h 5392467"/>
              <a:gd name="connsiteX4111" fmla="*/ 2724257 w 6096001"/>
              <a:gd name="connsiteY4111" fmla="*/ 475789 h 5392467"/>
              <a:gd name="connsiteX4112" fmla="*/ 2751335 w 6096001"/>
              <a:gd name="connsiteY4112" fmla="*/ 458383 h 5392467"/>
              <a:gd name="connsiteX4113" fmla="*/ 2762937 w 6096001"/>
              <a:gd name="connsiteY4113" fmla="*/ 454514 h 5392467"/>
              <a:gd name="connsiteX4114" fmla="*/ 2772609 w 6096001"/>
              <a:gd name="connsiteY4114" fmla="*/ 448711 h 5392467"/>
              <a:gd name="connsiteX4115" fmla="*/ 2786147 w 6096001"/>
              <a:gd name="connsiteY4115" fmla="*/ 440974 h 5392467"/>
              <a:gd name="connsiteX4116" fmla="*/ 2795818 w 6096001"/>
              <a:gd name="connsiteY4116" fmla="*/ 435173 h 5392467"/>
              <a:gd name="connsiteX4117" fmla="*/ 2805488 w 6096001"/>
              <a:gd name="connsiteY4117" fmla="*/ 425504 h 5392467"/>
              <a:gd name="connsiteX4118" fmla="*/ 2815160 w 6096001"/>
              <a:gd name="connsiteY4118" fmla="*/ 417767 h 5392467"/>
              <a:gd name="connsiteX4119" fmla="*/ 2842237 w 6096001"/>
              <a:gd name="connsiteY4119" fmla="*/ 413899 h 5392467"/>
              <a:gd name="connsiteX4120" fmla="*/ 2844170 w 6096001"/>
              <a:gd name="connsiteY4120" fmla="*/ 417767 h 5392467"/>
              <a:gd name="connsiteX4121" fmla="*/ 2842237 w 6096001"/>
              <a:gd name="connsiteY4121" fmla="*/ 421635 h 5392467"/>
              <a:gd name="connsiteX4122" fmla="*/ 2836434 w 6096001"/>
              <a:gd name="connsiteY4122" fmla="*/ 425504 h 5392467"/>
              <a:gd name="connsiteX4123" fmla="*/ 2819028 w 6096001"/>
              <a:gd name="connsiteY4123" fmla="*/ 437108 h 5392467"/>
              <a:gd name="connsiteX4124" fmla="*/ 2817093 w 6096001"/>
              <a:gd name="connsiteY4124" fmla="*/ 439041 h 5392467"/>
              <a:gd name="connsiteX4125" fmla="*/ 2820961 w 6096001"/>
              <a:gd name="connsiteY4125" fmla="*/ 440974 h 5392467"/>
              <a:gd name="connsiteX4126" fmla="*/ 2830630 w 6096001"/>
              <a:gd name="connsiteY4126" fmla="*/ 440974 h 5392467"/>
              <a:gd name="connsiteX4127" fmla="*/ 2853840 w 6096001"/>
              <a:gd name="connsiteY4127" fmla="*/ 427437 h 5392467"/>
              <a:gd name="connsiteX4128" fmla="*/ 2861579 w 6096001"/>
              <a:gd name="connsiteY4128" fmla="*/ 425504 h 5392467"/>
              <a:gd name="connsiteX4129" fmla="*/ 2873181 w 6096001"/>
              <a:gd name="connsiteY4129" fmla="*/ 417767 h 5392467"/>
              <a:gd name="connsiteX4130" fmla="*/ 2877049 w 6096001"/>
              <a:gd name="connsiteY4130" fmla="*/ 411964 h 5392467"/>
              <a:gd name="connsiteX4131" fmla="*/ 2884788 w 6096001"/>
              <a:gd name="connsiteY4131" fmla="*/ 410031 h 5392467"/>
              <a:gd name="connsiteX4132" fmla="*/ 2913799 w 6096001"/>
              <a:gd name="connsiteY4132" fmla="*/ 415832 h 5392467"/>
              <a:gd name="connsiteX4133" fmla="*/ 2921536 w 6096001"/>
              <a:gd name="connsiteY4133" fmla="*/ 411964 h 5392467"/>
              <a:gd name="connsiteX4134" fmla="*/ 2925404 w 6096001"/>
              <a:gd name="connsiteY4134" fmla="*/ 408095 h 5392467"/>
              <a:gd name="connsiteX4135" fmla="*/ 2935073 w 6096001"/>
              <a:gd name="connsiteY4135" fmla="*/ 406162 h 5392467"/>
              <a:gd name="connsiteX4136" fmla="*/ 2952482 w 6096001"/>
              <a:gd name="connsiteY4136" fmla="*/ 396491 h 5392467"/>
              <a:gd name="connsiteX4137" fmla="*/ 2969888 w 6096001"/>
              <a:gd name="connsiteY4137" fmla="*/ 390689 h 5392467"/>
              <a:gd name="connsiteX4138" fmla="*/ 2971823 w 6096001"/>
              <a:gd name="connsiteY4138" fmla="*/ 390689 h 5392467"/>
              <a:gd name="connsiteX4139" fmla="*/ 2989229 w 6096001"/>
              <a:gd name="connsiteY4139" fmla="*/ 377149 h 5392467"/>
              <a:gd name="connsiteX4140" fmla="*/ 2993097 w 6096001"/>
              <a:gd name="connsiteY4140" fmla="*/ 375216 h 5392467"/>
              <a:gd name="connsiteX4141" fmla="*/ 3000834 w 6096001"/>
              <a:gd name="connsiteY4141" fmla="*/ 373281 h 5392467"/>
              <a:gd name="connsiteX4142" fmla="*/ 3024041 w 6096001"/>
              <a:gd name="connsiteY4142" fmla="*/ 359743 h 5392467"/>
              <a:gd name="connsiteX4143" fmla="*/ 3029844 w 6096001"/>
              <a:gd name="connsiteY4143" fmla="*/ 355875 h 5392467"/>
              <a:gd name="connsiteX4144" fmla="*/ 3054987 w 6096001"/>
              <a:gd name="connsiteY4144" fmla="*/ 346206 h 5392467"/>
              <a:gd name="connsiteX4145" fmla="*/ 3062723 w 6096001"/>
              <a:gd name="connsiteY4145" fmla="*/ 344270 h 5392467"/>
              <a:gd name="connsiteX4146" fmla="*/ 3082065 w 6096001"/>
              <a:gd name="connsiteY4146" fmla="*/ 330733 h 5392467"/>
              <a:gd name="connsiteX4147" fmla="*/ 3091734 w 6096001"/>
              <a:gd name="connsiteY4147" fmla="*/ 324929 h 5392467"/>
              <a:gd name="connsiteX4148" fmla="*/ 3095605 w 6096001"/>
              <a:gd name="connsiteY4148" fmla="*/ 322996 h 5392467"/>
              <a:gd name="connsiteX4149" fmla="*/ 3109142 w 6096001"/>
              <a:gd name="connsiteY4149" fmla="*/ 313324 h 5392467"/>
              <a:gd name="connsiteX4150" fmla="*/ 3132352 w 6096001"/>
              <a:gd name="connsiteY4150" fmla="*/ 303655 h 5392467"/>
              <a:gd name="connsiteX4151" fmla="*/ 3138153 w 6096001"/>
              <a:gd name="connsiteY4151" fmla="*/ 301719 h 5392467"/>
              <a:gd name="connsiteX4152" fmla="*/ 3151693 w 6096001"/>
              <a:gd name="connsiteY4152" fmla="*/ 297851 h 5392467"/>
              <a:gd name="connsiteX4153" fmla="*/ 3203913 w 6096001"/>
              <a:gd name="connsiteY4153" fmla="*/ 266905 h 5392467"/>
              <a:gd name="connsiteX4154" fmla="*/ 3217451 w 6096001"/>
              <a:gd name="connsiteY4154" fmla="*/ 263039 h 5392467"/>
              <a:gd name="connsiteX4155" fmla="*/ 3225188 w 6096001"/>
              <a:gd name="connsiteY4155" fmla="*/ 261104 h 5392467"/>
              <a:gd name="connsiteX4156" fmla="*/ 3261937 w 6096001"/>
              <a:gd name="connsiteY4156" fmla="*/ 239830 h 5392467"/>
              <a:gd name="connsiteX4157" fmla="*/ 3267739 w 6096001"/>
              <a:gd name="connsiteY4157" fmla="*/ 237894 h 5392467"/>
              <a:gd name="connsiteX4158" fmla="*/ 3275475 w 6096001"/>
              <a:gd name="connsiteY4158" fmla="*/ 234026 h 5392467"/>
              <a:gd name="connsiteX4159" fmla="*/ 3279343 w 6096001"/>
              <a:gd name="connsiteY4159" fmla="*/ 230158 h 5392467"/>
              <a:gd name="connsiteX4160" fmla="*/ 3294816 w 6096001"/>
              <a:gd name="connsiteY4160" fmla="*/ 224357 h 5392467"/>
              <a:gd name="connsiteX4161" fmla="*/ 3325762 w 6096001"/>
              <a:gd name="connsiteY4161" fmla="*/ 206948 h 5392467"/>
              <a:gd name="connsiteX4162" fmla="*/ 3333499 w 6096001"/>
              <a:gd name="connsiteY4162" fmla="*/ 205015 h 5392467"/>
              <a:gd name="connsiteX4163" fmla="*/ 3352840 w 6096001"/>
              <a:gd name="connsiteY4163" fmla="*/ 203080 h 5392467"/>
              <a:gd name="connsiteX4164" fmla="*/ 3366378 w 6096001"/>
              <a:gd name="connsiteY4164" fmla="*/ 199212 h 5392467"/>
              <a:gd name="connsiteX4165" fmla="*/ 3385719 w 6096001"/>
              <a:gd name="connsiteY4165" fmla="*/ 187607 h 5392467"/>
              <a:gd name="connsiteX4166" fmla="*/ 3393456 w 6096001"/>
              <a:gd name="connsiteY4166" fmla="*/ 185674 h 5392467"/>
              <a:gd name="connsiteX4167" fmla="*/ 3401192 w 6096001"/>
              <a:gd name="connsiteY4167" fmla="*/ 183739 h 5392467"/>
              <a:gd name="connsiteX4168" fmla="*/ 3416665 w 6096001"/>
              <a:gd name="connsiteY4168" fmla="*/ 176005 h 5392467"/>
              <a:gd name="connsiteX4169" fmla="*/ 3428270 w 6096001"/>
              <a:gd name="connsiteY4169" fmla="*/ 172136 h 5392467"/>
              <a:gd name="connsiteX4170" fmla="*/ 3432138 w 6096001"/>
              <a:gd name="connsiteY4170" fmla="*/ 170201 h 5392467"/>
              <a:gd name="connsiteX4171" fmla="*/ 3447611 w 6096001"/>
              <a:gd name="connsiteY4171" fmla="*/ 160532 h 5392467"/>
              <a:gd name="connsiteX4172" fmla="*/ 3451479 w 6096001"/>
              <a:gd name="connsiteY4172" fmla="*/ 158596 h 5392467"/>
              <a:gd name="connsiteX4173" fmla="*/ 3463084 w 6096001"/>
              <a:gd name="connsiteY4173" fmla="*/ 154728 h 5392467"/>
              <a:gd name="connsiteX4174" fmla="*/ 3486294 w 6096001"/>
              <a:gd name="connsiteY4174" fmla="*/ 141190 h 5392467"/>
              <a:gd name="connsiteX4175" fmla="*/ 3509501 w 6096001"/>
              <a:gd name="connsiteY4175" fmla="*/ 131519 h 5392467"/>
              <a:gd name="connsiteX4176" fmla="*/ 3524974 w 6096001"/>
              <a:gd name="connsiteY4176" fmla="*/ 121849 h 5392467"/>
              <a:gd name="connsiteX4177" fmla="*/ 3528842 w 6096001"/>
              <a:gd name="connsiteY4177" fmla="*/ 119914 h 5392467"/>
              <a:gd name="connsiteX4178" fmla="*/ 3538514 w 6096001"/>
              <a:gd name="connsiteY4178" fmla="*/ 117981 h 5392467"/>
              <a:gd name="connsiteX4179" fmla="*/ 3552052 w 6096001"/>
              <a:gd name="connsiteY4179" fmla="*/ 110244 h 5392467"/>
              <a:gd name="connsiteX4180" fmla="*/ 3561723 w 6096001"/>
              <a:gd name="connsiteY4180" fmla="*/ 108309 h 5392467"/>
              <a:gd name="connsiteX4181" fmla="*/ 3575261 w 6096001"/>
              <a:gd name="connsiteY4181" fmla="*/ 106376 h 5392467"/>
              <a:gd name="connsiteX4182" fmla="*/ 3592667 w 6096001"/>
              <a:gd name="connsiteY4182" fmla="*/ 100572 h 5392467"/>
              <a:gd name="connsiteX4183" fmla="*/ 3596535 w 6096001"/>
              <a:gd name="connsiteY4183" fmla="*/ 98639 h 5392467"/>
              <a:gd name="connsiteX4184" fmla="*/ 3619745 w 6096001"/>
              <a:gd name="connsiteY4184" fmla="*/ 88970 h 5392467"/>
              <a:gd name="connsiteX4185" fmla="*/ 3631350 w 6096001"/>
              <a:gd name="connsiteY4185" fmla="*/ 83166 h 5392467"/>
              <a:gd name="connsiteX4186" fmla="*/ 3660363 w 6096001"/>
              <a:gd name="connsiteY4186" fmla="*/ 77365 h 5392467"/>
              <a:gd name="connsiteX4187" fmla="*/ 3666164 w 6096001"/>
              <a:gd name="connsiteY4187" fmla="*/ 77365 h 5392467"/>
              <a:gd name="connsiteX4188" fmla="*/ 3675833 w 6096001"/>
              <a:gd name="connsiteY4188" fmla="*/ 71562 h 5392467"/>
              <a:gd name="connsiteX4189" fmla="*/ 3685505 w 6096001"/>
              <a:gd name="connsiteY4189" fmla="*/ 61892 h 5392467"/>
              <a:gd name="connsiteX4190" fmla="*/ 3731924 w 6096001"/>
              <a:gd name="connsiteY4190" fmla="*/ 32879 h 5392467"/>
              <a:gd name="connsiteX4191" fmla="*/ 3741594 w 6096001"/>
              <a:gd name="connsiteY4191" fmla="*/ 30946 h 5392467"/>
              <a:gd name="connsiteX4192" fmla="*/ 3743527 w 6096001"/>
              <a:gd name="connsiteY4192" fmla="*/ 30946 h 5392467"/>
              <a:gd name="connsiteX4193" fmla="*/ 3757067 w 6096001"/>
              <a:gd name="connsiteY4193" fmla="*/ 23210 h 5392467"/>
              <a:gd name="connsiteX4194" fmla="*/ 3770607 w 6096001"/>
              <a:gd name="connsiteY4194" fmla="*/ 19341 h 5392467"/>
              <a:gd name="connsiteX4195" fmla="*/ 3772540 w 6096001"/>
              <a:gd name="connsiteY4195" fmla="*/ 17406 h 5392467"/>
              <a:gd name="connsiteX4196" fmla="*/ 3784145 w 6096001"/>
              <a:gd name="connsiteY4196" fmla="*/ 13538 h 5392467"/>
              <a:gd name="connsiteX4197" fmla="*/ 3797682 w 6096001"/>
              <a:gd name="connsiteY4197" fmla="*/ 11605 h 5392467"/>
              <a:gd name="connsiteX4198" fmla="*/ 3809287 w 6096001"/>
              <a:gd name="connsiteY4198" fmla="*/ 7737 h 5392467"/>
              <a:gd name="connsiteX4199" fmla="*/ 3820892 w 6096001"/>
              <a:gd name="connsiteY4199" fmla="*/ 7737 h 5392467"/>
              <a:gd name="connsiteX4200" fmla="*/ 3834432 w 6096001"/>
              <a:gd name="connsiteY4200" fmla="*/ 3868 h 5392467"/>
              <a:gd name="connsiteX4201" fmla="*/ 3849903 w 6096001"/>
              <a:gd name="connsiteY4201" fmla="*/ 1935 h 5392467"/>
              <a:gd name="connsiteX4202" fmla="*/ 3863443 w 6096001"/>
              <a:gd name="connsiteY4202" fmla="*/ 0 h 5392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</a:cxnLst>
            <a:rect l="l" t="t" r="r" b="b"/>
            <a:pathLst>
              <a:path w="6096001" h="5392467">
                <a:moveTo>
                  <a:pt x="2497968" y="5359400"/>
                </a:moveTo>
                <a:cubicBezTo>
                  <a:pt x="2497968" y="5359400"/>
                  <a:pt x="2499901" y="5361333"/>
                  <a:pt x="2499901" y="5361333"/>
                </a:cubicBezTo>
                <a:cubicBezTo>
                  <a:pt x="2497968" y="5361333"/>
                  <a:pt x="2496032" y="5363268"/>
                  <a:pt x="2490229" y="5365201"/>
                </a:cubicBezTo>
                <a:cubicBezTo>
                  <a:pt x="2494099" y="5361333"/>
                  <a:pt x="2496032" y="5359400"/>
                  <a:pt x="2497968" y="5359400"/>
                </a:cubicBezTo>
                <a:close/>
                <a:moveTo>
                  <a:pt x="2350974" y="5357464"/>
                </a:moveTo>
                <a:cubicBezTo>
                  <a:pt x="2343240" y="5359400"/>
                  <a:pt x="2343240" y="5359400"/>
                  <a:pt x="2343240" y="5367136"/>
                </a:cubicBezTo>
                <a:cubicBezTo>
                  <a:pt x="2349041" y="5367136"/>
                  <a:pt x="2350974" y="5363268"/>
                  <a:pt x="2350974" y="5357464"/>
                </a:cubicBezTo>
                <a:close/>
                <a:moveTo>
                  <a:pt x="2462686" y="5341466"/>
                </a:moveTo>
                <a:lnTo>
                  <a:pt x="2466220" y="5342526"/>
                </a:lnTo>
                <a:lnTo>
                  <a:pt x="2461218" y="5345862"/>
                </a:lnTo>
                <a:lnTo>
                  <a:pt x="2459331" y="5348881"/>
                </a:lnTo>
                <a:lnTo>
                  <a:pt x="2457350" y="5349730"/>
                </a:lnTo>
                <a:lnTo>
                  <a:pt x="2460736" y="5342109"/>
                </a:lnTo>
                <a:close/>
                <a:moveTo>
                  <a:pt x="2484427" y="5334257"/>
                </a:moveTo>
                <a:cubicBezTo>
                  <a:pt x="2480559" y="5336190"/>
                  <a:pt x="2478626" y="5336190"/>
                  <a:pt x="2472823" y="5340058"/>
                </a:cubicBezTo>
                <a:cubicBezTo>
                  <a:pt x="2482492" y="5341991"/>
                  <a:pt x="2482492" y="5341991"/>
                  <a:pt x="2484427" y="5334257"/>
                </a:cubicBezTo>
                <a:close/>
                <a:moveTo>
                  <a:pt x="2345173" y="5328454"/>
                </a:moveTo>
                <a:cubicBezTo>
                  <a:pt x="2329700" y="5332322"/>
                  <a:pt x="2329700" y="5332322"/>
                  <a:pt x="2327765" y="5341991"/>
                </a:cubicBezTo>
                <a:cubicBezTo>
                  <a:pt x="2335501" y="5341991"/>
                  <a:pt x="2341304" y="5336190"/>
                  <a:pt x="2345173" y="5328454"/>
                </a:cubicBezTo>
                <a:close/>
                <a:moveTo>
                  <a:pt x="2507636" y="5314916"/>
                </a:moveTo>
                <a:lnTo>
                  <a:pt x="2507637" y="5314916"/>
                </a:lnTo>
                <a:lnTo>
                  <a:pt x="2501533" y="5317968"/>
                </a:lnTo>
                <a:close/>
                <a:moveTo>
                  <a:pt x="3360577" y="5311048"/>
                </a:moveTo>
                <a:cubicBezTo>
                  <a:pt x="3358641" y="5316849"/>
                  <a:pt x="3354773" y="5320717"/>
                  <a:pt x="3348972" y="5324585"/>
                </a:cubicBezTo>
                <a:cubicBezTo>
                  <a:pt x="3352840" y="5322652"/>
                  <a:pt x="3354773" y="5318782"/>
                  <a:pt x="3354773" y="5312981"/>
                </a:cubicBezTo>
                <a:cubicBezTo>
                  <a:pt x="3356708" y="5312981"/>
                  <a:pt x="3358641" y="5311048"/>
                  <a:pt x="3360577" y="5311048"/>
                </a:cubicBezTo>
                <a:close/>
                <a:moveTo>
                  <a:pt x="2532779" y="5305244"/>
                </a:moveTo>
                <a:cubicBezTo>
                  <a:pt x="2534715" y="5305244"/>
                  <a:pt x="2536648" y="5305244"/>
                  <a:pt x="2538583" y="5307179"/>
                </a:cubicBezTo>
                <a:cubicBezTo>
                  <a:pt x="2538583" y="5307179"/>
                  <a:pt x="2538583" y="5311048"/>
                  <a:pt x="2536648" y="5311048"/>
                </a:cubicBezTo>
                <a:cubicBezTo>
                  <a:pt x="2536648" y="5311048"/>
                  <a:pt x="2532779" y="5311048"/>
                  <a:pt x="2532779" y="5311048"/>
                </a:cubicBezTo>
                <a:cubicBezTo>
                  <a:pt x="2532779" y="5309112"/>
                  <a:pt x="2532779" y="5307179"/>
                  <a:pt x="2532779" y="5305244"/>
                </a:cubicBezTo>
                <a:close/>
                <a:moveTo>
                  <a:pt x="3319961" y="5291706"/>
                </a:moveTo>
                <a:cubicBezTo>
                  <a:pt x="3314158" y="5295575"/>
                  <a:pt x="3312222" y="5299443"/>
                  <a:pt x="3314158" y="5305244"/>
                </a:cubicBezTo>
                <a:cubicBezTo>
                  <a:pt x="3314158" y="5299443"/>
                  <a:pt x="3321894" y="5297508"/>
                  <a:pt x="3319961" y="5291706"/>
                </a:cubicBezTo>
                <a:close/>
                <a:moveTo>
                  <a:pt x="2292950" y="5291706"/>
                </a:moveTo>
                <a:cubicBezTo>
                  <a:pt x="2289082" y="5297508"/>
                  <a:pt x="2287149" y="5303311"/>
                  <a:pt x="2285216" y="5309112"/>
                </a:cubicBezTo>
                <a:cubicBezTo>
                  <a:pt x="2287149" y="5307179"/>
                  <a:pt x="2291017" y="5305244"/>
                  <a:pt x="2294885" y="5303311"/>
                </a:cubicBezTo>
                <a:cubicBezTo>
                  <a:pt x="2294885" y="5303311"/>
                  <a:pt x="2296821" y="5305244"/>
                  <a:pt x="2296821" y="5305244"/>
                </a:cubicBezTo>
                <a:cubicBezTo>
                  <a:pt x="2294885" y="5309112"/>
                  <a:pt x="2292950" y="5311048"/>
                  <a:pt x="2291017" y="5314916"/>
                </a:cubicBezTo>
                <a:cubicBezTo>
                  <a:pt x="2291017" y="5314916"/>
                  <a:pt x="2292950" y="5316849"/>
                  <a:pt x="2292950" y="5316849"/>
                </a:cubicBezTo>
                <a:cubicBezTo>
                  <a:pt x="2298754" y="5312981"/>
                  <a:pt x="2304557" y="5307179"/>
                  <a:pt x="2312291" y="5297508"/>
                </a:cubicBezTo>
                <a:cubicBezTo>
                  <a:pt x="2312291" y="5297508"/>
                  <a:pt x="2312291" y="5295575"/>
                  <a:pt x="2312291" y="5295575"/>
                </a:cubicBezTo>
                <a:cubicBezTo>
                  <a:pt x="2308423" y="5297508"/>
                  <a:pt x="2304557" y="5297508"/>
                  <a:pt x="2300689" y="5299443"/>
                </a:cubicBezTo>
                <a:cubicBezTo>
                  <a:pt x="2296821" y="5295575"/>
                  <a:pt x="2294885" y="5293639"/>
                  <a:pt x="2292950" y="5291706"/>
                </a:cubicBezTo>
                <a:close/>
                <a:moveTo>
                  <a:pt x="2265875" y="5285905"/>
                </a:moveTo>
                <a:cubicBezTo>
                  <a:pt x="2258138" y="5293639"/>
                  <a:pt x="2258138" y="5293639"/>
                  <a:pt x="2265875" y="5301376"/>
                </a:cubicBezTo>
                <a:cubicBezTo>
                  <a:pt x="2267808" y="5293639"/>
                  <a:pt x="2267808" y="5291706"/>
                  <a:pt x="2265875" y="5285905"/>
                </a:cubicBezTo>
                <a:close/>
                <a:moveTo>
                  <a:pt x="2625618" y="5278166"/>
                </a:moveTo>
                <a:cubicBezTo>
                  <a:pt x="2625618" y="5278166"/>
                  <a:pt x="2627551" y="5280102"/>
                  <a:pt x="2627551" y="5280102"/>
                </a:cubicBezTo>
                <a:cubicBezTo>
                  <a:pt x="2619814" y="5287838"/>
                  <a:pt x="2612078" y="5295575"/>
                  <a:pt x="2600473" y="5293639"/>
                </a:cubicBezTo>
                <a:cubicBezTo>
                  <a:pt x="2608209" y="5287838"/>
                  <a:pt x="2615946" y="5283970"/>
                  <a:pt x="2625618" y="5278166"/>
                </a:cubicBezTo>
                <a:close/>
                <a:moveTo>
                  <a:pt x="2263939" y="5270430"/>
                </a:moveTo>
                <a:cubicBezTo>
                  <a:pt x="2262007" y="5272365"/>
                  <a:pt x="2258138" y="5274298"/>
                  <a:pt x="2256203" y="5278166"/>
                </a:cubicBezTo>
                <a:cubicBezTo>
                  <a:pt x="2260071" y="5276233"/>
                  <a:pt x="2263939" y="5276233"/>
                  <a:pt x="2265875" y="5274298"/>
                </a:cubicBezTo>
                <a:cubicBezTo>
                  <a:pt x="2263939" y="5272365"/>
                  <a:pt x="2263939" y="5272365"/>
                  <a:pt x="2263939" y="5270430"/>
                </a:cubicBezTo>
                <a:close/>
                <a:moveTo>
                  <a:pt x="2273611" y="5266564"/>
                </a:moveTo>
                <a:cubicBezTo>
                  <a:pt x="2273611" y="5266564"/>
                  <a:pt x="2271676" y="5268497"/>
                  <a:pt x="2271676" y="5268497"/>
                </a:cubicBezTo>
                <a:cubicBezTo>
                  <a:pt x="2271676" y="5270430"/>
                  <a:pt x="2273611" y="5272365"/>
                  <a:pt x="2275544" y="5274298"/>
                </a:cubicBezTo>
                <a:cubicBezTo>
                  <a:pt x="2275544" y="5274298"/>
                  <a:pt x="2275544" y="5272365"/>
                  <a:pt x="2277479" y="5272365"/>
                </a:cubicBezTo>
                <a:cubicBezTo>
                  <a:pt x="2275544" y="5270430"/>
                  <a:pt x="2275544" y="5268497"/>
                  <a:pt x="2273611" y="5266564"/>
                </a:cubicBezTo>
                <a:close/>
                <a:moveTo>
                  <a:pt x="3416665" y="5249156"/>
                </a:moveTo>
                <a:cubicBezTo>
                  <a:pt x="3416665" y="5253024"/>
                  <a:pt x="3414730" y="5256892"/>
                  <a:pt x="3412797" y="5260760"/>
                </a:cubicBezTo>
                <a:cubicBezTo>
                  <a:pt x="3410862" y="5254957"/>
                  <a:pt x="3414730" y="5251088"/>
                  <a:pt x="3416665" y="5249156"/>
                </a:cubicBezTo>
                <a:close/>
                <a:moveTo>
                  <a:pt x="2677838" y="5249156"/>
                </a:moveTo>
                <a:cubicBezTo>
                  <a:pt x="2677838" y="5249156"/>
                  <a:pt x="2679771" y="5249156"/>
                  <a:pt x="2683639" y="5251088"/>
                </a:cubicBezTo>
                <a:cubicBezTo>
                  <a:pt x="2675903" y="5254957"/>
                  <a:pt x="2672037" y="5260760"/>
                  <a:pt x="2666233" y="5264629"/>
                </a:cubicBezTo>
                <a:cubicBezTo>
                  <a:pt x="2654628" y="5268497"/>
                  <a:pt x="2644959" y="5274298"/>
                  <a:pt x="2631419" y="5278166"/>
                </a:cubicBezTo>
                <a:cubicBezTo>
                  <a:pt x="2635287" y="5274298"/>
                  <a:pt x="2639155" y="5270430"/>
                  <a:pt x="2644959" y="5266564"/>
                </a:cubicBezTo>
                <a:cubicBezTo>
                  <a:pt x="2654628" y="5260760"/>
                  <a:pt x="2666233" y="5254957"/>
                  <a:pt x="2677838" y="5249156"/>
                </a:cubicBezTo>
                <a:close/>
                <a:moveTo>
                  <a:pt x="1467088" y="5239486"/>
                </a:moveTo>
                <a:lnTo>
                  <a:pt x="1467713" y="5240111"/>
                </a:lnTo>
                <a:lnTo>
                  <a:pt x="1461787" y="5243853"/>
                </a:lnTo>
                <a:lnTo>
                  <a:pt x="1461287" y="5243354"/>
                </a:lnTo>
                <a:cubicBezTo>
                  <a:pt x="1463222" y="5241419"/>
                  <a:pt x="1465155" y="5241419"/>
                  <a:pt x="1467088" y="5239486"/>
                </a:cubicBezTo>
                <a:close/>
                <a:moveTo>
                  <a:pt x="3429777" y="5233934"/>
                </a:moveTo>
                <a:lnTo>
                  <a:pt x="3430203" y="5234005"/>
                </a:lnTo>
                <a:lnTo>
                  <a:pt x="3420533" y="5245287"/>
                </a:lnTo>
                <a:cubicBezTo>
                  <a:pt x="3422467" y="5243353"/>
                  <a:pt x="3423918" y="5240452"/>
                  <a:pt x="3425611" y="5237793"/>
                </a:cubicBezTo>
                <a:close/>
                <a:moveTo>
                  <a:pt x="2716520" y="5222078"/>
                </a:moveTo>
                <a:cubicBezTo>
                  <a:pt x="2716520" y="5233683"/>
                  <a:pt x="2710717" y="5239486"/>
                  <a:pt x="2687510" y="5243354"/>
                </a:cubicBezTo>
                <a:cubicBezTo>
                  <a:pt x="2697179" y="5235618"/>
                  <a:pt x="2706849" y="5229814"/>
                  <a:pt x="2716520" y="5222078"/>
                </a:cubicBezTo>
                <a:close/>
                <a:moveTo>
                  <a:pt x="2739730" y="5214341"/>
                </a:moveTo>
                <a:cubicBezTo>
                  <a:pt x="2739730" y="5214341"/>
                  <a:pt x="2741663" y="5216277"/>
                  <a:pt x="2741663" y="5216277"/>
                </a:cubicBezTo>
                <a:cubicBezTo>
                  <a:pt x="2739730" y="5216277"/>
                  <a:pt x="2737795" y="5218209"/>
                  <a:pt x="2735862" y="5220145"/>
                </a:cubicBezTo>
                <a:cubicBezTo>
                  <a:pt x="2735862" y="5220145"/>
                  <a:pt x="2733926" y="5218209"/>
                  <a:pt x="2733926" y="5218209"/>
                </a:cubicBezTo>
                <a:cubicBezTo>
                  <a:pt x="2735862" y="5216277"/>
                  <a:pt x="2737795" y="5214341"/>
                  <a:pt x="2739730" y="5214341"/>
                </a:cubicBezTo>
                <a:close/>
                <a:moveTo>
                  <a:pt x="3424402" y="5212408"/>
                </a:moveTo>
                <a:cubicBezTo>
                  <a:pt x="3426337" y="5212408"/>
                  <a:pt x="3428270" y="5212408"/>
                  <a:pt x="3428270" y="5212408"/>
                </a:cubicBezTo>
                <a:cubicBezTo>
                  <a:pt x="3426337" y="5214341"/>
                  <a:pt x="3426337" y="5216277"/>
                  <a:pt x="3424402" y="5216277"/>
                </a:cubicBezTo>
                <a:cubicBezTo>
                  <a:pt x="3424402" y="5214341"/>
                  <a:pt x="3424402" y="5214341"/>
                  <a:pt x="3424402" y="5212408"/>
                </a:cubicBezTo>
                <a:close/>
                <a:moveTo>
                  <a:pt x="2755203" y="5202736"/>
                </a:moveTo>
                <a:cubicBezTo>
                  <a:pt x="2753268" y="5206605"/>
                  <a:pt x="2755203" y="5208540"/>
                  <a:pt x="2753268" y="5208540"/>
                </a:cubicBezTo>
                <a:cubicBezTo>
                  <a:pt x="2753268" y="5208540"/>
                  <a:pt x="2751335" y="5210473"/>
                  <a:pt x="2749399" y="5210473"/>
                </a:cubicBezTo>
                <a:cubicBezTo>
                  <a:pt x="2749399" y="5208540"/>
                  <a:pt x="2747464" y="5208540"/>
                  <a:pt x="2749399" y="5206605"/>
                </a:cubicBezTo>
                <a:cubicBezTo>
                  <a:pt x="2749399" y="5204672"/>
                  <a:pt x="2751335" y="5204672"/>
                  <a:pt x="2755203" y="5202736"/>
                </a:cubicBezTo>
                <a:close/>
                <a:moveTo>
                  <a:pt x="3265806" y="5185330"/>
                </a:moveTo>
                <a:cubicBezTo>
                  <a:pt x="3260002" y="5189199"/>
                  <a:pt x="3258069" y="5193067"/>
                  <a:pt x="3260002" y="5198871"/>
                </a:cubicBezTo>
                <a:cubicBezTo>
                  <a:pt x="3260002" y="5195000"/>
                  <a:pt x="3265806" y="5193067"/>
                  <a:pt x="3265806" y="5185330"/>
                </a:cubicBezTo>
                <a:close/>
                <a:moveTo>
                  <a:pt x="2726190" y="5179529"/>
                </a:moveTo>
                <a:cubicBezTo>
                  <a:pt x="2726190" y="5181462"/>
                  <a:pt x="2726190" y="5185330"/>
                  <a:pt x="2726190" y="5185330"/>
                </a:cubicBezTo>
                <a:cubicBezTo>
                  <a:pt x="2728125" y="5185330"/>
                  <a:pt x="2730058" y="5187263"/>
                  <a:pt x="2731993" y="5185330"/>
                </a:cubicBezTo>
                <a:cubicBezTo>
                  <a:pt x="2731993" y="5185330"/>
                  <a:pt x="2731993" y="5181462"/>
                  <a:pt x="2733926" y="5181462"/>
                </a:cubicBezTo>
                <a:cubicBezTo>
                  <a:pt x="2731993" y="5179529"/>
                  <a:pt x="2730058" y="5179529"/>
                  <a:pt x="2726190" y="5179529"/>
                </a:cubicBezTo>
                <a:close/>
                <a:moveTo>
                  <a:pt x="2784214" y="5177594"/>
                </a:moveTo>
                <a:cubicBezTo>
                  <a:pt x="2788082" y="5177594"/>
                  <a:pt x="2791950" y="5177594"/>
                  <a:pt x="2797754" y="5177594"/>
                </a:cubicBezTo>
                <a:cubicBezTo>
                  <a:pt x="2790015" y="5187263"/>
                  <a:pt x="2790015" y="5187263"/>
                  <a:pt x="2784214" y="5177594"/>
                </a:cubicBezTo>
                <a:close/>
                <a:moveTo>
                  <a:pt x="2753268" y="5167922"/>
                </a:moveTo>
                <a:cubicBezTo>
                  <a:pt x="2747464" y="5171790"/>
                  <a:pt x="2741663" y="5173726"/>
                  <a:pt x="2735862" y="5177594"/>
                </a:cubicBezTo>
                <a:cubicBezTo>
                  <a:pt x="2745531" y="5179529"/>
                  <a:pt x="2751335" y="5173726"/>
                  <a:pt x="2755203" y="5169857"/>
                </a:cubicBezTo>
                <a:cubicBezTo>
                  <a:pt x="2755203" y="5169857"/>
                  <a:pt x="2753268" y="5167922"/>
                  <a:pt x="2753268" y="5167922"/>
                </a:cubicBezTo>
                <a:close/>
                <a:moveTo>
                  <a:pt x="2838602" y="5151491"/>
                </a:moveTo>
                <a:lnTo>
                  <a:pt x="2840101" y="5153312"/>
                </a:lnTo>
                <a:lnTo>
                  <a:pt x="2838852" y="5156078"/>
                </a:lnTo>
                <a:cubicBezTo>
                  <a:pt x="2836918" y="5156803"/>
                  <a:pt x="2834500" y="5156320"/>
                  <a:pt x="2832566" y="5156320"/>
                </a:cubicBezTo>
                <a:close/>
                <a:moveTo>
                  <a:pt x="3383786" y="5148583"/>
                </a:moveTo>
                <a:cubicBezTo>
                  <a:pt x="3376050" y="5154384"/>
                  <a:pt x="3368313" y="5162121"/>
                  <a:pt x="3366378" y="5171790"/>
                </a:cubicBezTo>
                <a:cubicBezTo>
                  <a:pt x="3366378" y="5173726"/>
                  <a:pt x="3366378" y="5177594"/>
                  <a:pt x="3364445" y="5179529"/>
                </a:cubicBezTo>
                <a:cubicBezTo>
                  <a:pt x="3364445" y="5177594"/>
                  <a:pt x="3366378" y="5175661"/>
                  <a:pt x="3368313" y="5173726"/>
                </a:cubicBezTo>
                <a:cubicBezTo>
                  <a:pt x="3368313" y="5173726"/>
                  <a:pt x="3370246" y="5175661"/>
                  <a:pt x="3370246" y="5175661"/>
                </a:cubicBezTo>
                <a:cubicBezTo>
                  <a:pt x="3366378" y="5179529"/>
                  <a:pt x="3364445" y="5181462"/>
                  <a:pt x="3362510" y="5185330"/>
                </a:cubicBezTo>
                <a:cubicBezTo>
                  <a:pt x="3360577" y="5183395"/>
                  <a:pt x="3360577" y="5183395"/>
                  <a:pt x="3360577" y="5183395"/>
                </a:cubicBezTo>
                <a:cubicBezTo>
                  <a:pt x="3358641" y="5187263"/>
                  <a:pt x="3358641" y="5189199"/>
                  <a:pt x="3356708" y="5191132"/>
                </a:cubicBezTo>
                <a:cubicBezTo>
                  <a:pt x="3354773" y="5195000"/>
                  <a:pt x="3352840" y="5198871"/>
                  <a:pt x="3354773" y="5202736"/>
                </a:cubicBezTo>
                <a:cubicBezTo>
                  <a:pt x="3356708" y="5202736"/>
                  <a:pt x="3358641" y="5202736"/>
                  <a:pt x="3358641" y="5202736"/>
                </a:cubicBezTo>
                <a:cubicBezTo>
                  <a:pt x="3368313" y="5189199"/>
                  <a:pt x="3377983" y="5177594"/>
                  <a:pt x="3387654" y="5164054"/>
                </a:cubicBezTo>
                <a:cubicBezTo>
                  <a:pt x="3389587" y="5160188"/>
                  <a:pt x="3391520" y="5154384"/>
                  <a:pt x="3393456" y="5150516"/>
                </a:cubicBezTo>
                <a:cubicBezTo>
                  <a:pt x="3389587" y="5146648"/>
                  <a:pt x="3387654" y="5146648"/>
                  <a:pt x="3383786" y="5148583"/>
                </a:cubicBezTo>
                <a:close/>
                <a:moveTo>
                  <a:pt x="3430203" y="5131175"/>
                </a:moveTo>
                <a:cubicBezTo>
                  <a:pt x="3420533" y="5133110"/>
                  <a:pt x="3420533" y="5133110"/>
                  <a:pt x="3416665" y="5144713"/>
                </a:cubicBezTo>
                <a:cubicBezTo>
                  <a:pt x="3424402" y="5142780"/>
                  <a:pt x="3426337" y="5136978"/>
                  <a:pt x="3430203" y="5131175"/>
                </a:cubicBezTo>
                <a:close/>
                <a:moveTo>
                  <a:pt x="3418598" y="5117637"/>
                </a:moveTo>
                <a:cubicBezTo>
                  <a:pt x="3416665" y="5117637"/>
                  <a:pt x="3416665" y="5119570"/>
                  <a:pt x="3414730" y="5121505"/>
                </a:cubicBezTo>
                <a:cubicBezTo>
                  <a:pt x="3414730" y="5121505"/>
                  <a:pt x="3416665" y="5121505"/>
                  <a:pt x="3416665" y="5121505"/>
                </a:cubicBezTo>
                <a:cubicBezTo>
                  <a:pt x="3418598" y="5119570"/>
                  <a:pt x="3418598" y="5119570"/>
                  <a:pt x="3418598" y="5117637"/>
                </a:cubicBezTo>
                <a:close/>
                <a:moveTo>
                  <a:pt x="3042975" y="5114379"/>
                </a:moveTo>
                <a:lnTo>
                  <a:pt x="3047250" y="5121505"/>
                </a:lnTo>
                <a:cubicBezTo>
                  <a:pt x="3045317" y="5121505"/>
                  <a:pt x="3043382" y="5123438"/>
                  <a:pt x="3041449" y="5123438"/>
                </a:cubicBezTo>
                <a:lnTo>
                  <a:pt x="3041449" y="5122665"/>
                </a:lnTo>
                <a:lnTo>
                  <a:pt x="3043382" y="5121505"/>
                </a:lnTo>
                <a:lnTo>
                  <a:pt x="3041449" y="5120538"/>
                </a:lnTo>
                <a:lnTo>
                  <a:pt x="3041449" y="5116669"/>
                </a:lnTo>
                <a:close/>
                <a:moveTo>
                  <a:pt x="3034689" y="5107009"/>
                </a:moveTo>
                <a:lnTo>
                  <a:pt x="3037581" y="5109901"/>
                </a:lnTo>
                <a:lnTo>
                  <a:pt x="3033713" y="5108933"/>
                </a:lnTo>
                <a:lnTo>
                  <a:pt x="3033713" y="5107965"/>
                </a:lnTo>
                <a:close/>
                <a:moveTo>
                  <a:pt x="3532710" y="5104097"/>
                </a:moveTo>
                <a:cubicBezTo>
                  <a:pt x="3526909" y="5102164"/>
                  <a:pt x="3523041" y="5104097"/>
                  <a:pt x="3519173" y="5107965"/>
                </a:cubicBezTo>
                <a:cubicBezTo>
                  <a:pt x="3509501" y="5113769"/>
                  <a:pt x="3503700" y="5123438"/>
                  <a:pt x="3497896" y="5138911"/>
                </a:cubicBezTo>
                <a:cubicBezTo>
                  <a:pt x="3503700" y="5136978"/>
                  <a:pt x="3509501" y="5135043"/>
                  <a:pt x="3509501" y="5125374"/>
                </a:cubicBezTo>
                <a:cubicBezTo>
                  <a:pt x="3509501" y="5125374"/>
                  <a:pt x="3511436" y="5123438"/>
                  <a:pt x="3513372" y="5121505"/>
                </a:cubicBezTo>
                <a:cubicBezTo>
                  <a:pt x="3521106" y="5119570"/>
                  <a:pt x="3528842" y="5109901"/>
                  <a:pt x="3532710" y="5104097"/>
                </a:cubicBezTo>
                <a:close/>
                <a:moveTo>
                  <a:pt x="2907995" y="5100229"/>
                </a:moveTo>
                <a:cubicBezTo>
                  <a:pt x="2907995" y="5100229"/>
                  <a:pt x="2907995" y="5102164"/>
                  <a:pt x="2907995" y="5102164"/>
                </a:cubicBezTo>
                <a:cubicBezTo>
                  <a:pt x="2909931" y="5102164"/>
                  <a:pt x="2909931" y="5102164"/>
                  <a:pt x="2911864" y="5102164"/>
                </a:cubicBezTo>
                <a:cubicBezTo>
                  <a:pt x="2911864" y="5102164"/>
                  <a:pt x="2913799" y="5100229"/>
                  <a:pt x="2911864" y="5100229"/>
                </a:cubicBezTo>
                <a:cubicBezTo>
                  <a:pt x="2911864" y="5100229"/>
                  <a:pt x="2909931" y="5100229"/>
                  <a:pt x="2907995" y="5100229"/>
                </a:cubicBezTo>
                <a:close/>
                <a:moveTo>
                  <a:pt x="2853840" y="5100229"/>
                </a:moveTo>
                <a:cubicBezTo>
                  <a:pt x="2838369" y="5109901"/>
                  <a:pt x="2824829" y="5121505"/>
                  <a:pt x="2813224" y="5131175"/>
                </a:cubicBezTo>
                <a:cubicBezTo>
                  <a:pt x="2813224" y="5133110"/>
                  <a:pt x="2815160" y="5133110"/>
                  <a:pt x="2815160" y="5135043"/>
                </a:cubicBezTo>
                <a:cubicBezTo>
                  <a:pt x="2817093" y="5135043"/>
                  <a:pt x="2819028" y="5135043"/>
                  <a:pt x="2820961" y="5133110"/>
                </a:cubicBezTo>
                <a:cubicBezTo>
                  <a:pt x="2830630" y="5125374"/>
                  <a:pt x="2842237" y="5117637"/>
                  <a:pt x="2851907" y="5109901"/>
                </a:cubicBezTo>
                <a:cubicBezTo>
                  <a:pt x="2851907" y="5107965"/>
                  <a:pt x="2851907" y="5106032"/>
                  <a:pt x="2853840" y="5100229"/>
                </a:cubicBezTo>
                <a:close/>
                <a:moveTo>
                  <a:pt x="1813294" y="5100229"/>
                </a:moveTo>
                <a:cubicBezTo>
                  <a:pt x="1813294" y="5100229"/>
                  <a:pt x="1813294" y="5100229"/>
                  <a:pt x="1813294" y="5102164"/>
                </a:cubicBezTo>
                <a:cubicBezTo>
                  <a:pt x="1811361" y="5104097"/>
                  <a:pt x="1811361" y="5106032"/>
                  <a:pt x="1809425" y="5106032"/>
                </a:cubicBezTo>
                <a:cubicBezTo>
                  <a:pt x="1811361" y="5104097"/>
                  <a:pt x="1811361" y="5102164"/>
                  <a:pt x="1813294" y="5100229"/>
                </a:cubicBezTo>
                <a:close/>
                <a:moveTo>
                  <a:pt x="2140158" y="5094428"/>
                </a:moveTo>
                <a:cubicBezTo>
                  <a:pt x="2138223" y="5096361"/>
                  <a:pt x="2136290" y="5098296"/>
                  <a:pt x="2136290" y="5102164"/>
                </a:cubicBezTo>
                <a:cubicBezTo>
                  <a:pt x="2138223" y="5100229"/>
                  <a:pt x="2140158" y="5098296"/>
                  <a:pt x="2142091" y="5096361"/>
                </a:cubicBezTo>
                <a:cubicBezTo>
                  <a:pt x="2142091" y="5096361"/>
                  <a:pt x="2140158" y="5094428"/>
                  <a:pt x="2140158" y="5094428"/>
                </a:cubicBezTo>
                <a:close/>
                <a:moveTo>
                  <a:pt x="1806100" y="5093330"/>
                </a:moveTo>
                <a:lnTo>
                  <a:pt x="1797821" y="5100229"/>
                </a:lnTo>
                <a:lnTo>
                  <a:pt x="1796901" y="5098849"/>
                </a:lnTo>
                <a:close/>
                <a:moveTo>
                  <a:pt x="1808141" y="5091629"/>
                </a:moveTo>
                <a:lnTo>
                  <a:pt x="1807492" y="5092495"/>
                </a:lnTo>
                <a:lnTo>
                  <a:pt x="1806100" y="5093330"/>
                </a:lnTo>
                <a:close/>
                <a:moveTo>
                  <a:pt x="1375502" y="5087606"/>
                </a:moveTo>
                <a:lnTo>
                  <a:pt x="1369543" y="5095551"/>
                </a:lnTo>
                <a:lnTo>
                  <a:pt x="1364583" y="5096361"/>
                </a:lnTo>
                <a:cubicBezTo>
                  <a:pt x="1365550" y="5090558"/>
                  <a:pt x="1368934" y="5088625"/>
                  <a:pt x="1372802" y="5087900"/>
                </a:cubicBezTo>
                <a:close/>
                <a:moveTo>
                  <a:pt x="2863512" y="5080888"/>
                </a:moveTo>
                <a:cubicBezTo>
                  <a:pt x="2859643" y="5080888"/>
                  <a:pt x="2855775" y="5080888"/>
                  <a:pt x="2853840" y="5082823"/>
                </a:cubicBezTo>
                <a:cubicBezTo>
                  <a:pt x="2842237" y="5090559"/>
                  <a:pt x="2832566" y="5098296"/>
                  <a:pt x="2820961" y="5104097"/>
                </a:cubicBezTo>
                <a:cubicBezTo>
                  <a:pt x="2811291" y="5107965"/>
                  <a:pt x="2805488" y="5113769"/>
                  <a:pt x="2799687" y="5119570"/>
                </a:cubicBezTo>
                <a:cubicBezTo>
                  <a:pt x="2807423" y="5125374"/>
                  <a:pt x="2807423" y="5125374"/>
                  <a:pt x="2809356" y="5123438"/>
                </a:cubicBezTo>
                <a:cubicBezTo>
                  <a:pt x="2817093" y="5117637"/>
                  <a:pt x="2822896" y="5111836"/>
                  <a:pt x="2830630" y="5106032"/>
                </a:cubicBezTo>
                <a:cubicBezTo>
                  <a:pt x="2840302" y="5098296"/>
                  <a:pt x="2848039" y="5086691"/>
                  <a:pt x="2863512" y="5088626"/>
                </a:cubicBezTo>
                <a:cubicBezTo>
                  <a:pt x="2865447" y="5088626"/>
                  <a:pt x="2867380" y="5086691"/>
                  <a:pt x="2867380" y="5084756"/>
                </a:cubicBezTo>
                <a:cubicBezTo>
                  <a:pt x="2867380" y="5082823"/>
                  <a:pt x="2865447" y="5080888"/>
                  <a:pt x="2863512" y="5080888"/>
                </a:cubicBezTo>
                <a:close/>
                <a:moveTo>
                  <a:pt x="2811291" y="5080888"/>
                </a:moveTo>
                <a:cubicBezTo>
                  <a:pt x="2807423" y="5086691"/>
                  <a:pt x="2805488" y="5090559"/>
                  <a:pt x="2803555" y="5096361"/>
                </a:cubicBezTo>
                <a:cubicBezTo>
                  <a:pt x="2811291" y="5096361"/>
                  <a:pt x="2815160" y="5088626"/>
                  <a:pt x="2819028" y="5084756"/>
                </a:cubicBezTo>
                <a:cubicBezTo>
                  <a:pt x="2817093" y="5084756"/>
                  <a:pt x="2813224" y="5082823"/>
                  <a:pt x="2811291" y="5080888"/>
                </a:cubicBezTo>
                <a:close/>
                <a:moveTo>
                  <a:pt x="2820237" y="5078470"/>
                </a:moveTo>
                <a:cubicBezTo>
                  <a:pt x="2819028" y="5079437"/>
                  <a:pt x="2819028" y="5081855"/>
                  <a:pt x="2819028" y="5086691"/>
                </a:cubicBezTo>
                <a:cubicBezTo>
                  <a:pt x="2820961" y="5084756"/>
                  <a:pt x="2824829" y="5080888"/>
                  <a:pt x="2828697" y="5078955"/>
                </a:cubicBezTo>
                <a:cubicBezTo>
                  <a:pt x="2823863" y="5077987"/>
                  <a:pt x="2821445" y="5077503"/>
                  <a:pt x="2820237" y="5078470"/>
                </a:cubicBezTo>
                <a:close/>
                <a:moveTo>
                  <a:pt x="3546248" y="5075086"/>
                </a:moveTo>
                <a:cubicBezTo>
                  <a:pt x="3544315" y="5077019"/>
                  <a:pt x="3544315" y="5080888"/>
                  <a:pt x="3544315" y="5082823"/>
                </a:cubicBezTo>
                <a:cubicBezTo>
                  <a:pt x="3544315" y="5080888"/>
                  <a:pt x="3546248" y="5078955"/>
                  <a:pt x="3548183" y="5077019"/>
                </a:cubicBezTo>
                <a:cubicBezTo>
                  <a:pt x="3548183" y="5075086"/>
                  <a:pt x="3546248" y="5075086"/>
                  <a:pt x="3546248" y="5075086"/>
                </a:cubicBezTo>
                <a:close/>
                <a:moveTo>
                  <a:pt x="1420672" y="5075086"/>
                </a:moveTo>
                <a:cubicBezTo>
                  <a:pt x="1416803" y="5077019"/>
                  <a:pt x="1412935" y="5080888"/>
                  <a:pt x="1409067" y="5082823"/>
                </a:cubicBezTo>
                <a:cubicBezTo>
                  <a:pt x="1409067" y="5082823"/>
                  <a:pt x="1411002" y="5084756"/>
                  <a:pt x="1411002" y="5084756"/>
                </a:cubicBezTo>
                <a:cubicBezTo>
                  <a:pt x="1414870" y="5082823"/>
                  <a:pt x="1416803" y="5078955"/>
                  <a:pt x="1422605" y="5077019"/>
                </a:cubicBezTo>
                <a:cubicBezTo>
                  <a:pt x="1420672" y="5075086"/>
                  <a:pt x="1420672" y="5075086"/>
                  <a:pt x="1420672" y="5075086"/>
                </a:cubicBezTo>
                <a:close/>
                <a:moveTo>
                  <a:pt x="3261937" y="5061549"/>
                </a:moveTo>
                <a:cubicBezTo>
                  <a:pt x="3254201" y="5067350"/>
                  <a:pt x="3252265" y="5075086"/>
                  <a:pt x="3250333" y="5082823"/>
                </a:cubicBezTo>
                <a:cubicBezTo>
                  <a:pt x="3256134" y="5077019"/>
                  <a:pt x="3261937" y="5069285"/>
                  <a:pt x="3261937" y="5061549"/>
                </a:cubicBezTo>
                <a:close/>
                <a:moveTo>
                  <a:pt x="2896391" y="5055745"/>
                </a:moveTo>
                <a:cubicBezTo>
                  <a:pt x="2894458" y="5059613"/>
                  <a:pt x="2890589" y="5063482"/>
                  <a:pt x="2890589" y="5065417"/>
                </a:cubicBezTo>
                <a:cubicBezTo>
                  <a:pt x="2890589" y="5071218"/>
                  <a:pt x="2888654" y="5073153"/>
                  <a:pt x="2884788" y="5075086"/>
                </a:cubicBezTo>
                <a:cubicBezTo>
                  <a:pt x="2877049" y="5080888"/>
                  <a:pt x="2869313" y="5086691"/>
                  <a:pt x="2861579" y="5092495"/>
                </a:cubicBezTo>
                <a:cubicBezTo>
                  <a:pt x="2863512" y="5094428"/>
                  <a:pt x="2863512" y="5094428"/>
                  <a:pt x="2863512" y="5096361"/>
                </a:cubicBezTo>
                <a:cubicBezTo>
                  <a:pt x="2865447" y="5096361"/>
                  <a:pt x="2867380" y="5096361"/>
                  <a:pt x="2869313" y="5096361"/>
                </a:cubicBezTo>
                <a:cubicBezTo>
                  <a:pt x="2871248" y="5096361"/>
                  <a:pt x="2873181" y="5092495"/>
                  <a:pt x="2875116" y="5092495"/>
                </a:cubicBezTo>
                <a:cubicBezTo>
                  <a:pt x="2888654" y="5094428"/>
                  <a:pt x="2894458" y="5084756"/>
                  <a:pt x="2904127" y="5078955"/>
                </a:cubicBezTo>
                <a:cubicBezTo>
                  <a:pt x="2904127" y="5077019"/>
                  <a:pt x="2904127" y="5077019"/>
                  <a:pt x="2907995" y="5073153"/>
                </a:cubicBezTo>
                <a:cubicBezTo>
                  <a:pt x="2907995" y="5073153"/>
                  <a:pt x="2906063" y="5071218"/>
                  <a:pt x="2906063" y="5071218"/>
                </a:cubicBezTo>
                <a:cubicBezTo>
                  <a:pt x="2904127" y="5069285"/>
                  <a:pt x="2902194" y="5065417"/>
                  <a:pt x="2900259" y="5063482"/>
                </a:cubicBezTo>
                <a:cubicBezTo>
                  <a:pt x="2900259" y="5063482"/>
                  <a:pt x="2898326" y="5065417"/>
                  <a:pt x="2896391" y="5065417"/>
                </a:cubicBezTo>
                <a:cubicBezTo>
                  <a:pt x="2896391" y="5063482"/>
                  <a:pt x="2898326" y="5061549"/>
                  <a:pt x="2898326" y="5059613"/>
                </a:cubicBezTo>
                <a:cubicBezTo>
                  <a:pt x="2898326" y="5057678"/>
                  <a:pt x="2896391" y="5057678"/>
                  <a:pt x="2896391" y="5055745"/>
                </a:cubicBezTo>
                <a:close/>
                <a:moveTo>
                  <a:pt x="1870196" y="5051697"/>
                </a:moveTo>
                <a:lnTo>
                  <a:pt x="1830702" y="5080888"/>
                </a:lnTo>
                <a:cubicBezTo>
                  <a:pt x="1826834" y="5084756"/>
                  <a:pt x="1822965" y="5086691"/>
                  <a:pt x="1815229" y="5086691"/>
                </a:cubicBezTo>
                <a:cubicBezTo>
                  <a:pt x="1813294" y="5086691"/>
                  <a:pt x="1811361" y="5088626"/>
                  <a:pt x="1809425" y="5090559"/>
                </a:cubicBezTo>
                <a:lnTo>
                  <a:pt x="1808141" y="5091629"/>
                </a:lnTo>
                <a:lnTo>
                  <a:pt x="1813294" y="5084756"/>
                </a:lnTo>
                <a:lnTo>
                  <a:pt x="1814721" y="5079526"/>
                </a:lnTo>
                <a:lnTo>
                  <a:pt x="1822965" y="5075086"/>
                </a:lnTo>
                <a:lnTo>
                  <a:pt x="1846700" y="5060844"/>
                </a:lnTo>
                <a:lnTo>
                  <a:pt x="1849075" y="5061306"/>
                </a:lnTo>
                <a:cubicBezTo>
                  <a:pt x="1851976" y="5061064"/>
                  <a:pt x="1854877" y="5059614"/>
                  <a:pt x="1857777" y="5055745"/>
                </a:cubicBezTo>
                <a:cubicBezTo>
                  <a:pt x="1859713" y="5053812"/>
                  <a:pt x="1865516" y="5051877"/>
                  <a:pt x="1867449" y="5051877"/>
                </a:cubicBezTo>
                <a:close/>
                <a:moveTo>
                  <a:pt x="2871248" y="5044140"/>
                </a:moveTo>
                <a:cubicBezTo>
                  <a:pt x="2869313" y="5055745"/>
                  <a:pt x="2851907" y="5053812"/>
                  <a:pt x="2853840" y="5071218"/>
                </a:cubicBezTo>
                <a:cubicBezTo>
                  <a:pt x="2863512" y="5067350"/>
                  <a:pt x="2869313" y="5063482"/>
                  <a:pt x="2877049" y="5059613"/>
                </a:cubicBezTo>
                <a:cubicBezTo>
                  <a:pt x="2875116" y="5053812"/>
                  <a:pt x="2875116" y="5049944"/>
                  <a:pt x="2875116" y="5046076"/>
                </a:cubicBezTo>
                <a:cubicBezTo>
                  <a:pt x="2873181" y="5044140"/>
                  <a:pt x="2873181" y="5044140"/>
                  <a:pt x="2871248" y="5044140"/>
                </a:cubicBezTo>
                <a:close/>
                <a:moveTo>
                  <a:pt x="3325762" y="5042207"/>
                </a:moveTo>
                <a:cubicBezTo>
                  <a:pt x="3319961" y="5046076"/>
                  <a:pt x="3314158" y="5053812"/>
                  <a:pt x="3310289" y="5061549"/>
                </a:cubicBezTo>
                <a:cubicBezTo>
                  <a:pt x="3310289" y="5063482"/>
                  <a:pt x="3310289" y="5063482"/>
                  <a:pt x="3310289" y="5065417"/>
                </a:cubicBezTo>
                <a:cubicBezTo>
                  <a:pt x="3308354" y="5073153"/>
                  <a:pt x="3306421" y="5078955"/>
                  <a:pt x="3302553" y="5084756"/>
                </a:cubicBezTo>
                <a:cubicBezTo>
                  <a:pt x="3300620" y="5088626"/>
                  <a:pt x="3298685" y="5092495"/>
                  <a:pt x="3300620" y="5096361"/>
                </a:cubicBezTo>
                <a:cubicBezTo>
                  <a:pt x="3302553" y="5096361"/>
                  <a:pt x="3304486" y="5096361"/>
                  <a:pt x="3304486" y="5096361"/>
                </a:cubicBezTo>
                <a:cubicBezTo>
                  <a:pt x="3308354" y="5092495"/>
                  <a:pt x="3310289" y="5088626"/>
                  <a:pt x="3314158" y="5084756"/>
                </a:cubicBezTo>
                <a:cubicBezTo>
                  <a:pt x="3312222" y="5086691"/>
                  <a:pt x="3310289" y="5086691"/>
                  <a:pt x="3308354" y="5088626"/>
                </a:cubicBezTo>
                <a:cubicBezTo>
                  <a:pt x="3310289" y="5084756"/>
                  <a:pt x="3312222" y="5082823"/>
                  <a:pt x="3316093" y="5082823"/>
                </a:cubicBezTo>
                <a:cubicBezTo>
                  <a:pt x="3321894" y="5073153"/>
                  <a:pt x="3327695" y="5065417"/>
                  <a:pt x="3333499" y="5057678"/>
                </a:cubicBezTo>
                <a:cubicBezTo>
                  <a:pt x="3335432" y="5053812"/>
                  <a:pt x="3337367" y="5049944"/>
                  <a:pt x="3335432" y="5044140"/>
                </a:cubicBezTo>
                <a:cubicBezTo>
                  <a:pt x="3331564" y="5040272"/>
                  <a:pt x="3329631" y="5040272"/>
                  <a:pt x="3325762" y="5042207"/>
                </a:cubicBezTo>
                <a:close/>
                <a:moveTo>
                  <a:pt x="2886721" y="5034471"/>
                </a:moveTo>
                <a:cubicBezTo>
                  <a:pt x="2884788" y="5034471"/>
                  <a:pt x="2884788" y="5042207"/>
                  <a:pt x="2882853" y="5042207"/>
                </a:cubicBezTo>
                <a:cubicBezTo>
                  <a:pt x="2884788" y="5042207"/>
                  <a:pt x="2884788" y="5042207"/>
                  <a:pt x="2884788" y="5044140"/>
                </a:cubicBezTo>
                <a:cubicBezTo>
                  <a:pt x="2886721" y="5044140"/>
                  <a:pt x="2888654" y="5042207"/>
                  <a:pt x="2890589" y="5040272"/>
                </a:cubicBezTo>
                <a:cubicBezTo>
                  <a:pt x="2890589" y="5038339"/>
                  <a:pt x="2890589" y="5036404"/>
                  <a:pt x="2886721" y="5034471"/>
                </a:cubicBezTo>
                <a:close/>
                <a:moveTo>
                  <a:pt x="3817024" y="5005460"/>
                </a:moveTo>
                <a:cubicBezTo>
                  <a:pt x="3789946" y="5018998"/>
                  <a:pt x="3762868" y="5028667"/>
                  <a:pt x="3737726" y="5048009"/>
                </a:cubicBezTo>
                <a:cubicBezTo>
                  <a:pt x="3764803" y="5040272"/>
                  <a:pt x="3803486" y="5018998"/>
                  <a:pt x="3817024" y="5005460"/>
                </a:cubicBezTo>
                <a:close/>
                <a:moveTo>
                  <a:pt x="2993097" y="4991920"/>
                </a:moveTo>
                <a:cubicBezTo>
                  <a:pt x="2991162" y="4991920"/>
                  <a:pt x="2989229" y="4993853"/>
                  <a:pt x="2987293" y="4993853"/>
                </a:cubicBezTo>
                <a:cubicBezTo>
                  <a:pt x="2987293" y="4993853"/>
                  <a:pt x="2987293" y="4995788"/>
                  <a:pt x="2987293" y="4995788"/>
                </a:cubicBezTo>
                <a:cubicBezTo>
                  <a:pt x="2989229" y="4995788"/>
                  <a:pt x="2991162" y="4993853"/>
                  <a:pt x="2993097" y="4993853"/>
                </a:cubicBezTo>
                <a:cubicBezTo>
                  <a:pt x="2993097" y="4993853"/>
                  <a:pt x="2993097" y="4991920"/>
                  <a:pt x="2993097" y="4991920"/>
                </a:cubicBezTo>
                <a:close/>
                <a:moveTo>
                  <a:pt x="2991162" y="4962909"/>
                </a:moveTo>
                <a:cubicBezTo>
                  <a:pt x="2991162" y="4964842"/>
                  <a:pt x="2989229" y="4964842"/>
                  <a:pt x="2991162" y="4966778"/>
                </a:cubicBezTo>
                <a:cubicBezTo>
                  <a:pt x="2993097" y="4964842"/>
                  <a:pt x="2993097" y="4964842"/>
                  <a:pt x="2995030" y="4964842"/>
                </a:cubicBezTo>
                <a:cubicBezTo>
                  <a:pt x="2993097" y="4962909"/>
                  <a:pt x="2993097" y="4962909"/>
                  <a:pt x="2991162" y="4962909"/>
                </a:cubicBezTo>
                <a:close/>
                <a:moveTo>
                  <a:pt x="3155561" y="4947436"/>
                </a:moveTo>
                <a:cubicBezTo>
                  <a:pt x="3153626" y="4947436"/>
                  <a:pt x="3153626" y="4949369"/>
                  <a:pt x="3153626" y="4949369"/>
                </a:cubicBezTo>
                <a:cubicBezTo>
                  <a:pt x="3153626" y="4949369"/>
                  <a:pt x="3155561" y="4949369"/>
                  <a:pt x="3157494" y="4947436"/>
                </a:cubicBezTo>
                <a:cubicBezTo>
                  <a:pt x="3157494" y="4947436"/>
                  <a:pt x="3155561" y="4947436"/>
                  <a:pt x="3155561" y="4947436"/>
                </a:cubicBezTo>
                <a:close/>
                <a:moveTo>
                  <a:pt x="3083492" y="4945704"/>
                </a:moveTo>
                <a:lnTo>
                  <a:pt x="3070460" y="4957106"/>
                </a:lnTo>
                <a:cubicBezTo>
                  <a:pt x="3070460" y="4957106"/>
                  <a:pt x="3070460" y="4959041"/>
                  <a:pt x="3068527" y="4959041"/>
                </a:cubicBezTo>
                <a:cubicBezTo>
                  <a:pt x="3068527" y="4957106"/>
                  <a:pt x="3070460" y="4953237"/>
                  <a:pt x="3072395" y="4951302"/>
                </a:cubicBezTo>
                <a:cubicBezTo>
                  <a:pt x="3072395" y="4951302"/>
                  <a:pt x="3072395" y="4951302"/>
                  <a:pt x="3074328" y="4949369"/>
                </a:cubicBezTo>
                <a:close/>
                <a:moveTo>
                  <a:pt x="3085930" y="4943571"/>
                </a:moveTo>
                <a:lnTo>
                  <a:pt x="3084000" y="4945501"/>
                </a:lnTo>
                <a:lnTo>
                  <a:pt x="3083492" y="4945704"/>
                </a:lnTo>
                <a:close/>
                <a:moveTo>
                  <a:pt x="3085933" y="4943567"/>
                </a:moveTo>
                <a:lnTo>
                  <a:pt x="3085933" y="4943568"/>
                </a:lnTo>
                <a:lnTo>
                  <a:pt x="3085930" y="4943571"/>
                </a:lnTo>
                <a:close/>
                <a:moveTo>
                  <a:pt x="3242596" y="4931963"/>
                </a:moveTo>
                <a:cubicBezTo>
                  <a:pt x="3242596" y="4931963"/>
                  <a:pt x="3240661" y="4933896"/>
                  <a:pt x="3238728" y="4933896"/>
                </a:cubicBezTo>
                <a:cubicBezTo>
                  <a:pt x="3236792" y="4935832"/>
                  <a:pt x="3232927" y="4935832"/>
                  <a:pt x="3229058" y="4937764"/>
                </a:cubicBezTo>
                <a:cubicBezTo>
                  <a:pt x="3229058" y="4939700"/>
                  <a:pt x="3229058" y="4939700"/>
                  <a:pt x="3229058" y="4941633"/>
                </a:cubicBezTo>
                <a:cubicBezTo>
                  <a:pt x="3229058" y="4943568"/>
                  <a:pt x="3230991" y="4945501"/>
                  <a:pt x="3232927" y="4945501"/>
                </a:cubicBezTo>
                <a:cubicBezTo>
                  <a:pt x="3234860" y="4945501"/>
                  <a:pt x="3236792" y="4943568"/>
                  <a:pt x="3238728" y="4943568"/>
                </a:cubicBezTo>
                <a:cubicBezTo>
                  <a:pt x="3238728" y="4945501"/>
                  <a:pt x="3236792" y="4945501"/>
                  <a:pt x="3236792" y="4947436"/>
                </a:cubicBezTo>
                <a:cubicBezTo>
                  <a:pt x="3244529" y="4947436"/>
                  <a:pt x="3250333" y="4943568"/>
                  <a:pt x="3254201" y="4939700"/>
                </a:cubicBezTo>
                <a:cubicBezTo>
                  <a:pt x="3250333" y="4935832"/>
                  <a:pt x="3246464" y="4933896"/>
                  <a:pt x="3242596" y="4931963"/>
                </a:cubicBezTo>
                <a:close/>
                <a:moveTo>
                  <a:pt x="3151693" y="4922291"/>
                </a:moveTo>
                <a:cubicBezTo>
                  <a:pt x="3149758" y="4924227"/>
                  <a:pt x="3147825" y="4924227"/>
                  <a:pt x="3145892" y="4926160"/>
                </a:cubicBezTo>
                <a:cubicBezTo>
                  <a:pt x="3145892" y="4926160"/>
                  <a:pt x="3147825" y="4928095"/>
                  <a:pt x="3147825" y="4928095"/>
                </a:cubicBezTo>
                <a:cubicBezTo>
                  <a:pt x="3147825" y="4928095"/>
                  <a:pt x="3149758" y="4926160"/>
                  <a:pt x="3149758" y="4926160"/>
                </a:cubicBezTo>
                <a:cubicBezTo>
                  <a:pt x="3149758" y="4924227"/>
                  <a:pt x="3149758" y="4924227"/>
                  <a:pt x="3151693" y="4922291"/>
                </a:cubicBezTo>
                <a:close/>
                <a:moveTo>
                  <a:pt x="1720458" y="4875875"/>
                </a:moveTo>
                <a:cubicBezTo>
                  <a:pt x="1718523" y="4877808"/>
                  <a:pt x="1716590" y="4877808"/>
                  <a:pt x="1714654" y="4879743"/>
                </a:cubicBezTo>
                <a:cubicBezTo>
                  <a:pt x="1716590" y="4879743"/>
                  <a:pt x="1716590" y="4881676"/>
                  <a:pt x="1716590" y="4881676"/>
                </a:cubicBezTo>
                <a:cubicBezTo>
                  <a:pt x="1720458" y="4881676"/>
                  <a:pt x="1722391" y="4879743"/>
                  <a:pt x="1722391" y="4877808"/>
                </a:cubicBezTo>
                <a:cubicBezTo>
                  <a:pt x="1720458" y="4877808"/>
                  <a:pt x="1720458" y="4875875"/>
                  <a:pt x="1720458" y="4875875"/>
                </a:cubicBezTo>
                <a:close/>
                <a:moveTo>
                  <a:pt x="1142160" y="4850730"/>
                </a:moveTo>
                <a:cubicBezTo>
                  <a:pt x="1136359" y="4852665"/>
                  <a:pt x="1130557" y="4852665"/>
                  <a:pt x="1134426" y="4860402"/>
                </a:cubicBezTo>
                <a:cubicBezTo>
                  <a:pt x="1136359" y="4860402"/>
                  <a:pt x="1138291" y="4860402"/>
                  <a:pt x="1138291" y="4858466"/>
                </a:cubicBezTo>
                <a:cubicBezTo>
                  <a:pt x="1140227" y="4856533"/>
                  <a:pt x="1140227" y="4854598"/>
                  <a:pt x="1142160" y="4852665"/>
                </a:cubicBezTo>
                <a:cubicBezTo>
                  <a:pt x="1142160" y="4852665"/>
                  <a:pt x="1142160" y="4850730"/>
                  <a:pt x="1142160" y="4850730"/>
                </a:cubicBezTo>
                <a:close/>
                <a:moveTo>
                  <a:pt x="1417287" y="4781345"/>
                </a:moveTo>
                <a:cubicBezTo>
                  <a:pt x="1414386" y="4783037"/>
                  <a:pt x="1411969" y="4785938"/>
                  <a:pt x="1409067" y="4786905"/>
                </a:cubicBezTo>
                <a:cubicBezTo>
                  <a:pt x="1403263" y="4788840"/>
                  <a:pt x="1401330" y="4792708"/>
                  <a:pt x="1405199" y="4798510"/>
                </a:cubicBezTo>
                <a:cubicBezTo>
                  <a:pt x="1412935" y="4792708"/>
                  <a:pt x="1420672" y="4788840"/>
                  <a:pt x="1428408" y="4783037"/>
                </a:cubicBezTo>
                <a:cubicBezTo>
                  <a:pt x="1423572" y="4779168"/>
                  <a:pt x="1420188" y="4779652"/>
                  <a:pt x="1417287" y="4781345"/>
                </a:cubicBezTo>
                <a:close/>
                <a:moveTo>
                  <a:pt x="1449682" y="4765631"/>
                </a:moveTo>
                <a:cubicBezTo>
                  <a:pt x="1445814" y="4767564"/>
                  <a:pt x="1441946" y="4769499"/>
                  <a:pt x="1438078" y="4771432"/>
                </a:cubicBezTo>
                <a:cubicBezTo>
                  <a:pt x="1440013" y="4771432"/>
                  <a:pt x="1440013" y="4773367"/>
                  <a:pt x="1440013" y="4773367"/>
                </a:cubicBezTo>
                <a:cubicBezTo>
                  <a:pt x="1441946" y="4771432"/>
                  <a:pt x="1443881" y="4771432"/>
                  <a:pt x="1445814" y="4769499"/>
                </a:cubicBezTo>
                <a:cubicBezTo>
                  <a:pt x="1447749" y="4767564"/>
                  <a:pt x="1447749" y="4767564"/>
                  <a:pt x="1449682" y="4765631"/>
                </a:cubicBezTo>
                <a:close/>
                <a:moveTo>
                  <a:pt x="1507706" y="4734685"/>
                </a:moveTo>
                <a:cubicBezTo>
                  <a:pt x="1498037" y="4738553"/>
                  <a:pt x="1490298" y="4742421"/>
                  <a:pt x="1480628" y="4746289"/>
                </a:cubicBezTo>
                <a:cubicBezTo>
                  <a:pt x="1482564" y="4746289"/>
                  <a:pt x="1482564" y="4746289"/>
                  <a:pt x="1482564" y="4746289"/>
                </a:cubicBezTo>
                <a:cubicBezTo>
                  <a:pt x="1480628" y="4752091"/>
                  <a:pt x="1474827" y="4752091"/>
                  <a:pt x="1470957" y="4752091"/>
                </a:cubicBezTo>
                <a:cubicBezTo>
                  <a:pt x="1470957" y="4752091"/>
                  <a:pt x="1469024" y="4754026"/>
                  <a:pt x="1467088" y="4754026"/>
                </a:cubicBezTo>
                <a:cubicBezTo>
                  <a:pt x="1469024" y="4759827"/>
                  <a:pt x="1465155" y="4763695"/>
                  <a:pt x="1461287" y="4765631"/>
                </a:cubicBezTo>
                <a:cubicBezTo>
                  <a:pt x="1455486" y="4769499"/>
                  <a:pt x="1447749" y="4775300"/>
                  <a:pt x="1441946" y="4779168"/>
                </a:cubicBezTo>
                <a:cubicBezTo>
                  <a:pt x="1420672" y="4794641"/>
                  <a:pt x="1397462" y="4808181"/>
                  <a:pt x="1378121" y="4825587"/>
                </a:cubicBezTo>
                <a:cubicBezTo>
                  <a:pt x="1383922" y="4823652"/>
                  <a:pt x="1391661" y="4821719"/>
                  <a:pt x="1397462" y="4817851"/>
                </a:cubicBezTo>
                <a:cubicBezTo>
                  <a:pt x="1409067" y="4812050"/>
                  <a:pt x="1418736" y="4798510"/>
                  <a:pt x="1432276" y="4796574"/>
                </a:cubicBezTo>
                <a:cubicBezTo>
                  <a:pt x="1434209" y="4796574"/>
                  <a:pt x="1434209" y="4794641"/>
                  <a:pt x="1436145" y="4794641"/>
                </a:cubicBezTo>
                <a:cubicBezTo>
                  <a:pt x="1440013" y="4790773"/>
                  <a:pt x="1443881" y="4786905"/>
                  <a:pt x="1449682" y="4783037"/>
                </a:cubicBezTo>
                <a:cubicBezTo>
                  <a:pt x="1465155" y="4771432"/>
                  <a:pt x="1482564" y="4757894"/>
                  <a:pt x="1499970" y="4746289"/>
                </a:cubicBezTo>
                <a:cubicBezTo>
                  <a:pt x="1505771" y="4742421"/>
                  <a:pt x="1509639" y="4738553"/>
                  <a:pt x="1511574" y="4734685"/>
                </a:cubicBezTo>
                <a:cubicBezTo>
                  <a:pt x="1509639" y="4734685"/>
                  <a:pt x="1509639" y="4734685"/>
                  <a:pt x="1507706" y="4734685"/>
                </a:cubicBezTo>
                <a:close/>
                <a:moveTo>
                  <a:pt x="1681775" y="4725015"/>
                </a:moveTo>
                <a:cubicBezTo>
                  <a:pt x="1683708" y="4725015"/>
                  <a:pt x="1683708" y="4726948"/>
                  <a:pt x="1683708" y="4732749"/>
                </a:cubicBezTo>
                <a:cubicBezTo>
                  <a:pt x="1683708" y="4728881"/>
                  <a:pt x="1683708" y="4726948"/>
                  <a:pt x="1683708" y="4725015"/>
                </a:cubicBezTo>
                <a:cubicBezTo>
                  <a:pt x="1683708" y="4725015"/>
                  <a:pt x="1681775" y="4725015"/>
                  <a:pt x="1681775" y="4725015"/>
                </a:cubicBezTo>
                <a:close/>
                <a:moveTo>
                  <a:pt x="1573464" y="4707607"/>
                </a:moveTo>
                <a:cubicBezTo>
                  <a:pt x="1569598" y="4707607"/>
                  <a:pt x="1567663" y="4709540"/>
                  <a:pt x="1565730" y="4709540"/>
                </a:cubicBezTo>
                <a:cubicBezTo>
                  <a:pt x="1565730" y="4711475"/>
                  <a:pt x="1563795" y="4711475"/>
                  <a:pt x="1563795" y="4711475"/>
                </a:cubicBezTo>
                <a:cubicBezTo>
                  <a:pt x="1561862" y="4713408"/>
                  <a:pt x="1561862" y="4713408"/>
                  <a:pt x="1559926" y="4715343"/>
                </a:cubicBezTo>
                <a:cubicBezTo>
                  <a:pt x="1559926" y="4717276"/>
                  <a:pt x="1561862" y="4717276"/>
                  <a:pt x="1561862" y="4719212"/>
                </a:cubicBezTo>
                <a:cubicBezTo>
                  <a:pt x="1567663" y="4721147"/>
                  <a:pt x="1571531" y="4715343"/>
                  <a:pt x="1573464" y="4707607"/>
                </a:cubicBezTo>
                <a:close/>
                <a:moveTo>
                  <a:pt x="1120886" y="4597363"/>
                </a:moveTo>
                <a:cubicBezTo>
                  <a:pt x="1120886" y="4599298"/>
                  <a:pt x="1120886" y="4603164"/>
                  <a:pt x="1120886" y="4605099"/>
                </a:cubicBezTo>
                <a:cubicBezTo>
                  <a:pt x="1120886" y="4608967"/>
                  <a:pt x="1122818" y="4612836"/>
                  <a:pt x="1126687" y="4610903"/>
                </a:cubicBezTo>
                <a:cubicBezTo>
                  <a:pt x="1128622" y="4608967"/>
                  <a:pt x="1130557" y="4607032"/>
                  <a:pt x="1132490" y="4605099"/>
                </a:cubicBezTo>
                <a:cubicBezTo>
                  <a:pt x="1128622" y="4601231"/>
                  <a:pt x="1124754" y="4599298"/>
                  <a:pt x="1120886" y="4597363"/>
                </a:cubicBezTo>
                <a:close/>
                <a:moveTo>
                  <a:pt x="1411002" y="4523868"/>
                </a:moveTo>
                <a:cubicBezTo>
                  <a:pt x="1409067" y="4525801"/>
                  <a:pt x="1409067" y="4527736"/>
                  <a:pt x="1407132" y="4529669"/>
                </a:cubicBezTo>
                <a:cubicBezTo>
                  <a:pt x="1409067" y="4527736"/>
                  <a:pt x="1411002" y="4525801"/>
                  <a:pt x="1411002" y="4525801"/>
                </a:cubicBezTo>
                <a:cubicBezTo>
                  <a:pt x="1411002" y="4523868"/>
                  <a:pt x="1411002" y="4523868"/>
                  <a:pt x="1411002" y="4523868"/>
                </a:cubicBezTo>
                <a:close/>
                <a:moveTo>
                  <a:pt x="1190514" y="4519997"/>
                </a:moveTo>
                <a:cubicBezTo>
                  <a:pt x="1188579" y="4518065"/>
                  <a:pt x="1184711" y="4519997"/>
                  <a:pt x="1182778" y="4523868"/>
                </a:cubicBezTo>
                <a:cubicBezTo>
                  <a:pt x="1182778" y="4523868"/>
                  <a:pt x="1180842" y="4525801"/>
                  <a:pt x="1180842" y="4527736"/>
                </a:cubicBezTo>
                <a:cubicBezTo>
                  <a:pt x="1184711" y="4523868"/>
                  <a:pt x="1188579" y="4521933"/>
                  <a:pt x="1190514" y="4519997"/>
                </a:cubicBezTo>
                <a:close/>
                <a:moveTo>
                  <a:pt x="1385857" y="4500659"/>
                </a:moveTo>
                <a:cubicBezTo>
                  <a:pt x="1385857" y="4502592"/>
                  <a:pt x="1385857" y="4502592"/>
                  <a:pt x="1385857" y="4504527"/>
                </a:cubicBezTo>
                <a:cubicBezTo>
                  <a:pt x="1387793" y="4502592"/>
                  <a:pt x="1387793" y="4502592"/>
                  <a:pt x="1389726" y="4502592"/>
                </a:cubicBezTo>
                <a:cubicBezTo>
                  <a:pt x="1389726" y="4500659"/>
                  <a:pt x="1389726" y="4500659"/>
                  <a:pt x="1387793" y="4500659"/>
                </a:cubicBezTo>
                <a:cubicBezTo>
                  <a:pt x="1387793" y="4500659"/>
                  <a:pt x="1385857" y="4500659"/>
                  <a:pt x="1385857" y="4500659"/>
                </a:cubicBezTo>
                <a:close/>
                <a:moveTo>
                  <a:pt x="1407132" y="4477449"/>
                </a:moveTo>
                <a:cubicBezTo>
                  <a:pt x="1405199" y="4479382"/>
                  <a:pt x="1403263" y="4479382"/>
                  <a:pt x="1401330" y="4481317"/>
                </a:cubicBezTo>
                <a:cubicBezTo>
                  <a:pt x="1401330" y="4483250"/>
                  <a:pt x="1401330" y="4485186"/>
                  <a:pt x="1397462" y="4485186"/>
                </a:cubicBezTo>
                <a:cubicBezTo>
                  <a:pt x="1401330" y="4490987"/>
                  <a:pt x="1405199" y="4487118"/>
                  <a:pt x="1405199" y="4485186"/>
                </a:cubicBezTo>
                <a:cubicBezTo>
                  <a:pt x="1407132" y="4483250"/>
                  <a:pt x="1407132" y="4481317"/>
                  <a:pt x="1407132" y="4477449"/>
                </a:cubicBezTo>
                <a:close/>
                <a:moveTo>
                  <a:pt x="1411002" y="4450371"/>
                </a:moveTo>
                <a:cubicBezTo>
                  <a:pt x="1387793" y="4465844"/>
                  <a:pt x="1366516" y="4483250"/>
                  <a:pt x="1345242" y="4500659"/>
                </a:cubicBezTo>
                <a:cubicBezTo>
                  <a:pt x="1351043" y="4498723"/>
                  <a:pt x="1351043" y="4502592"/>
                  <a:pt x="1351043" y="4506460"/>
                </a:cubicBezTo>
                <a:cubicBezTo>
                  <a:pt x="1351043" y="4508395"/>
                  <a:pt x="1351043" y="4508395"/>
                  <a:pt x="1351043" y="4510328"/>
                </a:cubicBezTo>
                <a:cubicBezTo>
                  <a:pt x="1351043" y="4510328"/>
                  <a:pt x="1351043" y="4510328"/>
                  <a:pt x="1352978" y="4510328"/>
                </a:cubicBezTo>
                <a:cubicBezTo>
                  <a:pt x="1360713" y="4510328"/>
                  <a:pt x="1364583" y="4506460"/>
                  <a:pt x="1368451" y="4500659"/>
                </a:cubicBezTo>
                <a:cubicBezTo>
                  <a:pt x="1372320" y="4496790"/>
                  <a:pt x="1376188" y="4494855"/>
                  <a:pt x="1381989" y="4494855"/>
                </a:cubicBezTo>
                <a:cubicBezTo>
                  <a:pt x="1387793" y="4492922"/>
                  <a:pt x="1387793" y="4485186"/>
                  <a:pt x="1391661" y="4481317"/>
                </a:cubicBezTo>
                <a:cubicBezTo>
                  <a:pt x="1393594" y="4479382"/>
                  <a:pt x="1393594" y="4479382"/>
                  <a:pt x="1395529" y="4477449"/>
                </a:cubicBezTo>
                <a:cubicBezTo>
                  <a:pt x="1397462" y="4475514"/>
                  <a:pt x="1397462" y="4471645"/>
                  <a:pt x="1399395" y="4469713"/>
                </a:cubicBezTo>
                <a:cubicBezTo>
                  <a:pt x="1401330" y="4469713"/>
                  <a:pt x="1401330" y="4471645"/>
                  <a:pt x="1401330" y="4471645"/>
                </a:cubicBezTo>
                <a:cubicBezTo>
                  <a:pt x="1401330" y="4469713"/>
                  <a:pt x="1403263" y="4465844"/>
                  <a:pt x="1403263" y="4461976"/>
                </a:cubicBezTo>
                <a:cubicBezTo>
                  <a:pt x="1409067" y="4460041"/>
                  <a:pt x="1409067" y="4454239"/>
                  <a:pt x="1411002" y="4450371"/>
                </a:cubicBezTo>
                <a:close/>
                <a:moveTo>
                  <a:pt x="1499970" y="4394283"/>
                </a:moveTo>
                <a:cubicBezTo>
                  <a:pt x="1492233" y="4398151"/>
                  <a:pt x="1486430" y="4402019"/>
                  <a:pt x="1484497" y="4411689"/>
                </a:cubicBezTo>
                <a:cubicBezTo>
                  <a:pt x="1488365" y="4405887"/>
                  <a:pt x="1499970" y="4405887"/>
                  <a:pt x="1499970" y="4394283"/>
                </a:cubicBezTo>
                <a:close/>
                <a:moveTo>
                  <a:pt x="1471440" y="4375907"/>
                </a:moveTo>
                <a:cubicBezTo>
                  <a:pt x="1470473" y="4376874"/>
                  <a:pt x="1469990" y="4378808"/>
                  <a:pt x="1469024" y="4380743"/>
                </a:cubicBezTo>
                <a:cubicBezTo>
                  <a:pt x="1470957" y="4378810"/>
                  <a:pt x="1474827" y="4378810"/>
                  <a:pt x="1476760" y="4376874"/>
                </a:cubicBezTo>
                <a:cubicBezTo>
                  <a:pt x="1473858" y="4374940"/>
                  <a:pt x="1472408" y="4374940"/>
                  <a:pt x="1471440" y="4375907"/>
                </a:cubicBezTo>
                <a:close/>
                <a:moveTo>
                  <a:pt x="1528980" y="4342062"/>
                </a:moveTo>
                <a:cubicBezTo>
                  <a:pt x="1523179" y="4343995"/>
                  <a:pt x="1517376" y="4345928"/>
                  <a:pt x="1513507" y="4351732"/>
                </a:cubicBezTo>
                <a:cubicBezTo>
                  <a:pt x="1515443" y="4349797"/>
                  <a:pt x="1519311" y="4347864"/>
                  <a:pt x="1523179" y="4345928"/>
                </a:cubicBezTo>
                <a:cubicBezTo>
                  <a:pt x="1525112" y="4345928"/>
                  <a:pt x="1527048" y="4343995"/>
                  <a:pt x="1528980" y="4342062"/>
                </a:cubicBezTo>
                <a:close/>
                <a:moveTo>
                  <a:pt x="1917736" y="4291775"/>
                </a:moveTo>
                <a:cubicBezTo>
                  <a:pt x="1917736" y="4293708"/>
                  <a:pt x="1919669" y="4293708"/>
                  <a:pt x="1919669" y="4293708"/>
                </a:cubicBezTo>
                <a:cubicBezTo>
                  <a:pt x="1921602" y="4291775"/>
                  <a:pt x="1919669" y="4291775"/>
                  <a:pt x="1921602" y="4291775"/>
                </a:cubicBezTo>
                <a:cubicBezTo>
                  <a:pt x="1919669" y="4291775"/>
                  <a:pt x="1919669" y="4291775"/>
                  <a:pt x="1917736" y="4291775"/>
                </a:cubicBezTo>
                <a:close/>
                <a:moveTo>
                  <a:pt x="1944812" y="4282103"/>
                </a:moveTo>
                <a:cubicBezTo>
                  <a:pt x="1944812" y="4284039"/>
                  <a:pt x="1942879" y="4285972"/>
                  <a:pt x="1942879" y="4287907"/>
                </a:cubicBezTo>
                <a:cubicBezTo>
                  <a:pt x="1942879" y="4285972"/>
                  <a:pt x="1944812" y="4284039"/>
                  <a:pt x="1946747" y="4282103"/>
                </a:cubicBezTo>
                <a:cubicBezTo>
                  <a:pt x="1946747" y="4282103"/>
                  <a:pt x="1944812" y="4282103"/>
                  <a:pt x="1944812" y="4282103"/>
                </a:cubicBezTo>
                <a:close/>
                <a:moveTo>
                  <a:pt x="4849836" y="4179598"/>
                </a:moveTo>
                <a:cubicBezTo>
                  <a:pt x="4847900" y="4179598"/>
                  <a:pt x="4844032" y="4179598"/>
                  <a:pt x="4836296" y="4181531"/>
                </a:cubicBezTo>
                <a:cubicBezTo>
                  <a:pt x="4840164" y="4183464"/>
                  <a:pt x="4842097" y="4183464"/>
                  <a:pt x="4844032" y="4183464"/>
                </a:cubicBezTo>
                <a:cubicBezTo>
                  <a:pt x="4844032" y="4183464"/>
                  <a:pt x="4844032" y="4185399"/>
                  <a:pt x="4844032" y="4185399"/>
                </a:cubicBezTo>
                <a:cubicBezTo>
                  <a:pt x="4847900" y="4183464"/>
                  <a:pt x="4851769" y="4181531"/>
                  <a:pt x="4855637" y="4181531"/>
                </a:cubicBezTo>
                <a:cubicBezTo>
                  <a:pt x="4853704" y="4181531"/>
                  <a:pt x="4851769" y="4179598"/>
                  <a:pt x="4849836" y="4179598"/>
                </a:cubicBezTo>
                <a:close/>
                <a:moveTo>
                  <a:pt x="4874978" y="4148652"/>
                </a:moveTo>
                <a:cubicBezTo>
                  <a:pt x="4869175" y="4152518"/>
                  <a:pt x="4863373" y="4154453"/>
                  <a:pt x="4857572" y="4156388"/>
                </a:cubicBezTo>
                <a:cubicBezTo>
                  <a:pt x="4855637" y="4156388"/>
                  <a:pt x="4855637" y="4158321"/>
                  <a:pt x="4855637" y="4158321"/>
                </a:cubicBezTo>
                <a:cubicBezTo>
                  <a:pt x="4855637" y="4162190"/>
                  <a:pt x="4855637" y="4164123"/>
                  <a:pt x="4855637" y="4169926"/>
                </a:cubicBezTo>
                <a:cubicBezTo>
                  <a:pt x="4859505" y="4167993"/>
                  <a:pt x="4865306" y="4166058"/>
                  <a:pt x="4865306" y="4164123"/>
                </a:cubicBezTo>
                <a:cubicBezTo>
                  <a:pt x="4865306" y="4158321"/>
                  <a:pt x="4869175" y="4156388"/>
                  <a:pt x="4873045" y="4156388"/>
                </a:cubicBezTo>
                <a:cubicBezTo>
                  <a:pt x="4874978" y="4156388"/>
                  <a:pt x="4876913" y="4156388"/>
                  <a:pt x="4876913" y="4156388"/>
                </a:cubicBezTo>
                <a:cubicBezTo>
                  <a:pt x="4876913" y="4156388"/>
                  <a:pt x="4878846" y="4154453"/>
                  <a:pt x="4878846" y="4154453"/>
                </a:cubicBezTo>
                <a:cubicBezTo>
                  <a:pt x="4876913" y="4154453"/>
                  <a:pt x="4873045" y="4154453"/>
                  <a:pt x="4871110" y="4152518"/>
                </a:cubicBezTo>
                <a:cubicBezTo>
                  <a:pt x="4874978" y="4150585"/>
                  <a:pt x="4876913" y="4150585"/>
                  <a:pt x="4878846" y="4148652"/>
                </a:cubicBezTo>
                <a:cubicBezTo>
                  <a:pt x="4878846" y="4148652"/>
                  <a:pt x="4876913" y="4148652"/>
                  <a:pt x="4874978" y="4148652"/>
                </a:cubicBezTo>
                <a:close/>
                <a:moveTo>
                  <a:pt x="5246050" y="4117154"/>
                </a:moveTo>
                <a:lnTo>
                  <a:pt x="5248259" y="4121574"/>
                </a:lnTo>
                <a:cubicBezTo>
                  <a:pt x="5246326" y="4123507"/>
                  <a:pt x="5242458" y="4121574"/>
                  <a:pt x="5242458" y="4119639"/>
                </a:cubicBezTo>
                <a:lnTo>
                  <a:pt x="5242458" y="4118672"/>
                </a:lnTo>
                <a:lnTo>
                  <a:pt x="5244393" y="4117706"/>
                </a:lnTo>
                <a:close/>
                <a:moveTo>
                  <a:pt x="5273404" y="4113838"/>
                </a:moveTo>
                <a:cubicBezTo>
                  <a:pt x="5271468" y="4113838"/>
                  <a:pt x="5269535" y="4113838"/>
                  <a:pt x="5269535" y="4115770"/>
                </a:cubicBezTo>
                <a:cubicBezTo>
                  <a:pt x="5271468" y="4113838"/>
                  <a:pt x="5273404" y="4113838"/>
                  <a:pt x="5275337" y="4113838"/>
                </a:cubicBezTo>
                <a:cubicBezTo>
                  <a:pt x="5275337" y="4113838"/>
                  <a:pt x="5273404" y="4113838"/>
                  <a:pt x="5273404" y="4113838"/>
                </a:cubicBezTo>
                <a:close/>
                <a:moveTo>
                  <a:pt x="5310151" y="4090628"/>
                </a:moveTo>
                <a:cubicBezTo>
                  <a:pt x="5306283" y="4092561"/>
                  <a:pt x="5300479" y="4094496"/>
                  <a:pt x="5296611" y="4096429"/>
                </a:cubicBezTo>
                <a:cubicBezTo>
                  <a:pt x="5302414" y="4100297"/>
                  <a:pt x="5306283" y="4098365"/>
                  <a:pt x="5310151" y="4090628"/>
                </a:cubicBezTo>
                <a:close/>
                <a:moveTo>
                  <a:pt x="5343030" y="4080959"/>
                </a:moveTo>
                <a:cubicBezTo>
                  <a:pt x="5339162" y="4082891"/>
                  <a:pt x="5335293" y="4082891"/>
                  <a:pt x="5331427" y="4084824"/>
                </a:cubicBezTo>
                <a:cubicBezTo>
                  <a:pt x="5331427" y="4084824"/>
                  <a:pt x="5331427" y="4086760"/>
                  <a:pt x="5331427" y="4086760"/>
                </a:cubicBezTo>
                <a:cubicBezTo>
                  <a:pt x="5331427" y="4088693"/>
                  <a:pt x="5327559" y="4088693"/>
                  <a:pt x="5329492" y="4090628"/>
                </a:cubicBezTo>
                <a:cubicBezTo>
                  <a:pt x="5335293" y="4088693"/>
                  <a:pt x="5343030" y="4086760"/>
                  <a:pt x="5348833" y="4084824"/>
                </a:cubicBezTo>
                <a:cubicBezTo>
                  <a:pt x="5348833" y="4084824"/>
                  <a:pt x="5348833" y="4084824"/>
                  <a:pt x="5348833" y="4082891"/>
                </a:cubicBezTo>
                <a:cubicBezTo>
                  <a:pt x="5346898" y="4082891"/>
                  <a:pt x="5346898" y="4082891"/>
                  <a:pt x="5346898" y="4082891"/>
                </a:cubicBezTo>
                <a:cubicBezTo>
                  <a:pt x="5344965" y="4082891"/>
                  <a:pt x="5344965" y="4080959"/>
                  <a:pt x="5344965" y="4080959"/>
                </a:cubicBezTo>
                <a:cubicBezTo>
                  <a:pt x="5344965" y="4080959"/>
                  <a:pt x="5343030" y="4080959"/>
                  <a:pt x="5343030" y="4080959"/>
                </a:cubicBezTo>
                <a:close/>
                <a:moveTo>
                  <a:pt x="5174764" y="4079023"/>
                </a:moveTo>
                <a:cubicBezTo>
                  <a:pt x="5165093" y="4079023"/>
                  <a:pt x="5155423" y="4086760"/>
                  <a:pt x="5145751" y="4082891"/>
                </a:cubicBezTo>
                <a:cubicBezTo>
                  <a:pt x="5128345" y="4084824"/>
                  <a:pt x="5109004" y="4088693"/>
                  <a:pt x="5091598" y="4092561"/>
                </a:cubicBezTo>
                <a:cubicBezTo>
                  <a:pt x="5089663" y="4094496"/>
                  <a:pt x="5089663" y="4092561"/>
                  <a:pt x="5087730" y="4090628"/>
                </a:cubicBezTo>
                <a:cubicBezTo>
                  <a:pt x="5089663" y="4090628"/>
                  <a:pt x="5089663" y="4088693"/>
                  <a:pt x="5091598" y="4088693"/>
                </a:cubicBezTo>
                <a:cubicBezTo>
                  <a:pt x="5091598" y="4086760"/>
                  <a:pt x="5091598" y="4086760"/>
                  <a:pt x="5091598" y="4086760"/>
                </a:cubicBezTo>
                <a:cubicBezTo>
                  <a:pt x="5076125" y="4088693"/>
                  <a:pt x="5064520" y="4094496"/>
                  <a:pt x="5049047" y="4094496"/>
                </a:cubicBezTo>
                <a:cubicBezTo>
                  <a:pt x="5049047" y="4096429"/>
                  <a:pt x="5049047" y="4098365"/>
                  <a:pt x="5050983" y="4100297"/>
                </a:cubicBezTo>
                <a:cubicBezTo>
                  <a:pt x="5045179" y="4102233"/>
                  <a:pt x="5037442" y="4102233"/>
                  <a:pt x="5031641" y="4104166"/>
                </a:cubicBezTo>
                <a:cubicBezTo>
                  <a:pt x="5023905" y="4106101"/>
                  <a:pt x="5018101" y="4106101"/>
                  <a:pt x="5012300" y="4108034"/>
                </a:cubicBezTo>
                <a:cubicBezTo>
                  <a:pt x="5004564" y="4109969"/>
                  <a:pt x="4998760" y="4109969"/>
                  <a:pt x="4991023" y="4111902"/>
                </a:cubicBezTo>
                <a:cubicBezTo>
                  <a:pt x="4985222" y="4111902"/>
                  <a:pt x="4977486" y="4113838"/>
                  <a:pt x="4971682" y="4115770"/>
                </a:cubicBezTo>
                <a:cubicBezTo>
                  <a:pt x="4963948" y="4115770"/>
                  <a:pt x="4958144" y="4117706"/>
                  <a:pt x="4952341" y="4119639"/>
                </a:cubicBezTo>
                <a:cubicBezTo>
                  <a:pt x="4946540" y="4121574"/>
                  <a:pt x="4936870" y="4119639"/>
                  <a:pt x="4933000" y="4127375"/>
                </a:cubicBezTo>
                <a:cubicBezTo>
                  <a:pt x="4934935" y="4127375"/>
                  <a:pt x="4936870" y="4127375"/>
                  <a:pt x="4938803" y="4127375"/>
                </a:cubicBezTo>
                <a:cubicBezTo>
                  <a:pt x="4967814" y="4121574"/>
                  <a:pt x="4996827" y="4115770"/>
                  <a:pt x="5025838" y="4109969"/>
                </a:cubicBezTo>
                <a:cubicBezTo>
                  <a:pt x="5035507" y="4108034"/>
                  <a:pt x="5045179" y="4106101"/>
                  <a:pt x="5054848" y="4104166"/>
                </a:cubicBezTo>
                <a:cubicBezTo>
                  <a:pt x="5056784" y="4104166"/>
                  <a:pt x="5058717" y="4104166"/>
                  <a:pt x="5062585" y="4106101"/>
                </a:cubicBezTo>
                <a:cubicBezTo>
                  <a:pt x="5058717" y="4108034"/>
                  <a:pt x="5056784" y="4109969"/>
                  <a:pt x="5054848" y="4109969"/>
                </a:cubicBezTo>
                <a:cubicBezTo>
                  <a:pt x="5043244" y="4111902"/>
                  <a:pt x="5033574" y="4115770"/>
                  <a:pt x="5021969" y="4117706"/>
                </a:cubicBezTo>
                <a:cubicBezTo>
                  <a:pt x="5010365" y="4119639"/>
                  <a:pt x="4998760" y="4119639"/>
                  <a:pt x="4987155" y="4123507"/>
                </a:cubicBezTo>
                <a:cubicBezTo>
                  <a:pt x="4965881" y="4129311"/>
                  <a:pt x="4942671" y="4135112"/>
                  <a:pt x="4919462" y="4137047"/>
                </a:cubicBezTo>
                <a:cubicBezTo>
                  <a:pt x="4909792" y="4138980"/>
                  <a:pt x="4902056" y="4140915"/>
                  <a:pt x="4892384" y="4142848"/>
                </a:cubicBezTo>
                <a:cubicBezTo>
                  <a:pt x="4892384" y="4144784"/>
                  <a:pt x="4892384" y="4144784"/>
                  <a:pt x="4892384" y="4144784"/>
                </a:cubicBezTo>
                <a:cubicBezTo>
                  <a:pt x="4892384" y="4146717"/>
                  <a:pt x="4890451" y="4148652"/>
                  <a:pt x="4890451" y="4148652"/>
                </a:cubicBezTo>
                <a:cubicBezTo>
                  <a:pt x="4890451" y="4148652"/>
                  <a:pt x="4890451" y="4150585"/>
                  <a:pt x="4890451" y="4150585"/>
                </a:cubicBezTo>
                <a:cubicBezTo>
                  <a:pt x="4894319" y="4150585"/>
                  <a:pt x="4898188" y="4150585"/>
                  <a:pt x="4902056" y="4150585"/>
                </a:cubicBezTo>
                <a:cubicBezTo>
                  <a:pt x="4902056" y="4150585"/>
                  <a:pt x="4902056" y="4152518"/>
                  <a:pt x="4902056" y="4152518"/>
                </a:cubicBezTo>
                <a:cubicBezTo>
                  <a:pt x="4894319" y="4156388"/>
                  <a:pt x="4886583" y="4158321"/>
                  <a:pt x="4878846" y="4160257"/>
                </a:cubicBezTo>
                <a:cubicBezTo>
                  <a:pt x="4892384" y="4158321"/>
                  <a:pt x="4907857" y="4154453"/>
                  <a:pt x="4921397" y="4152518"/>
                </a:cubicBezTo>
                <a:cubicBezTo>
                  <a:pt x="4927198" y="4150585"/>
                  <a:pt x="4934935" y="4146717"/>
                  <a:pt x="4942671" y="4148652"/>
                </a:cubicBezTo>
                <a:cubicBezTo>
                  <a:pt x="4944607" y="4148652"/>
                  <a:pt x="4944607" y="4148652"/>
                  <a:pt x="4944607" y="4148652"/>
                </a:cubicBezTo>
                <a:cubicBezTo>
                  <a:pt x="4963948" y="4135112"/>
                  <a:pt x="4987155" y="4140915"/>
                  <a:pt x="5004564" y="4129311"/>
                </a:cubicBezTo>
                <a:cubicBezTo>
                  <a:pt x="5008432" y="4125442"/>
                  <a:pt x="5014233" y="4125442"/>
                  <a:pt x="5020037" y="4127375"/>
                </a:cubicBezTo>
                <a:cubicBezTo>
                  <a:pt x="5020037" y="4129311"/>
                  <a:pt x="5020037" y="4131244"/>
                  <a:pt x="5018101" y="4133179"/>
                </a:cubicBezTo>
                <a:cubicBezTo>
                  <a:pt x="5020037" y="4133179"/>
                  <a:pt x="5021969" y="4133179"/>
                  <a:pt x="5023905" y="4133179"/>
                </a:cubicBezTo>
                <a:cubicBezTo>
                  <a:pt x="5027773" y="4131244"/>
                  <a:pt x="5033574" y="4131244"/>
                  <a:pt x="5037442" y="4131244"/>
                </a:cubicBezTo>
                <a:cubicBezTo>
                  <a:pt x="5039375" y="4131244"/>
                  <a:pt x="5041311" y="4129311"/>
                  <a:pt x="5043244" y="4127375"/>
                </a:cubicBezTo>
                <a:cubicBezTo>
                  <a:pt x="5043244" y="4125442"/>
                  <a:pt x="5041311" y="4123507"/>
                  <a:pt x="5039375" y="4121574"/>
                </a:cubicBezTo>
                <a:cubicBezTo>
                  <a:pt x="5041311" y="4121574"/>
                  <a:pt x="5041311" y="4119639"/>
                  <a:pt x="5041311" y="4119639"/>
                </a:cubicBezTo>
                <a:cubicBezTo>
                  <a:pt x="5050983" y="4115770"/>
                  <a:pt x="5060652" y="4113838"/>
                  <a:pt x="5066453" y="4104166"/>
                </a:cubicBezTo>
                <a:cubicBezTo>
                  <a:pt x="5066453" y="4102233"/>
                  <a:pt x="5070324" y="4100297"/>
                  <a:pt x="5074190" y="4100297"/>
                </a:cubicBezTo>
                <a:cubicBezTo>
                  <a:pt x="5081926" y="4098365"/>
                  <a:pt x="5087730" y="4096429"/>
                  <a:pt x="5093531" y="4096429"/>
                </a:cubicBezTo>
                <a:cubicBezTo>
                  <a:pt x="5110939" y="4092561"/>
                  <a:pt x="5130281" y="4088693"/>
                  <a:pt x="5147687" y="4086760"/>
                </a:cubicBezTo>
                <a:cubicBezTo>
                  <a:pt x="5155423" y="4086760"/>
                  <a:pt x="5165093" y="4084824"/>
                  <a:pt x="5176697" y="4079023"/>
                </a:cubicBezTo>
                <a:cubicBezTo>
                  <a:pt x="5176697" y="4079023"/>
                  <a:pt x="5174764" y="4079023"/>
                  <a:pt x="5174764" y="4079023"/>
                </a:cubicBezTo>
                <a:close/>
                <a:moveTo>
                  <a:pt x="5385581" y="4077088"/>
                </a:moveTo>
                <a:cubicBezTo>
                  <a:pt x="5377844" y="4073222"/>
                  <a:pt x="5373976" y="4080959"/>
                  <a:pt x="5368175" y="4080959"/>
                </a:cubicBezTo>
                <a:cubicBezTo>
                  <a:pt x="5372043" y="4080959"/>
                  <a:pt x="5377844" y="4082891"/>
                  <a:pt x="5385581" y="4077088"/>
                </a:cubicBezTo>
                <a:close/>
                <a:moveTo>
                  <a:pt x="5472615" y="4075155"/>
                </a:moveTo>
                <a:cubicBezTo>
                  <a:pt x="5474551" y="4075155"/>
                  <a:pt x="5476483" y="4075155"/>
                  <a:pt x="5476483" y="4075155"/>
                </a:cubicBezTo>
                <a:cubicBezTo>
                  <a:pt x="5476483" y="4075155"/>
                  <a:pt x="5476483" y="4075155"/>
                  <a:pt x="5476483" y="4077088"/>
                </a:cubicBezTo>
                <a:cubicBezTo>
                  <a:pt x="5476483" y="4077088"/>
                  <a:pt x="5474551" y="4077088"/>
                  <a:pt x="5472615" y="4077088"/>
                </a:cubicBezTo>
                <a:cubicBezTo>
                  <a:pt x="5472615" y="4077088"/>
                  <a:pt x="5472615" y="4075155"/>
                  <a:pt x="5472615" y="4075155"/>
                </a:cubicBezTo>
                <a:close/>
                <a:moveTo>
                  <a:pt x="5161224" y="4063550"/>
                </a:moveTo>
                <a:cubicBezTo>
                  <a:pt x="5161224" y="4063550"/>
                  <a:pt x="5161224" y="4065483"/>
                  <a:pt x="5161224" y="4065483"/>
                </a:cubicBezTo>
                <a:cubicBezTo>
                  <a:pt x="5157358" y="4067418"/>
                  <a:pt x="5155423" y="4069354"/>
                  <a:pt x="5151555" y="4071287"/>
                </a:cubicBezTo>
                <a:cubicBezTo>
                  <a:pt x="5147687" y="4067418"/>
                  <a:pt x="5149620" y="4065483"/>
                  <a:pt x="5151555" y="4065483"/>
                </a:cubicBezTo>
                <a:cubicBezTo>
                  <a:pt x="5153488" y="4065483"/>
                  <a:pt x="5157358" y="4063550"/>
                  <a:pt x="5161224" y="4063550"/>
                </a:cubicBezTo>
                <a:close/>
                <a:moveTo>
                  <a:pt x="5217315" y="4061617"/>
                </a:moveTo>
                <a:cubicBezTo>
                  <a:pt x="5215380" y="4061617"/>
                  <a:pt x="5211512" y="4061617"/>
                  <a:pt x="5207643" y="4063550"/>
                </a:cubicBezTo>
                <a:cubicBezTo>
                  <a:pt x="5197974" y="4063550"/>
                  <a:pt x="5188302" y="4065483"/>
                  <a:pt x="5180566" y="4071287"/>
                </a:cubicBezTo>
                <a:cubicBezTo>
                  <a:pt x="5182501" y="4071287"/>
                  <a:pt x="5186369" y="4071287"/>
                  <a:pt x="5188302" y="4071287"/>
                </a:cubicBezTo>
                <a:cubicBezTo>
                  <a:pt x="5192170" y="4071287"/>
                  <a:pt x="5194106" y="4069354"/>
                  <a:pt x="5197974" y="4069354"/>
                </a:cubicBezTo>
                <a:cubicBezTo>
                  <a:pt x="5203775" y="4065483"/>
                  <a:pt x="5211512" y="4063550"/>
                  <a:pt x="5217315" y="4061617"/>
                </a:cubicBezTo>
                <a:close/>
                <a:moveTo>
                  <a:pt x="5267600" y="4050013"/>
                </a:moveTo>
                <a:cubicBezTo>
                  <a:pt x="5259864" y="4051945"/>
                  <a:pt x="5250194" y="4051945"/>
                  <a:pt x="5242458" y="4055814"/>
                </a:cubicBezTo>
                <a:cubicBezTo>
                  <a:pt x="5236654" y="4057749"/>
                  <a:pt x="5232786" y="4059682"/>
                  <a:pt x="5226985" y="4059682"/>
                </a:cubicBezTo>
                <a:cubicBezTo>
                  <a:pt x="5228918" y="4061617"/>
                  <a:pt x="5228918" y="4061617"/>
                  <a:pt x="5226985" y="4063550"/>
                </a:cubicBezTo>
                <a:cubicBezTo>
                  <a:pt x="5236654" y="4061617"/>
                  <a:pt x="5248259" y="4059682"/>
                  <a:pt x="5257931" y="4057749"/>
                </a:cubicBezTo>
                <a:cubicBezTo>
                  <a:pt x="5257931" y="4057749"/>
                  <a:pt x="5259864" y="4057749"/>
                  <a:pt x="5261799" y="4057749"/>
                </a:cubicBezTo>
                <a:cubicBezTo>
                  <a:pt x="5265667" y="4055814"/>
                  <a:pt x="5271468" y="4055814"/>
                  <a:pt x="5275337" y="4053881"/>
                </a:cubicBezTo>
                <a:cubicBezTo>
                  <a:pt x="5279205" y="4051945"/>
                  <a:pt x="5281140" y="4051945"/>
                  <a:pt x="5285008" y="4050013"/>
                </a:cubicBezTo>
                <a:cubicBezTo>
                  <a:pt x="5277270" y="4050013"/>
                  <a:pt x="5271468" y="4048077"/>
                  <a:pt x="5267600" y="4050013"/>
                </a:cubicBezTo>
                <a:close/>
                <a:moveTo>
                  <a:pt x="5534507" y="4048077"/>
                </a:moveTo>
                <a:cubicBezTo>
                  <a:pt x="5534507" y="4048077"/>
                  <a:pt x="5534507" y="4048077"/>
                  <a:pt x="5536440" y="4048077"/>
                </a:cubicBezTo>
                <a:cubicBezTo>
                  <a:pt x="5538376" y="4050013"/>
                  <a:pt x="5540308" y="4050013"/>
                  <a:pt x="5542244" y="4051945"/>
                </a:cubicBezTo>
                <a:cubicBezTo>
                  <a:pt x="5536440" y="4051945"/>
                  <a:pt x="5532572" y="4053881"/>
                  <a:pt x="5528704" y="4053881"/>
                </a:cubicBezTo>
                <a:cubicBezTo>
                  <a:pt x="5530639" y="4051945"/>
                  <a:pt x="5530639" y="4051945"/>
                  <a:pt x="5532572" y="4050013"/>
                </a:cubicBezTo>
                <a:cubicBezTo>
                  <a:pt x="5532572" y="4050013"/>
                  <a:pt x="5534507" y="4050013"/>
                  <a:pt x="5534507" y="4048077"/>
                </a:cubicBezTo>
                <a:close/>
                <a:moveTo>
                  <a:pt x="5449406" y="4048077"/>
                </a:moveTo>
                <a:cubicBezTo>
                  <a:pt x="5441669" y="4050013"/>
                  <a:pt x="5435868" y="4050013"/>
                  <a:pt x="5428131" y="4051945"/>
                </a:cubicBezTo>
                <a:cubicBezTo>
                  <a:pt x="5426196" y="4051945"/>
                  <a:pt x="5422328" y="4053881"/>
                  <a:pt x="5420395" y="4053881"/>
                </a:cubicBezTo>
                <a:cubicBezTo>
                  <a:pt x="5418462" y="4055814"/>
                  <a:pt x="5416527" y="4055814"/>
                  <a:pt x="5414594" y="4057749"/>
                </a:cubicBezTo>
                <a:cubicBezTo>
                  <a:pt x="5426196" y="4055814"/>
                  <a:pt x="5439736" y="4051945"/>
                  <a:pt x="5449406" y="4048077"/>
                </a:cubicBezTo>
                <a:close/>
                <a:moveTo>
                  <a:pt x="5737587" y="4030671"/>
                </a:moveTo>
                <a:cubicBezTo>
                  <a:pt x="5739522" y="4030671"/>
                  <a:pt x="5739522" y="4030671"/>
                  <a:pt x="5741455" y="4032604"/>
                </a:cubicBezTo>
                <a:cubicBezTo>
                  <a:pt x="5739522" y="4034539"/>
                  <a:pt x="5739522" y="4034539"/>
                  <a:pt x="5739522" y="4034539"/>
                </a:cubicBezTo>
                <a:cubicBezTo>
                  <a:pt x="5737587" y="4034539"/>
                  <a:pt x="5737587" y="4032604"/>
                  <a:pt x="5735654" y="4032604"/>
                </a:cubicBezTo>
                <a:cubicBezTo>
                  <a:pt x="5735654" y="4032604"/>
                  <a:pt x="5735654" y="4030671"/>
                  <a:pt x="5737587" y="4030671"/>
                </a:cubicBezTo>
                <a:close/>
                <a:moveTo>
                  <a:pt x="5762732" y="4028736"/>
                </a:moveTo>
                <a:cubicBezTo>
                  <a:pt x="5760797" y="4030671"/>
                  <a:pt x="5760797" y="4032604"/>
                  <a:pt x="5758864" y="4034539"/>
                </a:cubicBezTo>
                <a:cubicBezTo>
                  <a:pt x="5758864" y="4034539"/>
                  <a:pt x="5756928" y="4034539"/>
                  <a:pt x="5756928" y="4034539"/>
                </a:cubicBezTo>
                <a:cubicBezTo>
                  <a:pt x="5753060" y="4032604"/>
                  <a:pt x="5754993" y="4030671"/>
                  <a:pt x="5754993" y="4030671"/>
                </a:cubicBezTo>
                <a:cubicBezTo>
                  <a:pt x="5756928" y="4030671"/>
                  <a:pt x="5758864" y="4028736"/>
                  <a:pt x="5762732" y="4028736"/>
                </a:cubicBezTo>
                <a:close/>
                <a:moveTo>
                  <a:pt x="5535958" y="4025110"/>
                </a:moveTo>
                <a:cubicBezTo>
                  <a:pt x="5531606" y="4025352"/>
                  <a:pt x="5527738" y="4026803"/>
                  <a:pt x="5524838" y="4030671"/>
                </a:cubicBezTo>
                <a:cubicBezTo>
                  <a:pt x="5520967" y="4034539"/>
                  <a:pt x="5513231" y="4034539"/>
                  <a:pt x="5507430" y="4036472"/>
                </a:cubicBezTo>
                <a:cubicBezTo>
                  <a:pt x="5517099" y="4036472"/>
                  <a:pt x="5524838" y="4036472"/>
                  <a:pt x="5532572" y="4036472"/>
                </a:cubicBezTo>
                <a:cubicBezTo>
                  <a:pt x="5538376" y="4034539"/>
                  <a:pt x="5544177" y="4034539"/>
                  <a:pt x="5549980" y="4032604"/>
                </a:cubicBezTo>
                <a:cubicBezTo>
                  <a:pt x="5551913" y="4032604"/>
                  <a:pt x="5551913" y="4028736"/>
                  <a:pt x="5549980" y="4026803"/>
                </a:cubicBezTo>
                <a:cubicBezTo>
                  <a:pt x="5545144" y="4025836"/>
                  <a:pt x="5540309" y="4024868"/>
                  <a:pt x="5535958" y="4025110"/>
                </a:cubicBezTo>
                <a:close/>
                <a:moveTo>
                  <a:pt x="5530639" y="4009395"/>
                </a:moveTo>
                <a:cubicBezTo>
                  <a:pt x="5522903" y="4009395"/>
                  <a:pt x="5517099" y="4011330"/>
                  <a:pt x="5509362" y="4011330"/>
                </a:cubicBezTo>
                <a:cubicBezTo>
                  <a:pt x="5501628" y="4013263"/>
                  <a:pt x="5493889" y="4015198"/>
                  <a:pt x="5486155" y="4015198"/>
                </a:cubicBezTo>
                <a:cubicBezTo>
                  <a:pt x="5486155" y="4015198"/>
                  <a:pt x="5488088" y="4013263"/>
                  <a:pt x="5488088" y="4013263"/>
                </a:cubicBezTo>
                <a:cubicBezTo>
                  <a:pt x="5484220" y="4015198"/>
                  <a:pt x="5478419" y="4015198"/>
                  <a:pt x="5474551" y="4015198"/>
                </a:cubicBezTo>
                <a:cubicBezTo>
                  <a:pt x="5468747" y="4015198"/>
                  <a:pt x="5462946" y="4013263"/>
                  <a:pt x="5457142" y="4015198"/>
                </a:cubicBezTo>
                <a:cubicBezTo>
                  <a:pt x="5453274" y="4015198"/>
                  <a:pt x="5449406" y="4019066"/>
                  <a:pt x="5443604" y="4020999"/>
                </a:cubicBezTo>
                <a:cubicBezTo>
                  <a:pt x="5439736" y="4020999"/>
                  <a:pt x="5435868" y="4022935"/>
                  <a:pt x="5432000" y="4022935"/>
                </a:cubicBezTo>
                <a:cubicBezTo>
                  <a:pt x="5422328" y="4024868"/>
                  <a:pt x="5412658" y="4024868"/>
                  <a:pt x="5402987" y="4026803"/>
                </a:cubicBezTo>
                <a:cubicBezTo>
                  <a:pt x="5401054" y="4028736"/>
                  <a:pt x="5401054" y="4028736"/>
                  <a:pt x="5401054" y="4030671"/>
                </a:cubicBezTo>
                <a:cubicBezTo>
                  <a:pt x="5414594" y="4034539"/>
                  <a:pt x="5424263" y="4026803"/>
                  <a:pt x="5433933" y="4022935"/>
                </a:cubicBezTo>
                <a:cubicBezTo>
                  <a:pt x="5435868" y="4028736"/>
                  <a:pt x="5432000" y="4030671"/>
                  <a:pt x="5430064" y="4030671"/>
                </a:cubicBezTo>
                <a:cubicBezTo>
                  <a:pt x="5418462" y="4034539"/>
                  <a:pt x="5404922" y="4036472"/>
                  <a:pt x="5393317" y="4040341"/>
                </a:cubicBezTo>
                <a:cubicBezTo>
                  <a:pt x="5385581" y="4042276"/>
                  <a:pt x="5379779" y="4044209"/>
                  <a:pt x="5372043" y="4048077"/>
                </a:cubicBezTo>
                <a:cubicBezTo>
                  <a:pt x="5377844" y="4048077"/>
                  <a:pt x="5385581" y="4046144"/>
                  <a:pt x="5391384" y="4044209"/>
                </a:cubicBezTo>
                <a:cubicBezTo>
                  <a:pt x="5406855" y="4038408"/>
                  <a:pt x="5422328" y="4034539"/>
                  <a:pt x="5437803" y="4030671"/>
                </a:cubicBezTo>
                <a:cubicBezTo>
                  <a:pt x="5451341" y="4026803"/>
                  <a:pt x="5464879" y="4024868"/>
                  <a:pt x="5476483" y="4019066"/>
                </a:cubicBezTo>
                <a:cubicBezTo>
                  <a:pt x="5484220" y="4015198"/>
                  <a:pt x="5493889" y="4015198"/>
                  <a:pt x="5503561" y="4013263"/>
                </a:cubicBezTo>
                <a:cubicBezTo>
                  <a:pt x="5511298" y="4011330"/>
                  <a:pt x="5520967" y="4009395"/>
                  <a:pt x="5530639" y="4009395"/>
                </a:cubicBezTo>
                <a:close/>
                <a:moveTo>
                  <a:pt x="5387514" y="4003593"/>
                </a:moveTo>
                <a:cubicBezTo>
                  <a:pt x="5385581" y="4003593"/>
                  <a:pt x="5385581" y="4005526"/>
                  <a:pt x="5383645" y="4005526"/>
                </a:cubicBezTo>
                <a:cubicBezTo>
                  <a:pt x="5383645" y="4005526"/>
                  <a:pt x="5385581" y="4005526"/>
                  <a:pt x="5385581" y="4005526"/>
                </a:cubicBezTo>
                <a:cubicBezTo>
                  <a:pt x="5385581" y="4005526"/>
                  <a:pt x="5387514" y="4003593"/>
                  <a:pt x="5387514" y="4003593"/>
                </a:cubicBezTo>
                <a:close/>
                <a:moveTo>
                  <a:pt x="5188302" y="4001658"/>
                </a:moveTo>
                <a:cubicBezTo>
                  <a:pt x="5188302" y="4007462"/>
                  <a:pt x="5188302" y="4009395"/>
                  <a:pt x="5188302" y="4013263"/>
                </a:cubicBezTo>
                <a:cubicBezTo>
                  <a:pt x="5188302" y="4017131"/>
                  <a:pt x="5190235" y="4019066"/>
                  <a:pt x="5194106" y="4015198"/>
                </a:cubicBezTo>
                <a:cubicBezTo>
                  <a:pt x="5192170" y="4011330"/>
                  <a:pt x="5190235" y="4007462"/>
                  <a:pt x="5188302" y="4001658"/>
                </a:cubicBezTo>
                <a:close/>
                <a:moveTo>
                  <a:pt x="5462946" y="3997790"/>
                </a:moveTo>
                <a:cubicBezTo>
                  <a:pt x="5462946" y="3997790"/>
                  <a:pt x="5461010" y="3999725"/>
                  <a:pt x="5461010" y="3999725"/>
                </a:cubicBezTo>
                <a:cubicBezTo>
                  <a:pt x="5462946" y="3999725"/>
                  <a:pt x="5464879" y="3999725"/>
                  <a:pt x="5466814" y="3999725"/>
                </a:cubicBezTo>
                <a:cubicBezTo>
                  <a:pt x="5466814" y="3997790"/>
                  <a:pt x="5466814" y="3997790"/>
                  <a:pt x="5466814" y="3997790"/>
                </a:cubicBezTo>
                <a:cubicBezTo>
                  <a:pt x="5464879" y="3997790"/>
                  <a:pt x="5464879" y="3997790"/>
                  <a:pt x="5462946" y="3997790"/>
                </a:cubicBezTo>
                <a:close/>
                <a:moveTo>
                  <a:pt x="5600265" y="3988120"/>
                </a:moveTo>
                <a:cubicBezTo>
                  <a:pt x="5598332" y="3990053"/>
                  <a:pt x="5596397" y="3991989"/>
                  <a:pt x="5592531" y="3991989"/>
                </a:cubicBezTo>
                <a:cubicBezTo>
                  <a:pt x="5594464" y="3988120"/>
                  <a:pt x="5594464" y="3988120"/>
                  <a:pt x="5600265" y="3988120"/>
                </a:cubicBezTo>
                <a:close/>
                <a:moveTo>
                  <a:pt x="5325624" y="3986187"/>
                </a:moveTo>
                <a:cubicBezTo>
                  <a:pt x="5319820" y="3988120"/>
                  <a:pt x="5315952" y="3988120"/>
                  <a:pt x="5310151" y="3988120"/>
                </a:cubicBezTo>
                <a:cubicBezTo>
                  <a:pt x="5310151" y="3990053"/>
                  <a:pt x="5310151" y="3990053"/>
                  <a:pt x="5310151" y="3990053"/>
                </a:cubicBezTo>
                <a:cubicBezTo>
                  <a:pt x="5314019" y="3990053"/>
                  <a:pt x="5319820" y="3990053"/>
                  <a:pt x="5323689" y="3990053"/>
                </a:cubicBezTo>
                <a:cubicBezTo>
                  <a:pt x="5323689" y="3990053"/>
                  <a:pt x="5325624" y="3988120"/>
                  <a:pt x="5325624" y="3986187"/>
                </a:cubicBezTo>
                <a:close/>
                <a:moveTo>
                  <a:pt x="5252127" y="3984252"/>
                </a:moveTo>
                <a:cubicBezTo>
                  <a:pt x="5248259" y="3986187"/>
                  <a:pt x="5244393" y="3988120"/>
                  <a:pt x="5240522" y="3990053"/>
                </a:cubicBezTo>
                <a:cubicBezTo>
                  <a:pt x="5240522" y="3990053"/>
                  <a:pt x="5242458" y="3991989"/>
                  <a:pt x="5242458" y="3991989"/>
                </a:cubicBezTo>
                <a:cubicBezTo>
                  <a:pt x="5248259" y="3995857"/>
                  <a:pt x="5252127" y="3993922"/>
                  <a:pt x="5255995" y="3986187"/>
                </a:cubicBezTo>
                <a:cubicBezTo>
                  <a:pt x="5255995" y="3986187"/>
                  <a:pt x="5254062" y="3984252"/>
                  <a:pt x="5252127" y="3984252"/>
                </a:cubicBezTo>
                <a:close/>
                <a:moveTo>
                  <a:pt x="5640883" y="3980384"/>
                </a:moveTo>
                <a:cubicBezTo>
                  <a:pt x="5640883" y="3980384"/>
                  <a:pt x="5640883" y="3980384"/>
                  <a:pt x="5638948" y="3982319"/>
                </a:cubicBezTo>
                <a:cubicBezTo>
                  <a:pt x="5635080" y="3982319"/>
                  <a:pt x="5631211" y="3982319"/>
                  <a:pt x="5629278" y="3982319"/>
                </a:cubicBezTo>
                <a:cubicBezTo>
                  <a:pt x="5633147" y="3982319"/>
                  <a:pt x="5637015" y="3980384"/>
                  <a:pt x="5640883" y="3980384"/>
                </a:cubicBezTo>
                <a:close/>
                <a:moveTo>
                  <a:pt x="5279205" y="3976516"/>
                </a:moveTo>
                <a:cubicBezTo>
                  <a:pt x="5277270" y="3978449"/>
                  <a:pt x="5277270" y="3980384"/>
                  <a:pt x="5277270" y="3982319"/>
                </a:cubicBezTo>
                <a:cubicBezTo>
                  <a:pt x="5277270" y="3984252"/>
                  <a:pt x="5273404" y="3984252"/>
                  <a:pt x="5275337" y="3986187"/>
                </a:cubicBezTo>
                <a:cubicBezTo>
                  <a:pt x="5281140" y="3984252"/>
                  <a:pt x="5288877" y="3982319"/>
                  <a:pt x="5294678" y="3982319"/>
                </a:cubicBezTo>
                <a:cubicBezTo>
                  <a:pt x="5294678" y="3980384"/>
                  <a:pt x="5294678" y="3980384"/>
                  <a:pt x="5294678" y="3978449"/>
                </a:cubicBezTo>
                <a:cubicBezTo>
                  <a:pt x="5290810" y="3976516"/>
                  <a:pt x="5286941" y="3976516"/>
                  <a:pt x="5283073" y="3976516"/>
                </a:cubicBezTo>
                <a:cubicBezTo>
                  <a:pt x="5281140" y="3976516"/>
                  <a:pt x="5281140" y="3976516"/>
                  <a:pt x="5279205" y="3976516"/>
                </a:cubicBezTo>
                <a:close/>
                <a:moveTo>
                  <a:pt x="5331427" y="3972647"/>
                </a:moveTo>
                <a:cubicBezTo>
                  <a:pt x="5323689" y="3968779"/>
                  <a:pt x="5319820" y="3976516"/>
                  <a:pt x="5314019" y="3976516"/>
                </a:cubicBezTo>
                <a:cubicBezTo>
                  <a:pt x="5315952" y="3976516"/>
                  <a:pt x="5317887" y="3976516"/>
                  <a:pt x="5319820" y="3976516"/>
                </a:cubicBezTo>
                <a:cubicBezTo>
                  <a:pt x="5323689" y="3976516"/>
                  <a:pt x="5327559" y="3974583"/>
                  <a:pt x="5331427" y="3972647"/>
                </a:cubicBezTo>
                <a:close/>
                <a:moveTo>
                  <a:pt x="5418462" y="3970714"/>
                </a:moveTo>
                <a:cubicBezTo>
                  <a:pt x="5418462" y="3970714"/>
                  <a:pt x="5418462" y="3972647"/>
                  <a:pt x="5420395" y="3972647"/>
                </a:cubicBezTo>
                <a:cubicBezTo>
                  <a:pt x="5420395" y="3972647"/>
                  <a:pt x="5422328" y="3970714"/>
                  <a:pt x="5422328" y="3970714"/>
                </a:cubicBezTo>
                <a:cubicBezTo>
                  <a:pt x="5420395" y="3970714"/>
                  <a:pt x="5420395" y="3970714"/>
                  <a:pt x="5418462" y="3970714"/>
                </a:cubicBezTo>
                <a:close/>
                <a:moveTo>
                  <a:pt x="5633147" y="3966846"/>
                </a:moveTo>
                <a:cubicBezTo>
                  <a:pt x="5623475" y="3968779"/>
                  <a:pt x="5615738" y="3970714"/>
                  <a:pt x="5606069" y="3972647"/>
                </a:cubicBezTo>
                <a:cubicBezTo>
                  <a:pt x="5608002" y="3972647"/>
                  <a:pt x="5608002" y="3972647"/>
                  <a:pt x="5608002" y="3972647"/>
                </a:cubicBezTo>
                <a:cubicBezTo>
                  <a:pt x="5602201" y="3974583"/>
                  <a:pt x="5596397" y="3974583"/>
                  <a:pt x="5592531" y="3974583"/>
                </a:cubicBezTo>
                <a:cubicBezTo>
                  <a:pt x="5590596" y="3974583"/>
                  <a:pt x="5590596" y="3974583"/>
                  <a:pt x="5588663" y="3974583"/>
                </a:cubicBezTo>
                <a:cubicBezTo>
                  <a:pt x="5588663" y="3974583"/>
                  <a:pt x="5586728" y="3976516"/>
                  <a:pt x="5584795" y="3978449"/>
                </a:cubicBezTo>
                <a:cubicBezTo>
                  <a:pt x="5606069" y="3974583"/>
                  <a:pt x="5627343" y="3970714"/>
                  <a:pt x="5646684" y="3966846"/>
                </a:cubicBezTo>
                <a:cubicBezTo>
                  <a:pt x="5642816" y="3966846"/>
                  <a:pt x="5637015" y="3966846"/>
                  <a:pt x="5633147" y="3966846"/>
                </a:cubicBezTo>
                <a:close/>
                <a:moveTo>
                  <a:pt x="5497758" y="3966846"/>
                </a:moveTo>
                <a:cubicBezTo>
                  <a:pt x="5493889" y="3970714"/>
                  <a:pt x="5491956" y="3972647"/>
                  <a:pt x="5490021" y="3974583"/>
                </a:cubicBezTo>
                <a:cubicBezTo>
                  <a:pt x="5491956" y="3974583"/>
                  <a:pt x="5493889" y="3974583"/>
                  <a:pt x="5495825" y="3974583"/>
                </a:cubicBezTo>
                <a:cubicBezTo>
                  <a:pt x="5493889" y="3974583"/>
                  <a:pt x="5491956" y="3976516"/>
                  <a:pt x="5490021" y="3976516"/>
                </a:cubicBezTo>
                <a:cubicBezTo>
                  <a:pt x="5490021" y="3976516"/>
                  <a:pt x="5488088" y="3978449"/>
                  <a:pt x="5486155" y="3980384"/>
                </a:cubicBezTo>
                <a:cubicBezTo>
                  <a:pt x="5490021" y="3980384"/>
                  <a:pt x="5493889" y="3980384"/>
                  <a:pt x="5497758" y="3980384"/>
                </a:cubicBezTo>
                <a:cubicBezTo>
                  <a:pt x="5497758" y="3980384"/>
                  <a:pt x="5499693" y="3980384"/>
                  <a:pt x="5499693" y="3980384"/>
                </a:cubicBezTo>
                <a:cubicBezTo>
                  <a:pt x="5501628" y="3980384"/>
                  <a:pt x="5505497" y="3980384"/>
                  <a:pt x="5507430" y="3980384"/>
                </a:cubicBezTo>
                <a:cubicBezTo>
                  <a:pt x="5515166" y="3980384"/>
                  <a:pt x="5520967" y="3980384"/>
                  <a:pt x="5528704" y="3980384"/>
                </a:cubicBezTo>
                <a:cubicBezTo>
                  <a:pt x="5532572" y="3980384"/>
                  <a:pt x="5536440" y="3978449"/>
                  <a:pt x="5540308" y="3980384"/>
                </a:cubicBezTo>
                <a:cubicBezTo>
                  <a:pt x="5546112" y="3978449"/>
                  <a:pt x="5553849" y="3976516"/>
                  <a:pt x="5559650" y="3972647"/>
                </a:cubicBezTo>
                <a:cubicBezTo>
                  <a:pt x="5553849" y="3972647"/>
                  <a:pt x="5549980" y="3972647"/>
                  <a:pt x="5544177" y="3974583"/>
                </a:cubicBezTo>
                <a:cubicBezTo>
                  <a:pt x="5544177" y="3974583"/>
                  <a:pt x="5542244" y="3974583"/>
                  <a:pt x="5542244" y="3974583"/>
                </a:cubicBezTo>
                <a:cubicBezTo>
                  <a:pt x="5526771" y="3968779"/>
                  <a:pt x="5511298" y="3970714"/>
                  <a:pt x="5497758" y="3966846"/>
                </a:cubicBezTo>
                <a:close/>
                <a:moveTo>
                  <a:pt x="5536198" y="3960318"/>
                </a:moveTo>
                <a:cubicBezTo>
                  <a:pt x="5530638" y="3960560"/>
                  <a:pt x="5524835" y="3962010"/>
                  <a:pt x="5517099" y="3964911"/>
                </a:cubicBezTo>
                <a:cubicBezTo>
                  <a:pt x="5528704" y="3962978"/>
                  <a:pt x="5540308" y="3964911"/>
                  <a:pt x="5553849" y="3962978"/>
                </a:cubicBezTo>
                <a:cubicBezTo>
                  <a:pt x="5547078" y="3961044"/>
                  <a:pt x="5541759" y="3960077"/>
                  <a:pt x="5536198" y="3960318"/>
                </a:cubicBezTo>
                <a:close/>
                <a:moveTo>
                  <a:pt x="5199907" y="3959110"/>
                </a:moveTo>
                <a:cubicBezTo>
                  <a:pt x="5197974" y="3961043"/>
                  <a:pt x="5194106" y="3962978"/>
                  <a:pt x="5192170" y="3964911"/>
                </a:cubicBezTo>
                <a:cubicBezTo>
                  <a:pt x="5196039" y="3964911"/>
                  <a:pt x="5199907" y="3962978"/>
                  <a:pt x="5201842" y="3962978"/>
                </a:cubicBezTo>
                <a:cubicBezTo>
                  <a:pt x="5201842" y="3961043"/>
                  <a:pt x="5201842" y="3961043"/>
                  <a:pt x="5201842" y="3959110"/>
                </a:cubicBezTo>
                <a:cubicBezTo>
                  <a:pt x="5201842" y="3959110"/>
                  <a:pt x="5199907" y="3959110"/>
                  <a:pt x="5199907" y="3959110"/>
                </a:cubicBezTo>
                <a:close/>
                <a:moveTo>
                  <a:pt x="5139950" y="3959110"/>
                </a:moveTo>
                <a:cubicBezTo>
                  <a:pt x="5136082" y="3961043"/>
                  <a:pt x="5130281" y="3962978"/>
                  <a:pt x="5126410" y="3964911"/>
                </a:cubicBezTo>
                <a:cubicBezTo>
                  <a:pt x="5128345" y="3964911"/>
                  <a:pt x="5132214" y="3964911"/>
                  <a:pt x="5134149" y="3964911"/>
                </a:cubicBezTo>
                <a:cubicBezTo>
                  <a:pt x="5136082" y="3962978"/>
                  <a:pt x="5139950" y="3962978"/>
                  <a:pt x="5141883" y="3962978"/>
                </a:cubicBezTo>
                <a:cubicBezTo>
                  <a:pt x="5141883" y="3961043"/>
                  <a:pt x="5139950" y="3961043"/>
                  <a:pt x="5139950" y="3959110"/>
                </a:cubicBezTo>
                <a:close/>
                <a:moveTo>
                  <a:pt x="5472615" y="3957174"/>
                </a:moveTo>
                <a:cubicBezTo>
                  <a:pt x="5468747" y="3961043"/>
                  <a:pt x="5462946" y="3961043"/>
                  <a:pt x="5457142" y="3961043"/>
                </a:cubicBezTo>
                <a:cubicBezTo>
                  <a:pt x="5462946" y="3964911"/>
                  <a:pt x="5470680" y="3961043"/>
                  <a:pt x="5476483" y="3964911"/>
                </a:cubicBezTo>
                <a:cubicBezTo>
                  <a:pt x="5474551" y="3966846"/>
                  <a:pt x="5474551" y="3968779"/>
                  <a:pt x="5472615" y="3968779"/>
                </a:cubicBezTo>
                <a:cubicBezTo>
                  <a:pt x="5462946" y="3968779"/>
                  <a:pt x="5451341" y="3970714"/>
                  <a:pt x="5441669" y="3970714"/>
                </a:cubicBezTo>
                <a:cubicBezTo>
                  <a:pt x="5435868" y="3972647"/>
                  <a:pt x="5428131" y="3974583"/>
                  <a:pt x="5422328" y="3976516"/>
                </a:cubicBezTo>
                <a:cubicBezTo>
                  <a:pt x="5414594" y="3978449"/>
                  <a:pt x="5404922" y="3980384"/>
                  <a:pt x="5397185" y="3982319"/>
                </a:cubicBezTo>
                <a:cubicBezTo>
                  <a:pt x="5389449" y="3986187"/>
                  <a:pt x="5381712" y="3988120"/>
                  <a:pt x="5372043" y="3988120"/>
                </a:cubicBezTo>
                <a:cubicBezTo>
                  <a:pt x="5364306" y="3990053"/>
                  <a:pt x="5356570" y="3991989"/>
                  <a:pt x="5348833" y="3995857"/>
                </a:cubicBezTo>
                <a:cubicBezTo>
                  <a:pt x="5343030" y="3997790"/>
                  <a:pt x="5335293" y="3999725"/>
                  <a:pt x="5327559" y="4001658"/>
                </a:cubicBezTo>
                <a:cubicBezTo>
                  <a:pt x="5319820" y="4003593"/>
                  <a:pt x="5310151" y="4005526"/>
                  <a:pt x="5300479" y="4007462"/>
                </a:cubicBezTo>
                <a:cubicBezTo>
                  <a:pt x="5300479" y="4007462"/>
                  <a:pt x="5298546" y="4009395"/>
                  <a:pt x="5298546" y="4009395"/>
                </a:cubicBezTo>
                <a:cubicBezTo>
                  <a:pt x="5296611" y="4007462"/>
                  <a:pt x="5296611" y="4007462"/>
                  <a:pt x="5296611" y="4007462"/>
                </a:cubicBezTo>
                <a:cubicBezTo>
                  <a:pt x="5292745" y="4007462"/>
                  <a:pt x="5286941" y="4009395"/>
                  <a:pt x="5283073" y="4011330"/>
                </a:cubicBezTo>
                <a:cubicBezTo>
                  <a:pt x="5275337" y="4013263"/>
                  <a:pt x="5269535" y="4013263"/>
                  <a:pt x="5261799" y="4013263"/>
                </a:cubicBezTo>
                <a:cubicBezTo>
                  <a:pt x="5259864" y="4013263"/>
                  <a:pt x="5257931" y="4011330"/>
                  <a:pt x="5255995" y="4009395"/>
                </a:cubicBezTo>
                <a:cubicBezTo>
                  <a:pt x="5259864" y="4005526"/>
                  <a:pt x="5263732" y="4003593"/>
                  <a:pt x="5269535" y="4003593"/>
                </a:cubicBezTo>
                <a:cubicBezTo>
                  <a:pt x="5273404" y="4003593"/>
                  <a:pt x="5277270" y="4001658"/>
                  <a:pt x="5281140" y="3999725"/>
                </a:cubicBezTo>
                <a:cubicBezTo>
                  <a:pt x="5281140" y="3997790"/>
                  <a:pt x="5281140" y="3995857"/>
                  <a:pt x="5283073" y="3991989"/>
                </a:cubicBezTo>
                <a:cubicBezTo>
                  <a:pt x="5273404" y="3993922"/>
                  <a:pt x="5265667" y="3993922"/>
                  <a:pt x="5259864" y="3997790"/>
                </a:cubicBezTo>
                <a:cubicBezTo>
                  <a:pt x="5250194" y="4001658"/>
                  <a:pt x="5240522" y="4005526"/>
                  <a:pt x="5228918" y="4003593"/>
                </a:cubicBezTo>
                <a:cubicBezTo>
                  <a:pt x="5225052" y="4003593"/>
                  <a:pt x="5223116" y="4003593"/>
                  <a:pt x="5221183" y="4003593"/>
                </a:cubicBezTo>
                <a:cubicBezTo>
                  <a:pt x="5217315" y="4005526"/>
                  <a:pt x="5215380" y="4007462"/>
                  <a:pt x="5219248" y="4015198"/>
                </a:cubicBezTo>
                <a:cubicBezTo>
                  <a:pt x="5207643" y="4019066"/>
                  <a:pt x="5197974" y="4022935"/>
                  <a:pt x="5184434" y="4026803"/>
                </a:cubicBezTo>
                <a:cubicBezTo>
                  <a:pt x="5188302" y="4026803"/>
                  <a:pt x="5190235" y="4026803"/>
                  <a:pt x="5190235" y="4026803"/>
                </a:cubicBezTo>
                <a:cubicBezTo>
                  <a:pt x="5194106" y="4026803"/>
                  <a:pt x="5196039" y="4026803"/>
                  <a:pt x="5197974" y="4026803"/>
                </a:cubicBezTo>
                <a:cubicBezTo>
                  <a:pt x="5199907" y="4026803"/>
                  <a:pt x="5199907" y="4026803"/>
                  <a:pt x="5199907" y="4026803"/>
                </a:cubicBezTo>
                <a:lnTo>
                  <a:pt x="5206097" y="4028350"/>
                </a:lnTo>
                <a:lnTo>
                  <a:pt x="5203775" y="4030671"/>
                </a:lnTo>
                <a:lnTo>
                  <a:pt x="5204792" y="4030875"/>
                </a:lnTo>
                <a:lnTo>
                  <a:pt x="5199907" y="4034539"/>
                </a:lnTo>
                <a:cubicBezTo>
                  <a:pt x="5197974" y="4034539"/>
                  <a:pt x="5197974" y="4034539"/>
                  <a:pt x="5197974" y="4034539"/>
                </a:cubicBezTo>
                <a:cubicBezTo>
                  <a:pt x="5190235" y="4038408"/>
                  <a:pt x="5184434" y="4040341"/>
                  <a:pt x="5178633" y="4042276"/>
                </a:cubicBezTo>
                <a:cubicBezTo>
                  <a:pt x="5168961" y="4042276"/>
                  <a:pt x="5161224" y="4044209"/>
                  <a:pt x="5153488" y="4046144"/>
                </a:cubicBezTo>
                <a:cubicBezTo>
                  <a:pt x="5147687" y="4051945"/>
                  <a:pt x="5139950" y="4053881"/>
                  <a:pt x="5134149" y="4055814"/>
                </a:cubicBezTo>
                <a:cubicBezTo>
                  <a:pt x="5124477" y="4059682"/>
                  <a:pt x="5112872" y="4061617"/>
                  <a:pt x="5101268" y="4065483"/>
                </a:cubicBezTo>
                <a:cubicBezTo>
                  <a:pt x="5101268" y="4067418"/>
                  <a:pt x="5103200" y="4067418"/>
                  <a:pt x="5103200" y="4069354"/>
                </a:cubicBezTo>
                <a:cubicBezTo>
                  <a:pt x="5101268" y="4069354"/>
                  <a:pt x="5099335" y="4071287"/>
                  <a:pt x="5097399" y="4071287"/>
                </a:cubicBezTo>
                <a:cubicBezTo>
                  <a:pt x="5097399" y="4071287"/>
                  <a:pt x="5095466" y="4069354"/>
                  <a:pt x="5095466" y="4069354"/>
                </a:cubicBezTo>
                <a:cubicBezTo>
                  <a:pt x="5095466" y="4067418"/>
                  <a:pt x="5097399" y="4067418"/>
                  <a:pt x="5097399" y="4067418"/>
                </a:cubicBezTo>
                <a:cubicBezTo>
                  <a:pt x="5079993" y="4073222"/>
                  <a:pt x="5064520" y="4077088"/>
                  <a:pt x="5047114" y="4082891"/>
                </a:cubicBezTo>
                <a:cubicBezTo>
                  <a:pt x="5041311" y="4084824"/>
                  <a:pt x="5033574" y="4086760"/>
                  <a:pt x="5025838" y="4088693"/>
                </a:cubicBezTo>
                <a:cubicBezTo>
                  <a:pt x="5023905" y="4090628"/>
                  <a:pt x="5021969" y="4090628"/>
                  <a:pt x="5020037" y="4090628"/>
                </a:cubicBezTo>
                <a:cubicBezTo>
                  <a:pt x="5020037" y="4092561"/>
                  <a:pt x="5021969" y="4092561"/>
                  <a:pt x="5021969" y="4092561"/>
                </a:cubicBezTo>
                <a:cubicBezTo>
                  <a:pt x="5047114" y="4088693"/>
                  <a:pt x="5070324" y="4084824"/>
                  <a:pt x="5095466" y="4080959"/>
                </a:cubicBezTo>
                <a:cubicBezTo>
                  <a:pt x="5109004" y="4077088"/>
                  <a:pt x="5124477" y="4075155"/>
                  <a:pt x="5138017" y="4075155"/>
                </a:cubicBezTo>
                <a:cubicBezTo>
                  <a:pt x="5138017" y="4075155"/>
                  <a:pt x="5139950" y="4075155"/>
                  <a:pt x="5139950" y="4075155"/>
                </a:cubicBezTo>
                <a:cubicBezTo>
                  <a:pt x="5141883" y="4075155"/>
                  <a:pt x="5143818" y="4073222"/>
                  <a:pt x="5145751" y="4073222"/>
                </a:cubicBezTo>
                <a:cubicBezTo>
                  <a:pt x="5147687" y="4073222"/>
                  <a:pt x="5149620" y="4071287"/>
                  <a:pt x="5151555" y="4071287"/>
                </a:cubicBezTo>
                <a:cubicBezTo>
                  <a:pt x="5163160" y="4067418"/>
                  <a:pt x="5174764" y="4067418"/>
                  <a:pt x="5186369" y="4065483"/>
                </a:cubicBezTo>
                <a:cubicBezTo>
                  <a:pt x="5190235" y="4065483"/>
                  <a:pt x="5197974" y="4063550"/>
                  <a:pt x="5199907" y="4059682"/>
                </a:cubicBezTo>
                <a:cubicBezTo>
                  <a:pt x="5203775" y="4053881"/>
                  <a:pt x="5207643" y="4051945"/>
                  <a:pt x="5211512" y="4050013"/>
                </a:cubicBezTo>
                <a:cubicBezTo>
                  <a:pt x="5217315" y="4048077"/>
                  <a:pt x="5221183" y="4044209"/>
                  <a:pt x="5226985" y="4046144"/>
                </a:cubicBezTo>
                <a:cubicBezTo>
                  <a:pt x="5228918" y="4046144"/>
                  <a:pt x="5232786" y="4046144"/>
                  <a:pt x="5234721" y="4044209"/>
                </a:cubicBezTo>
                <a:cubicBezTo>
                  <a:pt x="5240522" y="4040341"/>
                  <a:pt x="5248259" y="4040341"/>
                  <a:pt x="5255995" y="4038408"/>
                </a:cubicBezTo>
                <a:cubicBezTo>
                  <a:pt x="5265667" y="4036472"/>
                  <a:pt x="5275337" y="4032604"/>
                  <a:pt x="5285008" y="4030671"/>
                </a:cubicBezTo>
                <a:cubicBezTo>
                  <a:pt x="5271468" y="4028736"/>
                  <a:pt x="5259864" y="4032604"/>
                  <a:pt x="5246326" y="4034539"/>
                </a:cubicBezTo>
                <a:cubicBezTo>
                  <a:pt x="5234721" y="4036472"/>
                  <a:pt x="5234721" y="4036472"/>
                  <a:pt x="5223116" y="4030671"/>
                </a:cubicBezTo>
                <a:cubicBezTo>
                  <a:pt x="5219248" y="4032604"/>
                  <a:pt x="5217315" y="4032604"/>
                  <a:pt x="5213445" y="4032604"/>
                </a:cubicBezTo>
                <a:lnTo>
                  <a:pt x="5204792" y="4030875"/>
                </a:lnTo>
                <a:lnTo>
                  <a:pt x="5207643" y="4028736"/>
                </a:lnTo>
                <a:lnTo>
                  <a:pt x="5206097" y="4028350"/>
                </a:lnTo>
                <a:lnTo>
                  <a:pt x="5207643" y="4026803"/>
                </a:lnTo>
                <a:cubicBezTo>
                  <a:pt x="5215380" y="4022935"/>
                  <a:pt x="5226985" y="4022935"/>
                  <a:pt x="5232786" y="4015198"/>
                </a:cubicBezTo>
                <a:cubicBezTo>
                  <a:pt x="5234721" y="4015198"/>
                  <a:pt x="5236654" y="4015198"/>
                  <a:pt x="5238589" y="4015198"/>
                </a:cubicBezTo>
                <a:cubicBezTo>
                  <a:pt x="5242458" y="4015198"/>
                  <a:pt x="5246326" y="4015198"/>
                  <a:pt x="5250194" y="4015198"/>
                </a:cubicBezTo>
                <a:cubicBezTo>
                  <a:pt x="5246326" y="4019066"/>
                  <a:pt x="5240522" y="4020999"/>
                  <a:pt x="5236654" y="4024868"/>
                </a:cubicBezTo>
                <a:cubicBezTo>
                  <a:pt x="5240522" y="4022935"/>
                  <a:pt x="5246326" y="4022935"/>
                  <a:pt x="5252127" y="4020999"/>
                </a:cubicBezTo>
                <a:cubicBezTo>
                  <a:pt x="5254062" y="4019066"/>
                  <a:pt x="5255995" y="4020999"/>
                  <a:pt x="5257931" y="4020999"/>
                </a:cubicBezTo>
                <a:cubicBezTo>
                  <a:pt x="5265667" y="4026803"/>
                  <a:pt x="5271468" y="4024868"/>
                  <a:pt x="5279205" y="4020999"/>
                </a:cubicBezTo>
                <a:cubicBezTo>
                  <a:pt x="5286941" y="4015198"/>
                  <a:pt x="5296611" y="4015198"/>
                  <a:pt x="5306283" y="4015198"/>
                </a:cubicBezTo>
                <a:cubicBezTo>
                  <a:pt x="5310151" y="4015198"/>
                  <a:pt x="5314019" y="4017131"/>
                  <a:pt x="5317887" y="4015198"/>
                </a:cubicBezTo>
                <a:cubicBezTo>
                  <a:pt x="5333360" y="4011330"/>
                  <a:pt x="5346898" y="4007462"/>
                  <a:pt x="5362371" y="4009395"/>
                </a:cubicBezTo>
                <a:cubicBezTo>
                  <a:pt x="5368175" y="4005526"/>
                  <a:pt x="5364306" y="4003593"/>
                  <a:pt x="5368175" y="3993922"/>
                </a:cubicBezTo>
                <a:cubicBezTo>
                  <a:pt x="5368175" y="3993922"/>
                  <a:pt x="5370108" y="3991989"/>
                  <a:pt x="5370108" y="3991989"/>
                </a:cubicBezTo>
                <a:cubicBezTo>
                  <a:pt x="5387514" y="3991989"/>
                  <a:pt x="5401054" y="3991989"/>
                  <a:pt x="5416527" y="3984252"/>
                </a:cubicBezTo>
                <a:cubicBezTo>
                  <a:pt x="5422328" y="3982319"/>
                  <a:pt x="5430064" y="3980384"/>
                  <a:pt x="5437803" y="3980384"/>
                </a:cubicBezTo>
                <a:cubicBezTo>
                  <a:pt x="5453274" y="3978449"/>
                  <a:pt x="5466814" y="3978449"/>
                  <a:pt x="5482287" y="3976516"/>
                </a:cubicBezTo>
                <a:cubicBezTo>
                  <a:pt x="5482287" y="3976516"/>
                  <a:pt x="5482287" y="3974583"/>
                  <a:pt x="5482287" y="3974583"/>
                </a:cubicBezTo>
                <a:cubicBezTo>
                  <a:pt x="5470680" y="3976516"/>
                  <a:pt x="5459078" y="3978449"/>
                  <a:pt x="5445537" y="3976516"/>
                </a:cubicBezTo>
                <a:cubicBezTo>
                  <a:pt x="5457142" y="3974583"/>
                  <a:pt x="5470680" y="3972647"/>
                  <a:pt x="5484220" y="3970714"/>
                </a:cubicBezTo>
                <a:cubicBezTo>
                  <a:pt x="5486155" y="3968779"/>
                  <a:pt x="5488088" y="3968779"/>
                  <a:pt x="5490021" y="3966846"/>
                </a:cubicBezTo>
                <a:cubicBezTo>
                  <a:pt x="5488088" y="3966846"/>
                  <a:pt x="5488088" y="3966846"/>
                  <a:pt x="5486155" y="3966846"/>
                </a:cubicBezTo>
                <a:cubicBezTo>
                  <a:pt x="5488088" y="3964911"/>
                  <a:pt x="5488088" y="3962978"/>
                  <a:pt x="5490021" y="3962978"/>
                </a:cubicBezTo>
                <a:cubicBezTo>
                  <a:pt x="5490021" y="3962978"/>
                  <a:pt x="5493889" y="3961043"/>
                  <a:pt x="5495825" y="3961043"/>
                </a:cubicBezTo>
                <a:cubicBezTo>
                  <a:pt x="5497758" y="3961043"/>
                  <a:pt x="5497758" y="3961043"/>
                  <a:pt x="5499693" y="3961043"/>
                </a:cubicBezTo>
                <a:cubicBezTo>
                  <a:pt x="5499693" y="3961043"/>
                  <a:pt x="5501628" y="3961043"/>
                  <a:pt x="5501628" y="3961043"/>
                </a:cubicBezTo>
                <a:cubicBezTo>
                  <a:pt x="5507430" y="3961043"/>
                  <a:pt x="5513231" y="3961043"/>
                  <a:pt x="5519034" y="3961043"/>
                </a:cubicBezTo>
                <a:cubicBezTo>
                  <a:pt x="5517099" y="3959110"/>
                  <a:pt x="5517099" y="3959110"/>
                  <a:pt x="5517099" y="3957174"/>
                </a:cubicBezTo>
                <a:cubicBezTo>
                  <a:pt x="5511298" y="3957174"/>
                  <a:pt x="5507430" y="3957174"/>
                  <a:pt x="5501628" y="3957174"/>
                </a:cubicBezTo>
                <a:cubicBezTo>
                  <a:pt x="5495825" y="3959110"/>
                  <a:pt x="5488088" y="3959110"/>
                  <a:pt x="5482287" y="3957174"/>
                </a:cubicBezTo>
                <a:cubicBezTo>
                  <a:pt x="5478419" y="3957174"/>
                  <a:pt x="5476483" y="3957174"/>
                  <a:pt x="5472615" y="3957174"/>
                </a:cubicBezTo>
                <a:close/>
                <a:moveTo>
                  <a:pt x="5134149" y="3951373"/>
                </a:moveTo>
                <a:cubicBezTo>
                  <a:pt x="5132214" y="3953306"/>
                  <a:pt x="5130281" y="3957174"/>
                  <a:pt x="5128345" y="3959110"/>
                </a:cubicBezTo>
                <a:cubicBezTo>
                  <a:pt x="5130281" y="3959110"/>
                  <a:pt x="5130281" y="3959110"/>
                  <a:pt x="5130281" y="3957174"/>
                </a:cubicBezTo>
                <a:cubicBezTo>
                  <a:pt x="5132214" y="3957174"/>
                  <a:pt x="5136082" y="3955241"/>
                  <a:pt x="5138017" y="3955241"/>
                </a:cubicBezTo>
                <a:cubicBezTo>
                  <a:pt x="5138017" y="3953306"/>
                  <a:pt x="5136082" y="3953306"/>
                  <a:pt x="5134149" y="3951373"/>
                </a:cubicBezTo>
                <a:close/>
                <a:moveTo>
                  <a:pt x="5602201" y="3947505"/>
                </a:moveTo>
                <a:cubicBezTo>
                  <a:pt x="5598332" y="3951373"/>
                  <a:pt x="5594464" y="3955241"/>
                  <a:pt x="5590596" y="3959110"/>
                </a:cubicBezTo>
                <a:cubicBezTo>
                  <a:pt x="5600265" y="3957174"/>
                  <a:pt x="5611872" y="3955241"/>
                  <a:pt x="5621542" y="3951373"/>
                </a:cubicBezTo>
                <a:cubicBezTo>
                  <a:pt x="5617674" y="3951373"/>
                  <a:pt x="5615738" y="3949438"/>
                  <a:pt x="5611872" y="3949438"/>
                </a:cubicBezTo>
                <a:cubicBezTo>
                  <a:pt x="5609937" y="3947505"/>
                  <a:pt x="5606069" y="3947505"/>
                  <a:pt x="5602201" y="3947505"/>
                </a:cubicBezTo>
                <a:close/>
                <a:moveTo>
                  <a:pt x="5472615" y="3945570"/>
                </a:moveTo>
                <a:cubicBezTo>
                  <a:pt x="5462946" y="3945570"/>
                  <a:pt x="5453274" y="3945570"/>
                  <a:pt x="5443604" y="3947505"/>
                </a:cubicBezTo>
                <a:cubicBezTo>
                  <a:pt x="5439736" y="3947505"/>
                  <a:pt x="5437803" y="3947505"/>
                  <a:pt x="5430064" y="3949438"/>
                </a:cubicBezTo>
                <a:cubicBezTo>
                  <a:pt x="5443604" y="3951373"/>
                  <a:pt x="5455209" y="3949438"/>
                  <a:pt x="5466814" y="3949438"/>
                </a:cubicBezTo>
                <a:cubicBezTo>
                  <a:pt x="5468747" y="3949438"/>
                  <a:pt x="5470680" y="3947505"/>
                  <a:pt x="5474551" y="3947505"/>
                </a:cubicBezTo>
                <a:cubicBezTo>
                  <a:pt x="5474551" y="3947505"/>
                  <a:pt x="5472615" y="3945570"/>
                  <a:pt x="5472615" y="3945570"/>
                </a:cubicBezTo>
                <a:close/>
                <a:moveTo>
                  <a:pt x="5395252" y="3945570"/>
                </a:moveTo>
                <a:cubicBezTo>
                  <a:pt x="5393317" y="3945570"/>
                  <a:pt x="5389449" y="3945570"/>
                  <a:pt x="5385581" y="3947505"/>
                </a:cubicBezTo>
                <a:cubicBezTo>
                  <a:pt x="5387514" y="3947505"/>
                  <a:pt x="5389449" y="3947505"/>
                  <a:pt x="5391384" y="3947505"/>
                </a:cubicBezTo>
                <a:cubicBezTo>
                  <a:pt x="5393317" y="3945570"/>
                  <a:pt x="5393317" y="3945570"/>
                  <a:pt x="5395252" y="3945570"/>
                </a:cubicBezTo>
                <a:close/>
                <a:moveTo>
                  <a:pt x="5491956" y="3943637"/>
                </a:moveTo>
                <a:cubicBezTo>
                  <a:pt x="5491956" y="3943637"/>
                  <a:pt x="5491956" y="3945570"/>
                  <a:pt x="5491956" y="3945570"/>
                </a:cubicBezTo>
                <a:cubicBezTo>
                  <a:pt x="5491956" y="3945570"/>
                  <a:pt x="5493889" y="3945570"/>
                  <a:pt x="5493889" y="3945570"/>
                </a:cubicBezTo>
                <a:cubicBezTo>
                  <a:pt x="5493889" y="3945570"/>
                  <a:pt x="5495825" y="3943637"/>
                  <a:pt x="5495825" y="3943637"/>
                </a:cubicBezTo>
                <a:cubicBezTo>
                  <a:pt x="5495825" y="3943637"/>
                  <a:pt x="5493889" y="3943637"/>
                  <a:pt x="5491956" y="3943637"/>
                </a:cubicBezTo>
                <a:close/>
                <a:moveTo>
                  <a:pt x="5211512" y="3943637"/>
                </a:moveTo>
                <a:cubicBezTo>
                  <a:pt x="5207643" y="3945570"/>
                  <a:pt x="5201842" y="3945570"/>
                  <a:pt x="5197974" y="3947505"/>
                </a:cubicBezTo>
                <a:cubicBezTo>
                  <a:pt x="5197974" y="3949438"/>
                  <a:pt x="5197974" y="3951373"/>
                  <a:pt x="5199907" y="3953306"/>
                </a:cubicBezTo>
                <a:cubicBezTo>
                  <a:pt x="5199907" y="3953306"/>
                  <a:pt x="5201842" y="3953306"/>
                  <a:pt x="5201842" y="3953306"/>
                </a:cubicBezTo>
                <a:cubicBezTo>
                  <a:pt x="5211512" y="3953306"/>
                  <a:pt x="5219248" y="3951373"/>
                  <a:pt x="5228918" y="3943637"/>
                </a:cubicBezTo>
                <a:cubicBezTo>
                  <a:pt x="5221183" y="3943637"/>
                  <a:pt x="5215380" y="3941701"/>
                  <a:pt x="5211512" y="3943637"/>
                </a:cubicBezTo>
                <a:close/>
                <a:moveTo>
                  <a:pt x="5716313" y="3941701"/>
                </a:moveTo>
                <a:cubicBezTo>
                  <a:pt x="5718246" y="3941701"/>
                  <a:pt x="5718246" y="3941701"/>
                  <a:pt x="5720181" y="3941701"/>
                </a:cubicBezTo>
                <a:cubicBezTo>
                  <a:pt x="5720181" y="3941701"/>
                  <a:pt x="5720181" y="3943637"/>
                  <a:pt x="5720181" y="3943637"/>
                </a:cubicBezTo>
                <a:cubicBezTo>
                  <a:pt x="5718246" y="3943637"/>
                  <a:pt x="5718246" y="3941701"/>
                  <a:pt x="5716313" y="3941701"/>
                </a:cubicBezTo>
                <a:close/>
                <a:moveTo>
                  <a:pt x="5679566" y="3939768"/>
                </a:moveTo>
                <a:cubicBezTo>
                  <a:pt x="5679566" y="3939768"/>
                  <a:pt x="5681499" y="3941701"/>
                  <a:pt x="5681499" y="3941701"/>
                </a:cubicBezTo>
                <a:cubicBezTo>
                  <a:pt x="5685367" y="3939768"/>
                  <a:pt x="5687300" y="3939768"/>
                  <a:pt x="5691168" y="3939768"/>
                </a:cubicBezTo>
                <a:cubicBezTo>
                  <a:pt x="5687300" y="3937833"/>
                  <a:pt x="5683432" y="3937833"/>
                  <a:pt x="5679566" y="3939768"/>
                </a:cubicBezTo>
                <a:close/>
                <a:moveTo>
                  <a:pt x="5132214" y="3933965"/>
                </a:moveTo>
                <a:cubicBezTo>
                  <a:pt x="5130281" y="3933965"/>
                  <a:pt x="5126410" y="3935900"/>
                  <a:pt x="5124477" y="3935900"/>
                </a:cubicBezTo>
                <a:lnTo>
                  <a:pt x="5124475" y="3935900"/>
                </a:lnTo>
                <a:close/>
                <a:moveTo>
                  <a:pt x="5350766" y="3930097"/>
                </a:moveTo>
                <a:cubicBezTo>
                  <a:pt x="5344965" y="3932032"/>
                  <a:pt x="5339162" y="3932032"/>
                  <a:pt x="5335293" y="3935900"/>
                </a:cubicBezTo>
                <a:cubicBezTo>
                  <a:pt x="5343030" y="3937833"/>
                  <a:pt x="5350766" y="3937833"/>
                  <a:pt x="5358503" y="3935900"/>
                </a:cubicBezTo>
                <a:cubicBezTo>
                  <a:pt x="5358503" y="3935900"/>
                  <a:pt x="5360438" y="3935900"/>
                  <a:pt x="5360438" y="3935900"/>
                </a:cubicBezTo>
                <a:cubicBezTo>
                  <a:pt x="5362371" y="3935900"/>
                  <a:pt x="5364306" y="3935900"/>
                  <a:pt x="5366239" y="3935900"/>
                </a:cubicBezTo>
                <a:cubicBezTo>
                  <a:pt x="5368175" y="3933965"/>
                  <a:pt x="5372043" y="3933965"/>
                  <a:pt x="5373976" y="3933965"/>
                </a:cubicBezTo>
                <a:cubicBezTo>
                  <a:pt x="5372043" y="3932032"/>
                  <a:pt x="5372043" y="3932032"/>
                  <a:pt x="5370108" y="3932032"/>
                </a:cubicBezTo>
                <a:cubicBezTo>
                  <a:pt x="5364306" y="3928164"/>
                  <a:pt x="5358503" y="3928164"/>
                  <a:pt x="5350766" y="3930097"/>
                </a:cubicBezTo>
                <a:close/>
                <a:moveTo>
                  <a:pt x="5393317" y="3924295"/>
                </a:moveTo>
                <a:cubicBezTo>
                  <a:pt x="5389449" y="3924295"/>
                  <a:pt x="5385581" y="3926228"/>
                  <a:pt x="5381712" y="3926228"/>
                </a:cubicBezTo>
                <a:cubicBezTo>
                  <a:pt x="5383645" y="3926228"/>
                  <a:pt x="5383645" y="3928164"/>
                  <a:pt x="5385581" y="3930097"/>
                </a:cubicBezTo>
                <a:cubicBezTo>
                  <a:pt x="5389449" y="3930097"/>
                  <a:pt x="5393317" y="3928164"/>
                  <a:pt x="5399121" y="3928164"/>
                </a:cubicBezTo>
                <a:cubicBezTo>
                  <a:pt x="5397185" y="3928164"/>
                  <a:pt x="5395252" y="3926228"/>
                  <a:pt x="5393317" y="3924295"/>
                </a:cubicBezTo>
                <a:close/>
                <a:moveTo>
                  <a:pt x="5492736" y="3920206"/>
                </a:moveTo>
                <a:lnTo>
                  <a:pt x="5495825" y="3920427"/>
                </a:lnTo>
                <a:lnTo>
                  <a:pt x="5496049" y="3922450"/>
                </a:lnTo>
                <a:lnTo>
                  <a:pt x="5495825" y="3922360"/>
                </a:lnTo>
                <a:cubicBezTo>
                  <a:pt x="5495825" y="3922360"/>
                  <a:pt x="5495825" y="3922360"/>
                  <a:pt x="5493889" y="3922360"/>
                </a:cubicBezTo>
                <a:close/>
                <a:moveTo>
                  <a:pt x="5368175" y="3914624"/>
                </a:moveTo>
                <a:lnTo>
                  <a:pt x="5367745" y="3915053"/>
                </a:lnTo>
                <a:lnTo>
                  <a:pt x="5327559" y="3922360"/>
                </a:lnTo>
                <a:cubicBezTo>
                  <a:pt x="5331427" y="3924295"/>
                  <a:pt x="5335293" y="3924295"/>
                  <a:pt x="5339162" y="3920427"/>
                </a:cubicBezTo>
                <a:cubicBezTo>
                  <a:pt x="5339162" y="3920427"/>
                  <a:pt x="5341097" y="3920427"/>
                  <a:pt x="5341097" y="3920427"/>
                </a:cubicBezTo>
                <a:cubicBezTo>
                  <a:pt x="5343030" y="3920427"/>
                  <a:pt x="5343030" y="3920427"/>
                  <a:pt x="5343030" y="3920427"/>
                </a:cubicBezTo>
                <a:cubicBezTo>
                  <a:pt x="5348833" y="3920427"/>
                  <a:pt x="5356570" y="3918492"/>
                  <a:pt x="5364306" y="3918492"/>
                </a:cubicBezTo>
                <a:lnTo>
                  <a:pt x="5367745" y="3915053"/>
                </a:lnTo>
                <a:lnTo>
                  <a:pt x="5370108" y="3914624"/>
                </a:lnTo>
                <a:cubicBezTo>
                  <a:pt x="5370108" y="3914624"/>
                  <a:pt x="5370108" y="3914624"/>
                  <a:pt x="5368175" y="3914624"/>
                </a:cubicBezTo>
                <a:close/>
                <a:moveTo>
                  <a:pt x="5503561" y="3899153"/>
                </a:moveTo>
                <a:cubicBezTo>
                  <a:pt x="5503561" y="3899153"/>
                  <a:pt x="5503561" y="3901086"/>
                  <a:pt x="5503561" y="3901086"/>
                </a:cubicBezTo>
                <a:cubicBezTo>
                  <a:pt x="5503561" y="3901086"/>
                  <a:pt x="5505497" y="3899153"/>
                  <a:pt x="5507430" y="3899153"/>
                </a:cubicBezTo>
                <a:cubicBezTo>
                  <a:pt x="5507430" y="3899153"/>
                  <a:pt x="5505497" y="3899153"/>
                  <a:pt x="5505497" y="3899153"/>
                </a:cubicBezTo>
                <a:cubicBezTo>
                  <a:pt x="5505497" y="3899153"/>
                  <a:pt x="5503561" y="3899153"/>
                  <a:pt x="5503561" y="3899153"/>
                </a:cubicBezTo>
                <a:close/>
                <a:moveTo>
                  <a:pt x="5549980" y="3897218"/>
                </a:moveTo>
                <a:cubicBezTo>
                  <a:pt x="5546112" y="3897218"/>
                  <a:pt x="5542244" y="3897218"/>
                  <a:pt x="5538376" y="3899153"/>
                </a:cubicBezTo>
                <a:cubicBezTo>
                  <a:pt x="5536440" y="3901086"/>
                  <a:pt x="5532572" y="3901086"/>
                  <a:pt x="5530639" y="3903019"/>
                </a:cubicBezTo>
                <a:cubicBezTo>
                  <a:pt x="5528704" y="3903019"/>
                  <a:pt x="5528704" y="3904954"/>
                  <a:pt x="5526771" y="3906887"/>
                </a:cubicBezTo>
                <a:cubicBezTo>
                  <a:pt x="5519034" y="3906887"/>
                  <a:pt x="5511298" y="3906887"/>
                  <a:pt x="5505497" y="3901086"/>
                </a:cubicBezTo>
                <a:cubicBezTo>
                  <a:pt x="5501628" y="3908822"/>
                  <a:pt x="5493889" y="3912691"/>
                  <a:pt x="5484220" y="3910755"/>
                </a:cubicBezTo>
                <a:cubicBezTo>
                  <a:pt x="5480352" y="3910755"/>
                  <a:pt x="5478419" y="3910755"/>
                  <a:pt x="5476483" y="3910755"/>
                </a:cubicBezTo>
                <a:cubicBezTo>
                  <a:pt x="5461010" y="3914624"/>
                  <a:pt x="5445537" y="3912691"/>
                  <a:pt x="5430064" y="3910755"/>
                </a:cubicBezTo>
                <a:cubicBezTo>
                  <a:pt x="5428131" y="3912691"/>
                  <a:pt x="5428131" y="3912691"/>
                  <a:pt x="5428131" y="3912691"/>
                </a:cubicBezTo>
                <a:cubicBezTo>
                  <a:pt x="5424263" y="3918492"/>
                  <a:pt x="5416527" y="3918492"/>
                  <a:pt x="5410723" y="3920427"/>
                </a:cubicBezTo>
                <a:cubicBezTo>
                  <a:pt x="5412658" y="3920427"/>
                  <a:pt x="5414594" y="3922360"/>
                  <a:pt x="5416527" y="3924295"/>
                </a:cubicBezTo>
                <a:cubicBezTo>
                  <a:pt x="5418462" y="3924295"/>
                  <a:pt x="5422328" y="3924295"/>
                  <a:pt x="5424263" y="3924295"/>
                </a:cubicBezTo>
                <a:cubicBezTo>
                  <a:pt x="5428131" y="3922360"/>
                  <a:pt x="5433933" y="3922360"/>
                  <a:pt x="5437803" y="3920427"/>
                </a:cubicBezTo>
                <a:cubicBezTo>
                  <a:pt x="5451341" y="3916559"/>
                  <a:pt x="5466814" y="3916559"/>
                  <a:pt x="5482287" y="3914624"/>
                </a:cubicBezTo>
                <a:cubicBezTo>
                  <a:pt x="5486154" y="3913657"/>
                  <a:pt x="5488572" y="3914141"/>
                  <a:pt x="5490264" y="3915592"/>
                </a:cubicBezTo>
                <a:lnTo>
                  <a:pt x="5492736" y="3920206"/>
                </a:lnTo>
                <a:lnTo>
                  <a:pt x="5482287" y="3919460"/>
                </a:lnTo>
                <a:cubicBezTo>
                  <a:pt x="5477935" y="3919943"/>
                  <a:pt x="5473583" y="3921394"/>
                  <a:pt x="5468747" y="3924295"/>
                </a:cubicBezTo>
                <a:cubicBezTo>
                  <a:pt x="5464879" y="3928164"/>
                  <a:pt x="5457142" y="3928164"/>
                  <a:pt x="5451341" y="3930097"/>
                </a:cubicBezTo>
                <a:cubicBezTo>
                  <a:pt x="5461010" y="3930097"/>
                  <a:pt x="5468747" y="3930097"/>
                  <a:pt x="5476483" y="3930097"/>
                </a:cubicBezTo>
                <a:cubicBezTo>
                  <a:pt x="5482287" y="3928164"/>
                  <a:pt x="5488088" y="3928164"/>
                  <a:pt x="5493889" y="3926228"/>
                </a:cubicBezTo>
                <a:cubicBezTo>
                  <a:pt x="5495823" y="3926228"/>
                  <a:pt x="5496307" y="3925745"/>
                  <a:pt x="5496308" y="3924778"/>
                </a:cubicBezTo>
                <a:lnTo>
                  <a:pt x="5496049" y="3922450"/>
                </a:lnTo>
                <a:lnTo>
                  <a:pt x="5505497" y="3926228"/>
                </a:lnTo>
                <a:cubicBezTo>
                  <a:pt x="5519034" y="3910755"/>
                  <a:pt x="5536440" y="3910755"/>
                  <a:pt x="5555781" y="3916559"/>
                </a:cubicBezTo>
                <a:cubicBezTo>
                  <a:pt x="5553849" y="3918492"/>
                  <a:pt x="5551913" y="3918492"/>
                  <a:pt x="5549980" y="3920427"/>
                </a:cubicBezTo>
                <a:cubicBezTo>
                  <a:pt x="5567386" y="3920427"/>
                  <a:pt x="5582859" y="3920427"/>
                  <a:pt x="5598332" y="3918492"/>
                </a:cubicBezTo>
                <a:cubicBezTo>
                  <a:pt x="5600265" y="3916559"/>
                  <a:pt x="5604133" y="3914624"/>
                  <a:pt x="5608002" y="3912691"/>
                </a:cubicBezTo>
                <a:cubicBezTo>
                  <a:pt x="5594464" y="3903019"/>
                  <a:pt x="5582859" y="3916559"/>
                  <a:pt x="5573190" y="3912691"/>
                </a:cubicBezTo>
                <a:cubicBezTo>
                  <a:pt x="5575123" y="3908822"/>
                  <a:pt x="5577056" y="3904954"/>
                  <a:pt x="5578991" y="3903019"/>
                </a:cubicBezTo>
                <a:cubicBezTo>
                  <a:pt x="5577056" y="3904954"/>
                  <a:pt x="5575123" y="3904954"/>
                  <a:pt x="5573190" y="3904954"/>
                </a:cubicBezTo>
                <a:cubicBezTo>
                  <a:pt x="5569322" y="3904954"/>
                  <a:pt x="5567386" y="3904954"/>
                  <a:pt x="5565453" y="3901086"/>
                </a:cubicBezTo>
                <a:cubicBezTo>
                  <a:pt x="5565453" y="3899153"/>
                  <a:pt x="5563518" y="3899153"/>
                  <a:pt x="5563518" y="3897218"/>
                </a:cubicBezTo>
                <a:cubicBezTo>
                  <a:pt x="5559650" y="3897218"/>
                  <a:pt x="5555781" y="3897218"/>
                  <a:pt x="5551913" y="3897218"/>
                </a:cubicBezTo>
                <a:cubicBezTo>
                  <a:pt x="5551913" y="3897218"/>
                  <a:pt x="5549980" y="3897218"/>
                  <a:pt x="5549980" y="3897218"/>
                </a:cubicBezTo>
                <a:close/>
                <a:moveTo>
                  <a:pt x="5604133" y="3885613"/>
                </a:moveTo>
                <a:cubicBezTo>
                  <a:pt x="5600265" y="3885613"/>
                  <a:pt x="5594464" y="3887548"/>
                  <a:pt x="5590596" y="3887548"/>
                </a:cubicBezTo>
                <a:cubicBezTo>
                  <a:pt x="5582859" y="3887548"/>
                  <a:pt x="5580924" y="3891414"/>
                  <a:pt x="5577056" y="3897218"/>
                </a:cubicBezTo>
                <a:cubicBezTo>
                  <a:pt x="5578991" y="3899153"/>
                  <a:pt x="5580924" y="3899153"/>
                  <a:pt x="5582859" y="3901086"/>
                </a:cubicBezTo>
                <a:cubicBezTo>
                  <a:pt x="5586728" y="3899153"/>
                  <a:pt x="5590596" y="3897218"/>
                  <a:pt x="5602201" y="3895282"/>
                </a:cubicBezTo>
                <a:cubicBezTo>
                  <a:pt x="5613805" y="3891414"/>
                  <a:pt x="5621542" y="3895282"/>
                  <a:pt x="5629278" y="3903019"/>
                </a:cubicBezTo>
                <a:cubicBezTo>
                  <a:pt x="5633147" y="3901086"/>
                  <a:pt x="5638948" y="3897218"/>
                  <a:pt x="5642816" y="3895282"/>
                </a:cubicBezTo>
                <a:cubicBezTo>
                  <a:pt x="5638948" y="3893349"/>
                  <a:pt x="5635080" y="3893349"/>
                  <a:pt x="5631211" y="3891414"/>
                </a:cubicBezTo>
                <a:cubicBezTo>
                  <a:pt x="5629278" y="3891414"/>
                  <a:pt x="5627343" y="3889481"/>
                  <a:pt x="5625410" y="3889481"/>
                </a:cubicBezTo>
                <a:cubicBezTo>
                  <a:pt x="5621542" y="3889481"/>
                  <a:pt x="5619607" y="3889481"/>
                  <a:pt x="5617674" y="3889481"/>
                </a:cubicBezTo>
                <a:cubicBezTo>
                  <a:pt x="5617674" y="3887548"/>
                  <a:pt x="5619607" y="3887548"/>
                  <a:pt x="5619607" y="3887548"/>
                </a:cubicBezTo>
                <a:cubicBezTo>
                  <a:pt x="5615738" y="3887548"/>
                  <a:pt x="5609937" y="3887548"/>
                  <a:pt x="5604133" y="3885613"/>
                </a:cubicBezTo>
                <a:close/>
                <a:moveTo>
                  <a:pt x="5228918" y="3870140"/>
                </a:moveTo>
                <a:cubicBezTo>
                  <a:pt x="5225052" y="3870140"/>
                  <a:pt x="5223116" y="3870140"/>
                  <a:pt x="5219248" y="3872075"/>
                </a:cubicBezTo>
                <a:cubicBezTo>
                  <a:pt x="5221183" y="3872075"/>
                  <a:pt x="5221183" y="3872075"/>
                  <a:pt x="5221183" y="3872075"/>
                </a:cubicBezTo>
                <a:cubicBezTo>
                  <a:pt x="5223116" y="3872075"/>
                  <a:pt x="5226985" y="3870140"/>
                  <a:pt x="5228918" y="3870140"/>
                </a:cubicBezTo>
                <a:close/>
                <a:moveTo>
                  <a:pt x="5443604" y="3862403"/>
                </a:moveTo>
                <a:cubicBezTo>
                  <a:pt x="5441669" y="3864339"/>
                  <a:pt x="5441669" y="3864339"/>
                  <a:pt x="5441669" y="3864339"/>
                </a:cubicBezTo>
                <a:cubicBezTo>
                  <a:pt x="5443604" y="3864339"/>
                  <a:pt x="5443604" y="3864339"/>
                  <a:pt x="5445537" y="3864339"/>
                </a:cubicBezTo>
                <a:cubicBezTo>
                  <a:pt x="5445537" y="3864339"/>
                  <a:pt x="5443604" y="3864339"/>
                  <a:pt x="5443604" y="3862403"/>
                </a:cubicBezTo>
                <a:close/>
                <a:moveTo>
                  <a:pt x="5478177" y="3853701"/>
                </a:moveTo>
                <a:cubicBezTo>
                  <a:pt x="5473100" y="3854184"/>
                  <a:pt x="5467781" y="3855635"/>
                  <a:pt x="5461010" y="3858535"/>
                </a:cubicBezTo>
                <a:cubicBezTo>
                  <a:pt x="5464879" y="3858535"/>
                  <a:pt x="5470680" y="3858535"/>
                  <a:pt x="5474551" y="3858535"/>
                </a:cubicBezTo>
                <a:cubicBezTo>
                  <a:pt x="5480352" y="3856602"/>
                  <a:pt x="5488088" y="3856602"/>
                  <a:pt x="5493889" y="3854667"/>
                </a:cubicBezTo>
                <a:cubicBezTo>
                  <a:pt x="5488088" y="3853700"/>
                  <a:pt x="5483254" y="3853217"/>
                  <a:pt x="5478177" y="3853701"/>
                </a:cubicBezTo>
                <a:close/>
                <a:moveTo>
                  <a:pt x="5422328" y="3848866"/>
                </a:moveTo>
                <a:cubicBezTo>
                  <a:pt x="5422328" y="3850798"/>
                  <a:pt x="5422328" y="3848866"/>
                  <a:pt x="5424263" y="3848866"/>
                </a:cubicBezTo>
                <a:cubicBezTo>
                  <a:pt x="5424263" y="3848866"/>
                  <a:pt x="5424263" y="3850798"/>
                  <a:pt x="5424263" y="3850798"/>
                </a:cubicBezTo>
                <a:cubicBezTo>
                  <a:pt x="5424263" y="3850798"/>
                  <a:pt x="5422328" y="3850798"/>
                  <a:pt x="5422328" y="3848866"/>
                </a:cubicBezTo>
                <a:close/>
                <a:moveTo>
                  <a:pt x="5399121" y="3844997"/>
                </a:moveTo>
                <a:cubicBezTo>
                  <a:pt x="5395252" y="3844997"/>
                  <a:pt x="5389449" y="3846930"/>
                  <a:pt x="5385581" y="3846930"/>
                </a:cubicBezTo>
                <a:cubicBezTo>
                  <a:pt x="5366239" y="3850798"/>
                  <a:pt x="5344965" y="3850798"/>
                  <a:pt x="5327559" y="3860470"/>
                </a:cubicBezTo>
                <a:cubicBezTo>
                  <a:pt x="5323689" y="3862403"/>
                  <a:pt x="5321756" y="3862403"/>
                  <a:pt x="5317887" y="3862403"/>
                </a:cubicBezTo>
                <a:cubicBezTo>
                  <a:pt x="5315952" y="3862403"/>
                  <a:pt x="5312086" y="3856602"/>
                  <a:pt x="5314019" y="3852734"/>
                </a:cubicBezTo>
                <a:cubicBezTo>
                  <a:pt x="5314019" y="3850798"/>
                  <a:pt x="5315952" y="3850798"/>
                  <a:pt x="5315952" y="3848866"/>
                </a:cubicBezTo>
                <a:cubicBezTo>
                  <a:pt x="5315952" y="3848866"/>
                  <a:pt x="5314019" y="3848866"/>
                  <a:pt x="5314019" y="3848866"/>
                </a:cubicBezTo>
                <a:cubicBezTo>
                  <a:pt x="5304350" y="3848866"/>
                  <a:pt x="5292745" y="3852734"/>
                  <a:pt x="5283073" y="3854667"/>
                </a:cubicBezTo>
                <a:cubicBezTo>
                  <a:pt x="5273404" y="3856602"/>
                  <a:pt x="5265667" y="3860470"/>
                  <a:pt x="5255995" y="3862403"/>
                </a:cubicBezTo>
                <a:cubicBezTo>
                  <a:pt x="5250194" y="3870140"/>
                  <a:pt x="5250194" y="3872075"/>
                  <a:pt x="5236654" y="3872075"/>
                </a:cubicBezTo>
                <a:cubicBezTo>
                  <a:pt x="5226985" y="3875943"/>
                  <a:pt x="5211512" y="3879812"/>
                  <a:pt x="5184434" y="3885613"/>
                </a:cubicBezTo>
                <a:cubicBezTo>
                  <a:pt x="5184434" y="3885613"/>
                  <a:pt x="5182501" y="3885613"/>
                  <a:pt x="5180566" y="3885613"/>
                </a:cubicBezTo>
                <a:cubicBezTo>
                  <a:pt x="5172829" y="3889481"/>
                  <a:pt x="5163160" y="3889481"/>
                  <a:pt x="5155423" y="3891414"/>
                </a:cubicBezTo>
                <a:cubicBezTo>
                  <a:pt x="5153488" y="3891414"/>
                  <a:pt x="5149620" y="3893349"/>
                  <a:pt x="5147687" y="3893349"/>
                </a:cubicBezTo>
                <a:cubicBezTo>
                  <a:pt x="5151555" y="3895282"/>
                  <a:pt x="5153488" y="3895282"/>
                  <a:pt x="5155423" y="3897218"/>
                </a:cubicBezTo>
                <a:cubicBezTo>
                  <a:pt x="5151555" y="3899153"/>
                  <a:pt x="5149620" y="3903019"/>
                  <a:pt x="5145751" y="3904954"/>
                </a:cubicBezTo>
                <a:cubicBezTo>
                  <a:pt x="5147687" y="3908822"/>
                  <a:pt x="5151555" y="3906887"/>
                  <a:pt x="5155423" y="3906887"/>
                </a:cubicBezTo>
                <a:cubicBezTo>
                  <a:pt x="5155423" y="3906887"/>
                  <a:pt x="5153488" y="3908822"/>
                  <a:pt x="5153488" y="3908822"/>
                </a:cubicBezTo>
                <a:cubicBezTo>
                  <a:pt x="5143818" y="3912691"/>
                  <a:pt x="5134149" y="3916559"/>
                  <a:pt x="5124477" y="3918492"/>
                </a:cubicBezTo>
                <a:cubicBezTo>
                  <a:pt x="5114808" y="3920427"/>
                  <a:pt x="5105136" y="3922360"/>
                  <a:pt x="5097399" y="3926228"/>
                </a:cubicBezTo>
                <a:cubicBezTo>
                  <a:pt x="5109004" y="3932032"/>
                  <a:pt x="5120609" y="3930097"/>
                  <a:pt x="5132214" y="3926228"/>
                </a:cubicBezTo>
                <a:cubicBezTo>
                  <a:pt x="5139950" y="3924295"/>
                  <a:pt x="5139950" y="3924295"/>
                  <a:pt x="5147687" y="3928164"/>
                </a:cubicBezTo>
                <a:lnTo>
                  <a:pt x="5146929" y="3928488"/>
                </a:lnTo>
                <a:lnTo>
                  <a:pt x="5137774" y="3929131"/>
                </a:lnTo>
                <a:cubicBezTo>
                  <a:pt x="5133664" y="3930098"/>
                  <a:pt x="5129312" y="3932032"/>
                  <a:pt x="5122542" y="3935900"/>
                </a:cubicBezTo>
                <a:lnTo>
                  <a:pt x="5124475" y="3935900"/>
                </a:lnTo>
                <a:lnTo>
                  <a:pt x="5109004" y="3939768"/>
                </a:lnTo>
                <a:lnTo>
                  <a:pt x="5108290" y="3941911"/>
                </a:lnTo>
                <a:lnTo>
                  <a:pt x="5088581" y="3945339"/>
                </a:lnTo>
                <a:lnTo>
                  <a:pt x="5087730" y="3943637"/>
                </a:lnTo>
                <a:lnTo>
                  <a:pt x="5069255" y="3945483"/>
                </a:lnTo>
                <a:lnTo>
                  <a:pt x="5066453" y="3941701"/>
                </a:lnTo>
                <a:cubicBezTo>
                  <a:pt x="5066453" y="3943637"/>
                  <a:pt x="5066453" y="3943637"/>
                  <a:pt x="5066453" y="3943637"/>
                </a:cubicBezTo>
                <a:cubicBezTo>
                  <a:pt x="5066453" y="3943637"/>
                  <a:pt x="5068389" y="3945570"/>
                  <a:pt x="5068389" y="3945570"/>
                </a:cubicBezTo>
                <a:lnTo>
                  <a:pt x="5069255" y="3945483"/>
                </a:lnTo>
                <a:lnTo>
                  <a:pt x="5071290" y="3948230"/>
                </a:lnTo>
                <a:cubicBezTo>
                  <a:pt x="5072741" y="3948955"/>
                  <a:pt x="5074191" y="3948472"/>
                  <a:pt x="5076125" y="3947505"/>
                </a:cubicBezTo>
                <a:lnTo>
                  <a:pt x="5088581" y="3945339"/>
                </a:lnTo>
                <a:lnTo>
                  <a:pt x="5091598" y="3951373"/>
                </a:lnTo>
                <a:cubicBezTo>
                  <a:pt x="5097399" y="3951373"/>
                  <a:pt x="5101268" y="3949438"/>
                  <a:pt x="5107071" y="3947505"/>
                </a:cubicBezTo>
                <a:cubicBezTo>
                  <a:pt x="5110939" y="3945570"/>
                  <a:pt x="5116741" y="3945570"/>
                  <a:pt x="5120609" y="3947505"/>
                </a:cubicBezTo>
                <a:cubicBezTo>
                  <a:pt x="5120609" y="3947505"/>
                  <a:pt x="5120609" y="3945570"/>
                  <a:pt x="5120609" y="3945570"/>
                </a:cubicBezTo>
                <a:cubicBezTo>
                  <a:pt x="5116741" y="3945570"/>
                  <a:pt x="5110939" y="3945570"/>
                  <a:pt x="5107071" y="3945570"/>
                </a:cubicBezTo>
                <a:lnTo>
                  <a:pt x="5108290" y="3941911"/>
                </a:lnTo>
                <a:lnTo>
                  <a:pt x="5120609" y="3939768"/>
                </a:lnTo>
                <a:lnTo>
                  <a:pt x="5146929" y="3928488"/>
                </a:lnTo>
                <a:lnTo>
                  <a:pt x="5151555" y="3928164"/>
                </a:lnTo>
                <a:cubicBezTo>
                  <a:pt x="5161224" y="3926228"/>
                  <a:pt x="5168961" y="3924295"/>
                  <a:pt x="5176697" y="3922360"/>
                </a:cubicBezTo>
                <a:cubicBezTo>
                  <a:pt x="5174764" y="3922360"/>
                  <a:pt x="5170896" y="3920427"/>
                  <a:pt x="5167028" y="3918492"/>
                </a:cubicBezTo>
                <a:cubicBezTo>
                  <a:pt x="5178633" y="3912691"/>
                  <a:pt x="5188302" y="3910755"/>
                  <a:pt x="5197974" y="3908822"/>
                </a:cubicBezTo>
                <a:cubicBezTo>
                  <a:pt x="5199907" y="3906887"/>
                  <a:pt x="5201842" y="3908822"/>
                  <a:pt x="5203775" y="3908822"/>
                </a:cubicBezTo>
                <a:cubicBezTo>
                  <a:pt x="5211512" y="3914624"/>
                  <a:pt x="5217315" y="3912691"/>
                  <a:pt x="5225052" y="3908822"/>
                </a:cubicBezTo>
                <a:cubicBezTo>
                  <a:pt x="5232786" y="3903019"/>
                  <a:pt x="5242458" y="3903019"/>
                  <a:pt x="5252127" y="3903019"/>
                </a:cubicBezTo>
                <a:cubicBezTo>
                  <a:pt x="5254062" y="3903019"/>
                  <a:pt x="5254062" y="3903019"/>
                  <a:pt x="5255995" y="3903019"/>
                </a:cubicBezTo>
                <a:cubicBezTo>
                  <a:pt x="5257931" y="3901086"/>
                  <a:pt x="5259864" y="3901086"/>
                  <a:pt x="5261799" y="3901086"/>
                </a:cubicBezTo>
                <a:cubicBezTo>
                  <a:pt x="5277270" y="3897218"/>
                  <a:pt x="5294678" y="3893349"/>
                  <a:pt x="5310151" y="3889481"/>
                </a:cubicBezTo>
                <a:cubicBezTo>
                  <a:pt x="5310151" y="3889481"/>
                  <a:pt x="5310151" y="3887548"/>
                  <a:pt x="5310151" y="3887548"/>
                </a:cubicBezTo>
                <a:cubicBezTo>
                  <a:pt x="5310151" y="3887548"/>
                  <a:pt x="5312086" y="3885613"/>
                  <a:pt x="5312086" y="3885613"/>
                </a:cubicBezTo>
                <a:cubicBezTo>
                  <a:pt x="5315952" y="3885613"/>
                  <a:pt x="5321756" y="3885613"/>
                  <a:pt x="5327559" y="3885613"/>
                </a:cubicBezTo>
                <a:cubicBezTo>
                  <a:pt x="5335293" y="3883677"/>
                  <a:pt x="5344965" y="3881745"/>
                  <a:pt x="5352702" y="3879812"/>
                </a:cubicBezTo>
                <a:cubicBezTo>
                  <a:pt x="5354635" y="3879812"/>
                  <a:pt x="5354635" y="3877876"/>
                  <a:pt x="5356570" y="3877876"/>
                </a:cubicBezTo>
                <a:cubicBezTo>
                  <a:pt x="5362371" y="3875943"/>
                  <a:pt x="5370108" y="3874008"/>
                  <a:pt x="5377844" y="3874008"/>
                </a:cubicBezTo>
                <a:cubicBezTo>
                  <a:pt x="5383645" y="3872075"/>
                  <a:pt x="5389449" y="3872075"/>
                  <a:pt x="5395252" y="3872075"/>
                </a:cubicBezTo>
                <a:cubicBezTo>
                  <a:pt x="5402987" y="3868207"/>
                  <a:pt x="5410723" y="3864339"/>
                  <a:pt x="5418462" y="3862403"/>
                </a:cubicBezTo>
                <a:cubicBezTo>
                  <a:pt x="5424263" y="3862403"/>
                  <a:pt x="5428131" y="3860470"/>
                  <a:pt x="5432000" y="3860470"/>
                </a:cubicBezTo>
                <a:cubicBezTo>
                  <a:pt x="5432000" y="3860470"/>
                  <a:pt x="5432000" y="3858535"/>
                  <a:pt x="5432000" y="3856602"/>
                </a:cubicBezTo>
                <a:cubicBezTo>
                  <a:pt x="5432000" y="3856602"/>
                  <a:pt x="5435868" y="3854667"/>
                  <a:pt x="5437803" y="3854667"/>
                </a:cubicBezTo>
                <a:cubicBezTo>
                  <a:pt x="5445537" y="3852734"/>
                  <a:pt x="5453274" y="3852734"/>
                  <a:pt x="5461010" y="3852734"/>
                </a:cubicBezTo>
                <a:cubicBezTo>
                  <a:pt x="5461010" y="3850798"/>
                  <a:pt x="5459078" y="3848866"/>
                  <a:pt x="5459078" y="3844997"/>
                </a:cubicBezTo>
                <a:cubicBezTo>
                  <a:pt x="5455209" y="3844997"/>
                  <a:pt x="5453274" y="3846930"/>
                  <a:pt x="5451341" y="3846930"/>
                </a:cubicBezTo>
                <a:cubicBezTo>
                  <a:pt x="5439736" y="3850798"/>
                  <a:pt x="5428131" y="3852734"/>
                  <a:pt x="5416527" y="3846930"/>
                </a:cubicBezTo>
                <a:cubicBezTo>
                  <a:pt x="5414594" y="3846930"/>
                  <a:pt x="5410723" y="3844997"/>
                  <a:pt x="5408790" y="3844997"/>
                </a:cubicBezTo>
                <a:cubicBezTo>
                  <a:pt x="5402987" y="3844997"/>
                  <a:pt x="5401054" y="3846930"/>
                  <a:pt x="5399121" y="3854667"/>
                </a:cubicBezTo>
                <a:cubicBezTo>
                  <a:pt x="5404922" y="3858535"/>
                  <a:pt x="5412658" y="3854667"/>
                  <a:pt x="5418462" y="3858535"/>
                </a:cubicBezTo>
                <a:cubicBezTo>
                  <a:pt x="5416527" y="3860470"/>
                  <a:pt x="5416527" y="3862403"/>
                  <a:pt x="5414594" y="3862403"/>
                </a:cubicBezTo>
                <a:cubicBezTo>
                  <a:pt x="5399121" y="3864339"/>
                  <a:pt x="5383645" y="3866272"/>
                  <a:pt x="5368175" y="3866272"/>
                </a:cubicBezTo>
                <a:cubicBezTo>
                  <a:pt x="5368175" y="3866272"/>
                  <a:pt x="5366239" y="3866272"/>
                  <a:pt x="5366239" y="3864339"/>
                </a:cubicBezTo>
                <a:cubicBezTo>
                  <a:pt x="5368175" y="3858535"/>
                  <a:pt x="5372043" y="3862403"/>
                  <a:pt x="5375911" y="3862403"/>
                </a:cubicBezTo>
                <a:cubicBezTo>
                  <a:pt x="5379779" y="3860470"/>
                  <a:pt x="5383645" y="3860470"/>
                  <a:pt x="5387514" y="3860470"/>
                </a:cubicBezTo>
                <a:cubicBezTo>
                  <a:pt x="5391384" y="3856602"/>
                  <a:pt x="5395252" y="3852734"/>
                  <a:pt x="5397185" y="3848866"/>
                </a:cubicBezTo>
                <a:cubicBezTo>
                  <a:pt x="5397185" y="3846930"/>
                  <a:pt x="5397185" y="3844997"/>
                  <a:pt x="5399121" y="3844997"/>
                </a:cubicBezTo>
                <a:close/>
                <a:moveTo>
                  <a:pt x="5491956" y="3843062"/>
                </a:moveTo>
                <a:cubicBezTo>
                  <a:pt x="5491956" y="3843062"/>
                  <a:pt x="5490021" y="3844997"/>
                  <a:pt x="5490021" y="3844997"/>
                </a:cubicBezTo>
                <a:cubicBezTo>
                  <a:pt x="5490021" y="3846930"/>
                  <a:pt x="5491956" y="3846930"/>
                  <a:pt x="5493889" y="3846930"/>
                </a:cubicBezTo>
                <a:cubicBezTo>
                  <a:pt x="5493889" y="3846930"/>
                  <a:pt x="5493889" y="3844997"/>
                  <a:pt x="5493889" y="3844997"/>
                </a:cubicBezTo>
                <a:cubicBezTo>
                  <a:pt x="5493889" y="3844997"/>
                  <a:pt x="5491956" y="3843062"/>
                  <a:pt x="5491956" y="3843062"/>
                </a:cubicBezTo>
                <a:close/>
                <a:moveTo>
                  <a:pt x="5531847" y="3842579"/>
                </a:moveTo>
                <a:cubicBezTo>
                  <a:pt x="5530639" y="3842579"/>
                  <a:pt x="5529672" y="3843063"/>
                  <a:pt x="5528704" y="3844997"/>
                </a:cubicBezTo>
                <a:cubicBezTo>
                  <a:pt x="5530639" y="3843062"/>
                  <a:pt x="5534507" y="3843062"/>
                  <a:pt x="5536440" y="3843062"/>
                </a:cubicBezTo>
                <a:cubicBezTo>
                  <a:pt x="5534506" y="3843062"/>
                  <a:pt x="5533056" y="3842579"/>
                  <a:pt x="5531847" y="3842579"/>
                </a:cubicBezTo>
                <a:close/>
                <a:moveTo>
                  <a:pt x="5281140" y="3839194"/>
                </a:moveTo>
                <a:cubicBezTo>
                  <a:pt x="5277270" y="3841129"/>
                  <a:pt x="5273404" y="3841129"/>
                  <a:pt x="5269535" y="3843062"/>
                </a:cubicBezTo>
                <a:cubicBezTo>
                  <a:pt x="5271468" y="3843062"/>
                  <a:pt x="5273404" y="3843062"/>
                  <a:pt x="5275337" y="3843062"/>
                </a:cubicBezTo>
                <a:cubicBezTo>
                  <a:pt x="5277270" y="3843062"/>
                  <a:pt x="5279205" y="3841129"/>
                  <a:pt x="5281140" y="3839194"/>
                </a:cubicBezTo>
                <a:close/>
                <a:moveTo>
                  <a:pt x="5582859" y="3837261"/>
                </a:moveTo>
                <a:cubicBezTo>
                  <a:pt x="5575123" y="3839194"/>
                  <a:pt x="5565453" y="3839194"/>
                  <a:pt x="5553849" y="3843062"/>
                </a:cubicBezTo>
                <a:cubicBezTo>
                  <a:pt x="5549980" y="3843062"/>
                  <a:pt x="5548045" y="3844997"/>
                  <a:pt x="5544177" y="3846930"/>
                </a:cubicBezTo>
                <a:cubicBezTo>
                  <a:pt x="5542244" y="3848866"/>
                  <a:pt x="5540308" y="3850798"/>
                  <a:pt x="5538376" y="3852734"/>
                </a:cubicBezTo>
                <a:cubicBezTo>
                  <a:pt x="5549980" y="3852734"/>
                  <a:pt x="5561585" y="3852734"/>
                  <a:pt x="5571255" y="3850798"/>
                </a:cubicBezTo>
                <a:cubicBezTo>
                  <a:pt x="5571255" y="3848866"/>
                  <a:pt x="5573190" y="3848866"/>
                  <a:pt x="5573190" y="3848866"/>
                </a:cubicBezTo>
                <a:cubicBezTo>
                  <a:pt x="5575123" y="3848866"/>
                  <a:pt x="5575123" y="3848866"/>
                  <a:pt x="5577056" y="3848866"/>
                </a:cubicBezTo>
                <a:cubicBezTo>
                  <a:pt x="5578991" y="3846930"/>
                  <a:pt x="5578991" y="3846930"/>
                  <a:pt x="5580924" y="3846930"/>
                </a:cubicBezTo>
                <a:cubicBezTo>
                  <a:pt x="5584795" y="3844997"/>
                  <a:pt x="5590596" y="3843062"/>
                  <a:pt x="5596397" y="3841129"/>
                </a:cubicBezTo>
                <a:cubicBezTo>
                  <a:pt x="5596397" y="3839194"/>
                  <a:pt x="5598332" y="3839194"/>
                  <a:pt x="5598332" y="3839194"/>
                </a:cubicBezTo>
                <a:cubicBezTo>
                  <a:pt x="5594464" y="3837261"/>
                  <a:pt x="5588663" y="3835325"/>
                  <a:pt x="5582859" y="3837261"/>
                </a:cubicBezTo>
                <a:close/>
                <a:moveTo>
                  <a:pt x="5480352" y="3829524"/>
                </a:moveTo>
                <a:cubicBezTo>
                  <a:pt x="5474551" y="3829524"/>
                  <a:pt x="5468747" y="3831457"/>
                  <a:pt x="5462946" y="3833393"/>
                </a:cubicBezTo>
                <a:cubicBezTo>
                  <a:pt x="5457142" y="3835325"/>
                  <a:pt x="5449406" y="3837261"/>
                  <a:pt x="5443604" y="3839194"/>
                </a:cubicBezTo>
                <a:cubicBezTo>
                  <a:pt x="5439736" y="3839194"/>
                  <a:pt x="5439736" y="3839194"/>
                  <a:pt x="5437803" y="3839194"/>
                </a:cubicBezTo>
                <a:cubicBezTo>
                  <a:pt x="5437803" y="3839194"/>
                  <a:pt x="5437803" y="3841129"/>
                  <a:pt x="5437803" y="3841129"/>
                </a:cubicBezTo>
                <a:cubicBezTo>
                  <a:pt x="5437803" y="3841129"/>
                  <a:pt x="5439736" y="3841129"/>
                  <a:pt x="5439736" y="3841129"/>
                </a:cubicBezTo>
                <a:cubicBezTo>
                  <a:pt x="5441669" y="3841129"/>
                  <a:pt x="5441669" y="3839194"/>
                  <a:pt x="5443604" y="3839194"/>
                </a:cubicBezTo>
                <a:cubicBezTo>
                  <a:pt x="5445537" y="3839194"/>
                  <a:pt x="5449406" y="3841129"/>
                  <a:pt x="5451341" y="3841129"/>
                </a:cubicBezTo>
                <a:cubicBezTo>
                  <a:pt x="5453274" y="3841129"/>
                  <a:pt x="5457142" y="3843062"/>
                  <a:pt x="5459078" y="3843062"/>
                </a:cubicBezTo>
                <a:cubicBezTo>
                  <a:pt x="5462946" y="3843062"/>
                  <a:pt x="5464879" y="3841129"/>
                  <a:pt x="5464879" y="3837261"/>
                </a:cubicBezTo>
                <a:cubicBezTo>
                  <a:pt x="5466814" y="3837261"/>
                  <a:pt x="5468747" y="3837261"/>
                  <a:pt x="5470680" y="3837261"/>
                </a:cubicBezTo>
                <a:cubicBezTo>
                  <a:pt x="5470680" y="3837261"/>
                  <a:pt x="5472615" y="3835325"/>
                  <a:pt x="5472615" y="3835325"/>
                </a:cubicBezTo>
                <a:cubicBezTo>
                  <a:pt x="5474551" y="3833393"/>
                  <a:pt x="5478419" y="3831457"/>
                  <a:pt x="5480352" y="3829524"/>
                </a:cubicBezTo>
                <a:close/>
                <a:moveTo>
                  <a:pt x="5517099" y="3827589"/>
                </a:moveTo>
                <a:cubicBezTo>
                  <a:pt x="5507430" y="3829524"/>
                  <a:pt x="5497758" y="3829524"/>
                  <a:pt x="5488088" y="3829524"/>
                </a:cubicBezTo>
                <a:cubicBezTo>
                  <a:pt x="5490021" y="3831457"/>
                  <a:pt x="5490021" y="3833393"/>
                  <a:pt x="5491956" y="3835325"/>
                </a:cubicBezTo>
                <a:cubicBezTo>
                  <a:pt x="5513231" y="3835325"/>
                  <a:pt x="5534507" y="3833393"/>
                  <a:pt x="5555781" y="3833393"/>
                </a:cubicBezTo>
                <a:cubicBezTo>
                  <a:pt x="5549980" y="3829524"/>
                  <a:pt x="5542244" y="3829524"/>
                  <a:pt x="5534507" y="3829524"/>
                </a:cubicBezTo>
                <a:cubicBezTo>
                  <a:pt x="5528704" y="3829524"/>
                  <a:pt x="5522903" y="3831457"/>
                  <a:pt x="5517099" y="3827589"/>
                </a:cubicBezTo>
                <a:close/>
                <a:moveTo>
                  <a:pt x="5613805" y="3825656"/>
                </a:moveTo>
                <a:cubicBezTo>
                  <a:pt x="5611872" y="3825656"/>
                  <a:pt x="5611872" y="3827589"/>
                  <a:pt x="5606069" y="3829524"/>
                </a:cubicBezTo>
                <a:cubicBezTo>
                  <a:pt x="5609937" y="3829524"/>
                  <a:pt x="5609937" y="3831457"/>
                  <a:pt x="5611872" y="3831457"/>
                </a:cubicBezTo>
                <a:cubicBezTo>
                  <a:pt x="5613805" y="3831457"/>
                  <a:pt x="5613805" y="3831457"/>
                  <a:pt x="5613805" y="3831457"/>
                </a:cubicBezTo>
                <a:cubicBezTo>
                  <a:pt x="5617674" y="3829524"/>
                  <a:pt x="5621542" y="3827589"/>
                  <a:pt x="5625410" y="3825656"/>
                </a:cubicBezTo>
                <a:cubicBezTo>
                  <a:pt x="5621542" y="3825656"/>
                  <a:pt x="5617674" y="3825656"/>
                  <a:pt x="5613805" y="3825656"/>
                </a:cubicBezTo>
                <a:close/>
                <a:moveTo>
                  <a:pt x="5756928" y="3815984"/>
                </a:moveTo>
                <a:cubicBezTo>
                  <a:pt x="5756928" y="3815984"/>
                  <a:pt x="5756928" y="3817919"/>
                  <a:pt x="5756928" y="3817919"/>
                </a:cubicBezTo>
                <a:cubicBezTo>
                  <a:pt x="5758864" y="3815984"/>
                  <a:pt x="5760797" y="3815984"/>
                  <a:pt x="5762732" y="3815984"/>
                </a:cubicBezTo>
                <a:cubicBezTo>
                  <a:pt x="5760797" y="3815984"/>
                  <a:pt x="5758864" y="3815984"/>
                  <a:pt x="5756928" y="3815984"/>
                </a:cubicBezTo>
                <a:close/>
                <a:moveTo>
                  <a:pt x="5548045" y="3812118"/>
                </a:moveTo>
                <a:cubicBezTo>
                  <a:pt x="5548045" y="3812118"/>
                  <a:pt x="5549980" y="3814051"/>
                  <a:pt x="5549980" y="3814051"/>
                </a:cubicBezTo>
                <a:cubicBezTo>
                  <a:pt x="5549980" y="3814051"/>
                  <a:pt x="5551913" y="3812118"/>
                  <a:pt x="5551913" y="3812118"/>
                </a:cubicBezTo>
                <a:cubicBezTo>
                  <a:pt x="5551913" y="3812118"/>
                  <a:pt x="5549980" y="3812118"/>
                  <a:pt x="5549980" y="3812118"/>
                </a:cubicBezTo>
                <a:cubicBezTo>
                  <a:pt x="5549980" y="3812118"/>
                  <a:pt x="5548045" y="3812118"/>
                  <a:pt x="5548045" y="3812118"/>
                </a:cubicBezTo>
                <a:close/>
                <a:moveTo>
                  <a:pt x="5503561" y="3798578"/>
                </a:moveTo>
                <a:cubicBezTo>
                  <a:pt x="5501628" y="3800514"/>
                  <a:pt x="5497758" y="3800514"/>
                  <a:pt x="5495825" y="3800514"/>
                </a:cubicBezTo>
                <a:cubicBezTo>
                  <a:pt x="5470680" y="3796643"/>
                  <a:pt x="5445537" y="3806315"/>
                  <a:pt x="5422328" y="3812118"/>
                </a:cubicBezTo>
                <a:cubicBezTo>
                  <a:pt x="5406855" y="3815984"/>
                  <a:pt x="5393317" y="3819852"/>
                  <a:pt x="5377844" y="3821788"/>
                </a:cubicBezTo>
                <a:cubicBezTo>
                  <a:pt x="5377844" y="3821788"/>
                  <a:pt x="5375911" y="3823721"/>
                  <a:pt x="5375911" y="3823721"/>
                </a:cubicBezTo>
                <a:cubicBezTo>
                  <a:pt x="5368175" y="3825656"/>
                  <a:pt x="5362371" y="3825656"/>
                  <a:pt x="5354635" y="3825656"/>
                </a:cubicBezTo>
                <a:cubicBezTo>
                  <a:pt x="5350766" y="3825656"/>
                  <a:pt x="5346898" y="3827589"/>
                  <a:pt x="5343030" y="3825656"/>
                </a:cubicBezTo>
                <a:cubicBezTo>
                  <a:pt x="5339162" y="3823721"/>
                  <a:pt x="5335293" y="3823721"/>
                  <a:pt x="5331427" y="3823721"/>
                </a:cubicBezTo>
                <a:cubicBezTo>
                  <a:pt x="5331427" y="3825656"/>
                  <a:pt x="5331427" y="3825656"/>
                  <a:pt x="5331427" y="3827589"/>
                </a:cubicBezTo>
                <a:cubicBezTo>
                  <a:pt x="5325624" y="3829524"/>
                  <a:pt x="5321756" y="3827589"/>
                  <a:pt x="5317887" y="3825656"/>
                </a:cubicBezTo>
                <a:cubicBezTo>
                  <a:pt x="5314019" y="3827589"/>
                  <a:pt x="5310151" y="3827589"/>
                  <a:pt x="5306283" y="3829524"/>
                </a:cubicBezTo>
                <a:cubicBezTo>
                  <a:pt x="5308218" y="3831457"/>
                  <a:pt x="5308218" y="3831457"/>
                  <a:pt x="5308218" y="3833393"/>
                </a:cubicBezTo>
                <a:cubicBezTo>
                  <a:pt x="5304350" y="3835325"/>
                  <a:pt x="5298546" y="3835325"/>
                  <a:pt x="5296611" y="3835325"/>
                </a:cubicBezTo>
                <a:cubicBezTo>
                  <a:pt x="5292745" y="3837261"/>
                  <a:pt x="5290810" y="3841129"/>
                  <a:pt x="5288877" y="3843062"/>
                </a:cubicBezTo>
                <a:cubicBezTo>
                  <a:pt x="5306283" y="3843062"/>
                  <a:pt x="5323689" y="3841129"/>
                  <a:pt x="5341097" y="3839194"/>
                </a:cubicBezTo>
                <a:cubicBezTo>
                  <a:pt x="5343030" y="3839194"/>
                  <a:pt x="5343030" y="3839194"/>
                  <a:pt x="5344965" y="3839194"/>
                </a:cubicBezTo>
                <a:cubicBezTo>
                  <a:pt x="5350766" y="3837261"/>
                  <a:pt x="5356570" y="3835325"/>
                  <a:pt x="5362371" y="3831457"/>
                </a:cubicBezTo>
                <a:cubicBezTo>
                  <a:pt x="5364306" y="3831457"/>
                  <a:pt x="5366239" y="3831457"/>
                  <a:pt x="5368175" y="3831457"/>
                </a:cubicBezTo>
                <a:cubicBezTo>
                  <a:pt x="5385581" y="3833393"/>
                  <a:pt x="5404922" y="3827589"/>
                  <a:pt x="5422328" y="3823721"/>
                </a:cubicBezTo>
                <a:cubicBezTo>
                  <a:pt x="5437803" y="3819852"/>
                  <a:pt x="5453274" y="3817919"/>
                  <a:pt x="5468747" y="3815984"/>
                </a:cubicBezTo>
                <a:cubicBezTo>
                  <a:pt x="5482287" y="3814051"/>
                  <a:pt x="5495825" y="3810183"/>
                  <a:pt x="5503561" y="3798578"/>
                </a:cubicBezTo>
                <a:close/>
                <a:moveTo>
                  <a:pt x="5410723" y="3794710"/>
                </a:moveTo>
                <a:cubicBezTo>
                  <a:pt x="5406855" y="3796643"/>
                  <a:pt x="5401054" y="3796643"/>
                  <a:pt x="5395252" y="3796643"/>
                </a:cubicBezTo>
                <a:cubicBezTo>
                  <a:pt x="5395252" y="3796643"/>
                  <a:pt x="5397185" y="3796643"/>
                  <a:pt x="5399121" y="3796643"/>
                </a:cubicBezTo>
                <a:cubicBezTo>
                  <a:pt x="5399121" y="3796643"/>
                  <a:pt x="5401054" y="3796643"/>
                  <a:pt x="5401054" y="3796643"/>
                </a:cubicBezTo>
                <a:cubicBezTo>
                  <a:pt x="5404922" y="3796643"/>
                  <a:pt x="5406855" y="3794710"/>
                  <a:pt x="5410723" y="3794710"/>
                </a:cubicBezTo>
                <a:close/>
                <a:moveTo>
                  <a:pt x="5420395" y="3786973"/>
                </a:moveTo>
                <a:cubicBezTo>
                  <a:pt x="5416527" y="3788909"/>
                  <a:pt x="5412658" y="3788909"/>
                  <a:pt x="5408790" y="3790842"/>
                </a:cubicBezTo>
                <a:cubicBezTo>
                  <a:pt x="5410723" y="3790842"/>
                  <a:pt x="5412658" y="3792777"/>
                  <a:pt x="5414594" y="3794710"/>
                </a:cubicBezTo>
                <a:cubicBezTo>
                  <a:pt x="5416527" y="3792777"/>
                  <a:pt x="5418462" y="3788909"/>
                  <a:pt x="5420395" y="3786973"/>
                </a:cubicBezTo>
                <a:close/>
                <a:moveTo>
                  <a:pt x="5542244" y="3752159"/>
                </a:moveTo>
                <a:cubicBezTo>
                  <a:pt x="5522903" y="3756027"/>
                  <a:pt x="5503561" y="3754094"/>
                  <a:pt x="5484220" y="3761831"/>
                </a:cubicBezTo>
                <a:cubicBezTo>
                  <a:pt x="5482287" y="3763764"/>
                  <a:pt x="5476483" y="3763764"/>
                  <a:pt x="5472615" y="3763764"/>
                </a:cubicBezTo>
                <a:cubicBezTo>
                  <a:pt x="5445537" y="3761831"/>
                  <a:pt x="5420395" y="3767632"/>
                  <a:pt x="5395252" y="3775369"/>
                </a:cubicBezTo>
                <a:cubicBezTo>
                  <a:pt x="5391384" y="3777304"/>
                  <a:pt x="5385581" y="3781172"/>
                  <a:pt x="5379779" y="3783105"/>
                </a:cubicBezTo>
                <a:cubicBezTo>
                  <a:pt x="5395252" y="3783105"/>
                  <a:pt x="5410723" y="3781172"/>
                  <a:pt x="5424263" y="3779237"/>
                </a:cubicBezTo>
                <a:cubicBezTo>
                  <a:pt x="5430064" y="3775369"/>
                  <a:pt x="5439736" y="3775369"/>
                  <a:pt x="5447473" y="3773436"/>
                </a:cubicBezTo>
                <a:cubicBezTo>
                  <a:pt x="5468747" y="3769567"/>
                  <a:pt x="5488088" y="3767632"/>
                  <a:pt x="5509362" y="3769567"/>
                </a:cubicBezTo>
                <a:cubicBezTo>
                  <a:pt x="5509362" y="3769567"/>
                  <a:pt x="5511298" y="3769567"/>
                  <a:pt x="5511298" y="3769567"/>
                </a:cubicBezTo>
                <a:cubicBezTo>
                  <a:pt x="5526771" y="3767632"/>
                  <a:pt x="5540308" y="3767632"/>
                  <a:pt x="5555781" y="3765699"/>
                </a:cubicBezTo>
                <a:cubicBezTo>
                  <a:pt x="5557714" y="3765699"/>
                  <a:pt x="5557714" y="3765699"/>
                  <a:pt x="5557714" y="3765699"/>
                </a:cubicBezTo>
                <a:cubicBezTo>
                  <a:pt x="5565453" y="3763764"/>
                  <a:pt x="5573190" y="3761831"/>
                  <a:pt x="5580924" y="3757963"/>
                </a:cubicBezTo>
                <a:cubicBezTo>
                  <a:pt x="5582859" y="3756027"/>
                  <a:pt x="5582859" y="3756027"/>
                  <a:pt x="5584795" y="3756027"/>
                </a:cubicBezTo>
                <a:cubicBezTo>
                  <a:pt x="5571255" y="3754094"/>
                  <a:pt x="5557714" y="3754094"/>
                  <a:pt x="5542244" y="3752159"/>
                </a:cubicBezTo>
                <a:close/>
                <a:moveTo>
                  <a:pt x="5453274" y="3744423"/>
                </a:moveTo>
                <a:cubicBezTo>
                  <a:pt x="5447473" y="3742490"/>
                  <a:pt x="5441669" y="3746358"/>
                  <a:pt x="5435868" y="3748291"/>
                </a:cubicBezTo>
                <a:cubicBezTo>
                  <a:pt x="5437803" y="3748291"/>
                  <a:pt x="5441669" y="3746358"/>
                  <a:pt x="5443604" y="3746358"/>
                </a:cubicBezTo>
                <a:cubicBezTo>
                  <a:pt x="5447473" y="3746358"/>
                  <a:pt x="5449406" y="3748291"/>
                  <a:pt x="5453274" y="3748291"/>
                </a:cubicBezTo>
                <a:cubicBezTo>
                  <a:pt x="5453274" y="3746358"/>
                  <a:pt x="5453274" y="3746358"/>
                  <a:pt x="5453274" y="3744423"/>
                </a:cubicBezTo>
                <a:close/>
                <a:moveTo>
                  <a:pt x="5457142" y="3727017"/>
                </a:moveTo>
                <a:cubicBezTo>
                  <a:pt x="5451341" y="3728950"/>
                  <a:pt x="5443604" y="3730885"/>
                  <a:pt x="5435868" y="3732818"/>
                </a:cubicBezTo>
                <a:cubicBezTo>
                  <a:pt x="5430064" y="3734753"/>
                  <a:pt x="5424263" y="3734753"/>
                  <a:pt x="5418462" y="3736686"/>
                </a:cubicBezTo>
                <a:cubicBezTo>
                  <a:pt x="5410723" y="3738621"/>
                  <a:pt x="5401054" y="3740554"/>
                  <a:pt x="5393317" y="3744423"/>
                </a:cubicBezTo>
                <a:cubicBezTo>
                  <a:pt x="5397185" y="3744423"/>
                  <a:pt x="5402987" y="3744423"/>
                  <a:pt x="5406855" y="3744423"/>
                </a:cubicBezTo>
                <a:cubicBezTo>
                  <a:pt x="5416527" y="3742490"/>
                  <a:pt x="5424263" y="3740554"/>
                  <a:pt x="5433933" y="3742490"/>
                </a:cubicBezTo>
                <a:cubicBezTo>
                  <a:pt x="5433933" y="3742490"/>
                  <a:pt x="5435868" y="3742490"/>
                  <a:pt x="5435868" y="3742490"/>
                </a:cubicBezTo>
                <a:cubicBezTo>
                  <a:pt x="5435868" y="3738621"/>
                  <a:pt x="5437803" y="3738621"/>
                  <a:pt x="5439736" y="3738621"/>
                </a:cubicBezTo>
                <a:cubicBezTo>
                  <a:pt x="5449406" y="3734753"/>
                  <a:pt x="5461010" y="3732818"/>
                  <a:pt x="5470680" y="3730885"/>
                </a:cubicBezTo>
                <a:cubicBezTo>
                  <a:pt x="5470680" y="3728950"/>
                  <a:pt x="5470680" y="3728950"/>
                  <a:pt x="5470680" y="3728950"/>
                </a:cubicBezTo>
                <a:cubicBezTo>
                  <a:pt x="5470680" y="3728950"/>
                  <a:pt x="5468747" y="3727017"/>
                  <a:pt x="5466814" y="3727017"/>
                </a:cubicBezTo>
                <a:cubicBezTo>
                  <a:pt x="5462946" y="3728950"/>
                  <a:pt x="5461010" y="3727017"/>
                  <a:pt x="5457142" y="3727017"/>
                </a:cubicBezTo>
                <a:close/>
                <a:moveTo>
                  <a:pt x="5511298" y="3651587"/>
                </a:moveTo>
                <a:cubicBezTo>
                  <a:pt x="5511298" y="3653520"/>
                  <a:pt x="5511298" y="3653520"/>
                  <a:pt x="5511298" y="3655455"/>
                </a:cubicBezTo>
                <a:cubicBezTo>
                  <a:pt x="5511298" y="3655455"/>
                  <a:pt x="5513231" y="3655455"/>
                  <a:pt x="5513231" y="3655455"/>
                </a:cubicBezTo>
                <a:cubicBezTo>
                  <a:pt x="5515166" y="3653520"/>
                  <a:pt x="5515166" y="3653520"/>
                  <a:pt x="5515166" y="3651587"/>
                </a:cubicBezTo>
                <a:cubicBezTo>
                  <a:pt x="5513231" y="3651587"/>
                  <a:pt x="5511298" y="3651587"/>
                  <a:pt x="5511298" y="3651587"/>
                </a:cubicBezTo>
                <a:close/>
                <a:moveTo>
                  <a:pt x="5627343" y="3614840"/>
                </a:moveTo>
                <a:cubicBezTo>
                  <a:pt x="5633147" y="3618708"/>
                  <a:pt x="5637015" y="3616773"/>
                  <a:pt x="5642816" y="3614840"/>
                </a:cubicBezTo>
                <a:cubicBezTo>
                  <a:pt x="5638948" y="3614840"/>
                  <a:pt x="5637015" y="3614840"/>
                  <a:pt x="5633147" y="3614840"/>
                </a:cubicBezTo>
                <a:cubicBezTo>
                  <a:pt x="5633147" y="3614840"/>
                  <a:pt x="5631211" y="3614840"/>
                  <a:pt x="5631211" y="3614840"/>
                </a:cubicBezTo>
                <a:cubicBezTo>
                  <a:pt x="5629278" y="3614840"/>
                  <a:pt x="5627343" y="3614840"/>
                  <a:pt x="5627343" y="3614840"/>
                </a:cubicBezTo>
                <a:close/>
                <a:moveTo>
                  <a:pt x="5967745" y="3345999"/>
                </a:moveTo>
                <a:cubicBezTo>
                  <a:pt x="5967745" y="3345999"/>
                  <a:pt x="5967745" y="3347932"/>
                  <a:pt x="5967745" y="3347932"/>
                </a:cubicBezTo>
                <a:cubicBezTo>
                  <a:pt x="5967745" y="3349865"/>
                  <a:pt x="5967745" y="3349865"/>
                  <a:pt x="5965812" y="3353733"/>
                </a:cubicBezTo>
                <a:cubicBezTo>
                  <a:pt x="5963876" y="3349865"/>
                  <a:pt x="5963876" y="3347932"/>
                  <a:pt x="5963876" y="3347932"/>
                </a:cubicBezTo>
                <a:cubicBezTo>
                  <a:pt x="5965812" y="3345999"/>
                  <a:pt x="5967745" y="3345999"/>
                  <a:pt x="5967745" y="3345999"/>
                </a:cubicBezTo>
                <a:close/>
                <a:moveTo>
                  <a:pt x="5910690" y="3319888"/>
                </a:moveTo>
                <a:cubicBezTo>
                  <a:pt x="5909239" y="3320372"/>
                  <a:pt x="5907789" y="3321822"/>
                  <a:pt x="5905855" y="3324723"/>
                </a:cubicBezTo>
                <a:cubicBezTo>
                  <a:pt x="5909723" y="3326658"/>
                  <a:pt x="5913591" y="3326658"/>
                  <a:pt x="5915524" y="3320855"/>
                </a:cubicBezTo>
                <a:cubicBezTo>
                  <a:pt x="5913590" y="3319888"/>
                  <a:pt x="5912140" y="3319405"/>
                  <a:pt x="5910690" y="3319888"/>
                </a:cubicBezTo>
                <a:close/>
                <a:moveTo>
                  <a:pt x="5942844" y="3319163"/>
                </a:moveTo>
                <a:cubicBezTo>
                  <a:pt x="5934866" y="3319888"/>
                  <a:pt x="5926163" y="3321822"/>
                  <a:pt x="5919393" y="3324723"/>
                </a:cubicBezTo>
                <a:cubicBezTo>
                  <a:pt x="5923261" y="3332459"/>
                  <a:pt x="5929065" y="3326658"/>
                  <a:pt x="5932933" y="3326658"/>
                </a:cubicBezTo>
                <a:cubicBezTo>
                  <a:pt x="5938734" y="3326658"/>
                  <a:pt x="5942602" y="3326658"/>
                  <a:pt x="5948403" y="3326658"/>
                </a:cubicBezTo>
                <a:cubicBezTo>
                  <a:pt x="5954207" y="3326658"/>
                  <a:pt x="5958075" y="3326658"/>
                  <a:pt x="5961943" y="3320855"/>
                </a:cubicBezTo>
                <a:cubicBezTo>
                  <a:pt x="5958075" y="3318920"/>
                  <a:pt x="5950822" y="3318437"/>
                  <a:pt x="5942844" y="3319163"/>
                </a:cubicBezTo>
                <a:close/>
                <a:moveTo>
                  <a:pt x="5938734" y="3305381"/>
                </a:moveTo>
                <a:cubicBezTo>
                  <a:pt x="5936801" y="3307317"/>
                  <a:pt x="5936801" y="3309250"/>
                  <a:pt x="5936801" y="3309250"/>
                </a:cubicBezTo>
                <a:cubicBezTo>
                  <a:pt x="5936801" y="3309250"/>
                  <a:pt x="5938734" y="3311185"/>
                  <a:pt x="5938734" y="3313118"/>
                </a:cubicBezTo>
                <a:cubicBezTo>
                  <a:pt x="5940669" y="3309250"/>
                  <a:pt x="5940669" y="3307317"/>
                  <a:pt x="5940669" y="3307317"/>
                </a:cubicBezTo>
                <a:cubicBezTo>
                  <a:pt x="5940669" y="3307317"/>
                  <a:pt x="5938734" y="3305381"/>
                  <a:pt x="5938734" y="3305381"/>
                </a:cubicBezTo>
                <a:close/>
                <a:moveTo>
                  <a:pt x="5718246" y="3301513"/>
                </a:moveTo>
                <a:cubicBezTo>
                  <a:pt x="5716313" y="3303448"/>
                  <a:pt x="5714378" y="3305381"/>
                  <a:pt x="5710509" y="3305381"/>
                </a:cubicBezTo>
                <a:cubicBezTo>
                  <a:pt x="5714378" y="3305381"/>
                  <a:pt x="5716313" y="3305381"/>
                  <a:pt x="5720181" y="3305381"/>
                </a:cubicBezTo>
                <a:cubicBezTo>
                  <a:pt x="5720181" y="3303448"/>
                  <a:pt x="5720181" y="3303448"/>
                  <a:pt x="5718246" y="3301513"/>
                </a:cubicBezTo>
                <a:close/>
                <a:moveTo>
                  <a:pt x="5954207" y="3299580"/>
                </a:moveTo>
                <a:cubicBezTo>
                  <a:pt x="5952272" y="3299580"/>
                  <a:pt x="5950339" y="3299580"/>
                  <a:pt x="5946470" y="3301513"/>
                </a:cubicBezTo>
                <a:cubicBezTo>
                  <a:pt x="5946470" y="3301513"/>
                  <a:pt x="5946470" y="3303448"/>
                  <a:pt x="5946470" y="3303448"/>
                </a:cubicBezTo>
                <a:cubicBezTo>
                  <a:pt x="5950339" y="3303448"/>
                  <a:pt x="5952272" y="3303448"/>
                  <a:pt x="5954207" y="3303448"/>
                </a:cubicBezTo>
                <a:cubicBezTo>
                  <a:pt x="5954207" y="3301513"/>
                  <a:pt x="5954207" y="3301513"/>
                  <a:pt x="5954207" y="3299580"/>
                </a:cubicBezTo>
                <a:close/>
                <a:moveTo>
                  <a:pt x="5830425" y="3295712"/>
                </a:moveTo>
                <a:cubicBezTo>
                  <a:pt x="5828490" y="3295712"/>
                  <a:pt x="5828490" y="3297645"/>
                  <a:pt x="5826557" y="3299580"/>
                </a:cubicBezTo>
                <a:cubicBezTo>
                  <a:pt x="5826557" y="3299580"/>
                  <a:pt x="5828490" y="3301513"/>
                  <a:pt x="5828490" y="3301513"/>
                </a:cubicBezTo>
                <a:cubicBezTo>
                  <a:pt x="5828490" y="3299580"/>
                  <a:pt x="5830425" y="3297645"/>
                  <a:pt x="5832358" y="3297645"/>
                </a:cubicBezTo>
                <a:cubicBezTo>
                  <a:pt x="5830425" y="3297645"/>
                  <a:pt x="5830425" y="3295712"/>
                  <a:pt x="5830425" y="3295712"/>
                </a:cubicBezTo>
                <a:close/>
                <a:moveTo>
                  <a:pt x="5911656" y="3266699"/>
                </a:moveTo>
                <a:cubicBezTo>
                  <a:pt x="5911656" y="3268634"/>
                  <a:pt x="5911656" y="3268634"/>
                  <a:pt x="5911656" y="3270570"/>
                </a:cubicBezTo>
                <a:cubicBezTo>
                  <a:pt x="5915524" y="3268634"/>
                  <a:pt x="5917460" y="3268634"/>
                  <a:pt x="5919393" y="3266699"/>
                </a:cubicBezTo>
                <a:cubicBezTo>
                  <a:pt x="5915524" y="3264766"/>
                  <a:pt x="5913591" y="3266699"/>
                  <a:pt x="5911656" y="3266699"/>
                </a:cubicBezTo>
                <a:close/>
                <a:moveTo>
                  <a:pt x="5822689" y="3266699"/>
                </a:moveTo>
                <a:cubicBezTo>
                  <a:pt x="5822689" y="3266699"/>
                  <a:pt x="5822689" y="3268634"/>
                  <a:pt x="5822689" y="3270570"/>
                </a:cubicBezTo>
                <a:cubicBezTo>
                  <a:pt x="5824622" y="3270570"/>
                  <a:pt x="5826557" y="3270570"/>
                  <a:pt x="5828490" y="3270570"/>
                </a:cubicBezTo>
                <a:cubicBezTo>
                  <a:pt x="5828490" y="3268634"/>
                  <a:pt x="5828490" y="3268634"/>
                  <a:pt x="5828490" y="3266699"/>
                </a:cubicBezTo>
                <a:cubicBezTo>
                  <a:pt x="5826557" y="3266699"/>
                  <a:pt x="5824622" y="3266699"/>
                  <a:pt x="5822689" y="3266699"/>
                </a:cubicBezTo>
                <a:close/>
                <a:moveTo>
                  <a:pt x="5843963" y="3255094"/>
                </a:moveTo>
                <a:cubicBezTo>
                  <a:pt x="5838159" y="3255094"/>
                  <a:pt x="5834293" y="3257029"/>
                  <a:pt x="5830425" y="3260898"/>
                </a:cubicBezTo>
                <a:cubicBezTo>
                  <a:pt x="5830425" y="3260898"/>
                  <a:pt x="5830425" y="3262831"/>
                  <a:pt x="5830425" y="3264766"/>
                </a:cubicBezTo>
                <a:cubicBezTo>
                  <a:pt x="5834293" y="3264766"/>
                  <a:pt x="5840095" y="3264766"/>
                  <a:pt x="5843963" y="3264766"/>
                </a:cubicBezTo>
                <a:cubicBezTo>
                  <a:pt x="5845898" y="3264766"/>
                  <a:pt x="5845898" y="3260898"/>
                  <a:pt x="5847831" y="3258965"/>
                </a:cubicBezTo>
                <a:cubicBezTo>
                  <a:pt x="5845898" y="3257029"/>
                  <a:pt x="5845898" y="3255094"/>
                  <a:pt x="5843963" y="3255094"/>
                </a:cubicBezTo>
                <a:close/>
                <a:moveTo>
                  <a:pt x="5780138" y="3255094"/>
                </a:moveTo>
                <a:cubicBezTo>
                  <a:pt x="5776270" y="3264766"/>
                  <a:pt x="5766600" y="3253161"/>
                  <a:pt x="5762732" y="3266699"/>
                </a:cubicBezTo>
                <a:cubicBezTo>
                  <a:pt x="5772401" y="3266699"/>
                  <a:pt x="5778203" y="3264766"/>
                  <a:pt x="5780138" y="3255094"/>
                </a:cubicBezTo>
                <a:close/>
                <a:moveTo>
                  <a:pt x="5896183" y="3251228"/>
                </a:moveTo>
                <a:cubicBezTo>
                  <a:pt x="5898118" y="3253161"/>
                  <a:pt x="5900051" y="3255094"/>
                  <a:pt x="5900051" y="3255094"/>
                </a:cubicBezTo>
                <a:cubicBezTo>
                  <a:pt x="5894250" y="3264766"/>
                  <a:pt x="5888447" y="3268634"/>
                  <a:pt x="5880710" y="3262831"/>
                </a:cubicBezTo>
                <a:cubicBezTo>
                  <a:pt x="5880710" y="3262831"/>
                  <a:pt x="5878777" y="3262831"/>
                  <a:pt x="5876842" y="3262831"/>
                </a:cubicBezTo>
                <a:cubicBezTo>
                  <a:pt x="5872976" y="3262831"/>
                  <a:pt x="5872976" y="3266699"/>
                  <a:pt x="5874909" y="3270570"/>
                </a:cubicBezTo>
                <a:cubicBezTo>
                  <a:pt x="5882645" y="3272503"/>
                  <a:pt x="5888447" y="3274436"/>
                  <a:pt x="5896183" y="3268634"/>
                </a:cubicBezTo>
                <a:cubicBezTo>
                  <a:pt x="5901987" y="3262831"/>
                  <a:pt x="5909723" y="3257029"/>
                  <a:pt x="5917460" y="3251228"/>
                </a:cubicBezTo>
                <a:cubicBezTo>
                  <a:pt x="5909723" y="3251228"/>
                  <a:pt x="5903920" y="3251228"/>
                  <a:pt x="5896183" y="3251228"/>
                </a:cubicBezTo>
                <a:close/>
                <a:moveTo>
                  <a:pt x="5930997" y="3249293"/>
                </a:moveTo>
                <a:lnTo>
                  <a:pt x="5926416" y="3253872"/>
                </a:lnTo>
                <a:lnTo>
                  <a:pt x="5927996" y="3249793"/>
                </a:lnTo>
                <a:close/>
                <a:moveTo>
                  <a:pt x="5778203" y="3243489"/>
                </a:moveTo>
                <a:cubicBezTo>
                  <a:pt x="5772401" y="3245425"/>
                  <a:pt x="5766600" y="3247360"/>
                  <a:pt x="5762732" y="3247360"/>
                </a:cubicBezTo>
                <a:cubicBezTo>
                  <a:pt x="5754993" y="3245425"/>
                  <a:pt x="5747259" y="3245425"/>
                  <a:pt x="5741455" y="3249293"/>
                </a:cubicBezTo>
                <a:cubicBezTo>
                  <a:pt x="5741455" y="3249293"/>
                  <a:pt x="5741455" y="3251228"/>
                  <a:pt x="5741455" y="3253161"/>
                </a:cubicBezTo>
                <a:cubicBezTo>
                  <a:pt x="5743391" y="3253161"/>
                  <a:pt x="5745324" y="3251228"/>
                  <a:pt x="5749192" y="3251228"/>
                </a:cubicBezTo>
                <a:cubicBezTo>
                  <a:pt x="5747259" y="3251228"/>
                  <a:pt x="5745324" y="3253161"/>
                  <a:pt x="5743391" y="3253161"/>
                </a:cubicBezTo>
                <a:cubicBezTo>
                  <a:pt x="5749192" y="3253161"/>
                  <a:pt x="5753060" y="3253161"/>
                  <a:pt x="5756928" y="3253161"/>
                </a:cubicBezTo>
                <a:cubicBezTo>
                  <a:pt x="5760797" y="3253161"/>
                  <a:pt x="5762732" y="3251228"/>
                  <a:pt x="5766600" y="3251228"/>
                </a:cubicBezTo>
                <a:cubicBezTo>
                  <a:pt x="5784006" y="3251228"/>
                  <a:pt x="5803347" y="3251228"/>
                  <a:pt x="5822689" y="3251228"/>
                </a:cubicBezTo>
                <a:cubicBezTo>
                  <a:pt x="5824622" y="3251228"/>
                  <a:pt x="5826557" y="3249293"/>
                  <a:pt x="5828490" y="3249293"/>
                </a:cubicBezTo>
                <a:cubicBezTo>
                  <a:pt x="5822689" y="3247360"/>
                  <a:pt x="5816885" y="3245425"/>
                  <a:pt x="5813017" y="3245425"/>
                </a:cubicBezTo>
                <a:cubicBezTo>
                  <a:pt x="5805280" y="3243489"/>
                  <a:pt x="5797544" y="3243489"/>
                  <a:pt x="5789807" y="3243489"/>
                </a:cubicBezTo>
                <a:cubicBezTo>
                  <a:pt x="5785941" y="3243489"/>
                  <a:pt x="5782073" y="3243489"/>
                  <a:pt x="5778203" y="3243489"/>
                </a:cubicBezTo>
                <a:close/>
                <a:moveTo>
                  <a:pt x="5768533" y="3231887"/>
                </a:moveTo>
                <a:cubicBezTo>
                  <a:pt x="5766600" y="3231887"/>
                  <a:pt x="5766600" y="3233820"/>
                  <a:pt x="5766600" y="3235755"/>
                </a:cubicBezTo>
                <a:cubicBezTo>
                  <a:pt x="5770466" y="3235755"/>
                  <a:pt x="5774334" y="3237688"/>
                  <a:pt x="5776270" y="3237688"/>
                </a:cubicBezTo>
                <a:cubicBezTo>
                  <a:pt x="5787874" y="3237688"/>
                  <a:pt x="5799479" y="3239623"/>
                  <a:pt x="5811084" y="3235755"/>
                </a:cubicBezTo>
                <a:cubicBezTo>
                  <a:pt x="5811084" y="3235755"/>
                  <a:pt x="5813017" y="3235755"/>
                  <a:pt x="5813017" y="3235755"/>
                </a:cubicBezTo>
                <a:cubicBezTo>
                  <a:pt x="5822689" y="3241556"/>
                  <a:pt x="5832358" y="3237688"/>
                  <a:pt x="5840095" y="3235755"/>
                </a:cubicBezTo>
                <a:cubicBezTo>
                  <a:pt x="5842028" y="3235755"/>
                  <a:pt x="5843963" y="3235755"/>
                  <a:pt x="5845898" y="3235755"/>
                </a:cubicBezTo>
                <a:cubicBezTo>
                  <a:pt x="5826557" y="3235755"/>
                  <a:pt x="5805280" y="3233820"/>
                  <a:pt x="5785941" y="3231887"/>
                </a:cubicBezTo>
                <a:cubicBezTo>
                  <a:pt x="5780138" y="3231887"/>
                  <a:pt x="5774334" y="3231887"/>
                  <a:pt x="5768533" y="3231887"/>
                </a:cubicBezTo>
                <a:close/>
                <a:moveTo>
                  <a:pt x="5861369" y="3164194"/>
                </a:moveTo>
                <a:cubicBezTo>
                  <a:pt x="5861369" y="3164194"/>
                  <a:pt x="5863304" y="3164194"/>
                  <a:pt x="5863304" y="3164194"/>
                </a:cubicBezTo>
                <a:cubicBezTo>
                  <a:pt x="5863304" y="3166127"/>
                  <a:pt x="5863304" y="3166127"/>
                  <a:pt x="5863304" y="3168060"/>
                </a:cubicBezTo>
                <a:cubicBezTo>
                  <a:pt x="5863304" y="3166127"/>
                  <a:pt x="5861369" y="3166127"/>
                  <a:pt x="5861369" y="3164194"/>
                </a:cubicBezTo>
                <a:close/>
                <a:moveTo>
                  <a:pt x="5664090" y="3150654"/>
                </a:moveTo>
                <a:cubicBezTo>
                  <a:pt x="5660224" y="3152589"/>
                  <a:pt x="5662157" y="3156455"/>
                  <a:pt x="5662157" y="3158390"/>
                </a:cubicBezTo>
                <a:cubicBezTo>
                  <a:pt x="5664090" y="3156455"/>
                  <a:pt x="5666026" y="3154522"/>
                  <a:pt x="5664090" y="3150654"/>
                </a:cubicBezTo>
                <a:close/>
                <a:moveTo>
                  <a:pt x="5567386" y="3111971"/>
                </a:moveTo>
                <a:cubicBezTo>
                  <a:pt x="5567386" y="3111971"/>
                  <a:pt x="5569322" y="3113907"/>
                  <a:pt x="5569322" y="3113907"/>
                </a:cubicBezTo>
                <a:cubicBezTo>
                  <a:pt x="5573190" y="3115839"/>
                  <a:pt x="5577056" y="3115839"/>
                  <a:pt x="5580924" y="3115839"/>
                </a:cubicBezTo>
                <a:cubicBezTo>
                  <a:pt x="5582859" y="3115839"/>
                  <a:pt x="5584795" y="3115839"/>
                  <a:pt x="5586728" y="3113907"/>
                </a:cubicBezTo>
                <a:cubicBezTo>
                  <a:pt x="5580924" y="3111971"/>
                  <a:pt x="5575123" y="3111971"/>
                  <a:pt x="5567386" y="3111971"/>
                </a:cubicBezTo>
                <a:close/>
                <a:moveTo>
                  <a:pt x="5370108" y="3071355"/>
                </a:moveTo>
                <a:cubicBezTo>
                  <a:pt x="5368175" y="3071355"/>
                  <a:pt x="5366239" y="3073291"/>
                  <a:pt x="5364306" y="3075224"/>
                </a:cubicBezTo>
                <a:cubicBezTo>
                  <a:pt x="5364306" y="3075224"/>
                  <a:pt x="5364306" y="3077159"/>
                  <a:pt x="5364306" y="3077159"/>
                </a:cubicBezTo>
                <a:cubicBezTo>
                  <a:pt x="5372043" y="3075224"/>
                  <a:pt x="5379779" y="3075224"/>
                  <a:pt x="5387514" y="3073291"/>
                </a:cubicBezTo>
                <a:cubicBezTo>
                  <a:pt x="5381712" y="3073291"/>
                  <a:pt x="5375911" y="3071355"/>
                  <a:pt x="5370108" y="3071355"/>
                </a:cubicBezTo>
                <a:close/>
                <a:moveTo>
                  <a:pt x="5416527" y="3063619"/>
                </a:moveTo>
                <a:cubicBezTo>
                  <a:pt x="5412658" y="3065555"/>
                  <a:pt x="5406855" y="3067487"/>
                  <a:pt x="5402987" y="3071355"/>
                </a:cubicBezTo>
                <a:cubicBezTo>
                  <a:pt x="5402987" y="3071355"/>
                  <a:pt x="5402987" y="3073291"/>
                  <a:pt x="5402987" y="3073291"/>
                </a:cubicBezTo>
                <a:cubicBezTo>
                  <a:pt x="5414594" y="3073291"/>
                  <a:pt x="5416527" y="3071355"/>
                  <a:pt x="5416527" y="3063619"/>
                </a:cubicBezTo>
                <a:close/>
                <a:moveTo>
                  <a:pt x="5470680" y="3059751"/>
                </a:moveTo>
                <a:cubicBezTo>
                  <a:pt x="5466814" y="3061686"/>
                  <a:pt x="5462946" y="3061686"/>
                  <a:pt x="5459078" y="3065555"/>
                </a:cubicBezTo>
                <a:cubicBezTo>
                  <a:pt x="5462946" y="3065555"/>
                  <a:pt x="5464879" y="3065555"/>
                  <a:pt x="5468747" y="3065555"/>
                </a:cubicBezTo>
                <a:cubicBezTo>
                  <a:pt x="5468747" y="3065555"/>
                  <a:pt x="5470680" y="3063619"/>
                  <a:pt x="5470680" y="3059751"/>
                </a:cubicBezTo>
                <a:close/>
                <a:moveTo>
                  <a:pt x="5556265" y="3057817"/>
                </a:moveTo>
                <a:cubicBezTo>
                  <a:pt x="5554815" y="3058301"/>
                  <a:pt x="5553849" y="3059751"/>
                  <a:pt x="5553849" y="3063619"/>
                </a:cubicBezTo>
                <a:cubicBezTo>
                  <a:pt x="5555781" y="3063619"/>
                  <a:pt x="5557714" y="3063619"/>
                  <a:pt x="5557714" y="3063619"/>
                </a:cubicBezTo>
                <a:cubicBezTo>
                  <a:pt x="5559650" y="3061686"/>
                  <a:pt x="5559650" y="3061686"/>
                  <a:pt x="5561585" y="3061686"/>
                </a:cubicBezTo>
                <a:cubicBezTo>
                  <a:pt x="5561585" y="3059751"/>
                  <a:pt x="5561585" y="3059751"/>
                  <a:pt x="5561585" y="3057818"/>
                </a:cubicBezTo>
                <a:cubicBezTo>
                  <a:pt x="5559650" y="3057818"/>
                  <a:pt x="5557716" y="3057334"/>
                  <a:pt x="5556265" y="3057817"/>
                </a:cubicBezTo>
                <a:close/>
                <a:moveTo>
                  <a:pt x="5681499" y="2937902"/>
                </a:moveTo>
                <a:cubicBezTo>
                  <a:pt x="5681499" y="2937902"/>
                  <a:pt x="5683432" y="2937902"/>
                  <a:pt x="5685367" y="2937902"/>
                </a:cubicBezTo>
                <a:cubicBezTo>
                  <a:pt x="5685367" y="2945639"/>
                  <a:pt x="5683432" y="2941770"/>
                  <a:pt x="5681499" y="2941770"/>
                </a:cubicBezTo>
                <a:cubicBezTo>
                  <a:pt x="5681499" y="2939837"/>
                  <a:pt x="5681499" y="2939837"/>
                  <a:pt x="5681499" y="2937902"/>
                </a:cubicBezTo>
                <a:close/>
                <a:moveTo>
                  <a:pt x="128691" y="2382815"/>
                </a:moveTo>
                <a:cubicBezTo>
                  <a:pt x="122890" y="2386684"/>
                  <a:pt x="119019" y="2390552"/>
                  <a:pt x="113218" y="2396353"/>
                </a:cubicBezTo>
                <a:cubicBezTo>
                  <a:pt x="115154" y="2392485"/>
                  <a:pt x="119019" y="2390552"/>
                  <a:pt x="122890" y="2388616"/>
                </a:cubicBezTo>
                <a:cubicBezTo>
                  <a:pt x="122890" y="2388616"/>
                  <a:pt x="122890" y="2390552"/>
                  <a:pt x="122890" y="2390552"/>
                </a:cubicBezTo>
                <a:cubicBezTo>
                  <a:pt x="124823" y="2386684"/>
                  <a:pt x="126756" y="2384748"/>
                  <a:pt x="128691" y="2382815"/>
                </a:cubicBezTo>
                <a:close/>
                <a:moveTo>
                  <a:pt x="5683432" y="1839331"/>
                </a:moveTo>
                <a:cubicBezTo>
                  <a:pt x="5685367" y="1839331"/>
                  <a:pt x="5685367" y="1841267"/>
                  <a:pt x="5685367" y="1841267"/>
                </a:cubicBezTo>
                <a:cubicBezTo>
                  <a:pt x="5683432" y="1843200"/>
                  <a:pt x="5681499" y="1843200"/>
                  <a:pt x="5679566" y="1845135"/>
                </a:cubicBezTo>
                <a:cubicBezTo>
                  <a:pt x="5677630" y="1845135"/>
                  <a:pt x="5677630" y="1843200"/>
                  <a:pt x="5677630" y="1843200"/>
                </a:cubicBezTo>
                <a:cubicBezTo>
                  <a:pt x="5679566" y="1841267"/>
                  <a:pt x="5681499" y="1841267"/>
                  <a:pt x="5683432" y="1839331"/>
                </a:cubicBezTo>
                <a:close/>
                <a:moveTo>
                  <a:pt x="5644749" y="1810321"/>
                </a:moveTo>
                <a:cubicBezTo>
                  <a:pt x="5648620" y="1819992"/>
                  <a:pt x="5648620" y="1819992"/>
                  <a:pt x="5638948" y="1823858"/>
                </a:cubicBezTo>
                <a:lnTo>
                  <a:pt x="5632854" y="1825383"/>
                </a:lnTo>
                <a:lnTo>
                  <a:pt x="5631521" y="1814730"/>
                </a:lnTo>
                <a:close/>
                <a:moveTo>
                  <a:pt x="5584795" y="1796783"/>
                </a:moveTo>
                <a:cubicBezTo>
                  <a:pt x="5584795" y="1796783"/>
                  <a:pt x="5582859" y="1798716"/>
                  <a:pt x="5582859" y="1798716"/>
                </a:cubicBezTo>
                <a:cubicBezTo>
                  <a:pt x="5582859" y="1800651"/>
                  <a:pt x="5584795" y="1800651"/>
                  <a:pt x="5586728" y="1800651"/>
                </a:cubicBezTo>
                <a:cubicBezTo>
                  <a:pt x="5586728" y="1800651"/>
                  <a:pt x="5584795" y="1798716"/>
                  <a:pt x="5584795" y="1796783"/>
                </a:cubicBezTo>
                <a:close/>
                <a:moveTo>
                  <a:pt x="5663912" y="1792035"/>
                </a:moveTo>
                <a:lnTo>
                  <a:pt x="5659256" y="1799925"/>
                </a:lnTo>
                <a:cubicBezTo>
                  <a:pt x="5655871" y="1804034"/>
                  <a:pt x="5651519" y="1807419"/>
                  <a:pt x="5644749" y="1810321"/>
                </a:cubicBezTo>
                <a:cubicBezTo>
                  <a:pt x="5646684" y="1806452"/>
                  <a:pt x="5650553" y="1800651"/>
                  <a:pt x="5652488" y="1796783"/>
                </a:cubicBezTo>
                <a:lnTo>
                  <a:pt x="5653777" y="1795492"/>
                </a:lnTo>
                <a:lnTo>
                  <a:pt x="5656356" y="1800651"/>
                </a:lnTo>
                <a:cubicBezTo>
                  <a:pt x="5658289" y="1798716"/>
                  <a:pt x="5660224" y="1796783"/>
                  <a:pt x="5662157" y="1794848"/>
                </a:cubicBezTo>
                <a:cubicBezTo>
                  <a:pt x="5662157" y="1794848"/>
                  <a:pt x="5662157" y="1792912"/>
                  <a:pt x="5662157" y="1792912"/>
                </a:cubicBezTo>
                <a:close/>
                <a:moveTo>
                  <a:pt x="5667959" y="1785178"/>
                </a:moveTo>
                <a:lnTo>
                  <a:pt x="5673762" y="1785178"/>
                </a:lnTo>
                <a:cubicBezTo>
                  <a:pt x="5673762" y="1785178"/>
                  <a:pt x="5673762" y="1787111"/>
                  <a:pt x="5673762" y="1787111"/>
                </a:cubicBezTo>
                <a:lnTo>
                  <a:pt x="5663912" y="1792035"/>
                </a:lnTo>
                <a:close/>
                <a:moveTo>
                  <a:pt x="5638948" y="1783243"/>
                </a:moveTo>
                <a:cubicBezTo>
                  <a:pt x="5635080" y="1781310"/>
                  <a:pt x="5633147" y="1783243"/>
                  <a:pt x="5631211" y="1785178"/>
                </a:cubicBezTo>
                <a:cubicBezTo>
                  <a:pt x="5633147" y="1785178"/>
                  <a:pt x="5633147" y="1787111"/>
                  <a:pt x="5633147" y="1787111"/>
                </a:cubicBezTo>
                <a:cubicBezTo>
                  <a:pt x="5629278" y="1789046"/>
                  <a:pt x="5625410" y="1792912"/>
                  <a:pt x="5621542" y="1794848"/>
                </a:cubicBezTo>
                <a:cubicBezTo>
                  <a:pt x="5615738" y="1798716"/>
                  <a:pt x="5608002" y="1802584"/>
                  <a:pt x="5602201" y="1808388"/>
                </a:cubicBezTo>
                <a:cubicBezTo>
                  <a:pt x="5602201" y="1808388"/>
                  <a:pt x="5600265" y="1810321"/>
                  <a:pt x="5600265" y="1810321"/>
                </a:cubicBezTo>
                <a:cubicBezTo>
                  <a:pt x="5602201" y="1812254"/>
                  <a:pt x="5602201" y="1812254"/>
                  <a:pt x="5604133" y="1812254"/>
                </a:cubicBezTo>
                <a:cubicBezTo>
                  <a:pt x="5609937" y="1806452"/>
                  <a:pt x="5617674" y="1804517"/>
                  <a:pt x="5621542" y="1796783"/>
                </a:cubicBezTo>
                <a:cubicBezTo>
                  <a:pt x="5623475" y="1798716"/>
                  <a:pt x="5623475" y="1800651"/>
                  <a:pt x="5625410" y="1802584"/>
                </a:cubicBezTo>
                <a:cubicBezTo>
                  <a:pt x="5627343" y="1802584"/>
                  <a:pt x="5629278" y="1800651"/>
                  <a:pt x="5633147" y="1800651"/>
                </a:cubicBezTo>
                <a:cubicBezTo>
                  <a:pt x="5633147" y="1798716"/>
                  <a:pt x="5633147" y="1794848"/>
                  <a:pt x="5635080" y="1790979"/>
                </a:cubicBezTo>
                <a:cubicBezTo>
                  <a:pt x="5637015" y="1789046"/>
                  <a:pt x="5637015" y="1785178"/>
                  <a:pt x="5638948" y="1783243"/>
                </a:cubicBezTo>
                <a:close/>
                <a:moveTo>
                  <a:pt x="5646684" y="1761969"/>
                </a:moveTo>
                <a:cubicBezTo>
                  <a:pt x="5646684" y="1761969"/>
                  <a:pt x="5646684" y="1763902"/>
                  <a:pt x="5646684" y="1763902"/>
                </a:cubicBezTo>
                <a:cubicBezTo>
                  <a:pt x="5650553" y="1763902"/>
                  <a:pt x="5652488" y="1763902"/>
                  <a:pt x="5652488" y="1761969"/>
                </a:cubicBezTo>
                <a:cubicBezTo>
                  <a:pt x="5650553" y="1761969"/>
                  <a:pt x="5648620" y="1761969"/>
                  <a:pt x="5646684" y="1761969"/>
                </a:cubicBezTo>
                <a:close/>
                <a:moveTo>
                  <a:pt x="5573190" y="1742627"/>
                </a:moveTo>
                <a:cubicBezTo>
                  <a:pt x="5563518" y="1738759"/>
                  <a:pt x="5559650" y="1746496"/>
                  <a:pt x="5551913" y="1748429"/>
                </a:cubicBezTo>
                <a:cubicBezTo>
                  <a:pt x="5551913" y="1748429"/>
                  <a:pt x="5551913" y="1750364"/>
                  <a:pt x="5551913" y="1752297"/>
                </a:cubicBezTo>
                <a:cubicBezTo>
                  <a:pt x="5561585" y="1754232"/>
                  <a:pt x="5567386" y="1750364"/>
                  <a:pt x="5573190" y="1742627"/>
                </a:cubicBezTo>
                <a:close/>
                <a:moveTo>
                  <a:pt x="5524838" y="1742627"/>
                </a:moveTo>
                <a:cubicBezTo>
                  <a:pt x="5522903" y="1744560"/>
                  <a:pt x="5522903" y="1744560"/>
                  <a:pt x="5522903" y="1744560"/>
                </a:cubicBezTo>
                <a:cubicBezTo>
                  <a:pt x="5522903" y="1744560"/>
                  <a:pt x="5522903" y="1744560"/>
                  <a:pt x="5524838" y="1744560"/>
                </a:cubicBezTo>
                <a:cubicBezTo>
                  <a:pt x="5524838" y="1744560"/>
                  <a:pt x="5522903" y="1742627"/>
                  <a:pt x="5524838" y="1742627"/>
                </a:cubicBezTo>
                <a:close/>
                <a:moveTo>
                  <a:pt x="5731784" y="1711681"/>
                </a:moveTo>
                <a:cubicBezTo>
                  <a:pt x="5731784" y="1711681"/>
                  <a:pt x="5733719" y="1713616"/>
                  <a:pt x="5733719" y="1713616"/>
                </a:cubicBezTo>
                <a:cubicBezTo>
                  <a:pt x="5729851" y="1717482"/>
                  <a:pt x="5727918" y="1719418"/>
                  <a:pt x="5725982" y="1721353"/>
                </a:cubicBezTo>
                <a:cubicBezTo>
                  <a:pt x="5725982" y="1719418"/>
                  <a:pt x="5724049" y="1719418"/>
                  <a:pt x="5724049" y="1717482"/>
                </a:cubicBezTo>
                <a:cubicBezTo>
                  <a:pt x="5725982" y="1715549"/>
                  <a:pt x="5729851" y="1713616"/>
                  <a:pt x="5731784" y="1711681"/>
                </a:cubicBezTo>
                <a:close/>
                <a:moveTo>
                  <a:pt x="5588663" y="1698144"/>
                </a:moveTo>
                <a:cubicBezTo>
                  <a:pt x="5578991" y="1703945"/>
                  <a:pt x="5567386" y="1709748"/>
                  <a:pt x="5557714" y="1715549"/>
                </a:cubicBezTo>
                <a:cubicBezTo>
                  <a:pt x="5557714" y="1717482"/>
                  <a:pt x="5555781" y="1721353"/>
                  <a:pt x="5553849" y="1723286"/>
                </a:cubicBezTo>
                <a:cubicBezTo>
                  <a:pt x="5553849" y="1725219"/>
                  <a:pt x="5553849" y="1727154"/>
                  <a:pt x="5555781" y="1729087"/>
                </a:cubicBezTo>
                <a:cubicBezTo>
                  <a:pt x="5555781" y="1727154"/>
                  <a:pt x="5557714" y="1725219"/>
                  <a:pt x="5557714" y="1723286"/>
                </a:cubicBezTo>
                <a:cubicBezTo>
                  <a:pt x="5559650" y="1723286"/>
                  <a:pt x="5561585" y="1725219"/>
                  <a:pt x="5563518" y="1725219"/>
                </a:cubicBezTo>
                <a:cubicBezTo>
                  <a:pt x="5565453" y="1723286"/>
                  <a:pt x="5565453" y="1721353"/>
                  <a:pt x="5567386" y="1719418"/>
                </a:cubicBezTo>
                <a:cubicBezTo>
                  <a:pt x="5571255" y="1719418"/>
                  <a:pt x="5573190" y="1721353"/>
                  <a:pt x="5577056" y="1721353"/>
                </a:cubicBezTo>
                <a:cubicBezTo>
                  <a:pt x="5578991" y="1719418"/>
                  <a:pt x="5580924" y="1717482"/>
                  <a:pt x="5582859" y="1713616"/>
                </a:cubicBezTo>
                <a:cubicBezTo>
                  <a:pt x="5582859" y="1719418"/>
                  <a:pt x="5580924" y="1721353"/>
                  <a:pt x="5578991" y="1723286"/>
                </a:cubicBezTo>
                <a:cubicBezTo>
                  <a:pt x="5580924" y="1725219"/>
                  <a:pt x="5584795" y="1727154"/>
                  <a:pt x="5586728" y="1729087"/>
                </a:cubicBezTo>
                <a:cubicBezTo>
                  <a:pt x="5582859" y="1732958"/>
                  <a:pt x="5578991" y="1736824"/>
                  <a:pt x="5575123" y="1740692"/>
                </a:cubicBezTo>
                <a:cubicBezTo>
                  <a:pt x="5578991" y="1740692"/>
                  <a:pt x="5584795" y="1740692"/>
                  <a:pt x="5590596" y="1740692"/>
                </a:cubicBezTo>
                <a:cubicBezTo>
                  <a:pt x="5578991" y="1744560"/>
                  <a:pt x="5569322" y="1752297"/>
                  <a:pt x="5563518" y="1763902"/>
                </a:cubicBezTo>
                <a:cubicBezTo>
                  <a:pt x="5567386" y="1767770"/>
                  <a:pt x="5569322" y="1769705"/>
                  <a:pt x="5571255" y="1773573"/>
                </a:cubicBezTo>
                <a:cubicBezTo>
                  <a:pt x="5573190" y="1771638"/>
                  <a:pt x="5575123" y="1769705"/>
                  <a:pt x="5577056" y="1767770"/>
                </a:cubicBezTo>
                <a:cubicBezTo>
                  <a:pt x="5578991" y="1773573"/>
                  <a:pt x="5577056" y="1777442"/>
                  <a:pt x="5575123" y="1779374"/>
                </a:cubicBezTo>
                <a:cubicBezTo>
                  <a:pt x="5575123" y="1781310"/>
                  <a:pt x="5577056" y="1783243"/>
                  <a:pt x="5577056" y="1785178"/>
                </a:cubicBezTo>
                <a:cubicBezTo>
                  <a:pt x="5580924" y="1783243"/>
                  <a:pt x="5582859" y="1781310"/>
                  <a:pt x="5584795" y="1777442"/>
                </a:cubicBezTo>
                <a:cubicBezTo>
                  <a:pt x="5586728" y="1773573"/>
                  <a:pt x="5592531" y="1769705"/>
                  <a:pt x="5598332" y="1765837"/>
                </a:cubicBezTo>
                <a:cubicBezTo>
                  <a:pt x="5594464" y="1763902"/>
                  <a:pt x="5592531" y="1763902"/>
                  <a:pt x="5592531" y="1760033"/>
                </a:cubicBezTo>
                <a:cubicBezTo>
                  <a:pt x="5596397" y="1754232"/>
                  <a:pt x="5600265" y="1748429"/>
                  <a:pt x="5604133" y="1742627"/>
                </a:cubicBezTo>
                <a:cubicBezTo>
                  <a:pt x="5609937" y="1744560"/>
                  <a:pt x="5613805" y="1740692"/>
                  <a:pt x="5617674" y="1736824"/>
                </a:cubicBezTo>
                <a:cubicBezTo>
                  <a:pt x="5609937" y="1736824"/>
                  <a:pt x="5602201" y="1736824"/>
                  <a:pt x="5594464" y="1738759"/>
                </a:cubicBezTo>
                <a:cubicBezTo>
                  <a:pt x="5596397" y="1732958"/>
                  <a:pt x="5596397" y="1727154"/>
                  <a:pt x="5598332" y="1721353"/>
                </a:cubicBezTo>
                <a:cubicBezTo>
                  <a:pt x="5594464" y="1719418"/>
                  <a:pt x="5592531" y="1717482"/>
                  <a:pt x="5590596" y="1715549"/>
                </a:cubicBezTo>
                <a:cubicBezTo>
                  <a:pt x="5588663" y="1713616"/>
                  <a:pt x="5586728" y="1709748"/>
                  <a:pt x="5588663" y="1707813"/>
                </a:cubicBezTo>
                <a:cubicBezTo>
                  <a:pt x="5590596" y="1703945"/>
                  <a:pt x="5590596" y="1702012"/>
                  <a:pt x="5588663" y="1698144"/>
                </a:cubicBezTo>
                <a:close/>
                <a:moveTo>
                  <a:pt x="5684596" y="1686440"/>
                </a:moveTo>
                <a:lnTo>
                  <a:pt x="5679566" y="1702012"/>
                </a:lnTo>
                <a:cubicBezTo>
                  <a:pt x="5679566" y="1711681"/>
                  <a:pt x="5671829" y="1713616"/>
                  <a:pt x="5662157" y="1719418"/>
                </a:cubicBezTo>
                <a:cubicBezTo>
                  <a:pt x="5664090" y="1715549"/>
                  <a:pt x="5664090" y="1715549"/>
                  <a:pt x="5664090" y="1713616"/>
                </a:cubicBezTo>
                <a:cubicBezTo>
                  <a:pt x="5664090" y="1713616"/>
                  <a:pt x="5664090" y="1711681"/>
                  <a:pt x="5664090" y="1711681"/>
                </a:cubicBezTo>
                <a:cubicBezTo>
                  <a:pt x="5664090" y="1711681"/>
                  <a:pt x="5662157" y="1711681"/>
                  <a:pt x="5662157" y="1709748"/>
                </a:cubicBezTo>
                <a:lnTo>
                  <a:pt x="5661103" y="1711066"/>
                </a:lnTo>
                <a:lnTo>
                  <a:pt x="5667959" y="1696208"/>
                </a:lnTo>
                <a:cubicBezTo>
                  <a:pt x="5669894" y="1696208"/>
                  <a:pt x="5671829" y="1696208"/>
                  <a:pt x="5673762" y="1698144"/>
                </a:cubicBezTo>
                <a:cubicBezTo>
                  <a:pt x="5674730" y="1693308"/>
                  <a:pt x="5678114" y="1690890"/>
                  <a:pt x="5681499" y="1688956"/>
                </a:cubicBezTo>
                <a:close/>
                <a:moveTo>
                  <a:pt x="5747259" y="1680735"/>
                </a:moveTo>
                <a:lnTo>
                  <a:pt x="5740888" y="1691885"/>
                </a:lnTo>
                <a:lnTo>
                  <a:pt x="5739522" y="1692340"/>
                </a:lnTo>
                <a:lnTo>
                  <a:pt x="5734407" y="1687225"/>
                </a:lnTo>
                <a:lnTo>
                  <a:pt x="5736620" y="1682911"/>
                </a:lnTo>
                <a:cubicBezTo>
                  <a:pt x="5739038" y="1680736"/>
                  <a:pt x="5742423" y="1679769"/>
                  <a:pt x="5747259" y="1680735"/>
                </a:cubicBezTo>
                <a:close/>
                <a:moveTo>
                  <a:pt x="5739522" y="1620778"/>
                </a:moveTo>
                <a:cubicBezTo>
                  <a:pt x="5749192" y="1622714"/>
                  <a:pt x="5743391" y="1628515"/>
                  <a:pt x="5743391" y="1632383"/>
                </a:cubicBezTo>
                <a:lnTo>
                  <a:pt x="5748547" y="1632383"/>
                </a:lnTo>
                <a:lnTo>
                  <a:pt x="5741455" y="1640120"/>
                </a:lnTo>
                <a:cubicBezTo>
                  <a:pt x="5745324" y="1642053"/>
                  <a:pt x="5747259" y="1642053"/>
                  <a:pt x="5747259" y="1642053"/>
                </a:cubicBezTo>
                <a:cubicBezTo>
                  <a:pt x="5745324" y="1651724"/>
                  <a:pt x="5743391" y="1661394"/>
                  <a:pt x="5741455" y="1671066"/>
                </a:cubicBezTo>
                <a:cubicBezTo>
                  <a:pt x="5737587" y="1672999"/>
                  <a:pt x="5733719" y="1674934"/>
                  <a:pt x="5731784" y="1678802"/>
                </a:cubicBezTo>
                <a:cubicBezTo>
                  <a:pt x="5730817" y="1681703"/>
                  <a:pt x="5731785" y="1684120"/>
                  <a:pt x="5733478" y="1686296"/>
                </a:cubicBezTo>
                <a:lnTo>
                  <a:pt x="5734407" y="1687225"/>
                </a:lnTo>
                <a:lnTo>
                  <a:pt x="5731784" y="1692340"/>
                </a:lnTo>
                <a:cubicBezTo>
                  <a:pt x="5735654" y="1692340"/>
                  <a:pt x="5737587" y="1694275"/>
                  <a:pt x="5739522" y="1694275"/>
                </a:cubicBezTo>
                <a:lnTo>
                  <a:pt x="5740888" y="1691885"/>
                </a:lnTo>
                <a:lnTo>
                  <a:pt x="5756928" y="1686539"/>
                </a:lnTo>
                <a:cubicBezTo>
                  <a:pt x="5756928" y="1690407"/>
                  <a:pt x="5756928" y="1690407"/>
                  <a:pt x="5756928" y="1692340"/>
                </a:cubicBezTo>
                <a:cubicBezTo>
                  <a:pt x="5753060" y="1698144"/>
                  <a:pt x="5735654" y="1707813"/>
                  <a:pt x="5725982" y="1709748"/>
                </a:cubicBezTo>
                <a:cubicBezTo>
                  <a:pt x="5724049" y="1711681"/>
                  <a:pt x="5722114" y="1711681"/>
                  <a:pt x="5720181" y="1713616"/>
                </a:cubicBezTo>
                <a:cubicBezTo>
                  <a:pt x="5714378" y="1715549"/>
                  <a:pt x="5710509" y="1717482"/>
                  <a:pt x="5704708" y="1721353"/>
                </a:cubicBezTo>
                <a:cubicBezTo>
                  <a:pt x="5704708" y="1711681"/>
                  <a:pt x="5706641" y="1702012"/>
                  <a:pt x="5706641" y="1692340"/>
                </a:cubicBezTo>
                <a:cubicBezTo>
                  <a:pt x="5706641" y="1690407"/>
                  <a:pt x="5708576" y="1690407"/>
                  <a:pt x="5710509" y="1688472"/>
                </a:cubicBezTo>
                <a:cubicBezTo>
                  <a:pt x="5710509" y="1688472"/>
                  <a:pt x="5710509" y="1686539"/>
                  <a:pt x="5710509" y="1684603"/>
                </a:cubicBezTo>
                <a:cubicBezTo>
                  <a:pt x="5704708" y="1684603"/>
                  <a:pt x="5696972" y="1682670"/>
                  <a:pt x="5689235" y="1682670"/>
                </a:cubicBezTo>
                <a:lnTo>
                  <a:pt x="5684596" y="1686440"/>
                </a:lnTo>
                <a:lnTo>
                  <a:pt x="5684642" y="1686297"/>
                </a:lnTo>
                <a:cubicBezTo>
                  <a:pt x="5688268" y="1682187"/>
                  <a:pt x="5693103" y="1678802"/>
                  <a:pt x="5696972" y="1674934"/>
                </a:cubicBezTo>
                <a:cubicBezTo>
                  <a:pt x="5696972" y="1674934"/>
                  <a:pt x="5698907" y="1674934"/>
                  <a:pt x="5698907" y="1674934"/>
                </a:cubicBezTo>
                <a:cubicBezTo>
                  <a:pt x="5708576" y="1661394"/>
                  <a:pt x="5720181" y="1649789"/>
                  <a:pt x="5729851" y="1636251"/>
                </a:cubicBezTo>
                <a:cubicBezTo>
                  <a:pt x="5733719" y="1630448"/>
                  <a:pt x="5735654" y="1626582"/>
                  <a:pt x="5739522" y="1620778"/>
                </a:cubicBezTo>
                <a:close/>
                <a:moveTo>
                  <a:pt x="5784006" y="1613042"/>
                </a:moveTo>
                <a:lnTo>
                  <a:pt x="5790991" y="1616035"/>
                </a:lnTo>
                <a:lnTo>
                  <a:pt x="5789807" y="1616910"/>
                </a:lnTo>
                <a:cubicBezTo>
                  <a:pt x="5782073" y="1622714"/>
                  <a:pt x="5774334" y="1628515"/>
                  <a:pt x="5766600" y="1632383"/>
                </a:cubicBezTo>
                <a:lnTo>
                  <a:pt x="5761693" y="1631401"/>
                </a:lnTo>
                <a:lnTo>
                  <a:pt x="5770951" y="1621262"/>
                </a:lnTo>
                <a:cubicBezTo>
                  <a:pt x="5775303" y="1618360"/>
                  <a:pt x="5780138" y="1615942"/>
                  <a:pt x="5784006" y="1613042"/>
                </a:cubicBezTo>
                <a:close/>
                <a:moveTo>
                  <a:pt x="5770466" y="1603834"/>
                </a:moveTo>
                <a:lnTo>
                  <a:pt x="5770466" y="1618843"/>
                </a:lnTo>
                <a:cubicBezTo>
                  <a:pt x="5768533" y="1624647"/>
                  <a:pt x="5760797" y="1626582"/>
                  <a:pt x="5756928" y="1630448"/>
                </a:cubicBezTo>
                <a:lnTo>
                  <a:pt x="5761693" y="1631401"/>
                </a:lnTo>
                <a:lnTo>
                  <a:pt x="5760797" y="1632383"/>
                </a:lnTo>
                <a:lnTo>
                  <a:pt x="5748547" y="1632383"/>
                </a:lnTo>
                <a:lnTo>
                  <a:pt x="5762732" y="1616910"/>
                </a:lnTo>
                <a:cubicBezTo>
                  <a:pt x="5762732" y="1614977"/>
                  <a:pt x="5762732" y="1614977"/>
                  <a:pt x="5762732" y="1613042"/>
                </a:cubicBezTo>
                <a:cubicBezTo>
                  <a:pt x="5760797" y="1614977"/>
                  <a:pt x="5756928" y="1614977"/>
                  <a:pt x="5754993" y="1616910"/>
                </a:cubicBezTo>
                <a:cubicBezTo>
                  <a:pt x="5754993" y="1614977"/>
                  <a:pt x="5754993" y="1614977"/>
                  <a:pt x="5754993" y="1613042"/>
                </a:cubicBezTo>
                <a:lnTo>
                  <a:pt x="5757403" y="1610934"/>
                </a:lnTo>
                <a:close/>
                <a:moveTo>
                  <a:pt x="5814235" y="1598856"/>
                </a:moveTo>
                <a:lnTo>
                  <a:pt x="5824622" y="1603372"/>
                </a:lnTo>
                <a:cubicBezTo>
                  <a:pt x="5811084" y="1607241"/>
                  <a:pt x="5803347" y="1614977"/>
                  <a:pt x="5797544" y="1618843"/>
                </a:cubicBezTo>
                <a:lnTo>
                  <a:pt x="5790991" y="1616035"/>
                </a:lnTo>
                <a:close/>
                <a:moveTo>
                  <a:pt x="5834293" y="1584031"/>
                </a:moveTo>
                <a:cubicBezTo>
                  <a:pt x="5834293" y="1584031"/>
                  <a:pt x="5834293" y="1585964"/>
                  <a:pt x="5834293" y="1585964"/>
                </a:cubicBezTo>
                <a:lnTo>
                  <a:pt x="5831678" y="1585964"/>
                </a:lnTo>
                <a:close/>
                <a:moveTo>
                  <a:pt x="5846918" y="1573903"/>
                </a:moveTo>
                <a:lnTo>
                  <a:pt x="5847831" y="1574359"/>
                </a:lnTo>
                <a:cubicBezTo>
                  <a:pt x="5845898" y="1576295"/>
                  <a:pt x="5843963" y="1578227"/>
                  <a:pt x="5842028" y="1580163"/>
                </a:cubicBezTo>
                <a:lnTo>
                  <a:pt x="5840732" y="1578866"/>
                </a:lnTo>
                <a:close/>
                <a:moveTo>
                  <a:pt x="5818820" y="1572426"/>
                </a:moveTo>
                <a:cubicBezTo>
                  <a:pt x="5814952" y="1576295"/>
                  <a:pt x="5811084" y="1578227"/>
                  <a:pt x="5807216" y="1578227"/>
                </a:cubicBezTo>
                <a:cubicBezTo>
                  <a:pt x="5809149" y="1580163"/>
                  <a:pt x="5809149" y="1582096"/>
                  <a:pt x="5809149" y="1585964"/>
                </a:cubicBezTo>
                <a:cubicBezTo>
                  <a:pt x="5813017" y="1582096"/>
                  <a:pt x="5816885" y="1576295"/>
                  <a:pt x="5818820" y="1572426"/>
                </a:cubicBezTo>
                <a:close/>
                <a:moveTo>
                  <a:pt x="5843963" y="1560822"/>
                </a:moveTo>
                <a:cubicBezTo>
                  <a:pt x="5840095" y="1562754"/>
                  <a:pt x="5836226" y="1564690"/>
                  <a:pt x="5832358" y="1566623"/>
                </a:cubicBezTo>
                <a:cubicBezTo>
                  <a:pt x="5830425" y="1570491"/>
                  <a:pt x="5828490" y="1572426"/>
                  <a:pt x="5830425" y="1578227"/>
                </a:cubicBezTo>
                <a:cubicBezTo>
                  <a:pt x="5832358" y="1578227"/>
                  <a:pt x="5832358" y="1578227"/>
                  <a:pt x="5834293" y="1578227"/>
                </a:cubicBezTo>
                <a:cubicBezTo>
                  <a:pt x="5838159" y="1572426"/>
                  <a:pt x="5840095" y="1566623"/>
                  <a:pt x="5843963" y="1560822"/>
                </a:cubicBezTo>
                <a:close/>
                <a:moveTo>
                  <a:pt x="5876842" y="1555018"/>
                </a:moveTo>
                <a:cubicBezTo>
                  <a:pt x="5876842" y="1555018"/>
                  <a:pt x="5876842" y="1555018"/>
                  <a:pt x="5878777" y="1556953"/>
                </a:cubicBezTo>
                <a:cubicBezTo>
                  <a:pt x="5876842" y="1558886"/>
                  <a:pt x="5874909" y="1558886"/>
                  <a:pt x="5872976" y="1560822"/>
                </a:cubicBezTo>
                <a:cubicBezTo>
                  <a:pt x="5872976" y="1556953"/>
                  <a:pt x="5874909" y="1556953"/>
                  <a:pt x="5876842" y="1555018"/>
                </a:cubicBezTo>
                <a:close/>
                <a:moveTo>
                  <a:pt x="5890595" y="1530009"/>
                </a:moveTo>
                <a:lnTo>
                  <a:pt x="5882645" y="1539547"/>
                </a:lnTo>
                <a:cubicBezTo>
                  <a:pt x="5878777" y="1545349"/>
                  <a:pt x="5872976" y="1545349"/>
                  <a:pt x="5869108" y="1545349"/>
                </a:cubicBezTo>
                <a:lnTo>
                  <a:pt x="5875713" y="1538142"/>
                </a:lnTo>
                <a:lnTo>
                  <a:pt x="5884578" y="1531809"/>
                </a:lnTo>
                <a:close/>
                <a:moveTo>
                  <a:pt x="5987086" y="1481524"/>
                </a:moveTo>
                <a:cubicBezTo>
                  <a:pt x="5981285" y="1485392"/>
                  <a:pt x="5979352" y="1487325"/>
                  <a:pt x="5977417" y="1489260"/>
                </a:cubicBezTo>
                <a:cubicBezTo>
                  <a:pt x="5973548" y="1485392"/>
                  <a:pt x="5975481" y="1483457"/>
                  <a:pt x="5987086" y="1481524"/>
                </a:cubicBezTo>
                <a:close/>
                <a:moveTo>
                  <a:pt x="5468747" y="1429303"/>
                </a:moveTo>
                <a:cubicBezTo>
                  <a:pt x="5466814" y="1431236"/>
                  <a:pt x="5464879" y="1431236"/>
                  <a:pt x="5464879" y="1431236"/>
                </a:cubicBezTo>
                <a:cubicBezTo>
                  <a:pt x="5464879" y="1433172"/>
                  <a:pt x="5462946" y="1433172"/>
                  <a:pt x="5462946" y="1435104"/>
                </a:cubicBezTo>
                <a:cubicBezTo>
                  <a:pt x="5464879" y="1435104"/>
                  <a:pt x="5466814" y="1435104"/>
                  <a:pt x="5468747" y="1435104"/>
                </a:cubicBezTo>
                <a:cubicBezTo>
                  <a:pt x="5468747" y="1433172"/>
                  <a:pt x="5468747" y="1431236"/>
                  <a:pt x="5468747" y="1429303"/>
                </a:cubicBezTo>
                <a:close/>
                <a:moveTo>
                  <a:pt x="5488088" y="1419631"/>
                </a:moveTo>
                <a:cubicBezTo>
                  <a:pt x="5486155" y="1419631"/>
                  <a:pt x="5484220" y="1421567"/>
                  <a:pt x="5482287" y="1421567"/>
                </a:cubicBezTo>
                <a:cubicBezTo>
                  <a:pt x="5480352" y="1427368"/>
                  <a:pt x="5476483" y="1429303"/>
                  <a:pt x="5472615" y="1433172"/>
                </a:cubicBezTo>
                <a:cubicBezTo>
                  <a:pt x="5474551" y="1433172"/>
                  <a:pt x="5478419" y="1435104"/>
                  <a:pt x="5482287" y="1435104"/>
                </a:cubicBezTo>
                <a:cubicBezTo>
                  <a:pt x="5482287" y="1435104"/>
                  <a:pt x="5484220" y="1435104"/>
                  <a:pt x="5484220" y="1435104"/>
                </a:cubicBezTo>
                <a:cubicBezTo>
                  <a:pt x="5486155" y="1433172"/>
                  <a:pt x="5488088" y="1433172"/>
                  <a:pt x="5490021" y="1431236"/>
                </a:cubicBezTo>
                <a:cubicBezTo>
                  <a:pt x="5493889" y="1429303"/>
                  <a:pt x="5495825" y="1425435"/>
                  <a:pt x="5495825" y="1419631"/>
                </a:cubicBezTo>
                <a:cubicBezTo>
                  <a:pt x="5491956" y="1419631"/>
                  <a:pt x="5490021" y="1421567"/>
                  <a:pt x="5488088" y="1419631"/>
                </a:cubicBezTo>
                <a:close/>
                <a:moveTo>
                  <a:pt x="5476483" y="1408027"/>
                </a:moveTo>
                <a:cubicBezTo>
                  <a:pt x="5474551" y="1409962"/>
                  <a:pt x="5472615" y="1411895"/>
                  <a:pt x="5472615" y="1411895"/>
                </a:cubicBezTo>
                <a:cubicBezTo>
                  <a:pt x="5472615" y="1413830"/>
                  <a:pt x="5474551" y="1413830"/>
                  <a:pt x="5474551" y="1413830"/>
                </a:cubicBezTo>
                <a:cubicBezTo>
                  <a:pt x="5474551" y="1411895"/>
                  <a:pt x="5476483" y="1409962"/>
                  <a:pt x="5476483" y="1408027"/>
                </a:cubicBezTo>
                <a:close/>
                <a:moveTo>
                  <a:pt x="5975481" y="1390621"/>
                </a:moveTo>
                <a:cubicBezTo>
                  <a:pt x="5973548" y="1392554"/>
                  <a:pt x="5973548" y="1396422"/>
                  <a:pt x="5971613" y="1398357"/>
                </a:cubicBezTo>
                <a:cubicBezTo>
                  <a:pt x="5971613" y="1400290"/>
                  <a:pt x="5973548" y="1400290"/>
                  <a:pt x="5973548" y="1400290"/>
                </a:cubicBezTo>
                <a:cubicBezTo>
                  <a:pt x="5975481" y="1398357"/>
                  <a:pt x="5975481" y="1396422"/>
                  <a:pt x="5979352" y="1392554"/>
                </a:cubicBezTo>
                <a:cubicBezTo>
                  <a:pt x="5977417" y="1392554"/>
                  <a:pt x="5977417" y="1390621"/>
                  <a:pt x="5975481" y="1390621"/>
                </a:cubicBezTo>
                <a:close/>
                <a:moveTo>
                  <a:pt x="5987086" y="1385301"/>
                </a:moveTo>
                <a:lnTo>
                  <a:pt x="5987086" y="1390621"/>
                </a:lnTo>
                <a:lnTo>
                  <a:pt x="5982327" y="1387795"/>
                </a:lnTo>
                <a:lnTo>
                  <a:pt x="5981285" y="1386752"/>
                </a:lnTo>
                <a:close/>
                <a:moveTo>
                  <a:pt x="6021900" y="1379338"/>
                </a:moveTo>
                <a:lnTo>
                  <a:pt x="6021900" y="1380949"/>
                </a:lnTo>
                <a:lnTo>
                  <a:pt x="6020519" y="1380489"/>
                </a:lnTo>
                <a:close/>
                <a:moveTo>
                  <a:pt x="5529913" y="1372488"/>
                </a:moveTo>
                <a:cubicBezTo>
                  <a:pt x="5526770" y="1373213"/>
                  <a:pt x="5523869" y="1375148"/>
                  <a:pt x="5520967" y="1379016"/>
                </a:cubicBezTo>
                <a:cubicBezTo>
                  <a:pt x="5519034" y="1379016"/>
                  <a:pt x="5515166" y="1379016"/>
                  <a:pt x="5513231" y="1380949"/>
                </a:cubicBezTo>
                <a:cubicBezTo>
                  <a:pt x="5511298" y="1382884"/>
                  <a:pt x="5509362" y="1384817"/>
                  <a:pt x="5507430" y="1386752"/>
                </a:cubicBezTo>
                <a:cubicBezTo>
                  <a:pt x="5505497" y="1386752"/>
                  <a:pt x="5503561" y="1384817"/>
                  <a:pt x="5501628" y="1382884"/>
                </a:cubicBezTo>
                <a:cubicBezTo>
                  <a:pt x="5499693" y="1384817"/>
                  <a:pt x="5497758" y="1386752"/>
                  <a:pt x="5495825" y="1388685"/>
                </a:cubicBezTo>
                <a:cubicBezTo>
                  <a:pt x="5493889" y="1386752"/>
                  <a:pt x="5493889" y="1386752"/>
                  <a:pt x="5493889" y="1386752"/>
                </a:cubicBezTo>
                <a:cubicBezTo>
                  <a:pt x="5488088" y="1392554"/>
                  <a:pt x="5484220" y="1400290"/>
                  <a:pt x="5478419" y="1406094"/>
                </a:cubicBezTo>
                <a:cubicBezTo>
                  <a:pt x="5480352" y="1408027"/>
                  <a:pt x="5482287" y="1408027"/>
                  <a:pt x="5484220" y="1409962"/>
                </a:cubicBezTo>
                <a:cubicBezTo>
                  <a:pt x="5484220" y="1411895"/>
                  <a:pt x="5484220" y="1415763"/>
                  <a:pt x="5484220" y="1417699"/>
                </a:cubicBezTo>
                <a:cubicBezTo>
                  <a:pt x="5490021" y="1413830"/>
                  <a:pt x="5493889" y="1409962"/>
                  <a:pt x="5499693" y="1404158"/>
                </a:cubicBezTo>
                <a:cubicBezTo>
                  <a:pt x="5501628" y="1404158"/>
                  <a:pt x="5503561" y="1402225"/>
                  <a:pt x="5505497" y="1400290"/>
                </a:cubicBezTo>
                <a:cubicBezTo>
                  <a:pt x="5505497" y="1402225"/>
                  <a:pt x="5505497" y="1402225"/>
                  <a:pt x="5505497" y="1402225"/>
                </a:cubicBezTo>
                <a:cubicBezTo>
                  <a:pt x="5511298" y="1398357"/>
                  <a:pt x="5517099" y="1396422"/>
                  <a:pt x="5522903" y="1392554"/>
                </a:cubicBezTo>
                <a:cubicBezTo>
                  <a:pt x="5528704" y="1390621"/>
                  <a:pt x="5536440" y="1384817"/>
                  <a:pt x="5538376" y="1377081"/>
                </a:cubicBezTo>
                <a:cubicBezTo>
                  <a:pt x="5538376" y="1375148"/>
                  <a:pt x="5540308" y="1375148"/>
                  <a:pt x="5540308" y="1373212"/>
                </a:cubicBezTo>
                <a:cubicBezTo>
                  <a:pt x="5536440" y="1372246"/>
                  <a:pt x="5533056" y="1371763"/>
                  <a:pt x="5529913" y="1372488"/>
                </a:cubicBezTo>
                <a:close/>
                <a:moveTo>
                  <a:pt x="5546112" y="1369344"/>
                </a:moveTo>
                <a:cubicBezTo>
                  <a:pt x="5544177" y="1369344"/>
                  <a:pt x="5544177" y="1371279"/>
                  <a:pt x="5540308" y="1375148"/>
                </a:cubicBezTo>
                <a:cubicBezTo>
                  <a:pt x="5542244" y="1375148"/>
                  <a:pt x="5544177" y="1375148"/>
                  <a:pt x="5546112" y="1375148"/>
                </a:cubicBezTo>
                <a:cubicBezTo>
                  <a:pt x="5546112" y="1375148"/>
                  <a:pt x="5548045" y="1373212"/>
                  <a:pt x="5548045" y="1371279"/>
                </a:cubicBezTo>
                <a:cubicBezTo>
                  <a:pt x="5548045" y="1369344"/>
                  <a:pt x="5546112" y="1369344"/>
                  <a:pt x="5546112" y="1369344"/>
                </a:cubicBezTo>
                <a:close/>
                <a:moveTo>
                  <a:pt x="5971613" y="1361607"/>
                </a:moveTo>
                <a:cubicBezTo>
                  <a:pt x="5961943" y="1363543"/>
                  <a:pt x="5961943" y="1363543"/>
                  <a:pt x="5960011" y="1371279"/>
                </a:cubicBezTo>
                <a:cubicBezTo>
                  <a:pt x="5963876" y="1367411"/>
                  <a:pt x="5967745" y="1365478"/>
                  <a:pt x="5971613" y="1361607"/>
                </a:cubicBezTo>
                <a:close/>
                <a:moveTo>
                  <a:pt x="6023836" y="1351938"/>
                </a:moveTo>
                <a:lnTo>
                  <a:pt x="6024801" y="1351938"/>
                </a:lnTo>
                <a:lnTo>
                  <a:pt x="6025769" y="1353873"/>
                </a:lnTo>
                <a:lnTo>
                  <a:pt x="6027853" y="1352236"/>
                </a:lnTo>
                <a:lnTo>
                  <a:pt x="6029637" y="1355806"/>
                </a:lnTo>
                <a:cubicBezTo>
                  <a:pt x="6029637" y="1357739"/>
                  <a:pt x="6025769" y="1359675"/>
                  <a:pt x="6023836" y="1363543"/>
                </a:cubicBezTo>
                <a:cubicBezTo>
                  <a:pt x="6021900" y="1363543"/>
                  <a:pt x="6021900" y="1361607"/>
                  <a:pt x="6019967" y="1361607"/>
                </a:cubicBezTo>
                <a:cubicBezTo>
                  <a:pt x="6021900" y="1357739"/>
                  <a:pt x="6021900" y="1355806"/>
                  <a:pt x="6023836" y="1351938"/>
                </a:cubicBezTo>
                <a:close/>
                <a:moveTo>
                  <a:pt x="6019967" y="1342269"/>
                </a:moveTo>
                <a:lnTo>
                  <a:pt x="6020353" y="1343041"/>
                </a:lnTo>
                <a:lnTo>
                  <a:pt x="6012406" y="1347015"/>
                </a:lnTo>
                <a:lnTo>
                  <a:pt x="6010295" y="1344202"/>
                </a:lnTo>
                <a:cubicBezTo>
                  <a:pt x="6014164" y="1344202"/>
                  <a:pt x="6018032" y="1342269"/>
                  <a:pt x="6019967" y="1342269"/>
                </a:cubicBezTo>
                <a:close/>
                <a:moveTo>
                  <a:pt x="6033505" y="1336465"/>
                </a:moveTo>
                <a:lnTo>
                  <a:pt x="6036149" y="1345717"/>
                </a:lnTo>
                <a:lnTo>
                  <a:pt x="6027853" y="1352236"/>
                </a:lnTo>
                <a:lnTo>
                  <a:pt x="6027704" y="1351938"/>
                </a:lnTo>
                <a:lnTo>
                  <a:pt x="6024801" y="1351938"/>
                </a:lnTo>
                <a:lnTo>
                  <a:pt x="6020353" y="1343041"/>
                </a:lnTo>
                <a:close/>
                <a:moveTo>
                  <a:pt x="5608002" y="1324860"/>
                </a:moveTo>
                <a:cubicBezTo>
                  <a:pt x="5606069" y="1324860"/>
                  <a:pt x="5606069" y="1326796"/>
                  <a:pt x="5604133" y="1326796"/>
                </a:cubicBezTo>
                <a:cubicBezTo>
                  <a:pt x="5604133" y="1328729"/>
                  <a:pt x="5606069" y="1328729"/>
                  <a:pt x="5606069" y="1328729"/>
                </a:cubicBezTo>
                <a:cubicBezTo>
                  <a:pt x="5606069" y="1326796"/>
                  <a:pt x="5608002" y="1326796"/>
                  <a:pt x="5608002" y="1324860"/>
                </a:cubicBezTo>
                <a:close/>
                <a:moveTo>
                  <a:pt x="6095397" y="1307454"/>
                </a:moveTo>
                <a:cubicBezTo>
                  <a:pt x="6096364" y="1310355"/>
                  <a:pt x="6096364" y="1312289"/>
                  <a:pt x="6093946" y="1310597"/>
                </a:cubicBezTo>
                <a:lnTo>
                  <a:pt x="6092743" y="1309401"/>
                </a:lnTo>
                <a:close/>
                <a:moveTo>
                  <a:pt x="5642816" y="1303586"/>
                </a:moveTo>
                <a:cubicBezTo>
                  <a:pt x="5635080" y="1305519"/>
                  <a:pt x="5627343" y="1307454"/>
                  <a:pt x="5623475" y="1315191"/>
                </a:cubicBezTo>
                <a:cubicBezTo>
                  <a:pt x="5621542" y="1317124"/>
                  <a:pt x="5617674" y="1319059"/>
                  <a:pt x="5613805" y="1320992"/>
                </a:cubicBezTo>
                <a:cubicBezTo>
                  <a:pt x="5615738" y="1324860"/>
                  <a:pt x="5611872" y="1326796"/>
                  <a:pt x="5609937" y="1330664"/>
                </a:cubicBezTo>
                <a:cubicBezTo>
                  <a:pt x="5615738" y="1334532"/>
                  <a:pt x="5621542" y="1332597"/>
                  <a:pt x="5627343" y="1328729"/>
                </a:cubicBezTo>
                <a:cubicBezTo>
                  <a:pt x="5635080" y="1322927"/>
                  <a:pt x="5642816" y="1315191"/>
                  <a:pt x="5642816" y="1303586"/>
                </a:cubicBezTo>
                <a:close/>
                <a:moveTo>
                  <a:pt x="6077989" y="1291981"/>
                </a:moveTo>
                <a:cubicBezTo>
                  <a:pt x="6082341" y="1297784"/>
                  <a:pt x="6085726" y="1302014"/>
                  <a:pt x="6088325" y="1305006"/>
                </a:cubicBezTo>
                <a:lnTo>
                  <a:pt x="6092743" y="1309401"/>
                </a:lnTo>
                <a:lnTo>
                  <a:pt x="6066386" y="1328729"/>
                </a:lnTo>
                <a:cubicBezTo>
                  <a:pt x="6056715" y="1334532"/>
                  <a:pt x="6050911" y="1348070"/>
                  <a:pt x="6037373" y="1350003"/>
                </a:cubicBezTo>
                <a:lnTo>
                  <a:pt x="6036149" y="1345717"/>
                </a:lnTo>
                <a:lnTo>
                  <a:pt x="6052846" y="1332597"/>
                </a:lnTo>
                <a:cubicBezTo>
                  <a:pt x="6052846" y="1332597"/>
                  <a:pt x="6052846" y="1330664"/>
                  <a:pt x="6050911" y="1330664"/>
                </a:cubicBezTo>
                <a:cubicBezTo>
                  <a:pt x="6045110" y="1332597"/>
                  <a:pt x="6037373" y="1334532"/>
                  <a:pt x="6031570" y="1334532"/>
                </a:cubicBezTo>
                <a:cubicBezTo>
                  <a:pt x="6031570" y="1332597"/>
                  <a:pt x="6031570" y="1330664"/>
                  <a:pt x="6033505" y="1330664"/>
                </a:cubicBezTo>
                <a:cubicBezTo>
                  <a:pt x="6048978" y="1317124"/>
                  <a:pt x="6062516" y="1303586"/>
                  <a:pt x="6077989" y="1291981"/>
                </a:cubicBezTo>
                <a:close/>
                <a:moveTo>
                  <a:pt x="5644749" y="1251363"/>
                </a:moveTo>
                <a:cubicBezTo>
                  <a:pt x="5640883" y="1255234"/>
                  <a:pt x="5638948" y="1259102"/>
                  <a:pt x="5635080" y="1262968"/>
                </a:cubicBezTo>
                <a:cubicBezTo>
                  <a:pt x="5640883" y="1268772"/>
                  <a:pt x="5642816" y="1272640"/>
                  <a:pt x="5638948" y="1276508"/>
                </a:cubicBezTo>
                <a:cubicBezTo>
                  <a:pt x="5637015" y="1280376"/>
                  <a:pt x="5633147" y="1282309"/>
                  <a:pt x="5629278" y="1286178"/>
                </a:cubicBezTo>
                <a:cubicBezTo>
                  <a:pt x="5627343" y="1288113"/>
                  <a:pt x="5625410" y="1291981"/>
                  <a:pt x="5623475" y="1295850"/>
                </a:cubicBezTo>
                <a:cubicBezTo>
                  <a:pt x="5631211" y="1297782"/>
                  <a:pt x="5638948" y="1299718"/>
                  <a:pt x="5644749" y="1301651"/>
                </a:cubicBezTo>
                <a:cubicBezTo>
                  <a:pt x="5652488" y="1297782"/>
                  <a:pt x="5652488" y="1297782"/>
                  <a:pt x="5660224" y="1305519"/>
                </a:cubicBezTo>
                <a:cubicBezTo>
                  <a:pt x="5652488" y="1324860"/>
                  <a:pt x="5637015" y="1340333"/>
                  <a:pt x="5615738" y="1346137"/>
                </a:cubicBezTo>
                <a:cubicBezTo>
                  <a:pt x="5592531" y="1353873"/>
                  <a:pt x="5575123" y="1367411"/>
                  <a:pt x="5557714" y="1382884"/>
                </a:cubicBezTo>
                <a:cubicBezTo>
                  <a:pt x="5557714" y="1384817"/>
                  <a:pt x="5557714" y="1386752"/>
                  <a:pt x="5559650" y="1390621"/>
                </a:cubicBezTo>
                <a:cubicBezTo>
                  <a:pt x="5555781" y="1392554"/>
                  <a:pt x="5553849" y="1394489"/>
                  <a:pt x="5551913" y="1396422"/>
                </a:cubicBezTo>
                <a:cubicBezTo>
                  <a:pt x="5542244" y="1400290"/>
                  <a:pt x="5532572" y="1404158"/>
                  <a:pt x="5522903" y="1409962"/>
                </a:cubicBezTo>
                <a:cubicBezTo>
                  <a:pt x="5520967" y="1408027"/>
                  <a:pt x="5519034" y="1406094"/>
                  <a:pt x="5517099" y="1402225"/>
                </a:cubicBezTo>
                <a:cubicBezTo>
                  <a:pt x="5513231" y="1404158"/>
                  <a:pt x="5507430" y="1408027"/>
                  <a:pt x="5503561" y="1409962"/>
                </a:cubicBezTo>
                <a:cubicBezTo>
                  <a:pt x="5501628" y="1413830"/>
                  <a:pt x="5501628" y="1415763"/>
                  <a:pt x="5501628" y="1417699"/>
                </a:cubicBezTo>
                <a:cubicBezTo>
                  <a:pt x="5501628" y="1417699"/>
                  <a:pt x="5503561" y="1417699"/>
                  <a:pt x="5503561" y="1417699"/>
                </a:cubicBezTo>
                <a:cubicBezTo>
                  <a:pt x="5503561" y="1419631"/>
                  <a:pt x="5503561" y="1419631"/>
                  <a:pt x="5503561" y="1419631"/>
                </a:cubicBezTo>
                <a:lnTo>
                  <a:pt x="5502112" y="1421083"/>
                </a:lnTo>
                <a:lnTo>
                  <a:pt x="5501628" y="1419631"/>
                </a:lnTo>
                <a:cubicBezTo>
                  <a:pt x="5501628" y="1419631"/>
                  <a:pt x="5501628" y="1419631"/>
                  <a:pt x="5501628" y="1421567"/>
                </a:cubicBezTo>
                <a:lnTo>
                  <a:pt x="5502112" y="1421083"/>
                </a:lnTo>
                <a:lnTo>
                  <a:pt x="5503561" y="1425435"/>
                </a:lnTo>
                <a:cubicBezTo>
                  <a:pt x="5524838" y="1413830"/>
                  <a:pt x="5548045" y="1402225"/>
                  <a:pt x="5573190" y="1388685"/>
                </a:cubicBezTo>
                <a:cubicBezTo>
                  <a:pt x="5602201" y="1373212"/>
                  <a:pt x="5627343" y="1380949"/>
                  <a:pt x="5644749" y="1396422"/>
                </a:cubicBezTo>
                <a:cubicBezTo>
                  <a:pt x="5646684" y="1392554"/>
                  <a:pt x="5648620" y="1390621"/>
                  <a:pt x="5650553" y="1386752"/>
                </a:cubicBezTo>
                <a:cubicBezTo>
                  <a:pt x="5642816" y="1384817"/>
                  <a:pt x="5637015" y="1384817"/>
                  <a:pt x="5631211" y="1382884"/>
                </a:cubicBezTo>
                <a:cubicBezTo>
                  <a:pt x="5629278" y="1379016"/>
                  <a:pt x="5633147" y="1377081"/>
                  <a:pt x="5635080" y="1375148"/>
                </a:cubicBezTo>
                <a:cubicBezTo>
                  <a:pt x="5638948" y="1373212"/>
                  <a:pt x="5642816" y="1371279"/>
                  <a:pt x="5646684" y="1367411"/>
                </a:cubicBezTo>
                <a:cubicBezTo>
                  <a:pt x="5642816" y="1361607"/>
                  <a:pt x="5640883" y="1355806"/>
                  <a:pt x="5637015" y="1350003"/>
                </a:cubicBezTo>
                <a:cubicBezTo>
                  <a:pt x="5648620" y="1346137"/>
                  <a:pt x="5656356" y="1336465"/>
                  <a:pt x="5664090" y="1328729"/>
                </a:cubicBezTo>
                <a:cubicBezTo>
                  <a:pt x="5666026" y="1322927"/>
                  <a:pt x="5660224" y="1319059"/>
                  <a:pt x="5664090" y="1313255"/>
                </a:cubicBezTo>
                <a:cubicBezTo>
                  <a:pt x="5664090" y="1313255"/>
                  <a:pt x="5664090" y="1311323"/>
                  <a:pt x="5664090" y="1311323"/>
                </a:cubicBezTo>
                <a:cubicBezTo>
                  <a:pt x="5673762" y="1293914"/>
                  <a:pt x="5673762" y="1278444"/>
                  <a:pt x="5662157" y="1261035"/>
                </a:cubicBezTo>
                <a:cubicBezTo>
                  <a:pt x="5660224" y="1262968"/>
                  <a:pt x="5656356" y="1262968"/>
                  <a:pt x="5654421" y="1262968"/>
                </a:cubicBezTo>
                <a:cubicBezTo>
                  <a:pt x="5652488" y="1259102"/>
                  <a:pt x="5648620" y="1255234"/>
                  <a:pt x="5644749" y="1251363"/>
                </a:cubicBezTo>
                <a:close/>
                <a:moveTo>
                  <a:pt x="5635080" y="1241694"/>
                </a:moveTo>
                <a:cubicBezTo>
                  <a:pt x="5633147" y="1241694"/>
                  <a:pt x="5631211" y="1243629"/>
                  <a:pt x="5629278" y="1247497"/>
                </a:cubicBezTo>
                <a:cubicBezTo>
                  <a:pt x="5633147" y="1251363"/>
                  <a:pt x="5637015" y="1253299"/>
                  <a:pt x="5640883" y="1255234"/>
                </a:cubicBezTo>
                <a:cubicBezTo>
                  <a:pt x="5640883" y="1253299"/>
                  <a:pt x="5640883" y="1249430"/>
                  <a:pt x="5640883" y="1247497"/>
                </a:cubicBezTo>
                <a:cubicBezTo>
                  <a:pt x="5640883" y="1243629"/>
                  <a:pt x="5638948" y="1239761"/>
                  <a:pt x="5635080" y="1241694"/>
                </a:cubicBezTo>
                <a:close/>
                <a:moveTo>
                  <a:pt x="5573190" y="1013469"/>
                </a:moveTo>
                <a:cubicBezTo>
                  <a:pt x="5571255" y="1013469"/>
                  <a:pt x="5569322" y="1013469"/>
                  <a:pt x="5569322" y="1015404"/>
                </a:cubicBezTo>
                <a:cubicBezTo>
                  <a:pt x="5569322" y="1017337"/>
                  <a:pt x="5567386" y="1019273"/>
                  <a:pt x="5565453" y="1021206"/>
                </a:cubicBezTo>
                <a:cubicBezTo>
                  <a:pt x="5565453" y="1021206"/>
                  <a:pt x="5565453" y="1023141"/>
                  <a:pt x="5565453" y="1023141"/>
                </a:cubicBezTo>
                <a:cubicBezTo>
                  <a:pt x="5571255" y="1021206"/>
                  <a:pt x="5577056" y="1021206"/>
                  <a:pt x="5573190" y="1013469"/>
                </a:cubicBezTo>
                <a:close/>
                <a:moveTo>
                  <a:pt x="4991023" y="986394"/>
                </a:moveTo>
                <a:cubicBezTo>
                  <a:pt x="4989090" y="988327"/>
                  <a:pt x="4987155" y="990260"/>
                  <a:pt x="4985222" y="990260"/>
                </a:cubicBezTo>
                <a:cubicBezTo>
                  <a:pt x="4987155" y="990260"/>
                  <a:pt x="4987155" y="992195"/>
                  <a:pt x="4987155" y="992195"/>
                </a:cubicBezTo>
                <a:cubicBezTo>
                  <a:pt x="4989090" y="990260"/>
                  <a:pt x="4991023" y="990260"/>
                  <a:pt x="4992959" y="988327"/>
                </a:cubicBezTo>
                <a:cubicBezTo>
                  <a:pt x="4991023" y="988327"/>
                  <a:pt x="4991023" y="986394"/>
                  <a:pt x="4991023" y="986394"/>
                </a:cubicBezTo>
                <a:close/>
                <a:moveTo>
                  <a:pt x="5462946" y="965117"/>
                </a:moveTo>
                <a:cubicBezTo>
                  <a:pt x="5457142" y="965117"/>
                  <a:pt x="5453274" y="967052"/>
                  <a:pt x="5451341" y="967052"/>
                </a:cubicBezTo>
                <a:cubicBezTo>
                  <a:pt x="5441669" y="970921"/>
                  <a:pt x="5428131" y="970921"/>
                  <a:pt x="5428131" y="986394"/>
                </a:cubicBezTo>
                <a:cubicBezTo>
                  <a:pt x="5428131" y="988327"/>
                  <a:pt x="5426196" y="988327"/>
                  <a:pt x="5424263" y="990260"/>
                </a:cubicBezTo>
                <a:cubicBezTo>
                  <a:pt x="5418462" y="997998"/>
                  <a:pt x="5418462" y="999931"/>
                  <a:pt x="5426196" y="1009601"/>
                </a:cubicBezTo>
                <a:cubicBezTo>
                  <a:pt x="5433933" y="1005733"/>
                  <a:pt x="5439736" y="1001864"/>
                  <a:pt x="5445537" y="996063"/>
                </a:cubicBezTo>
                <a:cubicBezTo>
                  <a:pt x="5451341" y="990260"/>
                  <a:pt x="5457142" y="984458"/>
                  <a:pt x="5461010" y="978657"/>
                </a:cubicBezTo>
                <a:cubicBezTo>
                  <a:pt x="5462946" y="976722"/>
                  <a:pt x="5462946" y="970921"/>
                  <a:pt x="5462946" y="965117"/>
                </a:cubicBezTo>
                <a:close/>
                <a:moveTo>
                  <a:pt x="5468747" y="943843"/>
                </a:moveTo>
                <a:cubicBezTo>
                  <a:pt x="5466814" y="945776"/>
                  <a:pt x="5466814" y="947711"/>
                  <a:pt x="5466814" y="949644"/>
                </a:cubicBezTo>
                <a:cubicBezTo>
                  <a:pt x="5466814" y="951579"/>
                  <a:pt x="5468747" y="953512"/>
                  <a:pt x="5468747" y="955448"/>
                </a:cubicBezTo>
                <a:cubicBezTo>
                  <a:pt x="5470680" y="953512"/>
                  <a:pt x="5472615" y="953512"/>
                  <a:pt x="5472615" y="951579"/>
                </a:cubicBezTo>
                <a:cubicBezTo>
                  <a:pt x="5472615" y="949644"/>
                  <a:pt x="5472615" y="947711"/>
                  <a:pt x="5472615" y="945776"/>
                </a:cubicBezTo>
                <a:cubicBezTo>
                  <a:pt x="5472615" y="945776"/>
                  <a:pt x="5472615" y="943843"/>
                  <a:pt x="5470680" y="943843"/>
                </a:cubicBezTo>
                <a:cubicBezTo>
                  <a:pt x="5470680" y="941908"/>
                  <a:pt x="5470680" y="943843"/>
                  <a:pt x="5468747" y="943843"/>
                </a:cubicBezTo>
                <a:close/>
                <a:moveTo>
                  <a:pt x="5298546" y="878083"/>
                </a:moveTo>
                <a:cubicBezTo>
                  <a:pt x="5288877" y="880018"/>
                  <a:pt x="5281140" y="883884"/>
                  <a:pt x="5281140" y="893556"/>
                </a:cubicBezTo>
                <a:cubicBezTo>
                  <a:pt x="5281140" y="893556"/>
                  <a:pt x="5283073" y="895488"/>
                  <a:pt x="5283073" y="895488"/>
                </a:cubicBezTo>
                <a:cubicBezTo>
                  <a:pt x="5285008" y="891623"/>
                  <a:pt x="5288877" y="887754"/>
                  <a:pt x="5290810" y="883884"/>
                </a:cubicBezTo>
                <a:cubicBezTo>
                  <a:pt x="5290810" y="881951"/>
                  <a:pt x="5294678" y="880018"/>
                  <a:pt x="5298546" y="878083"/>
                </a:cubicBezTo>
                <a:close/>
                <a:moveTo>
                  <a:pt x="999037" y="876150"/>
                </a:moveTo>
                <a:cubicBezTo>
                  <a:pt x="999037" y="876150"/>
                  <a:pt x="999037" y="878083"/>
                  <a:pt x="999037" y="878083"/>
                </a:cubicBezTo>
                <a:cubicBezTo>
                  <a:pt x="999037" y="876150"/>
                  <a:pt x="1000972" y="876150"/>
                  <a:pt x="1000972" y="876150"/>
                </a:cubicBezTo>
                <a:cubicBezTo>
                  <a:pt x="999037" y="876150"/>
                  <a:pt x="999037" y="876150"/>
                  <a:pt x="999037" y="876150"/>
                </a:cubicBezTo>
                <a:close/>
                <a:moveTo>
                  <a:pt x="886860" y="860677"/>
                </a:moveTo>
                <a:cubicBezTo>
                  <a:pt x="886860" y="862609"/>
                  <a:pt x="886860" y="864545"/>
                  <a:pt x="886860" y="864545"/>
                </a:cubicBezTo>
                <a:cubicBezTo>
                  <a:pt x="886860" y="864545"/>
                  <a:pt x="888793" y="864545"/>
                  <a:pt x="890728" y="864545"/>
                </a:cubicBezTo>
                <a:cubicBezTo>
                  <a:pt x="890728" y="862609"/>
                  <a:pt x="892661" y="862609"/>
                  <a:pt x="892661" y="860677"/>
                </a:cubicBezTo>
                <a:cubicBezTo>
                  <a:pt x="890728" y="860677"/>
                  <a:pt x="888793" y="860677"/>
                  <a:pt x="886860" y="860677"/>
                </a:cubicBezTo>
                <a:close/>
                <a:moveTo>
                  <a:pt x="5321756" y="854873"/>
                </a:moveTo>
                <a:cubicBezTo>
                  <a:pt x="5314019" y="854873"/>
                  <a:pt x="5306283" y="858741"/>
                  <a:pt x="5304350" y="866478"/>
                </a:cubicBezTo>
                <a:cubicBezTo>
                  <a:pt x="5306283" y="868413"/>
                  <a:pt x="5308218" y="870346"/>
                  <a:pt x="5310151" y="872281"/>
                </a:cubicBezTo>
                <a:cubicBezTo>
                  <a:pt x="5315952" y="868413"/>
                  <a:pt x="5319820" y="862609"/>
                  <a:pt x="5321756" y="854873"/>
                </a:cubicBezTo>
                <a:close/>
                <a:moveTo>
                  <a:pt x="1873250" y="835532"/>
                </a:moveTo>
                <a:cubicBezTo>
                  <a:pt x="1871317" y="837467"/>
                  <a:pt x="1867449" y="839400"/>
                  <a:pt x="1865516" y="841335"/>
                </a:cubicBezTo>
                <a:cubicBezTo>
                  <a:pt x="1865516" y="841335"/>
                  <a:pt x="1865516" y="843268"/>
                  <a:pt x="1865516" y="843268"/>
                </a:cubicBezTo>
                <a:cubicBezTo>
                  <a:pt x="1869384" y="841335"/>
                  <a:pt x="1875186" y="839400"/>
                  <a:pt x="1879054" y="837467"/>
                </a:cubicBezTo>
                <a:cubicBezTo>
                  <a:pt x="1877119" y="837467"/>
                  <a:pt x="1875186" y="835532"/>
                  <a:pt x="1873250" y="835532"/>
                </a:cubicBezTo>
                <a:close/>
                <a:moveTo>
                  <a:pt x="1902263" y="827795"/>
                </a:moveTo>
                <a:cubicBezTo>
                  <a:pt x="1892592" y="825862"/>
                  <a:pt x="1888726" y="829731"/>
                  <a:pt x="1882922" y="835532"/>
                </a:cubicBezTo>
                <a:cubicBezTo>
                  <a:pt x="1882922" y="835532"/>
                  <a:pt x="1882922" y="835532"/>
                  <a:pt x="1884855" y="835532"/>
                </a:cubicBezTo>
                <a:cubicBezTo>
                  <a:pt x="1888726" y="839400"/>
                  <a:pt x="1884855" y="841335"/>
                  <a:pt x="1882922" y="843268"/>
                </a:cubicBezTo>
                <a:cubicBezTo>
                  <a:pt x="1882922" y="843268"/>
                  <a:pt x="1880987" y="845204"/>
                  <a:pt x="1880987" y="845204"/>
                </a:cubicBezTo>
                <a:cubicBezTo>
                  <a:pt x="1888726" y="841335"/>
                  <a:pt x="1896460" y="837467"/>
                  <a:pt x="1902263" y="827795"/>
                </a:cubicBezTo>
                <a:close/>
                <a:moveTo>
                  <a:pt x="1718523" y="816190"/>
                </a:moveTo>
                <a:cubicBezTo>
                  <a:pt x="1689512" y="821994"/>
                  <a:pt x="1689512" y="821994"/>
                  <a:pt x="1677907" y="835532"/>
                </a:cubicBezTo>
                <a:cubicBezTo>
                  <a:pt x="1691447" y="829731"/>
                  <a:pt x="1703050" y="823929"/>
                  <a:pt x="1718523" y="816190"/>
                </a:cubicBezTo>
                <a:close/>
                <a:moveTo>
                  <a:pt x="1991231" y="792983"/>
                </a:moveTo>
                <a:cubicBezTo>
                  <a:pt x="1987363" y="796849"/>
                  <a:pt x="1983494" y="798784"/>
                  <a:pt x="1979626" y="802653"/>
                </a:cubicBezTo>
                <a:cubicBezTo>
                  <a:pt x="1981562" y="802653"/>
                  <a:pt x="1985430" y="800720"/>
                  <a:pt x="1989298" y="800720"/>
                </a:cubicBezTo>
                <a:cubicBezTo>
                  <a:pt x="1991231" y="800720"/>
                  <a:pt x="1991231" y="798784"/>
                  <a:pt x="1993166" y="792983"/>
                </a:cubicBezTo>
                <a:cubicBezTo>
                  <a:pt x="1993166" y="792983"/>
                  <a:pt x="1991231" y="792983"/>
                  <a:pt x="1991231" y="792983"/>
                </a:cubicBezTo>
                <a:close/>
                <a:moveTo>
                  <a:pt x="1037719" y="781378"/>
                </a:moveTo>
                <a:cubicBezTo>
                  <a:pt x="1035784" y="781378"/>
                  <a:pt x="1033851" y="781378"/>
                  <a:pt x="1033851" y="783311"/>
                </a:cubicBezTo>
                <a:cubicBezTo>
                  <a:pt x="1033851" y="783311"/>
                  <a:pt x="1035784" y="785247"/>
                  <a:pt x="1035784" y="785247"/>
                </a:cubicBezTo>
                <a:cubicBezTo>
                  <a:pt x="1037719" y="785247"/>
                  <a:pt x="1037719" y="783311"/>
                  <a:pt x="1037719" y="781378"/>
                </a:cubicBezTo>
                <a:close/>
                <a:moveTo>
                  <a:pt x="1782350" y="777510"/>
                </a:moveTo>
                <a:cubicBezTo>
                  <a:pt x="1772678" y="783311"/>
                  <a:pt x="1763009" y="789115"/>
                  <a:pt x="1753337" y="794916"/>
                </a:cubicBezTo>
                <a:cubicBezTo>
                  <a:pt x="1753337" y="796849"/>
                  <a:pt x="1755272" y="798784"/>
                  <a:pt x="1755272" y="798784"/>
                </a:cubicBezTo>
                <a:cubicBezTo>
                  <a:pt x="1764942" y="792983"/>
                  <a:pt x="1774611" y="785247"/>
                  <a:pt x="1784283" y="779443"/>
                </a:cubicBezTo>
                <a:cubicBezTo>
                  <a:pt x="1782350" y="779443"/>
                  <a:pt x="1782350" y="777510"/>
                  <a:pt x="1782350" y="777510"/>
                </a:cubicBezTo>
                <a:close/>
                <a:moveTo>
                  <a:pt x="4911725" y="767838"/>
                </a:moveTo>
                <a:cubicBezTo>
                  <a:pt x="4907857" y="771707"/>
                  <a:pt x="4903989" y="773642"/>
                  <a:pt x="4900121" y="777510"/>
                </a:cubicBezTo>
                <a:cubicBezTo>
                  <a:pt x="4898188" y="779443"/>
                  <a:pt x="4896252" y="781378"/>
                  <a:pt x="4894319" y="781378"/>
                </a:cubicBezTo>
                <a:cubicBezTo>
                  <a:pt x="4886583" y="781378"/>
                  <a:pt x="4882715" y="783311"/>
                  <a:pt x="4878846" y="787180"/>
                </a:cubicBezTo>
                <a:cubicBezTo>
                  <a:pt x="4865306" y="798784"/>
                  <a:pt x="4849836" y="808454"/>
                  <a:pt x="4834363" y="820059"/>
                </a:cubicBezTo>
                <a:cubicBezTo>
                  <a:pt x="4830494" y="821994"/>
                  <a:pt x="4828559" y="825862"/>
                  <a:pt x="4826626" y="827795"/>
                </a:cubicBezTo>
                <a:cubicBezTo>
                  <a:pt x="4834363" y="827795"/>
                  <a:pt x="4838231" y="823929"/>
                  <a:pt x="4844032" y="820059"/>
                </a:cubicBezTo>
                <a:cubicBezTo>
                  <a:pt x="4845965" y="821994"/>
                  <a:pt x="4845965" y="823929"/>
                  <a:pt x="4847900" y="825862"/>
                </a:cubicBezTo>
                <a:cubicBezTo>
                  <a:pt x="4851769" y="823929"/>
                  <a:pt x="4857572" y="821994"/>
                  <a:pt x="4855637" y="816190"/>
                </a:cubicBezTo>
                <a:cubicBezTo>
                  <a:pt x="4853704" y="814257"/>
                  <a:pt x="4855637" y="810389"/>
                  <a:pt x="4857572" y="810389"/>
                </a:cubicBezTo>
                <a:cubicBezTo>
                  <a:pt x="4867242" y="804588"/>
                  <a:pt x="4876913" y="798784"/>
                  <a:pt x="4886583" y="792983"/>
                </a:cubicBezTo>
                <a:cubicBezTo>
                  <a:pt x="4896252" y="789115"/>
                  <a:pt x="4903989" y="785247"/>
                  <a:pt x="4911725" y="779443"/>
                </a:cubicBezTo>
                <a:cubicBezTo>
                  <a:pt x="4917529" y="777510"/>
                  <a:pt x="4917529" y="773642"/>
                  <a:pt x="4911725" y="767838"/>
                </a:cubicBezTo>
                <a:close/>
                <a:moveTo>
                  <a:pt x="5325624" y="762037"/>
                </a:moveTo>
                <a:cubicBezTo>
                  <a:pt x="5323689" y="763970"/>
                  <a:pt x="5323689" y="763970"/>
                  <a:pt x="5321756" y="765905"/>
                </a:cubicBezTo>
                <a:cubicBezTo>
                  <a:pt x="5323689" y="765905"/>
                  <a:pt x="5325624" y="767838"/>
                  <a:pt x="5325624" y="765905"/>
                </a:cubicBezTo>
                <a:cubicBezTo>
                  <a:pt x="5325624" y="765905"/>
                  <a:pt x="5327559" y="765905"/>
                  <a:pt x="5327559" y="763970"/>
                </a:cubicBezTo>
                <a:cubicBezTo>
                  <a:pt x="5327559" y="763970"/>
                  <a:pt x="5325624" y="762037"/>
                  <a:pt x="5325624" y="762037"/>
                </a:cubicBezTo>
                <a:close/>
                <a:moveTo>
                  <a:pt x="4902056" y="762037"/>
                </a:moveTo>
                <a:cubicBezTo>
                  <a:pt x="4900121" y="763970"/>
                  <a:pt x="4898188" y="763970"/>
                  <a:pt x="4898188" y="765905"/>
                </a:cubicBezTo>
                <a:cubicBezTo>
                  <a:pt x="4898188" y="767838"/>
                  <a:pt x="4898188" y="767838"/>
                  <a:pt x="4898188" y="767838"/>
                </a:cubicBezTo>
                <a:cubicBezTo>
                  <a:pt x="4900121" y="765905"/>
                  <a:pt x="4900121" y="763970"/>
                  <a:pt x="4902056" y="762037"/>
                </a:cubicBezTo>
                <a:close/>
                <a:moveTo>
                  <a:pt x="5401054" y="756234"/>
                </a:moveTo>
                <a:cubicBezTo>
                  <a:pt x="5395252" y="760102"/>
                  <a:pt x="5391384" y="763970"/>
                  <a:pt x="5385581" y="767838"/>
                </a:cubicBezTo>
                <a:cubicBezTo>
                  <a:pt x="5387514" y="767838"/>
                  <a:pt x="5389449" y="767838"/>
                  <a:pt x="5389449" y="767838"/>
                </a:cubicBezTo>
                <a:cubicBezTo>
                  <a:pt x="5391384" y="765905"/>
                  <a:pt x="5395252" y="763970"/>
                  <a:pt x="5397185" y="762037"/>
                </a:cubicBezTo>
                <a:cubicBezTo>
                  <a:pt x="5399121" y="760102"/>
                  <a:pt x="5401054" y="758169"/>
                  <a:pt x="5401054" y="756234"/>
                </a:cubicBezTo>
                <a:close/>
                <a:moveTo>
                  <a:pt x="1834568" y="756234"/>
                </a:moveTo>
                <a:cubicBezTo>
                  <a:pt x="1834568" y="756234"/>
                  <a:pt x="1832635" y="758169"/>
                  <a:pt x="1832635" y="758169"/>
                </a:cubicBezTo>
                <a:cubicBezTo>
                  <a:pt x="1834568" y="758169"/>
                  <a:pt x="1834568" y="758169"/>
                  <a:pt x="1836503" y="756234"/>
                </a:cubicBezTo>
                <a:cubicBezTo>
                  <a:pt x="1836503" y="756234"/>
                  <a:pt x="1834568" y="756234"/>
                  <a:pt x="1834568" y="756234"/>
                </a:cubicBezTo>
                <a:close/>
                <a:moveTo>
                  <a:pt x="1828767" y="748497"/>
                </a:moveTo>
                <a:cubicBezTo>
                  <a:pt x="1826834" y="748497"/>
                  <a:pt x="1824898" y="750432"/>
                  <a:pt x="1822965" y="750432"/>
                </a:cubicBezTo>
                <a:lnTo>
                  <a:pt x="1824898" y="750432"/>
                </a:lnTo>
                <a:cubicBezTo>
                  <a:pt x="1819097" y="754301"/>
                  <a:pt x="1813294" y="758169"/>
                  <a:pt x="1809425" y="763970"/>
                </a:cubicBezTo>
                <a:cubicBezTo>
                  <a:pt x="1813294" y="765905"/>
                  <a:pt x="1817162" y="767838"/>
                  <a:pt x="1819097" y="767838"/>
                </a:cubicBezTo>
                <a:cubicBezTo>
                  <a:pt x="1821030" y="763970"/>
                  <a:pt x="1822965" y="760102"/>
                  <a:pt x="1822965" y="756234"/>
                </a:cubicBezTo>
                <a:cubicBezTo>
                  <a:pt x="1824898" y="754301"/>
                  <a:pt x="1824898" y="752365"/>
                  <a:pt x="1826834" y="750432"/>
                </a:cubicBezTo>
                <a:cubicBezTo>
                  <a:pt x="1826834" y="750432"/>
                  <a:pt x="1828767" y="750432"/>
                  <a:pt x="1828767" y="748497"/>
                </a:cubicBezTo>
                <a:close/>
                <a:moveTo>
                  <a:pt x="5397185" y="742696"/>
                </a:moveTo>
                <a:cubicBezTo>
                  <a:pt x="5397185" y="744629"/>
                  <a:pt x="5395252" y="746564"/>
                  <a:pt x="5393317" y="748497"/>
                </a:cubicBezTo>
                <a:cubicBezTo>
                  <a:pt x="5395252" y="746564"/>
                  <a:pt x="5397185" y="746564"/>
                  <a:pt x="5399121" y="744629"/>
                </a:cubicBezTo>
                <a:cubicBezTo>
                  <a:pt x="5399121" y="742696"/>
                  <a:pt x="5399121" y="742696"/>
                  <a:pt x="5397185" y="742696"/>
                </a:cubicBezTo>
                <a:close/>
                <a:moveTo>
                  <a:pt x="2122235" y="705949"/>
                </a:moveTo>
                <a:lnTo>
                  <a:pt x="2122752" y="705949"/>
                </a:lnTo>
                <a:cubicBezTo>
                  <a:pt x="2122752" y="707882"/>
                  <a:pt x="2122752" y="707882"/>
                  <a:pt x="2122752" y="709815"/>
                </a:cubicBezTo>
                <a:lnTo>
                  <a:pt x="2121769" y="707852"/>
                </a:lnTo>
                <a:close/>
                <a:moveTo>
                  <a:pt x="5445537" y="702080"/>
                </a:moveTo>
                <a:cubicBezTo>
                  <a:pt x="5443604" y="704013"/>
                  <a:pt x="5443604" y="704013"/>
                  <a:pt x="5441669" y="705949"/>
                </a:cubicBezTo>
                <a:cubicBezTo>
                  <a:pt x="5443604" y="707882"/>
                  <a:pt x="5445537" y="707882"/>
                  <a:pt x="5445537" y="707882"/>
                </a:cubicBezTo>
                <a:cubicBezTo>
                  <a:pt x="5445537" y="707882"/>
                  <a:pt x="5447473" y="705949"/>
                  <a:pt x="5447473" y="704013"/>
                </a:cubicBezTo>
                <a:cubicBezTo>
                  <a:pt x="5447473" y="702080"/>
                  <a:pt x="5445537" y="702080"/>
                  <a:pt x="5445537" y="702080"/>
                </a:cubicBezTo>
                <a:close/>
                <a:moveTo>
                  <a:pt x="1832635" y="700145"/>
                </a:moveTo>
                <a:cubicBezTo>
                  <a:pt x="1822965" y="700145"/>
                  <a:pt x="1815229" y="702080"/>
                  <a:pt x="1805557" y="707882"/>
                </a:cubicBezTo>
                <a:cubicBezTo>
                  <a:pt x="1809425" y="709815"/>
                  <a:pt x="1811361" y="709815"/>
                  <a:pt x="1813294" y="711750"/>
                </a:cubicBezTo>
                <a:cubicBezTo>
                  <a:pt x="1811361" y="711750"/>
                  <a:pt x="1811361" y="713685"/>
                  <a:pt x="1811361" y="713685"/>
                </a:cubicBezTo>
                <a:cubicBezTo>
                  <a:pt x="1776546" y="727223"/>
                  <a:pt x="1741732" y="742696"/>
                  <a:pt x="1706918" y="756234"/>
                </a:cubicBezTo>
                <a:cubicBezTo>
                  <a:pt x="1704985" y="756234"/>
                  <a:pt x="1704985" y="758169"/>
                  <a:pt x="1703050" y="758169"/>
                </a:cubicBezTo>
                <a:cubicBezTo>
                  <a:pt x="1703050" y="762037"/>
                  <a:pt x="1699181" y="765905"/>
                  <a:pt x="1697248" y="769774"/>
                </a:cubicBezTo>
                <a:cubicBezTo>
                  <a:pt x="1693380" y="775575"/>
                  <a:pt x="1689512" y="783311"/>
                  <a:pt x="1689512" y="789115"/>
                </a:cubicBezTo>
                <a:cubicBezTo>
                  <a:pt x="1693380" y="787180"/>
                  <a:pt x="1697248" y="785247"/>
                  <a:pt x="1701117" y="783311"/>
                </a:cubicBezTo>
                <a:cubicBezTo>
                  <a:pt x="1703050" y="781378"/>
                  <a:pt x="1706918" y="779443"/>
                  <a:pt x="1710786" y="777510"/>
                </a:cubicBezTo>
                <a:cubicBezTo>
                  <a:pt x="1712721" y="777510"/>
                  <a:pt x="1712721" y="775575"/>
                  <a:pt x="1714654" y="775575"/>
                </a:cubicBezTo>
                <a:cubicBezTo>
                  <a:pt x="1718523" y="773642"/>
                  <a:pt x="1722391" y="771707"/>
                  <a:pt x="1726259" y="769774"/>
                </a:cubicBezTo>
                <a:cubicBezTo>
                  <a:pt x="1728194" y="769774"/>
                  <a:pt x="1728194" y="767838"/>
                  <a:pt x="1730127" y="767838"/>
                </a:cubicBezTo>
                <a:cubicBezTo>
                  <a:pt x="1733996" y="765905"/>
                  <a:pt x="1737864" y="763970"/>
                  <a:pt x="1741732" y="762037"/>
                </a:cubicBezTo>
                <a:cubicBezTo>
                  <a:pt x="1768810" y="740761"/>
                  <a:pt x="1801689" y="734959"/>
                  <a:pt x="1830702" y="719486"/>
                </a:cubicBezTo>
                <a:cubicBezTo>
                  <a:pt x="1832635" y="717553"/>
                  <a:pt x="1834568" y="717553"/>
                  <a:pt x="1836503" y="715618"/>
                </a:cubicBezTo>
                <a:cubicBezTo>
                  <a:pt x="1842307" y="711750"/>
                  <a:pt x="1848108" y="709815"/>
                  <a:pt x="1853909" y="705949"/>
                </a:cubicBezTo>
                <a:cubicBezTo>
                  <a:pt x="1850043" y="707882"/>
                  <a:pt x="1848108" y="707882"/>
                  <a:pt x="1844240" y="707882"/>
                </a:cubicBezTo>
                <a:cubicBezTo>
                  <a:pt x="1840371" y="707882"/>
                  <a:pt x="1838436" y="711750"/>
                  <a:pt x="1836503" y="713685"/>
                </a:cubicBezTo>
                <a:cubicBezTo>
                  <a:pt x="1836503" y="709815"/>
                  <a:pt x="1834568" y="705949"/>
                  <a:pt x="1832635" y="700145"/>
                </a:cubicBezTo>
                <a:close/>
                <a:moveTo>
                  <a:pt x="5372043" y="694344"/>
                </a:moveTo>
                <a:cubicBezTo>
                  <a:pt x="5370108" y="698212"/>
                  <a:pt x="5366239" y="700145"/>
                  <a:pt x="5364306" y="700145"/>
                </a:cubicBezTo>
                <a:cubicBezTo>
                  <a:pt x="5366239" y="700145"/>
                  <a:pt x="5366239" y="702080"/>
                  <a:pt x="5366239" y="702080"/>
                </a:cubicBezTo>
                <a:cubicBezTo>
                  <a:pt x="5368175" y="700145"/>
                  <a:pt x="5370108" y="698212"/>
                  <a:pt x="5372043" y="694344"/>
                </a:cubicBezTo>
                <a:close/>
                <a:moveTo>
                  <a:pt x="1981562" y="690476"/>
                </a:moveTo>
                <a:cubicBezTo>
                  <a:pt x="1971890" y="694344"/>
                  <a:pt x="1962220" y="696277"/>
                  <a:pt x="1952551" y="698212"/>
                </a:cubicBezTo>
                <a:cubicBezTo>
                  <a:pt x="1950615" y="698212"/>
                  <a:pt x="1948680" y="702080"/>
                  <a:pt x="1948680" y="707882"/>
                </a:cubicBezTo>
                <a:cubicBezTo>
                  <a:pt x="1956419" y="704013"/>
                  <a:pt x="1966088" y="702080"/>
                  <a:pt x="1973825" y="698212"/>
                </a:cubicBezTo>
                <a:cubicBezTo>
                  <a:pt x="1977693" y="696277"/>
                  <a:pt x="1979626" y="692409"/>
                  <a:pt x="1981562" y="690476"/>
                </a:cubicBezTo>
                <a:close/>
                <a:moveTo>
                  <a:pt x="1860437" y="685157"/>
                </a:moveTo>
                <a:cubicBezTo>
                  <a:pt x="1858745" y="685640"/>
                  <a:pt x="1855844" y="688542"/>
                  <a:pt x="1850043" y="694344"/>
                </a:cubicBezTo>
                <a:cubicBezTo>
                  <a:pt x="1855844" y="692409"/>
                  <a:pt x="1859713" y="690476"/>
                  <a:pt x="1863581" y="690476"/>
                </a:cubicBezTo>
                <a:cubicBezTo>
                  <a:pt x="1862613" y="686607"/>
                  <a:pt x="1862129" y="684673"/>
                  <a:pt x="1860437" y="685157"/>
                </a:cubicBezTo>
                <a:close/>
                <a:moveTo>
                  <a:pt x="1735931" y="684672"/>
                </a:moveTo>
                <a:cubicBezTo>
                  <a:pt x="1728194" y="684672"/>
                  <a:pt x="1720458" y="684672"/>
                  <a:pt x="1714654" y="686607"/>
                </a:cubicBezTo>
                <a:cubicBezTo>
                  <a:pt x="1716590" y="688540"/>
                  <a:pt x="1716590" y="690476"/>
                  <a:pt x="1718523" y="692409"/>
                </a:cubicBezTo>
                <a:cubicBezTo>
                  <a:pt x="1724326" y="690476"/>
                  <a:pt x="1730127" y="690476"/>
                  <a:pt x="1735931" y="688540"/>
                </a:cubicBezTo>
                <a:cubicBezTo>
                  <a:pt x="1735931" y="688540"/>
                  <a:pt x="1735931" y="688540"/>
                  <a:pt x="1735931" y="684672"/>
                </a:cubicBezTo>
                <a:close/>
                <a:moveTo>
                  <a:pt x="5414594" y="663398"/>
                </a:moveTo>
                <a:cubicBezTo>
                  <a:pt x="5410723" y="665331"/>
                  <a:pt x="5404922" y="667266"/>
                  <a:pt x="5399121" y="671134"/>
                </a:cubicBezTo>
                <a:cubicBezTo>
                  <a:pt x="5404922" y="663398"/>
                  <a:pt x="5404922" y="663398"/>
                  <a:pt x="5414594" y="663398"/>
                </a:cubicBezTo>
                <a:close/>
                <a:moveTo>
                  <a:pt x="1726259" y="663398"/>
                </a:moveTo>
                <a:cubicBezTo>
                  <a:pt x="1722391" y="665331"/>
                  <a:pt x="1720458" y="667266"/>
                  <a:pt x="1716590" y="669199"/>
                </a:cubicBezTo>
                <a:cubicBezTo>
                  <a:pt x="1712721" y="671134"/>
                  <a:pt x="1710786" y="675003"/>
                  <a:pt x="1708853" y="678871"/>
                </a:cubicBezTo>
                <a:cubicBezTo>
                  <a:pt x="1708853" y="680804"/>
                  <a:pt x="1710786" y="680804"/>
                  <a:pt x="1710786" y="682739"/>
                </a:cubicBezTo>
                <a:cubicBezTo>
                  <a:pt x="1710786" y="680804"/>
                  <a:pt x="1712721" y="680804"/>
                  <a:pt x="1712721" y="678871"/>
                </a:cubicBezTo>
                <a:cubicBezTo>
                  <a:pt x="1712721" y="676936"/>
                  <a:pt x="1714654" y="676936"/>
                  <a:pt x="1714654" y="676936"/>
                </a:cubicBezTo>
                <a:cubicBezTo>
                  <a:pt x="1722391" y="675003"/>
                  <a:pt x="1726259" y="669199"/>
                  <a:pt x="1726259" y="663398"/>
                </a:cubicBezTo>
                <a:close/>
                <a:moveTo>
                  <a:pt x="1163436" y="653726"/>
                </a:moveTo>
                <a:cubicBezTo>
                  <a:pt x="1147963" y="653726"/>
                  <a:pt x="1147963" y="653726"/>
                  <a:pt x="1118950" y="669199"/>
                </a:cubicBezTo>
                <a:cubicBezTo>
                  <a:pt x="1136359" y="669199"/>
                  <a:pt x="1149896" y="665331"/>
                  <a:pt x="1163436" y="653726"/>
                </a:cubicBezTo>
                <a:close/>
                <a:moveTo>
                  <a:pt x="3539475" y="647925"/>
                </a:moveTo>
                <a:lnTo>
                  <a:pt x="3542382" y="647925"/>
                </a:lnTo>
                <a:cubicBezTo>
                  <a:pt x="3538514" y="651793"/>
                  <a:pt x="3534646" y="653726"/>
                  <a:pt x="3530777" y="655661"/>
                </a:cubicBezTo>
                <a:lnTo>
                  <a:pt x="3526574" y="654461"/>
                </a:lnTo>
                <a:lnTo>
                  <a:pt x="3532710" y="649858"/>
                </a:lnTo>
                <a:close/>
                <a:moveTo>
                  <a:pt x="3563656" y="634385"/>
                </a:moveTo>
                <a:cubicBezTo>
                  <a:pt x="3563656" y="636320"/>
                  <a:pt x="3563656" y="638253"/>
                  <a:pt x="3563656" y="638253"/>
                </a:cubicBezTo>
                <a:cubicBezTo>
                  <a:pt x="3561723" y="640188"/>
                  <a:pt x="3559788" y="640188"/>
                  <a:pt x="3557855" y="642121"/>
                </a:cubicBezTo>
                <a:cubicBezTo>
                  <a:pt x="3557855" y="642121"/>
                  <a:pt x="3557855" y="640188"/>
                  <a:pt x="3557855" y="640188"/>
                </a:cubicBezTo>
                <a:cubicBezTo>
                  <a:pt x="3557855" y="638253"/>
                  <a:pt x="3559788" y="636320"/>
                  <a:pt x="3563656" y="634385"/>
                </a:cubicBezTo>
                <a:close/>
                <a:moveTo>
                  <a:pt x="3534646" y="632452"/>
                </a:moveTo>
                <a:cubicBezTo>
                  <a:pt x="3534646" y="632452"/>
                  <a:pt x="3532710" y="636320"/>
                  <a:pt x="3534646" y="636320"/>
                </a:cubicBezTo>
                <a:cubicBezTo>
                  <a:pt x="3534646" y="638253"/>
                  <a:pt x="3536579" y="640188"/>
                  <a:pt x="3538514" y="642121"/>
                </a:cubicBezTo>
                <a:cubicBezTo>
                  <a:pt x="3538514" y="640188"/>
                  <a:pt x="3540447" y="638253"/>
                  <a:pt x="3540447" y="636320"/>
                </a:cubicBezTo>
                <a:cubicBezTo>
                  <a:pt x="3538514" y="634385"/>
                  <a:pt x="3536579" y="632452"/>
                  <a:pt x="3534646" y="632452"/>
                </a:cubicBezTo>
                <a:close/>
                <a:moveTo>
                  <a:pt x="5248259" y="624715"/>
                </a:moveTo>
                <a:cubicBezTo>
                  <a:pt x="5248259" y="624715"/>
                  <a:pt x="5250194" y="626651"/>
                  <a:pt x="5250194" y="626651"/>
                </a:cubicBezTo>
                <a:cubicBezTo>
                  <a:pt x="5248259" y="628584"/>
                  <a:pt x="5246326" y="628584"/>
                  <a:pt x="5244393" y="630519"/>
                </a:cubicBezTo>
                <a:cubicBezTo>
                  <a:pt x="5244393" y="630519"/>
                  <a:pt x="5244393" y="630519"/>
                  <a:pt x="5242458" y="628584"/>
                </a:cubicBezTo>
                <a:cubicBezTo>
                  <a:pt x="5244393" y="628584"/>
                  <a:pt x="5246326" y="626651"/>
                  <a:pt x="5248259" y="624715"/>
                </a:cubicBezTo>
                <a:close/>
                <a:moveTo>
                  <a:pt x="2076333" y="616979"/>
                </a:moveTo>
                <a:cubicBezTo>
                  <a:pt x="2074397" y="620847"/>
                  <a:pt x="2076333" y="622780"/>
                  <a:pt x="2076333" y="624715"/>
                </a:cubicBezTo>
                <a:cubicBezTo>
                  <a:pt x="2078265" y="622780"/>
                  <a:pt x="2080201" y="618914"/>
                  <a:pt x="2076333" y="616979"/>
                </a:cubicBezTo>
                <a:close/>
                <a:moveTo>
                  <a:pt x="1991231" y="611178"/>
                </a:moveTo>
                <a:cubicBezTo>
                  <a:pt x="1983494" y="609242"/>
                  <a:pt x="1977693" y="613111"/>
                  <a:pt x="1969957" y="616979"/>
                </a:cubicBezTo>
                <a:cubicBezTo>
                  <a:pt x="1969957" y="616979"/>
                  <a:pt x="1971890" y="616979"/>
                  <a:pt x="1971890" y="616979"/>
                </a:cubicBezTo>
                <a:cubicBezTo>
                  <a:pt x="1975760" y="616979"/>
                  <a:pt x="1981562" y="616979"/>
                  <a:pt x="1985430" y="615046"/>
                </a:cubicBezTo>
                <a:cubicBezTo>
                  <a:pt x="1987363" y="613111"/>
                  <a:pt x="1989298" y="613111"/>
                  <a:pt x="1991231" y="611178"/>
                </a:cubicBezTo>
                <a:close/>
                <a:moveTo>
                  <a:pt x="1821030" y="603441"/>
                </a:moveTo>
                <a:lnTo>
                  <a:pt x="1820451" y="607623"/>
                </a:lnTo>
                <a:lnTo>
                  <a:pt x="1817162" y="609242"/>
                </a:lnTo>
                <a:lnTo>
                  <a:pt x="1816673" y="606553"/>
                </a:lnTo>
                <a:close/>
                <a:moveTo>
                  <a:pt x="3523041" y="601506"/>
                </a:moveTo>
                <a:cubicBezTo>
                  <a:pt x="3521106" y="601506"/>
                  <a:pt x="3519173" y="603441"/>
                  <a:pt x="3519173" y="603441"/>
                </a:cubicBezTo>
                <a:cubicBezTo>
                  <a:pt x="3519173" y="605374"/>
                  <a:pt x="3521106" y="605374"/>
                  <a:pt x="3521106" y="607309"/>
                </a:cubicBezTo>
                <a:cubicBezTo>
                  <a:pt x="3521106" y="607309"/>
                  <a:pt x="3523041" y="605374"/>
                  <a:pt x="3524974" y="603441"/>
                </a:cubicBezTo>
                <a:cubicBezTo>
                  <a:pt x="3524974" y="603441"/>
                  <a:pt x="3523041" y="601506"/>
                  <a:pt x="3523041" y="601506"/>
                </a:cubicBezTo>
                <a:close/>
                <a:moveTo>
                  <a:pt x="1478696" y="599573"/>
                </a:moveTo>
                <a:cubicBezTo>
                  <a:pt x="1474827" y="601506"/>
                  <a:pt x="1470957" y="601506"/>
                  <a:pt x="1467088" y="603441"/>
                </a:cubicBezTo>
                <a:cubicBezTo>
                  <a:pt x="1469024" y="605374"/>
                  <a:pt x="1472892" y="605374"/>
                  <a:pt x="1474827" y="605374"/>
                </a:cubicBezTo>
                <a:cubicBezTo>
                  <a:pt x="1474827" y="605374"/>
                  <a:pt x="1476760" y="605374"/>
                  <a:pt x="1476760" y="605374"/>
                </a:cubicBezTo>
                <a:cubicBezTo>
                  <a:pt x="1478696" y="605374"/>
                  <a:pt x="1480628" y="603441"/>
                  <a:pt x="1480628" y="601506"/>
                </a:cubicBezTo>
                <a:cubicBezTo>
                  <a:pt x="1478696" y="601506"/>
                  <a:pt x="1478696" y="599573"/>
                  <a:pt x="1478696" y="599573"/>
                </a:cubicBezTo>
                <a:close/>
                <a:moveTo>
                  <a:pt x="3473721" y="589901"/>
                </a:moveTo>
                <a:lnTo>
                  <a:pt x="3478555" y="589901"/>
                </a:lnTo>
                <a:cubicBezTo>
                  <a:pt x="3478555" y="589901"/>
                  <a:pt x="3478555" y="591836"/>
                  <a:pt x="3478555" y="591836"/>
                </a:cubicBezTo>
                <a:lnTo>
                  <a:pt x="3473778" y="590243"/>
                </a:lnTo>
                <a:close/>
                <a:moveTo>
                  <a:pt x="1420672" y="580232"/>
                </a:moveTo>
                <a:cubicBezTo>
                  <a:pt x="1412935" y="584100"/>
                  <a:pt x="1405199" y="587968"/>
                  <a:pt x="1391661" y="595705"/>
                </a:cubicBezTo>
                <a:cubicBezTo>
                  <a:pt x="1407132" y="593769"/>
                  <a:pt x="1416803" y="591836"/>
                  <a:pt x="1428408" y="589901"/>
                </a:cubicBezTo>
                <a:cubicBezTo>
                  <a:pt x="1428408" y="584100"/>
                  <a:pt x="1428408" y="580232"/>
                  <a:pt x="1420672" y="580232"/>
                </a:cubicBezTo>
                <a:close/>
                <a:moveTo>
                  <a:pt x="3492895" y="576352"/>
                </a:moveTo>
                <a:lnTo>
                  <a:pt x="3491611" y="580714"/>
                </a:lnTo>
                <a:cubicBezTo>
                  <a:pt x="3490644" y="581681"/>
                  <a:pt x="3489194" y="581198"/>
                  <a:pt x="3486294" y="580232"/>
                </a:cubicBezTo>
                <a:lnTo>
                  <a:pt x="3488472" y="578053"/>
                </a:lnTo>
                <a:close/>
                <a:moveTo>
                  <a:pt x="4145820" y="562823"/>
                </a:moveTo>
                <a:cubicBezTo>
                  <a:pt x="4141955" y="564758"/>
                  <a:pt x="4140019" y="564758"/>
                  <a:pt x="4138086" y="566691"/>
                </a:cubicBezTo>
                <a:cubicBezTo>
                  <a:pt x="4132283" y="570560"/>
                  <a:pt x="4124546" y="572495"/>
                  <a:pt x="4118745" y="576363"/>
                </a:cubicBezTo>
                <a:cubicBezTo>
                  <a:pt x="4126479" y="576363"/>
                  <a:pt x="4134216" y="576363"/>
                  <a:pt x="4141955" y="574428"/>
                </a:cubicBezTo>
                <a:cubicBezTo>
                  <a:pt x="4143888" y="572495"/>
                  <a:pt x="4147756" y="572495"/>
                  <a:pt x="4149689" y="570560"/>
                </a:cubicBezTo>
                <a:cubicBezTo>
                  <a:pt x="4151624" y="570560"/>
                  <a:pt x="4151624" y="568627"/>
                  <a:pt x="4151624" y="568627"/>
                </a:cubicBezTo>
                <a:cubicBezTo>
                  <a:pt x="4149689" y="566691"/>
                  <a:pt x="4147756" y="564758"/>
                  <a:pt x="4145820" y="562823"/>
                </a:cubicBezTo>
                <a:close/>
                <a:moveTo>
                  <a:pt x="1494166" y="562823"/>
                </a:moveTo>
                <a:cubicBezTo>
                  <a:pt x="1470957" y="566691"/>
                  <a:pt x="1470957" y="566691"/>
                  <a:pt x="1463222" y="572495"/>
                </a:cubicBezTo>
                <a:cubicBezTo>
                  <a:pt x="1486430" y="570560"/>
                  <a:pt x="1486430" y="570560"/>
                  <a:pt x="1494166" y="562823"/>
                </a:cubicBezTo>
                <a:close/>
                <a:moveTo>
                  <a:pt x="4027842" y="560890"/>
                </a:moveTo>
                <a:cubicBezTo>
                  <a:pt x="4023974" y="562823"/>
                  <a:pt x="4018170" y="564758"/>
                  <a:pt x="4014302" y="566691"/>
                </a:cubicBezTo>
                <a:cubicBezTo>
                  <a:pt x="4012369" y="568627"/>
                  <a:pt x="4010434" y="568627"/>
                  <a:pt x="4008501" y="570560"/>
                </a:cubicBezTo>
                <a:cubicBezTo>
                  <a:pt x="4008501" y="572495"/>
                  <a:pt x="4008501" y="572495"/>
                  <a:pt x="4008501" y="574428"/>
                </a:cubicBezTo>
                <a:cubicBezTo>
                  <a:pt x="4010434" y="574428"/>
                  <a:pt x="4012369" y="572495"/>
                  <a:pt x="4014302" y="572495"/>
                </a:cubicBezTo>
                <a:cubicBezTo>
                  <a:pt x="4020103" y="570560"/>
                  <a:pt x="4025907" y="570560"/>
                  <a:pt x="4027842" y="560890"/>
                </a:cubicBezTo>
                <a:close/>
                <a:moveTo>
                  <a:pt x="2269743" y="560890"/>
                </a:moveTo>
                <a:cubicBezTo>
                  <a:pt x="2267808" y="562823"/>
                  <a:pt x="2267808" y="562823"/>
                  <a:pt x="2267808" y="562823"/>
                </a:cubicBezTo>
                <a:cubicBezTo>
                  <a:pt x="2267808" y="562823"/>
                  <a:pt x="2267808" y="564758"/>
                  <a:pt x="2267808" y="564758"/>
                </a:cubicBezTo>
                <a:cubicBezTo>
                  <a:pt x="2267808" y="564758"/>
                  <a:pt x="2269743" y="564758"/>
                  <a:pt x="2269743" y="564758"/>
                </a:cubicBezTo>
                <a:cubicBezTo>
                  <a:pt x="2269743" y="562823"/>
                  <a:pt x="2269743" y="562823"/>
                  <a:pt x="2269743" y="560890"/>
                </a:cubicBezTo>
                <a:close/>
                <a:moveTo>
                  <a:pt x="4167097" y="551218"/>
                </a:moveTo>
                <a:cubicBezTo>
                  <a:pt x="4165162" y="551218"/>
                  <a:pt x="4165162" y="551218"/>
                  <a:pt x="4163229" y="555087"/>
                </a:cubicBezTo>
                <a:cubicBezTo>
                  <a:pt x="4163229" y="555087"/>
                  <a:pt x="4161296" y="557022"/>
                  <a:pt x="4161296" y="557022"/>
                </a:cubicBezTo>
                <a:cubicBezTo>
                  <a:pt x="4167097" y="558955"/>
                  <a:pt x="4165162" y="549285"/>
                  <a:pt x="4167097" y="551218"/>
                </a:cubicBezTo>
                <a:close/>
                <a:moveTo>
                  <a:pt x="4029775" y="551218"/>
                </a:moveTo>
                <a:cubicBezTo>
                  <a:pt x="4027842" y="553154"/>
                  <a:pt x="4027842" y="553154"/>
                  <a:pt x="4029775" y="555087"/>
                </a:cubicBezTo>
                <a:lnTo>
                  <a:pt x="4028324" y="553636"/>
                </a:lnTo>
                <a:lnTo>
                  <a:pt x="4028163" y="552832"/>
                </a:lnTo>
                <a:close/>
                <a:moveTo>
                  <a:pt x="4027840" y="551216"/>
                </a:moveTo>
                <a:lnTo>
                  <a:pt x="4027842" y="551218"/>
                </a:lnTo>
                <a:lnTo>
                  <a:pt x="4027841" y="551219"/>
                </a:lnTo>
                <a:close/>
                <a:moveTo>
                  <a:pt x="3540447" y="547350"/>
                </a:moveTo>
                <a:cubicBezTo>
                  <a:pt x="3540447" y="549285"/>
                  <a:pt x="3540447" y="549285"/>
                  <a:pt x="3542382" y="551218"/>
                </a:cubicBezTo>
                <a:cubicBezTo>
                  <a:pt x="3540447" y="553154"/>
                  <a:pt x="3536579" y="553154"/>
                  <a:pt x="3534646" y="555087"/>
                </a:cubicBezTo>
                <a:cubicBezTo>
                  <a:pt x="3534646" y="555087"/>
                  <a:pt x="3534646" y="553154"/>
                  <a:pt x="3532710" y="553154"/>
                </a:cubicBezTo>
                <a:cubicBezTo>
                  <a:pt x="3534646" y="549285"/>
                  <a:pt x="3538514" y="547350"/>
                  <a:pt x="3540447" y="547350"/>
                </a:cubicBezTo>
                <a:close/>
                <a:moveTo>
                  <a:pt x="3548183" y="541549"/>
                </a:moveTo>
                <a:cubicBezTo>
                  <a:pt x="3548183" y="541549"/>
                  <a:pt x="3550119" y="543484"/>
                  <a:pt x="3550119" y="543484"/>
                </a:cubicBezTo>
                <a:cubicBezTo>
                  <a:pt x="3548183" y="545417"/>
                  <a:pt x="3548183" y="547350"/>
                  <a:pt x="3546248" y="547350"/>
                </a:cubicBezTo>
                <a:cubicBezTo>
                  <a:pt x="3546248" y="547350"/>
                  <a:pt x="3544315" y="545417"/>
                  <a:pt x="3544315" y="545417"/>
                </a:cubicBezTo>
                <a:cubicBezTo>
                  <a:pt x="3546248" y="543484"/>
                  <a:pt x="3548183" y="543484"/>
                  <a:pt x="3548183" y="541549"/>
                </a:cubicBezTo>
                <a:close/>
                <a:moveTo>
                  <a:pt x="1641157" y="539614"/>
                </a:moveTo>
                <a:cubicBezTo>
                  <a:pt x="1639225" y="539614"/>
                  <a:pt x="1637292" y="541549"/>
                  <a:pt x="1637292" y="541549"/>
                </a:cubicBezTo>
                <a:cubicBezTo>
                  <a:pt x="1635356" y="541549"/>
                  <a:pt x="1637292" y="543484"/>
                  <a:pt x="1637292" y="547350"/>
                </a:cubicBezTo>
                <a:cubicBezTo>
                  <a:pt x="1639225" y="545417"/>
                  <a:pt x="1641157" y="545417"/>
                  <a:pt x="1643093" y="543484"/>
                </a:cubicBezTo>
                <a:cubicBezTo>
                  <a:pt x="1643093" y="543484"/>
                  <a:pt x="1641157" y="539614"/>
                  <a:pt x="1641157" y="539614"/>
                </a:cubicBezTo>
                <a:close/>
                <a:moveTo>
                  <a:pt x="1604410" y="537681"/>
                </a:moveTo>
                <a:cubicBezTo>
                  <a:pt x="1602477" y="539614"/>
                  <a:pt x="1602477" y="543484"/>
                  <a:pt x="1602477" y="547350"/>
                </a:cubicBezTo>
                <a:cubicBezTo>
                  <a:pt x="1606346" y="547350"/>
                  <a:pt x="1610214" y="547350"/>
                  <a:pt x="1612147" y="545417"/>
                </a:cubicBezTo>
                <a:cubicBezTo>
                  <a:pt x="1614082" y="543484"/>
                  <a:pt x="1614082" y="539614"/>
                  <a:pt x="1614082" y="537681"/>
                </a:cubicBezTo>
                <a:cubicBezTo>
                  <a:pt x="1610214" y="537681"/>
                  <a:pt x="1606346" y="535745"/>
                  <a:pt x="1604410" y="537681"/>
                </a:cubicBezTo>
                <a:close/>
                <a:moveTo>
                  <a:pt x="4130347" y="528009"/>
                </a:moveTo>
                <a:cubicBezTo>
                  <a:pt x="4124546" y="526076"/>
                  <a:pt x="4122613" y="528009"/>
                  <a:pt x="4118745" y="535745"/>
                </a:cubicBezTo>
                <a:cubicBezTo>
                  <a:pt x="4124546" y="533812"/>
                  <a:pt x="4128415" y="531879"/>
                  <a:pt x="4130347" y="528009"/>
                </a:cubicBezTo>
                <a:close/>
                <a:moveTo>
                  <a:pt x="4199976" y="520275"/>
                </a:moveTo>
                <a:cubicBezTo>
                  <a:pt x="4190307" y="524143"/>
                  <a:pt x="4184503" y="528009"/>
                  <a:pt x="4176767" y="531879"/>
                </a:cubicBezTo>
                <a:cubicBezTo>
                  <a:pt x="4176767" y="535745"/>
                  <a:pt x="4176767" y="537681"/>
                  <a:pt x="4176767" y="541549"/>
                </a:cubicBezTo>
                <a:cubicBezTo>
                  <a:pt x="4176767" y="541549"/>
                  <a:pt x="4178702" y="541549"/>
                  <a:pt x="4178702" y="541549"/>
                </a:cubicBezTo>
                <a:cubicBezTo>
                  <a:pt x="4178702" y="541549"/>
                  <a:pt x="4176767" y="543484"/>
                  <a:pt x="4176767" y="543484"/>
                </a:cubicBezTo>
                <a:cubicBezTo>
                  <a:pt x="4176767" y="545417"/>
                  <a:pt x="4176767" y="545417"/>
                  <a:pt x="4176767" y="547350"/>
                </a:cubicBezTo>
                <a:cubicBezTo>
                  <a:pt x="4178702" y="549285"/>
                  <a:pt x="4178702" y="549285"/>
                  <a:pt x="4180635" y="549285"/>
                </a:cubicBezTo>
                <a:cubicBezTo>
                  <a:pt x="4182570" y="537681"/>
                  <a:pt x="4201911" y="537681"/>
                  <a:pt x="4199976" y="520275"/>
                </a:cubicBezTo>
                <a:close/>
                <a:moveTo>
                  <a:pt x="4112941" y="518339"/>
                </a:moveTo>
                <a:cubicBezTo>
                  <a:pt x="4111009" y="518339"/>
                  <a:pt x="4109073" y="520275"/>
                  <a:pt x="4105205" y="520275"/>
                </a:cubicBezTo>
                <a:cubicBezTo>
                  <a:pt x="4107138" y="520275"/>
                  <a:pt x="4107138" y="522208"/>
                  <a:pt x="4107138" y="522208"/>
                </a:cubicBezTo>
                <a:cubicBezTo>
                  <a:pt x="4109073" y="522208"/>
                  <a:pt x="4111009" y="520275"/>
                  <a:pt x="4112941" y="518339"/>
                </a:cubicBezTo>
                <a:close/>
                <a:moveTo>
                  <a:pt x="4234790" y="504802"/>
                </a:moveTo>
                <a:cubicBezTo>
                  <a:pt x="4232855" y="506735"/>
                  <a:pt x="4228989" y="510603"/>
                  <a:pt x="4225121" y="512538"/>
                </a:cubicBezTo>
                <a:cubicBezTo>
                  <a:pt x="4232855" y="514471"/>
                  <a:pt x="4232855" y="514471"/>
                  <a:pt x="4234790" y="504802"/>
                </a:cubicBezTo>
                <a:close/>
                <a:moveTo>
                  <a:pt x="4917188" y="495811"/>
                </a:moveTo>
                <a:lnTo>
                  <a:pt x="4913661" y="502866"/>
                </a:lnTo>
                <a:cubicBezTo>
                  <a:pt x="4913661" y="502866"/>
                  <a:pt x="4911725" y="500933"/>
                  <a:pt x="4911725" y="500933"/>
                </a:cubicBezTo>
                <a:lnTo>
                  <a:pt x="4914633" y="498025"/>
                </a:lnTo>
                <a:close/>
                <a:moveTo>
                  <a:pt x="4252196" y="495130"/>
                </a:moveTo>
                <a:cubicBezTo>
                  <a:pt x="4242527" y="495130"/>
                  <a:pt x="4238659" y="502866"/>
                  <a:pt x="4234790" y="506735"/>
                </a:cubicBezTo>
                <a:cubicBezTo>
                  <a:pt x="4236723" y="506735"/>
                  <a:pt x="4238659" y="508670"/>
                  <a:pt x="4242527" y="508670"/>
                </a:cubicBezTo>
                <a:cubicBezTo>
                  <a:pt x="4246395" y="504802"/>
                  <a:pt x="4248330" y="500933"/>
                  <a:pt x="4252196" y="495130"/>
                </a:cubicBezTo>
                <a:close/>
                <a:moveTo>
                  <a:pt x="4184503" y="495130"/>
                </a:moveTo>
                <a:cubicBezTo>
                  <a:pt x="4182570" y="495130"/>
                  <a:pt x="4180635" y="498998"/>
                  <a:pt x="4178702" y="498998"/>
                </a:cubicBezTo>
                <a:cubicBezTo>
                  <a:pt x="4165162" y="497065"/>
                  <a:pt x="4159361" y="506735"/>
                  <a:pt x="4149689" y="512538"/>
                </a:cubicBezTo>
                <a:cubicBezTo>
                  <a:pt x="4145820" y="514471"/>
                  <a:pt x="4143888" y="518339"/>
                  <a:pt x="4140019" y="524143"/>
                </a:cubicBezTo>
                <a:cubicBezTo>
                  <a:pt x="4141955" y="526076"/>
                  <a:pt x="4141955" y="528009"/>
                  <a:pt x="4143888" y="529944"/>
                </a:cubicBezTo>
                <a:cubicBezTo>
                  <a:pt x="4147756" y="528009"/>
                  <a:pt x="4153557" y="526076"/>
                  <a:pt x="4157425" y="526076"/>
                </a:cubicBezTo>
                <a:cubicBezTo>
                  <a:pt x="4157425" y="526076"/>
                  <a:pt x="4159361" y="526076"/>
                  <a:pt x="4159361" y="526076"/>
                </a:cubicBezTo>
                <a:cubicBezTo>
                  <a:pt x="4159361" y="528009"/>
                  <a:pt x="4159361" y="528009"/>
                  <a:pt x="4159361" y="528009"/>
                </a:cubicBezTo>
                <a:cubicBezTo>
                  <a:pt x="4161296" y="528009"/>
                  <a:pt x="4161296" y="528009"/>
                  <a:pt x="4163229" y="529944"/>
                </a:cubicBezTo>
                <a:cubicBezTo>
                  <a:pt x="4163229" y="528009"/>
                  <a:pt x="4163229" y="526076"/>
                  <a:pt x="4163229" y="526076"/>
                </a:cubicBezTo>
                <a:cubicBezTo>
                  <a:pt x="4163229" y="520275"/>
                  <a:pt x="4165162" y="518339"/>
                  <a:pt x="4169030" y="516406"/>
                </a:cubicBezTo>
                <a:cubicBezTo>
                  <a:pt x="4176767" y="510603"/>
                  <a:pt x="4184503" y="504802"/>
                  <a:pt x="4192240" y="498998"/>
                </a:cubicBezTo>
                <a:cubicBezTo>
                  <a:pt x="4190307" y="497065"/>
                  <a:pt x="4190307" y="497065"/>
                  <a:pt x="4190307" y="495130"/>
                </a:cubicBezTo>
                <a:cubicBezTo>
                  <a:pt x="4188371" y="495130"/>
                  <a:pt x="4186438" y="495130"/>
                  <a:pt x="4184503" y="495130"/>
                </a:cubicBezTo>
                <a:close/>
                <a:moveTo>
                  <a:pt x="4143888" y="489329"/>
                </a:moveTo>
                <a:cubicBezTo>
                  <a:pt x="4141955" y="489329"/>
                  <a:pt x="4138086" y="491262"/>
                  <a:pt x="4136151" y="491262"/>
                </a:cubicBezTo>
                <a:cubicBezTo>
                  <a:pt x="4136151" y="491262"/>
                  <a:pt x="4136151" y="493197"/>
                  <a:pt x="4136151" y="493197"/>
                </a:cubicBezTo>
                <a:cubicBezTo>
                  <a:pt x="4138086" y="491262"/>
                  <a:pt x="4141955" y="491262"/>
                  <a:pt x="4143888" y="491262"/>
                </a:cubicBezTo>
                <a:cubicBezTo>
                  <a:pt x="4143888" y="489329"/>
                  <a:pt x="4143888" y="489329"/>
                  <a:pt x="4143888" y="489329"/>
                </a:cubicBezTo>
                <a:close/>
                <a:moveTo>
                  <a:pt x="4128415" y="489329"/>
                </a:moveTo>
                <a:cubicBezTo>
                  <a:pt x="4122613" y="493197"/>
                  <a:pt x="4118745" y="495130"/>
                  <a:pt x="4114877" y="497065"/>
                </a:cubicBezTo>
                <a:cubicBezTo>
                  <a:pt x="4114877" y="497065"/>
                  <a:pt x="4116810" y="498998"/>
                  <a:pt x="4116810" y="498998"/>
                </a:cubicBezTo>
                <a:cubicBezTo>
                  <a:pt x="4120678" y="497065"/>
                  <a:pt x="4126479" y="498998"/>
                  <a:pt x="4128415" y="489329"/>
                </a:cubicBezTo>
                <a:close/>
                <a:moveTo>
                  <a:pt x="3488227" y="485460"/>
                </a:moveTo>
                <a:cubicBezTo>
                  <a:pt x="3488227" y="485460"/>
                  <a:pt x="3486294" y="485460"/>
                  <a:pt x="3486294" y="487393"/>
                </a:cubicBezTo>
                <a:cubicBezTo>
                  <a:pt x="3484358" y="489329"/>
                  <a:pt x="3482423" y="489329"/>
                  <a:pt x="3480490" y="491262"/>
                </a:cubicBezTo>
                <a:cubicBezTo>
                  <a:pt x="3480490" y="489329"/>
                  <a:pt x="3482423" y="487393"/>
                  <a:pt x="3482423" y="487393"/>
                </a:cubicBezTo>
                <a:cubicBezTo>
                  <a:pt x="3484358" y="485460"/>
                  <a:pt x="3486294" y="485460"/>
                  <a:pt x="3488227" y="485460"/>
                </a:cubicBezTo>
                <a:close/>
                <a:moveTo>
                  <a:pt x="4136151" y="471920"/>
                </a:moveTo>
                <a:cubicBezTo>
                  <a:pt x="4132283" y="473856"/>
                  <a:pt x="4130347" y="475789"/>
                  <a:pt x="4128415" y="477724"/>
                </a:cubicBezTo>
                <a:cubicBezTo>
                  <a:pt x="4134216" y="481592"/>
                  <a:pt x="4136151" y="477724"/>
                  <a:pt x="4138086" y="473856"/>
                </a:cubicBezTo>
                <a:cubicBezTo>
                  <a:pt x="4138086" y="473856"/>
                  <a:pt x="4136151" y="473856"/>
                  <a:pt x="4136151" y="471920"/>
                </a:cubicBezTo>
                <a:close/>
                <a:moveTo>
                  <a:pt x="4247120" y="469019"/>
                </a:moveTo>
                <a:cubicBezTo>
                  <a:pt x="4245911" y="468536"/>
                  <a:pt x="4245427" y="469020"/>
                  <a:pt x="4244460" y="469987"/>
                </a:cubicBezTo>
                <a:cubicBezTo>
                  <a:pt x="4236723" y="475789"/>
                  <a:pt x="4230922" y="481592"/>
                  <a:pt x="4223186" y="487393"/>
                </a:cubicBezTo>
                <a:cubicBezTo>
                  <a:pt x="4213514" y="495130"/>
                  <a:pt x="4205780" y="504802"/>
                  <a:pt x="4190307" y="504802"/>
                </a:cubicBezTo>
                <a:cubicBezTo>
                  <a:pt x="4188371" y="504802"/>
                  <a:pt x="4186438" y="506735"/>
                  <a:pt x="4186438" y="508670"/>
                </a:cubicBezTo>
                <a:cubicBezTo>
                  <a:pt x="4186438" y="510603"/>
                  <a:pt x="4188371" y="512538"/>
                  <a:pt x="4190307" y="512538"/>
                </a:cubicBezTo>
                <a:cubicBezTo>
                  <a:pt x="4194172" y="512538"/>
                  <a:pt x="4198043" y="512538"/>
                  <a:pt x="4199976" y="510603"/>
                </a:cubicBezTo>
                <a:cubicBezTo>
                  <a:pt x="4211581" y="502866"/>
                  <a:pt x="4221253" y="495130"/>
                  <a:pt x="4232855" y="489329"/>
                </a:cubicBezTo>
                <a:cubicBezTo>
                  <a:pt x="4240592" y="483525"/>
                  <a:pt x="4246395" y="479657"/>
                  <a:pt x="4254132" y="473856"/>
                </a:cubicBezTo>
                <a:cubicBezTo>
                  <a:pt x="4250264" y="470954"/>
                  <a:pt x="4248329" y="469503"/>
                  <a:pt x="4247120" y="469019"/>
                </a:cubicBezTo>
                <a:close/>
                <a:moveTo>
                  <a:pt x="4238659" y="458383"/>
                </a:moveTo>
                <a:cubicBezTo>
                  <a:pt x="4236723" y="458383"/>
                  <a:pt x="4234790" y="458383"/>
                  <a:pt x="4232855" y="460316"/>
                </a:cubicBezTo>
                <a:cubicBezTo>
                  <a:pt x="4223186" y="468052"/>
                  <a:pt x="4211581" y="475789"/>
                  <a:pt x="4201911" y="483525"/>
                </a:cubicBezTo>
                <a:cubicBezTo>
                  <a:pt x="4201911" y="483525"/>
                  <a:pt x="4201911" y="483525"/>
                  <a:pt x="4201911" y="485460"/>
                </a:cubicBezTo>
                <a:cubicBezTo>
                  <a:pt x="4201911" y="485460"/>
                  <a:pt x="4201911" y="489329"/>
                  <a:pt x="4199976" y="495130"/>
                </a:cubicBezTo>
                <a:cubicBezTo>
                  <a:pt x="4205780" y="491262"/>
                  <a:pt x="4209648" y="487393"/>
                  <a:pt x="4215449" y="483525"/>
                </a:cubicBezTo>
                <a:cubicBezTo>
                  <a:pt x="4213514" y="483525"/>
                  <a:pt x="4213514" y="485460"/>
                  <a:pt x="4211581" y="485460"/>
                </a:cubicBezTo>
                <a:cubicBezTo>
                  <a:pt x="4209648" y="483525"/>
                  <a:pt x="4209648" y="483525"/>
                  <a:pt x="4209648" y="481592"/>
                </a:cubicBezTo>
                <a:cubicBezTo>
                  <a:pt x="4213514" y="475789"/>
                  <a:pt x="4217382" y="475789"/>
                  <a:pt x="4223186" y="475789"/>
                </a:cubicBezTo>
                <a:cubicBezTo>
                  <a:pt x="4228989" y="471920"/>
                  <a:pt x="4234790" y="466119"/>
                  <a:pt x="4240592" y="462251"/>
                </a:cubicBezTo>
                <a:cubicBezTo>
                  <a:pt x="4240592" y="460316"/>
                  <a:pt x="4238659" y="460316"/>
                  <a:pt x="4238659" y="458383"/>
                </a:cubicBezTo>
                <a:close/>
                <a:moveTo>
                  <a:pt x="2836434" y="448711"/>
                </a:moveTo>
                <a:cubicBezTo>
                  <a:pt x="2834501" y="448711"/>
                  <a:pt x="2832566" y="448711"/>
                  <a:pt x="2832566" y="450646"/>
                </a:cubicBezTo>
                <a:cubicBezTo>
                  <a:pt x="2832566" y="452579"/>
                  <a:pt x="2832566" y="454514"/>
                  <a:pt x="2828697" y="454514"/>
                </a:cubicBezTo>
                <a:cubicBezTo>
                  <a:pt x="2822896" y="452579"/>
                  <a:pt x="2820961" y="456450"/>
                  <a:pt x="2817093" y="458383"/>
                </a:cubicBezTo>
                <a:cubicBezTo>
                  <a:pt x="2815160" y="460316"/>
                  <a:pt x="2815160" y="464184"/>
                  <a:pt x="2819028" y="464184"/>
                </a:cubicBezTo>
                <a:cubicBezTo>
                  <a:pt x="2819028" y="466119"/>
                  <a:pt x="2820961" y="466119"/>
                  <a:pt x="2822896" y="466119"/>
                </a:cubicBezTo>
                <a:cubicBezTo>
                  <a:pt x="2824829" y="464184"/>
                  <a:pt x="2826764" y="464184"/>
                  <a:pt x="2828697" y="462251"/>
                </a:cubicBezTo>
                <a:cubicBezTo>
                  <a:pt x="2830630" y="460316"/>
                  <a:pt x="2834501" y="458383"/>
                  <a:pt x="2836434" y="456450"/>
                </a:cubicBezTo>
                <a:cubicBezTo>
                  <a:pt x="2836434" y="456450"/>
                  <a:pt x="2838369" y="454514"/>
                  <a:pt x="2838369" y="454514"/>
                </a:cubicBezTo>
                <a:cubicBezTo>
                  <a:pt x="2840302" y="452579"/>
                  <a:pt x="2840302" y="452579"/>
                  <a:pt x="2838369" y="450646"/>
                </a:cubicBezTo>
                <a:cubicBezTo>
                  <a:pt x="2836434" y="450646"/>
                  <a:pt x="2836434" y="448711"/>
                  <a:pt x="2836434" y="448711"/>
                </a:cubicBezTo>
                <a:close/>
                <a:moveTo>
                  <a:pt x="4221253" y="435173"/>
                </a:moveTo>
                <a:cubicBezTo>
                  <a:pt x="4215449" y="435173"/>
                  <a:pt x="4211581" y="433240"/>
                  <a:pt x="4211581" y="442910"/>
                </a:cubicBezTo>
                <a:cubicBezTo>
                  <a:pt x="4215449" y="439041"/>
                  <a:pt x="4217382" y="437108"/>
                  <a:pt x="4221253" y="435173"/>
                </a:cubicBezTo>
                <a:close/>
                <a:moveTo>
                  <a:pt x="4316024" y="415832"/>
                </a:moveTo>
                <a:cubicBezTo>
                  <a:pt x="4308287" y="413899"/>
                  <a:pt x="4302484" y="419700"/>
                  <a:pt x="4296682" y="423568"/>
                </a:cubicBezTo>
                <a:cubicBezTo>
                  <a:pt x="4296682" y="423568"/>
                  <a:pt x="4298615" y="425504"/>
                  <a:pt x="4298615" y="425504"/>
                </a:cubicBezTo>
                <a:cubicBezTo>
                  <a:pt x="4304417" y="421635"/>
                  <a:pt x="4310220" y="417767"/>
                  <a:pt x="4316024" y="415832"/>
                </a:cubicBezTo>
                <a:close/>
                <a:moveTo>
                  <a:pt x="4263560" y="406645"/>
                </a:moveTo>
                <a:cubicBezTo>
                  <a:pt x="4261867" y="406645"/>
                  <a:pt x="4259933" y="409063"/>
                  <a:pt x="4256065" y="413899"/>
                </a:cubicBezTo>
                <a:cubicBezTo>
                  <a:pt x="4259933" y="413899"/>
                  <a:pt x="4263801" y="413899"/>
                  <a:pt x="4269605" y="413899"/>
                </a:cubicBezTo>
                <a:cubicBezTo>
                  <a:pt x="4266703" y="409063"/>
                  <a:pt x="4265252" y="406645"/>
                  <a:pt x="4263560" y="406645"/>
                </a:cubicBezTo>
                <a:close/>
                <a:moveTo>
                  <a:pt x="4319890" y="406162"/>
                </a:moveTo>
                <a:cubicBezTo>
                  <a:pt x="4319890" y="408095"/>
                  <a:pt x="4319890" y="410031"/>
                  <a:pt x="4319890" y="411964"/>
                </a:cubicBezTo>
                <a:cubicBezTo>
                  <a:pt x="4321825" y="413899"/>
                  <a:pt x="4323758" y="413899"/>
                  <a:pt x="4327626" y="413899"/>
                </a:cubicBezTo>
                <a:cubicBezTo>
                  <a:pt x="4327626" y="410031"/>
                  <a:pt x="4329561" y="408095"/>
                  <a:pt x="4325693" y="406162"/>
                </a:cubicBezTo>
                <a:cubicBezTo>
                  <a:pt x="4323758" y="406162"/>
                  <a:pt x="4321825" y="406162"/>
                  <a:pt x="4319890" y="406162"/>
                </a:cubicBezTo>
                <a:close/>
                <a:moveTo>
                  <a:pt x="4304417" y="381018"/>
                </a:moveTo>
                <a:cubicBezTo>
                  <a:pt x="4302484" y="382953"/>
                  <a:pt x="4300548" y="382953"/>
                  <a:pt x="4300548" y="382953"/>
                </a:cubicBezTo>
                <a:cubicBezTo>
                  <a:pt x="4298615" y="384886"/>
                  <a:pt x="4300548" y="386821"/>
                  <a:pt x="4298615" y="388754"/>
                </a:cubicBezTo>
                <a:cubicBezTo>
                  <a:pt x="4302484" y="386821"/>
                  <a:pt x="4304417" y="386821"/>
                  <a:pt x="4304417" y="384886"/>
                </a:cubicBezTo>
                <a:cubicBezTo>
                  <a:pt x="4306352" y="384886"/>
                  <a:pt x="4304417" y="382953"/>
                  <a:pt x="4304417" y="381018"/>
                </a:cubicBezTo>
                <a:close/>
                <a:moveTo>
                  <a:pt x="4316024" y="373281"/>
                </a:moveTo>
                <a:cubicBezTo>
                  <a:pt x="4316024" y="373281"/>
                  <a:pt x="4314088" y="375216"/>
                  <a:pt x="4314088" y="379085"/>
                </a:cubicBezTo>
                <a:cubicBezTo>
                  <a:pt x="4316024" y="377149"/>
                  <a:pt x="4317957" y="375216"/>
                  <a:pt x="4317957" y="375216"/>
                </a:cubicBezTo>
                <a:cubicBezTo>
                  <a:pt x="4317957" y="375216"/>
                  <a:pt x="4316024" y="373281"/>
                  <a:pt x="4316024" y="373281"/>
                </a:cubicBezTo>
                <a:close/>
                <a:moveTo>
                  <a:pt x="4366309" y="350074"/>
                </a:moveTo>
                <a:cubicBezTo>
                  <a:pt x="4343099" y="353940"/>
                  <a:pt x="4337298" y="359743"/>
                  <a:pt x="4337298" y="369415"/>
                </a:cubicBezTo>
                <a:cubicBezTo>
                  <a:pt x="4346967" y="363612"/>
                  <a:pt x="4356639" y="355875"/>
                  <a:pt x="4366309" y="350074"/>
                </a:cubicBezTo>
                <a:close/>
                <a:moveTo>
                  <a:pt x="4780207" y="321061"/>
                </a:moveTo>
                <a:cubicBezTo>
                  <a:pt x="4780207" y="322996"/>
                  <a:pt x="4778272" y="322996"/>
                  <a:pt x="4778272" y="322996"/>
                </a:cubicBezTo>
                <a:cubicBezTo>
                  <a:pt x="4780207" y="324929"/>
                  <a:pt x="4780207" y="326864"/>
                  <a:pt x="4782140" y="328797"/>
                </a:cubicBezTo>
                <a:cubicBezTo>
                  <a:pt x="4782140" y="328797"/>
                  <a:pt x="4782140" y="328797"/>
                  <a:pt x="4784075" y="326864"/>
                </a:cubicBezTo>
                <a:cubicBezTo>
                  <a:pt x="4784075" y="324929"/>
                  <a:pt x="4782140" y="322996"/>
                  <a:pt x="4780207" y="321061"/>
                </a:cubicBezTo>
                <a:close/>
                <a:moveTo>
                  <a:pt x="4795680" y="317192"/>
                </a:moveTo>
                <a:cubicBezTo>
                  <a:pt x="4795680" y="317192"/>
                  <a:pt x="4795680" y="319128"/>
                  <a:pt x="4795680" y="319128"/>
                </a:cubicBezTo>
                <a:cubicBezTo>
                  <a:pt x="4795680" y="321061"/>
                  <a:pt x="4791812" y="322996"/>
                  <a:pt x="4787944" y="324929"/>
                </a:cubicBezTo>
                <a:lnTo>
                  <a:pt x="4787138" y="323317"/>
                </a:lnTo>
                <a:lnTo>
                  <a:pt x="4787420" y="320497"/>
                </a:lnTo>
                <a:close/>
                <a:moveTo>
                  <a:pt x="4420464" y="313324"/>
                </a:moveTo>
                <a:cubicBezTo>
                  <a:pt x="4406924" y="317192"/>
                  <a:pt x="4397255" y="322996"/>
                  <a:pt x="4385650" y="326864"/>
                </a:cubicBezTo>
                <a:cubicBezTo>
                  <a:pt x="4381782" y="330733"/>
                  <a:pt x="4375980" y="334601"/>
                  <a:pt x="4370177" y="340402"/>
                </a:cubicBezTo>
                <a:cubicBezTo>
                  <a:pt x="4374045" y="342335"/>
                  <a:pt x="4375980" y="342335"/>
                  <a:pt x="4375980" y="342335"/>
                </a:cubicBezTo>
                <a:cubicBezTo>
                  <a:pt x="4387583" y="336534"/>
                  <a:pt x="4399190" y="330733"/>
                  <a:pt x="4408859" y="324929"/>
                </a:cubicBezTo>
                <a:cubicBezTo>
                  <a:pt x="4412728" y="322996"/>
                  <a:pt x="4416596" y="319128"/>
                  <a:pt x="4420464" y="313324"/>
                </a:cubicBezTo>
                <a:close/>
                <a:moveTo>
                  <a:pt x="4453343" y="299786"/>
                </a:moveTo>
                <a:cubicBezTo>
                  <a:pt x="4441741" y="299786"/>
                  <a:pt x="4435937" y="305588"/>
                  <a:pt x="4428201" y="313324"/>
                </a:cubicBezTo>
                <a:cubicBezTo>
                  <a:pt x="4428201" y="313324"/>
                  <a:pt x="4430134" y="315260"/>
                  <a:pt x="4430134" y="315260"/>
                </a:cubicBezTo>
                <a:cubicBezTo>
                  <a:pt x="4437870" y="309456"/>
                  <a:pt x="4445607" y="303655"/>
                  <a:pt x="4453343" y="299786"/>
                </a:cubicBezTo>
                <a:close/>
                <a:moveTo>
                  <a:pt x="4787944" y="295918"/>
                </a:moveTo>
                <a:cubicBezTo>
                  <a:pt x="4787944" y="301719"/>
                  <a:pt x="4787944" y="305588"/>
                  <a:pt x="4787944" y="311391"/>
                </a:cubicBezTo>
                <a:cubicBezTo>
                  <a:pt x="4795680" y="303655"/>
                  <a:pt x="4795680" y="303655"/>
                  <a:pt x="4787944" y="295918"/>
                </a:cubicBezTo>
                <a:close/>
                <a:moveTo>
                  <a:pt x="4517168" y="282378"/>
                </a:moveTo>
                <a:cubicBezTo>
                  <a:pt x="4515235" y="282378"/>
                  <a:pt x="4515235" y="284313"/>
                  <a:pt x="4515235" y="286246"/>
                </a:cubicBezTo>
                <a:cubicBezTo>
                  <a:pt x="4517168" y="288182"/>
                  <a:pt x="4519103" y="288182"/>
                  <a:pt x="4521036" y="288182"/>
                </a:cubicBezTo>
                <a:cubicBezTo>
                  <a:pt x="4521036" y="286246"/>
                  <a:pt x="4521036" y="284313"/>
                  <a:pt x="4521036" y="282378"/>
                </a:cubicBezTo>
                <a:cubicBezTo>
                  <a:pt x="4521036" y="282378"/>
                  <a:pt x="4517168" y="282378"/>
                  <a:pt x="4517168" y="282378"/>
                </a:cubicBezTo>
                <a:close/>
                <a:moveTo>
                  <a:pt x="4764734" y="276577"/>
                </a:moveTo>
                <a:lnTo>
                  <a:pt x="4765701" y="277543"/>
                </a:lnTo>
                <a:lnTo>
                  <a:pt x="4764734" y="278510"/>
                </a:lnTo>
                <a:lnTo>
                  <a:pt x="4764033" y="277208"/>
                </a:lnTo>
                <a:close/>
                <a:moveTo>
                  <a:pt x="4567455" y="268840"/>
                </a:moveTo>
                <a:cubicBezTo>
                  <a:pt x="4559719" y="272709"/>
                  <a:pt x="4555851" y="274642"/>
                  <a:pt x="4548114" y="278510"/>
                </a:cubicBezTo>
                <a:cubicBezTo>
                  <a:pt x="4559719" y="282378"/>
                  <a:pt x="4559719" y="282378"/>
                  <a:pt x="4567455" y="268840"/>
                </a:cubicBezTo>
                <a:close/>
                <a:moveTo>
                  <a:pt x="4572774" y="254576"/>
                </a:moveTo>
                <a:cubicBezTo>
                  <a:pt x="4571324" y="255301"/>
                  <a:pt x="4571324" y="257236"/>
                  <a:pt x="4571324" y="261104"/>
                </a:cubicBezTo>
                <a:cubicBezTo>
                  <a:pt x="4575192" y="259171"/>
                  <a:pt x="4577127" y="257236"/>
                  <a:pt x="4582928" y="255300"/>
                </a:cubicBezTo>
                <a:cubicBezTo>
                  <a:pt x="4577126" y="254334"/>
                  <a:pt x="4574225" y="253851"/>
                  <a:pt x="4572774" y="254576"/>
                </a:cubicBezTo>
                <a:close/>
                <a:moveTo>
                  <a:pt x="4727987" y="253367"/>
                </a:moveTo>
                <a:cubicBezTo>
                  <a:pt x="4718315" y="253367"/>
                  <a:pt x="4714447" y="259171"/>
                  <a:pt x="4710579" y="266905"/>
                </a:cubicBezTo>
                <a:cubicBezTo>
                  <a:pt x="4726052" y="264972"/>
                  <a:pt x="4726052" y="264972"/>
                  <a:pt x="4727987" y="253367"/>
                </a:cubicBezTo>
                <a:close/>
                <a:moveTo>
                  <a:pt x="4596469" y="243698"/>
                </a:moveTo>
                <a:cubicBezTo>
                  <a:pt x="4592600" y="245631"/>
                  <a:pt x="4586797" y="247566"/>
                  <a:pt x="4582928" y="249499"/>
                </a:cubicBezTo>
                <a:cubicBezTo>
                  <a:pt x="4590665" y="253367"/>
                  <a:pt x="4596469" y="255300"/>
                  <a:pt x="4596469" y="243698"/>
                </a:cubicBezTo>
                <a:close/>
                <a:moveTo>
                  <a:pt x="4563587" y="230158"/>
                </a:moveTo>
                <a:lnTo>
                  <a:pt x="4557367" y="234824"/>
                </a:lnTo>
                <a:lnTo>
                  <a:pt x="4555372" y="235482"/>
                </a:lnTo>
                <a:lnTo>
                  <a:pt x="4555078" y="235188"/>
                </a:lnTo>
                <a:lnTo>
                  <a:pt x="4561177" y="231122"/>
                </a:lnTo>
                <a:close/>
                <a:moveTo>
                  <a:pt x="4712514" y="228225"/>
                </a:moveTo>
                <a:cubicBezTo>
                  <a:pt x="4706710" y="228225"/>
                  <a:pt x="4704777" y="232093"/>
                  <a:pt x="4704777" y="237894"/>
                </a:cubicBezTo>
                <a:cubicBezTo>
                  <a:pt x="4712514" y="235961"/>
                  <a:pt x="4712514" y="235961"/>
                  <a:pt x="4712514" y="228225"/>
                </a:cubicBezTo>
                <a:close/>
                <a:moveTo>
                  <a:pt x="3863443" y="0"/>
                </a:moveTo>
                <a:cubicBezTo>
                  <a:pt x="3865376" y="0"/>
                  <a:pt x="3869244" y="1935"/>
                  <a:pt x="3869244" y="3868"/>
                </a:cubicBezTo>
                <a:cubicBezTo>
                  <a:pt x="3869244" y="5801"/>
                  <a:pt x="3867311" y="5801"/>
                  <a:pt x="3867311" y="7737"/>
                </a:cubicBezTo>
                <a:cubicBezTo>
                  <a:pt x="3867311" y="9670"/>
                  <a:pt x="3865376" y="9670"/>
                  <a:pt x="3865376" y="9670"/>
                </a:cubicBezTo>
                <a:cubicBezTo>
                  <a:pt x="3859574" y="11605"/>
                  <a:pt x="3859574" y="17406"/>
                  <a:pt x="3859574" y="21274"/>
                </a:cubicBezTo>
                <a:cubicBezTo>
                  <a:pt x="3859574" y="27078"/>
                  <a:pt x="3859574" y="29011"/>
                  <a:pt x="3853771" y="32879"/>
                </a:cubicBezTo>
                <a:cubicBezTo>
                  <a:pt x="3846034" y="38683"/>
                  <a:pt x="3836365" y="44484"/>
                  <a:pt x="3826693" y="50288"/>
                </a:cubicBezTo>
                <a:cubicBezTo>
                  <a:pt x="3817024" y="58024"/>
                  <a:pt x="3805419" y="63825"/>
                  <a:pt x="3795749" y="71562"/>
                </a:cubicBezTo>
                <a:cubicBezTo>
                  <a:pt x="3793816" y="73495"/>
                  <a:pt x="3791881" y="75430"/>
                  <a:pt x="3791881" y="79298"/>
                </a:cubicBezTo>
                <a:cubicBezTo>
                  <a:pt x="3789946" y="83166"/>
                  <a:pt x="3791881" y="85099"/>
                  <a:pt x="3795749" y="87035"/>
                </a:cubicBezTo>
                <a:cubicBezTo>
                  <a:pt x="3797682" y="87035"/>
                  <a:pt x="3797682" y="87035"/>
                  <a:pt x="3799618" y="88970"/>
                </a:cubicBezTo>
                <a:cubicBezTo>
                  <a:pt x="3801551" y="88970"/>
                  <a:pt x="3801551" y="90903"/>
                  <a:pt x="3801551" y="92836"/>
                </a:cubicBezTo>
                <a:cubicBezTo>
                  <a:pt x="3801551" y="92836"/>
                  <a:pt x="3799618" y="94771"/>
                  <a:pt x="3799618" y="94771"/>
                </a:cubicBezTo>
                <a:cubicBezTo>
                  <a:pt x="3795749" y="94771"/>
                  <a:pt x="3793816" y="94771"/>
                  <a:pt x="3789946" y="96704"/>
                </a:cubicBezTo>
                <a:cubicBezTo>
                  <a:pt x="3784145" y="98639"/>
                  <a:pt x="3780276" y="100572"/>
                  <a:pt x="3774475" y="104441"/>
                </a:cubicBezTo>
                <a:cubicBezTo>
                  <a:pt x="3770607" y="106376"/>
                  <a:pt x="3766736" y="104441"/>
                  <a:pt x="3764803" y="106376"/>
                </a:cubicBezTo>
                <a:cubicBezTo>
                  <a:pt x="3762868" y="108309"/>
                  <a:pt x="3762868" y="110244"/>
                  <a:pt x="3760935" y="112177"/>
                </a:cubicBezTo>
                <a:cubicBezTo>
                  <a:pt x="3759000" y="116045"/>
                  <a:pt x="3755134" y="117981"/>
                  <a:pt x="3751266" y="119914"/>
                </a:cubicBezTo>
                <a:cubicBezTo>
                  <a:pt x="3747397" y="121849"/>
                  <a:pt x="3745462" y="123782"/>
                  <a:pt x="3745462" y="125717"/>
                </a:cubicBezTo>
                <a:cubicBezTo>
                  <a:pt x="3745462" y="129586"/>
                  <a:pt x="3743527" y="131519"/>
                  <a:pt x="3739658" y="133454"/>
                </a:cubicBezTo>
                <a:cubicBezTo>
                  <a:pt x="3733857" y="135387"/>
                  <a:pt x="3729989" y="139255"/>
                  <a:pt x="3726121" y="141190"/>
                </a:cubicBezTo>
                <a:cubicBezTo>
                  <a:pt x="3722253" y="145059"/>
                  <a:pt x="3722253" y="148927"/>
                  <a:pt x="3722253" y="154728"/>
                </a:cubicBezTo>
                <a:cubicBezTo>
                  <a:pt x="3722253" y="156663"/>
                  <a:pt x="3726121" y="158596"/>
                  <a:pt x="3728056" y="158596"/>
                </a:cubicBezTo>
                <a:cubicBezTo>
                  <a:pt x="3728056" y="160532"/>
                  <a:pt x="3729989" y="160532"/>
                  <a:pt x="3729989" y="160532"/>
                </a:cubicBezTo>
                <a:cubicBezTo>
                  <a:pt x="3729989" y="162465"/>
                  <a:pt x="3729989" y="164400"/>
                  <a:pt x="3728056" y="164400"/>
                </a:cubicBezTo>
                <a:cubicBezTo>
                  <a:pt x="3728056" y="166333"/>
                  <a:pt x="3726121" y="166333"/>
                  <a:pt x="3724188" y="166333"/>
                </a:cubicBezTo>
                <a:cubicBezTo>
                  <a:pt x="3722253" y="166333"/>
                  <a:pt x="3720320" y="166333"/>
                  <a:pt x="3720320" y="168266"/>
                </a:cubicBezTo>
                <a:cubicBezTo>
                  <a:pt x="3720320" y="172136"/>
                  <a:pt x="3718384" y="174069"/>
                  <a:pt x="3714516" y="176005"/>
                </a:cubicBezTo>
                <a:cubicBezTo>
                  <a:pt x="3708715" y="177938"/>
                  <a:pt x="3702911" y="181806"/>
                  <a:pt x="3697110" y="185674"/>
                </a:cubicBezTo>
                <a:cubicBezTo>
                  <a:pt x="3693242" y="187607"/>
                  <a:pt x="3689374" y="191475"/>
                  <a:pt x="3687441" y="195343"/>
                </a:cubicBezTo>
                <a:cubicBezTo>
                  <a:pt x="3685505" y="199212"/>
                  <a:pt x="3683572" y="199212"/>
                  <a:pt x="3679702" y="201147"/>
                </a:cubicBezTo>
                <a:cubicBezTo>
                  <a:pt x="3673901" y="199212"/>
                  <a:pt x="3668099" y="203080"/>
                  <a:pt x="3662296" y="206948"/>
                </a:cubicBezTo>
                <a:cubicBezTo>
                  <a:pt x="3658427" y="210817"/>
                  <a:pt x="3652624" y="212752"/>
                  <a:pt x="3648758" y="214685"/>
                </a:cubicBezTo>
                <a:cubicBezTo>
                  <a:pt x="3641022" y="218553"/>
                  <a:pt x="3637153" y="224357"/>
                  <a:pt x="3635218" y="232093"/>
                </a:cubicBezTo>
                <a:cubicBezTo>
                  <a:pt x="3635218" y="235961"/>
                  <a:pt x="3633283" y="235961"/>
                  <a:pt x="3631350" y="237894"/>
                </a:cubicBezTo>
                <a:cubicBezTo>
                  <a:pt x="3623613" y="243698"/>
                  <a:pt x="3615877" y="247566"/>
                  <a:pt x="3608140" y="253367"/>
                </a:cubicBezTo>
                <a:cubicBezTo>
                  <a:pt x="3606207" y="253367"/>
                  <a:pt x="3606207" y="257236"/>
                  <a:pt x="3606207" y="259171"/>
                </a:cubicBezTo>
                <a:cubicBezTo>
                  <a:pt x="3606207" y="259171"/>
                  <a:pt x="3606207" y="263039"/>
                  <a:pt x="3606207" y="263039"/>
                </a:cubicBezTo>
                <a:cubicBezTo>
                  <a:pt x="3602339" y="266905"/>
                  <a:pt x="3598471" y="270776"/>
                  <a:pt x="3594602" y="276577"/>
                </a:cubicBezTo>
                <a:cubicBezTo>
                  <a:pt x="3592667" y="278510"/>
                  <a:pt x="3590734" y="280445"/>
                  <a:pt x="3586866" y="282378"/>
                </a:cubicBezTo>
                <a:cubicBezTo>
                  <a:pt x="3584931" y="284313"/>
                  <a:pt x="3582998" y="286246"/>
                  <a:pt x="3582998" y="288182"/>
                </a:cubicBezTo>
                <a:cubicBezTo>
                  <a:pt x="3582998" y="295918"/>
                  <a:pt x="3584931" y="305588"/>
                  <a:pt x="3586866" y="311391"/>
                </a:cubicBezTo>
                <a:cubicBezTo>
                  <a:pt x="3588799" y="315260"/>
                  <a:pt x="3592667" y="319128"/>
                  <a:pt x="3594602" y="322996"/>
                </a:cubicBezTo>
                <a:cubicBezTo>
                  <a:pt x="3594602" y="322996"/>
                  <a:pt x="3594602" y="326864"/>
                  <a:pt x="3594602" y="326864"/>
                </a:cubicBezTo>
                <a:cubicBezTo>
                  <a:pt x="3586866" y="332665"/>
                  <a:pt x="3579129" y="338469"/>
                  <a:pt x="3569458" y="342335"/>
                </a:cubicBezTo>
                <a:cubicBezTo>
                  <a:pt x="3567525" y="342335"/>
                  <a:pt x="3565589" y="342335"/>
                  <a:pt x="3563656" y="342335"/>
                </a:cubicBezTo>
                <a:cubicBezTo>
                  <a:pt x="3561723" y="342335"/>
                  <a:pt x="3559788" y="344270"/>
                  <a:pt x="3559788" y="350074"/>
                </a:cubicBezTo>
                <a:cubicBezTo>
                  <a:pt x="3557855" y="350074"/>
                  <a:pt x="3559788" y="352007"/>
                  <a:pt x="3561723" y="352007"/>
                </a:cubicBezTo>
                <a:cubicBezTo>
                  <a:pt x="3561723" y="352007"/>
                  <a:pt x="3563656" y="352007"/>
                  <a:pt x="3563656" y="352007"/>
                </a:cubicBezTo>
                <a:cubicBezTo>
                  <a:pt x="3563656" y="355875"/>
                  <a:pt x="3563656" y="359743"/>
                  <a:pt x="3561723" y="361676"/>
                </a:cubicBezTo>
                <a:cubicBezTo>
                  <a:pt x="3561723" y="363612"/>
                  <a:pt x="3557855" y="363612"/>
                  <a:pt x="3555920" y="363612"/>
                </a:cubicBezTo>
                <a:cubicBezTo>
                  <a:pt x="3553987" y="363612"/>
                  <a:pt x="3552052" y="363612"/>
                  <a:pt x="3552052" y="365544"/>
                </a:cubicBezTo>
                <a:cubicBezTo>
                  <a:pt x="3552052" y="367480"/>
                  <a:pt x="3550119" y="369415"/>
                  <a:pt x="3548183" y="371348"/>
                </a:cubicBezTo>
                <a:cubicBezTo>
                  <a:pt x="3546248" y="375216"/>
                  <a:pt x="3542382" y="377149"/>
                  <a:pt x="3538514" y="379085"/>
                </a:cubicBezTo>
                <a:cubicBezTo>
                  <a:pt x="3534646" y="381018"/>
                  <a:pt x="3532710" y="382953"/>
                  <a:pt x="3532710" y="386821"/>
                </a:cubicBezTo>
                <a:cubicBezTo>
                  <a:pt x="3532710" y="392622"/>
                  <a:pt x="3530777" y="396491"/>
                  <a:pt x="3524974" y="398426"/>
                </a:cubicBezTo>
                <a:cubicBezTo>
                  <a:pt x="3519173" y="402294"/>
                  <a:pt x="3513372" y="406162"/>
                  <a:pt x="3511436" y="411964"/>
                </a:cubicBezTo>
                <a:cubicBezTo>
                  <a:pt x="3509501" y="413899"/>
                  <a:pt x="3505633" y="415832"/>
                  <a:pt x="3503700" y="417767"/>
                </a:cubicBezTo>
                <a:cubicBezTo>
                  <a:pt x="3501764" y="421635"/>
                  <a:pt x="3497896" y="423568"/>
                  <a:pt x="3494030" y="425504"/>
                </a:cubicBezTo>
                <a:cubicBezTo>
                  <a:pt x="3490162" y="427437"/>
                  <a:pt x="3490162" y="433240"/>
                  <a:pt x="3486294" y="435173"/>
                </a:cubicBezTo>
                <a:cubicBezTo>
                  <a:pt x="3484358" y="437108"/>
                  <a:pt x="3484358" y="439041"/>
                  <a:pt x="3488227" y="439041"/>
                </a:cubicBezTo>
                <a:cubicBezTo>
                  <a:pt x="3492095" y="439041"/>
                  <a:pt x="3494030" y="439041"/>
                  <a:pt x="3495963" y="435173"/>
                </a:cubicBezTo>
                <a:cubicBezTo>
                  <a:pt x="3497896" y="433240"/>
                  <a:pt x="3497896" y="431305"/>
                  <a:pt x="3499831" y="431305"/>
                </a:cubicBezTo>
                <a:cubicBezTo>
                  <a:pt x="3501764" y="429370"/>
                  <a:pt x="3505633" y="431305"/>
                  <a:pt x="3505633" y="433240"/>
                </a:cubicBezTo>
                <a:cubicBezTo>
                  <a:pt x="3505633" y="437108"/>
                  <a:pt x="3505633" y="439041"/>
                  <a:pt x="3505633" y="440974"/>
                </a:cubicBezTo>
                <a:cubicBezTo>
                  <a:pt x="3505633" y="442910"/>
                  <a:pt x="3505633" y="442910"/>
                  <a:pt x="3503700" y="444845"/>
                </a:cubicBezTo>
                <a:cubicBezTo>
                  <a:pt x="3499831" y="450646"/>
                  <a:pt x="3495963" y="456450"/>
                  <a:pt x="3492095" y="462251"/>
                </a:cubicBezTo>
                <a:cubicBezTo>
                  <a:pt x="3486294" y="468052"/>
                  <a:pt x="3478555" y="471920"/>
                  <a:pt x="3470821" y="475789"/>
                </a:cubicBezTo>
                <a:cubicBezTo>
                  <a:pt x="3470821" y="475789"/>
                  <a:pt x="3470821" y="475789"/>
                  <a:pt x="3472754" y="475789"/>
                </a:cubicBezTo>
                <a:cubicBezTo>
                  <a:pt x="3476622" y="475789"/>
                  <a:pt x="3480490" y="475789"/>
                  <a:pt x="3484358" y="473856"/>
                </a:cubicBezTo>
                <a:cubicBezTo>
                  <a:pt x="3497896" y="469987"/>
                  <a:pt x="3511436" y="466119"/>
                  <a:pt x="3524974" y="460316"/>
                </a:cubicBezTo>
                <a:cubicBezTo>
                  <a:pt x="3524974" y="462251"/>
                  <a:pt x="3524974" y="464184"/>
                  <a:pt x="3524974" y="466119"/>
                </a:cubicBezTo>
                <a:cubicBezTo>
                  <a:pt x="3517237" y="469987"/>
                  <a:pt x="3511436" y="475789"/>
                  <a:pt x="3501764" y="473856"/>
                </a:cubicBezTo>
                <a:cubicBezTo>
                  <a:pt x="3499831" y="471920"/>
                  <a:pt x="3495963" y="473856"/>
                  <a:pt x="3494030" y="475789"/>
                </a:cubicBezTo>
                <a:cubicBezTo>
                  <a:pt x="3488227" y="477724"/>
                  <a:pt x="3486294" y="481592"/>
                  <a:pt x="3480490" y="479657"/>
                </a:cubicBezTo>
                <a:cubicBezTo>
                  <a:pt x="3478555" y="477724"/>
                  <a:pt x="3476622" y="479657"/>
                  <a:pt x="3474689" y="481592"/>
                </a:cubicBezTo>
                <a:cubicBezTo>
                  <a:pt x="3466952" y="485460"/>
                  <a:pt x="3459214" y="491262"/>
                  <a:pt x="3449544" y="493197"/>
                </a:cubicBezTo>
                <a:cubicBezTo>
                  <a:pt x="3449544" y="493197"/>
                  <a:pt x="3447611" y="493197"/>
                  <a:pt x="3447611" y="493197"/>
                </a:cubicBezTo>
                <a:cubicBezTo>
                  <a:pt x="3445676" y="495130"/>
                  <a:pt x="3445676" y="497065"/>
                  <a:pt x="3443743" y="498998"/>
                </a:cubicBezTo>
                <a:cubicBezTo>
                  <a:pt x="3441808" y="500933"/>
                  <a:pt x="3439875" y="500933"/>
                  <a:pt x="3437939" y="502866"/>
                </a:cubicBezTo>
                <a:cubicBezTo>
                  <a:pt x="3437939" y="502866"/>
                  <a:pt x="3437939" y="504802"/>
                  <a:pt x="3437939" y="504802"/>
                </a:cubicBezTo>
                <a:cubicBezTo>
                  <a:pt x="3439875" y="506735"/>
                  <a:pt x="3441808" y="506735"/>
                  <a:pt x="3443743" y="508670"/>
                </a:cubicBezTo>
                <a:cubicBezTo>
                  <a:pt x="3441808" y="512538"/>
                  <a:pt x="3437939" y="514471"/>
                  <a:pt x="3434071" y="516406"/>
                </a:cubicBezTo>
                <a:cubicBezTo>
                  <a:pt x="3453412" y="510603"/>
                  <a:pt x="3499831" y="498998"/>
                  <a:pt x="3497896" y="502866"/>
                </a:cubicBezTo>
                <a:cubicBezTo>
                  <a:pt x="3495963" y="508670"/>
                  <a:pt x="3490162" y="510603"/>
                  <a:pt x="3488227" y="514471"/>
                </a:cubicBezTo>
                <a:cubicBezTo>
                  <a:pt x="3492095" y="512538"/>
                  <a:pt x="3497896" y="510603"/>
                  <a:pt x="3501764" y="508670"/>
                </a:cubicBezTo>
                <a:cubicBezTo>
                  <a:pt x="3524974" y="500933"/>
                  <a:pt x="3546248" y="493197"/>
                  <a:pt x="3569458" y="487393"/>
                </a:cubicBezTo>
                <a:cubicBezTo>
                  <a:pt x="3567525" y="491262"/>
                  <a:pt x="3565589" y="493197"/>
                  <a:pt x="3563656" y="495130"/>
                </a:cubicBezTo>
                <a:cubicBezTo>
                  <a:pt x="3565589" y="495130"/>
                  <a:pt x="3567525" y="497065"/>
                  <a:pt x="3571393" y="498998"/>
                </a:cubicBezTo>
                <a:cubicBezTo>
                  <a:pt x="3559788" y="502866"/>
                  <a:pt x="3550119" y="506735"/>
                  <a:pt x="3538514" y="510603"/>
                </a:cubicBezTo>
                <a:cubicBezTo>
                  <a:pt x="3536579" y="510603"/>
                  <a:pt x="3536579" y="510603"/>
                  <a:pt x="3534646" y="510603"/>
                </a:cubicBezTo>
                <a:cubicBezTo>
                  <a:pt x="3526909" y="510603"/>
                  <a:pt x="3519173" y="510603"/>
                  <a:pt x="3515304" y="518339"/>
                </a:cubicBezTo>
                <a:cubicBezTo>
                  <a:pt x="3513372" y="522208"/>
                  <a:pt x="3509501" y="526076"/>
                  <a:pt x="3503700" y="524143"/>
                </a:cubicBezTo>
                <a:cubicBezTo>
                  <a:pt x="3505633" y="522208"/>
                  <a:pt x="3505633" y="520275"/>
                  <a:pt x="3509501" y="516406"/>
                </a:cubicBezTo>
                <a:cubicBezTo>
                  <a:pt x="3499831" y="520275"/>
                  <a:pt x="3494030" y="520275"/>
                  <a:pt x="3488227" y="528009"/>
                </a:cubicBezTo>
                <a:cubicBezTo>
                  <a:pt x="3486294" y="531879"/>
                  <a:pt x="3480490" y="533812"/>
                  <a:pt x="3476622" y="535745"/>
                </a:cubicBezTo>
                <a:cubicBezTo>
                  <a:pt x="3476622" y="537681"/>
                  <a:pt x="3474689" y="537681"/>
                  <a:pt x="3472754" y="539614"/>
                </a:cubicBezTo>
                <a:cubicBezTo>
                  <a:pt x="3470821" y="539614"/>
                  <a:pt x="3470821" y="541549"/>
                  <a:pt x="3470821" y="541549"/>
                </a:cubicBezTo>
                <a:cubicBezTo>
                  <a:pt x="3470821" y="543484"/>
                  <a:pt x="3470821" y="545417"/>
                  <a:pt x="3472754" y="547350"/>
                </a:cubicBezTo>
                <a:cubicBezTo>
                  <a:pt x="3484358" y="543484"/>
                  <a:pt x="3495963" y="537681"/>
                  <a:pt x="3505633" y="533812"/>
                </a:cubicBezTo>
                <a:cubicBezTo>
                  <a:pt x="3517237" y="528009"/>
                  <a:pt x="3528842" y="524143"/>
                  <a:pt x="3540447" y="520275"/>
                </a:cubicBezTo>
                <a:cubicBezTo>
                  <a:pt x="3552052" y="516406"/>
                  <a:pt x="3563656" y="514471"/>
                  <a:pt x="3575261" y="510603"/>
                </a:cubicBezTo>
                <a:cubicBezTo>
                  <a:pt x="3575261" y="512538"/>
                  <a:pt x="3575261" y="514471"/>
                  <a:pt x="3577197" y="518339"/>
                </a:cubicBezTo>
                <a:cubicBezTo>
                  <a:pt x="3575261" y="520275"/>
                  <a:pt x="3573328" y="522208"/>
                  <a:pt x="3571393" y="522208"/>
                </a:cubicBezTo>
                <a:cubicBezTo>
                  <a:pt x="3561723" y="526076"/>
                  <a:pt x="3550119" y="529944"/>
                  <a:pt x="3540447" y="533812"/>
                </a:cubicBezTo>
                <a:cubicBezTo>
                  <a:pt x="3536579" y="535745"/>
                  <a:pt x="3534646" y="537681"/>
                  <a:pt x="3532710" y="543484"/>
                </a:cubicBezTo>
                <a:cubicBezTo>
                  <a:pt x="3532710" y="551218"/>
                  <a:pt x="3526909" y="553154"/>
                  <a:pt x="3524974" y="560890"/>
                </a:cubicBezTo>
                <a:cubicBezTo>
                  <a:pt x="3524974" y="562823"/>
                  <a:pt x="3524974" y="564758"/>
                  <a:pt x="3524974" y="566691"/>
                </a:cubicBezTo>
                <a:cubicBezTo>
                  <a:pt x="3519173" y="560890"/>
                  <a:pt x="3511436" y="574428"/>
                  <a:pt x="3505633" y="562823"/>
                </a:cubicBezTo>
                <a:cubicBezTo>
                  <a:pt x="3501764" y="564758"/>
                  <a:pt x="3499831" y="566691"/>
                  <a:pt x="3495963" y="568627"/>
                </a:cubicBezTo>
                <a:cubicBezTo>
                  <a:pt x="3495963" y="568627"/>
                  <a:pt x="3495963" y="570560"/>
                  <a:pt x="3497896" y="574428"/>
                </a:cubicBezTo>
                <a:lnTo>
                  <a:pt x="3492895" y="576352"/>
                </a:lnTo>
                <a:lnTo>
                  <a:pt x="3494030" y="572495"/>
                </a:lnTo>
                <a:lnTo>
                  <a:pt x="3488472" y="578053"/>
                </a:lnTo>
                <a:lnTo>
                  <a:pt x="3472754" y="584100"/>
                </a:lnTo>
                <a:lnTo>
                  <a:pt x="3473721" y="589901"/>
                </a:lnTo>
                <a:lnTo>
                  <a:pt x="3472754" y="589901"/>
                </a:lnTo>
                <a:lnTo>
                  <a:pt x="3473778" y="590243"/>
                </a:lnTo>
                <a:lnTo>
                  <a:pt x="3474689" y="595705"/>
                </a:lnTo>
                <a:cubicBezTo>
                  <a:pt x="3474689" y="601506"/>
                  <a:pt x="3472754" y="605374"/>
                  <a:pt x="3470821" y="609242"/>
                </a:cubicBezTo>
                <a:cubicBezTo>
                  <a:pt x="3468885" y="613111"/>
                  <a:pt x="3466952" y="615046"/>
                  <a:pt x="3463084" y="615046"/>
                </a:cubicBezTo>
                <a:cubicBezTo>
                  <a:pt x="3459214" y="615046"/>
                  <a:pt x="3455348" y="615046"/>
                  <a:pt x="3451479" y="616979"/>
                </a:cubicBezTo>
                <a:cubicBezTo>
                  <a:pt x="3447611" y="618914"/>
                  <a:pt x="3443743" y="618914"/>
                  <a:pt x="3441808" y="622780"/>
                </a:cubicBezTo>
                <a:cubicBezTo>
                  <a:pt x="3439875" y="630519"/>
                  <a:pt x="3434071" y="628584"/>
                  <a:pt x="3428270" y="628584"/>
                </a:cubicBezTo>
                <a:cubicBezTo>
                  <a:pt x="3420533" y="628584"/>
                  <a:pt x="3414730" y="632452"/>
                  <a:pt x="3410862" y="638253"/>
                </a:cubicBezTo>
                <a:cubicBezTo>
                  <a:pt x="3408929" y="638253"/>
                  <a:pt x="3408929" y="640188"/>
                  <a:pt x="3408929" y="644057"/>
                </a:cubicBezTo>
                <a:cubicBezTo>
                  <a:pt x="3414730" y="642121"/>
                  <a:pt x="3418598" y="640188"/>
                  <a:pt x="3422466" y="638253"/>
                </a:cubicBezTo>
                <a:cubicBezTo>
                  <a:pt x="3424402" y="640188"/>
                  <a:pt x="3424402" y="647925"/>
                  <a:pt x="3428270" y="644057"/>
                </a:cubicBezTo>
                <a:cubicBezTo>
                  <a:pt x="3432138" y="638253"/>
                  <a:pt x="3437939" y="638253"/>
                  <a:pt x="3441808" y="636320"/>
                </a:cubicBezTo>
                <a:cubicBezTo>
                  <a:pt x="3451479" y="632452"/>
                  <a:pt x="3461149" y="628584"/>
                  <a:pt x="3470821" y="622780"/>
                </a:cubicBezTo>
                <a:cubicBezTo>
                  <a:pt x="3476622" y="618914"/>
                  <a:pt x="3482423" y="615046"/>
                  <a:pt x="3486294" y="607309"/>
                </a:cubicBezTo>
                <a:cubicBezTo>
                  <a:pt x="3484358" y="605374"/>
                  <a:pt x="3482423" y="605374"/>
                  <a:pt x="3482423" y="603441"/>
                </a:cubicBezTo>
                <a:cubicBezTo>
                  <a:pt x="3480490" y="601506"/>
                  <a:pt x="3480490" y="597637"/>
                  <a:pt x="3480490" y="595705"/>
                </a:cubicBezTo>
                <a:cubicBezTo>
                  <a:pt x="3480490" y="595705"/>
                  <a:pt x="3484358" y="593769"/>
                  <a:pt x="3486294" y="593769"/>
                </a:cubicBezTo>
                <a:cubicBezTo>
                  <a:pt x="3495963" y="593769"/>
                  <a:pt x="3497896" y="591836"/>
                  <a:pt x="3497896" y="580232"/>
                </a:cubicBezTo>
                <a:cubicBezTo>
                  <a:pt x="3501764" y="576363"/>
                  <a:pt x="3505633" y="574428"/>
                  <a:pt x="3509501" y="570560"/>
                </a:cubicBezTo>
                <a:cubicBezTo>
                  <a:pt x="3515304" y="572495"/>
                  <a:pt x="3519173" y="574428"/>
                  <a:pt x="3523041" y="576363"/>
                </a:cubicBezTo>
                <a:cubicBezTo>
                  <a:pt x="3524974" y="587968"/>
                  <a:pt x="3509501" y="584100"/>
                  <a:pt x="3509501" y="597637"/>
                </a:cubicBezTo>
                <a:cubicBezTo>
                  <a:pt x="3517237" y="591836"/>
                  <a:pt x="3524974" y="587968"/>
                  <a:pt x="3532710" y="582164"/>
                </a:cubicBezTo>
                <a:cubicBezTo>
                  <a:pt x="3538514" y="568627"/>
                  <a:pt x="3548183" y="558955"/>
                  <a:pt x="3557855" y="560890"/>
                </a:cubicBezTo>
                <a:cubicBezTo>
                  <a:pt x="3557855" y="553154"/>
                  <a:pt x="3557855" y="553154"/>
                  <a:pt x="3559788" y="549285"/>
                </a:cubicBezTo>
                <a:cubicBezTo>
                  <a:pt x="3563656" y="555087"/>
                  <a:pt x="3567525" y="558955"/>
                  <a:pt x="3573328" y="566691"/>
                </a:cubicBezTo>
                <a:cubicBezTo>
                  <a:pt x="3569458" y="570560"/>
                  <a:pt x="3563656" y="572495"/>
                  <a:pt x="3559788" y="576363"/>
                </a:cubicBezTo>
                <a:cubicBezTo>
                  <a:pt x="3561723" y="578296"/>
                  <a:pt x="3561723" y="578296"/>
                  <a:pt x="3561723" y="580232"/>
                </a:cubicBezTo>
                <a:cubicBezTo>
                  <a:pt x="3573328" y="582164"/>
                  <a:pt x="3582998" y="578296"/>
                  <a:pt x="3592667" y="570560"/>
                </a:cubicBezTo>
                <a:cubicBezTo>
                  <a:pt x="3592667" y="570560"/>
                  <a:pt x="3592667" y="570560"/>
                  <a:pt x="3592667" y="568627"/>
                </a:cubicBezTo>
                <a:cubicBezTo>
                  <a:pt x="3590734" y="566691"/>
                  <a:pt x="3586866" y="566691"/>
                  <a:pt x="3582998" y="564758"/>
                </a:cubicBezTo>
                <a:cubicBezTo>
                  <a:pt x="3586866" y="558955"/>
                  <a:pt x="3586866" y="558955"/>
                  <a:pt x="3606207" y="558955"/>
                </a:cubicBezTo>
                <a:cubicBezTo>
                  <a:pt x="3608140" y="562823"/>
                  <a:pt x="3610075" y="568627"/>
                  <a:pt x="3612008" y="572495"/>
                </a:cubicBezTo>
                <a:cubicBezTo>
                  <a:pt x="3612008" y="574428"/>
                  <a:pt x="3610075" y="574428"/>
                  <a:pt x="3608140" y="576363"/>
                </a:cubicBezTo>
                <a:cubicBezTo>
                  <a:pt x="3606207" y="572495"/>
                  <a:pt x="3604272" y="568627"/>
                  <a:pt x="3602339" y="564758"/>
                </a:cubicBezTo>
                <a:cubicBezTo>
                  <a:pt x="3600406" y="566691"/>
                  <a:pt x="3598471" y="570560"/>
                  <a:pt x="3598471" y="570560"/>
                </a:cubicBezTo>
                <a:cubicBezTo>
                  <a:pt x="3602339" y="578296"/>
                  <a:pt x="3596535" y="578296"/>
                  <a:pt x="3592667" y="580232"/>
                </a:cubicBezTo>
                <a:cubicBezTo>
                  <a:pt x="3588799" y="582164"/>
                  <a:pt x="3581065" y="580232"/>
                  <a:pt x="3577197" y="587968"/>
                </a:cubicBezTo>
                <a:cubicBezTo>
                  <a:pt x="3577197" y="587968"/>
                  <a:pt x="3575261" y="587968"/>
                  <a:pt x="3575261" y="587968"/>
                </a:cubicBezTo>
                <a:cubicBezTo>
                  <a:pt x="3571393" y="584100"/>
                  <a:pt x="3567525" y="587968"/>
                  <a:pt x="3565589" y="589901"/>
                </a:cubicBezTo>
                <a:cubicBezTo>
                  <a:pt x="3557855" y="595705"/>
                  <a:pt x="3548183" y="599573"/>
                  <a:pt x="3540447" y="605374"/>
                </a:cubicBezTo>
                <a:cubicBezTo>
                  <a:pt x="3538514" y="601506"/>
                  <a:pt x="3536579" y="597637"/>
                  <a:pt x="3534646" y="595705"/>
                </a:cubicBezTo>
                <a:cubicBezTo>
                  <a:pt x="3528842" y="597637"/>
                  <a:pt x="3530777" y="605374"/>
                  <a:pt x="3528842" y="609242"/>
                </a:cubicBezTo>
                <a:cubicBezTo>
                  <a:pt x="3524974" y="611178"/>
                  <a:pt x="3519173" y="611178"/>
                  <a:pt x="3513372" y="613111"/>
                </a:cubicBezTo>
                <a:cubicBezTo>
                  <a:pt x="3513372" y="609242"/>
                  <a:pt x="3513372" y="609242"/>
                  <a:pt x="3515304" y="605374"/>
                </a:cubicBezTo>
                <a:cubicBezTo>
                  <a:pt x="3513372" y="605374"/>
                  <a:pt x="3511436" y="605374"/>
                  <a:pt x="3511436" y="605374"/>
                </a:cubicBezTo>
                <a:cubicBezTo>
                  <a:pt x="3509501" y="616979"/>
                  <a:pt x="3497896" y="615046"/>
                  <a:pt x="3492095" y="622780"/>
                </a:cubicBezTo>
                <a:cubicBezTo>
                  <a:pt x="3490162" y="624715"/>
                  <a:pt x="3488227" y="626651"/>
                  <a:pt x="3486294" y="630519"/>
                </a:cubicBezTo>
                <a:cubicBezTo>
                  <a:pt x="3488227" y="630519"/>
                  <a:pt x="3490162" y="630519"/>
                  <a:pt x="3492095" y="630519"/>
                </a:cubicBezTo>
                <a:cubicBezTo>
                  <a:pt x="3505633" y="624715"/>
                  <a:pt x="3519173" y="618914"/>
                  <a:pt x="3532710" y="613111"/>
                </a:cubicBezTo>
                <a:cubicBezTo>
                  <a:pt x="3536579" y="611178"/>
                  <a:pt x="3538514" y="611178"/>
                  <a:pt x="3542382" y="611178"/>
                </a:cubicBezTo>
                <a:cubicBezTo>
                  <a:pt x="3552052" y="607309"/>
                  <a:pt x="3563656" y="603441"/>
                  <a:pt x="3573328" y="599573"/>
                </a:cubicBezTo>
                <a:cubicBezTo>
                  <a:pt x="3575261" y="597637"/>
                  <a:pt x="3577197" y="597637"/>
                  <a:pt x="3579129" y="597637"/>
                </a:cubicBezTo>
                <a:cubicBezTo>
                  <a:pt x="3581065" y="601506"/>
                  <a:pt x="3582998" y="603441"/>
                  <a:pt x="3584931" y="605374"/>
                </a:cubicBezTo>
                <a:cubicBezTo>
                  <a:pt x="3584931" y="611178"/>
                  <a:pt x="3579129" y="611178"/>
                  <a:pt x="3569458" y="605374"/>
                </a:cubicBezTo>
                <a:cubicBezTo>
                  <a:pt x="3569458" y="616979"/>
                  <a:pt x="3567525" y="624715"/>
                  <a:pt x="3555920" y="624715"/>
                </a:cubicBezTo>
                <a:cubicBezTo>
                  <a:pt x="3557855" y="636320"/>
                  <a:pt x="3553987" y="642121"/>
                  <a:pt x="3546248" y="645990"/>
                </a:cubicBezTo>
                <a:lnTo>
                  <a:pt x="3539475" y="647925"/>
                </a:lnTo>
                <a:lnTo>
                  <a:pt x="3524974" y="647925"/>
                </a:lnTo>
                <a:cubicBezTo>
                  <a:pt x="3523041" y="638253"/>
                  <a:pt x="3523041" y="638253"/>
                  <a:pt x="3517237" y="640188"/>
                </a:cubicBezTo>
                <a:cubicBezTo>
                  <a:pt x="3513372" y="642121"/>
                  <a:pt x="3507568" y="644057"/>
                  <a:pt x="3503700" y="645990"/>
                </a:cubicBezTo>
                <a:cubicBezTo>
                  <a:pt x="3503700" y="645990"/>
                  <a:pt x="3503700" y="647925"/>
                  <a:pt x="3503700" y="647925"/>
                </a:cubicBezTo>
                <a:lnTo>
                  <a:pt x="3526574" y="654461"/>
                </a:lnTo>
                <a:lnTo>
                  <a:pt x="3524974" y="655661"/>
                </a:lnTo>
                <a:cubicBezTo>
                  <a:pt x="3528842" y="657594"/>
                  <a:pt x="3530777" y="659530"/>
                  <a:pt x="3532710" y="663398"/>
                </a:cubicBezTo>
                <a:cubicBezTo>
                  <a:pt x="3534646" y="661463"/>
                  <a:pt x="3534646" y="661463"/>
                  <a:pt x="3536579" y="661463"/>
                </a:cubicBezTo>
                <a:cubicBezTo>
                  <a:pt x="3536579" y="663398"/>
                  <a:pt x="3534646" y="665331"/>
                  <a:pt x="3534646" y="665331"/>
                </a:cubicBezTo>
                <a:cubicBezTo>
                  <a:pt x="3536579" y="667266"/>
                  <a:pt x="3536579" y="669199"/>
                  <a:pt x="3538514" y="671134"/>
                </a:cubicBezTo>
                <a:cubicBezTo>
                  <a:pt x="3658427" y="605374"/>
                  <a:pt x="3786078" y="551218"/>
                  <a:pt x="3917598" y="508670"/>
                </a:cubicBezTo>
                <a:cubicBezTo>
                  <a:pt x="3946609" y="500933"/>
                  <a:pt x="3971751" y="514471"/>
                  <a:pt x="3985291" y="537681"/>
                </a:cubicBezTo>
                <a:cubicBezTo>
                  <a:pt x="3985291" y="537681"/>
                  <a:pt x="3987224" y="537681"/>
                  <a:pt x="3987224" y="537681"/>
                </a:cubicBezTo>
                <a:cubicBezTo>
                  <a:pt x="3987224" y="537681"/>
                  <a:pt x="3987224" y="539614"/>
                  <a:pt x="3987224" y="539614"/>
                </a:cubicBezTo>
                <a:cubicBezTo>
                  <a:pt x="3987224" y="541549"/>
                  <a:pt x="3989160" y="543484"/>
                  <a:pt x="3989160" y="545417"/>
                </a:cubicBezTo>
                <a:cubicBezTo>
                  <a:pt x="3991093" y="543484"/>
                  <a:pt x="3993028" y="543484"/>
                  <a:pt x="3994961" y="541549"/>
                </a:cubicBezTo>
                <a:cubicBezTo>
                  <a:pt x="3996896" y="539614"/>
                  <a:pt x="3996896" y="539614"/>
                  <a:pt x="3998829" y="539614"/>
                </a:cubicBezTo>
                <a:cubicBezTo>
                  <a:pt x="3998829" y="539614"/>
                  <a:pt x="4000764" y="537681"/>
                  <a:pt x="4002697" y="537681"/>
                </a:cubicBezTo>
                <a:cubicBezTo>
                  <a:pt x="3998829" y="535745"/>
                  <a:pt x="3996896" y="535745"/>
                  <a:pt x="3994961" y="535745"/>
                </a:cubicBezTo>
                <a:cubicBezTo>
                  <a:pt x="4000764" y="529944"/>
                  <a:pt x="4008501" y="526076"/>
                  <a:pt x="4016237" y="529944"/>
                </a:cubicBezTo>
                <a:cubicBezTo>
                  <a:pt x="4018170" y="529944"/>
                  <a:pt x="4020103" y="528009"/>
                  <a:pt x="4022039" y="528009"/>
                </a:cubicBezTo>
                <a:cubicBezTo>
                  <a:pt x="4025907" y="526076"/>
                  <a:pt x="4027842" y="524143"/>
                  <a:pt x="4031711" y="522208"/>
                </a:cubicBezTo>
                <a:cubicBezTo>
                  <a:pt x="4029775" y="533812"/>
                  <a:pt x="4023974" y="535745"/>
                  <a:pt x="4018170" y="539614"/>
                </a:cubicBezTo>
                <a:cubicBezTo>
                  <a:pt x="4020103" y="539614"/>
                  <a:pt x="4023974" y="541549"/>
                  <a:pt x="4025907" y="541549"/>
                </a:cubicBezTo>
                <a:lnTo>
                  <a:pt x="4027840" y="551216"/>
                </a:lnTo>
                <a:lnTo>
                  <a:pt x="4025423" y="548559"/>
                </a:lnTo>
                <a:cubicBezTo>
                  <a:pt x="4024456" y="548801"/>
                  <a:pt x="4023005" y="550252"/>
                  <a:pt x="4020103" y="553154"/>
                </a:cubicBezTo>
                <a:cubicBezTo>
                  <a:pt x="4022039" y="553154"/>
                  <a:pt x="4022039" y="553154"/>
                  <a:pt x="4022039" y="553154"/>
                </a:cubicBezTo>
                <a:lnTo>
                  <a:pt x="4027841" y="551219"/>
                </a:lnTo>
                <a:lnTo>
                  <a:pt x="4028163" y="552832"/>
                </a:lnTo>
                <a:lnTo>
                  <a:pt x="4027842" y="553154"/>
                </a:lnTo>
                <a:lnTo>
                  <a:pt x="4028324" y="553636"/>
                </a:lnTo>
                <a:lnTo>
                  <a:pt x="4029775" y="560890"/>
                </a:lnTo>
                <a:cubicBezTo>
                  <a:pt x="4037512" y="555087"/>
                  <a:pt x="4043313" y="549285"/>
                  <a:pt x="4051052" y="545417"/>
                </a:cubicBezTo>
                <a:cubicBezTo>
                  <a:pt x="4051052" y="545417"/>
                  <a:pt x="4052985" y="543484"/>
                  <a:pt x="4052985" y="543484"/>
                </a:cubicBezTo>
                <a:cubicBezTo>
                  <a:pt x="4060721" y="537681"/>
                  <a:pt x="4068458" y="529944"/>
                  <a:pt x="4076194" y="524143"/>
                </a:cubicBezTo>
                <a:cubicBezTo>
                  <a:pt x="4076194" y="524143"/>
                  <a:pt x="4078127" y="522208"/>
                  <a:pt x="4078127" y="520275"/>
                </a:cubicBezTo>
                <a:cubicBezTo>
                  <a:pt x="4078127" y="522208"/>
                  <a:pt x="4080063" y="522208"/>
                  <a:pt x="4080063" y="522208"/>
                </a:cubicBezTo>
                <a:cubicBezTo>
                  <a:pt x="4083931" y="520275"/>
                  <a:pt x="4085864" y="520275"/>
                  <a:pt x="4085864" y="514471"/>
                </a:cubicBezTo>
                <a:cubicBezTo>
                  <a:pt x="4085864" y="512538"/>
                  <a:pt x="4091667" y="508670"/>
                  <a:pt x="4095536" y="504802"/>
                </a:cubicBezTo>
                <a:cubicBezTo>
                  <a:pt x="4097468" y="502866"/>
                  <a:pt x="4097468" y="500933"/>
                  <a:pt x="4099404" y="498998"/>
                </a:cubicBezTo>
                <a:cubicBezTo>
                  <a:pt x="4099404" y="498998"/>
                  <a:pt x="4097468" y="497065"/>
                  <a:pt x="4095536" y="497065"/>
                </a:cubicBezTo>
                <a:cubicBezTo>
                  <a:pt x="4087799" y="500933"/>
                  <a:pt x="4080063" y="504802"/>
                  <a:pt x="4072326" y="510603"/>
                </a:cubicBezTo>
                <a:cubicBezTo>
                  <a:pt x="4070391" y="514471"/>
                  <a:pt x="4066522" y="516406"/>
                  <a:pt x="4062654" y="520275"/>
                </a:cubicBezTo>
                <a:cubicBezTo>
                  <a:pt x="4062654" y="520275"/>
                  <a:pt x="4064589" y="522208"/>
                  <a:pt x="4066522" y="524143"/>
                </a:cubicBezTo>
                <a:cubicBezTo>
                  <a:pt x="4064589" y="529944"/>
                  <a:pt x="4060721" y="537681"/>
                  <a:pt x="4052985" y="537681"/>
                </a:cubicBezTo>
                <a:cubicBezTo>
                  <a:pt x="4047181" y="537681"/>
                  <a:pt x="4043313" y="541549"/>
                  <a:pt x="4039445" y="545417"/>
                </a:cubicBezTo>
                <a:cubicBezTo>
                  <a:pt x="4037512" y="545417"/>
                  <a:pt x="4037512" y="543484"/>
                  <a:pt x="4037512" y="543484"/>
                </a:cubicBezTo>
                <a:cubicBezTo>
                  <a:pt x="4043313" y="539614"/>
                  <a:pt x="4049116" y="535745"/>
                  <a:pt x="4054920" y="529944"/>
                </a:cubicBezTo>
                <a:cubicBezTo>
                  <a:pt x="4049116" y="528009"/>
                  <a:pt x="4045248" y="526076"/>
                  <a:pt x="4037512" y="522208"/>
                </a:cubicBezTo>
                <a:cubicBezTo>
                  <a:pt x="4041380" y="520275"/>
                  <a:pt x="4045248" y="518339"/>
                  <a:pt x="4049116" y="516406"/>
                </a:cubicBezTo>
                <a:cubicBezTo>
                  <a:pt x="4051052" y="516406"/>
                  <a:pt x="4051052" y="514471"/>
                  <a:pt x="4052985" y="514471"/>
                </a:cubicBezTo>
                <a:cubicBezTo>
                  <a:pt x="4062654" y="510603"/>
                  <a:pt x="4064589" y="510603"/>
                  <a:pt x="4056853" y="500933"/>
                </a:cubicBezTo>
                <a:cubicBezTo>
                  <a:pt x="4064589" y="495130"/>
                  <a:pt x="4072326" y="489329"/>
                  <a:pt x="4081995" y="483525"/>
                </a:cubicBezTo>
                <a:cubicBezTo>
                  <a:pt x="4089732" y="479657"/>
                  <a:pt x="4093600" y="468052"/>
                  <a:pt x="4105205" y="471920"/>
                </a:cubicBezTo>
                <a:cubicBezTo>
                  <a:pt x="4109073" y="468052"/>
                  <a:pt x="4114877" y="462251"/>
                  <a:pt x="4118745" y="458383"/>
                </a:cubicBezTo>
                <a:cubicBezTo>
                  <a:pt x="4124546" y="454514"/>
                  <a:pt x="4128415" y="448711"/>
                  <a:pt x="4134216" y="442910"/>
                </a:cubicBezTo>
                <a:cubicBezTo>
                  <a:pt x="4140019" y="439041"/>
                  <a:pt x="4143888" y="437108"/>
                  <a:pt x="4149689" y="433240"/>
                </a:cubicBezTo>
                <a:cubicBezTo>
                  <a:pt x="4149689" y="433240"/>
                  <a:pt x="4151624" y="435173"/>
                  <a:pt x="4151624" y="435173"/>
                </a:cubicBezTo>
                <a:cubicBezTo>
                  <a:pt x="4149689" y="439041"/>
                  <a:pt x="4149689" y="444845"/>
                  <a:pt x="4147756" y="448711"/>
                </a:cubicBezTo>
                <a:cubicBezTo>
                  <a:pt x="4155492" y="442910"/>
                  <a:pt x="4163229" y="440974"/>
                  <a:pt x="4167097" y="433240"/>
                </a:cubicBezTo>
                <a:cubicBezTo>
                  <a:pt x="4169030" y="425504"/>
                  <a:pt x="4174834" y="419700"/>
                  <a:pt x="4178702" y="411964"/>
                </a:cubicBezTo>
                <a:cubicBezTo>
                  <a:pt x="4186438" y="425504"/>
                  <a:pt x="4190307" y="427437"/>
                  <a:pt x="4201911" y="417767"/>
                </a:cubicBezTo>
                <a:cubicBezTo>
                  <a:pt x="4205780" y="415832"/>
                  <a:pt x="4209648" y="411964"/>
                  <a:pt x="4213514" y="410031"/>
                </a:cubicBezTo>
                <a:cubicBezTo>
                  <a:pt x="4219317" y="415832"/>
                  <a:pt x="4223186" y="419700"/>
                  <a:pt x="4227054" y="425504"/>
                </a:cubicBezTo>
                <a:cubicBezTo>
                  <a:pt x="4230922" y="419700"/>
                  <a:pt x="4234790" y="413899"/>
                  <a:pt x="4238659" y="408095"/>
                </a:cubicBezTo>
                <a:cubicBezTo>
                  <a:pt x="4238659" y="406162"/>
                  <a:pt x="4238659" y="404227"/>
                  <a:pt x="4236723" y="402294"/>
                </a:cubicBezTo>
                <a:cubicBezTo>
                  <a:pt x="4236723" y="402294"/>
                  <a:pt x="4238659" y="402294"/>
                  <a:pt x="4238659" y="402294"/>
                </a:cubicBezTo>
                <a:cubicBezTo>
                  <a:pt x="4254132" y="390689"/>
                  <a:pt x="4269605" y="381018"/>
                  <a:pt x="4285078" y="369415"/>
                </a:cubicBezTo>
                <a:cubicBezTo>
                  <a:pt x="4285078" y="369415"/>
                  <a:pt x="4287011" y="367480"/>
                  <a:pt x="4287011" y="367480"/>
                </a:cubicBezTo>
                <a:cubicBezTo>
                  <a:pt x="4290879" y="363612"/>
                  <a:pt x="4292814" y="357810"/>
                  <a:pt x="4296682" y="357810"/>
                </a:cubicBezTo>
                <a:cubicBezTo>
                  <a:pt x="4302484" y="357810"/>
                  <a:pt x="4310220" y="359743"/>
                  <a:pt x="4316024" y="361676"/>
                </a:cubicBezTo>
                <a:cubicBezTo>
                  <a:pt x="4316024" y="357810"/>
                  <a:pt x="4314088" y="353940"/>
                  <a:pt x="4314088" y="348139"/>
                </a:cubicBezTo>
                <a:cubicBezTo>
                  <a:pt x="4323758" y="340402"/>
                  <a:pt x="4335365" y="334601"/>
                  <a:pt x="4346967" y="326864"/>
                </a:cubicBezTo>
                <a:cubicBezTo>
                  <a:pt x="4348903" y="326864"/>
                  <a:pt x="4348903" y="328797"/>
                  <a:pt x="4348903" y="328797"/>
                </a:cubicBezTo>
                <a:cubicBezTo>
                  <a:pt x="4346967" y="332665"/>
                  <a:pt x="4343099" y="334601"/>
                  <a:pt x="4341166" y="338469"/>
                </a:cubicBezTo>
                <a:cubicBezTo>
                  <a:pt x="4343099" y="338469"/>
                  <a:pt x="4343099" y="340402"/>
                  <a:pt x="4343099" y="340402"/>
                </a:cubicBezTo>
                <a:cubicBezTo>
                  <a:pt x="4352771" y="334601"/>
                  <a:pt x="4362440" y="328797"/>
                  <a:pt x="4372112" y="322996"/>
                </a:cubicBezTo>
                <a:cubicBezTo>
                  <a:pt x="4372112" y="322996"/>
                  <a:pt x="4370177" y="319128"/>
                  <a:pt x="4370177" y="317192"/>
                </a:cubicBezTo>
                <a:cubicBezTo>
                  <a:pt x="4370177" y="315260"/>
                  <a:pt x="4372112" y="315260"/>
                  <a:pt x="4372112" y="315260"/>
                </a:cubicBezTo>
                <a:cubicBezTo>
                  <a:pt x="4372112" y="317192"/>
                  <a:pt x="4374045" y="321061"/>
                  <a:pt x="4375980" y="322996"/>
                </a:cubicBezTo>
                <a:cubicBezTo>
                  <a:pt x="4379849" y="317192"/>
                  <a:pt x="4389518" y="315260"/>
                  <a:pt x="4391451" y="307523"/>
                </a:cubicBezTo>
                <a:cubicBezTo>
                  <a:pt x="4391451" y="307523"/>
                  <a:pt x="4395322" y="305588"/>
                  <a:pt x="4395322" y="305588"/>
                </a:cubicBezTo>
                <a:cubicBezTo>
                  <a:pt x="4403058" y="307523"/>
                  <a:pt x="4406924" y="303655"/>
                  <a:pt x="4412728" y="299786"/>
                </a:cubicBezTo>
                <a:cubicBezTo>
                  <a:pt x="4418531" y="297851"/>
                  <a:pt x="4422399" y="295918"/>
                  <a:pt x="4426265" y="288182"/>
                </a:cubicBezTo>
                <a:cubicBezTo>
                  <a:pt x="4430134" y="280445"/>
                  <a:pt x="4439805" y="276577"/>
                  <a:pt x="4447542" y="274642"/>
                </a:cubicBezTo>
                <a:cubicBezTo>
                  <a:pt x="4445607" y="278510"/>
                  <a:pt x="4443674" y="280445"/>
                  <a:pt x="4439805" y="284313"/>
                </a:cubicBezTo>
                <a:cubicBezTo>
                  <a:pt x="4443674" y="284313"/>
                  <a:pt x="4449475" y="282378"/>
                  <a:pt x="4453343" y="282378"/>
                </a:cubicBezTo>
                <a:cubicBezTo>
                  <a:pt x="4453343" y="286246"/>
                  <a:pt x="4455278" y="288182"/>
                  <a:pt x="4455278" y="290115"/>
                </a:cubicBezTo>
                <a:cubicBezTo>
                  <a:pt x="4463015" y="286246"/>
                  <a:pt x="4470751" y="282378"/>
                  <a:pt x="4478488" y="278510"/>
                </a:cubicBezTo>
                <a:cubicBezTo>
                  <a:pt x="4480421" y="280445"/>
                  <a:pt x="4480421" y="282378"/>
                  <a:pt x="4482356" y="284313"/>
                </a:cubicBezTo>
                <a:cubicBezTo>
                  <a:pt x="4482356" y="282378"/>
                  <a:pt x="4484289" y="282378"/>
                  <a:pt x="4484289" y="282378"/>
                </a:cubicBezTo>
                <a:cubicBezTo>
                  <a:pt x="4486225" y="268840"/>
                  <a:pt x="4499762" y="268840"/>
                  <a:pt x="4507499" y="264972"/>
                </a:cubicBezTo>
                <a:cubicBezTo>
                  <a:pt x="4517168" y="261104"/>
                  <a:pt x="4526840" y="257236"/>
                  <a:pt x="4534577" y="251434"/>
                </a:cubicBezTo>
                <a:cubicBezTo>
                  <a:pt x="4538445" y="247566"/>
                  <a:pt x="4538445" y="245631"/>
                  <a:pt x="4534577" y="241763"/>
                </a:cubicBezTo>
                <a:cubicBezTo>
                  <a:pt x="4532641" y="239830"/>
                  <a:pt x="4530708" y="235961"/>
                  <a:pt x="4536509" y="234026"/>
                </a:cubicBezTo>
                <a:cubicBezTo>
                  <a:pt x="4540378" y="234026"/>
                  <a:pt x="4542313" y="228225"/>
                  <a:pt x="4546181" y="226290"/>
                </a:cubicBezTo>
                <a:cubicBezTo>
                  <a:pt x="4559719" y="218553"/>
                  <a:pt x="4573259" y="212752"/>
                  <a:pt x="4586797" y="208884"/>
                </a:cubicBezTo>
                <a:cubicBezTo>
                  <a:pt x="4580993" y="210817"/>
                  <a:pt x="4577127" y="214685"/>
                  <a:pt x="4573259" y="216620"/>
                </a:cubicBezTo>
                <a:cubicBezTo>
                  <a:pt x="4567455" y="218553"/>
                  <a:pt x="4571324" y="226290"/>
                  <a:pt x="4565523" y="228225"/>
                </a:cubicBezTo>
                <a:lnTo>
                  <a:pt x="4561177" y="231122"/>
                </a:lnTo>
                <a:lnTo>
                  <a:pt x="4553918" y="234026"/>
                </a:lnTo>
                <a:lnTo>
                  <a:pt x="4555078" y="235188"/>
                </a:lnTo>
                <a:lnTo>
                  <a:pt x="4553918" y="235961"/>
                </a:lnTo>
                <a:lnTo>
                  <a:pt x="4555372" y="235482"/>
                </a:lnTo>
                <a:lnTo>
                  <a:pt x="4555851" y="235961"/>
                </a:lnTo>
                <a:lnTo>
                  <a:pt x="4557367" y="234824"/>
                </a:lnTo>
                <a:lnTo>
                  <a:pt x="4575918" y="228708"/>
                </a:lnTo>
                <a:cubicBezTo>
                  <a:pt x="4582929" y="225323"/>
                  <a:pt x="4589698" y="221455"/>
                  <a:pt x="4596469" y="218553"/>
                </a:cubicBezTo>
                <a:cubicBezTo>
                  <a:pt x="4611939" y="210817"/>
                  <a:pt x="4625479" y="201147"/>
                  <a:pt x="4640952" y="197279"/>
                </a:cubicBezTo>
                <a:cubicBezTo>
                  <a:pt x="4656425" y="193411"/>
                  <a:pt x="4668028" y="179871"/>
                  <a:pt x="4685436" y="181806"/>
                </a:cubicBezTo>
                <a:cubicBezTo>
                  <a:pt x="4675767" y="187607"/>
                  <a:pt x="4666095" y="193411"/>
                  <a:pt x="4658358" y="197279"/>
                </a:cubicBezTo>
                <a:cubicBezTo>
                  <a:pt x="4648686" y="203080"/>
                  <a:pt x="4637084" y="208884"/>
                  <a:pt x="4629348" y="220488"/>
                </a:cubicBezTo>
                <a:cubicBezTo>
                  <a:pt x="4642885" y="214685"/>
                  <a:pt x="4656425" y="206948"/>
                  <a:pt x="4669963" y="201147"/>
                </a:cubicBezTo>
                <a:cubicBezTo>
                  <a:pt x="4671896" y="203080"/>
                  <a:pt x="4671896" y="205015"/>
                  <a:pt x="4673831" y="206948"/>
                </a:cubicBezTo>
                <a:cubicBezTo>
                  <a:pt x="4677700" y="206948"/>
                  <a:pt x="4683503" y="205015"/>
                  <a:pt x="4689304" y="203080"/>
                </a:cubicBezTo>
                <a:cubicBezTo>
                  <a:pt x="4689304" y="205015"/>
                  <a:pt x="4691237" y="208884"/>
                  <a:pt x="4691237" y="210817"/>
                </a:cubicBezTo>
                <a:cubicBezTo>
                  <a:pt x="4706710" y="208884"/>
                  <a:pt x="4720250" y="205015"/>
                  <a:pt x="4733788" y="197279"/>
                </a:cubicBezTo>
                <a:cubicBezTo>
                  <a:pt x="4731855" y="208884"/>
                  <a:pt x="4722183" y="208884"/>
                  <a:pt x="4712514" y="214685"/>
                </a:cubicBezTo>
                <a:cubicBezTo>
                  <a:pt x="4722183" y="220488"/>
                  <a:pt x="4729920" y="224357"/>
                  <a:pt x="4739592" y="228225"/>
                </a:cubicBezTo>
                <a:cubicBezTo>
                  <a:pt x="4737656" y="234026"/>
                  <a:pt x="4727987" y="226290"/>
                  <a:pt x="4726052" y="232093"/>
                </a:cubicBezTo>
                <a:cubicBezTo>
                  <a:pt x="4733788" y="241763"/>
                  <a:pt x="4739592" y="241763"/>
                  <a:pt x="4749261" y="235961"/>
                </a:cubicBezTo>
                <a:cubicBezTo>
                  <a:pt x="4755062" y="230158"/>
                  <a:pt x="4762801" y="226290"/>
                  <a:pt x="4770538" y="220488"/>
                </a:cubicBezTo>
                <a:cubicBezTo>
                  <a:pt x="4772471" y="234026"/>
                  <a:pt x="4758931" y="234026"/>
                  <a:pt x="4756998" y="243698"/>
                </a:cubicBezTo>
                <a:cubicBezTo>
                  <a:pt x="4762801" y="239830"/>
                  <a:pt x="4766669" y="235961"/>
                  <a:pt x="4774404" y="232093"/>
                </a:cubicBezTo>
                <a:cubicBezTo>
                  <a:pt x="4768602" y="237894"/>
                  <a:pt x="4766669" y="241763"/>
                  <a:pt x="4762801" y="245631"/>
                </a:cubicBezTo>
                <a:cubicBezTo>
                  <a:pt x="4766669" y="247566"/>
                  <a:pt x="4770538" y="247566"/>
                  <a:pt x="4774404" y="249499"/>
                </a:cubicBezTo>
                <a:cubicBezTo>
                  <a:pt x="4772471" y="261104"/>
                  <a:pt x="4751196" y="253367"/>
                  <a:pt x="4755062" y="268840"/>
                </a:cubicBezTo>
                <a:cubicBezTo>
                  <a:pt x="4760866" y="266906"/>
                  <a:pt x="4761350" y="269324"/>
                  <a:pt x="4761350" y="272225"/>
                </a:cubicBezTo>
                <a:lnTo>
                  <a:pt x="4764033" y="277208"/>
                </a:lnTo>
                <a:lnTo>
                  <a:pt x="4745393" y="293983"/>
                </a:lnTo>
                <a:cubicBezTo>
                  <a:pt x="4745393" y="293983"/>
                  <a:pt x="4745393" y="295918"/>
                  <a:pt x="4745393" y="295918"/>
                </a:cubicBezTo>
                <a:cubicBezTo>
                  <a:pt x="4749261" y="295918"/>
                  <a:pt x="4753129" y="295918"/>
                  <a:pt x="4756998" y="293983"/>
                </a:cubicBezTo>
                <a:cubicBezTo>
                  <a:pt x="4758931" y="297851"/>
                  <a:pt x="4760866" y="299786"/>
                  <a:pt x="4762801" y="301719"/>
                </a:cubicBezTo>
                <a:cubicBezTo>
                  <a:pt x="4766669" y="295918"/>
                  <a:pt x="4768602" y="290115"/>
                  <a:pt x="4772471" y="284313"/>
                </a:cubicBezTo>
                <a:cubicBezTo>
                  <a:pt x="4770538" y="286246"/>
                  <a:pt x="4766669" y="288182"/>
                  <a:pt x="4762801" y="290115"/>
                </a:cubicBezTo>
                <a:cubicBezTo>
                  <a:pt x="4762801" y="290115"/>
                  <a:pt x="4760866" y="288182"/>
                  <a:pt x="4760866" y="288182"/>
                </a:cubicBezTo>
                <a:cubicBezTo>
                  <a:pt x="4762801" y="284313"/>
                  <a:pt x="4764734" y="282378"/>
                  <a:pt x="4766669" y="278510"/>
                </a:cubicBezTo>
                <a:lnTo>
                  <a:pt x="4765701" y="277543"/>
                </a:lnTo>
                <a:lnTo>
                  <a:pt x="4784075" y="259171"/>
                </a:lnTo>
                <a:cubicBezTo>
                  <a:pt x="4791812" y="263039"/>
                  <a:pt x="4786011" y="268840"/>
                  <a:pt x="4787944" y="272709"/>
                </a:cubicBezTo>
                <a:cubicBezTo>
                  <a:pt x="4789879" y="280445"/>
                  <a:pt x="4778272" y="276577"/>
                  <a:pt x="4780207" y="284313"/>
                </a:cubicBezTo>
                <a:cubicBezTo>
                  <a:pt x="4787944" y="292050"/>
                  <a:pt x="4791812" y="280445"/>
                  <a:pt x="4799548" y="282378"/>
                </a:cubicBezTo>
                <a:cubicBezTo>
                  <a:pt x="4799548" y="286246"/>
                  <a:pt x="4799548" y="288182"/>
                  <a:pt x="4797613" y="292050"/>
                </a:cubicBezTo>
                <a:cubicBezTo>
                  <a:pt x="4799548" y="293983"/>
                  <a:pt x="4803417" y="293983"/>
                  <a:pt x="4805350" y="293983"/>
                </a:cubicBezTo>
                <a:cubicBezTo>
                  <a:pt x="4799548" y="301719"/>
                  <a:pt x="4791812" y="309456"/>
                  <a:pt x="4787944" y="315260"/>
                </a:cubicBezTo>
                <a:lnTo>
                  <a:pt x="4787420" y="320497"/>
                </a:lnTo>
                <a:lnTo>
                  <a:pt x="4786011" y="321061"/>
                </a:lnTo>
                <a:lnTo>
                  <a:pt x="4787138" y="323317"/>
                </a:lnTo>
                <a:lnTo>
                  <a:pt x="4786011" y="334601"/>
                </a:lnTo>
                <a:cubicBezTo>
                  <a:pt x="4795680" y="326864"/>
                  <a:pt x="4805350" y="319128"/>
                  <a:pt x="4815021" y="313324"/>
                </a:cubicBezTo>
                <a:cubicBezTo>
                  <a:pt x="4824691" y="307523"/>
                  <a:pt x="4834363" y="299786"/>
                  <a:pt x="4844032" y="293983"/>
                </a:cubicBezTo>
                <a:cubicBezTo>
                  <a:pt x="4845965" y="292050"/>
                  <a:pt x="4849836" y="292050"/>
                  <a:pt x="4851769" y="292050"/>
                </a:cubicBezTo>
                <a:cubicBezTo>
                  <a:pt x="4847900" y="293983"/>
                  <a:pt x="4845965" y="297851"/>
                  <a:pt x="4842097" y="299786"/>
                </a:cubicBezTo>
                <a:cubicBezTo>
                  <a:pt x="4842097" y="301719"/>
                  <a:pt x="4844032" y="301719"/>
                  <a:pt x="4844032" y="303655"/>
                </a:cubicBezTo>
                <a:cubicBezTo>
                  <a:pt x="4849836" y="301719"/>
                  <a:pt x="4853704" y="297851"/>
                  <a:pt x="4859505" y="295918"/>
                </a:cubicBezTo>
                <a:cubicBezTo>
                  <a:pt x="4847900" y="313324"/>
                  <a:pt x="4828559" y="321061"/>
                  <a:pt x="4816954" y="332665"/>
                </a:cubicBezTo>
                <a:cubicBezTo>
                  <a:pt x="4815021" y="340402"/>
                  <a:pt x="4813086" y="348139"/>
                  <a:pt x="4811153" y="355875"/>
                </a:cubicBezTo>
                <a:cubicBezTo>
                  <a:pt x="4815021" y="359743"/>
                  <a:pt x="4816954" y="365544"/>
                  <a:pt x="4818890" y="369415"/>
                </a:cubicBezTo>
                <a:cubicBezTo>
                  <a:pt x="4820823" y="375216"/>
                  <a:pt x="4832427" y="369415"/>
                  <a:pt x="4828559" y="379085"/>
                </a:cubicBezTo>
                <a:cubicBezTo>
                  <a:pt x="4840164" y="384886"/>
                  <a:pt x="4849836" y="375216"/>
                  <a:pt x="4861438" y="373281"/>
                </a:cubicBezTo>
                <a:cubicBezTo>
                  <a:pt x="4857572" y="377149"/>
                  <a:pt x="4855637" y="379085"/>
                  <a:pt x="4853704" y="382953"/>
                </a:cubicBezTo>
                <a:cubicBezTo>
                  <a:pt x="4869175" y="377149"/>
                  <a:pt x="4880779" y="363612"/>
                  <a:pt x="4900121" y="357810"/>
                </a:cubicBezTo>
                <a:cubicBezTo>
                  <a:pt x="4898188" y="369415"/>
                  <a:pt x="4886583" y="369415"/>
                  <a:pt x="4880779" y="375216"/>
                </a:cubicBezTo>
                <a:cubicBezTo>
                  <a:pt x="4873045" y="381018"/>
                  <a:pt x="4867242" y="388754"/>
                  <a:pt x="4859505" y="396491"/>
                </a:cubicBezTo>
                <a:cubicBezTo>
                  <a:pt x="4874978" y="396491"/>
                  <a:pt x="4878846" y="388754"/>
                  <a:pt x="4886583" y="382953"/>
                </a:cubicBezTo>
                <a:cubicBezTo>
                  <a:pt x="4894319" y="379085"/>
                  <a:pt x="4902056" y="375216"/>
                  <a:pt x="4911725" y="369415"/>
                </a:cubicBezTo>
                <a:cubicBezTo>
                  <a:pt x="4903989" y="388754"/>
                  <a:pt x="4888516" y="398426"/>
                  <a:pt x="4874978" y="410031"/>
                </a:cubicBezTo>
                <a:cubicBezTo>
                  <a:pt x="4874978" y="415832"/>
                  <a:pt x="4876913" y="419700"/>
                  <a:pt x="4876913" y="425504"/>
                </a:cubicBezTo>
                <a:cubicBezTo>
                  <a:pt x="4878846" y="425504"/>
                  <a:pt x="4882715" y="423568"/>
                  <a:pt x="4886583" y="421635"/>
                </a:cubicBezTo>
                <a:cubicBezTo>
                  <a:pt x="4886583" y="425504"/>
                  <a:pt x="4884648" y="429370"/>
                  <a:pt x="4884648" y="435173"/>
                </a:cubicBezTo>
                <a:cubicBezTo>
                  <a:pt x="4898188" y="427437"/>
                  <a:pt x="4907857" y="419700"/>
                  <a:pt x="4919462" y="411964"/>
                </a:cubicBezTo>
                <a:cubicBezTo>
                  <a:pt x="4921397" y="411964"/>
                  <a:pt x="4921397" y="413899"/>
                  <a:pt x="4921397" y="413899"/>
                </a:cubicBezTo>
                <a:cubicBezTo>
                  <a:pt x="4917529" y="419700"/>
                  <a:pt x="4913661" y="423568"/>
                  <a:pt x="4907857" y="431305"/>
                </a:cubicBezTo>
                <a:cubicBezTo>
                  <a:pt x="4911725" y="431305"/>
                  <a:pt x="4913661" y="431305"/>
                  <a:pt x="4919462" y="431305"/>
                </a:cubicBezTo>
                <a:cubicBezTo>
                  <a:pt x="4911725" y="439041"/>
                  <a:pt x="4903989" y="446778"/>
                  <a:pt x="4894319" y="456450"/>
                </a:cubicBezTo>
                <a:cubicBezTo>
                  <a:pt x="4900121" y="456450"/>
                  <a:pt x="4903989" y="456450"/>
                  <a:pt x="4907857" y="456450"/>
                </a:cubicBezTo>
                <a:cubicBezTo>
                  <a:pt x="4905924" y="460316"/>
                  <a:pt x="4903989" y="462251"/>
                  <a:pt x="4902056" y="466119"/>
                </a:cubicBezTo>
                <a:cubicBezTo>
                  <a:pt x="4913661" y="464184"/>
                  <a:pt x="4909792" y="479657"/>
                  <a:pt x="4921397" y="481592"/>
                </a:cubicBezTo>
                <a:cubicBezTo>
                  <a:pt x="4917529" y="483525"/>
                  <a:pt x="4913661" y="487393"/>
                  <a:pt x="4911725" y="489329"/>
                </a:cubicBezTo>
                <a:cubicBezTo>
                  <a:pt x="4913661" y="491262"/>
                  <a:pt x="4913661" y="491262"/>
                  <a:pt x="4913661" y="491262"/>
                </a:cubicBezTo>
                <a:cubicBezTo>
                  <a:pt x="4917529" y="487393"/>
                  <a:pt x="4923330" y="485460"/>
                  <a:pt x="4927198" y="483525"/>
                </a:cubicBezTo>
                <a:cubicBezTo>
                  <a:pt x="4927198" y="483525"/>
                  <a:pt x="4929131" y="485460"/>
                  <a:pt x="4929131" y="485460"/>
                </a:cubicBezTo>
                <a:lnTo>
                  <a:pt x="4917188" y="495811"/>
                </a:lnTo>
                <a:lnTo>
                  <a:pt x="4917529" y="495130"/>
                </a:lnTo>
                <a:lnTo>
                  <a:pt x="4914633" y="498025"/>
                </a:lnTo>
                <a:lnTo>
                  <a:pt x="4900121" y="510603"/>
                </a:lnTo>
                <a:cubicBezTo>
                  <a:pt x="4898188" y="508670"/>
                  <a:pt x="4894319" y="506735"/>
                  <a:pt x="4892384" y="504802"/>
                </a:cubicBezTo>
                <a:cubicBezTo>
                  <a:pt x="4882715" y="510603"/>
                  <a:pt x="4892384" y="514471"/>
                  <a:pt x="4890451" y="520275"/>
                </a:cubicBezTo>
                <a:cubicBezTo>
                  <a:pt x="4878846" y="526076"/>
                  <a:pt x="4882715" y="535745"/>
                  <a:pt x="4882715" y="547350"/>
                </a:cubicBezTo>
                <a:cubicBezTo>
                  <a:pt x="4888516" y="551218"/>
                  <a:pt x="4894319" y="555087"/>
                  <a:pt x="4902056" y="558955"/>
                </a:cubicBezTo>
                <a:cubicBezTo>
                  <a:pt x="4894319" y="568627"/>
                  <a:pt x="4886583" y="576363"/>
                  <a:pt x="4880779" y="584100"/>
                </a:cubicBezTo>
                <a:cubicBezTo>
                  <a:pt x="4880779" y="584100"/>
                  <a:pt x="4880779" y="586033"/>
                  <a:pt x="4880779" y="586033"/>
                </a:cubicBezTo>
                <a:cubicBezTo>
                  <a:pt x="4884648" y="586033"/>
                  <a:pt x="4888516" y="586033"/>
                  <a:pt x="4890451" y="584100"/>
                </a:cubicBezTo>
                <a:cubicBezTo>
                  <a:pt x="4905924" y="574428"/>
                  <a:pt x="4919462" y="562823"/>
                  <a:pt x="4934935" y="553154"/>
                </a:cubicBezTo>
                <a:cubicBezTo>
                  <a:pt x="4938803" y="551218"/>
                  <a:pt x="4940738" y="549285"/>
                  <a:pt x="4944607" y="549285"/>
                </a:cubicBezTo>
                <a:cubicBezTo>
                  <a:pt x="4946540" y="547350"/>
                  <a:pt x="4950408" y="549285"/>
                  <a:pt x="4950408" y="547350"/>
                </a:cubicBezTo>
                <a:cubicBezTo>
                  <a:pt x="4958144" y="535745"/>
                  <a:pt x="4971682" y="535745"/>
                  <a:pt x="4983289" y="529944"/>
                </a:cubicBezTo>
                <a:cubicBezTo>
                  <a:pt x="5006496" y="520275"/>
                  <a:pt x="4770538" y="818126"/>
                  <a:pt x="4789879" y="804588"/>
                </a:cubicBezTo>
                <a:cubicBezTo>
                  <a:pt x="4795680" y="800720"/>
                  <a:pt x="4803417" y="792983"/>
                  <a:pt x="4815021" y="796849"/>
                </a:cubicBezTo>
                <a:cubicBezTo>
                  <a:pt x="4816954" y="796849"/>
                  <a:pt x="4822758" y="794916"/>
                  <a:pt x="4824691" y="792983"/>
                </a:cubicBezTo>
                <a:cubicBezTo>
                  <a:pt x="4830494" y="785247"/>
                  <a:pt x="4836296" y="787180"/>
                  <a:pt x="4842097" y="789115"/>
                </a:cubicBezTo>
                <a:cubicBezTo>
                  <a:pt x="4847900" y="785247"/>
                  <a:pt x="4851769" y="781378"/>
                  <a:pt x="4857572" y="779443"/>
                </a:cubicBezTo>
                <a:cubicBezTo>
                  <a:pt x="4863373" y="775575"/>
                  <a:pt x="4871110" y="775575"/>
                  <a:pt x="4869175" y="763970"/>
                </a:cubicBezTo>
                <a:cubicBezTo>
                  <a:pt x="4869175" y="762037"/>
                  <a:pt x="4873045" y="758169"/>
                  <a:pt x="4874978" y="756234"/>
                </a:cubicBezTo>
                <a:cubicBezTo>
                  <a:pt x="4880779" y="752365"/>
                  <a:pt x="4888516" y="748497"/>
                  <a:pt x="4894319" y="744629"/>
                </a:cubicBezTo>
                <a:cubicBezTo>
                  <a:pt x="4896252" y="748497"/>
                  <a:pt x="4898188" y="750432"/>
                  <a:pt x="4900121" y="752365"/>
                </a:cubicBezTo>
                <a:cubicBezTo>
                  <a:pt x="4903989" y="744629"/>
                  <a:pt x="4913661" y="742696"/>
                  <a:pt x="4915594" y="733024"/>
                </a:cubicBezTo>
                <a:cubicBezTo>
                  <a:pt x="4915594" y="729156"/>
                  <a:pt x="4925265" y="723355"/>
                  <a:pt x="4929131" y="725290"/>
                </a:cubicBezTo>
                <a:cubicBezTo>
                  <a:pt x="4940738" y="729156"/>
                  <a:pt x="4946540" y="723355"/>
                  <a:pt x="4950408" y="715618"/>
                </a:cubicBezTo>
                <a:cubicBezTo>
                  <a:pt x="4958144" y="715618"/>
                  <a:pt x="4963948" y="715618"/>
                  <a:pt x="4971682" y="715618"/>
                </a:cubicBezTo>
                <a:cubicBezTo>
                  <a:pt x="4969749" y="711750"/>
                  <a:pt x="4967814" y="709815"/>
                  <a:pt x="4965881" y="707882"/>
                </a:cubicBezTo>
                <a:cubicBezTo>
                  <a:pt x="4983289" y="700145"/>
                  <a:pt x="4998760" y="690476"/>
                  <a:pt x="5016166" y="680804"/>
                </a:cubicBezTo>
                <a:cubicBezTo>
                  <a:pt x="5014233" y="682739"/>
                  <a:pt x="5012300" y="684672"/>
                  <a:pt x="5008432" y="688540"/>
                </a:cubicBezTo>
                <a:cubicBezTo>
                  <a:pt x="5020037" y="684672"/>
                  <a:pt x="5031641" y="684672"/>
                  <a:pt x="5039375" y="673067"/>
                </a:cubicBezTo>
                <a:cubicBezTo>
                  <a:pt x="5039375" y="673067"/>
                  <a:pt x="5041311" y="671134"/>
                  <a:pt x="5041311" y="671134"/>
                </a:cubicBezTo>
                <a:cubicBezTo>
                  <a:pt x="5052916" y="673067"/>
                  <a:pt x="5054848" y="663398"/>
                  <a:pt x="5060652" y="657594"/>
                </a:cubicBezTo>
                <a:cubicBezTo>
                  <a:pt x="5064520" y="651793"/>
                  <a:pt x="5070324" y="647925"/>
                  <a:pt x="5078058" y="647925"/>
                </a:cubicBezTo>
                <a:cubicBezTo>
                  <a:pt x="5078058" y="651793"/>
                  <a:pt x="5079993" y="653726"/>
                  <a:pt x="5079993" y="655661"/>
                </a:cubicBezTo>
                <a:cubicBezTo>
                  <a:pt x="5087730" y="653726"/>
                  <a:pt x="5091598" y="649858"/>
                  <a:pt x="5095466" y="642121"/>
                </a:cubicBezTo>
                <a:cubicBezTo>
                  <a:pt x="5097399" y="636320"/>
                  <a:pt x="5105136" y="632452"/>
                  <a:pt x="5114808" y="632452"/>
                </a:cubicBezTo>
                <a:cubicBezTo>
                  <a:pt x="5112872" y="636320"/>
                  <a:pt x="5110939" y="638253"/>
                  <a:pt x="5105136" y="644057"/>
                </a:cubicBezTo>
                <a:cubicBezTo>
                  <a:pt x="5120609" y="640188"/>
                  <a:pt x="5132214" y="636320"/>
                  <a:pt x="5147687" y="630519"/>
                </a:cubicBezTo>
                <a:cubicBezTo>
                  <a:pt x="5141883" y="634385"/>
                  <a:pt x="5139950" y="638253"/>
                  <a:pt x="5136082" y="640188"/>
                </a:cubicBezTo>
                <a:cubicBezTo>
                  <a:pt x="5138017" y="642121"/>
                  <a:pt x="5139950" y="642121"/>
                  <a:pt x="5139950" y="642121"/>
                </a:cubicBezTo>
                <a:cubicBezTo>
                  <a:pt x="5153488" y="634385"/>
                  <a:pt x="5168961" y="628584"/>
                  <a:pt x="5184434" y="620847"/>
                </a:cubicBezTo>
                <a:cubicBezTo>
                  <a:pt x="5203775" y="611178"/>
                  <a:pt x="5223116" y="603441"/>
                  <a:pt x="5242458" y="593769"/>
                </a:cubicBezTo>
                <a:cubicBezTo>
                  <a:pt x="5242458" y="591836"/>
                  <a:pt x="5244393" y="593769"/>
                  <a:pt x="5244393" y="593769"/>
                </a:cubicBezTo>
                <a:cubicBezTo>
                  <a:pt x="5232786" y="601506"/>
                  <a:pt x="5219248" y="609242"/>
                  <a:pt x="5207643" y="616979"/>
                </a:cubicBezTo>
                <a:cubicBezTo>
                  <a:pt x="5211512" y="620847"/>
                  <a:pt x="5215380" y="622780"/>
                  <a:pt x="5221183" y="620847"/>
                </a:cubicBezTo>
                <a:cubicBezTo>
                  <a:pt x="5234721" y="615046"/>
                  <a:pt x="5246326" y="611178"/>
                  <a:pt x="5259864" y="605374"/>
                </a:cubicBezTo>
                <a:cubicBezTo>
                  <a:pt x="5263732" y="603441"/>
                  <a:pt x="5267600" y="603441"/>
                  <a:pt x="5271468" y="603441"/>
                </a:cubicBezTo>
                <a:cubicBezTo>
                  <a:pt x="5267600" y="616979"/>
                  <a:pt x="5254062" y="620847"/>
                  <a:pt x="5244393" y="626651"/>
                </a:cubicBezTo>
                <a:cubicBezTo>
                  <a:pt x="5242458" y="628584"/>
                  <a:pt x="5240522" y="628584"/>
                  <a:pt x="5238589" y="630519"/>
                </a:cubicBezTo>
                <a:cubicBezTo>
                  <a:pt x="5240522" y="630519"/>
                  <a:pt x="5240522" y="632452"/>
                  <a:pt x="5240522" y="632452"/>
                </a:cubicBezTo>
                <a:cubicBezTo>
                  <a:pt x="5257931" y="624715"/>
                  <a:pt x="5273404" y="616979"/>
                  <a:pt x="5290810" y="609242"/>
                </a:cubicBezTo>
                <a:cubicBezTo>
                  <a:pt x="5294678" y="613111"/>
                  <a:pt x="5298546" y="620847"/>
                  <a:pt x="5308218" y="618914"/>
                </a:cubicBezTo>
                <a:cubicBezTo>
                  <a:pt x="5306283" y="615046"/>
                  <a:pt x="5304350" y="615046"/>
                  <a:pt x="5304350" y="613111"/>
                </a:cubicBezTo>
                <a:cubicBezTo>
                  <a:pt x="5302414" y="611178"/>
                  <a:pt x="5300479" y="607309"/>
                  <a:pt x="5300479" y="605374"/>
                </a:cubicBezTo>
                <a:cubicBezTo>
                  <a:pt x="5302414" y="601506"/>
                  <a:pt x="5306283" y="599573"/>
                  <a:pt x="5308218" y="599573"/>
                </a:cubicBezTo>
                <a:cubicBezTo>
                  <a:pt x="5317887" y="601506"/>
                  <a:pt x="5321756" y="595705"/>
                  <a:pt x="5329492" y="593769"/>
                </a:cubicBezTo>
                <a:cubicBezTo>
                  <a:pt x="5337229" y="591836"/>
                  <a:pt x="5343030" y="587968"/>
                  <a:pt x="5350766" y="584100"/>
                </a:cubicBezTo>
                <a:cubicBezTo>
                  <a:pt x="5356570" y="580232"/>
                  <a:pt x="5362371" y="578296"/>
                  <a:pt x="5370108" y="576363"/>
                </a:cubicBezTo>
                <a:cubicBezTo>
                  <a:pt x="5368175" y="578296"/>
                  <a:pt x="5366239" y="582164"/>
                  <a:pt x="5364306" y="586033"/>
                </a:cubicBezTo>
                <a:cubicBezTo>
                  <a:pt x="5393317" y="580232"/>
                  <a:pt x="5412658" y="558955"/>
                  <a:pt x="5439736" y="549285"/>
                </a:cubicBezTo>
                <a:cubicBezTo>
                  <a:pt x="5439736" y="553154"/>
                  <a:pt x="5441669" y="557022"/>
                  <a:pt x="5441669" y="560890"/>
                </a:cubicBezTo>
                <a:cubicBezTo>
                  <a:pt x="5441669" y="562823"/>
                  <a:pt x="5439736" y="562823"/>
                  <a:pt x="5439736" y="562823"/>
                </a:cubicBezTo>
                <a:cubicBezTo>
                  <a:pt x="5435868" y="558955"/>
                  <a:pt x="5432000" y="560890"/>
                  <a:pt x="5428131" y="562823"/>
                </a:cubicBezTo>
                <a:cubicBezTo>
                  <a:pt x="5414594" y="568627"/>
                  <a:pt x="5402987" y="576363"/>
                  <a:pt x="5389449" y="582164"/>
                </a:cubicBezTo>
                <a:cubicBezTo>
                  <a:pt x="5387514" y="584100"/>
                  <a:pt x="5383645" y="586033"/>
                  <a:pt x="5381712" y="586033"/>
                </a:cubicBezTo>
                <a:cubicBezTo>
                  <a:pt x="5370108" y="587968"/>
                  <a:pt x="5362371" y="595705"/>
                  <a:pt x="5352702" y="605374"/>
                </a:cubicBezTo>
                <a:cubicBezTo>
                  <a:pt x="5358503" y="605374"/>
                  <a:pt x="5360438" y="605374"/>
                  <a:pt x="5362371" y="605374"/>
                </a:cubicBezTo>
                <a:cubicBezTo>
                  <a:pt x="5370108" y="603441"/>
                  <a:pt x="5379779" y="597637"/>
                  <a:pt x="5387514" y="595705"/>
                </a:cubicBezTo>
                <a:cubicBezTo>
                  <a:pt x="5391384" y="595705"/>
                  <a:pt x="5395252" y="595705"/>
                  <a:pt x="5397185" y="597637"/>
                </a:cubicBezTo>
                <a:cubicBezTo>
                  <a:pt x="5401054" y="601506"/>
                  <a:pt x="5402987" y="603441"/>
                  <a:pt x="5406855" y="607309"/>
                </a:cubicBezTo>
                <a:cubicBezTo>
                  <a:pt x="5399121" y="611178"/>
                  <a:pt x="5387514" y="611178"/>
                  <a:pt x="5391384" y="626651"/>
                </a:cubicBezTo>
                <a:cubicBezTo>
                  <a:pt x="5385581" y="622780"/>
                  <a:pt x="5381712" y="618914"/>
                  <a:pt x="5377844" y="616979"/>
                </a:cubicBezTo>
                <a:cubicBezTo>
                  <a:pt x="5372043" y="620847"/>
                  <a:pt x="5370108" y="628584"/>
                  <a:pt x="5362371" y="630519"/>
                </a:cubicBezTo>
                <a:cubicBezTo>
                  <a:pt x="5360438" y="630519"/>
                  <a:pt x="5358503" y="638253"/>
                  <a:pt x="5356570" y="642121"/>
                </a:cubicBezTo>
                <a:cubicBezTo>
                  <a:pt x="5354635" y="642121"/>
                  <a:pt x="5350766" y="642121"/>
                  <a:pt x="5346898" y="642121"/>
                </a:cubicBezTo>
                <a:cubicBezTo>
                  <a:pt x="5346898" y="645990"/>
                  <a:pt x="5348833" y="649858"/>
                  <a:pt x="5350766" y="655661"/>
                </a:cubicBezTo>
                <a:cubicBezTo>
                  <a:pt x="5358503" y="644057"/>
                  <a:pt x="5366239" y="649858"/>
                  <a:pt x="5375911" y="649858"/>
                </a:cubicBezTo>
                <a:cubicBezTo>
                  <a:pt x="5372043" y="653726"/>
                  <a:pt x="5372043" y="655661"/>
                  <a:pt x="5370108" y="657594"/>
                </a:cubicBezTo>
                <a:cubicBezTo>
                  <a:pt x="5360438" y="663398"/>
                  <a:pt x="5354635" y="669199"/>
                  <a:pt x="5350766" y="678871"/>
                </a:cubicBezTo>
                <a:cubicBezTo>
                  <a:pt x="5348833" y="682739"/>
                  <a:pt x="5343030" y="686607"/>
                  <a:pt x="5339162" y="688540"/>
                </a:cubicBezTo>
                <a:cubicBezTo>
                  <a:pt x="5325624" y="698212"/>
                  <a:pt x="5315952" y="709815"/>
                  <a:pt x="5308218" y="727223"/>
                </a:cubicBezTo>
                <a:cubicBezTo>
                  <a:pt x="5314019" y="723355"/>
                  <a:pt x="5319820" y="719486"/>
                  <a:pt x="5325624" y="717553"/>
                </a:cubicBezTo>
                <a:cubicBezTo>
                  <a:pt x="5333360" y="715618"/>
                  <a:pt x="5339162" y="713685"/>
                  <a:pt x="5339162" y="702080"/>
                </a:cubicBezTo>
                <a:cubicBezTo>
                  <a:pt x="5341097" y="704013"/>
                  <a:pt x="5341097" y="704013"/>
                  <a:pt x="5343030" y="704013"/>
                </a:cubicBezTo>
                <a:cubicBezTo>
                  <a:pt x="5343030" y="702080"/>
                  <a:pt x="5341097" y="700145"/>
                  <a:pt x="5341097" y="698212"/>
                </a:cubicBezTo>
                <a:cubicBezTo>
                  <a:pt x="5344965" y="692409"/>
                  <a:pt x="5346898" y="688540"/>
                  <a:pt x="5350766" y="684672"/>
                </a:cubicBezTo>
                <a:cubicBezTo>
                  <a:pt x="5352702" y="682739"/>
                  <a:pt x="5354635" y="678871"/>
                  <a:pt x="5358503" y="678871"/>
                </a:cubicBezTo>
                <a:cubicBezTo>
                  <a:pt x="5368175" y="676936"/>
                  <a:pt x="5375911" y="673067"/>
                  <a:pt x="5385581" y="671134"/>
                </a:cubicBezTo>
                <a:cubicBezTo>
                  <a:pt x="5385581" y="669199"/>
                  <a:pt x="5383645" y="669199"/>
                  <a:pt x="5381712" y="667266"/>
                </a:cubicBezTo>
                <a:cubicBezTo>
                  <a:pt x="5385581" y="661463"/>
                  <a:pt x="5389449" y="665331"/>
                  <a:pt x="5391384" y="669199"/>
                </a:cubicBezTo>
                <a:cubicBezTo>
                  <a:pt x="5391384" y="671134"/>
                  <a:pt x="5391384" y="671134"/>
                  <a:pt x="5391384" y="671134"/>
                </a:cubicBezTo>
                <a:cubicBezTo>
                  <a:pt x="5393317" y="671134"/>
                  <a:pt x="5397185" y="671134"/>
                  <a:pt x="5399121" y="671134"/>
                </a:cubicBezTo>
                <a:cubicBezTo>
                  <a:pt x="5401054" y="671134"/>
                  <a:pt x="5402987" y="671134"/>
                  <a:pt x="5404922" y="671134"/>
                </a:cubicBezTo>
                <a:cubicBezTo>
                  <a:pt x="5404922" y="671134"/>
                  <a:pt x="5406855" y="671134"/>
                  <a:pt x="5406855" y="671134"/>
                </a:cubicBezTo>
                <a:cubicBezTo>
                  <a:pt x="5414594" y="667266"/>
                  <a:pt x="5422328" y="665331"/>
                  <a:pt x="5430064" y="665331"/>
                </a:cubicBezTo>
                <a:cubicBezTo>
                  <a:pt x="5428131" y="665331"/>
                  <a:pt x="5426196" y="667266"/>
                  <a:pt x="5424263" y="669199"/>
                </a:cubicBezTo>
                <a:cubicBezTo>
                  <a:pt x="5422328" y="669199"/>
                  <a:pt x="5420395" y="671134"/>
                  <a:pt x="5418462" y="671134"/>
                </a:cubicBezTo>
                <a:cubicBezTo>
                  <a:pt x="5424263" y="671134"/>
                  <a:pt x="5428131" y="671134"/>
                  <a:pt x="5433933" y="671134"/>
                </a:cubicBezTo>
                <a:cubicBezTo>
                  <a:pt x="5449406" y="669199"/>
                  <a:pt x="5464879" y="667266"/>
                  <a:pt x="5480352" y="665331"/>
                </a:cubicBezTo>
                <a:cubicBezTo>
                  <a:pt x="5484220" y="665331"/>
                  <a:pt x="5488088" y="663398"/>
                  <a:pt x="5490021" y="661463"/>
                </a:cubicBezTo>
                <a:cubicBezTo>
                  <a:pt x="5493889" y="657594"/>
                  <a:pt x="5497758" y="653726"/>
                  <a:pt x="5503561" y="651793"/>
                </a:cubicBezTo>
                <a:cubicBezTo>
                  <a:pt x="5515166" y="649858"/>
                  <a:pt x="5528704" y="649858"/>
                  <a:pt x="5540308" y="647925"/>
                </a:cubicBezTo>
                <a:cubicBezTo>
                  <a:pt x="5540308" y="653726"/>
                  <a:pt x="5542244" y="657594"/>
                  <a:pt x="5542244" y="663398"/>
                </a:cubicBezTo>
                <a:cubicBezTo>
                  <a:pt x="5548045" y="665331"/>
                  <a:pt x="5553849" y="665331"/>
                  <a:pt x="5561585" y="667266"/>
                </a:cubicBezTo>
                <a:cubicBezTo>
                  <a:pt x="5559650" y="673067"/>
                  <a:pt x="5555781" y="676936"/>
                  <a:pt x="5555781" y="680804"/>
                </a:cubicBezTo>
                <a:cubicBezTo>
                  <a:pt x="5555781" y="684672"/>
                  <a:pt x="5559650" y="690476"/>
                  <a:pt x="5559650" y="694344"/>
                </a:cubicBezTo>
                <a:cubicBezTo>
                  <a:pt x="5559650" y="698212"/>
                  <a:pt x="5561585" y="704013"/>
                  <a:pt x="5559650" y="707882"/>
                </a:cubicBezTo>
                <a:cubicBezTo>
                  <a:pt x="5557714" y="717553"/>
                  <a:pt x="5553849" y="729156"/>
                  <a:pt x="5548045" y="738828"/>
                </a:cubicBezTo>
                <a:cubicBezTo>
                  <a:pt x="5548045" y="738828"/>
                  <a:pt x="5549980" y="738828"/>
                  <a:pt x="5549980" y="738828"/>
                </a:cubicBezTo>
                <a:cubicBezTo>
                  <a:pt x="5549980" y="738828"/>
                  <a:pt x="5548045" y="740761"/>
                  <a:pt x="5548045" y="740761"/>
                </a:cubicBezTo>
                <a:cubicBezTo>
                  <a:pt x="5546112" y="744629"/>
                  <a:pt x="5542244" y="748497"/>
                  <a:pt x="5540308" y="752365"/>
                </a:cubicBezTo>
                <a:cubicBezTo>
                  <a:pt x="5530639" y="765905"/>
                  <a:pt x="5526771" y="779443"/>
                  <a:pt x="5528704" y="794916"/>
                </a:cubicBezTo>
                <a:cubicBezTo>
                  <a:pt x="5530639" y="808454"/>
                  <a:pt x="5528704" y="821994"/>
                  <a:pt x="5522903" y="835532"/>
                </a:cubicBezTo>
                <a:cubicBezTo>
                  <a:pt x="5517099" y="851005"/>
                  <a:pt x="5513231" y="868413"/>
                  <a:pt x="5511298" y="885819"/>
                </a:cubicBezTo>
                <a:cubicBezTo>
                  <a:pt x="5509362" y="891623"/>
                  <a:pt x="5509362" y="895488"/>
                  <a:pt x="5507430" y="901292"/>
                </a:cubicBezTo>
                <a:cubicBezTo>
                  <a:pt x="5519034" y="899359"/>
                  <a:pt x="5530639" y="897424"/>
                  <a:pt x="5544177" y="893556"/>
                </a:cubicBezTo>
                <a:cubicBezTo>
                  <a:pt x="5530639" y="903225"/>
                  <a:pt x="5528704" y="905160"/>
                  <a:pt x="5519034" y="907093"/>
                </a:cubicBezTo>
                <a:cubicBezTo>
                  <a:pt x="5513231" y="909029"/>
                  <a:pt x="5509362" y="909029"/>
                  <a:pt x="5503561" y="910964"/>
                </a:cubicBezTo>
                <a:cubicBezTo>
                  <a:pt x="5501628" y="914830"/>
                  <a:pt x="5499693" y="920633"/>
                  <a:pt x="5497758" y="926435"/>
                </a:cubicBezTo>
                <a:cubicBezTo>
                  <a:pt x="5497758" y="930303"/>
                  <a:pt x="5493889" y="932238"/>
                  <a:pt x="5493889" y="934171"/>
                </a:cubicBezTo>
                <a:cubicBezTo>
                  <a:pt x="5490021" y="959316"/>
                  <a:pt x="5476483" y="982523"/>
                  <a:pt x="5468747" y="1005733"/>
                </a:cubicBezTo>
                <a:cubicBezTo>
                  <a:pt x="5470680" y="1005733"/>
                  <a:pt x="5474551" y="1003800"/>
                  <a:pt x="5476483" y="1003800"/>
                </a:cubicBezTo>
                <a:cubicBezTo>
                  <a:pt x="5478419" y="1003800"/>
                  <a:pt x="5482287" y="1003800"/>
                  <a:pt x="5484220" y="1001864"/>
                </a:cubicBezTo>
                <a:cubicBezTo>
                  <a:pt x="5501628" y="990260"/>
                  <a:pt x="5520967" y="988327"/>
                  <a:pt x="5538376" y="982523"/>
                </a:cubicBezTo>
                <a:cubicBezTo>
                  <a:pt x="5542244" y="980590"/>
                  <a:pt x="5548045" y="980590"/>
                  <a:pt x="5553849" y="980590"/>
                </a:cubicBezTo>
                <a:cubicBezTo>
                  <a:pt x="5567386" y="982523"/>
                  <a:pt x="5580924" y="986394"/>
                  <a:pt x="5594464" y="990260"/>
                </a:cubicBezTo>
                <a:cubicBezTo>
                  <a:pt x="5594464" y="990260"/>
                  <a:pt x="5594464" y="992195"/>
                  <a:pt x="5594464" y="992195"/>
                </a:cubicBezTo>
                <a:cubicBezTo>
                  <a:pt x="5594464" y="994128"/>
                  <a:pt x="5592531" y="996063"/>
                  <a:pt x="5592531" y="996063"/>
                </a:cubicBezTo>
                <a:cubicBezTo>
                  <a:pt x="5584795" y="999931"/>
                  <a:pt x="5577056" y="1005733"/>
                  <a:pt x="5567386" y="1009601"/>
                </a:cubicBezTo>
                <a:cubicBezTo>
                  <a:pt x="5577056" y="1013469"/>
                  <a:pt x="5582859" y="1011536"/>
                  <a:pt x="5588663" y="1003800"/>
                </a:cubicBezTo>
                <a:cubicBezTo>
                  <a:pt x="5590596" y="1001864"/>
                  <a:pt x="5594464" y="999931"/>
                  <a:pt x="5596397" y="999931"/>
                </a:cubicBezTo>
                <a:cubicBezTo>
                  <a:pt x="5606069" y="1003800"/>
                  <a:pt x="5611872" y="997998"/>
                  <a:pt x="5617674" y="992195"/>
                </a:cubicBezTo>
                <a:cubicBezTo>
                  <a:pt x="5623475" y="984458"/>
                  <a:pt x="5631211" y="984458"/>
                  <a:pt x="5638948" y="984458"/>
                </a:cubicBezTo>
                <a:cubicBezTo>
                  <a:pt x="5638948" y="992195"/>
                  <a:pt x="5629278" y="994128"/>
                  <a:pt x="5625410" y="997998"/>
                </a:cubicBezTo>
                <a:cubicBezTo>
                  <a:pt x="5619607" y="1003800"/>
                  <a:pt x="5609937" y="1003800"/>
                  <a:pt x="5608002" y="1013469"/>
                </a:cubicBezTo>
                <a:cubicBezTo>
                  <a:pt x="5615738" y="1011536"/>
                  <a:pt x="5623475" y="1011536"/>
                  <a:pt x="5633147" y="1011536"/>
                </a:cubicBezTo>
                <a:cubicBezTo>
                  <a:pt x="5629278" y="1015404"/>
                  <a:pt x="5627343" y="1019273"/>
                  <a:pt x="5623475" y="1021206"/>
                </a:cubicBezTo>
                <a:cubicBezTo>
                  <a:pt x="5615738" y="1025074"/>
                  <a:pt x="5609937" y="1028942"/>
                  <a:pt x="5611872" y="1040547"/>
                </a:cubicBezTo>
                <a:cubicBezTo>
                  <a:pt x="5602201" y="1034746"/>
                  <a:pt x="5602201" y="1034746"/>
                  <a:pt x="5578991" y="1057955"/>
                </a:cubicBezTo>
                <a:cubicBezTo>
                  <a:pt x="5582859" y="1059888"/>
                  <a:pt x="5584795" y="1059888"/>
                  <a:pt x="5588663" y="1059888"/>
                </a:cubicBezTo>
                <a:cubicBezTo>
                  <a:pt x="5578991" y="1069560"/>
                  <a:pt x="5567386" y="1077294"/>
                  <a:pt x="5557714" y="1086966"/>
                </a:cubicBezTo>
                <a:cubicBezTo>
                  <a:pt x="5559650" y="1086966"/>
                  <a:pt x="5561585" y="1088899"/>
                  <a:pt x="5563518" y="1088899"/>
                </a:cubicBezTo>
                <a:cubicBezTo>
                  <a:pt x="5565453" y="1086966"/>
                  <a:pt x="5569322" y="1085033"/>
                  <a:pt x="5571255" y="1083098"/>
                </a:cubicBezTo>
                <a:cubicBezTo>
                  <a:pt x="5578991" y="1079230"/>
                  <a:pt x="5584795" y="1073428"/>
                  <a:pt x="5594464" y="1067625"/>
                </a:cubicBezTo>
                <a:cubicBezTo>
                  <a:pt x="5586728" y="1075361"/>
                  <a:pt x="5580924" y="1081162"/>
                  <a:pt x="5573190" y="1086966"/>
                </a:cubicBezTo>
                <a:cubicBezTo>
                  <a:pt x="5573190" y="1086966"/>
                  <a:pt x="5575123" y="1086966"/>
                  <a:pt x="5577056" y="1086966"/>
                </a:cubicBezTo>
                <a:cubicBezTo>
                  <a:pt x="5577056" y="1088899"/>
                  <a:pt x="5577056" y="1092767"/>
                  <a:pt x="5577056" y="1094703"/>
                </a:cubicBezTo>
                <a:cubicBezTo>
                  <a:pt x="5580924" y="1090834"/>
                  <a:pt x="5584795" y="1088899"/>
                  <a:pt x="5586728" y="1085033"/>
                </a:cubicBezTo>
                <a:cubicBezTo>
                  <a:pt x="5590596" y="1079230"/>
                  <a:pt x="5598332" y="1075361"/>
                  <a:pt x="5604133" y="1071493"/>
                </a:cubicBezTo>
                <a:cubicBezTo>
                  <a:pt x="5611872" y="1065692"/>
                  <a:pt x="5621542" y="1059888"/>
                  <a:pt x="5629278" y="1054087"/>
                </a:cubicBezTo>
                <a:cubicBezTo>
                  <a:pt x="5631211" y="1052152"/>
                  <a:pt x="5635080" y="1052152"/>
                  <a:pt x="5638948" y="1054087"/>
                </a:cubicBezTo>
                <a:cubicBezTo>
                  <a:pt x="5633147" y="1057955"/>
                  <a:pt x="5627343" y="1061824"/>
                  <a:pt x="5621542" y="1065692"/>
                </a:cubicBezTo>
                <a:cubicBezTo>
                  <a:pt x="5613805" y="1071493"/>
                  <a:pt x="5608002" y="1075361"/>
                  <a:pt x="5602201" y="1081162"/>
                </a:cubicBezTo>
                <a:cubicBezTo>
                  <a:pt x="5600265" y="1083098"/>
                  <a:pt x="5596397" y="1086966"/>
                  <a:pt x="5594464" y="1086966"/>
                </a:cubicBezTo>
                <a:cubicBezTo>
                  <a:pt x="5582859" y="1086966"/>
                  <a:pt x="5580924" y="1092767"/>
                  <a:pt x="5578991" y="1100504"/>
                </a:cubicBezTo>
                <a:cubicBezTo>
                  <a:pt x="5580924" y="1102439"/>
                  <a:pt x="5582859" y="1106307"/>
                  <a:pt x="5584795" y="1108240"/>
                </a:cubicBezTo>
                <a:cubicBezTo>
                  <a:pt x="5584795" y="1114044"/>
                  <a:pt x="5584795" y="1117912"/>
                  <a:pt x="5582859" y="1123713"/>
                </a:cubicBezTo>
                <a:cubicBezTo>
                  <a:pt x="5582859" y="1125649"/>
                  <a:pt x="5580924" y="1129517"/>
                  <a:pt x="5578991" y="1129517"/>
                </a:cubicBezTo>
                <a:cubicBezTo>
                  <a:pt x="5575123" y="1131450"/>
                  <a:pt x="5575123" y="1127582"/>
                  <a:pt x="5573190" y="1123713"/>
                </a:cubicBezTo>
                <a:cubicBezTo>
                  <a:pt x="5569322" y="1123713"/>
                  <a:pt x="5563518" y="1125649"/>
                  <a:pt x="5557714" y="1125649"/>
                </a:cubicBezTo>
                <a:cubicBezTo>
                  <a:pt x="5559650" y="1119845"/>
                  <a:pt x="5563518" y="1115977"/>
                  <a:pt x="5565453" y="1112109"/>
                </a:cubicBezTo>
                <a:cubicBezTo>
                  <a:pt x="5563518" y="1110176"/>
                  <a:pt x="5561585" y="1110176"/>
                  <a:pt x="5559650" y="1110176"/>
                </a:cubicBezTo>
                <a:cubicBezTo>
                  <a:pt x="5553849" y="1114044"/>
                  <a:pt x="5548045" y="1115977"/>
                  <a:pt x="5546112" y="1121780"/>
                </a:cubicBezTo>
                <a:cubicBezTo>
                  <a:pt x="5549980" y="1125649"/>
                  <a:pt x="5553849" y="1127582"/>
                  <a:pt x="5549980" y="1133385"/>
                </a:cubicBezTo>
                <a:cubicBezTo>
                  <a:pt x="5548045" y="1133385"/>
                  <a:pt x="5546112" y="1133385"/>
                  <a:pt x="5544177" y="1133385"/>
                </a:cubicBezTo>
                <a:cubicBezTo>
                  <a:pt x="5542244" y="1135318"/>
                  <a:pt x="5542244" y="1135318"/>
                  <a:pt x="5540308" y="1137253"/>
                </a:cubicBezTo>
                <a:cubicBezTo>
                  <a:pt x="5542244" y="1137253"/>
                  <a:pt x="5546112" y="1139186"/>
                  <a:pt x="5548045" y="1139186"/>
                </a:cubicBezTo>
                <a:cubicBezTo>
                  <a:pt x="5549980" y="1139186"/>
                  <a:pt x="5553849" y="1137253"/>
                  <a:pt x="5557714" y="1135318"/>
                </a:cubicBezTo>
                <a:cubicBezTo>
                  <a:pt x="5559650" y="1146923"/>
                  <a:pt x="5553849" y="1156595"/>
                  <a:pt x="5553849" y="1168199"/>
                </a:cubicBezTo>
                <a:cubicBezTo>
                  <a:pt x="5555781" y="1168199"/>
                  <a:pt x="5555781" y="1168199"/>
                  <a:pt x="5555781" y="1168199"/>
                </a:cubicBezTo>
                <a:cubicBezTo>
                  <a:pt x="5559650" y="1168199"/>
                  <a:pt x="5561585" y="1162396"/>
                  <a:pt x="5563518" y="1158528"/>
                </a:cubicBezTo>
                <a:cubicBezTo>
                  <a:pt x="5563518" y="1160463"/>
                  <a:pt x="5565453" y="1160463"/>
                  <a:pt x="5565453" y="1162396"/>
                </a:cubicBezTo>
                <a:cubicBezTo>
                  <a:pt x="5565453" y="1166264"/>
                  <a:pt x="5565453" y="1170132"/>
                  <a:pt x="5563518" y="1174001"/>
                </a:cubicBezTo>
                <a:cubicBezTo>
                  <a:pt x="5565453" y="1174001"/>
                  <a:pt x="5569322" y="1174001"/>
                  <a:pt x="5571255" y="1175934"/>
                </a:cubicBezTo>
                <a:cubicBezTo>
                  <a:pt x="5577056" y="1177869"/>
                  <a:pt x="5582859" y="1183670"/>
                  <a:pt x="5588663" y="1187538"/>
                </a:cubicBezTo>
                <a:cubicBezTo>
                  <a:pt x="5590596" y="1189474"/>
                  <a:pt x="5588663" y="1191407"/>
                  <a:pt x="5588663" y="1195275"/>
                </a:cubicBezTo>
                <a:cubicBezTo>
                  <a:pt x="5594464" y="1197210"/>
                  <a:pt x="5598332" y="1197210"/>
                  <a:pt x="5602201" y="1199143"/>
                </a:cubicBezTo>
                <a:cubicBezTo>
                  <a:pt x="5604133" y="1201078"/>
                  <a:pt x="5608002" y="1203011"/>
                  <a:pt x="5608002" y="1204947"/>
                </a:cubicBezTo>
                <a:cubicBezTo>
                  <a:pt x="5608002" y="1214616"/>
                  <a:pt x="5615738" y="1216551"/>
                  <a:pt x="5621542" y="1218484"/>
                </a:cubicBezTo>
                <a:cubicBezTo>
                  <a:pt x="5623475" y="1220420"/>
                  <a:pt x="5627343" y="1220420"/>
                  <a:pt x="5629278" y="1220420"/>
                </a:cubicBezTo>
                <a:cubicBezTo>
                  <a:pt x="5637015" y="1222353"/>
                  <a:pt x="5640883" y="1226221"/>
                  <a:pt x="5642816" y="1233957"/>
                </a:cubicBezTo>
                <a:cubicBezTo>
                  <a:pt x="5644749" y="1239761"/>
                  <a:pt x="5644749" y="1245562"/>
                  <a:pt x="5646684" y="1251363"/>
                </a:cubicBezTo>
                <a:cubicBezTo>
                  <a:pt x="5654421" y="1255234"/>
                  <a:pt x="5660224" y="1255234"/>
                  <a:pt x="5669894" y="1249430"/>
                </a:cubicBezTo>
                <a:cubicBezTo>
                  <a:pt x="5669894" y="1257167"/>
                  <a:pt x="5669894" y="1262968"/>
                  <a:pt x="5669894" y="1268772"/>
                </a:cubicBezTo>
                <a:cubicBezTo>
                  <a:pt x="5677630" y="1272640"/>
                  <a:pt x="5681499" y="1278444"/>
                  <a:pt x="5683432" y="1286178"/>
                </a:cubicBezTo>
                <a:cubicBezTo>
                  <a:pt x="5683432" y="1290046"/>
                  <a:pt x="5685367" y="1295850"/>
                  <a:pt x="5685367" y="1299718"/>
                </a:cubicBezTo>
                <a:cubicBezTo>
                  <a:pt x="5683432" y="1301651"/>
                  <a:pt x="5681499" y="1305519"/>
                  <a:pt x="5679566" y="1307454"/>
                </a:cubicBezTo>
                <a:cubicBezTo>
                  <a:pt x="5685367" y="1313255"/>
                  <a:pt x="5689235" y="1315191"/>
                  <a:pt x="5696972" y="1313255"/>
                </a:cubicBezTo>
                <a:cubicBezTo>
                  <a:pt x="5700840" y="1311323"/>
                  <a:pt x="5706641" y="1313255"/>
                  <a:pt x="5710509" y="1313255"/>
                </a:cubicBezTo>
                <a:lnTo>
                  <a:pt x="5699632" y="1331389"/>
                </a:lnTo>
                <a:lnTo>
                  <a:pt x="5698907" y="1332597"/>
                </a:lnTo>
                <a:cubicBezTo>
                  <a:pt x="5693103" y="1342269"/>
                  <a:pt x="5689235" y="1350003"/>
                  <a:pt x="5695036" y="1359675"/>
                </a:cubicBezTo>
                <a:cubicBezTo>
                  <a:pt x="5693103" y="1361607"/>
                  <a:pt x="5691168" y="1361607"/>
                  <a:pt x="5691168" y="1363543"/>
                </a:cubicBezTo>
                <a:cubicBezTo>
                  <a:pt x="5683432" y="1382884"/>
                  <a:pt x="5666026" y="1390621"/>
                  <a:pt x="5650553" y="1400290"/>
                </a:cubicBezTo>
                <a:cubicBezTo>
                  <a:pt x="5648620" y="1402225"/>
                  <a:pt x="5646684" y="1404158"/>
                  <a:pt x="5642816" y="1406094"/>
                </a:cubicBezTo>
                <a:cubicBezTo>
                  <a:pt x="5648620" y="1409962"/>
                  <a:pt x="5650553" y="1406094"/>
                  <a:pt x="5654421" y="1404158"/>
                </a:cubicBezTo>
                <a:cubicBezTo>
                  <a:pt x="5656356" y="1404158"/>
                  <a:pt x="5658289" y="1402225"/>
                  <a:pt x="5662157" y="1400290"/>
                </a:cubicBezTo>
                <a:cubicBezTo>
                  <a:pt x="5666026" y="1398357"/>
                  <a:pt x="5669894" y="1400290"/>
                  <a:pt x="5669894" y="1400290"/>
                </a:cubicBezTo>
                <a:cubicBezTo>
                  <a:pt x="5669894" y="1404158"/>
                  <a:pt x="5671829" y="1408027"/>
                  <a:pt x="5669894" y="1409962"/>
                </a:cubicBezTo>
                <a:cubicBezTo>
                  <a:pt x="5667959" y="1413830"/>
                  <a:pt x="5664090" y="1415763"/>
                  <a:pt x="5660224" y="1417699"/>
                </a:cubicBezTo>
                <a:cubicBezTo>
                  <a:pt x="5656356" y="1421567"/>
                  <a:pt x="5652488" y="1423500"/>
                  <a:pt x="5648620" y="1427368"/>
                </a:cubicBezTo>
                <a:cubicBezTo>
                  <a:pt x="5648620" y="1431236"/>
                  <a:pt x="5650553" y="1435104"/>
                  <a:pt x="5650553" y="1438973"/>
                </a:cubicBezTo>
                <a:cubicBezTo>
                  <a:pt x="5720181" y="1408027"/>
                  <a:pt x="5787874" y="1375148"/>
                  <a:pt x="5855568" y="1342269"/>
                </a:cubicBezTo>
                <a:cubicBezTo>
                  <a:pt x="5872976" y="1332597"/>
                  <a:pt x="5890382" y="1332597"/>
                  <a:pt x="5905855" y="1338398"/>
                </a:cubicBezTo>
                <a:cubicBezTo>
                  <a:pt x="5907788" y="1336465"/>
                  <a:pt x="5909723" y="1332597"/>
                  <a:pt x="5909723" y="1330664"/>
                </a:cubicBezTo>
                <a:cubicBezTo>
                  <a:pt x="5909723" y="1328729"/>
                  <a:pt x="5915524" y="1328729"/>
                  <a:pt x="5921328" y="1326796"/>
                </a:cubicBezTo>
                <a:cubicBezTo>
                  <a:pt x="5917460" y="1332597"/>
                  <a:pt x="5917460" y="1334532"/>
                  <a:pt x="5915524" y="1338398"/>
                </a:cubicBezTo>
                <a:cubicBezTo>
                  <a:pt x="5919393" y="1340333"/>
                  <a:pt x="5921328" y="1340333"/>
                  <a:pt x="5925194" y="1342269"/>
                </a:cubicBezTo>
                <a:cubicBezTo>
                  <a:pt x="5923261" y="1344202"/>
                  <a:pt x="5923261" y="1344202"/>
                  <a:pt x="5921328" y="1346137"/>
                </a:cubicBezTo>
                <a:cubicBezTo>
                  <a:pt x="5923261" y="1348070"/>
                  <a:pt x="5925194" y="1348070"/>
                  <a:pt x="5927129" y="1350003"/>
                </a:cubicBezTo>
                <a:cubicBezTo>
                  <a:pt x="5929065" y="1348070"/>
                  <a:pt x="5930997" y="1346137"/>
                  <a:pt x="5930997" y="1344202"/>
                </a:cubicBezTo>
                <a:cubicBezTo>
                  <a:pt x="5934866" y="1334532"/>
                  <a:pt x="5940669" y="1334532"/>
                  <a:pt x="5946470" y="1332597"/>
                </a:cubicBezTo>
                <a:cubicBezTo>
                  <a:pt x="5946470" y="1332597"/>
                  <a:pt x="5948403" y="1332597"/>
                  <a:pt x="5950339" y="1332597"/>
                </a:cubicBezTo>
                <a:cubicBezTo>
                  <a:pt x="5956142" y="1332597"/>
                  <a:pt x="5963876" y="1324860"/>
                  <a:pt x="5967745" y="1336465"/>
                </a:cubicBezTo>
                <a:cubicBezTo>
                  <a:pt x="5969680" y="1342269"/>
                  <a:pt x="5973548" y="1348070"/>
                  <a:pt x="5971613" y="1355806"/>
                </a:cubicBezTo>
                <a:cubicBezTo>
                  <a:pt x="5969680" y="1361607"/>
                  <a:pt x="5971613" y="1367411"/>
                  <a:pt x="5973548" y="1371279"/>
                </a:cubicBezTo>
                <a:cubicBezTo>
                  <a:pt x="5973548" y="1373212"/>
                  <a:pt x="5977417" y="1373212"/>
                  <a:pt x="5981285" y="1375148"/>
                </a:cubicBezTo>
                <a:cubicBezTo>
                  <a:pt x="5979352" y="1369344"/>
                  <a:pt x="5979352" y="1363543"/>
                  <a:pt x="5977417" y="1359675"/>
                </a:cubicBezTo>
                <a:cubicBezTo>
                  <a:pt x="5977417" y="1357739"/>
                  <a:pt x="5979352" y="1357739"/>
                  <a:pt x="5979352" y="1357739"/>
                </a:cubicBezTo>
                <a:cubicBezTo>
                  <a:pt x="5981285" y="1359675"/>
                  <a:pt x="5983218" y="1361607"/>
                  <a:pt x="5985153" y="1365478"/>
                </a:cubicBezTo>
                <a:cubicBezTo>
                  <a:pt x="5990954" y="1361607"/>
                  <a:pt x="5994822" y="1357739"/>
                  <a:pt x="5998691" y="1353873"/>
                </a:cubicBezTo>
                <a:cubicBezTo>
                  <a:pt x="5998691" y="1348070"/>
                  <a:pt x="5996758" y="1342269"/>
                  <a:pt x="5990954" y="1338398"/>
                </a:cubicBezTo>
                <a:cubicBezTo>
                  <a:pt x="5985153" y="1336465"/>
                  <a:pt x="5979352" y="1334532"/>
                  <a:pt x="5969680" y="1332597"/>
                </a:cubicBezTo>
                <a:cubicBezTo>
                  <a:pt x="5985153" y="1315191"/>
                  <a:pt x="6004494" y="1305519"/>
                  <a:pt x="6021900" y="1290046"/>
                </a:cubicBezTo>
                <a:cubicBezTo>
                  <a:pt x="6019967" y="1297782"/>
                  <a:pt x="6019967" y="1303586"/>
                  <a:pt x="6018032" y="1313255"/>
                </a:cubicBezTo>
                <a:cubicBezTo>
                  <a:pt x="6014164" y="1309387"/>
                  <a:pt x="6014164" y="1307454"/>
                  <a:pt x="6012228" y="1305519"/>
                </a:cubicBezTo>
                <a:cubicBezTo>
                  <a:pt x="6002559" y="1307454"/>
                  <a:pt x="6010295" y="1315191"/>
                  <a:pt x="6008363" y="1320992"/>
                </a:cubicBezTo>
                <a:cubicBezTo>
                  <a:pt x="6006427" y="1322927"/>
                  <a:pt x="6004494" y="1324860"/>
                  <a:pt x="6000626" y="1328729"/>
                </a:cubicBezTo>
                <a:cubicBezTo>
                  <a:pt x="6004494" y="1330664"/>
                  <a:pt x="6006427" y="1332597"/>
                  <a:pt x="6008363" y="1336465"/>
                </a:cubicBezTo>
                <a:cubicBezTo>
                  <a:pt x="6010295" y="1338398"/>
                  <a:pt x="6010295" y="1342269"/>
                  <a:pt x="6010295" y="1348070"/>
                </a:cubicBezTo>
                <a:lnTo>
                  <a:pt x="6012406" y="1347015"/>
                </a:lnTo>
                <a:lnTo>
                  <a:pt x="6016099" y="1351938"/>
                </a:lnTo>
                <a:cubicBezTo>
                  <a:pt x="6012228" y="1359675"/>
                  <a:pt x="6008363" y="1367411"/>
                  <a:pt x="6002559" y="1377081"/>
                </a:cubicBezTo>
                <a:cubicBezTo>
                  <a:pt x="6014164" y="1375148"/>
                  <a:pt x="6019967" y="1369344"/>
                  <a:pt x="6025769" y="1363543"/>
                </a:cubicBezTo>
                <a:cubicBezTo>
                  <a:pt x="6031570" y="1359675"/>
                  <a:pt x="6037373" y="1353873"/>
                  <a:pt x="6045110" y="1350003"/>
                </a:cubicBezTo>
                <a:cubicBezTo>
                  <a:pt x="6045110" y="1351938"/>
                  <a:pt x="6045110" y="1353873"/>
                  <a:pt x="6043177" y="1355806"/>
                </a:cubicBezTo>
                <a:cubicBezTo>
                  <a:pt x="6039306" y="1361607"/>
                  <a:pt x="6035438" y="1367411"/>
                  <a:pt x="6031570" y="1371279"/>
                </a:cubicBezTo>
                <a:lnTo>
                  <a:pt x="6021900" y="1379338"/>
                </a:lnTo>
                <a:lnTo>
                  <a:pt x="6021900" y="1375148"/>
                </a:lnTo>
                <a:cubicBezTo>
                  <a:pt x="6019967" y="1375148"/>
                  <a:pt x="6018032" y="1375148"/>
                  <a:pt x="6016099" y="1375148"/>
                </a:cubicBezTo>
                <a:cubicBezTo>
                  <a:pt x="6016099" y="1375148"/>
                  <a:pt x="6016099" y="1379016"/>
                  <a:pt x="6016099" y="1379016"/>
                </a:cubicBezTo>
                <a:lnTo>
                  <a:pt x="6020519" y="1380489"/>
                </a:lnTo>
                <a:lnTo>
                  <a:pt x="6019967" y="1380949"/>
                </a:lnTo>
                <a:cubicBezTo>
                  <a:pt x="6018032" y="1382884"/>
                  <a:pt x="6016099" y="1380949"/>
                  <a:pt x="6014164" y="1382884"/>
                </a:cubicBezTo>
                <a:cubicBezTo>
                  <a:pt x="6002559" y="1390621"/>
                  <a:pt x="6000626" y="1390621"/>
                  <a:pt x="5989021" y="1384817"/>
                </a:cubicBezTo>
                <a:lnTo>
                  <a:pt x="5987086" y="1385301"/>
                </a:lnTo>
                <a:lnTo>
                  <a:pt x="5987086" y="1377081"/>
                </a:lnTo>
                <a:cubicBezTo>
                  <a:pt x="5985153" y="1377081"/>
                  <a:pt x="5985153" y="1377081"/>
                  <a:pt x="5983218" y="1377081"/>
                </a:cubicBezTo>
                <a:cubicBezTo>
                  <a:pt x="5980317" y="1381916"/>
                  <a:pt x="5978867" y="1384334"/>
                  <a:pt x="5979350" y="1386027"/>
                </a:cubicBezTo>
                <a:lnTo>
                  <a:pt x="5982327" y="1387795"/>
                </a:lnTo>
                <a:lnTo>
                  <a:pt x="5987086" y="1392554"/>
                </a:lnTo>
                <a:cubicBezTo>
                  <a:pt x="5992890" y="1396422"/>
                  <a:pt x="5992890" y="1400290"/>
                  <a:pt x="5989021" y="1406094"/>
                </a:cubicBezTo>
                <a:cubicBezTo>
                  <a:pt x="5983218" y="1411895"/>
                  <a:pt x="5977417" y="1417699"/>
                  <a:pt x="5971613" y="1421567"/>
                </a:cubicBezTo>
                <a:cubicBezTo>
                  <a:pt x="5967745" y="1425435"/>
                  <a:pt x="5961943" y="1427368"/>
                  <a:pt x="5958075" y="1431236"/>
                </a:cubicBezTo>
                <a:cubicBezTo>
                  <a:pt x="5954207" y="1435104"/>
                  <a:pt x="5950339" y="1438973"/>
                  <a:pt x="5946470" y="1442841"/>
                </a:cubicBezTo>
                <a:cubicBezTo>
                  <a:pt x="5944535" y="1446709"/>
                  <a:pt x="5942602" y="1450577"/>
                  <a:pt x="5940669" y="1454446"/>
                </a:cubicBezTo>
                <a:cubicBezTo>
                  <a:pt x="5940669" y="1454446"/>
                  <a:pt x="5942602" y="1456379"/>
                  <a:pt x="5942602" y="1456379"/>
                </a:cubicBezTo>
                <a:cubicBezTo>
                  <a:pt x="5958075" y="1446709"/>
                  <a:pt x="5971613" y="1435104"/>
                  <a:pt x="5987086" y="1423500"/>
                </a:cubicBezTo>
                <a:cubicBezTo>
                  <a:pt x="5989021" y="1425435"/>
                  <a:pt x="5989021" y="1427368"/>
                  <a:pt x="5992890" y="1429303"/>
                </a:cubicBezTo>
                <a:cubicBezTo>
                  <a:pt x="5996758" y="1425435"/>
                  <a:pt x="5998691" y="1421567"/>
                  <a:pt x="6002559" y="1417699"/>
                </a:cubicBezTo>
                <a:cubicBezTo>
                  <a:pt x="6006427" y="1423500"/>
                  <a:pt x="6010295" y="1427368"/>
                  <a:pt x="6016099" y="1423500"/>
                </a:cubicBezTo>
                <a:cubicBezTo>
                  <a:pt x="6004494" y="1435104"/>
                  <a:pt x="5994822" y="1446709"/>
                  <a:pt x="5983218" y="1458314"/>
                </a:cubicBezTo>
                <a:cubicBezTo>
                  <a:pt x="5967745" y="1473787"/>
                  <a:pt x="5954207" y="1491193"/>
                  <a:pt x="5936801" y="1504733"/>
                </a:cubicBezTo>
                <a:cubicBezTo>
                  <a:pt x="5929065" y="1511502"/>
                  <a:pt x="5921328" y="1518271"/>
                  <a:pt x="5912866" y="1523347"/>
                </a:cubicBezTo>
                <a:lnTo>
                  <a:pt x="5890595" y="1530009"/>
                </a:lnTo>
                <a:lnTo>
                  <a:pt x="5892317" y="1527943"/>
                </a:lnTo>
                <a:cubicBezTo>
                  <a:pt x="5894250" y="1526007"/>
                  <a:pt x="5894250" y="1524074"/>
                  <a:pt x="5898118" y="1522139"/>
                </a:cubicBezTo>
                <a:cubicBezTo>
                  <a:pt x="5894250" y="1522139"/>
                  <a:pt x="5892317" y="1522139"/>
                  <a:pt x="5890382" y="1522139"/>
                </a:cubicBezTo>
                <a:lnTo>
                  <a:pt x="5875713" y="1538142"/>
                </a:lnTo>
                <a:lnTo>
                  <a:pt x="5871041" y="1541480"/>
                </a:lnTo>
                <a:cubicBezTo>
                  <a:pt x="5867172" y="1551151"/>
                  <a:pt x="5862337" y="1559371"/>
                  <a:pt x="5856293" y="1566382"/>
                </a:cubicBezTo>
                <a:lnTo>
                  <a:pt x="5846918" y="1573903"/>
                </a:lnTo>
                <a:lnTo>
                  <a:pt x="5843963" y="1572426"/>
                </a:lnTo>
                <a:cubicBezTo>
                  <a:pt x="5842028" y="1574359"/>
                  <a:pt x="5842028" y="1576295"/>
                  <a:pt x="5840095" y="1578227"/>
                </a:cubicBezTo>
                <a:lnTo>
                  <a:pt x="5840732" y="1578866"/>
                </a:lnTo>
                <a:lnTo>
                  <a:pt x="5834293" y="1584031"/>
                </a:lnTo>
                <a:cubicBezTo>
                  <a:pt x="5832358" y="1582096"/>
                  <a:pt x="5830425" y="1580163"/>
                  <a:pt x="5828490" y="1580163"/>
                </a:cubicBezTo>
                <a:cubicBezTo>
                  <a:pt x="5828490" y="1582096"/>
                  <a:pt x="5828490" y="1584031"/>
                  <a:pt x="5828490" y="1585964"/>
                </a:cubicBezTo>
                <a:lnTo>
                  <a:pt x="5831678" y="1585964"/>
                </a:lnTo>
                <a:lnTo>
                  <a:pt x="5814235" y="1598856"/>
                </a:lnTo>
                <a:lnTo>
                  <a:pt x="5813501" y="1598537"/>
                </a:lnTo>
                <a:cubicBezTo>
                  <a:pt x="5810600" y="1599987"/>
                  <a:pt x="5808182" y="1603371"/>
                  <a:pt x="5805280" y="1605305"/>
                </a:cubicBezTo>
                <a:cubicBezTo>
                  <a:pt x="5805280" y="1599504"/>
                  <a:pt x="5803347" y="1591768"/>
                  <a:pt x="5803347" y="1585964"/>
                </a:cubicBezTo>
                <a:lnTo>
                  <a:pt x="5770466" y="1603834"/>
                </a:lnTo>
                <a:lnTo>
                  <a:pt x="5770466" y="1599504"/>
                </a:lnTo>
                <a:lnTo>
                  <a:pt x="5757403" y="1610934"/>
                </a:lnTo>
                <a:lnTo>
                  <a:pt x="5714378" y="1634316"/>
                </a:lnTo>
                <a:cubicBezTo>
                  <a:pt x="5708576" y="1638184"/>
                  <a:pt x="5700840" y="1643988"/>
                  <a:pt x="5695036" y="1647856"/>
                </a:cubicBezTo>
                <a:cubicBezTo>
                  <a:pt x="5683432" y="1655593"/>
                  <a:pt x="5671829" y="1663329"/>
                  <a:pt x="5660224" y="1671066"/>
                </a:cubicBezTo>
                <a:cubicBezTo>
                  <a:pt x="5658289" y="1672999"/>
                  <a:pt x="5654421" y="1672999"/>
                  <a:pt x="5650553" y="1672999"/>
                </a:cubicBezTo>
                <a:cubicBezTo>
                  <a:pt x="5646684" y="1672999"/>
                  <a:pt x="5644749" y="1672999"/>
                  <a:pt x="5642816" y="1672999"/>
                </a:cubicBezTo>
                <a:cubicBezTo>
                  <a:pt x="5642816" y="1674934"/>
                  <a:pt x="5640883" y="1674934"/>
                  <a:pt x="5640883" y="1674934"/>
                </a:cubicBezTo>
                <a:cubicBezTo>
                  <a:pt x="5640883" y="1676867"/>
                  <a:pt x="5638948" y="1678802"/>
                  <a:pt x="5638948" y="1682670"/>
                </a:cubicBezTo>
                <a:cubicBezTo>
                  <a:pt x="5638948" y="1686539"/>
                  <a:pt x="5637015" y="1688472"/>
                  <a:pt x="5635080" y="1690407"/>
                </a:cubicBezTo>
                <a:cubicBezTo>
                  <a:pt x="5633147" y="1692340"/>
                  <a:pt x="5633147" y="1692340"/>
                  <a:pt x="5631211" y="1694275"/>
                </a:cubicBezTo>
                <a:cubicBezTo>
                  <a:pt x="5637015" y="1694275"/>
                  <a:pt x="5640883" y="1694275"/>
                  <a:pt x="5644749" y="1698144"/>
                </a:cubicBezTo>
                <a:cubicBezTo>
                  <a:pt x="5637015" y="1703945"/>
                  <a:pt x="5637015" y="1703945"/>
                  <a:pt x="5625410" y="1700077"/>
                </a:cubicBezTo>
                <a:cubicBezTo>
                  <a:pt x="5623475" y="1702012"/>
                  <a:pt x="5621542" y="1703945"/>
                  <a:pt x="5619607" y="1705878"/>
                </a:cubicBezTo>
                <a:cubicBezTo>
                  <a:pt x="5617674" y="1698144"/>
                  <a:pt x="5615738" y="1694275"/>
                  <a:pt x="5617674" y="1690407"/>
                </a:cubicBezTo>
                <a:cubicBezTo>
                  <a:pt x="5617674" y="1688472"/>
                  <a:pt x="5617674" y="1688472"/>
                  <a:pt x="5617674" y="1688472"/>
                </a:cubicBezTo>
                <a:cubicBezTo>
                  <a:pt x="5613805" y="1690407"/>
                  <a:pt x="5608002" y="1694275"/>
                  <a:pt x="5604133" y="1696208"/>
                </a:cubicBezTo>
                <a:cubicBezTo>
                  <a:pt x="5606069" y="1709748"/>
                  <a:pt x="5613805" y="1721353"/>
                  <a:pt x="5623475" y="1731022"/>
                </a:cubicBezTo>
                <a:cubicBezTo>
                  <a:pt x="5625410" y="1731022"/>
                  <a:pt x="5625410" y="1732958"/>
                  <a:pt x="5625410" y="1732958"/>
                </a:cubicBezTo>
                <a:cubicBezTo>
                  <a:pt x="5627343" y="1731022"/>
                  <a:pt x="5629278" y="1729087"/>
                  <a:pt x="5631211" y="1727154"/>
                </a:cubicBezTo>
                <a:cubicBezTo>
                  <a:pt x="5635080" y="1727154"/>
                  <a:pt x="5638948" y="1729087"/>
                  <a:pt x="5644749" y="1731022"/>
                </a:cubicBezTo>
                <a:cubicBezTo>
                  <a:pt x="5646684" y="1729087"/>
                  <a:pt x="5646684" y="1729087"/>
                  <a:pt x="5648620" y="1727154"/>
                </a:cubicBezTo>
                <a:cubicBezTo>
                  <a:pt x="5646684" y="1727154"/>
                  <a:pt x="5644749" y="1727154"/>
                  <a:pt x="5640883" y="1725219"/>
                </a:cubicBezTo>
                <a:cubicBezTo>
                  <a:pt x="5640883" y="1719418"/>
                  <a:pt x="5646684" y="1719418"/>
                  <a:pt x="5650553" y="1717482"/>
                </a:cubicBezTo>
                <a:cubicBezTo>
                  <a:pt x="5650553" y="1717482"/>
                  <a:pt x="5652488" y="1717482"/>
                  <a:pt x="5654421" y="1719418"/>
                </a:cubicBezTo>
                <a:lnTo>
                  <a:pt x="5661103" y="1711066"/>
                </a:lnTo>
                <a:lnTo>
                  <a:pt x="5656356" y="1721353"/>
                </a:lnTo>
                <a:cubicBezTo>
                  <a:pt x="5658289" y="1725219"/>
                  <a:pt x="5660224" y="1729087"/>
                  <a:pt x="5664090" y="1734891"/>
                </a:cubicBezTo>
                <a:cubicBezTo>
                  <a:pt x="5664090" y="1734891"/>
                  <a:pt x="5662157" y="1736824"/>
                  <a:pt x="5660224" y="1740692"/>
                </a:cubicBezTo>
                <a:cubicBezTo>
                  <a:pt x="5662157" y="1740692"/>
                  <a:pt x="5662157" y="1742627"/>
                  <a:pt x="5664090" y="1744560"/>
                </a:cubicBezTo>
                <a:cubicBezTo>
                  <a:pt x="5666026" y="1744560"/>
                  <a:pt x="5666026" y="1746496"/>
                  <a:pt x="5667959" y="1748429"/>
                </a:cubicBezTo>
                <a:cubicBezTo>
                  <a:pt x="5667959" y="1750364"/>
                  <a:pt x="5666026" y="1752297"/>
                  <a:pt x="5666026" y="1752297"/>
                </a:cubicBezTo>
                <a:cubicBezTo>
                  <a:pt x="5666026" y="1752297"/>
                  <a:pt x="5664090" y="1754232"/>
                  <a:pt x="5664090" y="1754232"/>
                </a:cubicBezTo>
                <a:cubicBezTo>
                  <a:pt x="5664090" y="1761969"/>
                  <a:pt x="5664090" y="1771638"/>
                  <a:pt x="5664090" y="1779374"/>
                </a:cubicBezTo>
                <a:cubicBezTo>
                  <a:pt x="5664090" y="1779374"/>
                  <a:pt x="5666026" y="1779374"/>
                  <a:pt x="5666026" y="1779374"/>
                </a:cubicBezTo>
                <a:cubicBezTo>
                  <a:pt x="5666026" y="1779374"/>
                  <a:pt x="5666026" y="1781310"/>
                  <a:pt x="5666026" y="1781310"/>
                </a:cubicBezTo>
                <a:cubicBezTo>
                  <a:pt x="5666026" y="1781310"/>
                  <a:pt x="5664090" y="1783243"/>
                  <a:pt x="5664090" y="1785178"/>
                </a:cubicBezTo>
                <a:lnTo>
                  <a:pt x="5667959" y="1785178"/>
                </a:lnTo>
                <a:cubicBezTo>
                  <a:pt x="5660224" y="1785178"/>
                  <a:pt x="5662157" y="1790979"/>
                  <a:pt x="5658289" y="1792912"/>
                </a:cubicBezTo>
                <a:cubicBezTo>
                  <a:pt x="5656356" y="1794848"/>
                  <a:pt x="5656356" y="1794848"/>
                  <a:pt x="5654421" y="1794848"/>
                </a:cubicBezTo>
                <a:lnTo>
                  <a:pt x="5653777" y="1795492"/>
                </a:lnTo>
                <a:lnTo>
                  <a:pt x="5652488" y="1792912"/>
                </a:lnTo>
                <a:cubicBezTo>
                  <a:pt x="5650553" y="1792912"/>
                  <a:pt x="5648620" y="1792912"/>
                  <a:pt x="5648620" y="1792912"/>
                </a:cubicBezTo>
                <a:cubicBezTo>
                  <a:pt x="5642816" y="1798716"/>
                  <a:pt x="5637015" y="1806452"/>
                  <a:pt x="5631211" y="1812254"/>
                </a:cubicBezTo>
                <a:lnTo>
                  <a:pt x="5631521" y="1814730"/>
                </a:lnTo>
                <a:lnTo>
                  <a:pt x="5621542" y="1818057"/>
                </a:lnTo>
                <a:cubicBezTo>
                  <a:pt x="5625410" y="1819992"/>
                  <a:pt x="5627343" y="1821925"/>
                  <a:pt x="5631211" y="1825794"/>
                </a:cubicBezTo>
                <a:lnTo>
                  <a:pt x="5632854" y="1825383"/>
                </a:lnTo>
                <a:lnTo>
                  <a:pt x="5633147" y="1827726"/>
                </a:lnTo>
                <a:cubicBezTo>
                  <a:pt x="5633147" y="1831595"/>
                  <a:pt x="5633147" y="1835463"/>
                  <a:pt x="5633147" y="1839331"/>
                </a:cubicBezTo>
                <a:cubicBezTo>
                  <a:pt x="5638948" y="1835463"/>
                  <a:pt x="5642816" y="1831595"/>
                  <a:pt x="5646684" y="1829662"/>
                </a:cubicBezTo>
                <a:cubicBezTo>
                  <a:pt x="5648620" y="1829662"/>
                  <a:pt x="5652488" y="1829662"/>
                  <a:pt x="5654421" y="1829662"/>
                </a:cubicBezTo>
                <a:cubicBezTo>
                  <a:pt x="5652488" y="1833530"/>
                  <a:pt x="5650553" y="1837398"/>
                  <a:pt x="5648620" y="1841267"/>
                </a:cubicBezTo>
                <a:cubicBezTo>
                  <a:pt x="5654421" y="1837398"/>
                  <a:pt x="5660224" y="1833530"/>
                  <a:pt x="5667959" y="1831595"/>
                </a:cubicBezTo>
                <a:cubicBezTo>
                  <a:pt x="5669894" y="1831595"/>
                  <a:pt x="5669894" y="1829662"/>
                  <a:pt x="5671829" y="1829662"/>
                </a:cubicBezTo>
                <a:cubicBezTo>
                  <a:pt x="5671829" y="1827726"/>
                  <a:pt x="5673762" y="1827726"/>
                  <a:pt x="5673762" y="1825794"/>
                </a:cubicBezTo>
                <a:cubicBezTo>
                  <a:pt x="5675697" y="1816122"/>
                  <a:pt x="5683432" y="1816122"/>
                  <a:pt x="5689235" y="1814189"/>
                </a:cubicBezTo>
                <a:cubicBezTo>
                  <a:pt x="5687300" y="1816122"/>
                  <a:pt x="5685367" y="1819992"/>
                  <a:pt x="5683432" y="1821925"/>
                </a:cubicBezTo>
                <a:cubicBezTo>
                  <a:pt x="5689235" y="1821925"/>
                  <a:pt x="5695036" y="1823858"/>
                  <a:pt x="5700840" y="1823858"/>
                </a:cubicBezTo>
                <a:cubicBezTo>
                  <a:pt x="5706641" y="1823858"/>
                  <a:pt x="5708576" y="1829662"/>
                  <a:pt x="5704708" y="1833530"/>
                </a:cubicBezTo>
                <a:cubicBezTo>
                  <a:pt x="5700840" y="1839331"/>
                  <a:pt x="5695036" y="1841267"/>
                  <a:pt x="5691168" y="1845135"/>
                </a:cubicBezTo>
                <a:cubicBezTo>
                  <a:pt x="5687300" y="1843200"/>
                  <a:pt x="5685367" y="1841267"/>
                  <a:pt x="5683432" y="1839331"/>
                </a:cubicBezTo>
                <a:cubicBezTo>
                  <a:pt x="5681499" y="1839331"/>
                  <a:pt x="5675697" y="1835463"/>
                  <a:pt x="5671829" y="1833530"/>
                </a:cubicBezTo>
                <a:cubicBezTo>
                  <a:pt x="5666026" y="1837398"/>
                  <a:pt x="5660224" y="1843200"/>
                  <a:pt x="5658289" y="1850936"/>
                </a:cubicBezTo>
                <a:cubicBezTo>
                  <a:pt x="5662157" y="1850936"/>
                  <a:pt x="5664090" y="1852871"/>
                  <a:pt x="5666026" y="1852871"/>
                </a:cubicBezTo>
                <a:cubicBezTo>
                  <a:pt x="5664090" y="1862541"/>
                  <a:pt x="5660224" y="1870277"/>
                  <a:pt x="5646684" y="1870277"/>
                </a:cubicBezTo>
                <a:cubicBezTo>
                  <a:pt x="5646684" y="1866409"/>
                  <a:pt x="5648620" y="1862541"/>
                  <a:pt x="5650553" y="1856740"/>
                </a:cubicBezTo>
                <a:cubicBezTo>
                  <a:pt x="5640883" y="1854804"/>
                  <a:pt x="5637015" y="1860608"/>
                  <a:pt x="5631211" y="1864476"/>
                </a:cubicBezTo>
                <a:cubicBezTo>
                  <a:pt x="5629278" y="1866409"/>
                  <a:pt x="5627343" y="1868344"/>
                  <a:pt x="5623475" y="1870277"/>
                </a:cubicBezTo>
                <a:cubicBezTo>
                  <a:pt x="5617674" y="1887686"/>
                  <a:pt x="5613805" y="1907027"/>
                  <a:pt x="5604133" y="1924433"/>
                </a:cubicBezTo>
                <a:cubicBezTo>
                  <a:pt x="5596397" y="1937971"/>
                  <a:pt x="5594464" y="1951511"/>
                  <a:pt x="5588663" y="1965049"/>
                </a:cubicBezTo>
                <a:cubicBezTo>
                  <a:pt x="5580924" y="1982457"/>
                  <a:pt x="5573190" y="1999863"/>
                  <a:pt x="5565453" y="2015336"/>
                </a:cubicBezTo>
                <a:cubicBezTo>
                  <a:pt x="5571255" y="2013400"/>
                  <a:pt x="5577056" y="2011468"/>
                  <a:pt x="5582859" y="2011468"/>
                </a:cubicBezTo>
                <a:cubicBezTo>
                  <a:pt x="5584795" y="2011468"/>
                  <a:pt x="5586728" y="2013400"/>
                  <a:pt x="5588663" y="2013400"/>
                </a:cubicBezTo>
                <a:cubicBezTo>
                  <a:pt x="5580924" y="2019204"/>
                  <a:pt x="5571255" y="2023072"/>
                  <a:pt x="5561585" y="2025005"/>
                </a:cubicBezTo>
                <a:cubicBezTo>
                  <a:pt x="5555781" y="2038545"/>
                  <a:pt x="5549980" y="2052083"/>
                  <a:pt x="5544177" y="2065623"/>
                </a:cubicBezTo>
                <a:cubicBezTo>
                  <a:pt x="5544177" y="2065623"/>
                  <a:pt x="5542244" y="2067556"/>
                  <a:pt x="5542244" y="2069491"/>
                </a:cubicBezTo>
                <a:cubicBezTo>
                  <a:pt x="5546112" y="2065623"/>
                  <a:pt x="5551913" y="2061755"/>
                  <a:pt x="5559650" y="2063688"/>
                </a:cubicBezTo>
                <a:cubicBezTo>
                  <a:pt x="5551913" y="2067556"/>
                  <a:pt x="5549980" y="2075293"/>
                  <a:pt x="5546112" y="2081096"/>
                </a:cubicBezTo>
                <a:cubicBezTo>
                  <a:pt x="5544177" y="2084962"/>
                  <a:pt x="5540308" y="2086897"/>
                  <a:pt x="5536440" y="2088830"/>
                </a:cubicBezTo>
                <a:cubicBezTo>
                  <a:pt x="5534507" y="2088830"/>
                  <a:pt x="5532572" y="2090766"/>
                  <a:pt x="5530639" y="2092698"/>
                </a:cubicBezTo>
                <a:cubicBezTo>
                  <a:pt x="5519034" y="2119776"/>
                  <a:pt x="5509362" y="2144921"/>
                  <a:pt x="5497758" y="2170064"/>
                </a:cubicBezTo>
                <a:cubicBezTo>
                  <a:pt x="5495825" y="2177800"/>
                  <a:pt x="5491956" y="2185537"/>
                  <a:pt x="5490021" y="2193273"/>
                </a:cubicBezTo>
                <a:cubicBezTo>
                  <a:pt x="5488088" y="2197142"/>
                  <a:pt x="5488088" y="2201010"/>
                  <a:pt x="5488088" y="2206811"/>
                </a:cubicBezTo>
                <a:cubicBezTo>
                  <a:pt x="5495825" y="2202943"/>
                  <a:pt x="5499693" y="2202943"/>
                  <a:pt x="5503561" y="2201010"/>
                </a:cubicBezTo>
                <a:cubicBezTo>
                  <a:pt x="5517099" y="2195206"/>
                  <a:pt x="5530639" y="2187470"/>
                  <a:pt x="5546112" y="2183602"/>
                </a:cubicBezTo>
                <a:cubicBezTo>
                  <a:pt x="5567386" y="2177800"/>
                  <a:pt x="5658289" y="2129448"/>
                  <a:pt x="5679566" y="2123645"/>
                </a:cubicBezTo>
                <a:cubicBezTo>
                  <a:pt x="5693103" y="2121712"/>
                  <a:pt x="5706641" y="2115908"/>
                  <a:pt x="5720181" y="2113975"/>
                </a:cubicBezTo>
                <a:cubicBezTo>
                  <a:pt x="5731784" y="2112040"/>
                  <a:pt x="5745324" y="2113975"/>
                  <a:pt x="5756928" y="2113975"/>
                </a:cubicBezTo>
                <a:cubicBezTo>
                  <a:pt x="5766600" y="2113975"/>
                  <a:pt x="5774334" y="2115908"/>
                  <a:pt x="5782073" y="2121712"/>
                </a:cubicBezTo>
                <a:cubicBezTo>
                  <a:pt x="5789807" y="2127513"/>
                  <a:pt x="5799479" y="2131381"/>
                  <a:pt x="5811084" y="2129448"/>
                </a:cubicBezTo>
                <a:cubicBezTo>
                  <a:pt x="5822689" y="2127513"/>
                  <a:pt x="5828490" y="2135250"/>
                  <a:pt x="5836226" y="2141053"/>
                </a:cubicBezTo>
                <a:cubicBezTo>
                  <a:pt x="5838159" y="2144921"/>
                  <a:pt x="5842028" y="2146854"/>
                  <a:pt x="5845898" y="2148789"/>
                </a:cubicBezTo>
                <a:cubicBezTo>
                  <a:pt x="5859436" y="2154591"/>
                  <a:pt x="5872976" y="2164262"/>
                  <a:pt x="5882645" y="2175867"/>
                </a:cubicBezTo>
                <a:cubicBezTo>
                  <a:pt x="5888447" y="2181669"/>
                  <a:pt x="5896183" y="2185537"/>
                  <a:pt x="5898118" y="2195206"/>
                </a:cubicBezTo>
                <a:cubicBezTo>
                  <a:pt x="5898118" y="2197142"/>
                  <a:pt x="5900051" y="2199075"/>
                  <a:pt x="5901987" y="2199075"/>
                </a:cubicBezTo>
                <a:cubicBezTo>
                  <a:pt x="5917460" y="2202943"/>
                  <a:pt x="5921328" y="2218416"/>
                  <a:pt x="5929065" y="2230020"/>
                </a:cubicBezTo>
                <a:cubicBezTo>
                  <a:pt x="5932933" y="2237757"/>
                  <a:pt x="5936801" y="2245494"/>
                  <a:pt x="5942602" y="2251297"/>
                </a:cubicBezTo>
                <a:cubicBezTo>
                  <a:pt x="5954207" y="2260966"/>
                  <a:pt x="5960011" y="2276439"/>
                  <a:pt x="5967745" y="2289977"/>
                </a:cubicBezTo>
                <a:cubicBezTo>
                  <a:pt x="5971613" y="2295781"/>
                  <a:pt x="5975481" y="2299649"/>
                  <a:pt x="5979352" y="2305450"/>
                </a:cubicBezTo>
                <a:cubicBezTo>
                  <a:pt x="5985153" y="2313187"/>
                  <a:pt x="5990954" y="2318990"/>
                  <a:pt x="5992890" y="2326727"/>
                </a:cubicBezTo>
                <a:cubicBezTo>
                  <a:pt x="5994822" y="2334461"/>
                  <a:pt x="5998691" y="2342200"/>
                  <a:pt x="6000626" y="2349937"/>
                </a:cubicBezTo>
                <a:cubicBezTo>
                  <a:pt x="6002559" y="2355738"/>
                  <a:pt x="6000626" y="2363474"/>
                  <a:pt x="6000626" y="2371211"/>
                </a:cubicBezTo>
                <a:cubicBezTo>
                  <a:pt x="6000626" y="2373143"/>
                  <a:pt x="5998691" y="2375079"/>
                  <a:pt x="6000626" y="2377012"/>
                </a:cubicBezTo>
                <a:cubicBezTo>
                  <a:pt x="6014164" y="2400222"/>
                  <a:pt x="6010295" y="2423431"/>
                  <a:pt x="6008363" y="2446640"/>
                </a:cubicBezTo>
                <a:cubicBezTo>
                  <a:pt x="6008363" y="2462114"/>
                  <a:pt x="6000626" y="2475651"/>
                  <a:pt x="5990954" y="2489191"/>
                </a:cubicBezTo>
                <a:cubicBezTo>
                  <a:pt x="5987086" y="2493059"/>
                  <a:pt x="5985153" y="2500796"/>
                  <a:pt x="5981285" y="2508533"/>
                </a:cubicBezTo>
                <a:cubicBezTo>
                  <a:pt x="5981285" y="2510466"/>
                  <a:pt x="5981285" y="2512401"/>
                  <a:pt x="5979352" y="2514334"/>
                </a:cubicBezTo>
                <a:cubicBezTo>
                  <a:pt x="5971613" y="2525938"/>
                  <a:pt x="5963876" y="2537543"/>
                  <a:pt x="5956142" y="2547213"/>
                </a:cubicBezTo>
                <a:cubicBezTo>
                  <a:pt x="5942602" y="2564621"/>
                  <a:pt x="5929065" y="2583962"/>
                  <a:pt x="5913591" y="2599435"/>
                </a:cubicBezTo>
                <a:cubicBezTo>
                  <a:pt x="5892317" y="2620710"/>
                  <a:pt x="5869108" y="2638115"/>
                  <a:pt x="5847831" y="2655524"/>
                </a:cubicBezTo>
                <a:cubicBezTo>
                  <a:pt x="5845898" y="2657457"/>
                  <a:pt x="5843963" y="2657457"/>
                  <a:pt x="5842028" y="2659392"/>
                </a:cubicBezTo>
                <a:cubicBezTo>
                  <a:pt x="5820753" y="2684535"/>
                  <a:pt x="5716313" y="2736755"/>
                  <a:pt x="5693103" y="2759964"/>
                </a:cubicBezTo>
                <a:cubicBezTo>
                  <a:pt x="5677630" y="2775438"/>
                  <a:pt x="5660224" y="2788978"/>
                  <a:pt x="5642816" y="2804451"/>
                </a:cubicBezTo>
                <a:cubicBezTo>
                  <a:pt x="5621542" y="2823789"/>
                  <a:pt x="5598332" y="2843131"/>
                  <a:pt x="5577056" y="2862472"/>
                </a:cubicBezTo>
                <a:cubicBezTo>
                  <a:pt x="5578991" y="2862472"/>
                  <a:pt x="5578991" y="2864407"/>
                  <a:pt x="5580924" y="2866340"/>
                </a:cubicBezTo>
                <a:cubicBezTo>
                  <a:pt x="5586728" y="2862472"/>
                  <a:pt x="5592531" y="2858604"/>
                  <a:pt x="5598332" y="2854735"/>
                </a:cubicBezTo>
                <a:cubicBezTo>
                  <a:pt x="5598332" y="2862472"/>
                  <a:pt x="5596397" y="2866340"/>
                  <a:pt x="5592531" y="2868276"/>
                </a:cubicBezTo>
                <a:cubicBezTo>
                  <a:pt x="5590596" y="2868276"/>
                  <a:pt x="5586728" y="2870208"/>
                  <a:pt x="5582859" y="2870208"/>
                </a:cubicBezTo>
                <a:cubicBezTo>
                  <a:pt x="5577056" y="2872144"/>
                  <a:pt x="5571255" y="2872144"/>
                  <a:pt x="5569322" y="2881813"/>
                </a:cubicBezTo>
                <a:cubicBezTo>
                  <a:pt x="5567386" y="2883749"/>
                  <a:pt x="5563518" y="2885682"/>
                  <a:pt x="5561585" y="2887617"/>
                </a:cubicBezTo>
                <a:cubicBezTo>
                  <a:pt x="5561585" y="2887617"/>
                  <a:pt x="5559650" y="2889550"/>
                  <a:pt x="5559650" y="2889550"/>
                </a:cubicBezTo>
                <a:cubicBezTo>
                  <a:pt x="5561585" y="2891485"/>
                  <a:pt x="5563518" y="2891485"/>
                  <a:pt x="5563518" y="2893418"/>
                </a:cubicBezTo>
                <a:cubicBezTo>
                  <a:pt x="5571255" y="2889550"/>
                  <a:pt x="5577056" y="2885682"/>
                  <a:pt x="5584795" y="2883749"/>
                </a:cubicBezTo>
                <a:cubicBezTo>
                  <a:pt x="5586728" y="2881813"/>
                  <a:pt x="5588663" y="2883749"/>
                  <a:pt x="5592531" y="2885682"/>
                </a:cubicBezTo>
                <a:cubicBezTo>
                  <a:pt x="5586728" y="2887617"/>
                  <a:pt x="5582859" y="2889550"/>
                  <a:pt x="5580924" y="2889550"/>
                </a:cubicBezTo>
                <a:cubicBezTo>
                  <a:pt x="5577056" y="2889550"/>
                  <a:pt x="5575123" y="2889550"/>
                  <a:pt x="5573190" y="2893418"/>
                </a:cubicBezTo>
                <a:cubicBezTo>
                  <a:pt x="5571255" y="2895351"/>
                  <a:pt x="5567386" y="2897287"/>
                  <a:pt x="5563518" y="2897287"/>
                </a:cubicBezTo>
                <a:cubicBezTo>
                  <a:pt x="5563518" y="2897287"/>
                  <a:pt x="5561585" y="2897287"/>
                  <a:pt x="5561585" y="2897287"/>
                </a:cubicBezTo>
                <a:cubicBezTo>
                  <a:pt x="5561585" y="2899219"/>
                  <a:pt x="5561585" y="2899219"/>
                  <a:pt x="5561585" y="2899219"/>
                </a:cubicBezTo>
                <a:cubicBezTo>
                  <a:pt x="5555781" y="2899219"/>
                  <a:pt x="5548045" y="2901155"/>
                  <a:pt x="5542244" y="2901155"/>
                </a:cubicBezTo>
                <a:cubicBezTo>
                  <a:pt x="5538376" y="2901155"/>
                  <a:pt x="5534507" y="2903090"/>
                  <a:pt x="5530639" y="2903090"/>
                </a:cubicBezTo>
                <a:cubicBezTo>
                  <a:pt x="5530639" y="2905023"/>
                  <a:pt x="5528704" y="2905023"/>
                  <a:pt x="5526771" y="2906956"/>
                </a:cubicBezTo>
                <a:cubicBezTo>
                  <a:pt x="5546112" y="2910824"/>
                  <a:pt x="5565453" y="2912759"/>
                  <a:pt x="5584795" y="2910824"/>
                </a:cubicBezTo>
                <a:cubicBezTo>
                  <a:pt x="5580924" y="2910824"/>
                  <a:pt x="5578991" y="2912759"/>
                  <a:pt x="5577056" y="2912759"/>
                </a:cubicBezTo>
                <a:cubicBezTo>
                  <a:pt x="5590596" y="2912759"/>
                  <a:pt x="5604133" y="2914692"/>
                  <a:pt x="5617674" y="2916628"/>
                </a:cubicBezTo>
                <a:cubicBezTo>
                  <a:pt x="5619607" y="2916628"/>
                  <a:pt x="5621542" y="2916628"/>
                  <a:pt x="5623475" y="2916628"/>
                </a:cubicBezTo>
                <a:cubicBezTo>
                  <a:pt x="5625410" y="2916628"/>
                  <a:pt x="5625410" y="2916628"/>
                  <a:pt x="5627343" y="2916628"/>
                </a:cubicBezTo>
                <a:cubicBezTo>
                  <a:pt x="5637015" y="2914692"/>
                  <a:pt x="5642816" y="2914692"/>
                  <a:pt x="5648620" y="2905023"/>
                </a:cubicBezTo>
                <a:cubicBezTo>
                  <a:pt x="5650553" y="2901155"/>
                  <a:pt x="5656356" y="2899219"/>
                  <a:pt x="5662157" y="2899219"/>
                </a:cubicBezTo>
                <a:cubicBezTo>
                  <a:pt x="5660224" y="2901155"/>
                  <a:pt x="5658289" y="2903090"/>
                  <a:pt x="5656356" y="2905023"/>
                </a:cubicBezTo>
                <a:cubicBezTo>
                  <a:pt x="5658289" y="2905023"/>
                  <a:pt x="5658289" y="2906956"/>
                  <a:pt x="5658289" y="2906956"/>
                </a:cubicBezTo>
                <a:cubicBezTo>
                  <a:pt x="5667959" y="2908891"/>
                  <a:pt x="5675697" y="2910824"/>
                  <a:pt x="5685367" y="2910824"/>
                </a:cubicBezTo>
                <a:cubicBezTo>
                  <a:pt x="5698907" y="2910824"/>
                  <a:pt x="5700840" y="2908891"/>
                  <a:pt x="5696972" y="2891485"/>
                </a:cubicBezTo>
                <a:cubicBezTo>
                  <a:pt x="5700840" y="2883749"/>
                  <a:pt x="5706641" y="2889550"/>
                  <a:pt x="5712445" y="2891485"/>
                </a:cubicBezTo>
                <a:cubicBezTo>
                  <a:pt x="5708576" y="2893418"/>
                  <a:pt x="5706641" y="2893418"/>
                  <a:pt x="5702773" y="2895351"/>
                </a:cubicBezTo>
                <a:cubicBezTo>
                  <a:pt x="5704708" y="2897287"/>
                  <a:pt x="5706641" y="2899219"/>
                  <a:pt x="5708576" y="2901155"/>
                </a:cubicBezTo>
                <a:cubicBezTo>
                  <a:pt x="5708576" y="2903090"/>
                  <a:pt x="5706641" y="2905023"/>
                  <a:pt x="5704708" y="2908891"/>
                </a:cubicBezTo>
                <a:cubicBezTo>
                  <a:pt x="5714378" y="2910824"/>
                  <a:pt x="5724049" y="2908891"/>
                  <a:pt x="5733719" y="2908891"/>
                </a:cubicBezTo>
                <a:cubicBezTo>
                  <a:pt x="5733719" y="2910824"/>
                  <a:pt x="5733719" y="2912759"/>
                  <a:pt x="5733719" y="2916628"/>
                </a:cubicBezTo>
                <a:cubicBezTo>
                  <a:pt x="5720181" y="2918561"/>
                  <a:pt x="5706641" y="2920496"/>
                  <a:pt x="5693103" y="2922429"/>
                </a:cubicBezTo>
                <a:cubicBezTo>
                  <a:pt x="5677630" y="2924364"/>
                  <a:pt x="5662157" y="2924364"/>
                  <a:pt x="5646684" y="2926297"/>
                </a:cubicBezTo>
                <a:cubicBezTo>
                  <a:pt x="5648620" y="2928232"/>
                  <a:pt x="5650553" y="2928232"/>
                  <a:pt x="5650553" y="2930165"/>
                </a:cubicBezTo>
                <a:cubicBezTo>
                  <a:pt x="5652488" y="2932101"/>
                  <a:pt x="5652488" y="2932101"/>
                  <a:pt x="5654421" y="2934034"/>
                </a:cubicBezTo>
                <a:cubicBezTo>
                  <a:pt x="5662157" y="2934034"/>
                  <a:pt x="5667959" y="2932101"/>
                  <a:pt x="5673762" y="2932101"/>
                </a:cubicBezTo>
                <a:cubicBezTo>
                  <a:pt x="5669894" y="2934034"/>
                  <a:pt x="5664090" y="2937902"/>
                  <a:pt x="5658289" y="2939837"/>
                </a:cubicBezTo>
                <a:cubicBezTo>
                  <a:pt x="5658289" y="2941770"/>
                  <a:pt x="5658289" y="2945639"/>
                  <a:pt x="5658289" y="2947574"/>
                </a:cubicBezTo>
                <a:cubicBezTo>
                  <a:pt x="5656356" y="2951442"/>
                  <a:pt x="5654421" y="2955310"/>
                  <a:pt x="5652488" y="2959178"/>
                </a:cubicBezTo>
                <a:cubicBezTo>
                  <a:pt x="5654421" y="2959178"/>
                  <a:pt x="5658289" y="2959178"/>
                  <a:pt x="5660224" y="2959178"/>
                </a:cubicBezTo>
                <a:cubicBezTo>
                  <a:pt x="5660224" y="2961111"/>
                  <a:pt x="5658289" y="2963047"/>
                  <a:pt x="5658289" y="2963047"/>
                </a:cubicBezTo>
                <a:cubicBezTo>
                  <a:pt x="5667959" y="2963047"/>
                  <a:pt x="5675697" y="2959178"/>
                  <a:pt x="5687300" y="2963047"/>
                </a:cubicBezTo>
                <a:cubicBezTo>
                  <a:pt x="5650553" y="2976584"/>
                  <a:pt x="5617674" y="2978520"/>
                  <a:pt x="5582859" y="2988189"/>
                </a:cubicBezTo>
                <a:cubicBezTo>
                  <a:pt x="5586728" y="2993991"/>
                  <a:pt x="5588663" y="2999794"/>
                  <a:pt x="5590596" y="3003662"/>
                </a:cubicBezTo>
                <a:cubicBezTo>
                  <a:pt x="5590596" y="3005595"/>
                  <a:pt x="5592531" y="3007531"/>
                  <a:pt x="5594464" y="3007531"/>
                </a:cubicBezTo>
                <a:cubicBezTo>
                  <a:pt x="5600265" y="3007531"/>
                  <a:pt x="5608002" y="3009464"/>
                  <a:pt x="5613805" y="3009464"/>
                </a:cubicBezTo>
                <a:cubicBezTo>
                  <a:pt x="5646684" y="3011399"/>
                  <a:pt x="5681499" y="3013332"/>
                  <a:pt x="5714378" y="3017200"/>
                </a:cubicBezTo>
                <a:cubicBezTo>
                  <a:pt x="5716313" y="3015267"/>
                  <a:pt x="5718246" y="3011399"/>
                  <a:pt x="5722114" y="3009464"/>
                </a:cubicBezTo>
                <a:cubicBezTo>
                  <a:pt x="5722114" y="3013332"/>
                  <a:pt x="5720181" y="3017200"/>
                  <a:pt x="5720181" y="3019135"/>
                </a:cubicBezTo>
                <a:cubicBezTo>
                  <a:pt x="5729851" y="3021068"/>
                  <a:pt x="5737587" y="3023003"/>
                  <a:pt x="5747259" y="3024936"/>
                </a:cubicBezTo>
                <a:cubicBezTo>
                  <a:pt x="5753060" y="3024936"/>
                  <a:pt x="5756928" y="3024936"/>
                  <a:pt x="5762732" y="3024936"/>
                </a:cubicBezTo>
                <a:cubicBezTo>
                  <a:pt x="5758864" y="3026872"/>
                  <a:pt x="5756928" y="3028805"/>
                  <a:pt x="5754993" y="3028805"/>
                </a:cubicBezTo>
                <a:cubicBezTo>
                  <a:pt x="5756928" y="3028805"/>
                  <a:pt x="5758864" y="3032673"/>
                  <a:pt x="5764665" y="3036541"/>
                </a:cubicBezTo>
                <a:cubicBezTo>
                  <a:pt x="5754993" y="3036541"/>
                  <a:pt x="5749192" y="3036541"/>
                  <a:pt x="5745324" y="3036541"/>
                </a:cubicBezTo>
                <a:cubicBezTo>
                  <a:pt x="5689235" y="3030740"/>
                  <a:pt x="5635080" y="3026872"/>
                  <a:pt x="5578991" y="3021068"/>
                </a:cubicBezTo>
                <a:cubicBezTo>
                  <a:pt x="5577056" y="3021068"/>
                  <a:pt x="5577056" y="3021068"/>
                  <a:pt x="5575123" y="3021068"/>
                </a:cubicBezTo>
                <a:cubicBezTo>
                  <a:pt x="5577056" y="3021068"/>
                  <a:pt x="5578991" y="3023003"/>
                  <a:pt x="5577056" y="3026872"/>
                </a:cubicBezTo>
                <a:cubicBezTo>
                  <a:pt x="5567386" y="3026872"/>
                  <a:pt x="5555781" y="3024936"/>
                  <a:pt x="5544177" y="3024936"/>
                </a:cubicBezTo>
                <a:cubicBezTo>
                  <a:pt x="5548045" y="3026872"/>
                  <a:pt x="5549980" y="3028805"/>
                  <a:pt x="5551913" y="3032673"/>
                </a:cubicBezTo>
                <a:cubicBezTo>
                  <a:pt x="5530639" y="3032673"/>
                  <a:pt x="5509362" y="3036541"/>
                  <a:pt x="5490021" y="3034608"/>
                </a:cubicBezTo>
                <a:cubicBezTo>
                  <a:pt x="5488088" y="3036541"/>
                  <a:pt x="5484220" y="3038476"/>
                  <a:pt x="5480352" y="3038476"/>
                </a:cubicBezTo>
                <a:cubicBezTo>
                  <a:pt x="5478419" y="3038476"/>
                  <a:pt x="5480352" y="3036541"/>
                  <a:pt x="5480352" y="3034608"/>
                </a:cubicBezTo>
                <a:cubicBezTo>
                  <a:pt x="5478419" y="3034608"/>
                  <a:pt x="5478419" y="3034608"/>
                  <a:pt x="5476483" y="3034608"/>
                </a:cubicBezTo>
                <a:cubicBezTo>
                  <a:pt x="5474551" y="3038476"/>
                  <a:pt x="5474551" y="3044278"/>
                  <a:pt x="5474551" y="3048146"/>
                </a:cubicBezTo>
                <a:cubicBezTo>
                  <a:pt x="5482287" y="3048146"/>
                  <a:pt x="5490021" y="3048146"/>
                  <a:pt x="5497758" y="3048146"/>
                </a:cubicBezTo>
                <a:cubicBezTo>
                  <a:pt x="5507430" y="3044278"/>
                  <a:pt x="5515166" y="3042345"/>
                  <a:pt x="5524838" y="3044278"/>
                </a:cubicBezTo>
                <a:cubicBezTo>
                  <a:pt x="5526771" y="3044278"/>
                  <a:pt x="5528704" y="3042345"/>
                  <a:pt x="5530639" y="3040409"/>
                </a:cubicBezTo>
                <a:cubicBezTo>
                  <a:pt x="5536440" y="3034608"/>
                  <a:pt x="5542244" y="3038476"/>
                  <a:pt x="5548045" y="3036541"/>
                </a:cubicBezTo>
                <a:cubicBezTo>
                  <a:pt x="5548045" y="3038476"/>
                  <a:pt x="5548045" y="3038476"/>
                  <a:pt x="5548045" y="3040409"/>
                </a:cubicBezTo>
                <a:cubicBezTo>
                  <a:pt x="5549980" y="3040409"/>
                  <a:pt x="5549980" y="3042345"/>
                  <a:pt x="5551913" y="3042345"/>
                </a:cubicBezTo>
                <a:cubicBezTo>
                  <a:pt x="5555781" y="3040409"/>
                  <a:pt x="5559650" y="3040409"/>
                  <a:pt x="5563518" y="3040409"/>
                </a:cubicBezTo>
                <a:cubicBezTo>
                  <a:pt x="5565453" y="3040409"/>
                  <a:pt x="5567386" y="3040409"/>
                  <a:pt x="5569322" y="3040409"/>
                </a:cubicBezTo>
                <a:cubicBezTo>
                  <a:pt x="5578991" y="3040409"/>
                  <a:pt x="5590596" y="3040409"/>
                  <a:pt x="5600265" y="3042345"/>
                </a:cubicBezTo>
                <a:cubicBezTo>
                  <a:pt x="5600265" y="3042345"/>
                  <a:pt x="5600265" y="3040409"/>
                  <a:pt x="5600265" y="3040409"/>
                </a:cubicBezTo>
                <a:cubicBezTo>
                  <a:pt x="5600265" y="3042345"/>
                  <a:pt x="5602201" y="3042345"/>
                  <a:pt x="5602201" y="3042345"/>
                </a:cubicBezTo>
                <a:cubicBezTo>
                  <a:pt x="5602201" y="3042345"/>
                  <a:pt x="5602201" y="3044278"/>
                  <a:pt x="5602201" y="3044278"/>
                </a:cubicBezTo>
                <a:cubicBezTo>
                  <a:pt x="5606069" y="3044278"/>
                  <a:pt x="5611872" y="3046213"/>
                  <a:pt x="5617674" y="3046213"/>
                </a:cubicBezTo>
                <a:cubicBezTo>
                  <a:pt x="5615738" y="3046213"/>
                  <a:pt x="5615738" y="3044278"/>
                  <a:pt x="5613805" y="3044278"/>
                </a:cubicBezTo>
                <a:cubicBezTo>
                  <a:pt x="5619607" y="3040409"/>
                  <a:pt x="5625410" y="3038476"/>
                  <a:pt x="5633147" y="3036541"/>
                </a:cubicBezTo>
                <a:cubicBezTo>
                  <a:pt x="5631211" y="3040409"/>
                  <a:pt x="5629278" y="3044278"/>
                  <a:pt x="5627343" y="3046213"/>
                </a:cubicBezTo>
                <a:cubicBezTo>
                  <a:pt x="5637015" y="3048146"/>
                  <a:pt x="5648620" y="3050081"/>
                  <a:pt x="5658289" y="3050081"/>
                </a:cubicBezTo>
                <a:cubicBezTo>
                  <a:pt x="5669894" y="3052014"/>
                  <a:pt x="5683432" y="3052014"/>
                  <a:pt x="5696972" y="3052014"/>
                </a:cubicBezTo>
                <a:cubicBezTo>
                  <a:pt x="5710509" y="3052014"/>
                  <a:pt x="5724049" y="3053950"/>
                  <a:pt x="5735654" y="3057818"/>
                </a:cubicBezTo>
                <a:cubicBezTo>
                  <a:pt x="5735654" y="3057818"/>
                  <a:pt x="5735654" y="3055883"/>
                  <a:pt x="5735654" y="3055883"/>
                </a:cubicBezTo>
                <a:cubicBezTo>
                  <a:pt x="5735654" y="3055883"/>
                  <a:pt x="5737587" y="3057818"/>
                  <a:pt x="5737587" y="3057818"/>
                </a:cubicBezTo>
                <a:cubicBezTo>
                  <a:pt x="5739522" y="3061686"/>
                  <a:pt x="5741455" y="3057818"/>
                  <a:pt x="5743391" y="3057818"/>
                </a:cubicBezTo>
                <a:cubicBezTo>
                  <a:pt x="5745324" y="3055883"/>
                  <a:pt x="5749192" y="3053950"/>
                  <a:pt x="5751125" y="3061686"/>
                </a:cubicBezTo>
                <a:cubicBezTo>
                  <a:pt x="5745324" y="3063619"/>
                  <a:pt x="5741455" y="3063619"/>
                  <a:pt x="5735654" y="3065555"/>
                </a:cubicBezTo>
                <a:cubicBezTo>
                  <a:pt x="5735654" y="3065555"/>
                  <a:pt x="5733719" y="3067487"/>
                  <a:pt x="5731784" y="3067487"/>
                </a:cubicBezTo>
                <a:cubicBezTo>
                  <a:pt x="5735654" y="3071355"/>
                  <a:pt x="5739522" y="3075224"/>
                  <a:pt x="5745324" y="3077159"/>
                </a:cubicBezTo>
                <a:cubicBezTo>
                  <a:pt x="5753060" y="3079092"/>
                  <a:pt x="5760797" y="3079092"/>
                  <a:pt x="5768533" y="3079092"/>
                </a:cubicBezTo>
                <a:cubicBezTo>
                  <a:pt x="5772401" y="3082960"/>
                  <a:pt x="5776270" y="3086828"/>
                  <a:pt x="5782073" y="3092630"/>
                </a:cubicBezTo>
                <a:cubicBezTo>
                  <a:pt x="5776270" y="3096498"/>
                  <a:pt x="5774334" y="3098433"/>
                  <a:pt x="5770466" y="3098433"/>
                </a:cubicBezTo>
                <a:cubicBezTo>
                  <a:pt x="5733719" y="3100366"/>
                  <a:pt x="5698907" y="3102302"/>
                  <a:pt x="5662157" y="3106170"/>
                </a:cubicBezTo>
                <a:cubicBezTo>
                  <a:pt x="5652488" y="3108103"/>
                  <a:pt x="5642816" y="3111971"/>
                  <a:pt x="5633147" y="3111971"/>
                </a:cubicBezTo>
                <a:cubicBezTo>
                  <a:pt x="5629278" y="3111971"/>
                  <a:pt x="5627343" y="3111971"/>
                  <a:pt x="5623475" y="3111971"/>
                </a:cubicBezTo>
                <a:cubicBezTo>
                  <a:pt x="5627343" y="3113907"/>
                  <a:pt x="5631211" y="3115839"/>
                  <a:pt x="5635080" y="3115839"/>
                </a:cubicBezTo>
                <a:cubicBezTo>
                  <a:pt x="5638948" y="3113907"/>
                  <a:pt x="5642816" y="3113907"/>
                  <a:pt x="5648620" y="3113907"/>
                </a:cubicBezTo>
                <a:cubicBezTo>
                  <a:pt x="5646684" y="3115839"/>
                  <a:pt x="5646684" y="3117775"/>
                  <a:pt x="5644749" y="3117775"/>
                </a:cubicBezTo>
                <a:cubicBezTo>
                  <a:pt x="5646684" y="3119708"/>
                  <a:pt x="5646684" y="3119708"/>
                  <a:pt x="5648620" y="3119708"/>
                </a:cubicBezTo>
                <a:cubicBezTo>
                  <a:pt x="5656356" y="3121643"/>
                  <a:pt x="5658289" y="3129379"/>
                  <a:pt x="5652488" y="3137116"/>
                </a:cubicBezTo>
                <a:cubicBezTo>
                  <a:pt x="5650553" y="3139049"/>
                  <a:pt x="5646684" y="3139049"/>
                  <a:pt x="5644749" y="3140984"/>
                </a:cubicBezTo>
                <a:cubicBezTo>
                  <a:pt x="5644749" y="3142917"/>
                  <a:pt x="5642816" y="3142917"/>
                  <a:pt x="5642816" y="3144852"/>
                </a:cubicBezTo>
                <a:cubicBezTo>
                  <a:pt x="5646684" y="3144852"/>
                  <a:pt x="5648620" y="3144852"/>
                  <a:pt x="5652488" y="3144852"/>
                </a:cubicBezTo>
                <a:cubicBezTo>
                  <a:pt x="5654421" y="3142917"/>
                  <a:pt x="5656356" y="3140984"/>
                  <a:pt x="5658289" y="3139049"/>
                </a:cubicBezTo>
                <a:cubicBezTo>
                  <a:pt x="5662157" y="3135181"/>
                  <a:pt x="5667959" y="3137116"/>
                  <a:pt x="5669894" y="3139049"/>
                </a:cubicBezTo>
                <a:cubicBezTo>
                  <a:pt x="5669894" y="3137116"/>
                  <a:pt x="5669894" y="3137116"/>
                  <a:pt x="5669894" y="3137116"/>
                </a:cubicBezTo>
                <a:cubicBezTo>
                  <a:pt x="5673762" y="3135181"/>
                  <a:pt x="5675697" y="3135181"/>
                  <a:pt x="5677630" y="3135181"/>
                </a:cubicBezTo>
                <a:cubicBezTo>
                  <a:pt x="5677630" y="3135181"/>
                  <a:pt x="5677630" y="3137116"/>
                  <a:pt x="5677630" y="3137116"/>
                </a:cubicBezTo>
                <a:lnTo>
                  <a:pt x="5681499" y="3137116"/>
                </a:lnTo>
                <a:cubicBezTo>
                  <a:pt x="5691168" y="3139049"/>
                  <a:pt x="5698907" y="3139049"/>
                  <a:pt x="5708576" y="3139049"/>
                </a:cubicBezTo>
                <a:cubicBezTo>
                  <a:pt x="5743391" y="3135181"/>
                  <a:pt x="5776270" y="3133248"/>
                  <a:pt x="5809149" y="3135181"/>
                </a:cubicBezTo>
                <a:cubicBezTo>
                  <a:pt x="5816885" y="3135181"/>
                  <a:pt x="5822689" y="3133248"/>
                  <a:pt x="5830425" y="3131312"/>
                </a:cubicBezTo>
                <a:cubicBezTo>
                  <a:pt x="5845898" y="3127444"/>
                  <a:pt x="5861369" y="3123576"/>
                  <a:pt x="5876842" y="3119708"/>
                </a:cubicBezTo>
                <a:cubicBezTo>
                  <a:pt x="5882645" y="3119708"/>
                  <a:pt x="5888447" y="3121643"/>
                  <a:pt x="5894250" y="3123576"/>
                </a:cubicBezTo>
                <a:cubicBezTo>
                  <a:pt x="5894250" y="3125511"/>
                  <a:pt x="5896183" y="3127444"/>
                  <a:pt x="5896183" y="3129379"/>
                </a:cubicBezTo>
                <a:cubicBezTo>
                  <a:pt x="5894250" y="3131312"/>
                  <a:pt x="5894250" y="3133248"/>
                  <a:pt x="5892317" y="3135181"/>
                </a:cubicBezTo>
                <a:cubicBezTo>
                  <a:pt x="5886514" y="3139049"/>
                  <a:pt x="5874909" y="3133248"/>
                  <a:pt x="5871041" y="3144852"/>
                </a:cubicBezTo>
                <a:cubicBezTo>
                  <a:pt x="5872976" y="3152589"/>
                  <a:pt x="5876842" y="3152589"/>
                  <a:pt x="5882645" y="3152589"/>
                </a:cubicBezTo>
                <a:cubicBezTo>
                  <a:pt x="5907788" y="3152589"/>
                  <a:pt x="5930997" y="3154522"/>
                  <a:pt x="5956142" y="3162259"/>
                </a:cubicBezTo>
                <a:cubicBezTo>
                  <a:pt x="5932933" y="3160326"/>
                  <a:pt x="5907788" y="3160326"/>
                  <a:pt x="5884578" y="3160326"/>
                </a:cubicBezTo>
                <a:cubicBezTo>
                  <a:pt x="5872976" y="3160326"/>
                  <a:pt x="5863304" y="3160326"/>
                  <a:pt x="5853635" y="3162259"/>
                </a:cubicBezTo>
                <a:cubicBezTo>
                  <a:pt x="5842028" y="3164194"/>
                  <a:pt x="5832358" y="3166127"/>
                  <a:pt x="5820753" y="3164194"/>
                </a:cubicBezTo>
                <a:cubicBezTo>
                  <a:pt x="5814952" y="3164194"/>
                  <a:pt x="5809149" y="3168060"/>
                  <a:pt x="5797544" y="3169995"/>
                </a:cubicBezTo>
                <a:cubicBezTo>
                  <a:pt x="5805280" y="3173863"/>
                  <a:pt x="5807216" y="3175796"/>
                  <a:pt x="5809149" y="3175796"/>
                </a:cubicBezTo>
                <a:cubicBezTo>
                  <a:pt x="5824622" y="3181600"/>
                  <a:pt x="5843963" y="3171930"/>
                  <a:pt x="5855568" y="3189336"/>
                </a:cubicBezTo>
                <a:cubicBezTo>
                  <a:pt x="5869108" y="3189336"/>
                  <a:pt x="5884578" y="3189336"/>
                  <a:pt x="5898118" y="3189336"/>
                </a:cubicBezTo>
                <a:cubicBezTo>
                  <a:pt x="5938734" y="3191269"/>
                  <a:pt x="5977417" y="3193204"/>
                  <a:pt x="6018032" y="3195137"/>
                </a:cubicBezTo>
                <a:cubicBezTo>
                  <a:pt x="6025769" y="3195137"/>
                  <a:pt x="6033505" y="3197073"/>
                  <a:pt x="6043177" y="3199006"/>
                </a:cubicBezTo>
                <a:cubicBezTo>
                  <a:pt x="6039306" y="3202874"/>
                  <a:pt x="6039306" y="3204809"/>
                  <a:pt x="6037373" y="3204809"/>
                </a:cubicBezTo>
                <a:cubicBezTo>
                  <a:pt x="6010295" y="3208678"/>
                  <a:pt x="5983218" y="3218347"/>
                  <a:pt x="5956142" y="3218347"/>
                </a:cubicBezTo>
                <a:cubicBezTo>
                  <a:pt x="5938734" y="3218347"/>
                  <a:pt x="5919393" y="3218347"/>
                  <a:pt x="5901987" y="3218347"/>
                </a:cubicBezTo>
                <a:cubicBezTo>
                  <a:pt x="5900051" y="3218347"/>
                  <a:pt x="5900051" y="3218347"/>
                  <a:pt x="5898118" y="3218347"/>
                </a:cubicBezTo>
                <a:cubicBezTo>
                  <a:pt x="5896183" y="3220282"/>
                  <a:pt x="5892317" y="3220282"/>
                  <a:pt x="5890382" y="3222215"/>
                </a:cubicBezTo>
                <a:cubicBezTo>
                  <a:pt x="5890382" y="3220282"/>
                  <a:pt x="5890382" y="3220282"/>
                  <a:pt x="5890382" y="3218347"/>
                </a:cubicBezTo>
                <a:lnTo>
                  <a:pt x="5853635" y="3218347"/>
                </a:lnTo>
                <a:cubicBezTo>
                  <a:pt x="5849766" y="3226084"/>
                  <a:pt x="5845898" y="3228019"/>
                  <a:pt x="5838159" y="3228019"/>
                </a:cubicBezTo>
                <a:cubicBezTo>
                  <a:pt x="5832358" y="3228019"/>
                  <a:pt x="5828490" y="3228019"/>
                  <a:pt x="5822689" y="3228019"/>
                </a:cubicBezTo>
                <a:cubicBezTo>
                  <a:pt x="5822689" y="3229952"/>
                  <a:pt x="5822689" y="3231887"/>
                  <a:pt x="5822689" y="3231887"/>
                </a:cubicBezTo>
                <a:cubicBezTo>
                  <a:pt x="5832358" y="3231887"/>
                  <a:pt x="5842028" y="3233820"/>
                  <a:pt x="5851699" y="3233820"/>
                </a:cubicBezTo>
                <a:cubicBezTo>
                  <a:pt x="5857501" y="3235755"/>
                  <a:pt x="5863304" y="3235755"/>
                  <a:pt x="5869108" y="3235755"/>
                </a:cubicBezTo>
                <a:cubicBezTo>
                  <a:pt x="5871041" y="3235755"/>
                  <a:pt x="5874909" y="3237688"/>
                  <a:pt x="5874909" y="3235755"/>
                </a:cubicBezTo>
                <a:cubicBezTo>
                  <a:pt x="5882645" y="3226084"/>
                  <a:pt x="5890382" y="3229952"/>
                  <a:pt x="5898118" y="3229952"/>
                </a:cubicBezTo>
                <a:cubicBezTo>
                  <a:pt x="5903920" y="3229952"/>
                  <a:pt x="5909723" y="3228019"/>
                  <a:pt x="5915524" y="3228019"/>
                </a:cubicBezTo>
                <a:cubicBezTo>
                  <a:pt x="5923261" y="3228019"/>
                  <a:pt x="5932933" y="3228019"/>
                  <a:pt x="5942602" y="3229952"/>
                </a:cubicBezTo>
                <a:cubicBezTo>
                  <a:pt x="5938734" y="3229952"/>
                  <a:pt x="5936801" y="3231887"/>
                  <a:pt x="5930997" y="3233820"/>
                </a:cubicBezTo>
                <a:cubicBezTo>
                  <a:pt x="5934866" y="3233820"/>
                  <a:pt x="5936801" y="3235755"/>
                  <a:pt x="5942602" y="3235755"/>
                </a:cubicBezTo>
                <a:cubicBezTo>
                  <a:pt x="5937768" y="3236722"/>
                  <a:pt x="5933899" y="3238655"/>
                  <a:pt x="5930998" y="3242040"/>
                </a:cubicBezTo>
                <a:lnTo>
                  <a:pt x="5927996" y="3249793"/>
                </a:lnTo>
                <a:lnTo>
                  <a:pt x="5926645" y="3250018"/>
                </a:lnTo>
                <a:cubicBezTo>
                  <a:pt x="5925678" y="3250743"/>
                  <a:pt x="5925194" y="3252194"/>
                  <a:pt x="5925194" y="3255094"/>
                </a:cubicBezTo>
                <a:lnTo>
                  <a:pt x="5926416" y="3253872"/>
                </a:lnTo>
                <a:lnTo>
                  <a:pt x="5925194" y="3257029"/>
                </a:lnTo>
                <a:cubicBezTo>
                  <a:pt x="5946470" y="3258965"/>
                  <a:pt x="5967745" y="3260898"/>
                  <a:pt x="5989021" y="3262831"/>
                </a:cubicBezTo>
                <a:cubicBezTo>
                  <a:pt x="5989021" y="3266699"/>
                  <a:pt x="5987086" y="3268634"/>
                  <a:pt x="5987086" y="3270570"/>
                </a:cubicBezTo>
                <a:cubicBezTo>
                  <a:pt x="5987086" y="3272503"/>
                  <a:pt x="5985153" y="3274436"/>
                  <a:pt x="5983218" y="3276371"/>
                </a:cubicBezTo>
                <a:cubicBezTo>
                  <a:pt x="5981285" y="3280239"/>
                  <a:pt x="5977417" y="3284107"/>
                  <a:pt x="5973548" y="3280239"/>
                </a:cubicBezTo>
                <a:cubicBezTo>
                  <a:pt x="5965812" y="3272503"/>
                  <a:pt x="5960011" y="3280239"/>
                  <a:pt x="5952272" y="3282172"/>
                </a:cubicBezTo>
                <a:cubicBezTo>
                  <a:pt x="5954207" y="3287975"/>
                  <a:pt x="5956142" y="3291844"/>
                  <a:pt x="5958075" y="3297645"/>
                </a:cubicBezTo>
                <a:cubicBezTo>
                  <a:pt x="5960011" y="3301513"/>
                  <a:pt x="5969680" y="3303448"/>
                  <a:pt x="5973548" y="3301513"/>
                </a:cubicBezTo>
                <a:cubicBezTo>
                  <a:pt x="5979352" y="3299580"/>
                  <a:pt x="5979352" y="3299580"/>
                  <a:pt x="5985153" y="3301513"/>
                </a:cubicBezTo>
                <a:cubicBezTo>
                  <a:pt x="5981285" y="3305381"/>
                  <a:pt x="5977417" y="3307317"/>
                  <a:pt x="5973548" y="3309250"/>
                </a:cubicBezTo>
                <a:cubicBezTo>
                  <a:pt x="5975481" y="3313118"/>
                  <a:pt x="5975481" y="3316986"/>
                  <a:pt x="5977417" y="3320855"/>
                </a:cubicBezTo>
                <a:cubicBezTo>
                  <a:pt x="5983218" y="3318922"/>
                  <a:pt x="5989021" y="3316986"/>
                  <a:pt x="5994822" y="3316986"/>
                </a:cubicBezTo>
                <a:cubicBezTo>
                  <a:pt x="6006427" y="3316986"/>
                  <a:pt x="6018032" y="3315053"/>
                  <a:pt x="6027704" y="3322790"/>
                </a:cubicBezTo>
                <a:cubicBezTo>
                  <a:pt x="6023836" y="3322790"/>
                  <a:pt x="6019967" y="3322790"/>
                  <a:pt x="6016099" y="3322790"/>
                </a:cubicBezTo>
                <a:cubicBezTo>
                  <a:pt x="6012228" y="3322790"/>
                  <a:pt x="6008363" y="3324723"/>
                  <a:pt x="6004494" y="3324723"/>
                </a:cubicBezTo>
                <a:cubicBezTo>
                  <a:pt x="6002559" y="3326658"/>
                  <a:pt x="5998691" y="3326658"/>
                  <a:pt x="5996758" y="3326658"/>
                </a:cubicBezTo>
                <a:cubicBezTo>
                  <a:pt x="5989021" y="3326658"/>
                  <a:pt x="5987086" y="3328591"/>
                  <a:pt x="5985153" y="3340196"/>
                </a:cubicBezTo>
                <a:cubicBezTo>
                  <a:pt x="5979352" y="3338263"/>
                  <a:pt x="5975481" y="3334395"/>
                  <a:pt x="5971613" y="3330527"/>
                </a:cubicBezTo>
                <a:cubicBezTo>
                  <a:pt x="5971613" y="3332459"/>
                  <a:pt x="5969680" y="3336328"/>
                  <a:pt x="5967745" y="3338263"/>
                </a:cubicBezTo>
                <a:cubicBezTo>
                  <a:pt x="5954207" y="3340196"/>
                  <a:pt x="5938734" y="3340196"/>
                  <a:pt x="5925194" y="3342129"/>
                </a:cubicBezTo>
                <a:cubicBezTo>
                  <a:pt x="5923261" y="3342129"/>
                  <a:pt x="5923261" y="3342129"/>
                  <a:pt x="5921328" y="3344064"/>
                </a:cubicBezTo>
                <a:cubicBezTo>
                  <a:pt x="5929065" y="3351801"/>
                  <a:pt x="5940669" y="3344064"/>
                  <a:pt x="5948403" y="3349865"/>
                </a:cubicBezTo>
                <a:cubicBezTo>
                  <a:pt x="5934866" y="3349865"/>
                  <a:pt x="5923261" y="3351801"/>
                  <a:pt x="5909723" y="3351801"/>
                </a:cubicBezTo>
                <a:cubicBezTo>
                  <a:pt x="5909723" y="3359537"/>
                  <a:pt x="5909723" y="3365338"/>
                  <a:pt x="5907788" y="3373075"/>
                </a:cubicBezTo>
                <a:cubicBezTo>
                  <a:pt x="5929065" y="3375010"/>
                  <a:pt x="5948403" y="3375010"/>
                  <a:pt x="5969680" y="3376943"/>
                </a:cubicBezTo>
                <a:cubicBezTo>
                  <a:pt x="6048978" y="3382747"/>
                  <a:pt x="6021900" y="3473649"/>
                  <a:pt x="5942602" y="3477518"/>
                </a:cubicBezTo>
                <a:cubicBezTo>
                  <a:pt x="5907788" y="3479451"/>
                  <a:pt x="5900051" y="3502660"/>
                  <a:pt x="5867172" y="3504595"/>
                </a:cubicBezTo>
                <a:cubicBezTo>
                  <a:pt x="5861369" y="3520068"/>
                  <a:pt x="5847831" y="3535539"/>
                  <a:pt x="5824622" y="3541343"/>
                </a:cubicBezTo>
                <a:cubicBezTo>
                  <a:pt x="5789807" y="3551012"/>
                  <a:pt x="5754993" y="3558749"/>
                  <a:pt x="5720181" y="3568420"/>
                </a:cubicBezTo>
                <a:cubicBezTo>
                  <a:pt x="5720181" y="3568420"/>
                  <a:pt x="5722114" y="3568420"/>
                  <a:pt x="5722114" y="3568420"/>
                </a:cubicBezTo>
                <a:cubicBezTo>
                  <a:pt x="5735654" y="3568420"/>
                  <a:pt x="5749192" y="3568420"/>
                  <a:pt x="5762732" y="3568420"/>
                </a:cubicBezTo>
                <a:cubicBezTo>
                  <a:pt x="5784006" y="3568420"/>
                  <a:pt x="5803347" y="3566485"/>
                  <a:pt x="5824622" y="3564552"/>
                </a:cubicBezTo>
                <a:cubicBezTo>
                  <a:pt x="5828490" y="3564552"/>
                  <a:pt x="5830425" y="3562617"/>
                  <a:pt x="5834293" y="3562617"/>
                </a:cubicBezTo>
                <a:cubicBezTo>
                  <a:pt x="5845898" y="3562617"/>
                  <a:pt x="5857501" y="3570353"/>
                  <a:pt x="5855568" y="3576157"/>
                </a:cubicBezTo>
                <a:cubicBezTo>
                  <a:pt x="5851699" y="3585826"/>
                  <a:pt x="5843963" y="3583894"/>
                  <a:pt x="5836226" y="3583894"/>
                </a:cubicBezTo>
                <a:cubicBezTo>
                  <a:pt x="5811084" y="3585826"/>
                  <a:pt x="5787874" y="3587762"/>
                  <a:pt x="5762732" y="3589695"/>
                </a:cubicBezTo>
                <a:cubicBezTo>
                  <a:pt x="5754993" y="3589695"/>
                  <a:pt x="5749192" y="3589695"/>
                  <a:pt x="5741455" y="3589695"/>
                </a:cubicBezTo>
                <a:cubicBezTo>
                  <a:pt x="5727918" y="3587762"/>
                  <a:pt x="5716313" y="3589695"/>
                  <a:pt x="5702773" y="3593563"/>
                </a:cubicBezTo>
                <a:cubicBezTo>
                  <a:pt x="5708576" y="3593563"/>
                  <a:pt x="5712445" y="3595498"/>
                  <a:pt x="5716313" y="3597431"/>
                </a:cubicBezTo>
                <a:cubicBezTo>
                  <a:pt x="5716313" y="3597431"/>
                  <a:pt x="5718246" y="3597431"/>
                  <a:pt x="5718246" y="3597431"/>
                </a:cubicBezTo>
                <a:cubicBezTo>
                  <a:pt x="5733719" y="3595498"/>
                  <a:pt x="5749192" y="3593563"/>
                  <a:pt x="5762732" y="3589695"/>
                </a:cubicBezTo>
                <a:cubicBezTo>
                  <a:pt x="5758864" y="3593563"/>
                  <a:pt x="5753060" y="3597431"/>
                  <a:pt x="5749192" y="3599367"/>
                </a:cubicBezTo>
                <a:cubicBezTo>
                  <a:pt x="5754993" y="3601299"/>
                  <a:pt x="5762732" y="3603235"/>
                  <a:pt x="5768533" y="3605168"/>
                </a:cubicBezTo>
                <a:cubicBezTo>
                  <a:pt x="5770466" y="3607103"/>
                  <a:pt x="5772401" y="3607103"/>
                  <a:pt x="5774334" y="3607103"/>
                </a:cubicBezTo>
                <a:cubicBezTo>
                  <a:pt x="5776270" y="3610969"/>
                  <a:pt x="5782073" y="3610969"/>
                  <a:pt x="5785941" y="3610969"/>
                </a:cubicBezTo>
                <a:cubicBezTo>
                  <a:pt x="5789807" y="3614840"/>
                  <a:pt x="5793676" y="3616773"/>
                  <a:pt x="5797544" y="3620641"/>
                </a:cubicBezTo>
                <a:cubicBezTo>
                  <a:pt x="5803347" y="3626444"/>
                  <a:pt x="5803347" y="3632246"/>
                  <a:pt x="5799479" y="3639982"/>
                </a:cubicBezTo>
                <a:cubicBezTo>
                  <a:pt x="5795611" y="3641915"/>
                  <a:pt x="5793676" y="3641915"/>
                  <a:pt x="5789807" y="3641915"/>
                </a:cubicBezTo>
                <a:cubicBezTo>
                  <a:pt x="5789807" y="3638049"/>
                  <a:pt x="5791743" y="3634178"/>
                  <a:pt x="5793676" y="3630310"/>
                </a:cubicBezTo>
                <a:cubicBezTo>
                  <a:pt x="5787874" y="3622574"/>
                  <a:pt x="5782073" y="3616773"/>
                  <a:pt x="5772401" y="3616773"/>
                </a:cubicBezTo>
                <a:cubicBezTo>
                  <a:pt x="5768533" y="3616773"/>
                  <a:pt x="5766600" y="3614840"/>
                  <a:pt x="5762732" y="3612904"/>
                </a:cubicBezTo>
                <a:cubicBezTo>
                  <a:pt x="5758864" y="3610969"/>
                  <a:pt x="5754993" y="3607103"/>
                  <a:pt x="5749192" y="3607103"/>
                </a:cubicBezTo>
                <a:cubicBezTo>
                  <a:pt x="5739522" y="3607103"/>
                  <a:pt x="5731784" y="3605168"/>
                  <a:pt x="5722114" y="3605168"/>
                </a:cubicBezTo>
                <a:cubicBezTo>
                  <a:pt x="5710509" y="3605168"/>
                  <a:pt x="5696972" y="3607103"/>
                  <a:pt x="5687300" y="3616773"/>
                </a:cubicBezTo>
                <a:cubicBezTo>
                  <a:pt x="5681499" y="3612904"/>
                  <a:pt x="5677630" y="3610969"/>
                  <a:pt x="5671829" y="3610969"/>
                </a:cubicBezTo>
                <a:cubicBezTo>
                  <a:pt x="5669894" y="3612904"/>
                  <a:pt x="5667959" y="3612904"/>
                  <a:pt x="5667959" y="3614840"/>
                </a:cubicBezTo>
                <a:cubicBezTo>
                  <a:pt x="5666026" y="3618708"/>
                  <a:pt x="5666026" y="3622574"/>
                  <a:pt x="5666026" y="3624509"/>
                </a:cubicBezTo>
                <a:cubicBezTo>
                  <a:pt x="5671829" y="3624509"/>
                  <a:pt x="5675697" y="3626444"/>
                  <a:pt x="5681499" y="3628377"/>
                </a:cubicBezTo>
                <a:cubicBezTo>
                  <a:pt x="5677630" y="3630310"/>
                  <a:pt x="5673762" y="3630310"/>
                  <a:pt x="5669894" y="3632246"/>
                </a:cubicBezTo>
                <a:cubicBezTo>
                  <a:pt x="5671829" y="3634178"/>
                  <a:pt x="5673762" y="3634178"/>
                  <a:pt x="5675697" y="3636114"/>
                </a:cubicBezTo>
                <a:cubicBezTo>
                  <a:pt x="5679566" y="3641915"/>
                  <a:pt x="5685367" y="3647719"/>
                  <a:pt x="5689235" y="3653520"/>
                </a:cubicBezTo>
                <a:cubicBezTo>
                  <a:pt x="5687300" y="3661256"/>
                  <a:pt x="5679566" y="3653520"/>
                  <a:pt x="5675697" y="3659323"/>
                </a:cubicBezTo>
                <a:cubicBezTo>
                  <a:pt x="5677630" y="3661256"/>
                  <a:pt x="5679566" y="3663192"/>
                  <a:pt x="5681499" y="3665125"/>
                </a:cubicBezTo>
                <a:cubicBezTo>
                  <a:pt x="5693103" y="3663192"/>
                  <a:pt x="5704708" y="3659323"/>
                  <a:pt x="5716313" y="3657388"/>
                </a:cubicBezTo>
                <a:cubicBezTo>
                  <a:pt x="5725982" y="3655455"/>
                  <a:pt x="5737587" y="3653520"/>
                  <a:pt x="5747259" y="3653520"/>
                </a:cubicBezTo>
                <a:cubicBezTo>
                  <a:pt x="5747259" y="3657388"/>
                  <a:pt x="5747259" y="3659323"/>
                  <a:pt x="5747259" y="3663192"/>
                </a:cubicBezTo>
                <a:cubicBezTo>
                  <a:pt x="5727918" y="3670928"/>
                  <a:pt x="5708576" y="3670928"/>
                  <a:pt x="5689235" y="3670928"/>
                </a:cubicBezTo>
                <a:cubicBezTo>
                  <a:pt x="5691168" y="3672861"/>
                  <a:pt x="5693103" y="3674796"/>
                  <a:pt x="5695036" y="3676729"/>
                </a:cubicBezTo>
                <a:cubicBezTo>
                  <a:pt x="5696972" y="3676729"/>
                  <a:pt x="5696972" y="3678665"/>
                  <a:pt x="5696972" y="3678665"/>
                </a:cubicBezTo>
                <a:cubicBezTo>
                  <a:pt x="5698907" y="3678665"/>
                  <a:pt x="5700840" y="3678665"/>
                  <a:pt x="5702773" y="3678665"/>
                </a:cubicBezTo>
                <a:cubicBezTo>
                  <a:pt x="5702773" y="3680598"/>
                  <a:pt x="5702773" y="3682533"/>
                  <a:pt x="5704708" y="3684466"/>
                </a:cubicBezTo>
                <a:cubicBezTo>
                  <a:pt x="5708576" y="3684466"/>
                  <a:pt x="5710509" y="3684466"/>
                  <a:pt x="5712445" y="3684466"/>
                </a:cubicBezTo>
                <a:cubicBezTo>
                  <a:pt x="5710509" y="3688334"/>
                  <a:pt x="5712445" y="3692202"/>
                  <a:pt x="5716313" y="3692202"/>
                </a:cubicBezTo>
                <a:cubicBezTo>
                  <a:pt x="5716313" y="3692202"/>
                  <a:pt x="5718246" y="3692202"/>
                  <a:pt x="5718246" y="3692202"/>
                </a:cubicBezTo>
                <a:cubicBezTo>
                  <a:pt x="5722114" y="3688334"/>
                  <a:pt x="5727918" y="3686401"/>
                  <a:pt x="5731784" y="3686401"/>
                </a:cubicBezTo>
                <a:cubicBezTo>
                  <a:pt x="5739522" y="3686401"/>
                  <a:pt x="5745324" y="3688334"/>
                  <a:pt x="5753060" y="3686401"/>
                </a:cubicBezTo>
                <a:cubicBezTo>
                  <a:pt x="5785941" y="3678665"/>
                  <a:pt x="5820753" y="3672861"/>
                  <a:pt x="5853635" y="3668993"/>
                </a:cubicBezTo>
                <a:cubicBezTo>
                  <a:pt x="5890382" y="3665125"/>
                  <a:pt x="5927129" y="3667060"/>
                  <a:pt x="5963876" y="3670928"/>
                </a:cubicBezTo>
                <a:cubicBezTo>
                  <a:pt x="5965812" y="3678665"/>
                  <a:pt x="5960011" y="3678665"/>
                  <a:pt x="5956142" y="3678665"/>
                </a:cubicBezTo>
                <a:cubicBezTo>
                  <a:pt x="5942602" y="3680598"/>
                  <a:pt x="5930997" y="3682533"/>
                  <a:pt x="5919393" y="3686401"/>
                </a:cubicBezTo>
                <a:cubicBezTo>
                  <a:pt x="5911656" y="3690269"/>
                  <a:pt x="5905855" y="3682533"/>
                  <a:pt x="5900051" y="3682533"/>
                </a:cubicBezTo>
                <a:cubicBezTo>
                  <a:pt x="5896183" y="3682533"/>
                  <a:pt x="5892317" y="3694138"/>
                  <a:pt x="5884578" y="3686401"/>
                </a:cubicBezTo>
                <a:cubicBezTo>
                  <a:pt x="5882645" y="3684466"/>
                  <a:pt x="5876842" y="3682533"/>
                  <a:pt x="5872976" y="3684466"/>
                </a:cubicBezTo>
                <a:cubicBezTo>
                  <a:pt x="5865237" y="3688334"/>
                  <a:pt x="5859436" y="3688334"/>
                  <a:pt x="5851699" y="3684466"/>
                </a:cubicBezTo>
                <a:cubicBezTo>
                  <a:pt x="5842028" y="3678665"/>
                  <a:pt x="5830425" y="3678665"/>
                  <a:pt x="5822689" y="3686401"/>
                </a:cubicBezTo>
                <a:cubicBezTo>
                  <a:pt x="5813017" y="3696071"/>
                  <a:pt x="5799479" y="3694138"/>
                  <a:pt x="5787874" y="3696071"/>
                </a:cubicBezTo>
                <a:cubicBezTo>
                  <a:pt x="5776270" y="3698004"/>
                  <a:pt x="5762732" y="3698004"/>
                  <a:pt x="5751125" y="3699939"/>
                </a:cubicBezTo>
                <a:cubicBezTo>
                  <a:pt x="5756928" y="3699939"/>
                  <a:pt x="5762732" y="3701874"/>
                  <a:pt x="5768533" y="3703807"/>
                </a:cubicBezTo>
                <a:cubicBezTo>
                  <a:pt x="5774334" y="3705742"/>
                  <a:pt x="5778203" y="3705742"/>
                  <a:pt x="5784006" y="3705742"/>
                </a:cubicBezTo>
                <a:cubicBezTo>
                  <a:pt x="5797544" y="3703807"/>
                  <a:pt x="5811084" y="3709608"/>
                  <a:pt x="5822689" y="3713479"/>
                </a:cubicBezTo>
                <a:cubicBezTo>
                  <a:pt x="5824622" y="3715412"/>
                  <a:pt x="5826557" y="3715412"/>
                  <a:pt x="5828490" y="3715412"/>
                </a:cubicBezTo>
                <a:cubicBezTo>
                  <a:pt x="5830425" y="3719280"/>
                  <a:pt x="5836226" y="3719280"/>
                  <a:pt x="5840095" y="3719280"/>
                </a:cubicBezTo>
                <a:cubicBezTo>
                  <a:pt x="5843963" y="3723148"/>
                  <a:pt x="5847831" y="3725084"/>
                  <a:pt x="5851699" y="3728950"/>
                </a:cubicBezTo>
                <a:cubicBezTo>
                  <a:pt x="5857501" y="3734753"/>
                  <a:pt x="5857501" y="3740554"/>
                  <a:pt x="5853635" y="3748291"/>
                </a:cubicBezTo>
                <a:cubicBezTo>
                  <a:pt x="5849766" y="3750226"/>
                  <a:pt x="5847831" y="3750226"/>
                  <a:pt x="5843963" y="3750226"/>
                </a:cubicBezTo>
                <a:cubicBezTo>
                  <a:pt x="5843963" y="3746358"/>
                  <a:pt x="5845898" y="3742490"/>
                  <a:pt x="5847831" y="3738621"/>
                </a:cubicBezTo>
                <a:cubicBezTo>
                  <a:pt x="5842028" y="3730885"/>
                  <a:pt x="5836226" y="3725084"/>
                  <a:pt x="5826557" y="3725084"/>
                </a:cubicBezTo>
                <a:cubicBezTo>
                  <a:pt x="5822689" y="3725084"/>
                  <a:pt x="5820753" y="3723148"/>
                  <a:pt x="5816885" y="3721213"/>
                </a:cubicBezTo>
                <a:cubicBezTo>
                  <a:pt x="5813017" y="3719280"/>
                  <a:pt x="5809149" y="3715412"/>
                  <a:pt x="5803347" y="3715412"/>
                </a:cubicBezTo>
                <a:cubicBezTo>
                  <a:pt x="5785941" y="3715412"/>
                  <a:pt x="5770466" y="3711544"/>
                  <a:pt x="5754993" y="3713479"/>
                </a:cubicBezTo>
                <a:cubicBezTo>
                  <a:pt x="5749192" y="3713479"/>
                  <a:pt x="5743391" y="3715412"/>
                  <a:pt x="5737587" y="3711544"/>
                </a:cubicBezTo>
                <a:cubicBezTo>
                  <a:pt x="5739522" y="3711544"/>
                  <a:pt x="5741455" y="3709608"/>
                  <a:pt x="5743391" y="3709608"/>
                </a:cubicBezTo>
                <a:cubicBezTo>
                  <a:pt x="5743391" y="3709608"/>
                  <a:pt x="5743391" y="3707675"/>
                  <a:pt x="5743391" y="3707675"/>
                </a:cubicBezTo>
                <a:cubicBezTo>
                  <a:pt x="5739522" y="3707675"/>
                  <a:pt x="5733719" y="3707675"/>
                  <a:pt x="5729851" y="3707675"/>
                </a:cubicBezTo>
                <a:cubicBezTo>
                  <a:pt x="5716313" y="3711544"/>
                  <a:pt x="5702773" y="3715412"/>
                  <a:pt x="5689235" y="3717345"/>
                </a:cubicBezTo>
                <a:cubicBezTo>
                  <a:pt x="5687300" y="3719280"/>
                  <a:pt x="5685367" y="3721213"/>
                  <a:pt x="5685367" y="3723148"/>
                </a:cubicBezTo>
                <a:cubicBezTo>
                  <a:pt x="5685367" y="3725084"/>
                  <a:pt x="5683432" y="3728950"/>
                  <a:pt x="5683432" y="3730885"/>
                </a:cubicBezTo>
                <a:cubicBezTo>
                  <a:pt x="5673762" y="3728950"/>
                  <a:pt x="5667959" y="3727017"/>
                  <a:pt x="5660224" y="3725084"/>
                </a:cubicBezTo>
                <a:cubicBezTo>
                  <a:pt x="5658289" y="3725084"/>
                  <a:pt x="5656356" y="3727017"/>
                  <a:pt x="5654421" y="3728950"/>
                </a:cubicBezTo>
                <a:cubicBezTo>
                  <a:pt x="5652488" y="3734753"/>
                  <a:pt x="5650553" y="3736686"/>
                  <a:pt x="5644749" y="3736686"/>
                </a:cubicBezTo>
                <a:cubicBezTo>
                  <a:pt x="5640883" y="3738621"/>
                  <a:pt x="5635080" y="3738621"/>
                  <a:pt x="5631211" y="3738621"/>
                </a:cubicBezTo>
                <a:cubicBezTo>
                  <a:pt x="5621542" y="3736686"/>
                  <a:pt x="5613805" y="3738621"/>
                  <a:pt x="5606069" y="3742490"/>
                </a:cubicBezTo>
                <a:cubicBezTo>
                  <a:pt x="5625410" y="3742490"/>
                  <a:pt x="5646684" y="3740554"/>
                  <a:pt x="5666026" y="3736686"/>
                </a:cubicBezTo>
                <a:cubicBezTo>
                  <a:pt x="5675697" y="3734753"/>
                  <a:pt x="5685367" y="3732818"/>
                  <a:pt x="5695036" y="3736686"/>
                </a:cubicBezTo>
                <a:cubicBezTo>
                  <a:pt x="5695036" y="3738621"/>
                  <a:pt x="5695036" y="3740554"/>
                  <a:pt x="5695036" y="3740554"/>
                </a:cubicBezTo>
                <a:cubicBezTo>
                  <a:pt x="5671829" y="3756027"/>
                  <a:pt x="5650553" y="3769567"/>
                  <a:pt x="5621542" y="3769567"/>
                </a:cubicBezTo>
                <a:cubicBezTo>
                  <a:pt x="5598332" y="3769567"/>
                  <a:pt x="5577056" y="3775369"/>
                  <a:pt x="5553849" y="3781172"/>
                </a:cubicBezTo>
                <a:cubicBezTo>
                  <a:pt x="5567386" y="3781172"/>
                  <a:pt x="5580924" y="3781172"/>
                  <a:pt x="5598332" y="3779237"/>
                </a:cubicBezTo>
                <a:cubicBezTo>
                  <a:pt x="5590596" y="3790842"/>
                  <a:pt x="5577056" y="3785038"/>
                  <a:pt x="5573190" y="3792777"/>
                </a:cubicBezTo>
                <a:cubicBezTo>
                  <a:pt x="5569322" y="3800514"/>
                  <a:pt x="5563518" y="3804379"/>
                  <a:pt x="5557714" y="3806315"/>
                </a:cubicBezTo>
                <a:cubicBezTo>
                  <a:pt x="5580924" y="3806315"/>
                  <a:pt x="5606069" y="3806315"/>
                  <a:pt x="5629278" y="3806315"/>
                </a:cubicBezTo>
                <a:cubicBezTo>
                  <a:pt x="5637015" y="3806315"/>
                  <a:pt x="5642816" y="3804379"/>
                  <a:pt x="5650553" y="3804379"/>
                </a:cubicBezTo>
                <a:cubicBezTo>
                  <a:pt x="5652488" y="3808248"/>
                  <a:pt x="5650553" y="3812118"/>
                  <a:pt x="5646684" y="3812118"/>
                </a:cubicBezTo>
                <a:cubicBezTo>
                  <a:pt x="5650553" y="3812118"/>
                  <a:pt x="5652488" y="3812118"/>
                  <a:pt x="5656356" y="3814051"/>
                </a:cubicBezTo>
                <a:cubicBezTo>
                  <a:pt x="5660224" y="3815984"/>
                  <a:pt x="5664090" y="3817919"/>
                  <a:pt x="5669894" y="3819852"/>
                </a:cubicBezTo>
                <a:cubicBezTo>
                  <a:pt x="5671829" y="3815984"/>
                  <a:pt x="5673762" y="3808248"/>
                  <a:pt x="5675697" y="3808248"/>
                </a:cubicBezTo>
                <a:cubicBezTo>
                  <a:pt x="5679566" y="3806315"/>
                  <a:pt x="5685367" y="3806315"/>
                  <a:pt x="5691168" y="3804379"/>
                </a:cubicBezTo>
                <a:cubicBezTo>
                  <a:pt x="5691168" y="3804379"/>
                  <a:pt x="5689235" y="3804379"/>
                  <a:pt x="5687300" y="3804379"/>
                </a:cubicBezTo>
                <a:cubicBezTo>
                  <a:pt x="5681499" y="3804379"/>
                  <a:pt x="5675697" y="3804379"/>
                  <a:pt x="5669894" y="3802446"/>
                </a:cubicBezTo>
                <a:cubicBezTo>
                  <a:pt x="5687300" y="3800514"/>
                  <a:pt x="5702773" y="3798578"/>
                  <a:pt x="5718246" y="3796643"/>
                </a:cubicBezTo>
                <a:cubicBezTo>
                  <a:pt x="5731784" y="3790842"/>
                  <a:pt x="5747259" y="3786973"/>
                  <a:pt x="5762732" y="3786973"/>
                </a:cubicBezTo>
                <a:cubicBezTo>
                  <a:pt x="5782073" y="3786973"/>
                  <a:pt x="5801412" y="3786973"/>
                  <a:pt x="5820753" y="3781172"/>
                </a:cubicBezTo>
                <a:cubicBezTo>
                  <a:pt x="5822689" y="3781172"/>
                  <a:pt x="5826557" y="3781172"/>
                  <a:pt x="5828490" y="3783105"/>
                </a:cubicBezTo>
                <a:cubicBezTo>
                  <a:pt x="5830425" y="3785038"/>
                  <a:pt x="5830425" y="3790842"/>
                  <a:pt x="5832358" y="3796643"/>
                </a:cubicBezTo>
                <a:cubicBezTo>
                  <a:pt x="5840095" y="3798578"/>
                  <a:pt x="5853635" y="3792777"/>
                  <a:pt x="5867172" y="3796643"/>
                </a:cubicBezTo>
                <a:cubicBezTo>
                  <a:pt x="5861369" y="3804379"/>
                  <a:pt x="5853635" y="3802446"/>
                  <a:pt x="5847831" y="3804379"/>
                </a:cubicBezTo>
                <a:cubicBezTo>
                  <a:pt x="5840095" y="3806315"/>
                  <a:pt x="5834293" y="3806315"/>
                  <a:pt x="5826557" y="3808248"/>
                </a:cubicBezTo>
                <a:cubicBezTo>
                  <a:pt x="5818820" y="3810183"/>
                  <a:pt x="5813017" y="3812118"/>
                  <a:pt x="5805280" y="3814051"/>
                </a:cubicBezTo>
                <a:cubicBezTo>
                  <a:pt x="5797544" y="3815984"/>
                  <a:pt x="5791743" y="3815984"/>
                  <a:pt x="5784006" y="3817919"/>
                </a:cubicBezTo>
                <a:cubicBezTo>
                  <a:pt x="5776270" y="3819852"/>
                  <a:pt x="5770466" y="3823721"/>
                  <a:pt x="5762732" y="3823721"/>
                </a:cubicBezTo>
                <a:cubicBezTo>
                  <a:pt x="5756928" y="3823721"/>
                  <a:pt x="5749192" y="3823721"/>
                  <a:pt x="5739522" y="3823721"/>
                </a:cubicBezTo>
                <a:cubicBezTo>
                  <a:pt x="5749192" y="3835325"/>
                  <a:pt x="5760797" y="3825656"/>
                  <a:pt x="5768533" y="3831457"/>
                </a:cubicBezTo>
                <a:cubicBezTo>
                  <a:pt x="5766600" y="3831457"/>
                  <a:pt x="5766600" y="3833393"/>
                  <a:pt x="5764665" y="3833393"/>
                </a:cubicBezTo>
                <a:cubicBezTo>
                  <a:pt x="5768533" y="3833393"/>
                  <a:pt x="5770466" y="3833393"/>
                  <a:pt x="5774334" y="3833393"/>
                </a:cubicBezTo>
                <a:cubicBezTo>
                  <a:pt x="5766600" y="3837261"/>
                  <a:pt x="5756928" y="3839194"/>
                  <a:pt x="5747259" y="3839194"/>
                </a:cubicBezTo>
                <a:cubicBezTo>
                  <a:pt x="5727918" y="3843062"/>
                  <a:pt x="5708576" y="3852734"/>
                  <a:pt x="5689235" y="3848866"/>
                </a:cubicBezTo>
                <a:cubicBezTo>
                  <a:pt x="5683432" y="3848866"/>
                  <a:pt x="5677630" y="3850798"/>
                  <a:pt x="5671829" y="3852734"/>
                </a:cubicBezTo>
                <a:cubicBezTo>
                  <a:pt x="5662157" y="3856602"/>
                  <a:pt x="5654421" y="3854667"/>
                  <a:pt x="5646684" y="3854667"/>
                </a:cubicBezTo>
                <a:cubicBezTo>
                  <a:pt x="5644749" y="3856602"/>
                  <a:pt x="5644749" y="3858535"/>
                  <a:pt x="5642816" y="3860470"/>
                </a:cubicBezTo>
                <a:cubicBezTo>
                  <a:pt x="5642816" y="3860470"/>
                  <a:pt x="5644749" y="3862403"/>
                  <a:pt x="5644749" y="3862403"/>
                </a:cubicBezTo>
                <a:cubicBezTo>
                  <a:pt x="5656356" y="3860470"/>
                  <a:pt x="5666026" y="3858535"/>
                  <a:pt x="5679566" y="3856602"/>
                </a:cubicBezTo>
                <a:cubicBezTo>
                  <a:pt x="5671829" y="3864339"/>
                  <a:pt x="5666026" y="3864339"/>
                  <a:pt x="5660224" y="3866272"/>
                </a:cubicBezTo>
                <a:cubicBezTo>
                  <a:pt x="5656356" y="3866272"/>
                  <a:pt x="5654421" y="3868207"/>
                  <a:pt x="5650553" y="3868207"/>
                </a:cubicBezTo>
                <a:cubicBezTo>
                  <a:pt x="5652488" y="3868207"/>
                  <a:pt x="5652488" y="3870140"/>
                  <a:pt x="5654421" y="3870140"/>
                </a:cubicBezTo>
                <a:cubicBezTo>
                  <a:pt x="5658289" y="3872075"/>
                  <a:pt x="5662157" y="3872075"/>
                  <a:pt x="5666026" y="3874008"/>
                </a:cubicBezTo>
                <a:cubicBezTo>
                  <a:pt x="5671829" y="3874008"/>
                  <a:pt x="5675697" y="3872075"/>
                  <a:pt x="5679566" y="3872075"/>
                </a:cubicBezTo>
                <a:cubicBezTo>
                  <a:pt x="5714378" y="3866272"/>
                  <a:pt x="5751125" y="3860470"/>
                  <a:pt x="5785941" y="3854667"/>
                </a:cubicBezTo>
                <a:cubicBezTo>
                  <a:pt x="5793676" y="3852734"/>
                  <a:pt x="5803347" y="3852734"/>
                  <a:pt x="5811084" y="3852734"/>
                </a:cubicBezTo>
                <a:cubicBezTo>
                  <a:pt x="5813017" y="3852734"/>
                  <a:pt x="5816885" y="3854667"/>
                  <a:pt x="5820753" y="3856602"/>
                </a:cubicBezTo>
                <a:cubicBezTo>
                  <a:pt x="5818820" y="3856602"/>
                  <a:pt x="5814952" y="3856602"/>
                  <a:pt x="5811084" y="3858535"/>
                </a:cubicBezTo>
                <a:cubicBezTo>
                  <a:pt x="5830425" y="3856602"/>
                  <a:pt x="5849766" y="3852734"/>
                  <a:pt x="5869108" y="3850798"/>
                </a:cubicBezTo>
                <a:cubicBezTo>
                  <a:pt x="5882645" y="3848866"/>
                  <a:pt x="5898118" y="3848866"/>
                  <a:pt x="5913591" y="3846930"/>
                </a:cubicBezTo>
                <a:cubicBezTo>
                  <a:pt x="5913591" y="3852734"/>
                  <a:pt x="5909723" y="3854667"/>
                  <a:pt x="5907788" y="3854667"/>
                </a:cubicBezTo>
                <a:cubicBezTo>
                  <a:pt x="5884578" y="3858535"/>
                  <a:pt x="5859436" y="3862403"/>
                  <a:pt x="5836226" y="3866272"/>
                </a:cubicBezTo>
                <a:cubicBezTo>
                  <a:pt x="5816885" y="3870140"/>
                  <a:pt x="5797544" y="3870140"/>
                  <a:pt x="5778203" y="3872075"/>
                </a:cubicBezTo>
                <a:cubicBezTo>
                  <a:pt x="5758864" y="3874008"/>
                  <a:pt x="5741455" y="3877876"/>
                  <a:pt x="5722114" y="3881745"/>
                </a:cubicBezTo>
                <a:cubicBezTo>
                  <a:pt x="5708576" y="3885613"/>
                  <a:pt x="5693103" y="3885613"/>
                  <a:pt x="5679566" y="3883677"/>
                </a:cubicBezTo>
                <a:cubicBezTo>
                  <a:pt x="5675697" y="3885613"/>
                  <a:pt x="5673762" y="3885613"/>
                  <a:pt x="5669894" y="3887548"/>
                </a:cubicBezTo>
                <a:cubicBezTo>
                  <a:pt x="5662157" y="3889481"/>
                  <a:pt x="5654421" y="3889481"/>
                  <a:pt x="5646684" y="3895282"/>
                </a:cubicBezTo>
                <a:cubicBezTo>
                  <a:pt x="5666026" y="3893349"/>
                  <a:pt x="5687300" y="3891414"/>
                  <a:pt x="5708576" y="3889481"/>
                </a:cubicBezTo>
                <a:cubicBezTo>
                  <a:pt x="5714378" y="3885613"/>
                  <a:pt x="5720181" y="3883677"/>
                  <a:pt x="5727918" y="3883677"/>
                </a:cubicBezTo>
                <a:cubicBezTo>
                  <a:pt x="5737587" y="3883677"/>
                  <a:pt x="5747259" y="3881745"/>
                  <a:pt x="5756928" y="3881745"/>
                </a:cubicBezTo>
                <a:cubicBezTo>
                  <a:pt x="5772401" y="3879812"/>
                  <a:pt x="5787874" y="3877876"/>
                  <a:pt x="5803347" y="3874008"/>
                </a:cubicBezTo>
                <a:cubicBezTo>
                  <a:pt x="5809149" y="3872075"/>
                  <a:pt x="5816885" y="3870140"/>
                  <a:pt x="5826557" y="3872075"/>
                </a:cubicBezTo>
                <a:cubicBezTo>
                  <a:pt x="5822689" y="3874008"/>
                  <a:pt x="5822689" y="3875943"/>
                  <a:pt x="5820753" y="3875943"/>
                </a:cubicBezTo>
                <a:cubicBezTo>
                  <a:pt x="5805280" y="3879812"/>
                  <a:pt x="5791743" y="3883677"/>
                  <a:pt x="5776270" y="3885613"/>
                </a:cubicBezTo>
                <a:cubicBezTo>
                  <a:pt x="5758864" y="3887548"/>
                  <a:pt x="5743391" y="3891414"/>
                  <a:pt x="5725982" y="3895282"/>
                </a:cubicBezTo>
                <a:cubicBezTo>
                  <a:pt x="5718246" y="3895282"/>
                  <a:pt x="5708576" y="3897218"/>
                  <a:pt x="5698907" y="3899153"/>
                </a:cubicBezTo>
                <a:cubicBezTo>
                  <a:pt x="5698907" y="3897218"/>
                  <a:pt x="5700840" y="3897218"/>
                  <a:pt x="5700840" y="3895282"/>
                </a:cubicBezTo>
                <a:cubicBezTo>
                  <a:pt x="5685367" y="3897218"/>
                  <a:pt x="5669894" y="3901086"/>
                  <a:pt x="5654421" y="3904954"/>
                </a:cubicBezTo>
                <a:cubicBezTo>
                  <a:pt x="5656356" y="3904954"/>
                  <a:pt x="5656356" y="3904954"/>
                  <a:pt x="5656356" y="3904954"/>
                </a:cubicBezTo>
                <a:cubicBezTo>
                  <a:pt x="5667959" y="3906887"/>
                  <a:pt x="5681499" y="3908822"/>
                  <a:pt x="5693103" y="3910755"/>
                </a:cubicBezTo>
                <a:cubicBezTo>
                  <a:pt x="5696972" y="3910755"/>
                  <a:pt x="5700840" y="3910755"/>
                  <a:pt x="5704708" y="3910755"/>
                </a:cubicBezTo>
                <a:cubicBezTo>
                  <a:pt x="5704708" y="3912691"/>
                  <a:pt x="5704708" y="3912691"/>
                  <a:pt x="5704708" y="3914624"/>
                </a:cubicBezTo>
                <a:cubicBezTo>
                  <a:pt x="5704708" y="3916559"/>
                  <a:pt x="5706641" y="3918492"/>
                  <a:pt x="5706641" y="3920427"/>
                </a:cubicBezTo>
                <a:cubicBezTo>
                  <a:pt x="5702773" y="3924295"/>
                  <a:pt x="5698907" y="3926228"/>
                  <a:pt x="5695036" y="3928164"/>
                </a:cubicBezTo>
                <a:cubicBezTo>
                  <a:pt x="5704708" y="3926228"/>
                  <a:pt x="5716313" y="3924295"/>
                  <a:pt x="5727918" y="3922360"/>
                </a:cubicBezTo>
                <a:cubicBezTo>
                  <a:pt x="5727918" y="3922360"/>
                  <a:pt x="5725982" y="3920427"/>
                  <a:pt x="5725982" y="3920427"/>
                </a:cubicBezTo>
                <a:cubicBezTo>
                  <a:pt x="5741455" y="3912691"/>
                  <a:pt x="5758864" y="3908822"/>
                  <a:pt x="5778203" y="3906887"/>
                </a:cubicBezTo>
                <a:cubicBezTo>
                  <a:pt x="5776270" y="3908822"/>
                  <a:pt x="5774334" y="3910755"/>
                  <a:pt x="5774334" y="3910755"/>
                </a:cubicBezTo>
                <a:cubicBezTo>
                  <a:pt x="5770466" y="3910755"/>
                  <a:pt x="5768533" y="3912691"/>
                  <a:pt x="5764665" y="3912691"/>
                </a:cubicBezTo>
                <a:cubicBezTo>
                  <a:pt x="5762732" y="3914624"/>
                  <a:pt x="5760797" y="3914624"/>
                  <a:pt x="5756928" y="3914624"/>
                </a:cubicBezTo>
                <a:cubicBezTo>
                  <a:pt x="5753060" y="3914624"/>
                  <a:pt x="5749192" y="3916559"/>
                  <a:pt x="5745324" y="3918492"/>
                </a:cubicBezTo>
                <a:cubicBezTo>
                  <a:pt x="5745324" y="3918492"/>
                  <a:pt x="5743391" y="3918492"/>
                  <a:pt x="5743391" y="3918492"/>
                </a:cubicBezTo>
                <a:cubicBezTo>
                  <a:pt x="5737587" y="3928164"/>
                  <a:pt x="5729851" y="3930097"/>
                  <a:pt x="5720181" y="3932032"/>
                </a:cubicBezTo>
                <a:cubicBezTo>
                  <a:pt x="5708576" y="3933965"/>
                  <a:pt x="5698907" y="3935900"/>
                  <a:pt x="5687300" y="3941701"/>
                </a:cubicBezTo>
                <a:cubicBezTo>
                  <a:pt x="5696972" y="3945570"/>
                  <a:pt x="5704708" y="3933965"/>
                  <a:pt x="5712445" y="3943637"/>
                </a:cubicBezTo>
                <a:cubicBezTo>
                  <a:pt x="5712445" y="3947505"/>
                  <a:pt x="5708576" y="3947505"/>
                  <a:pt x="5706641" y="3947505"/>
                </a:cubicBezTo>
                <a:cubicBezTo>
                  <a:pt x="5700840" y="3947505"/>
                  <a:pt x="5696972" y="3949438"/>
                  <a:pt x="5693103" y="3949438"/>
                </a:cubicBezTo>
                <a:cubicBezTo>
                  <a:pt x="5693103" y="3953306"/>
                  <a:pt x="5691168" y="3957174"/>
                  <a:pt x="5687300" y="3961043"/>
                </a:cubicBezTo>
                <a:cubicBezTo>
                  <a:pt x="5691168" y="3962978"/>
                  <a:pt x="5695036" y="3966846"/>
                  <a:pt x="5698907" y="3968779"/>
                </a:cubicBezTo>
                <a:cubicBezTo>
                  <a:pt x="5702773" y="3970714"/>
                  <a:pt x="5708576" y="3972647"/>
                  <a:pt x="5712445" y="3974583"/>
                </a:cubicBezTo>
                <a:cubicBezTo>
                  <a:pt x="5710509" y="3980384"/>
                  <a:pt x="5700840" y="3976516"/>
                  <a:pt x="5702773" y="3984252"/>
                </a:cubicBezTo>
                <a:cubicBezTo>
                  <a:pt x="5698907" y="3986187"/>
                  <a:pt x="5696972" y="3988120"/>
                  <a:pt x="5693103" y="3988120"/>
                </a:cubicBezTo>
                <a:cubicBezTo>
                  <a:pt x="5685367" y="3986187"/>
                  <a:pt x="5679566" y="3984252"/>
                  <a:pt x="5671829" y="3982319"/>
                </a:cubicBezTo>
                <a:cubicBezTo>
                  <a:pt x="5660224" y="3976516"/>
                  <a:pt x="5648620" y="3976516"/>
                  <a:pt x="5635080" y="3978449"/>
                </a:cubicBezTo>
                <a:cubicBezTo>
                  <a:pt x="5631211" y="3978449"/>
                  <a:pt x="5627343" y="3978449"/>
                  <a:pt x="5623475" y="3978449"/>
                </a:cubicBezTo>
                <a:cubicBezTo>
                  <a:pt x="5621542" y="3980384"/>
                  <a:pt x="5617674" y="3978449"/>
                  <a:pt x="5617674" y="3980384"/>
                </a:cubicBezTo>
                <a:cubicBezTo>
                  <a:pt x="5613805" y="3988120"/>
                  <a:pt x="5606069" y="3986187"/>
                  <a:pt x="5598332" y="3986187"/>
                </a:cubicBezTo>
                <a:cubicBezTo>
                  <a:pt x="5592531" y="3986187"/>
                  <a:pt x="5586728" y="3986187"/>
                  <a:pt x="5580924" y="3986187"/>
                </a:cubicBezTo>
                <a:cubicBezTo>
                  <a:pt x="5580924" y="3986187"/>
                  <a:pt x="5578991" y="3986187"/>
                  <a:pt x="5578991" y="3986187"/>
                </a:cubicBezTo>
                <a:cubicBezTo>
                  <a:pt x="5575123" y="3988120"/>
                  <a:pt x="5569322" y="3988120"/>
                  <a:pt x="5563518" y="3990053"/>
                </a:cubicBezTo>
                <a:cubicBezTo>
                  <a:pt x="5548045" y="3993922"/>
                  <a:pt x="5532572" y="3997790"/>
                  <a:pt x="5519034" y="4001658"/>
                </a:cubicBezTo>
                <a:cubicBezTo>
                  <a:pt x="5519034" y="4001658"/>
                  <a:pt x="5517099" y="4003593"/>
                  <a:pt x="5515166" y="4003593"/>
                </a:cubicBezTo>
                <a:cubicBezTo>
                  <a:pt x="5519034" y="4003593"/>
                  <a:pt x="5522903" y="4001658"/>
                  <a:pt x="5526771" y="4001658"/>
                </a:cubicBezTo>
                <a:cubicBezTo>
                  <a:pt x="5534507" y="3999725"/>
                  <a:pt x="5536440" y="4003593"/>
                  <a:pt x="5538376" y="4009395"/>
                </a:cubicBezTo>
                <a:cubicBezTo>
                  <a:pt x="5540308" y="4009395"/>
                  <a:pt x="5540308" y="4009395"/>
                  <a:pt x="5540308" y="4009395"/>
                </a:cubicBezTo>
                <a:cubicBezTo>
                  <a:pt x="5553849" y="4013263"/>
                  <a:pt x="5565453" y="4015198"/>
                  <a:pt x="5577056" y="4007462"/>
                </a:cubicBezTo>
                <a:cubicBezTo>
                  <a:pt x="5578991" y="4005526"/>
                  <a:pt x="5582859" y="4005526"/>
                  <a:pt x="5586728" y="4005526"/>
                </a:cubicBezTo>
                <a:cubicBezTo>
                  <a:pt x="5592531" y="4007462"/>
                  <a:pt x="5600265" y="4007462"/>
                  <a:pt x="5606069" y="4007462"/>
                </a:cubicBezTo>
                <a:cubicBezTo>
                  <a:pt x="5613805" y="4005526"/>
                  <a:pt x="5619607" y="4003593"/>
                  <a:pt x="5627343" y="4001658"/>
                </a:cubicBezTo>
                <a:cubicBezTo>
                  <a:pt x="5652488" y="3995857"/>
                  <a:pt x="5675697" y="3991989"/>
                  <a:pt x="5700840" y="3988120"/>
                </a:cubicBezTo>
                <a:cubicBezTo>
                  <a:pt x="5702773" y="3988120"/>
                  <a:pt x="5706641" y="3986187"/>
                  <a:pt x="5712445" y="3986187"/>
                </a:cubicBezTo>
                <a:cubicBezTo>
                  <a:pt x="5706641" y="3993922"/>
                  <a:pt x="5702773" y="3995857"/>
                  <a:pt x="5696972" y="3997790"/>
                </a:cubicBezTo>
                <a:cubicBezTo>
                  <a:pt x="5696972" y="3999725"/>
                  <a:pt x="5695036" y="3999725"/>
                  <a:pt x="5693103" y="3999725"/>
                </a:cubicBezTo>
                <a:cubicBezTo>
                  <a:pt x="5698907" y="3999725"/>
                  <a:pt x="5704708" y="4001658"/>
                  <a:pt x="5710509" y="4001658"/>
                </a:cubicBezTo>
                <a:cubicBezTo>
                  <a:pt x="5725982" y="4003593"/>
                  <a:pt x="5739522" y="4005526"/>
                  <a:pt x="5753060" y="4007462"/>
                </a:cubicBezTo>
                <a:cubicBezTo>
                  <a:pt x="5754993" y="4007462"/>
                  <a:pt x="5756928" y="4009395"/>
                  <a:pt x="5758864" y="4011330"/>
                </a:cubicBezTo>
                <a:cubicBezTo>
                  <a:pt x="5758864" y="4013263"/>
                  <a:pt x="5760797" y="4015198"/>
                  <a:pt x="5760797" y="4017131"/>
                </a:cubicBezTo>
                <a:cubicBezTo>
                  <a:pt x="5754993" y="4020999"/>
                  <a:pt x="5749192" y="4024868"/>
                  <a:pt x="5743391" y="4028736"/>
                </a:cubicBezTo>
                <a:cubicBezTo>
                  <a:pt x="5729851" y="4024868"/>
                  <a:pt x="5714378" y="4024868"/>
                  <a:pt x="5698907" y="4028736"/>
                </a:cubicBezTo>
                <a:cubicBezTo>
                  <a:pt x="5704708" y="4032604"/>
                  <a:pt x="5710509" y="4030671"/>
                  <a:pt x="5716313" y="4030671"/>
                </a:cubicBezTo>
                <a:cubicBezTo>
                  <a:pt x="5722114" y="4030671"/>
                  <a:pt x="5725982" y="4032604"/>
                  <a:pt x="5733719" y="4034539"/>
                </a:cubicBezTo>
                <a:cubicBezTo>
                  <a:pt x="5729851" y="4036472"/>
                  <a:pt x="5729851" y="4038408"/>
                  <a:pt x="5727918" y="4038408"/>
                </a:cubicBezTo>
                <a:cubicBezTo>
                  <a:pt x="5712445" y="4038408"/>
                  <a:pt x="5695036" y="4040341"/>
                  <a:pt x="5679566" y="4040341"/>
                </a:cubicBezTo>
                <a:cubicBezTo>
                  <a:pt x="5673762" y="4040341"/>
                  <a:pt x="5666026" y="4038408"/>
                  <a:pt x="5658289" y="4036472"/>
                </a:cubicBezTo>
                <a:cubicBezTo>
                  <a:pt x="5650553" y="4034539"/>
                  <a:pt x="5642816" y="4034539"/>
                  <a:pt x="5635080" y="4038408"/>
                </a:cubicBezTo>
                <a:cubicBezTo>
                  <a:pt x="5625410" y="4044209"/>
                  <a:pt x="5613805" y="4044209"/>
                  <a:pt x="5604133" y="4044209"/>
                </a:cubicBezTo>
                <a:cubicBezTo>
                  <a:pt x="5575123" y="4046144"/>
                  <a:pt x="5544177" y="4046144"/>
                  <a:pt x="5515166" y="4048077"/>
                </a:cubicBezTo>
                <a:cubicBezTo>
                  <a:pt x="5505497" y="4051945"/>
                  <a:pt x="5491956" y="4048077"/>
                  <a:pt x="5484220" y="4059682"/>
                </a:cubicBezTo>
                <a:cubicBezTo>
                  <a:pt x="5476483" y="4061617"/>
                  <a:pt x="5470680" y="4063550"/>
                  <a:pt x="5462946" y="4065483"/>
                </a:cubicBezTo>
                <a:cubicBezTo>
                  <a:pt x="5455209" y="4067418"/>
                  <a:pt x="5445537" y="4069354"/>
                  <a:pt x="5437803" y="4071287"/>
                </a:cubicBezTo>
                <a:cubicBezTo>
                  <a:pt x="5430064" y="4075155"/>
                  <a:pt x="5422328" y="4077088"/>
                  <a:pt x="5412658" y="4077088"/>
                </a:cubicBezTo>
                <a:cubicBezTo>
                  <a:pt x="5404922" y="4079023"/>
                  <a:pt x="5397185" y="4080959"/>
                  <a:pt x="5389449" y="4084824"/>
                </a:cubicBezTo>
                <a:cubicBezTo>
                  <a:pt x="5383645" y="4086760"/>
                  <a:pt x="5375911" y="4088693"/>
                  <a:pt x="5368175" y="4090628"/>
                </a:cubicBezTo>
                <a:cubicBezTo>
                  <a:pt x="5354635" y="4094496"/>
                  <a:pt x="5339162" y="4096429"/>
                  <a:pt x="5323689" y="4102233"/>
                </a:cubicBezTo>
                <a:cubicBezTo>
                  <a:pt x="5315952" y="4104166"/>
                  <a:pt x="5310151" y="4104166"/>
                  <a:pt x="5302414" y="4104166"/>
                </a:cubicBezTo>
                <a:cubicBezTo>
                  <a:pt x="5300479" y="4104166"/>
                  <a:pt x="5300479" y="4104166"/>
                  <a:pt x="5298546" y="4102233"/>
                </a:cubicBezTo>
                <a:cubicBezTo>
                  <a:pt x="5296611" y="4102233"/>
                  <a:pt x="5294678" y="4104166"/>
                  <a:pt x="5292745" y="4104166"/>
                </a:cubicBezTo>
                <a:cubicBezTo>
                  <a:pt x="5283073" y="4111902"/>
                  <a:pt x="5273404" y="4119639"/>
                  <a:pt x="5259864" y="4119639"/>
                </a:cubicBezTo>
                <a:cubicBezTo>
                  <a:pt x="5255995" y="4119639"/>
                  <a:pt x="5254062" y="4117706"/>
                  <a:pt x="5250194" y="4117706"/>
                </a:cubicBezTo>
                <a:lnTo>
                  <a:pt x="5253096" y="4114805"/>
                </a:lnTo>
                <a:lnTo>
                  <a:pt x="5255995" y="4113838"/>
                </a:lnTo>
                <a:cubicBezTo>
                  <a:pt x="5255995" y="4113838"/>
                  <a:pt x="5254062" y="4113838"/>
                  <a:pt x="5254062" y="4113838"/>
                </a:cubicBezTo>
                <a:lnTo>
                  <a:pt x="5253096" y="4114805"/>
                </a:lnTo>
                <a:lnTo>
                  <a:pt x="5246050" y="4117154"/>
                </a:lnTo>
                <a:lnTo>
                  <a:pt x="5244393" y="4113838"/>
                </a:lnTo>
                <a:cubicBezTo>
                  <a:pt x="5244393" y="4113838"/>
                  <a:pt x="5242458" y="4113838"/>
                  <a:pt x="5242458" y="4113838"/>
                </a:cubicBezTo>
                <a:lnTo>
                  <a:pt x="5242458" y="4118672"/>
                </a:lnTo>
                <a:lnTo>
                  <a:pt x="5240522" y="4119639"/>
                </a:lnTo>
                <a:cubicBezTo>
                  <a:pt x="5242458" y="4119639"/>
                  <a:pt x="5242458" y="4119639"/>
                  <a:pt x="5242458" y="4119639"/>
                </a:cubicBezTo>
                <a:cubicBezTo>
                  <a:pt x="5244393" y="4121574"/>
                  <a:pt x="5244393" y="4121574"/>
                  <a:pt x="5246326" y="4123507"/>
                </a:cubicBezTo>
                <a:cubicBezTo>
                  <a:pt x="5244393" y="4127375"/>
                  <a:pt x="5242458" y="4129311"/>
                  <a:pt x="5238589" y="4129311"/>
                </a:cubicBezTo>
                <a:cubicBezTo>
                  <a:pt x="5232786" y="4129311"/>
                  <a:pt x="5226985" y="4129311"/>
                  <a:pt x="5223116" y="4133179"/>
                </a:cubicBezTo>
                <a:cubicBezTo>
                  <a:pt x="5221183" y="4135112"/>
                  <a:pt x="5221183" y="4135112"/>
                  <a:pt x="5219248" y="4135112"/>
                </a:cubicBezTo>
                <a:cubicBezTo>
                  <a:pt x="5213445" y="4137047"/>
                  <a:pt x="5203775" y="4133179"/>
                  <a:pt x="5197974" y="4138980"/>
                </a:cubicBezTo>
                <a:cubicBezTo>
                  <a:pt x="5192170" y="4144784"/>
                  <a:pt x="5186369" y="4146717"/>
                  <a:pt x="5180566" y="4148652"/>
                </a:cubicBezTo>
                <a:cubicBezTo>
                  <a:pt x="5178633" y="4150585"/>
                  <a:pt x="5176697" y="4152518"/>
                  <a:pt x="5174764" y="4156388"/>
                </a:cubicBezTo>
                <a:cubicBezTo>
                  <a:pt x="5151555" y="4166058"/>
                  <a:pt x="5126410" y="4177663"/>
                  <a:pt x="5101268" y="4189267"/>
                </a:cubicBezTo>
                <a:cubicBezTo>
                  <a:pt x="5099335" y="4189267"/>
                  <a:pt x="5097399" y="4189267"/>
                  <a:pt x="5095466" y="4191200"/>
                </a:cubicBezTo>
                <a:cubicBezTo>
                  <a:pt x="5081926" y="4204741"/>
                  <a:pt x="5064520" y="4208609"/>
                  <a:pt x="5049047" y="4214410"/>
                </a:cubicBezTo>
                <a:cubicBezTo>
                  <a:pt x="5043244" y="4216345"/>
                  <a:pt x="5039375" y="4220214"/>
                  <a:pt x="5035507" y="4224082"/>
                </a:cubicBezTo>
                <a:cubicBezTo>
                  <a:pt x="5031641" y="4231818"/>
                  <a:pt x="5023905" y="4235687"/>
                  <a:pt x="5014233" y="4241488"/>
                </a:cubicBezTo>
                <a:cubicBezTo>
                  <a:pt x="5031641" y="4241488"/>
                  <a:pt x="5045179" y="4237620"/>
                  <a:pt x="5058717" y="4229883"/>
                </a:cubicBezTo>
                <a:cubicBezTo>
                  <a:pt x="5068389" y="4224082"/>
                  <a:pt x="5076125" y="4222146"/>
                  <a:pt x="5085794" y="4220214"/>
                </a:cubicBezTo>
                <a:cubicBezTo>
                  <a:pt x="5087730" y="4220214"/>
                  <a:pt x="5091598" y="4218278"/>
                  <a:pt x="5093531" y="4218278"/>
                </a:cubicBezTo>
                <a:cubicBezTo>
                  <a:pt x="5116741" y="4210542"/>
                  <a:pt x="5138017" y="4204741"/>
                  <a:pt x="5161224" y="4197004"/>
                </a:cubicBezTo>
                <a:cubicBezTo>
                  <a:pt x="5167028" y="4195069"/>
                  <a:pt x="5172829" y="4195069"/>
                  <a:pt x="5180566" y="4195069"/>
                </a:cubicBezTo>
                <a:cubicBezTo>
                  <a:pt x="5188302" y="4189267"/>
                  <a:pt x="5199907" y="4185399"/>
                  <a:pt x="5211512" y="4181531"/>
                </a:cubicBezTo>
                <a:cubicBezTo>
                  <a:pt x="5230853" y="4175727"/>
                  <a:pt x="5248259" y="4167993"/>
                  <a:pt x="5267600" y="4162190"/>
                </a:cubicBezTo>
                <a:cubicBezTo>
                  <a:pt x="5277270" y="4158321"/>
                  <a:pt x="5286941" y="4154453"/>
                  <a:pt x="5300479" y="4154453"/>
                </a:cubicBezTo>
                <a:cubicBezTo>
                  <a:pt x="5296611" y="4158321"/>
                  <a:pt x="5292745" y="4162190"/>
                  <a:pt x="5288877" y="4166058"/>
                </a:cubicBezTo>
                <a:cubicBezTo>
                  <a:pt x="5294678" y="4166058"/>
                  <a:pt x="5298546" y="4166058"/>
                  <a:pt x="5304350" y="4166058"/>
                </a:cubicBezTo>
                <a:cubicBezTo>
                  <a:pt x="5304350" y="4169926"/>
                  <a:pt x="5302414" y="4171859"/>
                  <a:pt x="5302414" y="4177663"/>
                </a:cubicBezTo>
                <a:cubicBezTo>
                  <a:pt x="5298546" y="4175727"/>
                  <a:pt x="5294678" y="4175727"/>
                  <a:pt x="5292745" y="4173794"/>
                </a:cubicBezTo>
                <a:cubicBezTo>
                  <a:pt x="5290810" y="4175727"/>
                  <a:pt x="5288877" y="4175727"/>
                  <a:pt x="5288877" y="4175727"/>
                </a:cubicBezTo>
                <a:cubicBezTo>
                  <a:pt x="5283073" y="4185399"/>
                  <a:pt x="5273404" y="4193136"/>
                  <a:pt x="5261799" y="4197004"/>
                </a:cubicBezTo>
                <a:cubicBezTo>
                  <a:pt x="5238589" y="4204741"/>
                  <a:pt x="5215380" y="4210542"/>
                  <a:pt x="5192170" y="4218278"/>
                </a:cubicBezTo>
                <a:cubicBezTo>
                  <a:pt x="5188302" y="4218278"/>
                  <a:pt x="5182501" y="4220214"/>
                  <a:pt x="5182501" y="4214410"/>
                </a:cubicBezTo>
                <a:cubicBezTo>
                  <a:pt x="5170896" y="4216345"/>
                  <a:pt x="5159291" y="4218278"/>
                  <a:pt x="5149620" y="4222146"/>
                </a:cubicBezTo>
                <a:cubicBezTo>
                  <a:pt x="5143818" y="4224082"/>
                  <a:pt x="5136082" y="4226015"/>
                  <a:pt x="5132214" y="4231818"/>
                </a:cubicBezTo>
                <a:cubicBezTo>
                  <a:pt x="5126410" y="4237620"/>
                  <a:pt x="5120609" y="4241488"/>
                  <a:pt x="5112872" y="4243423"/>
                </a:cubicBezTo>
                <a:cubicBezTo>
                  <a:pt x="5118676" y="4241488"/>
                  <a:pt x="5124477" y="4241488"/>
                  <a:pt x="5130281" y="4239552"/>
                </a:cubicBezTo>
                <a:cubicBezTo>
                  <a:pt x="5122542" y="4249224"/>
                  <a:pt x="5118676" y="4251157"/>
                  <a:pt x="5109004" y="4251157"/>
                </a:cubicBezTo>
                <a:cubicBezTo>
                  <a:pt x="5107071" y="4253093"/>
                  <a:pt x="5105136" y="4251157"/>
                  <a:pt x="5101268" y="4249224"/>
                </a:cubicBezTo>
                <a:cubicBezTo>
                  <a:pt x="5097399" y="4251157"/>
                  <a:pt x="5091598" y="4253093"/>
                  <a:pt x="5085794" y="4255028"/>
                </a:cubicBezTo>
                <a:cubicBezTo>
                  <a:pt x="5085794" y="4255028"/>
                  <a:pt x="5085794" y="4256961"/>
                  <a:pt x="5085794" y="4256961"/>
                </a:cubicBezTo>
                <a:cubicBezTo>
                  <a:pt x="5079993" y="4258894"/>
                  <a:pt x="5074190" y="4264697"/>
                  <a:pt x="5066453" y="4262762"/>
                </a:cubicBezTo>
                <a:cubicBezTo>
                  <a:pt x="5066453" y="4262762"/>
                  <a:pt x="5068389" y="4260829"/>
                  <a:pt x="5068389" y="4260829"/>
                </a:cubicBezTo>
                <a:cubicBezTo>
                  <a:pt x="5054848" y="4266633"/>
                  <a:pt x="5039375" y="4270499"/>
                  <a:pt x="5025838" y="4276302"/>
                </a:cubicBezTo>
                <a:cubicBezTo>
                  <a:pt x="4998760" y="4285972"/>
                  <a:pt x="4971682" y="4297576"/>
                  <a:pt x="4944607" y="4307248"/>
                </a:cubicBezTo>
                <a:cubicBezTo>
                  <a:pt x="4905924" y="4322721"/>
                  <a:pt x="4867242" y="4336259"/>
                  <a:pt x="4828559" y="4351732"/>
                </a:cubicBezTo>
                <a:cubicBezTo>
                  <a:pt x="4820823" y="4355600"/>
                  <a:pt x="4811153" y="4359468"/>
                  <a:pt x="4805350" y="4365270"/>
                </a:cubicBezTo>
                <a:cubicBezTo>
                  <a:pt x="4803417" y="4367205"/>
                  <a:pt x="4799548" y="4369138"/>
                  <a:pt x="4795680" y="4371073"/>
                </a:cubicBezTo>
                <a:cubicBezTo>
                  <a:pt x="4787944" y="4374941"/>
                  <a:pt x="4778272" y="4378810"/>
                  <a:pt x="4772471" y="4384611"/>
                </a:cubicBezTo>
                <a:cubicBezTo>
                  <a:pt x="4768602" y="4388479"/>
                  <a:pt x="4760866" y="4390414"/>
                  <a:pt x="4753129" y="4394283"/>
                </a:cubicBezTo>
                <a:cubicBezTo>
                  <a:pt x="4718315" y="4407820"/>
                  <a:pt x="4683503" y="4423293"/>
                  <a:pt x="4648686" y="4438766"/>
                </a:cubicBezTo>
                <a:cubicBezTo>
                  <a:pt x="4637084" y="4442635"/>
                  <a:pt x="4627412" y="4448436"/>
                  <a:pt x="4617743" y="4454239"/>
                </a:cubicBezTo>
                <a:cubicBezTo>
                  <a:pt x="4598402" y="4463909"/>
                  <a:pt x="4577127" y="4473581"/>
                  <a:pt x="4557786" y="4483250"/>
                </a:cubicBezTo>
                <a:cubicBezTo>
                  <a:pt x="4553918" y="4485186"/>
                  <a:pt x="4550050" y="4487118"/>
                  <a:pt x="4548114" y="4490987"/>
                </a:cubicBezTo>
                <a:cubicBezTo>
                  <a:pt x="4550050" y="4492922"/>
                  <a:pt x="4551982" y="4492922"/>
                  <a:pt x="4553918" y="4494855"/>
                </a:cubicBezTo>
                <a:cubicBezTo>
                  <a:pt x="4550050" y="4496790"/>
                  <a:pt x="4546181" y="4500659"/>
                  <a:pt x="4540378" y="4498723"/>
                </a:cubicBezTo>
                <a:cubicBezTo>
                  <a:pt x="4530708" y="4494855"/>
                  <a:pt x="4521036" y="4500659"/>
                  <a:pt x="4517168" y="4506460"/>
                </a:cubicBezTo>
                <a:cubicBezTo>
                  <a:pt x="4509434" y="4518065"/>
                  <a:pt x="4497827" y="4523868"/>
                  <a:pt x="4486225" y="4529669"/>
                </a:cubicBezTo>
                <a:cubicBezTo>
                  <a:pt x="4470751" y="4539339"/>
                  <a:pt x="4453343" y="4547075"/>
                  <a:pt x="4435937" y="4556747"/>
                </a:cubicBezTo>
                <a:cubicBezTo>
                  <a:pt x="4418531" y="4568352"/>
                  <a:pt x="4399190" y="4578021"/>
                  <a:pt x="4381782" y="4587693"/>
                </a:cubicBezTo>
                <a:cubicBezTo>
                  <a:pt x="4379849" y="4589626"/>
                  <a:pt x="4375980" y="4591561"/>
                  <a:pt x="4374045" y="4593494"/>
                </a:cubicBezTo>
                <a:cubicBezTo>
                  <a:pt x="4366309" y="4599298"/>
                  <a:pt x="4356639" y="4607032"/>
                  <a:pt x="4346967" y="4610903"/>
                </a:cubicBezTo>
                <a:cubicBezTo>
                  <a:pt x="4319890" y="4622505"/>
                  <a:pt x="4261868" y="4748222"/>
                  <a:pt x="4234790" y="4763695"/>
                </a:cubicBezTo>
                <a:cubicBezTo>
                  <a:pt x="4225121" y="4767564"/>
                  <a:pt x="4213514" y="4773367"/>
                  <a:pt x="4203844" y="4777233"/>
                </a:cubicBezTo>
                <a:cubicBezTo>
                  <a:pt x="4201911" y="4779168"/>
                  <a:pt x="4198043" y="4779168"/>
                  <a:pt x="4196108" y="4779168"/>
                </a:cubicBezTo>
                <a:cubicBezTo>
                  <a:pt x="4190307" y="4777233"/>
                  <a:pt x="4186438" y="4777233"/>
                  <a:pt x="4182570" y="4779168"/>
                </a:cubicBezTo>
                <a:cubicBezTo>
                  <a:pt x="4180635" y="4779168"/>
                  <a:pt x="4180635" y="4781101"/>
                  <a:pt x="4178702" y="4781101"/>
                </a:cubicBezTo>
                <a:cubicBezTo>
                  <a:pt x="4178702" y="4783037"/>
                  <a:pt x="4176767" y="4783037"/>
                  <a:pt x="4176767" y="4783037"/>
                </a:cubicBezTo>
                <a:cubicBezTo>
                  <a:pt x="4151624" y="4798510"/>
                  <a:pt x="4124546" y="4812050"/>
                  <a:pt x="4099404" y="4827520"/>
                </a:cubicBezTo>
                <a:cubicBezTo>
                  <a:pt x="4083931" y="4835257"/>
                  <a:pt x="4068458" y="4844929"/>
                  <a:pt x="4052985" y="4852665"/>
                </a:cubicBezTo>
                <a:cubicBezTo>
                  <a:pt x="4033643" y="4862335"/>
                  <a:pt x="4018170" y="4873939"/>
                  <a:pt x="4002697" y="4887477"/>
                </a:cubicBezTo>
                <a:cubicBezTo>
                  <a:pt x="3991093" y="4899084"/>
                  <a:pt x="3977555" y="4908754"/>
                  <a:pt x="3964015" y="4918426"/>
                </a:cubicBezTo>
                <a:cubicBezTo>
                  <a:pt x="3944676" y="4933896"/>
                  <a:pt x="3923399" y="4949369"/>
                  <a:pt x="3904058" y="4964842"/>
                </a:cubicBezTo>
                <a:cubicBezTo>
                  <a:pt x="3884717" y="4980315"/>
                  <a:pt x="3865376" y="4993853"/>
                  <a:pt x="3844101" y="5005460"/>
                </a:cubicBezTo>
                <a:cubicBezTo>
                  <a:pt x="3832497" y="5011261"/>
                  <a:pt x="3820892" y="5018998"/>
                  <a:pt x="3809287" y="5026734"/>
                </a:cubicBezTo>
                <a:cubicBezTo>
                  <a:pt x="3786078" y="5042207"/>
                  <a:pt x="3760935" y="5053812"/>
                  <a:pt x="3733857" y="5063482"/>
                </a:cubicBezTo>
                <a:cubicBezTo>
                  <a:pt x="3729989" y="5063482"/>
                  <a:pt x="3728056" y="5065417"/>
                  <a:pt x="3724188" y="5065417"/>
                </a:cubicBezTo>
                <a:cubicBezTo>
                  <a:pt x="3704847" y="5065417"/>
                  <a:pt x="3687441" y="5077019"/>
                  <a:pt x="3670032" y="5082823"/>
                </a:cubicBezTo>
                <a:cubicBezTo>
                  <a:pt x="3650691" y="5088626"/>
                  <a:pt x="3633283" y="5094428"/>
                  <a:pt x="3615877" y="5096361"/>
                </a:cubicBezTo>
                <a:cubicBezTo>
                  <a:pt x="3608140" y="5098296"/>
                  <a:pt x="3598471" y="5098296"/>
                  <a:pt x="3590734" y="5096361"/>
                </a:cubicBezTo>
                <a:cubicBezTo>
                  <a:pt x="3590734" y="5096361"/>
                  <a:pt x="3588799" y="5098296"/>
                  <a:pt x="3586866" y="5100229"/>
                </a:cubicBezTo>
                <a:cubicBezTo>
                  <a:pt x="3579129" y="5106032"/>
                  <a:pt x="3573328" y="5113769"/>
                  <a:pt x="3567525" y="5123438"/>
                </a:cubicBezTo>
                <a:cubicBezTo>
                  <a:pt x="3555920" y="5133110"/>
                  <a:pt x="3550119" y="5146648"/>
                  <a:pt x="3540447" y="5156320"/>
                </a:cubicBezTo>
                <a:cubicBezTo>
                  <a:pt x="3538514" y="5156320"/>
                  <a:pt x="3538514" y="5158253"/>
                  <a:pt x="3536579" y="5160188"/>
                </a:cubicBezTo>
                <a:cubicBezTo>
                  <a:pt x="3517237" y="5177594"/>
                  <a:pt x="3501764" y="5198871"/>
                  <a:pt x="3484358" y="5218209"/>
                </a:cubicBezTo>
                <a:cubicBezTo>
                  <a:pt x="3482423" y="5220145"/>
                  <a:pt x="3480490" y="5220145"/>
                  <a:pt x="3478555" y="5222078"/>
                </a:cubicBezTo>
                <a:cubicBezTo>
                  <a:pt x="3478555" y="5218209"/>
                  <a:pt x="3482423" y="5216277"/>
                  <a:pt x="3484358" y="5212408"/>
                </a:cubicBezTo>
                <a:cubicBezTo>
                  <a:pt x="3505633" y="5185330"/>
                  <a:pt x="3524974" y="5160188"/>
                  <a:pt x="3546248" y="5135043"/>
                </a:cubicBezTo>
                <a:cubicBezTo>
                  <a:pt x="3557855" y="5119570"/>
                  <a:pt x="3569458" y="5106032"/>
                  <a:pt x="3581065" y="5092495"/>
                </a:cubicBezTo>
                <a:cubicBezTo>
                  <a:pt x="3577197" y="5092495"/>
                  <a:pt x="3571393" y="5092495"/>
                  <a:pt x="3567525" y="5092495"/>
                </a:cubicBezTo>
                <a:cubicBezTo>
                  <a:pt x="3565589" y="5098296"/>
                  <a:pt x="3561723" y="5102164"/>
                  <a:pt x="3555920" y="5102164"/>
                </a:cubicBezTo>
                <a:cubicBezTo>
                  <a:pt x="3557855" y="5098296"/>
                  <a:pt x="3559788" y="5096361"/>
                  <a:pt x="3561723" y="5092495"/>
                </a:cubicBezTo>
                <a:cubicBezTo>
                  <a:pt x="3559788" y="5092495"/>
                  <a:pt x="3559788" y="5092495"/>
                  <a:pt x="3557855" y="5092495"/>
                </a:cubicBezTo>
                <a:cubicBezTo>
                  <a:pt x="3553987" y="5096361"/>
                  <a:pt x="3550119" y="5100229"/>
                  <a:pt x="3548183" y="5106032"/>
                </a:cubicBezTo>
                <a:cubicBezTo>
                  <a:pt x="3548183" y="5111836"/>
                  <a:pt x="3546248" y="5113769"/>
                  <a:pt x="3542382" y="5115702"/>
                </a:cubicBezTo>
                <a:cubicBezTo>
                  <a:pt x="3534646" y="5117637"/>
                  <a:pt x="3530777" y="5123438"/>
                  <a:pt x="3526909" y="5129242"/>
                </a:cubicBezTo>
                <a:cubicBezTo>
                  <a:pt x="3513372" y="5144713"/>
                  <a:pt x="3503700" y="5162121"/>
                  <a:pt x="3490162" y="5175661"/>
                </a:cubicBezTo>
                <a:cubicBezTo>
                  <a:pt x="3486294" y="5181462"/>
                  <a:pt x="3478555" y="5185330"/>
                  <a:pt x="3478555" y="5195000"/>
                </a:cubicBezTo>
                <a:cubicBezTo>
                  <a:pt x="3472754" y="5195000"/>
                  <a:pt x="3470821" y="5200804"/>
                  <a:pt x="3468885" y="5204672"/>
                </a:cubicBezTo>
                <a:cubicBezTo>
                  <a:pt x="3463084" y="5208540"/>
                  <a:pt x="3459214" y="5212408"/>
                  <a:pt x="3455348" y="5218209"/>
                </a:cubicBezTo>
                <a:cubicBezTo>
                  <a:pt x="3449544" y="5224013"/>
                  <a:pt x="3445676" y="5229814"/>
                  <a:pt x="3439875" y="5235618"/>
                </a:cubicBezTo>
                <a:lnTo>
                  <a:pt x="3430203" y="5234005"/>
                </a:lnTo>
                <a:lnTo>
                  <a:pt x="3432138" y="5231747"/>
                </a:lnTo>
                <a:lnTo>
                  <a:pt x="3429777" y="5233934"/>
                </a:lnTo>
                <a:lnTo>
                  <a:pt x="3428270" y="5233683"/>
                </a:lnTo>
                <a:cubicBezTo>
                  <a:pt x="3434071" y="5218209"/>
                  <a:pt x="3443743" y="5206605"/>
                  <a:pt x="3453412" y="5195000"/>
                </a:cubicBezTo>
                <a:cubicBezTo>
                  <a:pt x="3466952" y="5173726"/>
                  <a:pt x="3482423" y="5154384"/>
                  <a:pt x="3497896" y="5135043"/>
                </a:cubicBezTo>
                <a:cubicBezTo>
                  <a:pt x="3497896" y="5135043"/>
                  <a:pt x="3497896" y="5133110"/>
                  <a:pt x="3499831" y="5129242"/>
                </a:cubicBezTo>
                <a:cubicBezTo>
                  <a:pt x="3492095" y="5133110"/>
                  <a:pt x="3490162" y="5138911"/>
                  <a:pt x="3486294" y="5142780"/>
                </a:cubicBezTo>
                <a:cubicBezTo>
                  <a:pt x="3488227" y="5138911"/>
                  <a:pt x="3488227" y="5133110"/>
                  <a:pt x="3488227" y="5129242"/>
                </a:cubicBezTo>
                <a:cubicBezTo>
                  <a:pt x="3486294" y="5129242"/>
                  <a:pt x="3484358" y="5129242"/>
                  <a:pt x="3484358" y="5129242"/>
                </a:cubicBezTo>
                <a:cubicBezTo>
                  <a:pt x="3474689" y="5125374"/>
                  <a:pt x="3468885" y="5129242"/>
                  <a:pt x="3463084" y="5136978"/>
                </a:cubicBezTo>
                <a:cubicBezTo>
                  <a:pt x="3451479" y="5152451"/>
                  <a:pt x="3439875" y="5167922"/>
                  <a:pt x="3428270" y="5183395"/>
                </a:cubicBezTo>
                <a:cubicBezTo>
                  <a:pt x="3426337" y="5185330"/>
                  <a:pt x="3426337" y="5185330"/>
                  <a:pt x="3426337" y="5189199"/>
                </a:cubicBezTo>
                <a:cubicBezTo>
                  <a:pt x="3434071" y="5185330"/>
                  <a:pt x="3436006" y="5175661"/>
                  <a:pt x="3443743" y="5173726"/>
                </a:cubicBezTo>
                <a:cubicBezTo>
                  <a:pt x="3443743" y="5183395"/>
                  <a:pt x="3443743" y="5183395"/>
                  <a:pt x="3439875" y="5191132"/>
                </a:cubicBezTo>
                <a:cubicBezTo>
                  <a:pt x="3443743" y="5187263"/>
                  <a:pt x="3447611" y="5185330"/>
                  <a:pt x="3449544" y="5181462"/>
                </a:cubicBezTo>
                <a:cubicBezTo>
                  <a:pt x="3455348" y="5171790"/>
                  <a:pt x="3463084" y="5162121"/>
                  <a:pt x="3470821" y="5152451"/>
                </a:cubicBezTo>
                <a:cubicBezTo>
                  <a:pt x="3474689" y="5148583"/>
                  <a:pt x="3478555" y="5142780"/>
                  <a:pt x="3484358" y="5142780"/>
                </a:cubicBezTo>
                <a:cubicBezTo>
                  <a:pt x="3470821" y="5162121"/>
                  <a:pt x="3455348" y="5181462"/>
                  <a:pt x="3441808" y="5200804"/>
                </a:cubicBezTo>
                <a:cubicBezTo>
                  <a:pt x="3439875" y="5202736"/>
                  <a:pt x="3436006" y="5204672"/>
                  <a:pt x="3434071" y="5206605"/>
                </a:cubicBezTo>
                <a:cubicBezTo>
                  <a:pt x="3434071" y="5204672"/>
                  <a:pt x="3434071" y="5204672"/>
                  <a:pt x="3434071" y="5202736"/>
                </a:cubicBezTo>
                <a:cubicBezTo>
                  <a:pt x="3436006" y="5200804"/>
                  <a:pt x="3437939" y="5196935"/>
                  <a:pt x="3437939" y="5193067"/>
                </a:cubicBezTo>
                <a:cubicBezTo>
                  <a:pt x="3434071" y="5195000"/>
                  <a:pt x="3432138" y="5198871"/>
                  <a:pt x="3432138" y="5202736"/>
                </a:cubicBezTo>
                <a:cubicBezTo>
                  <a:pt x="3426337" y="5204672"/>
                  <a:pt x="3420533" y="5210473"/>
                  <a:pt x="3422466" y="5218209"/>
                </a:cubicBezTo>
                <a:cubicBezTo>
                  <a:pt x="3424402" y="5216277"/>
                  <a:pt x="3426337" y="5216277"/>
                  <a:pt x="3428270" y="5214341"/>
                </a:cubicBezTo>
                <a:cubicBezTo>
                  <a:pt x="3422466" y="5229814"/>
                  <a:pt x="3412797" y="5243354"/>
                  <a:pt x="3399257" y="5253024"/>
                </a:cubicBezTo>
                <a:cubicBezTo>
                  <a:pt x="3401192" y="5251088"/>
                  <a:pt x="3401192" y="5251088"/>
                  <a:pt x="3401192" y="5249156"/>
                </a:cubicBezTo>
                <a:cubicBezTo>
                  <a:pt x="3399257" y="5251088"/>
                  <a:pt x="3395389" y="5253024"/>
                  <a:pt x="3393456" y="5254957"/>
                </a:cubicBezTo>
                <a:cubicBezTo>
                  <a:pt x="3389587" y="5260760"/>
                  <a:pt x="3385719" y="5266564"/>
                  <a:pt x="3381851" y="5272365"/>
                </a:cubicBezTo>
                <a:cubicBezTo>
                  <a:pt x="3376050" y="5280102"/>
                  <a:pt x="3370246" y="5287838"/>
                  <a:pt x="3364445" y="5295575"/>
                </a:cubicBezTo>
                <a:cubicBezTo>
                  <a:pt x="3366378" y="5293639"/>
                  <a:pt x="3368313" y="5293639"/>
                  <a:pt x="3372179" y="5291706"/>
                </a:cubicBezTo>
                <a:cubicBezTo>
                  <a:pt x="3372179" y="5301376"/>
                  <a:pt x="3366378" y="5305244"/>
                  <a:pt x="3362510" y="5311048"/>
                </a:cubicBezTo>
                <a:cubicBezTo>
                  <a:pt x="3362510" y="5307179"/>
                  <a:pt x="3360577" y="5305244"/>
                  <a:pt x="3360577" y="5303311"/>
                </a:cubicBezTo>
                <a:cubicBezTo>
                  <a:pt x="3358641" y="5307179"/>
                  <a:pt x="3356708" y="5309112"/>
                  <a:pt x="3354773" y="5312981"/>
                </a:cubicBezTo>
                <a:cubicBezTo>
                  <a:pt x="3347037" y="5316849"/>
                  <a:pt x="3347037" y="5316849"/>
                  <a:pt x="3348972" y="5324585"/>
                </a:cubicBezTo>
                <a:cubicBezTo>
                  <a:pt x="3345104" y="5326521"/>
                  <a:pt x="3343168" y="5328454"/>
                  <a:pt x="3339302" y="5328454"/>
                </a:cubicBezTo>
                <a:cubicBezTo>
                  <a:pt x="3335432" y="5328454"/>
                  <a:pt x="3331564" y="5326521"/>
                  <a:pt x="3331564" y="5322652"/>
                </a:cubicBezTo>
                <a:cubicBezTo>
                  <a:pt x="3331564" y="5318782"/>
                  <a:pt x="3331564" y="5316849"/>
                  <a:pt x="3331564" y="5314916"/>
                </a:cubicBezTo>
                <a:cubicBezTo>
                  <a:pt x="3331564" y="5312981"/>
                  <a:pt x="3329631" y="5309112"/>
                  <a:pt x="3329631" y="5309112"/>
                </a:cubicBezTo>
                <a:cubicBezTo>
                  <a:pt x="3319961" y="5307179"/>
                  <a:pt x="3327695" y="5301376"/>
                  <a:pt x="3323827" y="5297508"/>
                </a:cubicBezTo>
                <a:cubicBezTo>
                  <a:pt x="3319961" y="5299443"/>
                  <a:pt x="3316093" y="5303311"/>
                  <a:pt x="3310289" y="5309112"/>
                </a:cubicBezTo>
                <a:cubicBezTo>
                  <a:pt x="3310289" y="5305244"/>
                  <a:pt x="3310289" y="5303311"/>
                  <a:pt x="3310289" y="5301376"/>
                </a:cubicBezTo>
                <a:cubicBezTo>
                  <a:pt x="3310289" y="5299443"/>
                  <a:pt x="3312222" y="5295575"/>
                  <a:pt x="3314158" y="5293639"/>
                </a:cubicBezTo>
                <a:cubicBezTo>
                  <a:pt x="3312222" y="5289771"/>
                  <a:pt x="3308354" y="5293639"/>
                  <a:pt x="3306421" y="5293639"/>
                </a:cubicBezTo>
                <a:cubicBezTo>
                  <a:pt x="3304486" y="5293639"/>
                  <a:pt x="3302553" y="5291706"/>
                  <a:pt x="3302553" y="5289771"/>
                </a:cubicBezTo>
                <a:cubicBezTo>
                  <a:pt x="3302553" y="5291706"/>
                  <a:pt x="3300620" y="5291706"/>
                  <a:pt x="3300620" y="5293639"/>
                </a:cubicBezTo>
                <a:cubicBezTo>
                  <a:pt x="3296752" y="5297508"/>
                  <a:pt x="3292883" y="5297508"/>
                  <a:pt x="3290948" y="5293639"/>
                </a:cubicBezTo>
                <a:cubicBezTo>
                  <a:pt x="3290948" y="5291706"/>
                  <a:pt x="3290948" y="5287838"/>
                  <a:pt x="3290948" y="5285905"/>
                </a:cubicBezTo>
                <a:cubicBezTo>
                  <a:pt x="3292883" y="5278166"/>
                  <a:pt x="3296752" y="5272365"/>
                  <a:pt x="3298685" y="5264629"/>
                </a:cubicBezTo>
                <a:cubicBezTo>
                  <a:pt x="3296752" y="5262696"/>
                  <a:pt x="3296752" y="5262696"/>
                  <a:pt x="3294816" y="5260760"/>
                </a:cubicBezTo>
                <a:cubicBezTo>
                  <a:pt x="3294816" y="5260760"/>
                  <a:pt x="3294816" y="5262696"/>
                  <a:pt x="3294816" y="5262696"/>
                </a:cubicBezTo>
                <a:cubicBezTo>
                  <a:pt x="3292883" y="5262696"/>
                  <a:pt x="3290948" y="5262696"/>
                  <a:pt x="3290948" y="5260760"/>
                </a:cubicBezTo>
                <a:cubicBezTo>
                  <a:pt x="3289013" y="5258827"/>
                  <a:pt x="3290948" y="5256892"/>
                  <a:pt x="3290948" y="5256892"/>
                </a:cubicBezTo>
                <a:cubicBezTo>
                  <a:pt x="3283212" y="5247223"/>
                  <a:pt x="3279343" y="5235618"/>
                  <a:pt x="3277410" y="5224013"/>
                </a:cubicBezTo>
                <a:cubicBezTo>
                  <a:pt x="3275475" y="5222078"/>
                  <a:pt x="3275475" y="5222078"/>
                  <a:pt x="3275475" y="5220145"/>
                </a:cubicBezTo>
                <a:cubicBezTo>
                  <a:pt x="3275475" y="5218209"/>
                  <a:pt x="3275475" y="5218209"/>
                  <a:pt x="3275475" y="5216277"/>
                </a:cubicBezTo>
                <a:cubicBezTo>
                  <a:pt x="3275475" y="5214341"/>
                  <a:pt x="3275475" y="5212408"/>
                  <a:pt x="3275475" y="5210473"/>
                </a:cubicBezTo>
                <a:cubicBezTo>
                  <a:pt x="3273542" y="5210473"/>
                  <a:pt x="3273542" y="5208540"/>
                  <a:pt x="3273542" y="5208540"/>
                </a:cubicBezTo>
                <a:cubicBezTo>
                  <a:pt x="3263870" y="5206605"/>
                  <a:pt x="3271607" y="5200804"/>
                  <a:pt x="3267739" y="5196935"/>
                </a:cubicBezTo>
                <a:cubicBezTo>
                  <a:pt x="3263870" y="5198871"/>
                  <a:pt x="3260002" y="5202736"/>
                  <a:pt x="3254201" y="5208540"/>
                </a:cubicBezTo>
                <a:cubicBezTo>
                  <a:pt x="3254201" y="5204672"/>
                  <a:pt x="3254201" y="5202736"/>
                  <a:pt x="3254201" y="5200804"/>
                </a:cubicBezTo>
                <a:cubicBezTo>
                  <a:pt x="3254201" y="5198871"/>
                  <a:pt x="3254201" y="5198871"/>
                  <a:pt x="3254201" y="5198871"/>
                </a:cubicBezTo>
                <a:cubicBezTo>
                  <a:pt x="3254201" y="5200804"/>
                  <a:pt x="3252265" y="5200804"/>
                  <a:pt x="3252265" y="5200804"/>
                </a:cubicBezTo>
                <a:cubicBezTo>
                  <a:pt x="3250333" y="5198871"/>
                  <a:pt x="3250333" y="5198871"/>
                  <a:pt x="3250333" y="5196935"/>
                </a:cubicBezTo>
                <a:cubicBezTo>
                  <a:pt x="3252265" y="5195000"/>
                  <a:pt x="3252265" y="5195000"/>
                  <a:pt x="3254201" y="5193067"/>
                </a:cubicBezTo>
                <a:cubicBezTo>
                  <a:pt x="3254201" y="5193067"/>
                  <a:pt x="3256134" y="5195000"/>
                  <a:pt x="3256134" y="5195000"/>
                </a:cubicBezTo>
                <a:cubicBezTo>
                  <a:pt x="3256134" y="5196935"/>
                  <a:pt x="3256134" y="5196935"/>
                  <a:pt x="3256134" y="5196935"/>
                </a:cubicBezTo>
                <a:cubicBezTo>
                  <a:pt x="3256134" y="5195000"/>
                  <a:pt x="3258069" y="5193067"/>
                  <a:pt x="3258069" y="5191132"/>
                </a:cubicBezTo>
                <a:cubicBezTo>
                  <a:pt x="3256134" y="5187263"/>
                  <a:pt x="3252265" y="5191132"/>
                  <a:pt x="3250333" y="5191132"/>
                </a:cubicBezTo>
                <a:cubicBezTo>
                  <a:pt x="3248397" y="5191132"/>
                  <a:pt x="3246464" y="5189199"/>
                  <a:pt x="3246464" y="5187263"/>
                </a:cubicBezTo>
                <a:cubicBezTo>
                  <a:pt x="3246464" y="5189199"/>
                  <a:pt x="3244529" y="5189199"/>
                  <a:pt x="3244529" y="5191132"/>
                </a:cubicBezTo>
                <a:cubicBezTo>
                  <a:pt x="3240661" y="5195000"/>
                  <a:pt x="3236792" y="5195000"/>
                  <a:pt x="3234860" y="5191132"/>
                </a:cubicBezTo>
                <a:cubicBezTo>
                  <a:pt x="3234860" y="5189199"/>
                  <a:pt x="3234860" y="5185330"/>
                  <a:pt x="3234860" y="5183395"/>
                </a:cubicBezTo>
                <a:cubicBezTo>
                  <a:pt x="3236792" y="5175661"/>
                  <a:pt x="3240661" y="5169857"/>
                  <a:pt x="3242596" y="5162121"/>
                </a:cubicBezTo>
                <a:cubicBezTo>
                  <a:pt x="3232927" y="5148583"/>
                  <a:pt x="3225188" y="5133110"/>
                  <a:pt x="3223255" y="5117637"/>
                </a:cubicBezTo>
                <a:cubicBezTo>
                  <a:pt x="3221319" y="5115702"/>
                  <a:pt x="3221319" y="5111836"/>
                  <a:pt x="3221319" y="5107965"/>
                </a:cubicBezTo>
                <a:cubicBezTo>
                  <a:pt x="3215518" y="5113769"/>
                  <a:pt x="3207782" y="5117637"/>
                  <a:pt x="3201978" y="5121505"/>
                </a:cubicBezTo>
                <a:cubicBezTo>
                  <a:pt x="3201978" y="5117637"/>
                  <a:pt x="3201978" y="5115702"/>
                  <a:pt x="3203913" y="5113769"/>
                </a:cubicBezTo>
                <a:cubicBezTo>
                  <a:pt x="3209717" y="5107965"/>
                  <a:pt x="3215518" y="5102164"/>
                  <a:pt x="3221319" y="5098296"/>
                </a:cubicBezTo>
                <a:cubicBezTo>
                  <a:pt x="3221319" y="5094428"/>
                  <a:pt x="3223255" y="5088626"/>
                  <a:pt x="3225188" y="5082823"/>
                </a:cubicBezTo>
                <a:cubicBezTo>
                  <a:pt x="3227123" y="5080888"/>
                  <a:pt x="3227123" y="5078955"/>
                  <a:pt x="3227123" y="5077019"/>
                </a:cubicBezTo>
                <a:cubicBezTo>
                  <a:pt x="3225188" y="5077019"/>
                  <a:pt x="3225188" y="5077019"/>
                  <a:pt x="3225188" y="5077019"/>
                </a:cubicBezTo>
                <a:cubicBezTo>
                  <a:pt x="3213585" y="5077019"/>
                  <a:pt x="3203913" y="5073153"/>
                  <a:pt x="3198110" y="5063482"/>
                </a:cubicBezTo>
                <a:cubicBezTo>
                  <a:pt x="3201978" y="5055745"/>
                  <a:pt x="3209717" y="5049944"/>
                  <a:pt x="3215518" y="5042207"/>
                </a:cubicBezTo>
                <a:cubicBezTo>
                  <a:pt x="3215518" y="5040272"/>
                  <a:pt x="3217451" y="5038339"/>
                  <a:pt x="3217451" y="5036404"/>
                </a:cubicBezTo>
                <a:cubicBezTo>
                  <a:pt x="3215518" y="5034471"/>
                  <a:pt x="3213585" y="5032536"/>
                  <a:pt x="3211650" y="5028667"/>
                </a:cubicBezTo>
                <a:cubicBezTo>
                  <a:pt x="3213585" y="5026734"/>
                  <a:pt x="3217451" y="5024801"/>
                  <a:pt x="3219387" y="5024801"/>
                </a:cubicBezTo>
                <a:cubicBezTo>
                  <a:pt x="3219387" y="5024801"/>
                  <a:pt x="3219387" y="5022866"/>
                  <a:pt x="3219387" y="5022866"/>
                </a:cubicBezTo>
                <a:cubicBezTo>
                  <a:pt x="3219387" y="5020931"/>
                  <a:pt x="3217451" y="5018998"/>
                  <a:pt x="3215518" y="5018998"/>
                </a:cubicBezTo>
                <a:cubicBezTo>
                  <a:pt x="3211650" y="5017063"/>
                  <a:pt x="3205849" y="5015130"/>
                  <a:pt x="3203913" y="5009326"/>
                </a:cubicBezTo>
                <a:cubicBezTo>
                  <a:pt x="3201978" y="5005460"/>
                  <a:pt x="3200045" y="5003525"/>
                  <a:pt x="3196177" y="4999657"/>
                </a:cubicBezTo>
                <a:cubicBezTo>
                  <a:pt x="3188440" y="5005460"/>
                  <a:pt x="3178771" y="5013194"/>
                  <a:pt x="3167166" y="5015130"/>
                </a:cubicBezTo>
                <a:cubicBezTo>
                  <a:pt x="3172967" y="5009326"/>
                  <a:pt x="3178771" y="5003525"/>
                  <a:pt x="3184572" y="4999657"/>
                </a:cubicBezTo>
                <a:cubicBezTo>
                  <a:pt x="3184572" y="4997721"/>
                  <a:pt x="3184572" y="4995788"/>
                  <a:pt x="3184572" y="4995788"/>
                </a:cubicBezTo>
                <a:cubicBezTo>
                  <a:pt x="3190376" y="4989985"/>
                  <a:pt x="3198110" y="4982251"/>
                  <a:pt x="3203913" y="4974512"/>
                </a:cubicBezTo>
                <a:cubicBezTo>
                  <a:pt x="3209717" y="4968710"/>
                  <a:pt x="3213585" y="4962909"/>
                  <a:pt x="3219387" y="4959041"/>
                </a:cubicBezTo>
                <a:cubicBezTo>
                  <a:pt x="3217451" y="4957106"/>
                  <a:pt x="3215518" y="4955173"/>
                  <a:pt x="3213585" y="4953237"/>
                </a:cubicBezTo>
                <a:cubicBezTo>
                  <a:pt x="3213585" y="4953237"/>
                  <a:pt x="3211650" y="4955173"/>
                  <a:pt x="3211650" y="4955173"/>
                </a:cubicBezTo>
                <a:cubicBezTo>
                  <a:pt x="3200045" y="4966778"/>
                  <a:pt x="3188440" y="4976447"/>
                  <a:pt x="3176836" y="4988052"/>
                </a:cubicBezTo>
                <a:lnTo>
                  <a:pt x="3173291" y="4990416"/>
                </a:lnTo>
                <a:lnTo>
                  <a:pt x="3172967" y="4989985"/>
                </a:lnTo>
                <a:cubicBezTo>
                  <a:pt x="3172967" y="4989985"/>
                  <a:pt x="3171034" y="4989985"/>
                  <a:pt x="3171034" y="4991920"/>
                </a:cubicBezTo>
                <a:lnTo>
                  <a:pt x="3173291" y="4990416"/>
                </a:lnTo>
                <a:lnTo>
                  <a:pt x="3175144" y="4992887"/>
                </a:lnTo>
                <a:cubicBezTo>
                  <a:pt x="3174902" y="4993854"/>
                  <a:pt x="3173935" y="4994821"/>
                  <a:pt x="3172967" y="4995788"/>
                </a:cubicBezTo>
                <a:cubicBezTo>
                  <a:pt x="3165231" y="5005460"/>
                  <a:pt x="3155561" y="5011261"/>
                  <a:pt x="3145892" y="5017063"/>
                </a:cubicBezTo>
                <a:cubicBezTo>
                  <a:pt x="3145892" y="5013194"/>
                  <a:pt x="3145892" y="5011261"/>
                  <a:pt x="3147825" y="5009326"/>
                </a:cubicBezTo>
                <a:cubicBezTo>
                  <a:pt x="3153626" y="5005460"/>
                  <a:pt x="3157494" y="4997721"/>
                  <a:pt x="3165231" y="4993853"/>
                </a:cubicBezTo>
                <a:cubicBezTo>
                  <a:pt x="3167166" y="4989985"/>
                  <a:pt x="3167166" y="4988052"/>
                  <a:pt x="3169099" y="4986119"/>
                </a:cubicBezTo>
                <a:cubicBezTo>
                  <a:pt x="3176836" y="4978380"/>
                  <a:pt x="3182639" y="4968710"/>
                  <a:pt x="3192309" y="4962909"/>
                </a:cubicBezTo>
                <a:cubicBezTo>
                  <a:pt x="3196177" y="4960974"/>
                  <a:pt x="3200045" y="4955173"/>
                  <a:pt x="3203913" y="4951302"/>
                </a:cubicBezTo>
                <a:cubicBezTo>
                  <a:pt x="3205849" y="4949369"/>
                  <a:pt x="3205849" y="4949369"/>
                  <a:pt x="3205849" y="4949369"/>
                </a:cubicBezTo>
                <a:cubicBezTo>
                  <a:pt x="3201978" y="4947436"/>
                  <a:pt x="3200045" y="4943568"/>
                  <a:pt x="3196177" y="4941633"/>
                </a:cubicBezTo>
                <a:cubicBezTo>
                  <a:pt x="3190376" y="4945501"/>
                  <a:pt x="3186507" y="4945501"/>
                  <a:pt x="3180704" y="4947436"/>
                </a:cubicBezTo>
                <a:cubicBezTo>
                  <a:pt x="3178771" y="4949369"/>
                  <a:pt x="3176836" y="4951302"/>
                  <a:pt x="3174903" y="4953237"/>
                </a:cubicBezTo>
                <a:cubicBezTo>
                  <a:pt x="3172967" y="4957106"/>
                  <a:pt x="3174903" y="4959041"/>
                  <a:pt x="3176836" y="4960974"/>
                </a:cubicBezTo>
                <a:lnTo>
                  <a:pt x="3178771" y="4960974"/>
                </a:lnTo>
                <a:cubicBezTo>
                  <a:pt x="3182639" y="4966778"/>
                  <a:pt x="3180704" y="4972579"/>
                  <a:pt x="3171034" y="4972579"/>
                </a:cubicBezTo>
                <a:cubicBezTo>
                  <a:pt x="3171034" y="4972579"/>
                  <a:pt x="3169099" y="4972579"/>
                  <a:pt x="3167166" y="4972579"/>
                </a:cubicBezTo>
                <a:cubicBezTo>
                  <a:pt x="3165231" y="4974512"/>
                  <a:pt x="3163298" y="4976447"/>
                  <a:pt x="3161363" y="4978380"/>
                </a:cubicBezTo>
                <a:cubicBezTo>
                  <a:pt x="3151693" y="4984184"/>
                  <a:pt x="3142024" y="4991920"/>
                  <a:pt x="3134285" y="5001592"/>
                </a:cubicBezTo>
                <a:cubicBezTo>
                  <a:pt x="3130417" y="5007393"/>
                  <a:pt x="3124615" y="5011261"/>
                  <a:pt x="3114944" y="5013194"/>
                </a:cubicBezTo>
                <a:cubicBezTo>
                  <a:pt x="3114944" y="5001592"/>
                  <a:pt x="3122682" y="4993853"/>
                  <a:pt x="3130417" y="4988052"/>
                </a:cubicBezTo>
                <a:cubicBezTo>
                  <a:pt x="3136220" y="4984184"/>
                  <a:pt x="3142024" y="4976447"/>
                  <a:pt x="3149758" y="4976447"/>
                </a:cubicBezTo>
                <a:cubicBezTo>
                  <a:pt x="3151693" y="4974512"/>
                  <a:pt x="3153626" y="4972579"/>
                  <a:pt x="3155561" y="4970643"/>
                </a:cubicBezTo>
                <a:cubicBezTo>
                  <a:pt x="3157494" y="4970643"/>
                  <a:pt x="3157494" y="4968710"/>
                  <a:pt x="3157494" y="4968710"/>
                </a:cubicBezTo>
                <a:cubicBezTo>
                  <a:pt x="3153626" y="4966778"/>
                  <a:pt x="3149758" y="4962909"/>
                  <a:pt x="3145892" y="4957106"/>
                </a:cubicBezTo>
                <a:cubicBezTo>
                  <a:pt x="3147825" y="4949369"/>
                  <a:pt x="3151693" y="4945501"/>
                  <a:pt x="3157494" y="4939700"/>
                </a:cubicBezTo>
                <a:cubicBezTo>
                  <a:pt x="3153626" y="4939700"/>
                  <a:pt x="3151693" y="4937764"/>
                  <a:pt x="3147825" y="4937764"/>
                </a:cubicBezTo>
                <a:cubicBezTo>
                  <a:pt x="3142024" y="4941633"/>
                  <a:pt x="3138153" y="4947436"/>
                  <a:pt x="3132352" y="4953237"/>
                </a:cubicBezTo>
                <a:cubicBezTo>
                  <a:pt x="3128484" y="4947436"/>
                  <a:pt x="3124615" y="4941633"/>
                  <a:pt x="3116879" y="4951302"/>
                </a:cubicBezTo>
                <a:cubicBezTo>
                  <a:pt x="3116879" y="4949369"/>
                  <a:pt x="3116879" y="4947436"/>
                  <a:pt x="3116879" y="4945501"/>
                </a:cubicBezTo>
                <a:cubicBezTo>
                  <a:pt x="3118814" y="4941633"/>
                  <a:pt x="3122682" y="4937764"/>
                  <a:pt x="3126551" y="4931963"/>
                </a:cubicBezTo>
                <a:cubicBezTo>
                  <a:pt x="3120747" y="4935832"/>
                  <a:pt x="3114944" y="4939700"/>
                  <a:pt x="3109142" y="4941633"/>
                </a:cubicBezTo>
                <a:cubicBezTo>
                  <a:pt x="3103341" y="4933896"/>
                  <a:pt x="3111075" y="4931963"/>
                  <a:pt x="3113011" y="4926160"/>
                </a:cubicBezTo>
                <a:cubicBezTo>
                  <a:pt x="3109142" y="4928095"/>
                  <a:pt x="3107209" y="4930028"/>
                  <a:pt x="3103341" y="4931963"/>
                </a:cubicBezTo>
                <a:cubicBezTo>
                  <a:pt x="3103341" y="4930028"/>
                  <a:pt x="3105274" y="4928095"/>
                  <a:pt x="3105274" y="4926160"/>
                </a:cubicBezTo>
                <a:cubicBezTo>
                  <a:pt x="3097538" y="4930028"/>
                  <a:pt x="3091734" y="4933896"/>
                  <a:pt x="3087868" y="4941633"/>
                </a:cubicBezTo>
                <a:lnTo>
                  <a:pt x="3085933" y="4943567"/>
                </a:lnTo>
                <a:lnTo>
                  <a:pt x="3087384" y="4941150"/>
                </a:lnTo>
                <a:cubicBezTo>
                  <a:pt x="3088351" y="4940182"/>
                  <a:pt x="3089801" y="4938732"/>
                  <a:pt x="3091734" y="4935832"/>
                </a:cubicBezTo>
                <a:cubicBezTo>
                  <a:pt x="3089801" y="4935832"/>
                  <a:pt x="3089801" y="4937764"/>
                  <a:pt x="3087868" y="4937764"/>
                </a:cubicBezTo>
                <a:cubicBezTo>
                  <a:pt x="3084000" y="4935832"/>
                  <a:pt x="3080132" y="4933896"/>
                  <a:pt x="3076263" y="4930028"/>
                </a:cubicBezTo>
                <a:cubicBezTo>
                  <a:pt x="3076263" y="4930028"/>
                  <a:pt x="3074328" y="4930028"/>
                  <a:pt x="3074328" y="4930028"/>
                </a:cubicBezTo>
                <a:cubicBezTo>
                  <a:pt x="3070460" y="4931963"/>
                  <a:pt x="3068527" y="4933896"/>
                  <a:pt x="3064659" y="4935832"/>
                </a:cubicBezTo>
                <a:cubicBezTo>
                  <a:pt x="3064659" y="4933896"/>
                  <a:pt x="3064659" y="4933896"/>
                  <a:pt x="3064659" y="4933896"/>
                </a:cubicBezTo>
                <a:cubicBezTo>
                  <a:pt x="3045317" y="4949369"/>
                  <a:pt x="3024041" y="4960974"/>
                  <a:pt x="3006635" y="4976447"/>
                </a:cubicBezTo>
                <a:cubicBezTo>
                  <a:pt x="3004699" y="4978380"/>
                  <a:pt x="3002767" y="4980315"/>
                  <a:pt x="2998898" y="4984184"/>
                </a:cubicBezTo>
                <a:cubicBezTo>
                  <a:pt x="3006635" y="4982251"/>
                  <a:pt x="3010503" y="4982251"/>
                  <a:pt x="3012438" y="4986119"/>
                </a:cubicBezTo>
                <a:cubicBezTo>
                  <a:pt x="3018240" y="4978380"/>
                  <a:pt x="3025976" y="4974512"/>
                  <a:pt x="3033713" y="4970643"/>
                </a:cubicBezTo>
                <a:cubicBezTo>
                  <a:pt x="3031780" y="4976447"/>
                  <a:pt x="3029844" y="4980315"/>
                  <a:pt x="3027909" y="4986119"/>
                </a:cubicBezTo>
                <a:cubicBezTo>
                  <a:pt x="3029844" y="4988052"/>
                  <a:pt x="3031780" y="4988052"/>
                  <a:pt x="3033713" y="4986119"/>
                </a:cubicBezTo>
                <a:cubicBezTo>
                  <a:pt x="3035648" y="4984184"/>
                  <a:pt x="3039516" y="4980315"/>
                  <a:pt x="3041449" y="4976447"/>
                </a:cubicBezTo>
                <a:cubicBezTo>
                  <a:pt x="3041449" y="4976447"/>
                  <a:pt x="3041449" y="4974512"/>
                  <a:pt x="3041449" y="4974512"/>
                </a:cubicBezTo>
                <a:cubicBezTo>
                  <a:pt x="3043382" y="4972579"/>
                  <a:pt x="3043382" y="4972579"/>
                  <a:pt x="3045317" y="4972579"/>
                </a:cubicBezTo>
                <a:cubicBezTo>
                  <a:pt x="3047250" y="4970643"/>
                  <a:pt x="3051118" y="4968710"/>
                  <a:pt x="3053054" y="4966778"/>
                </a:cubicBezTo>
                <a:cubicBezTo>
                  <a:pt x="3054987" y="4964842"/>
                  <a:pt x="3056922" y="4962909"/>
                  <a:pt x="3060790" y="4962909"/>
                </a:cubicBezTo>
                <a:cubicBezTo>
                  <a:pt x="3064659" y="4960974"/>
                  <a:pt x="3066592" y="4959041"/>
                  <a:pt x="3068527" y="4959041"/>
                </a:cubicBezTo>
                <a:cubicBezTo>
                  <a:pt x="3066592" y="4968710"/>
                  <a:pt x="3058857" y="4972579"/>
                  <a:pt x="3053054" y="4978380"/>
                </a:cubicBezTo>
                <a:cubicBezTo>
                  <a:pt x="3051118" y="4978380"/>
                  <a:pt x="3051118" y="4978380"/>
                  <a:pt x="3049186" y="4978380"/>
                </a:cubicBezTo>
                <a:cubicBezTo>
                  <a:pt x="3049186" y="4978380"/>
                  <a:pt x="3049186" y="4978380"/>
                  <a:pt x="3047250" y="4978380"/>
                </a:cubicBezTo>
                <a:cubicBezTo>
                  <a:pt x="3045317" y="4984184"/>
                  <a:pt x="3043382" y="4988052"/>
                  <a:pt x="3043382" y="4995788"/>
                </a:cubicBezTo>
                <a:cubicBezTo>
                  <a:pt x="3049186" y="4989985"/>
                  <a:pt x="3054987" y="4984184"/>
                  <a:pt x="3058857" y="4980315"/>
                </a:cubicBezTo>
                <a:cubicBezTo>
                  <a:pt x="3064659" y="4976447"/>
                  <a:pt x="3068527" y="4972579"/>
                  <a:pt x="3074328" y="4966778"/>
                </a:cubicBezTo>
                <a:cubicBezTo>
                  <a:pt x="3076263" y="4968710"/>
                  <a:pt x="3076263" y="4970643"/>
                  <a:pt x="3078196" y="4972579"/>
                </a:cubicBezTo>
                <a:cubicBezTo>
                  <a:pt x="3066592" y="4988052"/>
                  <a:pt x="3053054" y="4999657"/>
                  <a:pt x="3051118" y="5018998"/>
                </a:cubicBezTo>
                <a:cubicBezTo>
                  <a:pt x="3047250" y="5018998"/>
                  <a:pt x="3045317" y="5018998"/>
                  <a:pt x="3043382" y="5018998"/>
                </a:cubicBezTo>
                <a:cubicBezTo>
                  <a:pt x="3039516" y="5024801"/>
                  <a:pt x="3035648" y="5028667"/>
                  <a:pt x="3031780" y="5034471"/>
                </a:cubicBezTo>
                <a:cubicBezTo>
                  <a:pt x="3031780" y="5036404"/>
                  <a:pt x="3031780" y="5038339"/>
                  <a:pt x="3033713" y="5040272"/>
                </a:cubicBezTo>
                <a:cubicBezTo>
                  <a:pt x="3035648" y="5036404"/>
                  <a:pt x="3037581" y="5032536"/>
                  <a:pt x="3039516" y="5028667"/>
                </a:cubicBezTo>
                <a:cubicBezTo>
                  <a:pt x="3039516" y="5028667"/>
                  <a:pt x="3041449" y="5026734"/>
                  <a:pt x="3043382" y="5026734"/>
                </a:cubicBezTo>
                <a:cubicBezTo>
                  <a:pt x="3045317" y="5028667"/>
                  <a:pt x="3047250" y="5032536"/>
                  <a:pt x="3049186" y="5034471"/>
                </a:cubicBezTo>
                <a:cubicBezTo>
                  <a:pt x="3047250" y="5044140"/>
                  <a:pt x="3039516" y="5049944"/>
                  <a:pt x="3041449" y="5059613"/>
                </a:cubicBezTo>
                <a:cubicBezTo>
                  <a:pt x="3043382" y="5067350"/>
                  <a:pt x="3043382" y="5075086"/>
                  <a:pt x="3043382" y="5084756"/>
                </a:cubicBezTo>
                <a:cubicBezTo>
                  <a:pt x="3045317" y="5084756"/>
                  <a:pt x="3047250" y="5086691"/>
                  <a:pt x="3049186" y="5088626"/>
                </a:cubicBezTo>
                <a:cubicBezTo>
                  <a:pt x="3050152" y="5089593"/>
                  <a:pt x="3048701" y="5092493"/>
                  <a:pt x="3045800" y="5096119"/>
                </a:cubicBezTo>
                <a:lnTo>
                  <a:pt x="3034689" y="5107009"/>
                </a:lnTo>
                <a:lnTo>
                  <a:pt x="3033713" y="5106032"/>
                </a:lnTo>
                <a:cubicBezTo>
                  <a:pt x="3033713" y="5106032"/>
                  <a:pt x="3033713" y="5104097"/>
                  <a:pt x="3033713" y="5104097"/>
                </a:cubicBezTo>
                <a:cubicBezTo>
                  <a:pt x="3031780" y="5106032"/>
                  <a:pt x="3031780" y="5106032"/>
                  <a:pt x="3029844" y="5107965"/>
                </a:cubicBezTo>
                <a:lnTo>
                  <a:pt x="3033713" y="5108933"/>
                </a:lnTo>
                <a:lnTo>
                  <a:pt x="3033713" y="5109901"/>
                </a:lnTo>
                <a:lnTo>
                  <a:pt x="3037581" y="5109901"/>
                </a:lnTo>
                <a:lnTo>
                  <a:pt x="3043382" y="5109901"/>
                </a:lnTo>
                <a:cubicBezTo>
                  <a:pt x="3043382" y="5111836"/>
                  <a:pt x="3043382" y="5113769"/>
                  <a:pt x="3043382" y="5113769"/>
                </a:cubicBezTo>
                <a:lnTo>
                  <a:pt x="3042975" y="5114379"/>
                </a:lnTo>
                <a:lnTo>
                  <a:pt x="3041449" y="5111836"/>
                </a:lnTo>
                <a:lnTo>
                  <a:pt x="3041449" y="5116669"/>
                </a:lnTo>
                <a:lnTo>
                  <a:pt x="3039516" y="5119570"/>
                </a:lnTo>
                <a:lnTo>
                  <a:pt x="3041449" y="5120538"/>
                </a:lnTo>
                <a:lnTo>
                  <a:pt x="3041449" y="5122665"/>
                </a:lnTo>
                <a:lnTo>
                  <a:pt x="3033713" y="5127307"/>
                </a:lnTo>
                <a:cubicBezTo>
                  <a:pt x="3033713" y="5125374"/>
                  <a:pt x="3031780" y="5125374"/>
                  <a:pt x="3031780" y="5125374"/>
                </a:cubicBezTo>
                <a:cubicBezTo>
                  <a:pt x="3016307" y="5135043"/>
                  <a:pt x="3004699" y="5148583"/>
                  <a:pt x="2991162" y="5160188"/>
                </a:cubicBezTo>
                <a:cubicBezTo>
                  <a:pt x="2983425" y="5165989"/>
                  <a:pt x="2977624" y="5169857"/>
                  <a:pt x="2969888" y="5171790"/>
                </a:cubicBezTo>
                <a:cubicBezTo>
                  <a:pt x="2966019" y="5171790"/>
                  <a:pt x="2960216" y="5175661"/>
                  <a:pt x="2956347" y="5177594"/>
                </a:cubicBezTo>
                <a:cubicBezTo>
                  <a:pt x="2946678" y="5177594"/>
                  <a:pt x="2942810" y="5169857"/>
                  <a:pt x="2938941" y="5164054"/>
                </a:cubicBezTo>
                <a:cubicBezTo>
                  <a:pt x="2935073" y="5156320"/>
                  <a:pt x="2927337" y="5148583"/>
                  <a:pt x="2929272" y="5138911"/>
                </a:cubicBezTo>
                <a:cubicBezTo>
                  <a:pt x="2931205" y="5135043"/>
                  <a:pt x="2927337" y="5129242"/>
                  <a:pt x="2925404" y="5123438"/>
                </a:cubicBezTo>
                <a:cubicBezTo>
                  <a:pt x="2917665" y="5123438"/>
                  <a:pt x="2909931" y="5127307"/>
                  <a:pt x="2900259" y="5127307"/>
                </a:cubicBezTo>
                <a:cubicBezTo>
                  <a:pt x="2900259" y="5125374"/>
                  <a:pt x="2898326" y="5123438"/>
                  <a:pt x="2898326" y="5121505"/>
                </a:cubicBezTo>
                <a:cubicBezTo>
                  <a:pt x="2898326" y="5121505"/>
                  <a:pt x="2898326" y="5119570"/>
                  <a:pt x="2898326" y="5117637"/>
                </a:cubicBezTo>
                <a:cubicBezTo>
                  <a:pt x="2894458" y="5121505"/>
                  <a:pt x="2892522" y="5123438"/>
                  <a:pt x="2888654" y="5127307"/>
                </a:cubicBezTo>
                <a:cubicBezTo>
                  <a:pt x="2882853" y="5131175"/>
                  <a:pt x="2878985" y="5133110"/>
                  <a:pt x="2873181" y="5136978"/>
                </a:cubicBezTo>
                <a:cubicBezTo>
                  <a:pt x="2873181" y="5136978"/>
                  <a:pt x="2871248" y="5135043"/>
                  <a:pt x="2871248" y="5135043"/>
                </a:cubicBezTo>
                <a:cubicBezTo>
                  <a:pt x="2873181" y="5131175"/>
                  <a:pt x="2873181" y="5125374"/>
                  <a:pt x="2875116" y="5121505"/>
                </a:cubicBezTo>
                <a:cubicBezTo>
                  <a:pt x="2867380" y="5127307"/>
                  <a:pt x="2859643" y="5127307"/>
                  <a:pt x="2855775" y="5136978"/>
                </a:cubicBezTo>
                <a:cubicBezTo>
                  <a:pt x="2853840" y="5144713"/>
                  <a:pt x="2848039" y="5150516"/>
                  <a:pt x="2844170" y="5158253"/>
                </a:cubicBezTo>
                <a:lnTo>
                  <a:pt x="2840101" y="5153312"/>
                </a:lnTo>
                <a:lnTo>
                  <a:pt x="2842237" y="5148583"/>
                </a:lnTo>
                <a:lnTo>
                  <a:pt x="2838602" y="5151491"/>
                </a:lnTo>
                <a:lnTo>
                  <a:pt x="2834016" y="5145923"/>
                </a:lnTo>
                <a:cubicBezTo>
                  <a:pt x="2830632" y="5145198"/>
                  <a:pt x="2826763" y="5147615"/>
                  <a:pt x="2820961" y="5152451"/>
                </a:cubicBezTo>
                <a:cubicBezTo>
                  <a:pt x="2819028" y="5154384"/>
                  <a:pt x="2815160" y="5158253"/>
                  <a:pt x="2811291" y="5160188"/>
                </a:cubicBezTo>
                <a:cubicBezTo>
                  <a:pt x="2805488" y="5156320"/>
                  <a:pt x="2801620" y="5152451"/>
                  <a:pt x="2797754" y="5146648"/>
                </a:cubicBezTo>
                <a:cubicBezTo>
                  <a:pt x="2793883" y="5152451"/>
                  <a:pt x="2790015" y="5158253"/>
                  <a:pt x="2786147" y="5164054"/>
                </a:cubicBezTo>
                <a:cubicBezTo>
                  <a:pt x="2788082" y="5165989"/>
                  <a:pt x="2788082" y="5167922"/>
                  <a:pt x="2790015" y="5169857"/>
                </a:cubicBezTo>
                <a:cubicBezTo>
                  <a:pt x="2790015" y="5169857"/>
                  <a:pt x="2788082" y="5169857"/>
                  <a:pt x="2788082" y="5169857"/>
                </a:cubicBezTo>
                <a:cubicBezTo>
                  <a:pt x="2772609" y="5181462"/>
                  <a:pt x="2757136" y="5191132"/>
                  <a:pt x="2741663" y="5202736"/>
                </a:cubicBezTo>
                <a:cubicBezTo>
                  <a:pt x="2741663" y="5202736"/>
                  <a:pt x="2739730" y="5204672"/>
                  <a:pt x="2739730" y="5204672"/>
                </a:cubicBezTo>
                <a:cubicBezTo>
                  <a:pt x="2735862" y="5208540"/>
                  <a:pt x="2733926" y="5214341"/>
                  <a:pt x="2730058" y="5214341"/>
                </a:cubicBezTo>
                <a:cubicBezTo>
                  <a:pt x="2724257" y="5214341"/>
                  <a:pt x="2716520" y="5212408"/>
                  <a:pt x="2710717" y="5210473"/>
                </a:cubicBezTo>
                <a:cubicBezTo>
                  <a:pt x="2710717" y="5214341"/>
                  <a:pt x="2712652" y="5218209"/>
                  <a:pt x="2712652" y="5224013"/>
                </a:cubicBezTo>
                <a:cubicBezTo>
                  <a:pt x="2702980" y="5231747"/>
                  <a:pt x="2691378" y="5237551"/>
                  <a:pt x="2679771" y="5245287"/>
                </a:cubicBezTo>
                <a:cubicBezTo>
                  <a:pt x="2677838" y="5245287"/>
                  <a:pt x="2677838" y="5243354"/>
                  <a:pt x="2677838" y="5243354"/>
                </a:cubicBezTo>
                <a:cubicBezTo>
                  <a:pt x="2679771" y="5239486"/>
                  <a:pt x="2683639" y="5237551"/>
                  <a:pt x="2685574" y="5233683"/>
                </a:cubicBezTo>
                <a:cubicBezTo>
                  <a:pt x="2683639" y="5233683"/>
                  <a:pt x="2683639" y="5231747"/>
                  <a:pt x="2683639" y="5231747"/>
                </a:cubicBezTo>
                <a:cubicBezTo>
                  <a:pt x="2673970" y="5237551"/>
                  <a:pt x="2664300" y="5243354"/>
                  <a:pt x="2654628" y="5249156"/>
                </a:cubicBezTo>
                <a:cubicBezTo>
                  <a:pt x="2654628" y="5249156"/>
                  <a:pt x="2656561" y="5253024"/>
                  <a:pt x="2656561" y="5254957"/>
                </a:cubicBezTo>
                <a:cubicBezTo>
                  <a:pt x="2656561" y="5256892"/>
                  <a:pt x="2654628" y="5256892"/>
                  <a:pt x="2654628" y="5256892"/>
                </a:cubicBezTo>
                <a:cubicBezTo>
                  <a:pt x="2654628" y="5254957"/>
                  <a:pt x="2652695" y="5251088"/>
                  <a:pt x="2650760" y="5249156"/>
                </a:cubicBezTo>
                <a:cubicBezTo>
                  <a:pt x="2646892" y="5254957"/>
                  <a:pt x="2637220" y="5256892"/>
                  <a:pt x="2635287" y="5264629"/>
                </a:cubicBezTo>
                <a:cubicBezTo>
                  <a:pt x="2635287" y="5264629"/>
                  <a:pt x="2631419" y="5266564"/>
                  <a:pt x="2631419" y="5266564"/>
                </a:cubicBezTo>
                <a:cubicBezTo>
                  <a:pt x="2623682" y="5264629"/>
                  <a:pt x="2619814" y="5268497"/>
                  <a:pt x="2614013" y="5272365"/>
                </a:cubicBezTo>
                <a:cubicBezTo>
                  <a:pt x="2608209" y="5276233"/>
                  <a:pt x="2604343" y="5278166"/>
                  <a:pt x="2600473" y="5285905"/>
                </a:cubicBezTo>
                <a:cubicBezTo>
                  <a:pt x="2596605" y="5293639"/>
                  <a:pt x="2586935" y="5295575"/>
                  <a:pt x="2579199" y="5299443"/>
                </a:cubicBezTo>
                <a:cubicBezTo>
                  <a:pt x="2581134" y="5297508"/>
                  <a:pt x="2583067" y="5293639"/>
                  <a:pt x="2586935" y="5289771"/>
                </a:cubicBezTo>
                <a:cubicBezTo>
                  <a:pt x="2583067" y="5289771"/>
                  <a:pt x="2577266" y="5291706"/>
                  <a:pt x="2573395" y="5291706"/>
                </a:cubicBezTo>
                <a:cubicBezTo>
                  <a:pt x="2573395" y="5287838"/>
                  <a:pt x="2571462" y="5285905"/>
                  <a:pt x="2571462" y="5283970"/>
                </a:cubicBezTo>
                <a:cubicBezTo>
                  <a:pt x="2563726" y="5287838"/>
                  <a:pt x="2555989" y="5291706"/>
                  <a:pt x="2548253" y="5295575"/>
                </a:cubicBezTo>
                <a:cubicBezTo>
                  <a:pt x="2546320" y="5293639"/>
                  <a:pt x="2546320" y="5291706"/>
                  <a:pt x="2544384" y="5289771"/>
                </a:cubicBezTo>
                <a:cubicBezTo>
                  <a:pt x="2544384" y="5291706"/>
                  <a:pt x="2542451" y="5291706"/>
                  <a:pt x="2542451" y="5291706"/>
                </a:cubicBezTo>
                <a:cubicBezTo>
                  <a:pt x="2540516" y="5305244"/>
                  <a:pt x="2526978" y="5303311"/>
                  <a:pt x="2519242" y="5309112"/>
                </a:cubicBezTo>
                <a:lnTo>
                  <a:pt x="2507636" y="5314916"/>
                </a:lnTo>
                <a:lnTo>
                  <a:pt x="2495066" y="5313223"/>
                </a:lnTo>
                <a:cubicBezTo>
                  <a:pt x="2492648" y="5314432"/>
                  <a:pt x="2491197" y="5317816"/>
                  <a:pt x="2488296" y="5324585"/>
                </a:cubicBezTo>
                <a:lnTo>
                  <a:pt x="2501533" y="5317968"/>
                </a:lnTo>
                <a:lnTo>
                  <a:pt x="2492164" y="5322652"/>
                </a:lnTo>
                <a:cubicBezTo>
                  <a:pt x="2488296" y="5326521"/>
                  <a:pt x="2490229" y="5328454"/>
                  <a:pt x="2494099" y="5332322"/>
                </a:cubicBezTo>
                <a:cubicBezTo>
                  <a:pt x="2496032" y="5334257"/>
                  <a:pt x="2497968" y="5338123"/>
                  <a:pt x="2492164" y="5340058"/>
                </a:cubicBezTo>
                <a:cubicBezTo>
                  <a:pt x="2488296" y="5340058"/>
                  <a:pt x="2486360" y="5345862"/>
                  <a:pt x="2482492" y="5347795"/>
                </a:cubicBezTo>
                <a:cubicBezTo>
                  <a:pt x="2468954" y="5355531"/>
                  <a:pt x="2455417" y="5361333"/>
                  <a:pt x="2441877" y="5365201"/>
                </a:cubicBezTo>
                <a:cubicBezTo>
                  <a:pt x="2447680" y="5363268"/>
                  <a:pt x="2451549" y="5359400"/>
                  <a:pt x="2455417" y="5357464"/>
                </a:cubicBezTo>
                <a:cubicBezTo>
                  <a:pt x="2457351" y="5356498"/>
                  <a:pt x="2457351" y="5354080"/>
                  <a:pt x="2457593" y="5351663"/>
                </a:cubicBezTo>
                <a:lnTo>
                  <a:pt x="2459331" y="5348881"/>
                </a:lnTo>
                <a:lnTo>
                  <a:pt x="2470890" y="5343927"/>
                </a:lnTo>
                <a:lnTo>
                  <a:pt x="2466220" y="5342526"/>
                </a:lnTo>
                <a:lnTo>
                  <a:pt x="2472823" y="5338123"/>
                </a:lnTo>
                <a:lnTo>
                  <a:pt x="2462686" y="5341466"/>
                </a:lnTo>
                <a:lnTo>
                  <a:pt x="2461218" y="5341025"/>
                </a:lnTo>
                <a:lnTo>
                  <a:pt x="2460736" y="5342109"/>
                </a:lnTo>
                <a:lnTo>
                  <a:pt x="2450823" y="5345378"/>
                </a:lnTo>
                <a:cubicBezTo>
                  <a:pt x="2443812" y="5348762"/>
                  <a:pt x="2437043" y="5352631"/>
                  <a:pt x="2430274" y="5355531"/>
                </a:cubicBezTo>
                <a:cubicBezTo>
                  <a:pt x="2414799" y="5363268"/>
                  <a:pt x="2401261" y="5372940"/>
                  <a:pt x="2385788" y="5376806"/>
                </a:cubicBezTo>
                <a:cubicBezTo>
                  <a:pt x="2370315" y="5380674"/>
                  <a:pt x="2358710" y="5394214"/>
                  <a:pt x="2341304" y="5392279"/>
                </a:cubicBezTo>
                <a:cubicBezTo>
                  <a:pt x="2349041" y="5386477"/>
                  <a:pt x="2358710" y="5380674"/>
                  <a:pt x="2366447" y="5376806"/>
                </a:cubicBezTo>
                <a:cubicBezTo>
                  <a:pt x="2376117" y="5371004"/>
                  <a:pt x="2387723" y="5365201"/>
                  <a:pt x="2395458" y="5353598"/>
                </a:cubicBezTo>
                <a:cubicBezTo>
                  <a:pt x="2381920" y="5359400"/>
                  <a:pt x="2368382" y="5367136"/>
                  <a:pt x="2354842" y="5372940"/>
                </a:cubicBezTo>
                <a:cubicBezTo>
                  <a:pt x="2352909" y="5371004"/>
                  <a:pt x="2352909" y="5369071"/>
                  <a:pt x="2350974" y="5367136"/>
                </a:cubicBezTo>
                <a:cubicBezTo>
                  <a:pt x="2347106" y="5367136"/>
                  <a:pt x="2341304" y="5369071"/>
                  <a:pt x="2335501" y="5371004"/>
                </a:cubicBezTo>
                <a:cubicBezTo>
                  <a:pt x="2335501" y="5369071"/>
                  <a:pt x="2333568" y="5365201"/>
                  <a:pt x="2333568" y="5363268"/>
                </a:cubicBezTo>
                <a:cubicBezTo>
                  <a:pt x="2318095" y="5363268"/>
                  <a:pt x="2304557" y="5369071"/>
                  <a:pt x="2291017" y="5376806"/>
                </a:cubicBezTo>
                <a:cubicBezTo>
                  <a:pt x="2292950" y="5365201"/>
                  <a:pt x="2302622" y="5365201"/>
                  <a:pt x="2312291" y="5359400"/>
                </a:cubicBezTo>
                <a:cubicBezTo>
                  <a:pt x="2302622" y="5353598"/>
                  <a:pt x="2294885" y="5349730"/>
                  <a:pt x="2285216" y="5345862"/>
                </a:cubicBezTo>
                <a:cubicBezTo>
                  <a:pt x="2287149" y="5340058"/>
                  <a:pt x="2296821" y="5347795"/>
                  <a:pt x="2298754" y="5341991"/>
                </a:cubicBezTo>
                <a:cubicBezTo>
                  <a:pt x="2291017" y="5334257"/>
                  <a:pt x="2285216" y="5334257"/>
                  <a:pt x="2275544" y="5340058"/>
                </a:cubicBezTo>
                <a:cubicBezTo>
                  <a:pt x="2269743" y="5343927"/>
                  <a:pt x="2262007" y="5349730"/>
                  <a:pt x="2254270" y="5355531"/>
                </a:cubicBezTo>
                <a:cubicBezTo>
                  <a:pt x="2252335" y="5341991"/>
                  <a:pt x="2265875" y="5341991"/>
                  <a:pt x="2267808" y="5332322"/>
                </a:cubicBezTo>
                <a:cubicBezTo>
                  <a:pt x="2262007" y="5336190"/>
                  <a:pt x="2258138" y="5340058"/>
                  <a:pt x="2250402" y="5343927"/>
                </a:cubicBezTo>
                <a:cubicBezTo>
                  <a:pt x="2254270" y="5338123"/>
                  <a:pt x="2256203" y="5334257"/>
                  <a:pt x="2260071" y="5330389"/>
                </a:cubicBezTo>
                <a:cubicBezTo>
                  <a:pt x="2256203" y="5328454"/>
                  <a:pt x="2252335" y="5328454"/>
                  <a:pt x="2248466" y="5326521"/>
                </a:cubicBezTo>
                <a:cubicBezTo>
                  <a:pt x="2250402" y="5314916"/>
                  <a:pt x="2271676" y="5322652"/>
                  <a:pt x="2267808" y="5307179"/>
                </a:cubicBezTo>
                <a:cubicBezTo>
                  <a:pt x="2256203" y="5311048"/>
                  <a:pt x="2265875" y="5297508"/>
                  <a:pt x="2258138" y="5297508"/>
                </a:cubicBezTo>
                <a:cubicBezTo>
                  <a:pt x="2250402" y="5303311"/>
                  <a:pt x="2244598" y="5311048"/>
                  <a:pt x="2238797" y="5316849"/>
                </a:cubicBezTo>
                <a:cubicBezTo>
                  <a:pt x="2231061" y="5312981"/>
                  <a:pt x="2236864" y="5307179"/>
                  <a:pt x="2234929" y="5303311"/>
                </a:cubicBezTo>
                <a:cubicBezTo>
                  <a:pt x="2232996" y="5295575"/>
                  <a:pt x="2244598" y="5299443"/>
                  <a:pt x="2242665" y="5291706"/>
                </a:cubicBezTo>
                <a:cubicBezTo>
                  <a:pt x="2234929" y="5283970"/>
                  <a:pt x="2231061" y="5295575"/>
                  <a:pt x="2223324" y="5293639"/>
                </a:cubicBezTo>
                <a:cubicBezTo>
                  <a:pt x="2223324" y="5291706"/>
                  <a:pt x="2223324" y="5287838"/>
                  <a:pt x="2225257" y="5283970"/>
                </a:cubicBezTo>
                <a:cubicBezTo>
                  <a:pt x="2223324" y="5282035"/>
                  <a:pt x="2219456" y="5282035"/>
                  <a:pt x="2217523" y="5282035"/>
                </a:cubicBezTo>
                <a:cubicBezTo>
                  <a:pt x="2223324" y="5274298"/>
                  <a:pt x="2231061" y="5266564"/>
                  <a:pt x="2234929" y="5260760"/>
                </a:cubicBezTo>
                <a:cubicBezTo>
                  <a:pt x="2234929" y="5253024"/>
                  <a:pt x="2236864" y="5247223"/>
                  <a:pt x="2236864" y="5241419"/>
                </a:cubicBezTo>
                <a:cubicBezTo>
                  <a:pt x="2227192" y="5249156"/>
                  <a:pt x="2217523" y="5254957"/>
                  <a:pt x="2207851" y="5262696"/>
                </a:cubicBezTo>
                <a:cubicBezTo>
                  <a:pt x="2200114" y="5268497"/>
                  <a:pt x="2190445" y="5276233"/>
                  <a:pt x="2180773" y="5282035"/>
                </a:cubicBezTo>
                <a:cubicBezTo>
                  <a:pt x="2178840" y="5283970"/>
                  <a:pt x="2174972" y="5283970"/>
                  <a:pt x="2173037" y="5283970"/>
                </a:cubicBezTo>
                <a:cubicBezTo>
                  <a:pt x="2176905" y="5282035"/>
                  <a:pt x="2178840" y="5278166"/>
                  <a:pt x="2182706" y="5276233"/>
                </a:cubicBezTo>
                <a:cubicBezTo>
                  <a:pt x="2182706" y="5276233"/>
                  <a:pt x="2180773" y="5274298"/>
                  <a:pt x="2180773" y="5274298"/>
                </a:cubicBezTo>
                <a:cubicBezTo>
                  <a:pt x="2174972" y="5276233"/>
                  <a:pt x="2171104" y="5280102"/>
                  <a:pt x="2165300" y="5282035"/>
                </a:cubicBezTo>
                <a:cubicBezTo>
                  <a:pt x="2176905" y="5266564"/>
                  <a:pt x="2196246" y="5256892"/>
                  <a:pt x="2207851" y="5245287"/>
                </a:cubicBezTo>
                <a:cubicBezTo>
                  <a:pt x="2209786" y="5237551"/>
                  <a:pt x="2211719" y="5229814"/>
                  <a:pt x="2213655" y="5222078"/>
                </a:cubicBezTo>
                <a:cubicBezTo>
                  <a:pt x="2209786" y="5218209"/>
                  <a:pt x="2207851" y="5212408"/>
                  <a:pt x="2205916" y="5208540"/>
                </a:cubicBezTo>
                <a:cubicBezTo>
                  <a:pt x="2203983" y="5202736"/>
                  <a:pt x="2192378" y="5208540"/>
                  <a:pt x="2196246" y="5198871"/>
                </a:cubicBezTo>
                <a:cubicBezTo>
                  <a:pt x="2182706" y="5193067"/>
                  <a:pt x="2174972" y="5202736"/>
                  <a:pt x="2163367" y="5204672"/>
                </a:cubicBezTo>
                <a:cubicBezTo>
                  <a:pt x="2167236" y="5200804"/>
                  <a:pt x="2169168" y="5198871"/>
                  <a:pt x="2171104" y="5195000"/>
                </a:cubicBezTo>
                <a:cubicBezTo>
                  <a:pt x="2153695" y="5200804"/>
                  <a:pt x="2142091" y="5214341"/>
                  <a:pt x="2124685" y="5220145"/>
                </a:cubicBezTo>
                <a:cubicBezTo>
                  <a:pt x="2126620" y="5208540"/>
                  <a:pt x="2138223" y="5208540"/>
                  <a:pt x="2144026" y="5202736"/>
                </a:cubicBezTo>
                <a:cubicBezTo>
                  <a:pt x="2151762" y="5196935"/>
                  <a:pt x="2157564" y="5189199"/>
                  <a:pt x="2165300" y="5181462"/>
                </a:cubicBezTo>
                <a:cubicBezTo>
                  <a:pt x="2149829" y="5181462"/>
                  <a:pt x="2145959" y="5189199"/>
                  <a:pt x="2138223" y="5195000"/>
                </a:cubicBezTo>
                <a:cubicBezTo>
                  <a:pt x="2130488" y="5200804"/>
                  <a:pt x="2122752" y="5204672"/>
                  <a:pt x="2113080" y="5210473"/>
                </a:cubicBezTo>
                <a:cubicBezTo>
                  <a:pt x="2120816" y="5191132"/>
                  <a:pt x="2136290" y="5181462"/>
                  <a:pt x="2149829" y="5169857"/>
                </a:cubicBezTo>
                <a:cubicBezTo>
                  <a:pt x="2149829" y="5164054"/>
                  <a:pt x="2147894" y="5160188"/>
                  <a:pt x="2147894" y="5154384"/>
                </a:cubicBezTo>
                <a:cubicBezTo>
                  <a:pt x="2145959" y="5154384"/>
                  <a:pt x="2142091" y="5156320"/>
                  <a:pt x="2138223" y="5158253"/>
                </a:cubicBezTo>
                <a:cubicBezTo>
                  <a:pt x="2138223" y="5154384"/>
                  <a:pt x="2140158" y="5150516"/>
                  <a:pt x="2140158" y="5144713"/>
                </a:cubicBezTo>
                <a:cubicBezTo>
                  <a:pt x="2128553" y="5152451"/>
                  <a:pt x="2118881" y="5160188"/>
                  <a:pt x="2107279" y="5167922"/>
                </a:cubicBezTo>
                <a:cubicBezTo>
                  <a:pt x="2105343" y="5167922"/>
                  <a:pt x="2105343" y="5165989"/>
                  <a:pt x="2105343" y="5165989"/>
                </a:cubicBezTo>
                <a:cubicBezTo>
                  <a:pt x="2109212" y="5160188"/>
                  <a:pt x="2113080" y="5156320"/>
                  <a:pt x="2118881" y="5148583"/>
                </a:cubicBezTo>
                <a:cubicBezTo>
                  <a:pt x="2115013" y="5148583"/>
                  <a:pt x="2113080" y="5148583"/>
                  <a:pt x="2107279" y="5148583"/>
                </a:cubicBezTo>
                <a:cubicBezTo>
                  <a:pt x="2115013" y="5138911"/>
                  <a:pt x="2122752" y="5131175"/>
                  <a:pt x="2132421" y="5121505"/>
                </a:cubicBezTo>
                <a:cubicBezTo>
                  <a:pt x="2126620" y="5121505"/>
                  <a:pt x="2122752" y="5121505"/>
                  <a:pt x="2118881" y="5121505"/>
                </a:cubicBezTo>
                <a:cubicBezTo>
                  <a:pt x="2120816" y="5117637"/>
                  <a:pt x="2122752" y="5115702"/>
                  <a:pt x="2124685" y="5111836"/>
                </a:cubicBezTo>
                <a:cubicBezTo>
                  <a:pt x="2113080" y="5113769"/>
                  <a:pt x="2116948" y="5098296"/>
                  <a:pt x="2105343" y="5096361"/>
                </a:cubicBezTo>
                <a:cubicBezTo>
                  <a:pt x="2109212" y="5094428"/>
                  <a:pt x="2113080" y="5090559"/>
                  <a:pt x="2115013" y="5088626"/>
                </a:cubicBezTo>
                <a:cubicBezTo>
                  <a:pt x="2113080" y="5086691"/>
                  <a:pt x="2113080" y="5086691"/>
                  <a:pt x="2113080" y="5086691"/>
                </a:cubicBezTo>
                <a:cubicBezTo>
                  <a:pt x="2109212" y="5090559"/>
                  <a:pt x="2103410" y="5092495"/>
                  <a:pt x="2099542" y="5094428"/>
                </a:cubicBezTo>
                <a:cubicBezTo>
                  <a:pt x="2099542" y="5094428"/>
                  <a:pt x="2097607" y="5092495"/>
                  <a:pt x="2097607" y="5092495"/>
                </a:cubicBezTo>
                <a:cubicBezTo>
                  <a:pt x="2107279" y="5084756"/>
                  <a:pt x="2116948" y="5077019"/>
                  <a:pt x="2126620" y="5067350"/>
                </a:cubicBezTo>
                <a:cubicBezTo>
                  <a:pt x="2128553" y="5069285"/>
                  <a:pt x="2132421" y="5071218"/>
                  <a:pt x="2134354" y="5073153"/>
                </a:cubicBezTo>
                <a:cubicBezTo>
                  <a:pt x="2144026" y="5067350"/>
                  <a:pt x="2134354" y="5063482"/>
                  <a:pt x="2136290" y="5057678"/>
                </a:cubicBezTo>
                <a:cubicBezTo>
                  <a:pt x="2147894" y="5051877"/>
                  <a:pt x="2144026" y="5042207"/>
                  <a:pt x="2144026" y="5030603"/>
                </a:cubicBezTo>
                <a:cubicBezTo>
                  <a:pt x="2138223" y="5026734"/>
                  <a:pt x="2132421" y="5022866"/>
                  <a:pt x="2124685" y="5018998"/>
                </a:cubicBezTo>
                <a:cubicBezTo>
                  <a:pt x="2130488" y="5009326"/>
                  <a:pt x="2138223" y="5001592"/>
                  <a:pt x="2144026" y="4993853"/>
                </a:cubicBezTo>
                <a:cubicBezTo>
                  <a:pt x="2144026" y="4993853"/>
                  <a:pt x="2144026" y="4991920"/>
                  <a:pt x="2144026" y="4991920"/>
                </a:cubicBezTo>
                <a:cubicBezTo>
                  <a:pt x="2140158" y="4991920"/>
                  <a:pt x="2136290" y="4991920"/>
                  <a:pt x="2134354" y="4993853"/>
                </a:cubicBezTo>
                <a:cubicBezTo>
                  <a:pt x="2118881" y="5003525"/>
                  <a:pt x="2105343" y="5015130"/>
                  <a:pt x="2089870" y="5024801"/>
                </a:cubicBezTo>
                <a:cubicBezTo>
                  <a:pt x="2086002" y="5026734"/>
                  <a:pt x="2084069" y="5028667"/>
                  <a:pt x="2080201" y="5028667"/>
                </a:cubicBezTo>
                <a:cubicBezTo>
                  <a:pt x="2078265" y="5030603"/>
                  <a:pt x="2074397" y="5028667"/>
                  <a:pt x="2074397" y="5030603"/>
                </a:cubicBezTo>
                <a:cubicBezTo>
                  <a:pt x="2066661" y="5042207"/>
                  <a:pt x="2053123" y="5042207"/>
                  <a:pt x="2041518" y="5048009"/>
                </a:cubicBezTo>
                <a:cubicBezTo>
                  <a:pt x="2020244" y="5057678"/>
                  <a:pt x="1911933" y="5030603"/>
                  <a:pt x="1892592" y="5044140"/>
                </a:cubicBezTo>
                <a:cubicBezTo>
                  <a:pt x="1889691" y="5046074"/>
                  <a:pt x="1886307" y="5048976"/>
                  <a:pt x="1882197" y="5050910"/>
                </a:cubicBezTo>
                <a:lnTo>
                  <a:pt x="1870196" y="5051697"/>
                </a:lnTo>
                <a:lnTo>
                  <a:pt x="1875186" y="5048009"/>
                </a:lnTo>
                <a:cubicBezTo>
                  <a:pt x="1879054" y="5046076"/>
                  <a:pt x="1880987" y="5042207"/>
                  <a:pt x="1882922" y="5042207"/>
                </a:cubicBezTo>
                <a:cubicBezTo>
                  <a:pt x="1882922" y="5042207"/>
                  <a:pt x="1880987" y="5040272"/>
                  <a:pt x="1880987" y="5040272"/>
                </a:cubicBezTo>
                <a:cubicBezTo>
                  <a:pt x="1875186" y="5042207"/>
                  <a:pt x="1871317" y="5046076"/>
                  <a:pt x="1865516" y="5048009"/>
                </a:cubicBezTo>
                <a:cubicBezTo>
                  <a:pt x="1863581" y="5046076"/>
                  <a:pt x="1863581" y="5044140"/>
                  <a:pt x="1861646" y="5042207"/>
                </a:cubicBezTo>
                <a:cubicBezTo>
                  <a:pt x="1857777" y="5044140"/>
                  <a:pt x="1851976" y="5046076"/>
                  <a:pt x="1853909" y="5051877"/>
                </a:cubicBezTo>
                <a:cubicBezTo>
                  <a:pt x="1855844" y="5053812"/>
                  <a:pt x="1853909" y="5057678"/>
                  <a:pt x="1851976" y="5057678"/>
                </a:cubicBezTo>
                <a:lnTo>
                  <a:pt x="1846700" y="5060844"/>
                </a:lnTo>
                <a:lnTo>
                  <a:pt x="1840371" y="5059613"/>
                </a:lnTo>
                <a:cubicBezTo>
                  <a:pt x="1834568" y="5063482"/>
                  <a:pt x="1830702" y="5067350"/>
                  <a:pt x="1824898" y="5069285"/>
                </a:cubicBezTo>
                <a:cubicBezTo>
                  <a:pt x="1821998" y="5071219"/>
                  <a:pt x="1818613" y="5072186"/>
                  <a:pt x="1816196" y="5074120"/>
                </a:cubicBezTo>
                <a:lnTo>
                  <a:pt x="1814721" y="5079526"/>
                </a:lnTo>
                <a:lnTo>
                  <a:pt x="1797821" y="5088626"/>
                </a:lnTo>
                <a:cubicBezTo>
                  <a:pt x="1794920" y="5090560"/>
                  <a:pt x="1793470" y="5092011"/>
                  <a:pt x="1793470" y="5093703"/>
                </a:cubicBezTo>
                <a:lnTo>
                  <a:pt x="1796901" y="5098849"/>
                </a:lnTo>
                <a:lnTo>
                  <a:pt x="1788151" y="5104097"/>
                </a:lnTo>
                <a:cubicBezTo>
                  <a:pt x="1786216" y="5100229"/>
                  <a:pt x="1784283" y="5098296"/>
                  <a:pt x="1782350" y="5096361"/>
                </a:cubicBezTo>
                <a:cubicBezTo>
                  <a:pt x="1780415" y="5104097"/>
                  <a:pt x="1770743" y="5106032"/>
                  <a:pt x="1768810" y="5115702"/>
                </a:cubicBezTo>
                <a:cubicBezTo>
                  <a:pt x="1768810" y="5119570"/>
                  <a:pt x="1759140" y="5125374"/>
                  <a:pt x="1755272" y="5123438"/>
                </a:cubicBezTo>
                <a:cubicBezTo>
                  <a:pt x="1743667" y="5119570"/>
                  <a:pt x="1737864" y="5125374"/>
                  <a:pt x="1733996" y="5133110"/>
                </a:cubicBezTo>
                <a:cubicBezTo>
                  <a:pt x="1726259" y="5135043"/>
                  <a:pt x="1720458" y="5135043"/>
                  <a:pt x="1712721" y="5135043"/>
                </a:cubicBezTo>
                <a:cubicBezTo>
                  <a:pt x="1714654" y="5138911"/>
                  <a:pt x="1716590" y="5140847"/>
                  <a:pt x="1718523" y="5142780"/>
                </a:cubicBezTo>
                <a:cubicBezTo>
                  <a:pt x="1701117" y="5152451"/>
                  <a:pt x="1685644" y="5162121"/>
                  <a:pt x="1668238" y="5171790"/>
                </a:cubicBezTo>
                <a:cubicBezTo>
                  <a:pt x="1670171" y="5169857"/>
                  <a:pt x="1672106" y="5167922"/>
                  <a:pt x="1675974" y="5164054"/>
                </a:cubicBezTo>
                <a:cubicBezTo>
                  <a:pt x="1664367" y="5167922"/>
                  <a:pt x="1652765" y="5167922"/>
                  <a:pt x="1645028" y="5179529"/>
                </a:cubicBezTo>
                <a:cubicBezTo>
                  <a:pt x="1645028" y="5179529"/>
                  <a:pt x="1643093" y="5181462"/>
                  <a:pt x="1643093" y="5181462"/>
                </a:cubicBezTo>
                <a:cubicBezTo>
                  <a:pt x="1631488" y="5179529"/>
                  <a:pt x="1629555" y="5189199"/>
                  <a:pt x="1623752" y="5195000"/>
                </a:cubicBezTo>
                <a:cubicBezTo>
                  <a:pt x="1619883" y="5200804"/>
                  <a:pt x="1614082" y="5204672"/>
                  <a:pt x="1606346" y="5204672"/>
                </a:cubicBezTo>
                <a:cubicBezTo>
                  <a:pt x="1606346" y="5200804"/>
                  <a:pt x="1604410" y="5198871"/>
                  <a:pt x="1604410" y="5196935"/>
                </a:cubicBezTo>
                <a:cubicBezTo>
                  <a:pt x="1596674" y="5198871"/>
                  <a:pt x="1592805" y="5202736"/>
                  <a:pt x="1588940" y="5210473"/>
                </a:cubicBezTo>
                <a:cubicBezTo>
                  <a:pt x="1587004" y="5216277"/>
                  <a:pt x="1579268" y="5220145"/>
                  <a:pt x="1569598" y="5220145"/>
                </a:cubicBezTo>
                <a:cubicBezTo>
                  <a:pt x="1571531" y="5216277"/>
                  <a:pt x="1575400" y="5214341"/>
                  <a:pt x="1579268" y="5208540"/>
                </a:cubicBezTo>
                <a:cubicBezTo>
                  <a:pt x="1563795" y="5212408"/>
                  <a:pt x="1552190" y="5216277"/>
                  <a:pt x="1536717" y="5222078"/>
                </a:cubicBezTo>
                <a:cubicBezTo>
                  <a:pt x="1540585" y="5218209"/>
                  <a:pt x="1542521" y="5214341"/>
                  <a:pt x="1546389" y="5212408"/>
                </a:cubicBezTo>
                <a:cubicBezTo>
                  <a:pt x="1544453" y="5210473"/>
                  <a:pt x="1542521" y="5210473"/>
                  <a:pt x="1542521" y="5210473"/>
                </a:cubicBezTo>
                <a:cubicBezTo>
                  <a:pt x="1527048" y="5218209"/>
                  <a:pt x="1513507" y="5224013"/>
                  <a:pt x="1498037" y="5231747"/>
                </a:cubicBezTo>
                <a:cubicBezTo>
                  <a:pt x="1478696" y="5241419"/>
                  <a:pt x="1459354" y="5249156"/>
                  <a:pt x="1440013" y="5258827"/>
                </a:cubicBezTo>
                <a:cubicBezTo>
                  <a:pt x="1440013" y="5258827"/>
                  <a:pt x="1438078" y="5258827"/>
                  <a:pt x="1438078" y="5258827"/>
                </a:cubicBezTo>
                <a:lnTo>
                  <a:pt x="1461787" y="5243853"/>
                </a:lnTo>
                <a:lnTo>
                  <a:pt x="1463222" y="5245287"/>
                </a:lnTo>
                <a:cubicBezTo>
                  <a:pt x="1465155" y="5243354"/>
                  <a:pt x="1467088" y="5243354"/>
                  <a:pt x="1469024" y="5241419"/>
                </a:cubicBezTo>
                <a:lnTo>
                  <a:pt x="1467713" y="5240111"/>
                </a:lnTo>
                <a:lnTo>
                  <a:pt x="1474827" y="5235618"/>
                </a:lnTo>
                <a:cubicBezTo>
                  <a:pt x="1470957" y="5231747"/>
                  <a:pt x="1467088" y="5229814"/>
                  <a:pt x="1461287" y="5231747"/>
                </a:cubicBezTo>
                <a:cubicBezTo>
                  <a:pt x="1447749" y="5237551"/>
                  <a:pt x="1436145" y="5241419"/>
                  <a:pt x="1422605" y="5247223"/>
                </a:cubicBezTo>
                <a:cubicBezTo>
                  <a:pt x="1418736" y="5249156"/>
                  <a:pt x="1414870" y="5249156"/>
                  <a:pt x="1411002" y="5249156"/>
                </a:cubicBezTo>
                <a:cubicBezTo>
                  <a:pt x="1416803" y="5235618"/>
                  <a:pt x="1428408" y="5231747"/>
                  <a:pt x="1438078" y="5225946"/>
                </a:cubicBezTo>
                <a:cubicBezTo>
                  <a:pt x="1440013" y="5224013"/>
                  <a:pt x="1441946" y="5224013"/>
                  <a:pt x="1443881" y="5222078"/>
                </a:cubicBezTo>
                <a:cubicBezTo>
                  <a:pt x="1441946" y="5222078"/>
                  <a:pt x="1441946" y="5220145"/>
                  <a:pt x="1441946" y="5220145"/>
                </a:cubicBezTo>
                <a:cubicBezTo>
                  <a:pt x="1424540" y="5227881"/>
                  <a:pt x="1409067" y="5235618"/>
                  <a:pt x="1391661" y="5243354"/>
                </a:cubicBezTo>
                <a:cubicBezTo>
                  <a:pt x="1387793" y="5239486"/>
                  <a:pt x="1383922" y="5231747"/>
                  <a:pt x="1374253" y="5233683"/>
                </a:cubicBezTo>
                <a:cubicBezTo>
                  <a:pt x="1376188" y="5237551"/>
                  <a:pt x="1378121" y="5237551"/>
                  <a:pt x="1378121" y="5239486"/>
                </a:cubicBezTo>
                <a:cubicBezTo>
                  <a:pt x="1380054" y="5241419"/>
                  <a:pt x="1381989" y="5245287"/>
                  <a:pt x="1381989" y="5247223"/>
                </a:cubicBezTo>
                <a:cubicBezTo>
                  <a:pt x="1380054" y="5251088"/>
                  <a:pt x="1376188" y="5253024"/>
                  <a:pt x="1374253" y="5253024"/>
                </a:cubicBezTo>
                <a:cubicBezTo>
                  <a:pt x="1364583" y="5251088"/>
                  <a:pt x="1360713" y="5256892"/>
                  <a:pt x="1352978" y="5258827"/>
                </a:cubicBezTo>
                <a:cubicBezTo>
                  <a:pt x="1345242" y="5260760"/>
                  <a:pt x="1337505" y="5264629"/>
                  <a:pt x="1331702" y="5268497"/>
                </a:cubicBezTo>
                <a:cubicBezTo>
                  <a:pt x="1325901" y="5272365"/>
                  <a:pt x="1320097" y="5274298"/>
                  <a:pt x="1312361" y="5276233"/>
                </a:cubicBezTo>
                <a:cubicBezTo>
                  <a:pt x="1314296" y="5274298"/>
                  <a:pt x="1316229" y="5270430"/>
                  <a:pt x="1318164" y="5266564"/>
                </a:cubicBezTo>
                <a:cubicBezTo>
                  <a:pt x="1289153" y="5272365"/>
                  <a:pt x="1269812" y="5293639"/>
                  <a:pt x="1242734" y="5303311"/>
                </a:cubicBezTo>
                <a:cubicBezTo>
                  <a:pt x="1242734" y="5299443"/>
                  <a:pt x="1240801" y="5295575"/>
                  <a:pt x="1240801" y="5291706"/>
                </a:cubicBezTo>
                <a:cubicBezTo>
                  <a:pt x="1240801" y="5289771"/>
                  <a:pt x="1242734" y="5289771"/>
                  <a:pt x="1242734" y="5289771"/>
                </a:cubicBezTo>
                <a:cubicBezTo>
                  <a:pt x="1246603" y="5293639"/>
                  <a:pt x="1250471" y="5291706"/>
                  <a:pt x="1254339" y="5289771"/>
                </a:cubicBezTo>
                <a:cubicBezTo>
                  <a:pt x="1267877" y="5283970"/>
                  <a:pt x="1279482" y="5276233"/>
                  <a:pt x="1293019" y="5270430"/>
                </a:cubicBezTo>
                <a:cubicBezTo>
                  <a:pt x="1294955" y="5268497"/>
                  <a:pt x="1298823" y="5266564"/>
                  <a:pt x="1300758" y="5266564"/>
                </a:cubicBezTo>
                <a:cubicBezTo>
                  <a:pt x="1312361" y="5264629"/>
                  <a:pt x="1320097" y="5256892"/>
                  <a:pt x="1329769" y="5247223"/>
                </a:cubicBezTo>
                <a:cubicBezTo>
                  <a:pt x="1323965" y="5247223"/>
                  <a:pt x="1322032" y="5247223"/>
                  <a:pt x="1320097" y="5247223"/>
                </a:cubicBezTo>
                <a:cubicBezTo>
                  <a:pt x="1312361" y="5249156"/>
                  <a:pt x="1302691" y="5253024"/>
                  <a:pt x="1294955" y="5256892"/>
                </a:cubicBezTo>
                <a:cubicBezTo>
                  <a:pt x="1291086" y="5256892"/>
                  <a:pt x="1287218" y="5256892"/>
                  <a:pt x="1285285" y="5254957"/>
                </a:cubicBezTo>
                <a:cubicBezTo>
                  <a:pt x="1281417" y="5253024"/>
                  <a:pt x="1279482" y="5251088"/>
                  <a:pt x="1275613" y="5247223"/>
                </a:cubicBezTo>
                <a:cubicBezTo>
                  <a:pt x="1283350" y="5243354"/>
                  <a:pt x="1294955" y="5243354"/>
                  <a:pt x="1291086" y="5227881"/>
                </a:cubicBezTo>
                <a:cubicBezTo>
                  <a:pt x="1296888" y="5231747"/>
                  <a:pt x="1300758" y="5235618"/>
                  <a:pt x="1304626" y="5237551"/>
                </a:cubicBezTo>
                <a:cubicBezTo>
                  <a:pt x="1310428" y="5233683"/>
                  <a:pt x="1312361" y="5225946"/>
                  <a:pt x="1320097" y="5224013"/>
                </a:cubicBezTo>
                <a:cubicBezTo>
                  <a:pt x="1322032" y="5224013"/>
                  <a:pt x="1323965" y="5216277"/>
                  <a:pt x="1325901" y="5212408"/>
                </a:cubicBezTo>
                <a:cubicBezTo>
                  <a:pt x="1327836" y="5212408"/>
                  <a:pt x="1331702" y="5212408"/>
                  <a:pt x="1335570" y="5212408"/>
                </a:cubicBezTo>
                <a:cubicBezTo>
                  <a:pt x="1335570" y="5208540"/>
                  <a:pt x="1333637" y="5204672"/>
                  <a:pt x="1331702" y="5198871"/>
                </a:cubicBezTo>
                <a:cubicBezTo>
                  <a:pt x="1323965" y="5210473"/>
                  <a:pt x="1316229" y="5204672"/>
                  <a:pt x="1306559" y="5204672"/>
                </a:cubicBezTo>
                <a:cubicBezTo>
                  <a:pt x="1310428" y="5200804"/>
                  <a:pt x="1310428" y="5198871"/>
                  <a:pt x="1312361" y="5196935"/>
                </a:cubicBezTo>
                <a:cubicBezTo>
                  <a:pt x="1322032" y="5191132"/>
                  <a:pt x="1327836" y="5185330"/>
                  <a:pt x="1331702" y="5175661"/>
                </a:cubicBezTo>
                <a:cubicBezTo>
                  <a:pt x="1333637" y="5171790"/>
                  <a:pt x="1339438" y="5169857"/>
                  <a:pt x="1343307" y="5165989"/>
                </a:cubicBezTo>
                <a:cubicBezTo>
                  <a:pt x="1356847" y="5156320"/>
                  <a:pt x="1366516" y="5144713"/>
                  <a:pt x="1374253" y="5127307"/>
                </a:cubicBezTo>
                <a:cubicBezTo>
                  <a:pt x="1368451" y="5131175"/>
                  <a:pt x="1362648" y="5135043"/>
                  <a:pt x="1356847" y="5136978"/>
                </a:cubicBezTo>
                <a:cubicBezTo>
                  <a:pt x="1349110" y="5138911"/>
                  <a:pt x="1341374" y="5140847"/>
                  <a:pt x="1343307" y="5152451"/>
                </a:cubicBezTo>
                <a:cubicBezTo>
                  <a:pt x="1337505" y="5148583"/>
                  <a:pt x="1331702" y="5152451"/>
                  <a:pt x="1325901" y="5156320"/>
                </a:cubicBezTo>
                <a:cubicBezTo>
                  <a:pt x="1316229" y="5164054"/>
                  <a:pt x="1306559" y="5171790"/>
                  <a:pt x="1294955" y="5181462"/>
                </a:cubicBezTo>
                <a:cubicBezTo>
                  <a:pt x="1298823" y="5183395"/>
                  <a:pt x="1300758" y="5185330"/>
                  <a:pt x="1302691" y="5187263"/>
                </a:cubicBezTo>
                <a:cubicBezTo>
                  <a:pt x="1298823" y="5193067"/>
                  <a:pt x="1294955" y="5189199"/>
                  <a:pt x="1293019" y="5185330"/>
                </a:cubicBezTo>
                <a:cubicBezTo>
                  <a:pt x="1291086" y="5183395"/>
                  <a:pt x="1291086" y="5179529"/>
                  <a:pt x="1291086" y="5175661"/>
                </a:cubicBezTo>
                <a:cubicBezTo>
                  <a:pt x="1279482" y="5183395"/>
                  <a:pt x="1267877" y="5191132"/>
                  <a:pt x="1252404" y="5191132"/>
                </a:cubicBezTo>
                <a:cubicBezTo>
                  <a:pt x="1254339" y="5191132"/>
                  <a:pt x="1256272" y="5189199"/>
                  <a:pt x="1258207" y="5187263"/>
                </a:cubicBezTo>
                <a:cubicBezTo>
                  <a:pt x="1264009" y="5183395"/>
                  <a:pt x="1269812" y="5181462"/>
                  <a:pt x="1275613" y="5177594"/>
                </a:cubicBezTo>
                <a:cubicBezTo>
                  <a:pt x="1283350" y="5173726"/>
                  <a:pt x="1289153" y="5165989"/>
                  <a:pt x="1293019" y="5156320"/>
                </a:cubicBezTo>
                <a:cubicBezTo>
                  <a:pt x="1296888" y="5150516"/>
                  <a:pt x="1300758" y="5148583"/>
                  <a:pt x="1306559" y="5142780"/>
                </a:cubicBezTo>
                <a:cubicBezTo>
                  <a:pt x="1310428" y="5146648"/>
                  <a:pt x="1310428" y="5148583"/>
                  <a:pt x="1312361" y="5150516"/>
                </a:cubicBezTo>
                <a:cubicBezTo>
                  <a:pt x="1320097" y="5148583"/>
                  <a:pt x="1320097" y="5142780"/>
                  <a:pt x="1318164" y="5138911"/>
                </a:cubicBezTo>
                <a:cubicBezTo>
                  <a:pt x="1325901" y="5131175"/>
                  <a:pt x="1331702" y="5125374"/>
                  <a:pt x="1337505" y="5117637"/>
                </a:cubicBezTo>
                <a:cubicBezTo>
                  <a:pt x="1339438" y="5115702"/>
                  <a:pt x="1343307" y="5111836"/>
                  <a:pt x="1345242" y="5111836"/>
                </a:cubicBezTo>
                <a:cubicBezTo>
                  <a:pt x="1352978" y="5111836"/>
                  <a:pt x="1358780" y="5107965"/>
                  <a:pt x="1364583" y="5102164"/>
                </a:cubicBezTo>
                <a:lnTo>
                  <a:pt x="1369543" y="5095551"/>
                </a:lnTo>
                <a:lnTo>
                  <a:pt x="1376429" y="5094427"/>
                </a:lnTo>
                <a:cubicBezTo>
                  <a:pt x="1379088" y="5092010"/>
                  <a:pt x="1381022" y="5088625"/>
                  <a:pt x="1383922" y="5086691"/>
                </a:cubicBezTo>
                <a:lnTo>
                  <a:pt x="1375502" y="5087606"/>
                </a:lnTo>
                <a:lnTo>
                  <a:pt x="1376188" y="5086691"/>
                </a:lnTo>
                <a:cubicBezTo>
                  <a:pt x="1376188" y="5086691"/>
                  <a:pt x="1374253" y="5084756"/>
                  <a:pt x="1374253" y="5084756"/>
                </a:cubicBezTo>
                <a:cubicBezTo>
                  <a:pt x="1368451" y="5088626"/>
                  <a:pt x="1360713" y="5092495"/>
                  <a:pt x="1354911" y="5096361"/>
                </a:cubicBezTo>
                <a:cubicBezTo>
                  <a:pt x="1352978" y="5096361"/>
                  <a:pt x="1351043" y="5098296"/>
                  <a:pt x="1349110" y="5100229"/>
                </a:cubicBezTo>
                <a:cubicBezTo>
                  <a:pt x="1339438" y="5107965"/>
                  <a:pt x="1327836" y="5113769"/>
                  <a:pt x="1316229" y="5107965"/>
                </a:cubicBezTo>
                <a:cubicBezTo>
                  <a:pt x="1308495" y="5113769"/>
                  <a:pt x="1318164" y="5119570"/>
                  <a:pt x="1310428" y="5123438"/>
                </a:cubicBezTo>
                <a:cubicBezTo>
                  <a:pt x="1304626" y="5125374"/>
                  <a:pt x="1298823" y="5125374"/>
                  <a:pt x="1293019" y="5127307"/>
                </a:cubicBezTo>
                <a:cubicBezTo>
                  <a:pt x="1294955" y="5121505"/>
                  <a:pt x="1296888" y="5117637"/>
                  <a:pt x="1298823" y="5111836"/>
                </a:cubicBezTo>
                <a:cubicBezTo>
                  <a:pt x="1281417" y="5119570"/>
                  <a:pt x="1265944" y="5127307"/>
                  <a:pt x="1252404" y="5135043"/>
                </a:cubicBezTo>
                <a:cubicBezTo>
                  <a:pt x="1252404" y="5135043"/>
                  <a:pt x="1250471" y="5133110"/>
                  <a:pt x="1250471" y="5133110"/>
                </a:cubicBezTo>
                <a:cubicBezTo>
                  <a:pt x="1258207" y="5123438"/>
                  <a:pt x="1269812" y="5119570"/>
                  <a:pt x="1279482" y="5111836"/>
                </a:cubicBezTo>
                <a:cubicBezTo>
                  <a:pt x="1287218" y="5104097"/>
                  <a:pt x="1298823" y="5098296"/>
                  <a:pt x="1306559" y="5088626"/>
                </a:cubicBezTo>
                <a:cubicBezTo>
                  <a:pt x="1296888" y="5094428"/>
                  <a:pt x="1285285" y="5102164"/>
                  <a:pt x="1275613" y="5107965"/>
                </a:cubicBezTo>
                <a:cubicBezTo>
                  <a:pt x="1275613" y="5106032"/>
                  <a:pt x="1275613" y="5106032"/>
                  <a:pt x="1275613" y="5106032"/>
                </a:cubicBezTo>
                <a:cubicBezTo>
                  <a:pt x="1279482" y="5102164"/>
                  <a:pt x="1285285" y="5098296"/>
                  <a:pt x="1289153" y="5094428"/>
                </a:cubicBezTo>
                <a:cubicBezTo>
                  <a:pt x="1293019" y="5090559"/>
                  <a:pt x="1298823" y="5088626"/>
                  <a:pt x="1302691" y="5082823"/>
                </a:cubicBezTo>
                <a:cubicBezTo>
                  <a:pt x="1283350" y="5094428"/>
                  <a:pt x="1264009" y="5104097"/>
                  <a:pt x="1244667" y="5115702"/>
                </a:cubicBezTo>
                <a:cubicBezTo>
                  <a:pt x="1242734" y="5115702"/>
                  <a:pt x="1242734" y="5115702"/>
                  <a:pt x="1240801" y="5113769"/>
                </a:cubicBezTo>
                <a:cubicBezTo>
                  <a:pt x="1242734" y="5111836"/>
                  <a:pt x="1244667" y="5109901"/>
                  <a:pt x="1246603" y="5107965"/>
                </a:cubicBezTo>
                <a:cubicBezTo>
                  <a:pt x="1256272" y="5100229"/>
                  <a:pt x="1267877" y="5092495"/>
                  <a:pt x="1277549" y="5084756"/>
                </a:cubicBezTo>
                <a:cubicBezTo>
                  <a:pt x="1279482" y="5082823"/>
                  <a:pt x="1283350" y="5082823"/>
                  <a:pt x="1283350" y="5080888"/>
                </a:cubicBezTo>
                <a:cubicBezTo>
                  <a:pt x="1283350" y="5067350"/>
                  <a:pt x="1296888" y="5071218"/>
                  <a:pt x="1302691" y="5067350"/>
                </a:cubicBezTo>
                <a:cubicBezTo>
                  <a:pt x="1304626" y="5065417"/>
                  <a:pt x="1306559" y="5075086"/>
                  <a:pt x="1310428" y="5069285"/>
                </a:cubicBezTo>
                <a:cubicBezTo>
                  <a:pt x="1312361" y="5065417"/>
                  <a:pt x="1314296" y="5061549"/>
                  <a:pt x="1316229" y="5059613"/>
                </a:cubicBezTo>
                <a:cubicBezTo>
                  <a:pt x="1325901" y="5055745"/>
                  <a:pt x="1325901" y="5044140"/>
                  <a:pt x="1331702" y="5038339"/>
                </a:cubicBezTo>
                <a:cubicBezTo>
                  <a:pt x="1337505" y="5034471"/>
                  <a:pt x="1341374" y="5036404"/>
                  <a:pt x="1345242" y="5036404"/>
                </a:cubicBezTo>
                <a:cubicBezTo>
                  <a:pt x="1349110" y="5026734"/>
                  <a:pt x="1352978" y="5018998"/>
                  <a:pt x="1358780" y="5011261"/>
                </a:cubicBezTo>
                <a:cubicBezTo>
                  <a:pt x="1362648" y="5007393"/>
                  <a:pt x="1364583" y="5003525"/>
                  <a:pt x="1370384" y="5003525"/>
                </a:cubicBezTo>
                <a:cubicBezTo>
                  <a:pt x="1378121" y="5003525"/>
                  <a:pt x="1383922" y="4999657"/>
                  <a:pt x="1387793" y="4991920"/>
                </a:cubicBezTo>
                <a:cubicBezTo>
                  <a:pt x="1385857" y="4989985"/>
                  <a:pt x="1383922" y="4988052"/>
                  <a:pt x="1381989" y="4986119"/>
                </a:cubicBezTo>
                <a:cubicBezTo>
                  <a:pt x="1393594" y="4978380"/>
                  <a:pt x="1409067" y="4978380"/>
                  <a:pt x="1412935" y="4964842"/>
                </a:cubicBezTo>
                <a:cubicBezTo>
                  <a:pt x="1409067" y="4962909"/>
                  <a:pt x="1407132" y="4959041"/>
                  <a:pt x="1403263" y="4957106"/>
                </a:cubicBezTo>
                <a:cubicBezTo>
                  <a:pt x="1397462" y="4957106"/>
                  <a:pt x="1407132" y="4970643"/>
                  <a:pt x="1395529" y="4970643"/>
                </a:cubicBezTo>
                <a:cubicBezTo>
                  <a:pt x="1395529" y="4966778"/>
                  <a:pt x="1393594" y="4964842"/>
                  <a:pt x="1393594" y="4960974"/>
                </a:cubicBezTo>
                <a:cubicBezTo>
                  <a:pt x="1389726" y="4964842"/>
                  <a:pt x="1385857" y="4966778"/>
                  <a:pt x="1381989" y="4968710"/>
                </a:cubicBezTo>
                <a:cubicBezTo>
                  <a:pt x="1380054" y="4970643"/>
                  <a:pt x="1376188" y="4972579"/>
                  <a:pt x="1372320" y="4972579"/>
                </a:cubicBezTo>
                <a:cubicBezTo>
                  <a:pt x="1360713" y="4976447"/>
                  <a:pt x="1351043" y="4980315"/>
                  <a:pt x="1343307" y="4989985"/>
                </a:cubicBezTo>
                <a:cubicBezTo>
                  <a:pt x="1339438" y="4993853"/>
                  <a:pt x="1333637" y="4995788"/>
                  <a:pt x="1327836" y="4995788"/>
                </a:cubicBezTo>
                <a:cubicBezTo>
                  <a:pt x="1312361" y="4993853"/>
                  <a:pt x="1304626" y="4995788"/>
                  <a:pt x="1291086" y="5005460"/>
                </a:cubicBezTo>
                <a:cubicBezTo>
                  <a:pt x="1291086" y="5005460"/>
                  <a:pt x="1289153" y="5005460"/>
                  <a:pt x="1287218" y="5005460"/>
                </a:cubicBezTo>
                <a:cubicBezTo>
                  <a:pt x="1291086" y="4999657"/>
                  <a:pt x="1291086" y="4991920"/>
                  <a:pt x="1298823" y="4993853"/>
                </a:cubicBezTo>
                <a:cubicBezTo>
                  <a:pt x="1298823" y="4993853"/>
                  <a:pt x="1300758" y="4991920"/>
                  <a:pt x="1300758" y="4989985"/>
                </a:cubicBezTo>
                <a:cubicBezTo>
                  <a:pt x="1300758" y="4980315"/>
                  <a:pt x="1306559" y="4976447"/>
                  <a:pt x="1312361" y="4972579"/>
                </a:cubicBezTo>
                <a:cubicBezTo>
                  <a:pt x="1318164" y="4968710"/>
                  <a:pt x="1325901" y="4964842"/>
                  <a:pt x="1331702" y="4960974"/>
                </a:cubicBezTo>
                <a:cubicBezTo>
                  <a:pt x="1339438" y="4955173"/>
                  <a:pt x="1345242" y="4949369"/>
                  <a:pt x="1351043" y="4943568"/>
                </a:cubicBezTo>
                <a:cubicBezTo>
                  <a:pt x="1337505" y="4947436"/>
                  <a:pt x="1325901" y="4951302"/>
                  <a:pt x="1312361" y="4955173"/>
                </a:cubicBezTo>
                <a:cubicBezTo>
                  <a:pt x="1308495" y="4957106"/>
                  <a:pt x="1306559" y="4959041"/>
                  <a:pt x="1304626" y="4960974"/>
                </a:cubicBezTo>
                <a:cubicBezTo>
                  <a:pt x="1294955" y="4968710"/>
                  <a:pt x="1283350" y="4976447"/>
                  <a:pt x="1273678" y="4984184"/>
                </a:cubicBezTo>
                <a:cubicBezTo>
                  <a:pt x="1271745" y="4986119"/>
                  <a:pt x="1271745" y="4991920"/>
                  <a:pt x="1269812" y="4995788"/>
                </a:cubicBezTo>
                <a:cubicBezTo>
                  <a:pt x="1269812" y="4995788"/>
                  <a:pt x="1265944" y="4995788"/>
                  <a:pt x="1264009" y="4997721"/>
                </a:cubicBezTo>
                <a:cubicBezTo>
                  <a:pt x="1262076" y="4993853"/>
                  <a:pt x="1260140" y="4991920"/>
                  <a:pt x="1258207" y="4989985"/>
                </a:cubicBezTo>
                <a:cubicBezTo>
                  <a:pt x="1265944" y="4984184"/>
                  <a:pt x="1271745" y="4976447"/>
                  <a:pt x="1279482" y="4970643"/>
                </a:cubicBezTo>
                <a:cubicBezTo>
                  <a:pt x="1281417" y="4970643"/>
                  <a:pt x="1283350" y="4968710"/>
                  <a:pt x="1285285" y="4968710"/>
                </a:cubicBezTo>
                <a:cubicBezTo>
                  <a:pt x="1293019" y="4966778"/>
                  <a:pt x="1294955" y="4964842"/>
                  <a:pt x="1294955" y="4959041"/>
                </a:cubicBezTo>
                <a:cubicBezTo>
                  <a:pt x="1289153" y="4960974"/>
                  <a:pt x="1283350" y="4962909"/>
                  <a:pt x="1277549" y="4964842"/>
                </a:cubicBezTo>
                <a:cubicBezTo>
                  <a:pt x="1275613" y="4966778"/>
                  <a:pt x="1273678" y="4968710"/>
                  <a:pt x="1271745" y="4970643"/>
                </a:cubicBezTo>
                <a:cubicBezTo>
                  <a:pt x="1269812" y="4968710"/>
                  <a:pt x="1269812" y="4968710"/>
                  <a:pt x="1267877" y="4966778"/>
                </a:cubicBezTo>
                <a:cubicBezTo>
                  <a:pt x="1264009" y="4966778"/>
                  <a:pt x="1258207" y="4968710"/>
                  <a:pt x="1254339" y="4962909"/>
                </a:cubicBezTo>
                <a:cubicBezTo>
                  <a:pt x="1258207" y="4959041"/>
                  <a:pt x="1264009" y="4957106"/>
                  <a:pt x="1267877" y="4955173"/>
                </a:cubicBezTo>
                <a:cubicBezTo>
                  <a:pt x="1267877" y="4953237"/>
                  <a:pt x="1267877" y="4953237"/>
                  <a:pt x="1267877" y="4953237"/>
                </a:cubicBezTo>
                <a:cubicBezTo>
                  <a:pt x="1267877" y="4953237"/>
                  <a:pt x="1269812" y="4953237"/>
                  <a:pt x="1269812" y="4953237"/>
                </a:cubicBezTo>
                <a:cubicBezTo>
                  <a:pt x="1273678" y="4951302"/>
                  <a:pt x="1277549" y="4949369"/>
                  <a:pt x="1281417" y="4945501"/>
                </a:cubicBezTo>
                <a:cubicBezTo>
                  <a:pt x="1283350" y="4943568"/>
                  <a:pt x="1289153" y="4945501"/>
                  <a:pt x="1293019" y="4945501"/>
                </a:cubicBezTo>
                <a:cubicBezTo>
                  <a:pt x="1293019" y="4937764"/>
                  <a:pt x="1294955" y="4931963"/>
                  <a:pt x="1302691" y="4926160"/>
                </a:cubicBezTo>
                <a:cubicBezTo>
                  <a:pt x="1300758" y="4926160"/>
                  <a:pt x="1300758" y="4924227"/>
                  <a:pt x="1298823" y="4924227"/>
                </a:cubicBezTo>
                <a:cubicBezTo>
                  <a:pt x="1285285" y="4931963"/>
                  <a:pt x="1273678" y="4941633"/>
                  <a:pt x="1260140" y="4951302"/>
                </a:cubicBezTo>
                <a:cubicBezTo>
                  <a:pt x="1256272" y="4943568"/>
                  <a:pt x="1262076" y="4941633"/>
                  <a:pt x="1265944" y="4939700"/>
                </a:cubicBezTo>
                <a:cubicBezTo>
                  <a:pt x="1273678" y="4935832"/>
                  <a:pt x="1279482" y="4930028"/>
                  <a:pt x="1279482" y="4922291"/>
                </a:cubicBezTo>
                <a:cubicBezTo>
                  <a:pt x="1269812" y="4926160"/>
                  <a:pt x="1260140" y="4928095"/>
                  <a:pt x="1250471" y="4931963"/>
                </a:cubicBezTo>
                <a:cubicBezTo>
                  <a:pt x="1234998" y="4937764"/>
                  <a:pt x="1219525" y="4939700"/>
                  <a:pt x="1204052" y="4943568"/>
                </a:cubicBezTo>
                <a:cubicBezTo>
                  <a:pt x="1196315" y="4945501"/>
                  <a:pt x="1190514" y="4947436"/>
                  <a:pt x="1184711" y="4949369"/>
                </a:cubicBezTo>
                <a:cubicBezTo>
                  <a:pt x="1169238" y="4953237"/>
                  <a:pt x="1155700" y="4957106"/>
                  <a:pt x="1138291" y="4960974"/>
                </a:cubicBezTo>
                <a:cubicBezTo>
                  <a:pt x="1151832" y="4951302"/>
                  <a:pt x="1153767" y="4949369"/>
                  <a:pt x="1163436" y="4947436"/>
                </a:cubicBezTo>
                <a:cubicBezTo>
                  <a:pt x="1180842" y="4943568"/>
                  <a:pt x="1198251" y="4937764"/>
                  <a:pt x="1215657" y="4930028"/>
                </a:cubicBezTo>
                <a:cubicBezTo>
                  <a:pt x="1223393" y="4926160"/>
                  <a:pt x="1229194" y="4924227"/>
                  <a:pt x="1236931" y="4922291"/>
                </a:cubicBezTo>
                <a:cubicBezTo>
                  <a:pt x="1248536" y="4920358"/>
                  <a:pt x="1258207" y="4918426"/>
                  <a:pt x="1269812" y="4914555"/>
                </a:cubicBezTo>
                <a:cubicBezTo>
                  <a:pt x="1271745" y="4912622"/>
                  <a:pt x="1273678" y="4910687"/>
                  <a:pt x="1277549" y="4908754"/>
                </a:cubicBezTo>
                <a:cubicBezTo>
                  <a:pt x="1283350" y="4904885"/>
                  <a:pt x="1289153" y="4901017"/>
                  <a:pt x="1294955" y="4901017"/>
                </a:cubicBezTo>
                <a:cubicBezTo>
                  <a:pt x="1298823" y="4899084"/>
                  <a:pt x="1300758" y="4897149"/>
                  <a:pt x="1302691" y="4895216"/>
                </a:cubicBezTo>
                <a:cubicBezTo>
                  <a:pt x="1308495" y="4891345"/>
                  <a:pt x="1312361" y="4887477"/>
                  <a:pt x="1320097" y="4879743"/>
                </a:cubicBezTo>
                <a:cubicBezTo>
                  <a:pt x="1312361" y="4881676"/>
                  <a:pt x="1308495" y="4883609"/>
                  <a:pt x="1300758" y="4885544"/>
                </a:cubicBezTo>
                <a:cubicBezTo>
                  <a:pt x="1323965" y="4870071"/>
                  <a:pt x="1343307" y="4854598"/>
                  <a:pt x="1362648" y="4839125"/>
                </a:cubicBezTo>
                <a:cubicBezTo>
                  <a:pt x="1362648" y="4839125"/>
                  <a:pt x="1360713" y="4837192"/>
                  <a:pt x="1360713" y="4837192"/>
                </a:cubicBezTo>
                <a:cubicBezTo>
                  <a:pt x="1339438" y="4850730"/>
                  <a:pt x="1318164" y="4866203"/>
                  <a:pt x="1294955" y="4881676"/>
                </a:cubicBezTo>
                <a:cubicBezTo>
                  <a:pt x="1296888" y="4872006"/>
                  <a:pt x="1298823" y="4866203"/>
                  <a:pt x="1304626" y="4862335"/>
                </a:cubicBezTo>
                <a:cubicBezTo>
                  <a:pt x="1322032" y="4848797"/>
                  <a:pt x="1339438" y="4835257"/>
                  <a:pt x="1356847" y="4821719"/>
                </a:cubicBezTo>
                <a:cubicBezTo>
                  <a:pt x="1358780" y="4819784"/>
                  <a:pt x="1358780" y="4815916"/>
                  <a:pt x="1360713" y="4812050"/>
                </a:cubicBezTo>
                <a:cubicBezTo>
                  <a:pt x="1349110" y="4819784"/>
                  <a:pt x="1339438" y="4827520"/>
                  <a:pt x="1325901" y="4837192"/>
                </a:cubicBezTo>
                <a:cubicBezTo>
                  <a:pt x="1325901" y="4831391"/>
                  <a:pt x="1325901" y="4827520"/>
                  <a:pt x="1325901" y="4823652"/>
                </a:cubicBezTo>
                <a:cubicBezTo>
                  <a:pt x="1316229" y="4825587"/>
                  <a:pt x="1316229" y="4831391"/>
                  <a:pt x="1316229" y="4839125"/>
                </a:cubicBezTo>
                <a:cubicBezTo>
                  <a:pt x="1310428" y="4839125"/>
                  <a:pt x="1304626" y="4839125"/>
                  <a:pt x="1294955" y="4839125"/>
                </a:cubicBezTo>
                <a:cubicBezTo>
                  <a:pt x="1308495" y="4827520"/>
                  <a:pt x="1320097" y="4817851"/>
                  <a:pt x="1333637" y="4808181"/>
                </a:cubicBezTo>
                <a:cubicBezTo>
                  <a:pt x="1337505" y="4812050"/>
                  <a:pt x="1339438" y="4815916"/>
                  <a:pt x="1343307" y="4819784"/>
                </a:cubicBezTo>
                <a:cubicBezTo>
                  <a:pt x="1345242" y="4812050"/>
                  <a:pt x="1343307" y="4808181"/>
                  <a:pt x="1339438" y="4804311"/>
                </a:cubicBezTo>
                <a:cubicBezTo>
                  <a:pt x="1349110" y="4796574"/>
                  <a:pt x="1358780" y="4790773"/>
                  <a:pt x="1368451" y="4783037"/>
                </a:cubicBezTo>
                <a:cubicBezTo>
                  <a:pt x="1368451" y="4781101"/>
                  <a:pt x="1370384" y="4781101"/>
                  <a:pt x="1372320" y="4779168"/>
                </a:cubicBezTo>
                <a:cubicBezTo>
                  <a:pt x="1378121" y="4771432"/>
                  <a:pt x="1385857" y="4765631"/>
                  <a:pt x="1393594" y="4761762"/>
                </a:cubicBezTo>
                <a:cubicBezTo>
                  <a:pt x="1387793" y="4763695"/>
                  <a:pt x="1380054" y="4767564"/>
                  <a:pt x="1374253" y="4769499"/>
                </a:cubicBezTo>
                <a:cubicBezTo>
                  <a:pt x="1370384" y="4771432"/>
                  <a:pt x="1368451" y="4773367"/>
                  <a:pt x="1364583" y="4775300"/>
                </a:cubicBezTo>
                <a:cubicBezTo>
                  <a:pt x="1362648" y="4777233"/>
                  <a:pt x="1360713" y="4777233"/>
                  <a:pt x="1358780" y="4779168"/>
                </a:cubicBezTo>
                <a:cubicBezTo>
                  <a:pt x="1358780" y="4781101"/>
                  <a:pt x="1356847" y="4781101"/>
                  <a:pt x="1356847" y="4781101"/>
                </a:cubicBezTo>
                <a:cubicBezTo>
                  <a:pt x="1345242" y="4790773"/>
                  <a:pt x="1333637" y="4798510"/>
                  <a:pt x="1322032" y="4808181"/>
                </a:cubicBezTo>
                <a:cubicBezTo>
                  <a:pt x="1318164" y="4810114"/>
                  <a:pt x="1314296" y="4812050"/>
                  <a:pt x="1310428" y="4813983"/>
                </a:cubicBezTo>
                <a:cubicBezTo>
                  <a:pt x="1312361" y="4810114"/>
                  <a:pt x="1314296" y="4806246"/>
                  <a:pt x="1316229" y="4802378"/>
                </a:cubicBezTo>
                <a:cubicBezTo>
                  <a:pt x="1314296" y="4802378"/>
                  <a:pt x="1310428" y="4804311"/>
                  <a:pt x="1308495" y="4804311"/>
                </a:cubicBezTo>
                <a:cubicBezTo>
                  <a:pt x="1294955" y="4804311"/>
                  <a:pt x="1285285" y="4810114"/>
                  <a:pt x="1275613" y="4817851"/>
                </a:cubicBezTo>
                <a:cubicBezTo>
                  <a:pt x="1273678" y="4819784"/>
                  <a:pt x="1269812" y="4821719"/>
                  <a:pt x="1267877" y="4821719"/>
                </a:cubicBezTo>
                <a:cubicBezTo>
                  <a:pt x="1256272" y="4821719"/>
                  <a:pt x="1246603" y="4829456"/>
                  <a:pt x="1236931" y="4835257"/>
                </a:cubicBezTo>
                <a:cubicBezTo>
                  <a:pt x="1225326" y="4842993"/>
                  <a:pt x="1213724" y="4846862"/>
                  <a:pt x="1202119" y="4850730"/>
                </a:cubicBezTo>
                <a:cubicBezTo>
                  <a:pt x="1200184" y="4850730"/>
                  <a:pt x="1196315" y="4850730"/>
                  <a:pt x="1194382" y="4852665"/>
                </a:cubicBezTo>
                <a:cubicBezTo>
                  <a:pt x="1176974" y="4864268"/>
                  <a:pt x="1157633" y="4866203"/>
                  <a:pt x="1140227" y="4872006"/>
                </a:cubicBezTo>
                <a:cubicBezTo>
                  <a:pt x="1136359" y="4873939"/>
                  <a:pt x="1130557" y="4873939"/>
                  <a:pt x="1124754" y="4873939"/>
                </a:cubicBezTo>
                <a:cubicBezTo>
                  <a:pt x="1111216" y="4872006"/>
                  <a:pt x="1097676" y="4868138"/>
                  <a:pt x="1084138" y="4864268"/>
                </a:cubicBezTo>
                <a:cubicBezTo>
                  <a:pt x="1084138" y="4864268"/>
                  <a:pt x="1084138" y="4862335"/>
                  <a:pt x="1084138" y="4862335"/>
                </a:cubicBezTo>
                <a:cubicBezTo>
                  <a:pt x="1084138" y="4860402"/>
                  <a:pt x="1086071" y="4858466"/>
                  <a:pt x="1086071" y="4858466"/>
                </a:cubicBezTo>
                <a:cubicBezTo>
                  <a:pt x="1093808" y="4854598"/>
                  <a:pt x="1103480" y="4848797"/>
                  <a:pt x="1111216" y="4844929"/>
                </a:cubicBezTo>
                <a:cubicBezTo>
                  <a:pt x="1101544" y="4841060"/>
                  <a:pt x="1095743" y="4842993"/>
                  <a:pt x="1089939" y="4850730"/>
                </a:cubicBezTo>
                <a:cubicBezTo>
                  <a:pt x="1088007" y="4852665"/>
                  <a:pt x="1084138" y="4854598"/>
                  <a:pt x="1082203" y="4854598"/>
                </a:cubicBezTo>
                <a:cubicBezTo>
                  <a:pt x="1072534" y="4852665"/>
                  <a:pt x="1066732" y="4858466"/>
                  <a:pt x="1060929" y="4864268"/>
                </a:cubicBezTo>
                <a:cubicBezTo>
                  <a:pt x="1055125" y="4870071"/>
                  <a:pt x="1047389" y="4872006"/>
                  <a:pt x="1039652" y="4872006"/>
                </a:cubicBezTo>
                <a:cubicBezTo>
                  <a:pt x="1039652" y="4864268"/>
                  <a:pt x="1049324" y="4862335"/>
                  <a:pt x="1053192" y="4858466"/>
                </a:cubicBezTo>
                <a:cubicBezTo>
                  <a:pt x="1058994" y="4854598"/>
                  <a:pt x="1068665" y="4852665"/>
                  <a:pt x="1070598" y="4842993"/>
                </a:cubicBezTo>
                <a:cubicBezTo>
                  <a:pt x="1062862" y="4842993"/>
                  <a:pt x="1055125" y="4844929"/>
                  <a:pt x="1045456" y="4844929"/>
                </a:cubicBezTo>
                <a:cubicBezTo>
                  <a:pt x="1049324" y="4841060"/>
                  <a:pt x="1051257" y="4837192"/>
                  <a:pt x="1055125" y="4835257"/>
                </a:cubicBezTo>
                <a:cubicBezTo>
                  <a:pt x="1062862" y="4831391"/>
                  <a:pt x="1068665" y="4827520"/>
                  <a:pt x="1066732" y="4815916"/>
                </a:cubicBezTo>
                <a:cubicBezTo>
                  <a:pt x="1076402" y="4819784"/>
                  <a:pt x="1076402" y="4819784"/>
                  <a:pt x="1099609" y="4796574"/>
                </a:cubicBezTo>
                <a:cubicBezTo>
                  <a:pt x="1095743" y="4796574"/>
                  <a:pt x="1093808" y="4796574"/>
                  <a:pt x="1089939" y="4796574"/>
                </a:cubicBezTo>
                <a:cubicBezTo>
                  <a:pt x="1099609" y="4786905"/>
                  <a:pt x="1111216" y="4779168"/>
                  <a:pt x="1120886" y="4769499"/>
                </a:cubicBezTo>
                <a:cubicBezTo>
                  <a:pt x="1118950" y="4769499"/>
                  <a:pt x="1117017" y="4767564"/>
                  <a:pt x="1115084" y="4767564"/>
                </a:cubicBezTo>
                <a:cubicBezTo>
                  <a:pt x="1113149" y="4769499"/>
                  <a:pt x="1109281" y="4771432"/>
                  <a:pt x="1107348" y="4773367"/>
                </a:cubicBezTo>
                <a:cubicBezTo>
                  <a:pt x="1099609" y="4777233"/>
                  <a:pt x="1093808" y="4783037"/>
                  <a:pt x="1084138" y="4788840"/>
                </a:cubicBezTo>
                <a:cubicBezTo>
                  <a:pt x="1091875" y="4781101"/>
                  <a:pt x="1099609" y="4775300"/>
                  <a:pt x="1105413" y="4769499"/>
                </a:cubicBezTo>
                <a:cubicBezTo>
                  <a:pt x="1105413" y="4769499"/>
                  <a:pt x="1103480" y="4769499"/>
                  <a:pt x="1101544" y="4769499"/>
                </a:cubicBezTo>
                <a:cubicBezTo>
                  <a:pt x="1101544" y="4767564"/>
                  <a:pt x="1101544" y="4763695"/>
                  <a:pt x="1101544" y="4761762"/>
                </a:cubicBezTo>
                <a:cubicBezTo>
                  <a:pt x="1097676" y="4763695"/>
                  <a:pt x="1093808" y="4767564"/>
                  <a:pt x="1091875" y="4771432"/>
                </a:cubicBezTo>
                <a:cubicBezTo>
                  <a:pt x="1088007" y="4777233"/>
                  <a:pt x="1080270" y="4781101"/>
                  <a:pt x="1074467" y="4784972"/>
                </a:cubicBezTo>
                <a:cubicBezTo>
                  <a:pt x="1066732" y="4790773"/>
                  <a:pt x="1057061" y="4796574"/>
                  <a:pt x="1049324" y="4802378"/>
                </a:cubicBezTo>
                <a:cubicBezTo>
                  <a:pt x="1047389" y="4804311"/>
                  <a:pt x="1043523" y="4804311"/>
                  <a:pt x="1039652" y="4802378"/>
                </a:cubicBezTo>
                <a:cubicBezTo>
                  <a:pt x="1045456" y="4798510"/>
                  <a:pt x="1051257" y="4794641"/>
                  <a:pt x="1057061" y="4790773"/>
                </a:cubicBezTo>
                <a:cubicBezTo>
                  <a:pt x="1064797" y="4784972"/>
                  <a:pt x="1070598" y="4781101"/>
                  <a:pt x="1076402" y="4775300"/>
                </a:cubicBezTo>
                <a:cubicBezTo>
                  <a:pt x="1078335" y="4773367"/>
                  <a:pt x="1082203" y="4769499"/>
                  <a:pt x="1084138" y="4769499"/>
                </a:cubicBezTo>
                <a:cubicBezTo>
                  <a:pt x="1095743" y="4769499"/>
                  <a:pt x="1097676" y="4763695"/>
                  <a:pt x="1099609" y="4755959"/>
                </a:cubicBezTo>
                <a:cubicBezTo>
                  <a:pt x="1097676" y="4754026"/>
                  <a:pt x="1095743" y="4750158"/>
                  <a:pt x="1093808" y="4748222"/>
                </a:cubicBezTo>
                <a:cubicBezTo>
                  <a:pt x="1093808" y="4742421"/>
                  <a:pt x="1093808" y="4738553"/>
                  <a:pt x="1095743" y="4732749"/>
                </a:cubicBezTo>
                <a:cubicBezTo>
                  <a:pt x="1095743" y="4730816"/>
                  <a:pt x="1097676" y="4726948"/>
                  <a:pt x="1099609" y="4726948"/>
                </a:cubicBezTo>
                <a:cubicBezTo>
                  <a:pt x="1103480" y="4725015"/>
                  <a:pt x="1103480" y="4728881"/>
                  <a:pt x="1105413" y="4732749"/>
                </a:cubicBezTo>
                <a:cubicBezTo>
                  <a:pt x="1109281" y="4732749"/>
                  <a:pt x="1115084" y="4730816"/>
                  <a:pt x="1120886" y="4730816"/>
                </a:cubicBezTo>
                <a:cubicBezTo>
                  <a:pt x="1118950" y="4736617"/>
                  <a:pt x="1115084" y="4740486"/>
                  <a:pt x="1113149" y="4744354"/>
                </a:cubicBezTo>
                <a:cubicBezTo>
                  <a:pt x="1115084" y="4746289"/>
                  <a:pt x="1117017" y="4746289"/>
                  <a:pt x="1118950" y="4746289"/>
                </a:cubicBezTo>
                <a:cubicBezTo>
                  <a:pt x="1124754" y="4742421"/>
                  <a:pt x="1130557" y="4740486"/>
                  <a:pt x="1132490" y="4734685"/>
                </a:cubicBezTo>
                <a:cubicBezTo>
                  <a:pt x="1128622" y="4730816"/>
                  <a:pt x="1126687" y="4728881"/>
                  <a:pt x="1128622" y="4723080"/>
                </a:cubicBezTo>
                <a:cubicBezTo>
                  <a:pt x="1130557" y="4723080"/>
                  <a:pt x="1132490" y="4723080"/>
                  <a:pt x="1134426" y="4723080"/>
                </a:cubicBezTo>
                <a:cubicBezTo>
                  <a:pt x="1136359" y="4721147"/>
                  <a:pt x="1136359" y="4721147"/>
                  <a:pt x="1138291" y="4719212"/>
                </a:cubicBezTo>
                <a:cubicBezTo>
                  <a:pt x="1136359" y="4719212"/>
                  <a:pt x="1132490" y="4717276"/>
                  <a:pt x="1130557" y="4717276"/>
                </a:cubicBezTo>
                <a:cubicBezTo>
                  <a:pt x="1128622" y="4717276"/>
                  <a:pt x="1124754" y="4719212"/>
                  <a:pt x="1120886" y="4721147"/>
                </a:cubicBezTo>
                <a:cubicBezTo>
                  <a:pt x="1118950" y="4709540"/>
                  <a:pt x="1124754" y="4699870"/>
                  <a:pt x="1124754" y="4688265"/>
                </a:cubicBezTo>
                <a:cubicBezTo>
                  <a:pt x="1122818" y="4688265"/>
                  <a:pt x="1122818" y="4688265"/>
                  <a:pt x="1122818" y="4688265"/>
                </a:cubicBezTo>
                <a:cubicBezTo>
                  <a:pt x="1118950" y="4688265"/>
                  <a:pt x="1117017" y="4694067"/>
                  <a:pt x="1115084" y="4697937"/>
                </a:cubicBezTo>
                <a:cubicBezTo>
                  <a:pt x="1115084" y="4696002"/>
                  <a:pt x="1113149" y="4696002"/>
                  <a:pt x="1113149" y="4694067"/>
                </a:cubicBezTo>
                <a:cubicBezTo>
                  <a:pt x="1113149" y="4690198"/>
                  <a:pt x="1113149" y="4686333"/>
                  <a:pt x="1115084" y="4682464"/>
                </a:cubicBezTo>
                <a:cubicBezTo>
                  <a:pt x="1113149" y="4684397"/>
                  <a:pt x="1109281" y="4684397"/>
                  <a:pt x="1107348" y="4682464"/>
                </a:cubicBezTo>
                <a:cubicBezTo>
                  <a:pt x="1101544" y="4680529"/>
                  <a:pt x="1095743" y="4674728"/>
                  <a:pt x="1089939" y="4670859"/>
                </a:cubicBezTo>
                <a:cubicBezTo>
                  <a:pt x="1089939" y="4670859"/>
                  <a:pt x="1146028" y="4645715"/>
                  <a:pt x="1146028" y="4641846"/>
                </a:cubicBezTo>
                <a:cubicBezTo>
                  <a:pt x="1140227" y="4639913"/>
                  <a:pt x="1136359" y="4639913"/>
                  <a:pt x="1132490" y="4637980"/>
                </a:cubicBezTo>
                <a:cubicBezTo>
                  <a:pt x="1130557" y="4636045"/>
                  <a:pt x="1126687" y="4634112"/>
                  <a:pt x="1126687" y="4632177"/>
                </a:cubicBezTo>
                <a:cubicBezTo>
                  <a:pt x="1126687" y="4622505"/>
                  <a:pt x="1118950" y="4620572"/>
                  <a:pt x="1113149" y="4618639"/>
                </a:cubicBezTo>
                <a:cubicBezTo>
                  <a:pt x="1111216" y="4616704"/>
                  <a:pt x="1107348" y="4616704"/>
                  <a:pt x="1105413" y="4616704"/>
                </a:cubicBezTo>
                <a:cubicBezTo>
                  <a:pt x="1097676" y="4614771"/>
                  <a:pt x="1093808" y="4610903"/>
                  <a:pt x="1091875" y="4603164"/>
                </a:cubicBezTo>
                <a:cubicBezTo>
                  <a:pt x="1089939" y="4597363"/>
                  <a:pt x="1089939" y="4591561"/>
                  <a:pt x="1088007" y="4585758"/>
                </a:cubicBezTo>
                <a:cubicBezTo>
                  <a:pt x="1080270" y="4581890"/>
                  <a:pt x="1074467" y="4581890"/>
                  <a:pt x="1064797" y="4587693"/>
                </a:cubicBezTo>
                <a:cubicBezTo>
                  <a:pt x="1064797" y="4581890"/>
                  <a:pt x="1064797" y="4576088"/>
                  <a:pt x="1064797" y="4572220"/>
                </a:cubicBezTo>
                <a:cubicBezTo>
                  <a:pt x="1058994" y="4570285"/>
                  <a:pt x="1053192" y="4568352"/>
                  <a:pt x="1049324" y="4564484"/>
                </a:cubicBezTo>
                <a:cubicBezTo>
                  <a:pt x="1045456" y="4560615"/>
                  <a:pt x="1035784" y="4558680"/>
                  <a:pt x="1029983" y="4556747"/>
                </a:cubicBezTo>
                <a:cubicBezTo>
                  <a:pt x="1028047" y="4556747"/>
                  <a:pt x="1024182" y="4554812"/>
                  <a:pt x="1024182" y="4552879"/>
                </a:cubicBezTo>
                <a:cubicBezTo>
                  <a:pt x="1020313" y="4543207"/>
                  <a:pt x="1012577" y="4541274"/>
                  <a:pt x="1004840" y="4539339"/>
                </a:cubicBezTo>
                <a:cubicBezTo>
                  <a:pt x="1000972" y="4539339"/>
                  <a:pt x="999037" y="4537406"/>
                  <a:pt x="997104" y="4537406"/>
                </a:cubicBezTo>
                <a:cubicBezTo>
                  <a:pt x="995168" y="4535471"/>
                  <a:pt x="993235" y="4535471"/>
                  <a:pt x="991300" y="4537406"/>
                </a:cubicBezTo>
                <a:cubicBezTo>
                  <a:pt x="979695" y="4545142"/>
                  <a:pt x="966158" y="4550944"/>
                  <a:pt x="954553" y="4558680"/>
                </a:cubicBezTo>
                <a:cubicBezTo>
                  <a:pt x="954553" y="4558680"/>
                  <a:pt x="952618" y="4558680"/>
                  <a:pt x="952618" y="4560615"/>
                </a:cubicBezTo>
                <a:cubicBezTo>
                  <a:pt x="950685" y="4564484"/>
                  <a:pt x="948749" y="4566417"/>
                  <a:pt x="942948" y="4566417"/>
                </a:cubicBezTo>
                <a:cubicBezTo>
                  <a:pt x="935212" y="4566417"/>
                  <a:pt x="933279" y="4570285"/>
                  <a:pt x="935212" y="4578021"/>
                </a:cubicBezTo>
                <a:cubicBezTo>
                  <a:pt x="937147" y="4579957"/>
                  <a:pt x="939080" y="4581890"/>
                  <a:pt x="939080" y="4583823"/>
                </a:cubicBezTo>
                <a:cubicBezTo>
                  <a:pt x="941013" y="4585758"/>
                  <a:pt x="941013" y="4589626"/>
                  <a:pt x="939080" y="4589626"/>
                </a:cubicBezTo>
                <a:cubicBezTo>
                  <a:pt x="927475" y="4593494"/>
                  <a:pt x="925542" y="4605099"/>
                  <a:pt x="915870" y="4610903"/>
                </a:cubicBezTo>
                <a:cubicBezTo>
                  <a:pt x="912002" y="4612836"/>
                  <a:pt x="912002" y="4616704"/>
                  <a:pt x="910069" y="4618639"/>
                </a:cubicBezTo>
                <a:cubicBezTo>
                  <a:pt x="904266" y="4626373"/>
                  <a:pt x="898464" y="4628309"/>
                  <a:pt x="888793" y="4626373"/>
                </a:cubicBezTo>
                <a:cubicBezTo>
                  <a:pt x="886860" y="4624440"/>
                  <a:pt x="882991" y="4624440"/>
                  <a:pt x="881056" y="4620572"/>
                </a:cubicBezTo>
                <a:cubicBezTo>
                  <a:pt x="879123" y="4616704"/>
                  <a:pt x="877188" y="4614771"/>
                  <a:pt x="875255" y="4610903"/>
                </a:cubicBezTo>
                <a:cubicBezTo>
                  <a:pt x="873320" y="4607032"/>
                  <a:pt x="873320" y="4603164"/>
                  <a:pt x="877188" y="4599298"/>
                </a:cubicBezTo>
                <a:cubicBezTo>
                  <a:pt x="879123" y="4597363"/>
                  <a:pt x="881056" y="4593494"/>
                  <a:pt x="879123" y="4589626"/>
                </a:cubicBezTo>
                <a:cubicBezTo>
                  <a:pt x="877188" y="4583823"/>
                  <a:pt x="875255" y="4579957"/>
                  <a:pt x="873320" y="4576088"/>
                </a:cubicBezTo>
                <a:cubicBezTo>
                  <a:pt x="871387" y="4572220"/>
                  <a:pt x="869454" y="4568352"/>
                  <a:pt x="863650" y="4566417"/>
                </a:cubicBezTo>
                <a:cubicBezTo>
                  <a:pt x="857849" y="4564484"/>
                  <a:pt x="852045" y="4562548"/>
                  <a:pt x="846244" y="4566417"/>
                </a:cubicBezTo>
                <a:cubicBezTo>
                  <a:pt x="840441" y="4570285"/>
                  <a:pt x="832704" y="4568352"/>
                  <a:pt x="826903" y="4564484"/>
                </a:cubicBezTo>
                <a:cubicBezTo>
                  <a:pt x="819166" y="4554812"/>
                  <a:pt x="807562" y="4554812"/>
                  <a:pt x="797890" y="4552879"/>
                </a:cubicBezTo>
                <a:cubicBezTo>
                  <a:pt x="795957" y="4550944"/>
                  <a:pt x="794022" y="4552879"/>
                  <a:pt x="792089" y="4554812"/>
                </a:cubicBezTo>
                <a:cubicBezTo>
                  <a:pt x="788220" y="4556747"/>
                  <a:pt x="784352" y="4556747"/>
                  <a:pt x="780484" y="4552879"/>
                </a:cubicBezTo>
                <a:cubicBezTo>
                  <a:pt x="778549" y="4550944"/>
                  <a:pt x="774680" y="4549011"/>
                  <a:pt x="770812" y="4550944"/>
                </a:cubicBezTo>
                <a:cubicBezTo>
                  <a:pt x="768879" y="4550944"/>
                  <a:pt x="766944" y="4552879"/>
                  <a:pt x="765011" y="4552879"/>
                </a:cubicBezTo>
                <a:cubicBezTo>
                  <a:pt x="763078" y="4552879"/>
                  <a:pt x="759210" y="4554812"/>
                  <a:pt x="759210" y="4552879"/>
                </a:cubicBezTo>
                <a:cubicBezTo>
                  <a:pt x="755339" y="4549011"/>
                  <a:pt x="749538" y="4547075"/>
                  <a:pt x="745670" y="4543207"/>
                </a:cubicBezTo>
                <a:cubicBezTo>
                  <a:pt x="741801" y="4539339"/>
                  <a:pt x="739868" y="4537406"/>
                  <a:pt x="734065" y="4539339"/>
                </a:cubicBezTo>
                <a:cubicBezTo>
                  <a:pt x="732132" y="4541274"/>
                  <a:pt x="728264" y="4539339"/>
                  <a:pt x="724395" y="4539339"/>
                </a:cubicBezTo>
                <a:cubicBezTo>
                  <a:pt x="718592" y="4541274"/>
                  <a:pt x="712791" y="4541274"/>
                  <a:pt x="708922" y="4535471"/>
                </a:cubicBezTo>
                <a:cubicBezTo>
                  <a:pt x="701186" y="4533538"/>
                  <a:pt x="697318" y="4529669"/>
                  <a:pt x="693449" y="4521933"/>
                </a:cubicBezTo>
                <a:cubicBezTo>
                  <a:pt x="693449" y="4519997"/>
                  <a:pt x="689581" y="4516132"/>
                  <a:pt x="687646" y="4514196"/>
                </a:cubicBezTo>
                <a:cubicBezTo>
                  <a:pt x="681845" y="4510328"/>
                  <a:pt x="676043" y="4506460"/>
                  <a:pt x="670240" y="4502592"/>
                </a:cubicBezTo>
                <a:cubicBezTo>
                  <a:pt x="664439" y="4500659"/>
                  <a:pt x="712791" y="4450371"/>
                  <a:pt x="706987" y="4448436"/>
                </a:cubicBezTo>
                <a:cubicBezTo>
                  <a:pt x="699251" y="4444568"/>
                  <a:pt x="695382" y="4438766"/>
                  <a:pt x="691514" y="4432963"/>
                </a:cubicBezTo>
                <a:cubicBezTo>
                  <a:pt x="685713" y="4431030"/>
                  <a:pt x="683778" y="4429097"/>
                  <a:pt x="679909" y="4425229"/>
                </a:cubicBezTo>
                <a:cubicBezTo>
                  <a:pt x="674108" y="4429097"/>
                  <a:pt x="666371" y="4432963"/>
                  <a:pt x="658635" y="4436831"/>
                </a:cubicBezTo>
                <a:cubicBezTo>
                  <a:pt x="654767" y="4438766"/>
                  <a:pt x="648965" y="4440702"/>
                  <a:pt x="645097" y="4442635"/>
                </a:cubicBezTo>
                <a:cubicBezTo>
                  <a:pt x="641229" y="4442635"/>
                  <a:pt x="635426" y="4442635"/>
                  <a:pt x="631557" y="4444568"/>
                </a:cubicBezTo>
                <a:cubicBezTo>
                  <a:pt x="625756" y="4444568"/>
                  <a:pt x="621888" y="4446503"/>
                  <a:pt x="618019" y="4448436"/>
                </a:cubicBezTo>
                <a:cubicBezTo>
                  <a:pt x="614151" y="4450371"/>
                  <a:pt x="610283" y="4448436"/>
                  <a:pt x="606415" y="4450371"/>
                </a:cubicBezTo>
                <a:cubicBezTo>
                  <a:pt x="600611" y="4454239"/>
                  <a:pt x="596743" y="4452304"/>
                  <a:pt x="592875" y="4448436"/>
                </a:cubicBezTo>
                <a:cubicBezTo>
                  <a:pt x="589009" y="4446503"/>
                  <a:pt x="585138" y="4444568"/>
                  <a:pt x="583205" y="4440702"/>
                </a:cubicBezTo>
                <a:cubicBezTo>
                  <a:pt x="581270" y="4438766"/>
                  <a:pt x="577404" y="4438766"/>
                  <a:pt x="575469" y="4434898"/>
                </a:cubicBezTo>
                <a:cubicBezTo>
                  <a:pt x="569667" y="4438766"/>
                  <a:pt x="563864" y="4440702"/>
                  <a:pt x="558063" y="4444568"/>
                </a:cubicBezTo>
                <a:cubicBezTo>
                  <a:pt x="554195" y="4448436"/>
                  <a:pt x="548391" y="4446503"/>
                  <a:pt x="544523" y="4446503"/>
                </a:cubicBezTo>
                <a:cubicBezTo>
                  <a:pt x="542590" y="4452304"/>
                  <a:pt x="538722" y="4458108"/>
                  <a:pt x="532918" y="4460041"/>
                </a:cubicBezTo>
                <a:cubicBezTo>
                  <a:pt x="523248" y="4465844"/>
                  <a:pt x="513577" y="4469713"/>
                  <a:pt x="503907" y="4475514"/>
                </a:cubicBezTo>
                <a:cubicBezTo>
                  <a:pt x="498104" y="4477449"/>
                  <a:pt x="494235" y="4479382"/>
                  <a:pt x="490370" y="4481317"/>
                </a:cubicBezTo>
                <a:cubicBezTo>
                  <a:pt x="480698" y="4487118"/>
                  <a:pt x="465225" y="4489054"/>
                  <a:pt x="459424" y="4502592"/>
                </a:cubicBezTo>
                <a:cubicBezTo>
                  <a:pt x="459424" y="4504527"/>
                  <a:pt x="455555" y="4506460"/>
                  <a:pt x="451687" y="4508395"/>
                </a:cubicBezTo>
                <a:cubicBezTo>
                  <a:pt x="426542" y="4519997"/>
                  <a:pt x="403335" y="4533538"/>
                  <a:pt x="378190" y="4545142"/>
                </a:cubicBezTo>
                <a:cubicBezTo>
                  <a:pt x="376257" y="4547075"/>
                  <a:pt x="372389" y="4547075"/>
                  <a:pt x="368521" y="4547075"/>
                </a:cubicBezTo>
                <a:cubicBezTo>
                  <a:pt x="362717" y="4547075"/>
                  <a:pt x="356916" y="4549011"/>
                  <a:pt x="354981" y="4554812"/>
                </a:cubicBezTo>
                <a:cubicBezTo>
                  <a:pt x="353048" y="4558680"/>
                  <a:pt x="351112" y="4560615"/>
                  <a:pt x="347244" y="4560615"/>
                </a:cubicBezTo>
                <a:cubicBezTo>
                  <a:pt x="345311" y="4560615"/>
                  <a:pt x="339507" y="4558680"/>
                  <a:pt x="337575" y="4560615"/>
                </a:cubicBezTo>
                <a:cubicBezTo>
                  <a:pt x="318233" y="4570285"/>
                  <a:pt x="296959" y="4581890"/>
                  <a:pt x="277618" y="4591561"/>
                </a:cubicBezTo>
                <a:cubicBezTo>
                  <a:pt x="275682" y="4591561"/>
                  <a:pt x="237000" y="4570285"/>
                  <a:pt x="237000" y="4572220"/>
                </a:cubicBezTo>
                <a:cubicBezTo>
                  <a:pt x="229264" y="4587693"/>
                  <a:pt x="213791" y="4589626"/>
                  <a:pt x="200253" y="4597363"/>
                </a:cubicBezTo>
                <a:cubicBezTo>
                  <a:pt x="184780" y="4605099"/>
                  <a:pt x="171242" y="4612836"/>
                  <a:pt x="155769" y="4620572"/>
                </a:cubicBezTo>
                <a:cubicBezTo>
                  <a:pt x="148032" y="4624440"/>
                  <a:pt x="140296" y="4628309"/>
                  <a:pt x="132559" y="4630242"/>
                </a:cubicBezTo>
                <a:cubicBezTo>
                  <a:pt x="124823" y="4632177"/>
                  <a:pt x="117087" y="4630242"/>
                  <a:pt x="109350" y="4634112"/>
                </a:cubicBezTo>
                <a:cubicBezTo>
                  <a:pt x="101613" y="4632177"/>
                  <a:pt x="93877" y="4636045"/>
                  <a:pt x="86140" y="4639913"/>
                </a:cubicBezTo>
                <a:cubicBezTo>
                  <a:pt x="78404" y="4643782"/>
                  <a:pt x="70667" y="4639913"/>
                  <a:pt x="64866" y="4643782"/>
                </a:cubicBezTo>
                <a:cubicBezTo>
                  <a:pt x="55194" y="4649583"/>
                  <a:pt x="47460" y="4645715"/>
                  <a:pt x="41657" y="4639913"/>
                </a:cubicBezTo>
                <a:cubicBezTo>
                  <a:pt x="37788" y="4636045"/>
                  <a:pt x="28119" y="4634112"/>
                  <a:pt x="26184" y="4626373"/>
                </a:cubicBezTo>
                <a:cubicBezTo>
                  <a:pt x="24251" y="4620572"/>
                  <a:pt x="14579" y="4620572"/>
                  <a:pt x="12646" y="4614771"/>
                </a:cubicBezTo>
                <a:cubicBezTo>
                  <a:pt x="9744" y="4609935"/>
                  <a:pt x="6359" y="4606550"/>
                  <a:pt x="2491" y="4604132"/>
                </a:cubicBezTo>
                <a:lnTo>
                  <a:pt x="0" y="4603210"/>
                </a:lnTo>
                <a:lnTo>
                  <a:pt x="0" y="1780731"/>
                </a:lnTo>
                <a:lnTo>
                  <a:pt x="12646" y="1765837"/>
                </a:lnTo>
                <a:lnTo>
                  <a:pt x="0" y="1774315"/>
                </a:lnTo>
                <a:lnTo>
                  <a:pt x="0" y="1288043"/>
                </a:lnTo>
                <a:lnTo>
                  <a:pt x="9019" y="1280134"/>
                </a:lnTo>
                <a:cubicBezTo>
                  <a:pt x="14096" y="1276024"/>
                  <a:pt x="19415" y="1272639"/>
                  <a:pt x="26184" y="1270705"/>
                </a:cubicBezTo>
                <a:cubicBezTo>
                  <a:pt x="28119" y="1270705"/>
                  <a:pt x="31985" y="1266839"/>
                  <a:pt x="33920" y="1264903"/>
                </a:cubicBezTo>
                <a:cubicBezTo>
                  <a:pt x="55194" y="1247497"/>
                  <a:pt x="68735" y="1210748"/>
                  <a:pt x="91944" y="1195275"/>
                </a:cubicBezTo>
                <a:cubicBezTo>
                  <a:pt x="113218" y="1181737"/>
                  <a:pt x="130624" y="1160463"/>
                  <a:pt x="155769" y="1150791"/>
                </a:cubicBezTo>
                <a:cubicBezTo>
                  <a:pt x="163506" y="1146923"/>
                  <a:pt x="169307" y="1139186"/>
                  <a:pt x="175110" y="1133385"/>
                </a:cubicBezTo>
                <a:cubicBezTo>
                  <a:pt x="182847" y="1125649"/>
                  <a:pt x="190583" y="1117912"/>
                  <a:pt x="202188" y="1114044"/>
                </a:cubicBezTo>
                <a:cubicBezTo>
                  <a:pt x="225395" y="1106307"/>
                  <a:pt x="244736" y="1092767"/>
                  <a:pt x="266013" y="1079230"/>
                </a:cubicBezTo>
                <a:cubicBezTo>
                  <a:pt x="283419" y="1069560"/>
                  <a:pt x="300825" y="1057955"/>
                  <a:pt x="318233" y="1046350"/>
                </a:cubicBezTo>
                <a:cubicBezTo>
                  <a:pt x="341443" y="1032810"/>
                  <a:pt x="376257" y="994128"/>
                  <a:pt x="399464" y="980590"/>
                </a:cubicBezTo>
                <a:cubicBezTo>
                  <a:pt x="424609" y="965117"/>
                  <a:pt x="449752" y="951579"/>
                  <a:pt x="474894" y="936106"/>
                </a:cubicBezTo>
                <a:cubicBezTo>
                  <a:pt x="482633" y="932238"/>
                  <a:pt x="490370" y="928370"/>
                  <a:pt x="498104" y="922566"/>
                </a:cubicBezTo>
                <a:cubicBezTo>
                  <a:pt x="532918" y="897424"/>
                  <a:pt x="571600" y="876150"/>
                  <a:pt x="610283" y="854873"/>
                </a:cubicBezTo>
                <a:cubicBezTo>
                  <a:pt x="616084" y="851005"/>
                  <a:pt x="623821" y="849072"/>
                  <a:pt x="627689" y="843268"/>
                </a:cubicBezTo>
                <a:cubicBezTo>
                  <a:pt x="641229" y="829731"/>
                  <a:pt x="656702" y="821994"/>
                  <a:pt x="674108" y="816190"/>
                </a:cubicBezTo>
                <a:cubicBezTo>
                  <a:pt x="689581" y="810389"/>
                  <a:pt x="705054" y="800720"/>
                  <a:pt x="718592" y="792983"/>
                </a:cubicBezTo>
                <a:cubicBezTo>
                  <a:pt x="788220" y="752365"/>
                  <a:pt x="855914" y="762037"/>
                  <a:pt x="927475" y="725290"/>
                </a:cubicBezTo>
                <a:cubicBezTo>
                  <a:pt x="950685" y="713685"/>
                  <a:pt x="973894" y="705949"/>
                  <a:pt x="997104" y="694344"/>
                </a:cubicBezTo>
                <a:cubicBezTo>
                  <a:pt x="1020313" y="682739"/>
                  <a:pt x="1043523" y="669199"/>
                  <a:pt x="1068665" y="657594"/>
                </a:cubicBezTo>
                <a:cubicBezTo>
                  <a:pt x="1099609" y="642121"/>
                  <a:pt x="1132490" y="630519"/>
                  <a:pt x="1167305" y="624715"/>
                </a:cubicBezTo>
                <a:cubicBezTo>
                  <a:pt x="1171173" y="624715"/>
                  <a:pt x="1175041" y="624715"/>
                  <a:pt x="1176974" y="622780"/>
                </a:cubicBezTo>
                <a:cubicBezTo>
                  <a:pt x="1188579" y="613111"/>
                  <a:pt x="1204052" y="609242"/>
                  <a:pt x="1215657" y="601506"/>
                </a:cubicBezTo>
                <a:cubicBezTo>
                  <a:pt x="1236931" y="587968"/>
                  <a:pt x="1260140" y="578296"/>
                  <a:pt x="1283350" y="572495"/>
                </a:cubicBezTo>
                <a:cubicBezTo>
                  <a:pt x="1289153" y="572495"/>
                  <a:pt x="1294955" y="570560"/>
                  <a:pt x="1300758" y="568627"/>
                </a:cubicBezTo>
                <a:cubicBezTo>
                  <a:pt x="1320097" y="562823"/>
                  <a:pt x="1341374" y="558955"/>
                  <a:pt x="1358780" y="547350"/>
                </a:cubicBezTo>
                <a:cubicBezTo>
                  <a:pt x="1362648" y="545417"/>
                  <a:pt x="1364583" y="543484"/>
                  <a:pt x="1368451" y="543484"/>
                </a:cubicBezTo>
                <a:cubicBezTo>
                  <a:pt x="1395529" y="537681"/>
                  <a:pt x="1420672" y="531879"/>
                  <a:pt x="1447749" y="526076"/>
                </a:cubicBezTo>
                <a:cubicBezTo>
                  <a:pt x="1474827" y="520275"/>
                  <a:pt x="1499970" y="514471"/>
                  <a:pt x="1525112" y="508670"/>
                </a:cubicBezTo>
                <a:cubicBezTo>
                  <a:pt x="1538652" y="504802"/>
                  <a:pt x="1550257" y="502866"/>
                  <a:pt x="1561862" y="500933"/>
                </a:cubicBezTo>
                <a:cubicBezTo>
                  <a:pt x="1567663" y="500933"/>
                  <a:pt x="1573464" y="498998"/>
                  <a:pt x="1579268" y="497065"/>
                </a:cubicBezTo>
                <a:cubicBezTo>
                  <a:pt x="1600542" y="487393"/>
                  <a:pt x="1623752" y="487393"/>
                  <a:pt x="1646961" y="495130"/>
                </a:cubicBezTo>
                <a:cubicBezTo>
                  <a:pt x="1654698" y="498998"/>
                  <a:pt x="1660499" y="495130"/>
                  <a:pt x="1666302" y="491262"/>
                </a:cubicBezTo>
                <a:cubicBezTo>
                  <a:pt x="1674039" y="493197"/>
                  <a:pt x="1681775" y="497065"/>
                  <a:pt x="1691447" y="500933"/>
                </a:cubicBezTo>
                <a:cubicBezTo>
                  <a:pt x="1691447" y="502866"/>
                  <a:pt x="1691447" y="502866"/>
                  <a:pt x="1691447" y="502866"/>
                </a:cubicBezTo>
                <a:cubicBezTo>
                  <a:pt x="1712721" y="491262"/>
                  <a:pt x="1733996" y="479657"/>
                  <a:pt x="1755272" y="469987"/>
                </a:cubicBezTo>
                <a:cubicBezTo>
                  <a:pt x="1793952" y="452579"/>
                  <a:pt x="1832635" y="435173"/>
                  <a:pt x="1871317" y="417767"/>
                </a:cubicBezTo>
                <a:cubicBezTo>
                  <a:pt x="1879054" y="413899"/>
                  <a:pt x="1886790" y="411964"/>
                  <a:pt x="1894527" y="410031"/>
                </a:cubicBezTo>
                <a:cubicBezTo>
                  <a:pt x="1898395" y="408095"/>
                  <a:pt x="1904196" y="410031"/>
                  <a:pt x="1904196" y="415832"/>
                </a:cubicBezTo>
                <a:cubicBezTo>
                  <a:pt x="1890659" y="421635"/>
                  <a:pt x="1875186" y="429370"/>
                  <a:pt x="1861646" y="437108"/>
                </a:cubicBezTo>
                <a:cubicBezTo>
                  <a:pt x="1848108" y="444845"/>
                  <a:pt x="1832635" y="452579"/>
                  <a:pt x="1819097" y="460316"/>
                </a:cubicBezTo>
                <a:cubicBezTo>
                  <a:pt x="1805557" y="468052"/>
                  <a:pt x="1790084" y="475789"/>
                  <a:pt x="1776546" y="483525"/>
                </a:cubicBezTo>
                <a:cubicBezTo>
                  <a:pt x="1782350" y="487393"/>
                  <a:pt x="1788151" y="485460"/>
                  <a:pt x="1792019" y="483525"/>
                </a:cubicBezTo>
                <a:cubicBezTo>
                  <a:pt x="1813294" y="471920"/>
                  <a:pt x="1834568" y="462251"/>
                  <a:pt x="1855844" y="450646"/>
                </a:cubicBezTo>
                <a:cubicBezTo>
                  <a:pt x="1890659" y="433240"/>
                  <a:pt x="1927406" y="419700"/>
                  <a:pt x="1964153" y="411964"/>
                </a:cubicBezTo>
                <a:cubicBezTo>
                  <a:pt x="1969957" y="410031"/>
                  <a:pt x="1975760" y="408095"/>
                  <a:pt x="1979626" y="410031"/>
                </a:cubicBezTo>
                <a:cubicBezTo>
                  <a:pt x="1983494" y="411964"/>
                  <a:pt x="1989298" y="413899"/>
                  <a:pt x="1993166" y="417767"/>
                </a:cubicBezTo>
                <a:cubicBezTo>
                  <a:pt x="1997035" y="421635"/>
                  <a:pt x="2004771" y="423568"/>
                  <a:pt x="2004771" y="431305"/>
                </a:cubicBezTo>
                <a:cubicBezTo>
                  <a:pt x="2004771" y="437108"/>
                  <a:pt x="2002836" y="440974"/>
                  <a:pt x="2002836" y="446778"/>
                </a:cubicBezTo>
                <a:cubicBezTo>
                  <a:pt x="2012508" y="442910"/>
                  <a:pt x="2020244" y="433240"/>
                  <a:pt x="2035717" y="433240"/>
                </a:cubicBezTo>
                <a:cubicBezTo>
                  <a:pt x="2004771" y="458383"/>
                  <a:pt x="1973825" y="471920"/>
                  <a:pt x="1944812" y="493197"/>
                </a:cubicBezTo>
                <a:cubicBezTo>
                  <a:pt x="1948680" y="497065"/>
                  <a:pt x="1952551" y="500933"/>
                  <a:pt x="1956419" y="504802"/>
                </a:cubicBezTo>
                <a:cubicBezTo>
                  <a:pt x="1958352" y="506735"/>
                  <a:pt x="1960285" y="506735"/>
                  <a:pt x="1962220" y="506735"/>
                </a:cubicBezTo>
                <a:cubicBezTo>
                  <a:pt x="1968021" y="506735"/>
                  <a:pt x="1975760" y="504802"/>
                  <a:pt x="1981562" y="502866"/>
                </a:cubicBezTo>
                <a:cubicBezTo>
                  <a:pt x="2014440" y="493197"/>
                  <a:pt x="2045387" y="483525"/>
                  <a:pt x="2078265" y="475789"/>
                </a:cubicBezTo>
                <a:cubicBezTo>
                  <a:pt x="2089870" y="471920"/>
                  <a:pt x="2103410" y="471920"/>
                  <a:pt x="2116948" y="469987"/>
                </a:cubicBezTo>
                <a:cubicBezTo>
                  <a:pt x="2120816" y="469987"/>
                  <a:pt x="2124685" y="471920"/>
                  <a:pt x="2132421" y="475789"/>
                </a:cubicBezTo>
                <a:cubicBezTo>
                  <a:pt x="2124685" y="479657"/>
                  <a:pt x="2118881" y="481592"/>
                  <a:pt x="2115013" y="483525"/>
                </a:cubicBezTo>
                <a:cubicBezTo>
                  <a:pt x="2062795" y="497065"/>
                  <a:pt x="2008637" y="512538"/>
                  <a:pt x="1954484" y="526076"/>
                </a:cubicBezTo>
                <a:cubicBezTo>
                  <a:pt x="1954484" y="526076"/>
                  <a:pt x="1952551" y="528009"/>
                  <a:pt x="1952551" y="528009"/>
                </a:cubicBezTo>
                <a:cubicBezTo>
                  <a:pt x="1954484" y="528009"/>
                  <a:pt x="1956419" y="528009"/>
                  <a:pt x="1956419" y="533812"/>
                </a:cubicBezTo>
                <a:cubicBezTo>
                  <a:pt x="1944812" y="537681"/>
                  <a:pt x="1935142" y="539614"/>
                  <a:pt x="1923538" y="543484"/>
                </a:cubicBezTo>
                <a:cubicBezTo>
                  <a:pt x="1927406" y="543484"/>
                  <a:pt x="1929341" y="545417"/>
                  <a:pt x="1933210" y="547350"/>
                </a:cubicBezTo>
                <a:cubicBezTo>
                  <a:pt x="1906132" y="557022"/>
                  <a:pt x="1882922" y="570560"/>
                  <a:pt x="1855844" y="574428"/>
                </a:cubicBezTo>
                <a:cubicBezTo>
                  <a:pt x="1867449" y="560890"/>
                  <a:pt x="1884855" y="555087"/>
                  <a:pt x="1900328" y="549285"/>
                </a:cubicBezTo>
                <a:cubicBezTo>
                  <a:pt x="1898395" y="551218"/>
                  <a:pt x="1894527" y="551218"/>
                  <a:pt x="1890659" y="553154"/>
                </a:cubicBezTo>
                <a:cubicBezTo>
                  <a:pt x="1875186" y="557022"/>
                  <a:pt x="1861646" y="562823"/>
                  <a:pt x="1848108" y="570560"/>
                </a:cubicBezTo>
                <a:cubicBezTo>
                  <a:pt x="1836503" y="576363"/>
                  <a:pt x="1824898" y="584100"/>
                  <a:pt x="1813294" y="587968"/>
                </a:cubicBezTo>
                <a:lnTo>
                  <a:pt x="1816673" y="606553"/>
                </a:lnTo>
                <a:lnTo>
                  <a:pt x="1807492" y="613111"/>
                </a:lnTo>
                <a:cubicBezTo>
                  <a:pt x="1799756" y="618914"/>
                  <a:pt x="1790084" y="626651"/>
                  <a:pt x="1780415" y="630519"/>
                </a:cubicBezTo>
                <a:cubicBezTo>
                  <a:pt x="1763009" y="638253"/>
                  <a:pt x="1747533" y="647925"/>
                  <a:pt x="1733996" y="655661"/>
                </a:cubicBezTo>
                <a:cubicBezTo>
                  <a:pt x="1735931" y="657594"/>
                  <a:pt x="1737864" y="661463"/>
                  <a:pt x="1737864" y="665331"/>
                </a:cubicBezTo>
                <a:cubicBezTo>
                  <a:pt x="1763009" y="653726"/>
                  <a:pt x="1786216" y="642121"/>
                  <a:pt x="1811361" y="632452"/>
                </a:cubicBezTo>
                <a:cubicBezTo>
                  <a:pt x="1813294" y="632452"/>
                  <a:pt x="1813294" y="630519"/>
                  <a:pt x="1815229" y="630519"/>
                </a:cubicBezTo>
                <a:cubicBezTo>
                  <a:pt x="1817163" y="626649"/>
                  <a:pt x="1818130" y="623264"/>
                  <a:pt x="1818855" y="619155"/>
                </a:cubicBezTo>
                <a:lnTo>
                  <a:pt x="1820451" y="607623"/>
                </a:lnTo>
                <a:lnTo>
                  <a:pt x="1864789" y="585791"/>
                </a:lnTo>
                <a:cubicBezTo>
                  <a:pt x="1880988" y="579264"/>
                  <a:pt x="1897428" y="573461"/>
                  <a:pt x="1913868" y="566691"/>
                </a:cubicBezTo>
                <a:cubicBezTo>
                  <a:pt x="1917736" y="564758"/>
                  <a:pt x="1923538" y="564758"/>
                  <a:pt x="1927406" y="560890"/>
                </a:cubicBezTo>
                <a:cubicBezTo>
                  <a:pt x="1944812" y="549285"/>
                  <a:pt x="1962220" y="543484"/>
                  <a:pt x="1981562" y="539614"/>
                </a:cubicBezTo>
                <a:cubicBezTo>
                  <a:pt x="1998967" y="535745"/>
                  <a:pt x="2018309" y="531879"/>
                  <a:pt x="2037650" y="526076"/>
                </a:cubicBezTo>
                <a:cubicBezTo>
                  <a:pt x="2051188" y="522208"/>
                  <a:pt x="2064728" y="518339"/>
                  <a:pt x="2076333" y="514471"/>
                </a:cubicBezTo>
                <a:cubicBezTo>
                  <a:pt x="2089870" y="510603"/>
                  <a:pt x="2103410" y="506735"/>
                  <a:pt x="2116948" y="506735"/>
                </a:cubicBezTo>
                <a:cubicBezTo>
                  <a:pt x="2120816" y="512538"/>
                  <a:pt x="2120816" y="516406"/>
                  <a:pt x="2116948" y="518339"/>
                </a:cubicBezTo>
                <a:cubicBezTo>
                  <a:pt x="2122752" y="520275"/>
                  <a:pt x="2126620" y="522208"/>
                  <a:pt x="2132421" y="522208"/>
                </a:cubicBezTo>
                <a:cubicBezTo>
                  <a:pt x="2138223" y="522208"/>
                  <a:pt x="2145959" y="518339"/>
                  <a:pt x="2153695" y="516406"/>
                </a:cubicBezTo>
                <a:cubicBezTo>
                  <a:pt x="2157564" y="518339"/>
                  <a:pt x="2163367" y="520275"/>
                  <a:pt x="2171104" y="524143"/>
                </a:cubicBezTo>
                <a:cubicBezTo>
                  <a:pt x="2167236" y="529944"/>
                  <a:pt x="2165300" y="531879"/>
                  <a:pt x="2161432" y="533812"/>
                </a:cubicBezTo>
                <a:cubicBezTo>
                  <a:pt x="2128553" y="549285"/>
                  <a:pt x="2095671" y="562823"/>
                  <a:pt x="2062795" y="578296"/>
                </a:cubicBezTo>
                <a:cubicBezTo>
                  <a:pt x="2055056" y="582164"/>
                  <a:pt x="2047319" y="589901"/>
                  <a:pt x="2037650" y="593769"/>
                </a:cubicBezTo>
                <a:cubicBezTo>
                  <a:pt x="2035717" y="595705"/>
                  <a:pt x="2031846" y="595705"/>
                  <a:pt x="2029913" y="597637"/>
                </a:cubicBezTo>
                <a:cubicBezTo>
                  <a:pt x="2035717" y="599573"/>
                  <a:pt x="2039585" y="599573"/>
                  <a:pt x="2045387" y="597637"/>
                </a:cubicBezTo>
                <a:cubicBezTo>
                  <a:pt x="2049255" y="595705"/>
                  <a:pt x="2053123" y="595705"/>
                  <a:pt x="2056991" y="595705"/>
                </a:cubicBezTo>
                <a:cubicBezTo>
                  <a:pt x="2066661" y="595705"/>
                  <a:pt x="2070529" y="601506"/>
                  <a:pt x="2066661" y="611178"/>
                </a:cubicBezTo>
                <a:cubicBezTo>
                  <a:pt x="2064728" y="613111"/>
                  <a:pt x="2062795" y="615046"/>
                  <a:pt x="2060860" y="616979"/>
                </a:cubicBezTo>
                <a:cubicBezTo>
                  <a:pt x="2060860" y="616979"/>
                  <a:pt x="2060860" y="618914"/>
                  <a:pt x="2060860" y="620847"/>
                </a:cubicBezTo>
                <a:cubicBezTo>
                  <a:pt x="2062795" y="618914"/>
                  <a:pt x="2066661" y="618914"/>
                  <a:pt x="2068596" y="616979"/>
                </a:cubicBezTo>
                <a:cubicBezTo>
                  <a:pt x="2068596" y="615046"/>
                  <a:pt x="2070529" y="611178"/>
                  <a:pt x="2072464" y="609242"/>
                </a:cubicBezTo>
                <a:cubicBezTo>
                  <a:pt x="2074397" y="605374"/>
                  <a:pt x="2082134" y="603441"/>
                  <a:pt x="2084069" y="607309"/>
                </a:cubicBezTo>
                <a:cubicBezTo>
                  <a:pt x="2087937" y="607309"/>
                  <a:pt x="2089870" y="605374"/>
                  <a:pt x="2093739" y="605374"/>
                </a:cubicBezTo>
                <a:cubicBezTo>
                  <a:pt x="2101475" y="603441"/>
                  <a:pt x="2111147" y="601506"/>
                  <a:pt x="2118881" y="597637"/>
                </a:cubicBezTo>
                <a:cubicBezTo>
                  <a:pt x="2149829" y="584100"/>
                  <a:pt x="2180773" y="570560"/>
                  <a:pt x="2211719" y="560890"/>
                </a:cubicBezTo>
                <a:cubicBezTo>
                  <a:pt x="2217523" y="558955"/>
                  <a:pt x="2223324" y="555087"/>
                  <a:pt x="2229125" y="551218"/>
                </a:cubicBezTo>
                <a:cubicBezTo>
                  <a:pt x="2242665" y="541549"/>
                  <a:pt x="2256203" y="531879"/>
                  <a:pt x="2269743" y="524143"/>
                </a:cubicBezTo>
                <a:cubicBezTo>
                  <a:pt x="2273611" y="520275"/>
                  <a:pt x="2281348" y="520275"/>
                  <a:pt x="2287149" y="520275"/>
                </a:cubicBezTo>
                <a:cubicBezTo>
                  <a:pt x="2289082" y="520275"/>
                  <a:pt x="2291017" y="522208"/>
                  <a:pt x="2291017" y="524143"/>
                </a:cubicBezTo>
                <a:cubicBezTo>
                  <a:pt x="2291017" y="526076"/>
                  <a:pt x="2291017" y="528009"/>
                  <a:pt x="2289082" y="529944"/>
                </a:cubicBezTo>
                <a:cubicBezTo>
                  <a:pt x="2283281" y="535745"/>
                  <a:pt x="2271676" y="533812"/>
                  <a:pt x="2271676" y="545417"/>
                </a:cubicBezTo>
                <a:cubicBezTo>
                  <a:pt x="2275544" y="553154"/>
                  <a:pt x="2281348" y="551218"/>
                  <a:pt x="2285216" y="549285"/>
                </a:cubicBezTo>
                <a:cubicBezTo>
                  <a:pt x="2308423" y="541549"/>
                  <a:pt x="2333568" y="535745"/>
                  <a:pt x="2358710" y="533812"/>
                </a:cubicBezTo>
                <a:cubicBezTo>
                  <a:pt x="2335501" y="541549"/>
                  <a:pt x="2314227" y="549285"/>
                  <a:pt x="2291017" y="557022"/>
                </a:cubicBezTo>
                <a:cubicBezTo>
                  <a:pt x="2281348" y="560890"/>
                  <a:pt x="2269743" y="562823"/>
                  <a:pt x="2262007" y="568627"/>
                </a:cubicBezTo>
                <a:cubicBezTo>
                  <a:pt x="2252335" y="574428"/>
                  <a:pt x="2242665" y="580232"/>
                  <a:pt x="2231061" y="582164"/>
                </a:cubicBezTo>
                <a:cubicBezTo>
                  <a:pt x="2223324" y="584100"/>
                  <a:pt x="2219456" y="589901"/>
                  <a:pt x="2209786" y="595705"/>
                </a:cubicBezTo>
                <a:cubicBezTo>
                  <a:pt x="2215587" y="597637"/>
                  <a:pt x="2219456" y="597637"/>
                  <a:pt x="2221389" y="597637"/>
                </a:cubicBezTo>
                <a:cubicBezTo>
                  <a:pt x="2236864" y="597637"/>
                  <a:pt x="2252335" y="584100"/>
                  <a:pt x="2269743" y="595705"/>
                </a:cubicBezTo>
                <a:cubicBezTo>
                  <a:pt x="2283281" y="591836"/>
                  <a:pt x="2296821" y="586033"/>
                  <a:pt x="2310359" y="582164"/>
                </a:cubicBezTo>
                <a:cubicBezTo>
                  <a:pt x="2349041" y="570560"/>
                  <a:pt x="2385788" y="558955"/>
                  <a:pt x="2424471" y="547350"/>
                </a:cubicBezTo>
                <a:cubicBezTo>
                  <a:pt x="2432207" y="545417"/>
                  <a:pt x="2439944" y="545417"/>
                  <a:pt x="2449613" y="543484"/>
                </a:cubicBezTo>
                <a:cubicBezTo>
                  <a:pt x="2447680" y="545417"/>
                  <a:pt x="2447680" y="549285"/>
                  <a:pt x="2445745" y="549285"/>
                </a:cubicBezTo>
                <a:cubicBezTo>
                  <a:pt x="2420602" y="562823"/>
                  <a:pt x="2399326" y="580232"/>
                  <a:pt x="2374184" y="589901"/>
                </a:cubicBezTo>
                <a:cubicBezTo>
                  <a:pt x="2356778" y="595705"/>
                  <a:pt x="2339369" y="603441"/>
                  <a:pt x="2321963" y="609242"/>
                </a:cubicBezTo>
                <a:cubicBezTo>
                  <a:pt x="2279413" y="622780"/>
                  <a:pt x="2238797" y="640188"/>
                  <a:pt x="2196246" y="649858"/>
                </a:cubicBezTo>
                <a:cubicBezTo>
                  <a:pt x="2165300" y="657594"/>
                  <a:pt x="2136290" y="675003"/>
                  <a:pt x="2107279" y="684672"/>
                </a:cubicBezTo>
                <a:cubicBezTo>
                  <a:pt x="2109212" y="686607"/>
                  <a:pt x="2109212" y="690476"/>
                  <a:pt x="2109212" y="692409"/>
                </a:cubicBezTo>
                <a:lnTo>
                  <a:pt x="2120816" y="692409"/>
                </a:lnTo>
                <a:cubicBezTo>
                  <a:pt x="2118881" y="692409"/>
                  <a:pt x="2115013" y="692409"/>
                  <a:pt x="2113080" y="696277"/>
                </a:cubicBezTo>
                <a:cubicBezTo>
                  <a:pt x="2113080" y="698212"/>
                  <a:pt x="2115013" y="698212"/>
                  <a:pt x="2115013" y="700145"/>
                </a:cubicBezTo>
                <a:cubicBezTo>
                  <a:pt x="2116948" y="698212"/>
                  <a:pt x="2120816" y="698212"/>
                  <a:pt x="2122752" y="698212"/>
                </a:cubicBezTo>
                <a:cubicBezTo>
                  <a:pt x="2122752" y="696277"/>
                  <a:pt x="2122752" y="694344"/>
                  <a:pt x="2120816" y="692409"/>
                </a:cubicBezTo>
                <a:lnTo>
                  <a:pt x="2126620" y="692409"/>
                </a:lnTo>
                <a:cubicBezTo>
                  <a:pt x="2128553" y="692409"/>
                  <a:pt x="2128553" y="692409"/>
                  <a:pt x="2130488" y="694344"/>
                </a:cubicBezTo>
                <a:cubicBezTo>
                  <a:pt x="2127587" y="696278"/>
                  <a:pt x="2125169" y="698212"/>
                  <a:pt x="2123476" y="700871"/>
                </a:cubicBezTo>
                <a:lnTo>
                  <a:pt x="2122235" y="705949"/>
                </a:lnTo>
                <a:lnTo>
                  <a:pt x="2120816" y="705949"/>
                </a:lnTo>
                <a:lnTo>
                  <a:pt x="2121769" y="707852"/>
                </a:lnTo>
                <a:lnTo>
                  <a:pt x="2120816" y="711750"/>
                </a:lnTo>
                <a:cubicBezTo>
                  <a:pt x="2116948" y="709815"/>
                  <a:pt x="2111147" y="707882"/>
                  <a:pt x="2105343" y="704013"/>
                </a:cubicBezTo>
                <a:cubicBezTo>
                  <a:pt x="2103410" y="704013"/>
                  <a:pt x="2101475" y="705949"/>
                  <a:pt x="2099542" y="705949"/>
                </a:cubicBezTo>
                <a:cubicBezTo>
                  <a:pt x="2097607" y="709815"/>
                  <a:pt x="2097607" y="713685"/>
                  <a:pt x="2095671" y="717553"/>
                </a:cubicBezTo>
                <a:cubicBezTo>
                  <a:pt x="2087937" y="717553"/>
                  <a:pt x="2082134" y="717553"/>
                  <a:pt x="2078265" y="723355"/>
                </a:cubicBezTo>
                <a:cubicBezTo>
                  <a:pt x="2076333" y="727223"/>
                  <a:pt x="2072464" y="727223"/>
                  <a:pt x="2070529" y="725290"/>
                </a:cubicBezTo>
                <a:cubicBezTo>
                  <a:pt x="2070529" y="719486"/>
                  <a:pt x="2072464" y="711750"/>
                  <a:pt x="2072464" y="704013"/>
                </a:cubicBezTo>
                <a:cubicBezTo>
                  <a:pt x="2060860" y="707882"/>
                  <a:pt x="2051188" y="711750"/>
                  <a:pt x="2045387" y="721419"/>
                </a:cubicBezTo>
                <a:cubicBezTo>
                  <a:pt x="2049255" y="719486"/>
                  <a:pt x="2055056" y="715618"/>
                  <a:pt x="2058924" y="713685"/>
                </a:cubicBezTo>
                <a:cubicBezTo>
                  <a:pt x="2056991" y="725290"/>
                  <a:pt x="2053123" y="731091"/>
                  <a:pt x="2039585" y="729156"/>
                </a:cubicBezTo>
                <a:cubicBezTo>
                  <a:pt x="2033782" y="738828"/>
                  <a:pt x="2024112" y="748497"/>
                  <a:pt x="2014440" y="758169"/>
                </a:cubicBezTo>
                <a:cubicBezTo>
                  <a:pt x="2031846" y="752365"/>
                  <a:pt x="2049255" y="746564"/>
                  <a:pt x="2066661" y="740761"/>
                </a:cubicBezTo>
                <a:cubicBezTo>
                  <a:pt x="2064728" y="742696"/>
                  <a:pt x="2062795" y="746564"/>
                  <a:pt x="2058924" y="748497"/>
                </a:cubicBezTo>
                <a:cubicBezTo>
                  <a:pt x="2043454" y="756234"/>
                  <a:pt x="2026045" y="762037"/>
                  <a:pt x="2008637" y="769774"/>
                </a:cubicBezTo>
                <a:cubicBezTo>
                  <a:pt x="2002836" y="773642"/>
                  <a:pt x="1997035" y="775575"/>
                  <a:pt x="1989298" y="779443"/>
                </a:cubicBezTo>
                <a:cubicBezTo>
                  <a:pt x="1991231" y="783311"/>
                  <a:pt x="1995099" y="785247"/>
                  <a:pt x="1997035" y="789115"/>
                </a:cubicBezTo>
                <a:cubicBezTo>
                  <a:pt x="2000903" y="787180"/>
                  <a:pt x="2006704" y="787180"/>
                  <a:pt x="2010572" y="785247"/>
                </a:cubicBezTo>
                <a:cubicBezTo>
                  <a:pt x="2012508" y="783311"/>
                  <a:pt x="2016376" y="781378"/>
                  <a:pt x="2018309" y="779443"/>
                </a:cubicBezTo>
                <a:cubicBezTo>
                  <a:pt x="2029913" y="769774"/>
                  <a:pt x="2045387" y="769774"/>
                  <a:pt x="2058924" y="771707"/>
                </a:cubicBezTo>
                <a:cubicBezTo>
                  <a:pt x="2144026" y="750432"/>
                  <a:pt x="2231061" y="733024"/>
                  <a:pt x="2314227" y="704013"/>
                </a:cubicBezTo>
                <a:cubicBezTo>
                  <a:pt x="2318095" y="702080"/>
                  <a:pt x="2323898" y="702080"/>
                  <a:pt x="2329700" y="702080"/>
                </a:cubicBezTo>
                <a:cubicBezTo>
                  <a:pt x="2331633" y="702080"/>
                  <a:pt x="2331633" y="700145"/>
                  <a:pt x="2331633" y="700145"/>
                </a:cubicBezTo>
                <a:cubicBezTo>
                  <a:pt x="2333568" y="698212"/>
                  <a:pt x="2335501" y="696277"/>
                  <a:pt x="2337436" y="696277"/>
                </a:cubicBezTo>
                <a:cubicBezTo>
                  <a:pt x="2347106" y="696277"/>
                  <a:pt x="2352909" y="690476"/>
                  <a:pt x="2360646" y="686607"/>
                </a:cubicBezTo>
                <a:cubicBezTo>
                  <a:pt x="2360646" y="686607"/>
                  <a:pt x="2362579" y="684672"/>
                  <a:pt x="2362579" y="682739"/>
                </a:cubicBezTo>
                <a:cubicBezTo>
                  <a:pt x="2364514" y="678871"/>
                  <a:pt x="2366447" y="678871"/>
                  <a:pt x="2370315" y="678871"/>
                </a:cubicBezTo>
                <a:cubicBezTo>
                  <a:pt x="2374184" y="678871"/>
                  <a:pt x="2376117" y="678871"/>
                  <a:pt x="2378052" y="675003"/>
                </a:cubicBezTo>
                <a:cubicBezTo>
                  <a:pt x="2378052" y="673067"/>
                  <a:pt x="2379987" y="671134"/>
                  <a:pt x="2381920" y="669199"/>
                </a:cubicBezTo>
                <a:cubicBezTo>
                  <a:pt x="2387723" y="665331"/>
                  <a:pt x="2393525" y="661463"/>
                  <a:pt x="2399326" y="657594"/>
                </a:cubicBezTo>
                <a:cubicBezTo>
                  <a:pt x="2403194" y="653726"/>
                  <a:pt x="2407065" y="653726"/>
                  <a:pt x="2410933" y="653726"/>
                </a:cubicBezTo>
                <a:cubicBezTo>
                  <a:pt x="2414799" y="653726"/>
                  <a:pt x="2416734" y="651793"/>
                  <a:pt x="2420602" y="651793"/>
                </a:cubicBezTo>
                <a:cubicBezTo>
                  <a:pt x="2424471" y="651793"/>
                  <a:pt x="2426404" y="647925"/>
                  <a:pt x="2428339" y="644057"/>
                </a:cubicBezTo>
                <a:cubicBezTo>
                  <a:pt x="2430274" y="644057"/>
                  <a:pt x="2430274" y="642121"/>
                  <a:pt x="2430274" y="640188"/>
                </a:cubicBezTo>
                <a:cubicBezTo>
                  <a:pt x="2432207" y="636320"/>
                  <a:pt x="2434140" y="634385"/>
                  <a:pt x="2438008" y="634385"/>
                </a:cubicBezTo>
                <a:cubicBezTo>
                  <a:pt x="2439944" y="634385"/>
                  <a:pt x="2443812" y="634385"/>
                  <a:pt x="2445745" y="630519"/>
                </a:cubicBezTo>
                <a:cubicBezTo>
                  <a:pt x="2447680" y="626651"/>
                  <a:pt x="2449613" y="622780"/>
                  <a:pt x="2453481" y="620847"/>
                </a:cubicBezTo>
                <a:cubicBezTo>
                  <a:pt x="2474758" y="609242"/>
                  <a:pt x="2496032" y="595705"/>
                  <a:pt x="2517309" y="582164"/>
                </a:cubicBezTo>
                <a:cubicBezTo>
                  <a:pt x="2521175" y="580232"/>
                  <a:pt x="2525043" y="578296"/>
                  <a:pt x="2530847" y="580232"/>
                </a:cubicBezTo>
                <a:cubicBezTo>
                  <a:pt x="2534715" y="582164"/>
                  <a:pt x="2538583" y="580232"/>
                  <a:pt x="2542451" y="578296"/>
                </a:cubicBezTo>
                <a:cubicBezTo>
                  <a:pt x="2550185" y="574428"/>
                  <a:pt x="2557924" y="568627"/>
                  <a:pt x="2565661" y="564758"/>
                </a:cubicBezTo>
                <a:cubicBezTo>
                  <a:pt x="2569527" y="562823"/>
                  <a:pt x="2571462" y="562823"/>
                  <a:pt x="2575330" y="562823"/>
                </a:cubicBezTo>
                <a:cubicBezTo>
                  <a:pt x="2583067" y="560890"/>
                  <a:pt x="2590803" y="557022"/>
                  <a:pt x="2594672" y="549285"/>
                </a:cubicBezTo>
                <a:cubicBezTo>
                  <a:pt x="2596605" y="549285"/>
                  <a:pt x="2596605" y="547350"/>
                  <a:pt x="2598540" y="547350"/>
                </a:cubicBezTo>
                <a:cubicBezTo>
                  <a:pt x="2602408" y="547350"/>
                  <a:pt x="2604343" y="547350"/>
                  <a:pt x="2606276" y="545417"/>
                </a:cubicBezTo>
                <a:cubicBezTo>
                  <a:pt x="2621749" y="535745"/>
                  <a:pt x="2637220" y="526076"/>
                  <a:pt x="2652695" y="516406"/>
                </a:cubicBezTo>
                <a:cubicBezTo>
                  <a:pt x="2666233" y="506735"/>
                  <a:pt x="2679771" y="498998"/>
                  <a:pt x="2693311" y="491262"/>
                </a:cubicBezTo>
                <a:cubicBezTo>
                  <a:pt x="2697179" y="489329"/>
                  <a:pt x="2699112" y="489329"/>
                  <a:pt x="2701047" y="489329"/>
                </a:cubicBezTo>
                <a:cubicBezTo>
                  <a:pt x="2702980" y="489329"/>
                  <a:pt x="2704916" y="489329"/>
                  <a:pt x="2704916" y="487393"/>
                </a:cubicBezTo>
                <a:cubicBezTo>
                  <a:pt x="2704916" y="483525"/>
                  <a:pt x="2706849" y="481592"/>
                  <a:pt x="2708784" y="481592"/>
                </a:cubicBezTo>
                <a:cubicBezTo>
                  <a:pt x="2714585" y="481592"/>
                  <a:pt x="2718453" y="479657"/>
                  <a:pt x="2724257" y="475789"/>
                </a:cubicBezTo>
                <a:cubicBezTo>
                  <a:pt x="2731993" y="469987"/>
                  <a:pt x="2741663" y="464184"/>
                  <a:pt x="2751335" y="458383"/>
                </a:cubicBezTo>
                <a:cubicBezTo>
                  <a:pt x="2755203" y="454514"/>
                  <a:pt x="2759071" y="454514"/>
                  <a:pt x="2762937" y="454514"/>
                </a:cubicBezTo>
                <a:cubicBezTo>
                  <a:pt x="2766805" y="454514"/>
                  <a:pt x="2770674" y="452579"/>
                  <a:pt x="2772609" y="448711"/>
                </a:cubicBezTo>
                <a:cubicBezTo>
                  <a:pt x="2774544" y="444845"/>
                  <a:pt x="2780345" y="440974"/>
                  <a:pt x="2786147" y="440974"/>
                </a:cubicBezTo>
                <a:cubicBezTo>
                  <a:pt x="2790015" y="440974"/>
                  <a:pt x="2793883" y="439041"/>
                  <a:pt x="2795818" y="435173"/>
                </a:cubicBezTo>
                <a:cubicBezTo>
                  <a:pt x="2797754" y="431305"/>
                  <a:pt x="2801620" y="427437"/>
                  <a:pt x="2805488" y="425504"/>
                </a:cubicBezTo>
                <a:cubicBezTo>
                  <a:pt x="2809356" y="423568"/>
                  <a:pt x="2811291" y="419700"/>
                  <a:pt x="2815160" y="417767"/>
                </a:cubicBezTo>
                <a:cubicBezTo>
                  <a:pt x="2822896" y="410031"/>
                  <a:pt x="2832566" y="410031"/>
                  <a:pt x="2842237" y="413899"/>
                </a:cubicBezTo>
                <a:cubicBezTo>
                  <a:pt x="2842237" y="413899"/>
                  <a:pt x="2844170" y="415832"/>
                  <a:pt x="2844170" y="417767"/>
                </a:cubicBezTo>
                <a:cubicBezTo>
                  <a:pt x="2844170" y="417767"/>
                  <a:pt x="2844170" y="421635"/>
                  <a:pt x="2842237" y="421635"/>
                </a:cubicBezTo>
                <a:cubicBezTo>
                  <a:pt x="2840302" y="423568"/>
                  <a:pt x="2838369" y="423568"/>
                  <a:pt x="2836434" y="425504"/>
                </a:cubicBezTo>
                <a:cubicBezTo>
                  <a:pt x="2830630" y="429370"/>
                  <a:pt x="2824829" y="433240"/>
                  <a:pt x="2819028" y="437108"/>
                </a:cubicBezTo>
                <a:cubicBezTo>
                  <a:pt x="2817093" y="437108"/>
                  <a:pt x="2817093" y="439041"/>
                  <a:pt x="2817093" y="439041"/>
                </a:cubicBezTo>
                <a:cubicBezTo>
                  <a:pt x="2819028" y="439041"/>
                  <a:pt x="2819028" y="440974"/>
                  <a:pt x="2820961" y="440974"/>
                </a:cubicBezTo>
                <a:cubicBezTo>
                  <a:pt x="2824829" y="442910"/>
                  <a:pt x="2826764" y="442910"/>
                  <a:pt x="2830630" y="440974"/>
                </a:cubicBezTo>
                <a:cubicBezTo>
                  <a:pt x="2838369" y="437108"/>
                  <a:pt x="2846106" y="431305"/>
                  <a:pt x="2853840" y="427437"/>
                </a:cubicBezTo>
                <a:cubicBezTo>
                  <a:pt x="2857708" y="425504"/>
                  <a:pt x="2859643" y="425504"/>
                  <a:pt x="2861579" y="425504"/>
                </a:cubicBezTo>
                <a:cubicBezTo>
                  <a:pt x="2867380" y="425504"/>
                  <a:pt x="2871248" y="421635"/>
                  <a:pt x="2873181" y="417767"/>
                </a:cubicBezTo>
                <a:cubicBezTo>
                  <a:pt x="2873181" y="415832"/>
                  <a:pt x="2875116" y="413899"/>
                  <a:pt x="2877049" y="411964"/>
                </a:cubicBezTo>
                <a:cubicBezTo>
                  <a:pt x="2880918" y="411964"/>
                  <a:pt x="2882853" y="410031"/>
                  <a:pt x="2884788" y="410031"/>
                </a:cubicBezTo>
                <a:cubicBezTo>
                  <a:pt x="2894458" y="411964"/>
                  <a:pt x="2904127" y="413899"/>
                  <a:pt x="2913799" y="415832"/>
                </a:cubicBezTo>
                <a:cubicBezTo>
                  <a:pt x="2917665" y="417767"/>
                  <a:pt x="2919600" y="415832"/>
                  <a:pt x="2921536" y="411964"/>
                </a:cubicBezTo>
                <a:cubicBezTo>
                  <a:pt x="2923468" y="410031"/>
                  <a:pt x="2923468" y="408095"/>
                  <a:pt x="2925404" y="408095"/>
                </a:cubicBezTo>
                <a:cubicBezTo>
                  <a:pt x="2929272" y="408095"/>
                  <a:pt x="2931205" y="408095"/>
                  <a:pt x="2935073" y="406162"/>
                </a:cubicBezTo>
                <a:cubicBezTo>
                  <a:pt x="2940874" y="402294"/>
                  <a:pt x="2946678" y="400359"/>
                  <a:pt x="2952482" y="396491"/>
                </a:cubicBezTo>
                <a:cubicBezTo>
                  <a:pt x="2958283" y="394558"/>
                  <a:pt x="2962151" y="388754"/>
                  <a:pt x="2969888" y="390689"/>
                </a:cubicBezTo>
                <a:cubicBezTo>
                  <a:pt x="2969888" y="390689"/>
                  <a:pt x="2971823" y="390689"/>
                  <a:pt x="2971823" y="390689"/>
                </a:cubicBezTo>
                <a:cubicBezTo>
                  <a:pt x="2977624" y="386821"/>
                  <a:pt x="2985361" y="384886"/>
                  <a:pt x="2989229" y="377149"/>
                </a:cubicBezTo>
                <a:cubicBezTo>
                  <a:pt x="2989229" y="375216"/>
                  <a:pt x="2991162" y="375216"/>
                  <a:pt x="2993097" y="375216"/>
                </a:cubicBezTo>
                <a:cubicBezTo>
                  <a:pt x="2996965" y="375216"/>
                  <a:pt x="2998898" y="375216"/>
                  <a:pt x="3000834" y="373281"/>
                </a:cubicBezTo>
                <a:cubicBezTo>
                  <a:pt x="3008570" y="369415"/>
                  <a:pt x="3016307" y="363612"/>
                  <a:pt x="3024041" y="359743"/>
                </a:cubicBezTo>
                <a:cubicBezTo>
                  <a:pt x="3025976" y="357810"/>
                  <a:pt x="3027909" y="355875"/>
                  <a:pt x="3029844" y="355875"/>
                </a:cubicBezTo>
                <a:cubicBezTo>
                  <a:pt x="3039516" y="357810"/>
                  <a:pt x="3047250" y="350074"/>
                  <a:pt x="3054987" y="346206"/>
                </a:cubicBezTo>
                <a:cubicBezTo>
                  <a:pt x="3058857" y="344270"/>
                  <a:pt x="3060790" y="344270"/>
                  <a:pt x="3062723" y="344270"/>
                </a:cubicBezTo>
                <a:cubicBezTo>
                  <a:pt x="3070460" y="342335"/>
                  <a:pt x="3078196" y="338469"/>
                  <a:pt x="3082065" y="330733"/>
                </a:cubicBezTo>
                <a:cubicBezTo>
                  <a:pt x="3084000" y="326864"/>
                  <a:pt x="3087868" y="324929"/>
                  <a:pt x="3091734" y="324929"/>
                </a:cubicBezTo>
                <a:cubicBezTo>
                  <a:pt x="3093669" y="324929"/>
                  <a:pt x="3095605" y="324929"/>
                  <a:pt x="3095605" y="322996"/>
                </a:cubicBezTo>
                <a:cubicBezTo>
                  <a:pt x="3097538" y="317192"/>
                  <a:pt x="3103341" y="315260"/>
                  <a:pt x="3109142" y="313324"/>
                </a:cubicBezTo>
                <a:cubicBezTo>
                  <a:pt x="3118814" y="313324"/>
                  <a:pt x="3124615" y="307523"/>
                  <a:pt x="3132352" y="303655"/>
                </a:cubicBezTo>
                <a:cubicBezTo>
                  <a:pt x="3134285" y="303655"/>
                  <a:pt x="3136220" y="301719"/>
                  <a:pt x="3138153" y="301719"/>
                </a:cubicBezTo>
                <a:cubicBezTo>
                  <a:pt x="3143957" y="303655"/>
                  <a:pt x="3147825" y="299786"/>
                  <a:pt x="3151693" y="297851"/>
                </a:cubicBezTo>
                <a:cubicBezTo>
                  <a:pt x="3169099" y="288182"/>
                  <a:pt x="3186507" y="276577"/>
                  <a:pt x="3203913" y="266905"/>
                </a:cubicBezTo>
                <a:cubicBezTo>
                  <a:pt x="3207782" y="264972"/>
                  <a:pt x="3211650" y="263039"/>
                  <a:pt x="3217451" y="263039"/>
                </a:cubicBezTo>
                <a:cubicBezTo>
                  <a:pt x="3221319" y="264972"/>
                  <a:pt x="3223255" y="263039"/>
                  <a:pt x="3225188" y="261104"/>
                </a:cubicBezTo>
                <a:cubicBezTo>
                  <a:pt x="3236792" y="253367"/>
                  <a:pt x="3250333" y="247566"/>
                  <a:pt x="3261937" y="239830"/>
                </a:cubicBezTo>
                <a:cubicBezTo>
                  <a:pt x="3263870" y="239830"/>
                  <a:pt x="3265806" y="237894"/>
                  <a:pt x="3267739" y="237894"/>
                </a:cubicBezTo>
                <a:cubicBezTo>
                  <a:pt x="3271607" y="239830"/>
                  <a:pt x="3273542" y="237894"/>
                  <a:pt x="3275475" y="234026"/>
                </a:cubicBezTo>
                <a:cubicBezTo>
                  <a:pt x="3275475" y="232093"/>
                  <a:pt x="3277410" y="230158"/>
                  <a:pt x="3279343" y="230158"/>
                </a:cubicBezTo>
                <a:cubicBezTo>
                  <a:pt x="3285144" y="230158"/>
                  <a:pt x="3289013" y="228225"/>
                  <a:pt x="3294816" y="224357"/>
                </a:cubicBezTo>
                <a:cubicBezTo>
                  <a:pt x="3306421" y="218553"/>
                  <a:pt x="3316093" y="212752"/>
                  <a:pt x="3325762" y="206948"/>
                </a:cubicBezTo>
                <a:cubicBezTo>
                  <a:pt x="3329631" y="205015"/>
                  <a:pt x="3331564" y="205015"/>
                  <a:pt x="3333499" y="205015"/>
                </a:cubicBezTo>
                <a:cubicBezTo>
                  <a:pt x="3341235" y="206948"/>
                  <a:pt x="3347037" y="206948"/>
                  <a:pt x="3352840" y="203080"/>
                </a:cubicBezTo>
                <a:cubicBezTo>
                  <a:pt x="3356708" y="203080"/>
                  <a:pt x="3362510" y="201147"/>
                  <a:pt x="3366378" y="199212"/>
                </a:cubicBezTo>
                <a:cubicBezTo>
                  <a:pt x="3372179" y="195343"/>
                  <a:pt x="3379918" y="191475"/>
                  <a:pt x="3385719" y="187607"/>
                </a:cubicBezTo>
                <a:cubicBezTo>
                  <a:pt x="3387654" y="185674"/>
                  <a:pt x="3391520" y="185674"/>
                  <a:pt x="3393456" y="185674"/>
                </a:cubicBezTo>
                <a:cubicBezTo>
                  <a:pt x="3397324" y="185674"/>
                  <a:pt x="3399257" y="185674"/>
                  <a:pt x="3401192" y="183739"/>
                </a:cubicBezTo>
                <a:cubicBezTo>
                  <a:pt x="3406996" y="181806"/>
                  <a:pt x="3410862" y="179871"/>
                  <a:pt x="3416665" y="176005"/>
                </a:cubicBezTo>
                <a:cubicBezTo>
                  <a:pt x="3420533" y="174069"/>
                  <a:pt x="3424402" y="172136"/>
                  <a:pt x="3428270" y="172136"/>
                </a:cubicBezTo>
                <a:cubicBezTo>
                  <a:pt x="3428270" y="172136"/>
                  <a:pt x="3430203" y="170201"/>
                  <a:pt x="3432138" y="170201"/>
                </a:cubicBezTo>
                <a:cubicBezTo>
                  <a:pt x="3437939" y="166333"/>
                  <a:pt x="3441808" y="162465"/>
                  <a:pt x="3447611" y="160532"/>
                </a:cubicBezTo>
                <a:cubicBezTo>
                  <a:pt x="3447611" y="158596"/>
                  <a:pt x="3449544" y="158596"/>
                  <a:pt x="3451479" y="158596"/>
                </a:cubicBezTo>
                <a:cubicBezTo>
                  <a:pt x="3455348" y="158596"/>
                  <a:pt x="3459214" y="156663"/>
                  <a:pt x="3463084" y="154728"/>
                </a:cubicBezTo>
                <a:cubicBezTo>
                  <a:pt x="3470821" y="150860"/>
                  <a:pt x="3478555" y="145059"/>
                  <a:pt x="3486294" y="141190"/>
                </a:cubicBezTo>
                <a:cubicBezTo>
                  <a:pt x="3495963" y="141190"/>
                  <a:pt x="3501764" y="135387"/>
                  <a:pt x="3509501" y="131519"/>
                </a:cubicBezTo>
                <a:cubicBezTo>
                  <a:pt x="3515304" y="127650"/>
                  <a:pt x="3519173" y="123782"/>
                  <a:pt x="3524974" y="121849"/>
                </a:cubicBezTo>
                <a:cubicBezTo>
                  <a:pt x="3524974" y="119914"/>
                  <a:pt x="3526909" y="119914"/>
                  <a:pt x="3528842" y="119914"/>
                </a:cubicBezTo>
                <a:cubicBezTo>
                  <a:pt x="3532710" y="119914"/>
                  <a:pt x="3534646" y="119914"/>
                  <a:pt x="3538514" y="117981"/>
                </a:cubicBezTo>
                <a:cubicBezTo>
                  <a:pt x="3542382" y="114113"/>
                  <a:pt x="3548183" y="112177"/>
                  <a:pt x="3552052" y="110244"/>
                </a:cubicBezTo>
                <a:cubicBezTo>
                  <a:pt x="3555920" y="108309"/>
                  <a:pt x="3557855" y="108309"/>
                  <a:pt x="3561723" y="108309"/>
                </a:cubicBezTo>
                <a:cubicBezTo>
                  <a:pt x="3565589" y="110244"/>
                  <a:pt x="3571393" y="110244"/>
                  <a:pt x="3575261" y="106376"/>
                </a:cubicBezTo>
                <a:cubicBezTo>
                  <a:pt x="3579129" y="104441"/>
                  <a:pt x="3584931" y="100572"/>
                  <a:pt x="3592667" y="100572"/>
                </a:cubicBezTo>
                <a:cubicBezTo>
                  <a:pt x="3592667" y="100572"/>
                  <a:pt x="3594602" y="98639"/>
                  <a:pt x="3596535" y="98639"/>
                </a:cubicBezTo>
                <a:cubicBezTo>
                  <a:pt x="3604272" y="94771"/>
                  <a:pt x="3610075" y="88970"/>
                  <a:pt x="3619745" y="88970"/>
                </a:cubicBezTo>
                <a:cubicBezTo>
                  <a:pt x="3623613" y="87035"/>
                  <a:pt x="3627481" y="85099"/>
                  <a:pt x="3631350" y="83166"/>
                </a:cubicBezTo>
                <a:cubicBezTo>
                  <a:pt x="3641022" y="77365"/>
                  <a:pt x="3650691" y="77365"/>
                  <a:pt x="3660363" y="77365"/>
                </a:cubicBezTo>
                <a:cubicBezTo>
                  <a:pt x="3662296" y="77365"/>
                  <a:pt x="3664231" y="77365"/>
                  <a:pt x="3666164" y="77365"/>
                </a:cubicBezTo>
                <a:cubicBezTo>
                  <a:pt x="3670032" y="77365"/>
                  <a:pt x="3673901" y="75430"/>
                  <a:pt x="3675833" y="71562"/>
                </a:cubicBezTo>
                <a:cubicBezTo>
                  <a:pt x="3677769" y="67693"/>
                  <a:pt x="3681637" y="63825"/>
                  <a:pt x="3685505" y="61892"/>
                </a:cubicBezTo>
                <a:cubicBezTo>
                  <a:pt x="3700978" y="52220"/>
                  <a:pt x="3716451" y="42551"/>
                  <a:pt x="3731924" y="32879"/>
                </a:cubicBezTo>
                <a:cubicBezTo>
                  <a:pt x="3735793" y="30946"/>
                  <a:pt x="3737726" y="30946"/>
                  <a:pt x="3741594" y="30946"/>
                </a:cubicBezTo>
                <a:cubicBezTo>
                  <a:pt x="3741594" y="30946"/>
                  <a:pt x="3743527" y="30946"/>
                  <a:pt x="3743527" y="30946"/>
                </a:cubicBezTo>
                <a:cubicBezTo>
                  <a:pt x="3747397" y="27078"/>
                  <a:pt x="3753199" y="25143"/>
                  <a:pt x="3757067" y="23210"/>
                </a:cubicBezTo>
                <a:cubicBezTo>
                  <a:pt x="3760935" y="21274"/>
                  <a:pt x="3766736" y="21274"/>
                  <a:pt x="3770607" y="19341"/>
                </a:cubicBezTo>
                <a:cubicBezTo>
                  <a:pt x="3770607" y="19341"/>
                  <a:pt x="3772540" y="17406"/>
                  <a:pt x="3772540" y="17406"/>
                </a:cubicBezTo>
                <a:cubicBezTo>
                  <a:pt x="3776408" y="15473"/>
                  <a:pt x="3780276" y="13538"/>
                  <a:pt x="3784145" y="13538"/>
                </a:cubicBezTo>
                <a:cubicBezTo>
                  <a:pt x="3788013" y="13538"/>
                  <a:pt x="3793816" y="13538"/>
                  <a:pt x="3797682" y="11605"/>
                </a:cubicBezTo>
                <a:cubicBezTo>
                  <a:pt x="3801551" y="9670"/>
                  <a:pt x="3805419" y="7737"/>
                  <a:pt x="3809287" y="7737"/>
                </a:cubicBezTo>
                <a:cubicBezTo>
                  <a:pt x="3813155" y="9670"/>
                  <a:pt x="3817024" y="7737"/>
                  <a:pt x="3820892" y="7737"/>
                </a:cubicBezTo>
                <a:cubicBezTo>
                  <a:pt x="3824760" y="7737"/>
                  <a:pt x="3828628" y="3868"/>
                  <a:pt x="3834432" y="3868"/>
                </a:cubicBezTo>
                <a:cubicBezTo>
                  <a:pt x="3840233" y="3868"/>
                  <a:pt x="3844101" y="1935"/>
                  <a:pt x="3849903" y="1935"/>
                </a:cubicBezTo>
                <a:cubicBezTo>
                  <a:pt x="3853771" y="1935"/>
                  <a:pt x="3859574" y="0"/>
                  <a:pt x="3863443" y="0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E648DB9-547C-4465-6253-F80ADB08F71F}"/>
              </a:ext>
            </a:extLst>
          </p:cNvPr>
          <p:cNvSpPr/>
          <p:nvPr/>
        </p:nvSpPr>
        <p:spPr>
          <a:xfrm>
            <a:off x="-1" y="405895"/>
            <a:ext cx="7350291" cy="6223314"/>
          </a:xfrm>
          <a:custGeom>
            <a:avLst/>
            <a:gdLst>
              <a:gd name="connsiteX0" fmla="*/ 2497968 w 6096001"/>
              <a:gd name="connsiteY0" fmla="*/ 5359400 h 5392467"/>
              <a:gd name="connsiteX1" fmla="*/ 2499901 w 6096001"/>
              <a:gd name="connsiteY1" fmla="*/ 5361333 h 5392467"/>
              <a:gd name="connsiteX2" fmla="*/ 2490229 w 6096001"/>
              <a:gd name="connsiteY2" fmla="*/ 5365201 h 5392467"/>
              <a:gd name="connsiteX3" fmla="*/ 2497968 w 6096001"/>
              <a:gd name="connsiteY3" fmla="*/ 5359400 h 5392467"/>
              <a:gd name="connsiteX4" fmla="*/ 2350974 w 6096001"/>
              <a:gd name="connsiteY4" fmla="*/ 5357464 h 5392467"/>
              <a:gd name="connsiteX5" fmla="*/ 2343240 w 6096001"/>
              <a:gd name="connsiteY5" fmla="*/ 5367136 h 5392467"/>
              <a:gd name="connsiteX6" fmla="*/ 2350974 w 6096001"/>
              <a:gd name="connsiteY6" fmla="*/ 5357464 h 5392467"/>
              <a:gd name="connsiteX7" fmla="*/ 2462686 w 6096001"/>
              <a:gd name="connsiteY7" fmla="*/ 5341466 h 5392467"/>
              <a:gd name="connsiteX8" fmla="*/ 2466220 w 6096001"/>
              <a:gd name="connsiteY8" fmla="*/ 5342526 h 5392467"/>
              <a:gd name="connsiteX9" fmla="*/ 2461218 w 6096001"/>
              <a:gd name="connsiteY9" fmla="*/ 5345862 h 5392467"/>
              <a:gd name="connsiteX10" fmla="*/ 2459331 w 6096001"/>
              <a:gd name="connsiteY10" fmla="*/ 5348881 h 5392467"/>
              <a:gd name="connsiteX11" fmla="*/ 2457350 w 6096001"/>
              <a:gd name="connsiteY11" fmla="*/ 5349730 h 5392467"/>
              <a:gd name="connsiteX12" fmla="*/ 2460736 w 6096001"/>
              <a:gd name="connsiteY12" fmla="*/ 5342109 h 5392467"/>
              <a:gd name="connsiteX13" fmla="*/ 2484427 w 6096001"/>
              <a:gd name="connsiteY13" fmla="*/ 5334257 h 5392467"/>
              <a:gd name="connsiteX14" fmla="*/ 2472823 w 6096001"/>
              <a:gd name="connsiteY14" fmla="*/ 5340058 h 5392467"/>
              <a:gd name="connsiteX15" fmla="*/ 2484427 w 6096001"/>
              <a:gd name="connsiteY15" fmla="*/ 5334257 h 5392467"/>
              <a:gd name="connsiteX16" fmla="*/ 2345173 w 6096001"/>
              <a:gd name="connsiteY16" fmla="*/ 5328454 h 5392467"/>
              <a:gd name="connsiteX17" fmla="*/ 2327765 w 6096001"/>
              <a:gd name="connsiteY17" fmla="*/ 5341991 h 5392467"/>
              <a:gd name="connsiteX18" fmla="*/ 2345173 w 6096001"/>
              <a:gd name="connsiteY18" fmla="*/ 5328454 h 5392467"/>
              <a:gd name="connsiteX19" fmla="*/ 2507636 w 6096001"/>
              <a:gd name="connsiteY19" fmla="*/ 5314916 h 5392467"/>
              <a:gd name="connsiteX20" fmla="*/ 2507637 w 6096001"/>
              <a:gd name="connsiteY20" fmla="*/ 5314916 h 5392467"/>
              <a:gd name="connsiteX21" fmla="*/ 2501533 w 6096001"/>
              <a:gd name="connsiteY21" fmla="*/ 5317968 h 5392467"/>
              <a:gd name="connsiteX22" fmla="*/ 3360577 w 6096001"/>
              <a:gd name="connsiteY22" fmla="*/ 5311048 h 5392467"/>
              <a:gd name="connsiteX23" fmla="*/ 3348972 w 6096001"/>
              <a:gd name="connsiteY23" fmla="*/ 5324585 h 5392467"/>
              <a:gd name="connsiteX24" fmla="*/ 3354773 w 6096001"/>
              <a:gd name="connsiteY24" fmla="*/ 5312981 h 5392467"/>
              <a:gd name="connsiteX25" fmla="*/ 3360577 w 6096001"/>
              <a:gd name="connsiteY25" fmla="*/ 5311048 h 5392467"/>
              <a:gd name="connsiteX26" fmla="*/ 2532779 w 6096001"/>
              <a:gd name="connsiteY26" fmla="*/ 5305244 h 5392467"/>
              <a:gd name="connsiteX27" fmla="*/ 2538583 w 6096001"/>
              <a:gd name="connsiteY27" fmla="*/ 5307179 h 5392467"/>
              <a:gd name="connsiteX28" fmla="*/ 2536648 w 6096001"/>
              <a:gd name="connsiteY28" fmla="*/ 5311048 h 5392467"/>
              <a:gd name="connsiteX29" fmla="*/ 2532779 w 6096001"/>
              <a:gd name="connsiteY29" fmla="*/ 5311048 h 5392467"/>
              <a:gd name="connsiteX30" fmla="*/ 2532779 w 6096001"/>
              <a:gd name="connsiteY30" fmla="*/ 5305244 h 5392467"/>
              <a:gd name="connsiteX31" fmla="*/ 3319961 w 6096001"/>
              <a:gd name="connsiteY31" fmla="*/ 5291706 h 5392467"/>
              <a:gd name="connsiteX32" fmla="*/ 3314158 w 6096001"/>
              <a:gd name="connsiteY32" fmla="*/ 5305244 h 5392467"/>
              <a:gd name="connsiteX33" fmla="*/ 3319961 w 6096001"/>
              <a:gd name="connsiteY33" fmla="*/ 5291706 h 5392467"/>
              <a:gd name="connsiteX34" fmla="*/ 2292950 w 6096001"/>
              <a:gd name="connsiteY34" fmla="*/ 5291706 h 5392467"/>
              <a:gd name="connsiteX35" fmla="*/ 2285216 w 6096001"/>
              <a:gd name="connsiteY35" fmla="*/ 5309112 h 5392467"/>
              <a:gd name="connsiteX36" fmla="*/ 2294885 w 6096001"/>
              <a:gd name="connsiteY36" fmla="*/ 5303311 h 5392467"/>
              <a:gd name="connsiteX37" fmla="*/ 2296821 w 6096001"/>
              <a:gd name="connsiteY37" fmla="*/ 5305244 h 5392467"/>
              <a:gd name="connsiteX38" fmla="*/ 2291017 w 6096001"/>
              <a:gd name="connsiteY38" fmla="*/ 5314916 h 5392467"/>
              <a:gd name="connsiteX39" fmla="*/ 2292950 w 6096001"/>
              <a:gd name="connsiteY39" fmla="*/ 5316849 h 5392467"/>
              <a:gd name="connsiteX40" fmla="*/ 2312291 w 6096001"/>
              <a:gd name="connsiteY40" fmla="*/ 5297508 h 5392467"/>
              <a:gd name="connsiteX41" fmla="*/ 2312291 w 6096001"/>
              <a:gd name="connsiteY41" fmla="*/ 5295575 h 5392467"/>
              <a:gd name="connsiteX42" fmla="*/ 2300689 w 6096001"/>
              <a:gd name="connsiteY42" fmla="*/ 5299443 h 5392467"/>
              <a:gd name="connsiteX43" fmla="*/ 2292950 w 6096001"/>
              <a:gd name="connsiteY43" fmla="*/ 5291706 h 5392467"/>
              <a:gd name="connsiteX44" fmla="*/ 2265875 w 6096001"/>
              <a:gd name="connsiteY44" fmla="*/ 5285905 h 5392467"/>
              <a:gd name="connsiteX45" fmla="*/ 2265875 w 6096001"/>
              <a:gd name="connsiteY45" fmla="*/ 5301376 h 5392467"/>
              <a:gd name="connsiteX46" fmla="*/ 2265875 w 6096001"/>
              <a:gd name="connsiteY46" fmla="*/ 5285905 h 5392467"/>
              <a:gd name="connsiteX47" fmla="*/ 2625618 w 6096001"/>
              <a:gd name="connsiteY47" fmla="*/ 5278166 h 5392467"/>
              <a:gd name="connsiteX48" fmla="*/ 2627551 w 6096001"/>
              <a:gd name="connsiteY48" fmla="*/ 5280102 h 5392467"/>
              <a:gd name="connsiteX49" fmla="*/ 2600473 w 6096001"/>
              <a:gd name="connsiteY49" fmla="*/ 5293639 h 5392467"/>
              <a:gd name="connsiteX50" fmla="*/ 2625618 w 6096001"/>
              <a:gd name="connsiteY50" fmla="*/ 5278166 h 5392467"/>
              <a:gd name="connsiteX51" fmla="*/ 2263939 w 6096001"/>
              <a:gd name="connsiteY51" fmla="*/ 5270430 h 5392467"/>
              <a:gd name="connsiteX52" fmla="*/ 2256203 w 6096001"/>
              <a:gd name="connsiteY52" fmla="*/ 5278166 h 5392467"/>
              <a:gd name="connsiteX53" fmla="*/ 2265875 w 6096001"/>
              <a:gd name="connsiteY53" fmla="*/ 5274298 h 5392467"/>
              <a:gd name="connsiteX54" fmla="*/ 2263939 w 6096001"/>
              <a:gd name="connsiteY54" fmla="*/ 5270430 h 5392467"/>
              <a:gd name="connsiteX55" fmla="*/ 2273611 w 6096001"/>
              <a:gd name="connsiteY55" fmla="*/ 5266564 h 5392467"/>
              <a:gd name="connsiteX56" fmla="*/ 2271676 w 6096001"/>
              <a:gd name="connsiteY56" fmla="*/ 5268497 h 5392467"/>
              <a:gd name="connsiteX57" fmla="*/ 2275544 w 6096001"/>
              <a:gd name="connsiteY57" fmla="*/ 5274298 h 5392467"/>
              <a:gd name="connsiteX58" fmla="*/ 2277479 w 6096001"/>
              <a:gd name="connsiteY58" fmla="*/ 5272365 h 5392467"/>
              <a:gd name="connsiteX59" fmla="*/ 2273611 w 6096001"/>
              <a:gd name="connsiteY59" fmla="*/ 5266564 h 5392467"/>
              <a:gd name="connsiteX60" fmla="*/ 3416665 w 6096001"/>
              <a:gd name="connsiteY60" fmla="*/ 5249156 h 5392467"/>
              <a:gd name="connsiteX61" fmla="*/ 3412797 w 6096001"/>
              <a:gd name="connsiteY61" fmla="*/ 5260760 h 5392467"/>
              <a:gd name="connsiteX62" fmla="*/ 3416665 w 6096001"/>
              <a:gd name="connsiteY62" fmla="*/ 5249156 h 5392467"/>
              <a:gd name="connsiteX63" fmla="*/ 2677838 w 6096001"/>
              <a:gd name="connsiteY63" fmla="*/ 5249156 h 5392467"/>
              <a:gd name="connsiteX64" fmla="*/ 2683639 w 6096001"/>
              <a:gd name="connsiteY64" fmla="*/ 5251088 h 5392467"/>
              <a:gd name="connsiteX65" fmla="*/ 2666233 w 6096001"/>
              <a:gd name="connsiteY65" fmla="*/ 5264629 h 5392467"/>
              <a:gd name="connsiteX66" fmla="*/ 2631419 w 6096001"/>
              <a:gd name="connsiteY66" fmla="*/ 5278166 h 5392467"/>
              <a:gd name="connsiteX67" fmla="*/ 2644959 w 6096001"/>
              <a:gd name="connsiteY67" fmla="*/ 5266564 h 5392467"/>
              <a:gd name="connsiteX68" fmla="*/ 2677838 w 6096001"/>
              <a:gd name="connsiteY68" fmla="*/ 5249156 h 5392467"/>
              <a:gd name="connsiteX69" fmla="*/ 1467088 w 6096001"/>
              <a:gd name="connsiteY69" fmla="*/ 5239486 h 5392467"/>
              <a:gd name="connsiteX70" fmla="*/ 1467713 w 6096001"/>
              <a:gd name="connsiteY70" fmla="*/ 5240111 h 5392467"/>
              <a:gd name="connsiteX71" fmla="*/ 1461787 w 6096001"/>
              <a:gd name="connsiteY71" fmla="*/ 5243853 h 5392467"/>
              <a:gd name="connsiteX72" fmla="*/ 1461287 w 6096001"/>
              <a:gd name="connsiteY72" fmla="*/ 5243354 h 5392467"/>
              <a:gd name="connsiteX73" fmla="*/ 1467088 w 6096001"/>
              <a:gd name="connsiteY73" fmla="*/ 5239486 h 5392467"/>
              <a:gd name="connsiteX74" fmla="*/ 3429777 w 6096001"/>
              <a:gd name="connsiteY74" fmla="*/ 5233934 h 5392467"/>
              <a:gd name="connsiteX75" fmla="*/ 3430203 w 6096001"/>
              <a:gd name="connsiteY75" fmla="*/ 5234005 h 5392467"/>
              <a:gd name="connsiteX76" fmla="*/ 3420533 w 6096001"/>
              <a:gd name="connsiteY76" fmla="*/ 5245287 h 5392467"/>
              <a:gd name="connsiteX77" fmla="*/ 3425611 w 6096001"/>
              <a:gd name="connsiteY77" fmla="*/ 5237793 h 5392467"/>
              <a:gd name="connsiteX78" fmla="*/ 2716520 w 6096001"/>
              <a:gd name="connsiteY78" fmla="*/ 5222078 h 5392467"/>
              <a:gd name="connsiteX79" fmla="*/ 2687510 w 6096001"/>
              <a:gd name="connsiteY79" fmla="*/ 5243354 h 5392467"/>
              <a:gd name="connsiteX80" fmla="*/ 2716520 w 6096001"/>
              <a:gd name="connsiteY80" fmla="*/ 5222078 h 5392467"/>
              <a:gd name="connsiteX81" fmla="*/ 2739730 w 6096001"/>
              <a:gd name="connsiteY81" fmla="*/ 5214341 h 5392467"/>
              <a:gd name="connsiteX82" fmla="*/ 2741663 w 6096001"/>
              <a:gd name="connsiteY82" fmla="*/ 5216277 h 5392467"/>
              <a:gd name="connsiteX83" fmla="*/ 2735862 w 6096001"/>
              <a:gd name="connsiteY83" fmla="*/ 5220145 h 5392467"/>
              <a:gd name="connsiteX84" fmla="*/ 2733926 w 6096001"/>
              <a:gd name="connsiteY84" fmla="*/ 5218209 h 5392467"/>
              <a:gd name="connsiteX85" fmla="*/ 2739730 w 6096001"/>
              <a:gd name="connsiteY85" fmla="*/ 5214341 h 5392467"/>
              <a:gd name="connsiteX86" fmla="*/ 3424402 w 6096001"/>
              <a:gd name="connsiteY86" fmla="*/ 5212408 h 5392467"/>
              <a:gd name="connsiteX87" fmla="*/ 3428270 w 6096001"/>
              <a:gd name="connsiteY87" fmla="*/ 5212408 h 5392467"/>
              <a:gd name="connsiteX88" fmla="*/ 3424402 w 6096001"/>
              <a:gd name="connsiteY88" fmla="*/ 5216277 h 5392467"/>
              <a:gd name="connsiteX89" fmla="*/ 3424402 w 6096001"/>
              <a:gd name="connsiteY89" fmla="*/ 5212408 h 5392467"/>
              <a:gd name="connsiteX90" fmla="*/ 2755203 w 6096001"/>
              <a:gd name="connsiteY90" fmla="*/ 5202736 h 5392467"/>
              <a:gd name="connsiteX91" fmla="*/ 2753268 w 6096001"/>
              <a:gd name="connsiteY91" fmla="*/ 5208540 h 5392467"/>
              <a:gd name="connsiteX92" fmla="*/ 2749399 w 6096001"/>
              <a:gd name="connsiteY92" fmla="*/ 5210473 h 5392467"/>
              <a:gd name="connsiteX93" fmla="*/ 2749399 w 6096001"/>
              <a:gd name="connsiteY93" fmla="*/ 5206605 h 5392467"/>
              <a:gd name="connsiteX94" fmla="*/ 2755203 w 6096001"/>
              <a:gd name="connsiteY94" fmla="*/ 5202736 h 5392467"/>
              <a:gd name="connsiteX95" fmla="*/ 3265806 w 6096001"/>
              <a:gd name="connsiteY95" fmla="*/ 5185330 h 5392467"/>
              <a:gd name="connsiteX96" fmla="*/ 3260002 w 6096001"/>
              <a:gd name="connsiteY96" fmla="*/ 5198871 h 5392467"/>
              <a:gd name="connsiteX97" fmla="*/ 3265806 w 6096001"/>
              <a:gd name="connsiteY97" fmla="*/ 5185330 h 5392467"/>
              <a:gd name="connsiteX98" fmla="*/ 2726190 w 6096001"/>
              <a:gd name="connsiteY98" fmla="*/ 5179529 h 5392467"/>
              <a:gd name="connsiteX99" fmla="*/ 2726190 w 6096001"/>
              <a:gd name="connsiteY99" fmla="*/ 5185330 h 5392467"/>
              <a:gd name="connsiteX100" fmla="*/ 2731993 w 6096001"/>
              <a:gd name="connsiteY100" fmla="*/ 5185330 h 5392467"/>
              <a:gd name="connsiteX101" fmla="*/ 2733926 w 6096001"/>
              <a:gd name="connsiteY101" fmla="*/ 5181462 h 5392467"/>
              <a:gd name="connsiteX102" fmla="*/ 2726190 w 6096001"/>
              <a:gd name="connsiteY102" fmla="*/ 5179529 h 5392467"/>
              <a:gd name="connsiteX103" fmla="*/ 2784214 w 6096001"/>
              <a:gd name="connsiteY103" fmla="*/ 5177594 h 5392467"/>
              <a:gd name="connsiteX104" fmla="*/ 2797754 w 6096001"/>
              <a:gd name="connsiteY104" fmla="*/ 5177594 h 5392467"/>
              <a:gd name="connsiteX105" fmla="*/ 2784214 w 6096001"/>
              <a:gd name="connsiteY105" fmla="*/ 5177594 h 5392467"/>
              <a:gd name="connsiteX106" fmla="*/ 2753268 w 6096001"/>
              <a:gd name="connsiteY106" fmla="*/ 5167922 h 5392467"/>
              <a:gd name="connsiteX107" fmla="*/ 2735862 w 6096001"/>
              <a:gd name="connsiteY107" fmla="*/ 5177594 h 5392467"/>
              <a:gd name="connsiteX108" fmla="*/ 2755203 w 6096001"/>
              <a:gd name="connsiteY108" fmla="*/ 5169857 h 5392467"/>
              <a:gd name="connsiteX109" fmla="*/ 2753268 w 6096001"/>
              <a:gd name="connsiteY109" fmla="*/ 5167922 h 5392467"/>
              <a:gd name="connsiteX110" fmla="*/ 2838602 w 6096001"/>
              <a:gd name="connsiteY110" fmla="*/ 5151491 h 5392467"/>
              <a:gd name="connsiteX111" fmla="*/ 2840101 w 6096001"/>
              <a:gd name="connsiteY111" fmla="*/ 5153312 h 5392467"/>
              <a:gd name="connsiteX112" fmla="*/ 2838852 w 6096001"/>
              <a:gd name="connsiteY112" fmla="*/ 5156078 h 5392467"/>
              <a:gd name="connsiteX113" fmla="*/ 2832566 w 6096001"/>
              <a:gd name="connsiteY113" fmla="*/ 5156320 h 5392467"/>
              <a:gd name="connsiteX114" fmla="*/ 3383786 w 6096001"/>
              <a:gd name="connsiteY114" fmla="*/ 5148583 h 5392467"/>
              <a:gd name="connsiteX115" fmla="*/ 3366378 w 6096001"/>
              <a:gd name="connsiteY115" fmla="*/ 5171790 h 5392467"/>
              <a:gd name="connsiteX116" fmla="*/ 3364445 w 6096001"/>
              <a:gd name="connsiteY116" fmla="*/ 5179529 h 5392467"/>
              <a:gd name="connsiteX117" fmla="*/ 3368313 w 6096001"/>
              <a:gd name="connsiteY117" fmla="*/ 5173726 h 5392467"/>
              <a:gd name="connsiteX118" fmla="*/ 3370246 w 6096001"/>
              <a:gd name="connsiteY118" fmla="*/ 5175661 h 5392467"/>
              <a:gd name="connsiteX119" fmla="*/ 3362510 w 6096001"/>
              <a:gd name="connsiteY119" fmla="*/ 5185330 h 5392467"/>
              <a:gd name="connsiteX120" fmla="*/ 3360577 w 6096001"/>
              <a:gd name="connsiteY120" fmla="*/ 5183395 h 5392467"/>
              <a:gd name="connsiteX121" fmla="*/ 3356708 w 6096001"/>
              <a:gd name="connsiteY121" fmla="*/ 5191132 h 5392467"/>
              <a:gd name="connsiteX122" fmla="*/ 3354773 w 6096001"/>
              <a:gd name="connsiteY122" fmla="*/ 5202736 h 5392467"/>
              <a:gd name="connsiteX123" fmla="*/ 3358641 w 6096001"/>
              <a:gd name="connsiteY123" fmla="*/ 5202736 h 5392467"/>
              <a:gd name="connsiteX124" fmla="*/ 3387654 w 6096001"/>
              <a:gd name="connsiteY124" fmla="*/ 5164054 h 5392467"/>
              <a:gd name="connsiteX125" fmla="*/ 3393456 w 6096001"/>
              <a:gd name="connsiteY125" fmla="*/ 5150516 h 5392467"/>
              <a:gd name="connsiteX126" fmla="*/ 3383786 w 6096001"/>
              <a:gd name="connsiteY126" fmla="*/ 5148583 h 5392467"/>
              <a:gd name="connsiteX127" fmla="*/ 3430203 w 6096001"/>
              <a:gd name="connsiteY127" fmla="*/ 5131175 h 5392467"/>
              <a:gd name="connsiteX128" fmla="*/ 3416665 w 6096001"/>
              <a:gd name="connsiteY128" fmla="*/ 5144713 h 5392467"/>
              <a:gd name="connsiteX129" fmla="*/ 3430203 w 6096001"/>
              <a:gd name="connsiteY129" fmla="*/ 5131175 h 5392467"/>
              <a:gd name="connsiteX130" fmla="*/ 3418598 w 6096001"/>
              <a:gd name="connsiteY130" fmla="*/ 5117637 h 5392467"/>
              <a:gd name="connsiteX131" fmla="*/ 3414730 w 6096001"/>
              <a:gd name="connsiteY131" fmla="*/ 5121505 h 5392467"/>
              <a:gd name="connsiteX132" fmla="*/ 3416665 w 6096001"/>
              <a:gd name="connsiteY132" fmla="*/ 5121505 h 5392467"/>
              <a:gd name="connsiteX133" fmla="*/ 3418598 w 6096001"/>
              <a:gd name="connsiteY133" fmla="*/ 5117637 h 5392467"/>
              <a:gd name="connsiteX134" fmla="*/ 3042975 w 6096001"/>
              <a:gd name="connsiteY134" fmla="*/ 5114379 h 5392467"/>
              <a:gd name="connsiteX135" fmla="*/ 3047250 w 6096001"/>
              <a:gd name="connsiteY135" fmla="*/ 5121505 h 5392467"/>
              <a:gd name="connsiteX136" fmla="*/ 3041449 w 6096001"/>
              <a:gd name="connsiteY136" fmla="*/ 5123438 h 5392467"/>
              <a:gd name="connsiteX137" fmla="*/ 3041449 w 6096001"/>
              <a:gd name="connsiteY137" fmla="*/ 5122665 h 5392467"/>
              <a:gd name="connsiteX138" fmla="*/ 3043382 w 6096001"/>
              <a:gd name="connsiteY138" fmla="*/ 5121505 h 5392467"/>
              <a:gd name="connsiteX139" fmla="*/ 3041449 w 6096001"/>
              <a:gd name="connsiteY139" fmla="*/ 5120538 h 5392467"/>
              <a:gd name="connsiteX140" fmla="*/ 3041449 w 6096001"/>
              <a:gd name="connsiteY140" fmla="*/ 5116669 h 5392467"/>
              <a:gd name="connsiteX141" fmla="*/ 3034689 w 6096001"/>
              <a:gd name="connsiteY141" fmla="*/ 5107009 h 5392467"/>
              <a:gd name="connsiteX142" fmla="*/ 3037581 w 6096001"/>
              <a:gd name="connsiteY142" fmla="*/ 5109901 h 5392467"/>
              <a:gd name="connsiteX143" fmla="*/ 3033713 w 6096001"/>
              <a:gd name="connsiteY143" fmla="*/ 5108933 h 5392467"/>
              <a:gd name="connsiteX144" fmla="*/ 3033713 w 6096001"/>
              <a:gd name="connsiteY144" fmla="*/ 5107965 h 5392467"/>
              <a:gd name="connsiteX145" fmla="*/ 3532710 w 6096001"/>
              <a:gd name="connsiteY145" fmla="*/ 5104097 h 5392467"/>
              <a:gd name="connsiteX146" fmla="*/ 3519173 w 6096001"/>
              <a:gd name="connsiteY146" fmla="*/ 5107965 h 5392467"/>
              <a:gd name="connsiteX147" fmla="*/ 3497896 w 6096001"/>
              <a:gd name="connsiteY147" fmla="*/ 5138911 h 5392467"/>
              <a:gd name="connsiteX148" fmla="*/ 3509501 w 6096001"/>
              <a:gd name="connsiteY148" fmla="*/ 5125374 h 5392467"/>
              <a:gd name="connsiteX149" fmla="*/ 3513372 w 6096001"/>
              <a:gd name="connsiteY149" fmla="*/ 5121505 h 5392467"/>
              <a:gd name="connsiteX150" fmla="*/ 3532710 w 6096001"/>
              <a:gd name="connsiteY150" fmla="*/ 5104097 h 5392467"/>
              <a:gd name="connsiteX151" fmla="*/ 2907995 w 6096001"/>
              <a:gd name="connsiteY151" fmla="*/ 5100229 h 5392467"/>
              <a:gd name="connsiteX152" fmla="*/ 2907995 w 6096001"/>
              <a:gd name="connsiteY152" fmla="*/ 5102164 h 5392467"/>
              <a:gd name="connsiteX153" fmla="*/ 2911864 w 6096001"/>
              <a:gd name="connsiteY153" fmla="*/ 5102164 h 5392467"/>
              <a:gd name="connsiteX154" fmla="*/ 2911864 w 6096001"/>
              <a:gd name="connsiteY154" fmla="*/ 5100229 h 5392467"/>
              <a:gd name="connsiteX155" fmla="*/ 2907995 w 6096001"/>
              <a:gd name="connsiteY155" fmla="*/ 5100229 h 5392467"/>
              <a:gd name="connsiteX156" fmla="*/ 2853840 w 6096001"/>
              <a:gd name="connsiteY156" fmla="*/ 5100229 h 5392467"/>
              <a:gd name="connsiteX157" fmla="*/ 2813224 w 6096001"/>
              <a:gd name="connsiteY157" fmla="*/ 5131175 h 5392467"/>
              <a:gd name="connsiteX158" fmla="*/ 2815160 w 6096001"/>
              <a:gd name="connsiteY158" fmla="*/ 5135043 h 5392467"/>
              <a:gd name="connsiteX159" fmla="*/ 2820961 w 6096001"/>
              <a:gd name="connsiteY159" fmla="*/ 5133110 h 5392467"/>
              <a:gd name="connsiteX160" fmla="*/ 2851907 w 6096001"/>
              <a:gd name="connsiteY160" fmla="*/ 5109901 h 5392467"/>
              <a:gd name="connsiteX161" fmla="*/ 2853840 w 6096001"/>
              <a:gd name="connsiteY161" fmla="*/ 5100229 h 5392467"/>
              <a:gd name="connsiteX162" fmla="*/ 1813294 w 6096001"/>
              <a:gd name="connsiteY162" fmla="*/ 5100229 h 5392467"/>
              <a:gd name="connsiteX163" fmla="*/ 1813294 w 6096001"/>
              <a:gd name="connsiteY163" fmla="*/ 5102164 h 5392467"/>
              <a:gd name="connsiteX164" fmla="*/ 1809425 w 6096001"/>
              <a:gd name="connsiteY164" fmla="*/ 5106032 h 5392467"/>
              <a:gd name="connsiteX165" fmla="*/ 1813294 w 6096001"/>
              <a:gd name="connsiteY165" fmla="*/ 5100229 h 5392467"/>
              <a:gd name="connsiteX166" fmla="*/ 2140158 w 6096001"/>
              <a:gd name="connsiteY166" fmla="*/ 5094428 h 5392467"/>
              <a:gd name="connsiteX167" fmla="*/ 2136290 w 6096001"/>
              <a:gd name="connsiteY167" fmla="*/ 5102164 h 5392467"/>
              <a:gd name="connsiteX168" fmla="*/ 2142091 w 6096001"/>
              <a:gd name="connsiteY168" fmla="*/ 5096361 h 5392467"/>
              <a:gd name="connsiteX169" fmla="*/ 2140158 w 6096001"/>
              <a:gd name="connsiteY169" fmla="*/ 5094428 h 5392467"/>
              <a:gd name="connsiteX170" fmla="*/ 1806100 w 6096001"/>
              <a:gd name="connsiteY170" fmla="*/ 5093330 h 5392467"/>
              <a:gd name="connsiteX171" fmla="*/ 1797821 w 6096001"/>
              <a:gd name="connsiteY171" fmla="*/ 5100229 h 5392467"/>
              <a:gd name="connsiteX172" fmla="*/ 1796901 w 6096001"/>
              <a:gd name="connsiteY172" fmla="*/ 5098849 h 5392467"/>
              <a:gd name="connsiteX173" fmla="*/ 1808141 w 6096001"/>
              <a:gd name="connsiteY173" fmla="*/ 5091629 h 5392467"/>
              <a:gd name="connsiteX174" fmla="*/ 1807492 w 6096001"/>
              <a:gd name="connsiteY174" fmla="*/ 5092495 h 5392467"/>
              <a:gd name="connsiteX175" fmla="*/ 1806100 w 6096001"/>
              <a:gd name="connsiteY175" fmla="*/ 5093330 h 5392467"/>
              <a:gd name="connsiteX176" fmla="*/ 1375502 w 6096001"/>
              <a:gd name="connsiteY176" fmla="*/ 5087606 h 5392467"/>
              <a:gd name="connsiteX177" fmla="*/ 1369543 w 6096001"/>
              <a:gd name="connsiteY177" fmla="*/ 5095551 h 5392467"/>
              <a:gd name="connsiteX178" fmla="*/ 1364583 w 6096001"/>
              <a:gd name="connsiteY178" fmla="*/ 5096361 h 5392467"/>
              <a:gd name="connsiteX179" fmla="*/ 1372802 w 6096001"/>
              <a:gd name="connsiteY179" fmla="*/ 5087900 h 5392467"/>
              <a:gd name="connsiteX180" fmla="*/ 2863512 w 6096001"/>
              <a:gd name="connsiteY180" fmla="*/ 5080888 h 5392467"/>
              <a:gd name="connsiteX181" fmla="*/ 2853840 w 6096001"/>
              <a:gd name="connsiteY181" fmla="*/ 5082823 h 5392467"/>
              <a:gd name="connsiteX182" fmla="*/ 2820961 w 6096001"/>
              <a:gd name="connsiteY182" fmla="*/ 5104097 h 5392467"/>
              <a:gd name="connsiteX183" fmla="*/ 2799687 w 6096001"/>
              <a:gd name="connsiteY183" fmla="*/ 5119570 h 5392467"/>
              <a:gd name="connsiteX184" fmla="*/ 2809356 w 6096001"/>
              <a:gd name="connsiteY184" fmla="*/ 5123438 h 5392467"/>
              <a:gd name="connsiteX185" fmla="*/ 2830630 w 6096001"/>
              <a:gd name="connsiteY185" fmla="*/ 5106032 h 5392467"/>
              <a:gd name="connsiteX186" fmla="*/ 2863512 w 6096001"/>
              <a:gd name="connsiteY186" fmla="*/ 5088626 h 5392467"/>
              <a:gd name="connsiteX187" fmla="*/ 2867380 w 6096001"/>
              <a:gd name="connsiteY187" fmla="*/ 5084756 h 5392467"/>
              <a:gd name="connsiteX188" fmla="*/ 2863512 w 6096001"/>
              <a:gd name="connsiteY188" fmla="*/ 5080888 h 5392467"/>
              <a:gd name="connsiteX189" fmla="*/ 2811291 w 6096001"/>
              <a:gd name="connsiteY189" fmla="*/ 5080888 h 5392467"/>
              <a:gd name="connsiteX190" fmla="*/ 2803555 w 6096001"/>
              <a:gd name="connsiteY190" fmla="*/ 5096361 h 5392467"/>
              <a:gd name="connsiteX191" fmla="*/ 2819028 w 6096001"/>
              <a:gd name="connsiteY191" fmla="*/ 5084756 h 5392467"/>
              <a:gd name="connsiteX192" fmla="*/ 2811291 w 6096001"/>
              <a:gd name="connsiteY192" fmla="*/ 5080888 h 5392467"/>
              <a:gd name="connsiteX193" fmla="*/ 2820237 w 6096001"/>
              <a:gd name="connsiteY193" fmla="*/ 5078470 h 5392467"/>
              <a:gd name="connsiteX194" fmla="*/ 2819028 w 6096001"/>
              <a:gd name="connsiteY194" fmla="*/ 5086691 h 5392467"/>
              <a:gd name="connsiteX195" fmla="*/ 2828697 w 6096001"/>
              <a:gd name="connsiteY195" fmla="*/ 5078955 h 5392467"/>
              <a:gd name="connsiteX196" fmla="*/ 2820237 w 6096001"/>
              <a:gd name="connsiteY196" fmla="*/ 5078470 h 5392467"/>
              <a:gd name="connsiteX197" fmla="*/ 3546248 w 6096001"/>
              <a:gd name="connsiteY197" fmla="*/ 5075086 h 5392467"/>
              <a:gd name="connsiteX198" fmla="*/ 3544315 w 6096001"/>
              <a:gd name="connsiteY198" fmla="*/ 5082823 h 5392467"/>
              <a:gd name="connsiteX199" fmla="*/ 3548183 w 6096001"/>
              <a:gd name="connsiteY199" fmla="*/ 5077019 h 5392467"/>
              <a:gd name="connsiteX200" fmla="*/ 3546248 w 6096001"/>
              <a:gd name="connsiteY200" fmla="*/ 5075086 h 5392467"/>
              <a:gd name="connsiteX201" fmla="*/ 1420672 w 6096001"/>
              <a:gd name="connsiteY201" fmla="*/ 5075086 h 5392467"/>
              <a:gd name="connsiteX202" fmla="*/ 1409067 w 6096001"/>
              <a:gd name="connsiteY202" fmla="*/ 5082823 h 5392467"/>
              <a:gd name="connsiteX203" fmla="*/ 1411002 w 6096001"/>
              <a:gd name="connsiteY203" fmla="*/ 5084756 h 5392467"/>
              <a:gd name="connsiteX204" fmla="*/ 1422605 w 6096001"/>
              <a:gd name="connsiteY204" fmla="*/ 5077019 h 5392467"/>
              <a:gd name="connsiteX205" fmla="*/ 1420672 w 6096001"/>
              <a:gd name="connsiteY205" fmla="*/ 5075086 h 5392467"/>
              <a:gd name="connsiteX206" fmla="*/ 3261937 w 6096001"/>
              <a:gd name="connsiteY206" fmla="*/ 5061549 h 5392467"/>
              <a:gd name="connsiteX207" fmla="*/ 3250333 w 6096001"/>
              <a:gd name="connsiteY207" fmla="*/ 5082823 h 5392467"/>
              <a:gd name="connsiteX208" fmla="*/ 3261937 w 6096001"/>
              <a:gd name="connsiteY208" fmla="*/ 5061549 h 5392467"/>
              <a:gd name="connsiteX209" fmla="*/ 2896391 w 6096001"/>
              <a:gd name="connsiteY209" fmla="*/ 5055745 h 5392467"/>
              <a:gd name="connsiteX210" fmla="*/ 2890589 w 6096001"/>
              <a:gd name="connsiteY210" fmla="*/ 5065417 h 5392467"/>
              <a:gd name="connsiteX211" fmla="*/ 2884788 w 6096001"/>
              <a:gd name="connsiteY211" fmla="*/ 5075086 h 5392467"/>
              <a:gd name="connsiteX212" fmla="*/ 2861579 w 6096001"/>
              <a:gd name="connsiteY212" fmla="*/ 5092495 h 5392467"/>
              <a:gd name="connsiteX213" fmla="*/ 2863512 w 6096001"/>
              <a:gd name="connsiteY213" fmla="*/ 5096361 h 5392467"/>
              <a:gd name="connsiteX214" fmla="*/ 2869313 w 6096001"/>
              <a:gd name="connsiteY214" fmla="*/ 5096361 h 5392467"/>
              <a:gd name="connsiteX215" fmla="*/ 2875116 w 6096001"/>
              <a:gd name="connsiteY215" fmla="*/ 5092495 h 5392467"/>
              <a:gd name="connsiteX216" fmla="*/ 2904127 w 6096001"/>
              <a:gd name="connsiteY216" fmla="*/ 5078955 h 5392467"/>
              <a:gd name="connsiteX217" fmla="*/ 2907995 w 6096001"/>
              <a:gd name="connsiteY217" fmla="*/ 5073153 h 5392467"/>
              <a:gd name="connsiteX218" fmla="*/ 2906063 w 6096001"/>
              <a:gd name="connsiteY218" fmla="*/ 5071218 h 5392467"/>
              <a:gd name="connsiteX219" fmla="*/ 2900259 w 6096001"/>
              <a:gd name="connsiteY219" fmla="*/ 5063482 h 5392467"/>
              <a:gd name="connsiteX220" fmla="*/ 2896391 w 6096001"/>
              <a:gd name="connsiteY220" fmla="*/ 5065417 h 5392467"/>
              <a:gd name="connsiteX221" fmla="*/ 2898326 w 6096001"/>
              <a:gd name="connsiteY221" fmla="*/ 5059613 h 5392467"/>
              <a:gd name="connsiteX222" fmla="*/ 2896391 w 6096001"/>
              <a:gd name="connsiteY222" fmla="*/ 5055745 h 5392467"/>
              <a:gd name="connsiteX223" fmla="*/ 1870196 w 6096001"/>
              <a:gd name="connsiteY223" fmla="*/ 5051697 h 5392467"/>
              <a:gd name="connsiteX224" fmla="*/ 1830702 w 6096001"/>
              <a:gd name="connsiteY224" fmla="*/ 5080888 h 5392467"/>
              <a:gd name="connsiteX225" fmla="*/ 1815229 w 6096001"/>
              <a:gd name="connsiteY225" fmla="*/ 5086691 h 5392467"/>
              <a:gd name="connsiteX226" fmla="*/ 1809425 w 6096001"/>
              <a:gd name="connsiteY226" fmla="*/ 5090559 h 5392467"/>
              <a:gd name="connsiteX227" fmla="*/ 1808141 w 6096001"/>
              <a:gd name="connsiteY227" fmla="*/ 5091629 h 5392467"/>
              <a:gd name="connsiteX228" fmla="*/ 1813294 w 6096001"/>
              <a:gd name="connsiteY228" fmla="*/ 5084756 h 5392467"/>
              <a:gd name="connsiteX229" fmla="*/ 1814721 w 6096001"/>
              <a:gd name="connsiteY229" fmla="*/ 5079526 h 5392467"/>
              <a:gd name="connsiteX230" fmla="*/ 1822965 w 6096001"/>
              <a:gd name="connsiteY230" fmla="*/ 5075086 h 5392467"/>
              <a:gd name="connsiteX231" fmla="*/ 1846700 w 6096001"/>
              <a:gd name="connsiteY231" fmla="*/ 5060844 h 5392467"/>
              <a:gd name="connsiteX232" fmla="*/ 1849075 w 6096001"/>
              <a:gd name="connsiteY232" fmla="*/ 5061306 h 5392467"/>
              <a:gd name="connsiteX233" fmla="*/ 1857777 w 6096001"/>
              <a:gd name="connsiteY233" fmla="*/ 5055745 h 5392467"/>
              <a:gd name="connsiteX234" fmla="*/ 1867449 w 6096001"/>
              <a:gd name="connsiteY234" fmla="*/ 5051877 h 5392467"/>
              <a:gd name="connsiteX235" fmla="*/ 2871248 w 6096001"/>
              <a:gd name="connsiteY235" fmla="*/ 5044140 h 5392467"/>
              <a:gd name="connsiteX236" fmla="*/ 2853840 w 6096001"/>
              <a:gd name="connsiteY236" fmla="*/ 5071218 h 5392467"/>
              <a:gd name="connsiteX237" fmla="*/ 2877049 w 6096001"/>
              <a:gd name="connsiteY237" fmla="*/ 5059613 h 5392467"/>
              <a:gd name="connsiteX238" fmla="*/ 2875116 w 6096001"/>
              <a:gd name="connsiteY238" fmla="*/ 5046076 h 5392467"/>
              <a:gd name="connsiteX239" fmla="*/ 2871248 w 6096001"/>
              <a:gd name="connsiteY239" fmla="*/ 5044140 h 5392467"/>
              <a:gd name="connsiteX240" fmla="*/ 3325762 w 6096001"/>
              <a:gd name="connsiteY240" fmla="*/ 5042207 h 5392467"/>
              <a:gd name="connsiteX241" fmla="*/ 3310289 w 6096001"/>
              <a:gd name="connsiteY241" fmla="*/ 5061549 h 5392467"/>
              <a:gd name="connsiteX242" fmla="*/ 3310289 w 6096001"/>
              <a:gd name="connsiteY242" fmla="*/ 5065417 h 5392467"/>
              <a:gd name="connsiteX243" fmla="*/ 3302553 w 6096001"/>
              <a:gd name="connsiteY243" fmla="*/ 5084756 h 5392467"/>
              <a:gd name="connsiteX244" fmla="*/ 3300620 w 6096001"/>
              <a:gd name="connsiteY244" fmla="*/ 5096361 h 5392467"/>
              <a:gd name="connsiteX245" fmla="*/ 3304486 w 6096001"/>
              <a:gd name="connsiteY245" fmla="*/ 5096361 h 5392467"/>
              <a:gd name="connsiteX246" fmla="*/ 3314158 w 6096001"/>
              <a:gd name="connsiteY246" fmla="*/ 5084756 h 5392467"/>
              <a:gd name="connsiteX247" fmla="*/ 3308354 w 6096001"/>
              <a:gd name="connsiteY247" fmla="*/ 5088626 h 5392467"/>
              <a:gd name="connsiteX248" fmla="*/ 3316093 w 6096001"/>
              <a:gd name="connsiteY248" fmla="*/ 5082823 h 5392467"/>
              <a:gd name="connsiteX249" fmla="*/ 3333499 w 6096001"/>
              <a:gd name="connsiteY249" fmla="*/ 5057678 h 5392467"/>
              <a:gd name="connsiteX250" fmla="*/ 3335432 w 6096001"/>
              <a:gd name="connsiteY250" fmla="*/ 5044140 h 5392467"/>
              <a:gd name="connsiteX251" fmla="*/ 3325762 w 6096001"/>
              <a:gd name="connsiteY251" fmla="*/ 5042207 h 5392467"/>
              <a:gd name="connsiteX252" fmla="*/ 2886721 w 6096001"/>
              <a:gd name="connsiteY252" fmla="*/ 5034471 h 5392467"/>
              <a:gd name="connsiteX253" fmla="*/ 2882853 w 6096001"/>
              <a:gd name="connsiteY253" fmla="*/ 5042207 h 5392467"/>
              <a:gd name="connsiteX254" fmla="*/ 2884788 w 6096001"/>
              <a:gd name="connsiteY254" fmla="*/ 5044140 h 5392467"/>
              <a:gd name="connsiteX255" fmla="*/ 2890589 w 6096001"/>
              <a:gd name="connsiteY255" fmla="*/ 5040272 h 5392467"/>
              <a:gd name="connsiteX256" fmla="*/ 2886721 w 6096001"/>
              <a:gd name="connsiteY256" fmla="*/ 5034471 h 5392467"/>
              <a:gd name="connsiteX257" fmla="*/ 3817024 w 6096001"/>
              <a:gd name="connsiteY257" fmla="*/ 5005460 h 5392467"/>
              <a:gd name="connsiteX258" fmla="*/ 3737726 w 6096001"/>
              <a:gd name="connsiteY258" fmla="*/ 5048009 h 5392467"/>
              <a:gd name="connsiteX259" fmla="*/ 3817024 w 6096001"/>
              <a:gd name="connsiteY259" fmla="*/ 5005460 h 5392467"/>
              <a:gd name="connsiteX260" fmla="*/ 2993097 w 6096001"/>
              <a:gd name="connsiteY260" fmla="*/ 4991920 h 5392467"/>
              <a:gd name="connsiteX261" fmla="*/ 2987293 w 6096001"/>
              <a:gd name="connsiteY261" fmla="*/ 4993853 h 5392467"/>
              <a:gd name="connsiteX262" fmla="*/ 2987293 w 6096001"/>
              <a:gd name="connsiteY262" fmla="*/ 4995788 h 5392467"/>
              <a:gd name="connsiteX263" fmla="*/ 2993097 w 6096001"/>
              <a:gd name="connsiteY263" fmla="*/ 4993853 h 5392467"/>
              <a:gd name="connsiteX264" fmla="*/ 2993097 w 6096001"/>
              <a:gd name="connsiteY264" fmla="*/ 4991920 h 5392467"/>
              <a:gd name="connsiteX265" fmla="*/ 2991162 w 6096001"/>
              <a:gd name="connsiteY265" fmla="*/ 4962909 h 5392467"/>
              <a:gd name="connsiteX266" fmla="*/ 2991162 w 6096001"/>
              <a:gd name="connsiteY266" fmla="*/ 4966778 h 5392467"/>
              <a:gd name="connsiteX267" fmla="*/ 2995030 w 6096001"/>
              <a:gd name="connsiteY267" fmla="*/ 4964842 h 5392467"/>
              <a:gd name="connsiteX268" fmla="*/ 2991162 w 6096001"/>
              <a:gd name="connsiteY268" fmla="*/ 4962909 h 5392467"/>
              <a:gd name="connsiteX269" fmla="*/ 3155561 w 6096001"/>
              <a:gd name="connsiteY269" fmla="*/ 4947436 h 5392467"/>
              <a:gd name="connsiteX270" fmla="*/ 3153626 w 6096001"/>
              <a:gd name="connsiteY270" fmla="*/ 4949369 h 5392467"/>
              <a:gd name="connsiteX271" fmla="*/ 3157494 w 6096001"/>
              <a:gd name="connsiteY271" fmla="*/ 4947436 h 5392467"/>
              <a:gd name="connsiteX272" fmla="*/ 3155561 w 6096001"/>
              <a:gd name="connsiteY272" fmla="*/ 4947436 h 5392467"/>
              <a:gd name="connsiteX273" fmla="*/ 3083492 w 6096001"/>
              <a:gd name="connsiteY273" fmla="*/ 4945704 h 5392467"/>
              <a:gd name="connsiteX274" fmla="*/ 3070460 w 6096001"/>
              <a:gd name="connsiteY274" fmla="*/ 4957106 h 5392467"/>
              <a:gd name="connsiteX275" fmla="*/ 3068527 w 6096001"/>
              <a:gd name="connsiteY275" fmla="*/ 4959041 h 5392467"/>
              <a:gd name="connsiteX276" fmla="*/ 3072395 w 6096001"/>
              <a:gd name="connsiteY276" fmla="*/ 4951302 h 5392467"/>
              <a:gd name="connsiteX277" fmla="*/ 3074328 w 6096001"/>
              <a:gd name="connsiteY277" fmla="*/ 4949369 h 5392467"/>
              <a:gd name="connsiteX278" fmla="*/ 3085930 w 6096001"/>
              <a:gd name="connsiteY278" fmla="*/ 4943571 h 5392467"/>
              <a:gd name="connsiteX279" fmla="*/ 3084000 w 6096001"/>
              <a:gd name="connsiteY279" fmla="*/ 4945501 h 5392467"/>
              <a:gd name="connsiteX280" fmla="*/ 3083492 w 6096001"/>
              <a:gd name="connsiteY280" fmla="*/ 4945704 h 5392467"/>
              <a:gd name="connsiteX281" fmla="*/ 3085933 w 6096001"/>
              <a:gd name="connsiteY281" fmla="*/ 4943567 h 5392467"/>
              <a:gd name="connsiteX282" fmla="*/ 3085933 w 6096001"/>
              <a:gd name="connsiteY282" fmla="*/ 4943568 h 5392467"/>
              <a:gd name="connsiteX283" fmla="*/ 3085930 w 6096001"/>
              <a:gd name="connsiteY283" fmla="*/ 4943571 h 5392467"/>
              <a:gd name="connsiteX284" fmla="*/ 3242596 w 6096001"/>
              <a:gd name="connsiteY284" fmla="*/ 4931963 h 5392467"/>
              <a:gd name="connsiteX285" fmla="*/ 3238728 w 6096001"/>
              <a:gd name="connsiteY285" fmla="*/ 4933896 h 5392467"/>
              <a:gd name="connsiteX286" fmla="*/ 3229058 w 6096001"/>
              <a:gd name="connsiteY286" fmla="*/ 4937764 h 5392467"/>
              <a:gd name="connsiteX287" fmla="*/ 3229058 w 6096001"/>
              <a:gd name="connsiteY287" fmla="*/ 4941633 h 5392467"/>
              <a:gd name="connsiteX288" fmla="*/ 3232927 w 6096001"/>
              <a:gd name="connsiteY288" fmla="*/ 4945501 h 5392467"/>
              <a:gd name="connsiteX289" fmla="*/ 3238728 w 6096001"/>
              <a:gd name="connsiteY289" fmla="*/ 4943568 h 5392467"/>
              <a:gd name="connsiteX290" fmla="*/ 3236792 w 6096001"/>
              <a:gd name="connsiteY290" fmla="*/ 4947436 h 5392467"/>
              <a:gd name="connsiteX291" fmla="*/ 3254201 w 6096001"/>
              <a:gd name="connsiteY291" fmla="*/ 4939700 h 5392467"/>
              <a:gd name="connsiteX292" fmla="*/ 3242596 w 6096001"/>
              <a:gd name="connsiteY292" fmla="*/ 4931963 h 5392467"/>
              <a:gd name="connsiteX293" fmla="*/ 3151693 w 6096001"/>
              <a:gd name="connsiteY293" fmla="*/ 4922291 h 5392467"/>
              <a:gd name="connsiteX294" fmla="*/ 3145892 w 6096001"/>
              <a:gd name="connsiteY294" fmla="*/ 4926160 h 5392467"/>
              <a:gd name="connsiteX295" fmla="*/ 3147825 w 6096001"/>
              <a:gd name="connsiteY295" fmla="*/ 4928095 h 5392467"/>
              <a:gd name="connsiteX296" fmla="*/ 3149758 w 6096001"/>
              <a:gd name="connsiteY296" fmla="*/ 4926160 h 5392467"/>
              <a:gd name="connsiteX297" fmla="*/ 3151693 w 6096001"/>
              <a:gd name="connsiteY297" fmla="*/ 4922291 h 5392467"/>
              <a:gd name="connsiteX298" fmla="*/ 1720458 w 6096001"/>
              <a:gd name="connsiteY298" fmla="*/ 4875875 h 5392467"/>
              <a:gd name="connsiteX299" fmla="*/ 1714654 w 6096001"/>
              <a:gd name="connsiteY299" fmla="*/ 4879743 h 5392467"/>
              <a:gd name="connsiteX300" fmla="*/ 1716590 w 6096001"/>
              <a:gd name="connsiteY300" fmla="*/ 4881676 h 5392467"/>
              <a:gd name="connsiteX301" fmla="*/ 1722391 w 6096001"/>
              <a:gd name="connsiteY301" fmla="*/ 4877808 h 5392467"/>
              <a:gd name="connsiteX302" fmla="*/ 1720458 w 6096001"/>
              <a:gd name="connsiteY302" fmla="*/ 4875875 h 5392467"/>
              <a:gd name="connsiteX303" fmla="*/ 1142160 w 6096001"/>
              <a:gd name="connsiteY303" fmla="*/ 4850730 h 5392467"/>
              <a:gd name="connsiteX304" fmla="*/ 1134426 w 6096001"/>
              <a:gd name="connsiteY304" fmla="*/ 4860402 h 5392467"/>
              <a:gd name="connsiteX305" fmla="*/ 1138291 w 6096001"/>
              <a:gd name="connsiteY305" fmla="*/ 4858466 h 5392467"/>
              <a:gd name="connsiteX306" fmla="*/ 1142160 w 6096001"/>
              <a:gd name="connsiteY306" fmla="*/ 4852665 h 5392467"/>
              <a:gd name="connsiteX307" fmla="*/ 1142160 w 6096001"/>
              <a:gd name="connsiteY307" fmla="*/ 4850730 h 5392467"/>
              <a:gd name="connsiteX308" fmla="*/ 1417287 w 6096001"/>
              <a:gd name="connsiteY308" fmla="*/ 4781345 h 5392467"/>
              <a:gd name="connsiteX309" fmla="*/ 1409067 w 6096001"/>
              <a:gd name="connsiteY309" fmla="*/ 4786905 h 5392467"/>
              <a:gd name="connsiteX310" fmla="*/ 1405199 w 6096001"/>
              <a:gd name="connsiteY310" fmla="*/ 4798510 h 5392467"/>
              <a:gd name="connsiteX311" fmla="*/ 1428408 w 6096001"/>
              <a:gd name="connsiteY311" fmla="*/ 4783037 h 5392467"/>
              <a:gd name="connsiteX312" fmla="*/ 1417287 w 6096001"/>
              <a:gd name="connsiteY312" fmla="*/ 4781345 h 5392467"/>
              <a:gd name="connsiteX313" fmla="*/ 1449682 w 6096001"/>
              <a:gd name="connsiteY313" fmla="*/ 4765631 h 5392467"/>
              <a:gd name="connsiteX314" fmla="*/ 1438078 w 6096001"/>
              <a:gd name="connsiteY314" fmla="*/ 4771432 h 5392467"/>
              <a:gd name="connsiteX315" fmla="*/ 1440013 w 6096001"/>
              <a:gd name="connsiteY315" fmla="*/ 4773367 h 5392467"/>
              <a:gd name="connsiteX316" fmla="*/ 1445814 w 6096001"/>
              <a:gd name="connsiteY316" fmla="*/ 4769499 h 5392467"/>
              <a:gd name="connsiteX317" fmla="*/ 1449682 w 6096001"/>
              <a:gd name="connsiteY317" fmla="*/ 4765631 h 5392467"/>
              <a:gd name="connsiteX318" fmla="*/ 1507706 w 6096001"/>
              <a:gd name="connsiteY318" fmla="*/ 4734685 h 5392467"/>
              <a:gd name="connsiteX319" fmla="*/ 1480628 w 6096001"/>
              <a:gd name="connsiteY319" fmla="*/ 4746289 h 5392467"/>
              <a:gd name="connsiteX320" fmla="*/ 1482564 w 6096001"/>
              <a:gd name="connsiteY320" fmla="*/ 4746289 h 5392467"/>
              <a:gd name="connsiteX321" fmla="*/ 1470957 w 6096001"/>
              <a:gd name="connsiteY321" fmla="*/ 4752091 h 5392467"/>
              <a:gd name="connsiteX322" fmla="*/ 1467088 w 6096001"/>
              <a:gd name="connsiteY322" fmla="*/ 4754026 h 5392467"/>
              <a:gd name="connsiteX323" fmla="*/ 1461287 w 6096001"/>
              <a:gd name="connsiteY323" fmla="*/ 4765631 h 5392467"/>
              <a:gd name="connsiteX324" fmla="*/ 1441946 w 6096001"/>
              <a:gd name="connsiteY324" fmla="*/ 4779168 h 5392467"/>
              <a:gd name="connsiteX325" fmla="*/ 1378121 w 6096001"/>
              <a:gd name="connsiteY325" fmla="*/ 4825587 h 5392467"/>
              <a:gd name="connsiteX326" fmla="*/ 1397462 w 6096001"/>
              <a:gd name="connsiteY326" fmla="*/ 4817851 h 5392467"/>
              <a:gd name="connsiteX327" fmla="*/ 1432276 w 6096001"/>
              <a:gd name="connsiteY327" fmla="*/ 4796574 h 5392467"/>
              <a:gd name="connsiteX328" fmla="*/ 1436145 w 6096001"/>
              <a:gd name="connsiteY328" fmla="*/ 4794641 h 5392467"/>
              <a:gd name="connsiteX329" fmla="*/ 1449682 w 6096001"/>
              <a:gd name="connsiteY329" fmla="*/ 4783037 h 5392467"/>
              <a:gd name="connsiteX330" fmla="*/ 1499970 w 6096001"/>
              <a:gd name="connsiteY330" fmla="*/ 4746289 h 5392467"/>
              <a:gd name="connsiteX331" fmla="*/ 1511574 w 6096001"/>
              <a:gd name="connsiteY331" fmla="*/ 4734685 h 5392467"/>
              <a:gd name="connsiteX332" fmla="*/ 1507706 w 6096001"/>
              <a:gd name="connsiteY332" fmla="*/ 4734685 h 5392467"/>
              <a:gd name="connsiteX333" fmla="*/ 1681775 w 6096001"/>
              <a:gd name="connsiteY333" fmla="*/ 4725015 h 5392467"/>
              <a:gd name="connsiteX334" fmla="*/ 1683708 w 6096001"/>
              <a:gd name="connsiteY334" fmla="*/ 4732749 h 5392467"/>
              <a:gd name="connsiteX335" fmla="*/ 1683708 w 6096001"/>
              <a:gd name="connsiteY335" fmla="*/ 4725015 h 5392467"/>
              <a:gd name="connsiteX336" fmla="*/ 1681775 w 6096001"/>
              <a:gd name="connsiteY336" fmla="*/ 4725015 h 5392467"/>
              <a:gd name="connsiteX337" fmla="*/ 1573464 w 6096001"/>
              <a:gd name="connsiteY337" fmla="*/ 4707607 h 5392467"/>
              <a:gd name="connsiteX338" fmla="*/ 1565730 w 6096001"/>
              <a:gd name="connsiteY338" fmla="*/ 4709540 h 5392467"/>
              <a:gd name="connsiteX339" fmla="*/ 1563795 w 6096001"/>
              <a:gd name="connsiteY339" fmla="*/ 4711475 h 5392467"/>
              <a:gd name="connsiteX340" fmla="*/ 1559926 w 6096001"/>
              <a:gd name="connsiteY340" fmla="*/ 4715343 h 5392467"/>
              <a:gd name="connsiteX341" fmla="*/ 1561862 w 6096001"/>
              <a:gd name="connsiteY341" fmla="*/ 4719212 h 5392467"/>
              <a:gd name="connsiteX342" fmla="*/ 1573464 w 6096001"/>
              <a:gd name="connsiteY342" fmla="*/ 4707607 h 5392467"/>
              <a:gd name="connsiteX343" fmla="*/ 1120886 w 6096001"/>
              <a:gd name="connsiteY343" fmla="*/ 4597363 h 5392467"/>
              <a:gd name="connsiteX344" fmla="*/ 1120886 w 6096001"/>
              <a:gd name="connsiteY344" fmla="*/ 4605099 h 5392467"/>
              <a:gd name="connsiteX345" fmla="*/ 1126687 w 6096001"/>
              <a:gd name="connsiteY345" fmla="*/ 4610903 h 5392467"/>
              <a:gd name="connsiteX346" fmla="*/ 1132490 w 6096001"/>
              <a:gd name="connsiteY346" fmla="*/ 4605099 h 5392467"/>
              <a:gd name="connsiteX347" fmla="*/ 1120886 w 6096001"/>
              <a:gd name="connsiteY347" fmla="*/ 4597363 h 5392467"/>
              <a:gd name="connsiteX348" fmla="*/ 1411002 w 6096001"/>
              <a:gd name="connsiteY348" fmla="*/ 4523868 h 5392467"/>
              <a:gd name="connsiteX349" fmla="*/ 1407132 w 6096001"/>
              <a:gd name="connsiteY349" fmla="*/ 4529669 h 5392467"/>
              <a:gd name="connsiteX350" fmla="*/ 1411002 w 6096001"/>
              <a:gd name="connsiteY350" fmla="*/ 4525801 h 5392467"/>
              <a:gd name="connsiteX351" fmla="*/ 1411002 w 6096001"/>
              <a:gd name="connsiteY351" fmla="*/ 4523868 h 5392467"/>
              <a:gd name="connsiteX352" fmla="*/ 1190514 w 6096001"/>
              <a:gd name="connsiteY352" fmla="*/ 4519997 h 5392467"/>
              <a:gd name="connsiteX353" fmla="*/ 1182778 w 6096001"/>
              <a:gd name="connsiteY353" fmla="*/ 4523868 h 5392467"/>
              <a:gd name="connsiteX354" fmla="*/ 1180842 w 6096001"/>
              <a:gd name="connsiteY354" fmla="*/ 4527736 h 5392467"/>
              <a:gd name="connsiteX355" fmla="*/ 1190514 w 6096001"/>
              <a:gd name="connsiteY355" fmla="*/ 4519997 h 5392467"/>
              <a:gd name="connsiteX356" fmla="*/ 1385857 w 6096001"/>
              <a:gd name="connsiteY356" fmla="*/ 4500659 h 5392467"/>
              <a:gd name="connsiteX357" fmla="*/ 1385857 w 6096001"/>
              <a:gd name="connsiteY357" fmla="*/ 4504527 h 5392467"/>
              <a:gd name="connsiteX358" fmla="*/ 1389726 w 6096001"/>
              <a:gd name="connsiteY358" fmla="*/ 4502592 h 5392467"/>
              <a:gd name="connsiteX359" fmla="*/ 1387793 w 6096001"/>
              <a:gd name="connsiteY359" fmla="*/ 4500659 h 5392467"/>
              <a:gd name="connsiteX360" fmla="*/ 1385857 w 6096001"/>
              <a:gd name="connsiteY360" fmla="*/ 4500659 h 5392467"/>
              <a:gd name="connsiteX361" fmla="*/ 1407132 w 6096001"/>
              <a:gd name="connsiteY361" fmla="*/ 4477449 h 5392467"/>
              <a:gd name="connsiteX362" fmla="*/ 1401330 w 6096001"/>
              <a:gd name="connsiteY362" fmla="*/ 4481317 h 5392467"/>
              <a:gd name="connsiteX363" fmla="*/ 1397462 w 6096001"/>
              <a:gd name="connsiteY363" fmla="*/ 4485186 h 5392467"/>
              <a:gd name="connsiteX364" fmla="*/ 1405199 w 6096001"/>
              <a:gd name="connsiteY364" fmla="*/ 4485186 h 5392467"/>
              <a:gd name="connsiteX365" fmla="*/ 1407132 w 6096001"/>
              <a:gd name="connsiteY365" fmla="*/ 4477449 h 5392467"/>
              <a:gd name="connsiteX366" fmla="*/ 1411002 w 6096001"/>
              <a:gd name="connsiteY366" fmla="*/ 4450371 h 5392467"/>
              <a:gd name="connsiteX367" fmla="*/ 1345242 w 6096001"/>
              <a:gd name="connsiteY367" fmla="*/ 4500659 h 5392467"/>
              <a:gd name="connsiteX368" fmla="*/ 1351043 w 6096001"/>
              <a:gd name="connsiteY368" fmla="*/ 4506460 h 5392467"/>
              <a:gd name="connsiteX369" fmla="*/ 1351043 w 6096001"/>
              <a:gd name="connsiteY369" fmla="*/ 4510328 h 5392467"/>
              <a:gd name="connsiteX370" fmla="*/ 1352978 w 6096001"/>
              <a:gd name="connsiteY370" fmla="*/ 4510328 h 5392467"/>
              <a:gd name="connsiteX371" fmla="*/ 1368451 w 6096001"/>
              <a:gd name="connsiteY371" fmla="*/ 4500659 h 5392467"/>
              <a:gd name="connsiteX372" fmla="*/ 1381989 w 6096001"/>
              <a:gd name="connsiteY372" fmla="*/ 4494855 h 5392467"/>
              <a:gd name="connsiteX373" fmla="*/ 1391661 w 6096001"/>
              <a:gd name="connsiteY373" fmla="*/ 4481317 h 5392467"/>
              <a:gd name="connsiteX374" fmla="*/ 1395529 w 6096001"/>
              <a:gd name="connsiteY374" fmla="*/ 4477449 h 5392467"/>
              <a:gd name="connsiteX375" fmla="*/ 1399395 w 6096001"/>
              <a:gd name="connsiteY375" fmla="*/ 4469713 h 5392467"/>
              <a:gd name="connsiteX376" fmla="*/ 1401330 w 6096001"/>
              <a:gd name="connsiteY376" fmla="*/ 4471645 h 5392467"/>
              <a:gd name="connsiteX377" fmla="*/ 1403263 w 6096001"/>
              <a:gd name="connsiteY377" fmla="*/ 4461976 h 5392467"/>
              <a:gd name="connsiteX378" fmla="*/ 1411002 w 6096001"/>
              <a:gd name="connsiteY378" fmla="*/ 4450371 h 5392467"/>
              <a:gd name="connsiteX379" fmla="*/ 1499970 w 6096001"/>
              <a:gd name="connsiteY379" fmla="*/ 4394283 h 5392467"/>
              <a:gd name="connsiteX380" fmla="*/ 1484497 w 6096001"/>
              <a:gd name="connsiteY380" fmla="*/ 4411689 h 5392467"/>
              <a:gd name="connsiteX381" fmla="*/ 1499970 w 6096001"/>
              <a:gd name="connsiteY381" fmla="*/ 4394283 h 5392467"/>
              <a:gd name="connsiteX382" fmla="*/ 1471440 w 6096001"/>
              <a:gd name="connsiteY382" fmla="*/ 4375907 h 5392467"/>
              <a:gd name="connsiteX383" fmla="*/ 1469024 w 6096001"/>
              <a:gd name="connsiteY383" fmla="*/ 4380743 h 5392467"/>
              <a:gd name="connsiteX384" fmla="*/ 1476760 w 6096001"/>
              <a:gd name="connsiteY384" fmla="*/ 4376874 h 5392467"/>
              <a:gd name="connsiteX385" fmla="*/ 1471440 w 6096001"/>
              <a:gd name="connsiteY385" fmla="*/ 4375907 h 5392467"/>
              <a:gd name="connsiteX386" fmla="*/ 1528980 w 6096001"/>
              <a:gd name="connsiteY386" fmla="*/ 4342062 h 5392467"/>
              <a:gd name="connsiteX387" fmla="*/ 1513507 w 6096001"/>
              <a:gd name="connsiteY387" fmla="*/ 4351732 h 5392467"/>
              <a:gd name="connsiteX388" fmla="*/ 1523179 w 6096001"/>
              <a:gd name="connsiteY388" fmla="*/ 4345928 h 5392467"/>
              <a:gd name="connsiteX389" fmla="*/ 1528980 w 6096001"/>
              <a:gd name="connsiteY389" fmla="*/ 4342062 h 5392467"/>
              <a:gd name="connsiteX390" fmla="*/ 1917736 w 6096001"/>
              <a:gd name="connsiteY390" fmla="*/ 4291775 h 5392467"/>
              <a:gd name="connsiteX391" fmla="*/ 1919669 w 6096001"/>
              <a:gd name="connsiteY391" fmla="*/ 4293708 h 5392467"/>
              <a:gd name="connsiteX392" fmla="*/ 1921602 w 6096001"/>
              <a:gd name="connsiteY392" fmla="*/ 4291775 h 5392467"/>
              <a:gd name="connsiteX393" fmla="*/ 1917736 w 6096001"/>
              <a:gd name="connsiteY393" fmla="*/ 4291775 h 5392467"/>
              <a:gd name="connsiteX394" fmla="*/ 1944812 w 6096001"/>
              <a:gd name="connsiteY394" fmla="*/ 4282103 h 5392467"/>
              <a:gd name="connsiteX395" fmla="*/ 1942879 w 6096001"/>
              <a:gd name="connsiteY395" fmla="*/ 4287907 h 5392467"/>
              <a:gd name="connsiteX396" fmla="*/ 1946747 w 6096001"/>
              <a:gd name="connsiteY396" fmla="*/ 4282103 h 5392467"/>
              <a:gd name="connsiteX397" fmla="*/ 1944812 w 6096001"/>
              <a:gd name="connsiteY397" fmla="*/ 4282103 h 5392467"/>
              <a:gd name="connsiteX398" fmla="*/ 4849836 w 6096001"/>
              <a:gd name="connsiteY398" fmla="*/ 4179598 h 5392467"/>
              <a:gd name="connsiteX399" fmla="*/ 4836296 w 6096001"/>
              <a:gd name="connsiteY399" fmla="*/ 4181531 h 5392467"/>
              <a:gd name="connsiteX400" fmla="*/ 4844032 w 6096001"/>
              <a:gd name="connsiteY400" fmla="*/ 4183464 h 5392467"/>
              <a:gd name="connsiteX401" fmla="*/ 4844032 w 6096001"/>
              <a:gd name="connsiteY401" fmla="*/ 4185399 h 5392467"/>
              <a:gd name="connsiteX402" fmla="*/ 4855637 w 6096001"/>
              <a:gd name="connsiteY402" fmla="*/ 4181531 h 5392467"/>
              <a:gd name="connsiteX403" fmla="*/ 4849836 w 6096001"/>
              <a:gd name="connsiteY403" fmla="*/ 4179598 h 5392467"/>
              <a:gd name="connsiteX404" fmla="*/ 4874978 w 6096001"/>
              <a:gd name="connsiteY404" fmla="*/ 4148652 h 5392467"/>
              <a:gd name="connsiteX405" fmla="*/ 4857572 w 6096001"/>
              <a:gd name="connsiteY405" fmla="*/ 4156388 h 5392467"/>
              <a:gd name="connsiteX406" fmla="*/ 4855637 w 6096001"/>
              <a:gd name="connsiteY406" fmla="*/ 4158321 h 5392467"/>
              <a:gd name="connsiteX407" fmla="*/ 4855637 w 6096001"/>
              <a:gd name="connsiteY407" fmla="*/ 4169926 h 5392467"/>
              <a:gd name="connsiteX408" fmla="*/ 4865306 w 6096001"/>
              <a:gd name="connsiteY408" fmla="*/ 4164123 h 5392467"/>
              <a:gd name="connsiteX409" fmla="*/ 4873045 w 6096001"/>
              <a:gd name="connsiteY409" fmla="*/ 4156388 h 5392467"/>
              <a:gd name="connsiteX410" fmla="*/ 4876913 w 6096001"/>
              <a:gd name="connsiteY410" fmla="*/ 4156388 h 5392467"/>
              <a:gd name="connsiteX411" fmla="*/ 4878846 w 6096001"/>
              <a:gd name="connsiteY411" fmla="*/ 4154453 h 5392467"/>
              <a:gd name="connsiteX412" fmla="*/ 4871110 w 6096001"/>
              <a:gd name="connsiteY412" fmla="*/ 4152518 h 5392467"/>
              <a:gd name="connsiteX413" fmla="*/ 4878846 w 6096001"/>
              <a:gd name="connsiteY413" fmla="*/ 4148652 h 5392467"/>
              <a:gd name="connsiteX414" fmla="*/ 4874978 w 6096001"/>
              <a:gd name="connsiteY414" fmla="*/ 4148652 h 5392467"/>
              <a:gd name="connsiteX415" fmla="*/ 5246050 w 6096001"/>
              <a:gd name="connsiteY415" fmla="*/ 4117154 h 5392467"/>
              <a:gd name="connsiteX416" fmla="*/ 5248259 w 6096001"/>
              <a:gd name="connsiteY416" fmla="*/ 4121574 h 5392467"/>
              <a:gd name="connsiteX417" fmla="*/ 5242458 w 6096001"/>
              <a:gd name="connsiteY417" fmla="*/ 4119639 h 5392467"/>
              <a:gd name="connsiteX418" fmla="*/ 5242458 w 6096001"/>
              <a:gd name="connsiteY418" fmla="*/ 4118672 h 5392467"/>
              <a:gd name="connsiteX419" fmla="*/ 5244393 w 6096001"/>
              <a:gd name="connsiteY419" fmla="*/ 4117706 h 5392467"/>
              <a:gd name="connsiteX420" fmla="*/ 5273404 w 6096001"/>
              <a:gd name="connsiteY420" fmla="*/ 4113838 h 5392467"/>
              <a:gd name="connsiteX421" fmla="*/ 5269535 w 6096001"/>
              <a:gd name="connsiteY421" fmla="*/ 4115770 h 5392467"/>
              <a:gd name="connsiteX422" fmla="*/ 5275337 w 6096001"/>
              <a:gd name="connsiteY422" fmla="*/ 4113838 h 5392467"/>
              <a:gd name="connsiteX423" fmla="*/ 5273404 w 6096001"/>
              <a:gd name="connsiteY423" fmla="*/ 4113838 h 5392467"/>
              <a:gd name="connsiteX424" fmla="*/ 5310151 w 6096001"/>
              <a:gd name="connsiteY424" fmla="*/ 4090628 h 5392467"/>
              <a:gd name="connsiteX425" fmla="*/ 5296611 w 6096001"/>
              <a:gd name="connsiteY425" fmla="*/ 4096429 h 5392467"/>
              <a:gd name="connsiteX426" fmla="*/ 5310151 w 6096001"/>
              <a:gd name="connsiteY426" fmla="*/ 4090628 h 5392467"/>
              <a:gd name="connsiteX427" fmla="*/ 5343030 w 6096001"/>
              <a:gd name="connsiteY427" fmla="*/ 4080959 h 5392467"/>
              <a:gd name="connsiteX428" fmla="*/ 5331427 w 6096001"/>
              <a:gd name="connsiteY428" fmla="*/ 4084824 h 5392467"/>
              <a:gd name="connsiteX429" fmla="*/ 5331427 w 6096001"/>
              <a:gd name="connsiteY429" fmla="*/ 4086760 h 5392467"/>
              <a:gd name="connsiteX430" fmla="*/ 5329492 w 6096001"/>
              <a:gd name="connsiteY430" fmla="*/ 4090628 h 5392467"/>
              <a:gd name="connsiteX431" fmla="*/ 5348833 w 6096001"/>
              <a:gd name="connsiteY431" fmla="*/ 4084824 h 5392467"/>
              <a:gd name="connsiteX432" fmla="*/ 5348833 w 6096001"/>
              <a:gd name="connsiteY432" fmla="*/ 4082891 h 5392467"/>
              <a:gd name="connsiteX433" fmla="*/ 5346898 w 6096001"/>
              <a:gd name="connsiteY433" fmla="*/ 4082891 h 5392467"/>
              <a:gd name="connsiteX434" fmla="*/ 5344965 w 6096001"/>
              <a:gd name="connsiteY434" fmla="*/ 4080959 h 5392467"/>
              <a:gd name="connsiteX435" fmla="*/ 5343030 w 6096001"/>
              <a:gd name="connsiteY435" fmla="*/ 4080959 h 5392467"/>
              <a:gd name="connsiteX436" fmla="*/ 5174764 w 6096001"/>
              <a:gd name="connsiteY436" fmla="*/ 4079023 h 5392467"/>
              <a:gd name="connsiteX437" fmla="*/ 5145751 w 6096001"/>
              <a:gd name="connsiteY437" fmla="*/ 4082891 h 5392467"/>
              <a:gd name="connsiteX438" fmla="*/ 5091598 w 6096001"/>
              <a:gd name="connsiteY438" fmla="*/ 4092561 h 5392467"/>
              <a:gd name="connsiteX439" fmla="*/ 5087730 w 6096001"/>
              <a:gd name="connsiteY439" fmla="*/ 4090628 h 5392467"/>
              <a:gd name="connsiteX440" fmla="*/ 5091598 w 6096001"/>
              <a:gd name="connsiteY440" fmla="*/ 4088693 h 5392467"/>
              <a:gd name="connsiteX441" fmla="*/ 5091598 w 6096001"/>
              <a:gd name="connsiteY441" fmla="*/ 4086760 h 5392467"/>
              <a:gd name="connsiteX442" fmla="*/ 5049047 w 6096001"/>
              <a:gd name="connsiteY442" fmla="*/ 4094496 h 5392467"/>
              <a:gd name="connsiteX443" fmla="*/ 5050983 w 6096001"/>
              <a:gd name="connsiteY443" fmla="*/ 4100297 h 5392467"/>
              <a:gd name="connsiteX444" fmla="*/ 5031641 w 6096001"/>
              <a:gd name="connsiteY444" fmla="*/ 4104166 h 5392467"/>
              <a:gd name="connsiteX445" fmla="*/ 5012300 w 6096001"/>
              <a:gd name="connsiteY445" fmla="*/ 4108034 h 5392467"/>
              <a:gd name="connsiteX446" fmla="*/ 4991023 w 6096001"/>
              <a:gd name="connsiteY446" fmla="*/ 4111902 h 5392467"/>
              <a:gd name="connsiteX447" fmla="*/ 4971682 w 6096001"/>
              <a:gd name="connsiteY447" fmla="*/ 4115770 h 5392467"/>
              <a:gd name="connsiteX448" fmla="*/ 4952341 w 6096001"/>
              <a:gd name="connsiteY448" fmla="*/ 4119639 h 5392467"/>
              <a:gd name="connsiteX449" fmla="*/ 4933000 w 6096001"/>
              <a:gd name="connsiteY449" fmla="*/ 4127375 h 5392467"/>
              <a:gd name="connsiteX450" fmla="*/ 4938803 w 6096001"/>
              <a:gd name="connsiteY450" fmla="*/ 4127375 h 5392467"/>
              <a:gd name="connsiteX451" fmla="*/ 5025838 w 6096001"/>
              <a:gd name="connsiteY451" fmla="*/ 4109969 h 5392467"/>
              <a:gd name="connsiteX452" fmla="*/ 5054848 w 6096001"/>
              <a:gd name="connsiteY452" fmla="*/ 4104166 h 5392467"/>
              <a:gd name="connsiteX453" fmla="*/ 5062585 w 6096001"/>
              <a:gd name="connsiteY453" fmla="*/ 4106101 h 5392467"/>
              <a:gd name="connsiteX454" fmla="*/ 5054848 w 6096001"/>
              <a:gd name="connsiteY454" fmla="*/ 4109969 h 5392467"/>
              <a:gd name="connsiteX455" fmla="*/ 5021969 w 6096001"/>
              <a:gd name="connsiteY455" fmla="*/ 4117706 h 5392467"/>
              <a:gd name="connsiteX456" fmla="*/ 4987155 w 6096001"/>
              <a:gd name="connsiteY456" fmla="*/ 4123507 h 5392467"/>
              <a:gd name="connsiteX457" fmla="*/ 4919462 w 6096001"/>
              <a:gd name="connsiteY457" fmla="*/ 4137047 h 5392467"/>
              <a:gd name="connsiteX458" fmla="*/ 4892384 w 6096001"/>
              <a:gd name="connsiteY458" fmla="*/ 4142848 h 5392467"/>
              <a:gd name="connsiteX459" fmla="*/ 4892384 w 6096001"/>
              <a:gd name="connsiteY459" fmla="*/ 4144784 h 5392467"/>
              <a:gd name="connsiteX460" fmla="*/ 4890451 w 6096001"/>
              <a:gd name="connsiteY460" fmla="*/ 4148652 h 5392467"/>
              <a:gd name="connsiteX461" fmla="*/ 4890451 w 6096001"/>
              <a:gd name="connsiteY461" fmla="*/ 4150585 h 5392467"/>
              <a:gd name="connsiteX462" fmla="*/ 4902056 w 6096001"/>
              <a:gd name="connsiteY462" fmla="*/ 4150585 h 5392467"/>
              <a:gd name="connsiteX463" fmla="*/ 4902056 w 6096001"/>
              <a:gd name="connsiteY463" fmla="*/ 4152518 h 5392467"/>
              <a:gd name="connsiteX464" fmla="*/ 4878846 w 6096001"/>
              <a:gd name="connsiteY464" fmla="*/ 4160257 h 5392467"/>
              <a:gd name="connsiteX465" fmla="*/ 4921397 w 6096001"/>
              <a:gd name="connsiteY465" fmla="*/ 4152518 h 5392467"/>
              <a:gd name="connsiteX466" fmla="*/ 4942671 w 6096001"/>
              <a:gd name="connsiteY466" fmla="*/ 4148652 h 5392467"/>
              <a:gd name="connsiteX467" fmla="*/ 4944607 w 6096001"/>
              <a:gd name="connsiteY467" fmla="*/ 4148652 h 5392467"/>
              <a:gd name="connsiteX468" fmla="*/ 5004564 w 6096001"/>
              <a:gd name="connsiteY468" fmla="*/ 4129311 h 5392467"/>
              <a:gd name="connsiteX469" fmla="*/ 5020037 w 6096001"/>
              <a:gd name="connsiteY469" fmla="*/ 4127375 h 5392467"/>
              <a:gd name="connsiteX470" fmla="*/ 5018101 w 6096001"/>
              <a:gd name="connsiteY470" fmla="*/ 4133179 h 5392467"/>
              <a:gd name="connsiteX471" fmla="*/ 5023905 w 6096001"/>
              <a:gd name="connsiteY471" fmla="*/ 4133179 h 5392467"/>
              <a:gd name="connsiteX472" fmla="*/ 5037442 w 6096001"/>
              <a:gd name="connsiteY472" fmla="*/ 4131244 h 5392467"/>
              <a:gd name="connsiteX473" fmla="*/ 5043244 w 6096001"/>
              <a:gd name="connsiteY473" fmla="*/ 4127375 h 5392467"/>
              <a:gd name="connsiteX474" fmla="*/ 5039375 w 6096001"/>
              <a:gd name="connsiteY474" fmla="*/ 4121574 h 5392467"/>
              <a:gd name="connsiteX475" fmla="*/ 5041311 w 6096001"/>
              <a:gd name="connsiteY475" fmla="*/ 4119639 h 5392467"/>
              <a:gd name="connsiteX476" fmla="*/ 5066453 w 6096001"/>
              <a:gd name="connsiteY476" fmla="*/ 4104166 h 5392467"/>
              <a:gd name="connsiteX477" fmla="*/ 5074190 w 6096001"/>
              <a:gd name="connsiteY477" fmla="*/ 4100297 h 5392467"/>
              <a:gd name="connsiteX478" fmla="*/ 5093531 w 6096001"/>
              <a:gd name="connsiteY478" fmla="*/ 4096429 h 5392467"/>
              <a:gd name="connsiteX479" fmla="*/ 5147687 w 6096001"/>
              <a:gd name="connsiteY479" fmla="*/ 4086760 h 5392467"/>
              <a:gd name="connsiteX480" fmla="*/ 5176697 w 6096001"/>
              <a:gd name="connsiteY480" fmla="*/ 4079023 h 5392467"/>
              <a:gd name="connsiteX481" fmla="*/ 5174764 w 6096001"/>
              <a:gd name="connsiteY481" fmla="*/ 4079023 h 5392467"/>
              <a:gd name="connsiteX482" fmla="*/ 5385581 w 6096001"/>
              <a:gd name="connsiteY482" fmla="*/ 4077088 h 5392467"/>
              <a:gd name="connsiteX483" fmla="*/ 5368175 w 6096001"/>
              <a:gd name="connsiteY483" fmla="*/ 4080959 h 5392467"/>
              <a:gd name="connsiteX484" fmla="*/ 5385581 w 6096001"/>
              <a:gd name="connsiteY484" fmla="*/ 4077088 h 5392467"/>
              <a:gd name="connsiteX485" fmla="*/ 5472615 w 6096001"/>
              <a:gd name="connsiteY485" fmla="*/ 4075155 h 5392467"/>
              <a:gd name="connsiteX486" fmla="*/ 5476483 w 6096001"/>
              <a:gd name="connsiteY486" fmla="*/ 4075155 h 5392467"/>
              <a:gd name="connsiteX487" fmla="*/ 5476483 w 6096001"/>
              <a:gd name="connsiteY487" fmla="*/ 4077088 h 5392467"/>
              <a:gd name="connsiteX488" fmla="*/ 5472615 w 6096001"/>
              <a:gd name="connsiteY488" fmla="*/ 4077088 h 5392467"/>
              <a:gd name="connsiteX489" fmla="*/ 5472615 w 6096001"/>
              <a:gd name="connsiteY489" fmla="*/ 4075155 h 5392467"/>
              <a:gd name="connsiteX490" fmla="*/ 5161224 w 6096001"/>
              <a:gd name="connsiteY490" fmla="*/ 4063550 h 5392467"/>
              <a:gd name="connsiteX491" fmla="*/ 5161224 w 6096001"/>
              <a:gd name="connsiteY491" fmla="*/ 4065483 h 5392467"/>
              <a:gd name="connsiteX492" fmla="*/ 5151555 w 6096001"/>
              <a:gd name="connsiteY492" fmla="*/ 4071287 h 5392467"/>
              <a:gd name="connsiteX493" fmla="*/ 5151555 w 6096001"/>
              <a:gd name="connsiteY493" fmla="*/ 4065483 h 5392467"/>
              <a:gd name="connsiteX494" fmla="*/ 5161224 w 6096001"/>
              <a:gd name="connsiteY494" fmla="*/ 4063550 h 5392467"/>
              <a:gd name="connsiteX495" fmla="*/ 5217315 w 6096001"/>
              <a:gd name="connsiteY495" fmla="*/ 4061617 h 5392467"/>
              <a:gd name="connsiteX496" fmla="*/ 5207643 w 6096001"/>
              <a:gd name="connsiteY496" fmla="*/ 4063550 h 5392467"/>
              <a:gd name="connsiteX497" fmla="*/ 5180566 w 6096001"/>
              <a:gd name="connsiteY497" fmla="*/ 4071287 h 5392467"/>
              <a:gd name="connsiteX498" fmla="*/ 5188302 w 6096001"/>
              <a:gd name="connsiteY498" fmla="*/ 4071287 h 5392467"/>
              <a:gd name="connsiteX499" fmla="*/ 5197974 w 6096001"/>
              <a:gd name="connsiteY499" fmla="*/ 4069354 h 5392467"/>
              <a:gd name="connsiteX500" fmla="*/ 5217315 w 6096001"/>
              <a:gd name="connsiteY500" fmla="*/ 4061617 h 5392467"/>
              <a:gd name="connsiteX501" fmla="*/ 5267600 w 6096001"/>
              <a:gd name="connsiteY501" fmla="*/ 4050013 h 5392467"/>
              <a:gd name="connsiteX502" fmla="*/ 5242458 w 6096001"/>
              <a:gd name="connsiteY502" fmla="*/ 4055814 h 5392467"/>
              <a:gd name="connsiteX503" fmla="*/ 5226985 w 6096001"/>
              <a:gd name="connsiteY503" fmla="*/ 4059682 h 5392467"/>
              <a:gd name="connsiteX504" fmla="*/ 5226985 w 6096001"/>
              <a:gd name="connsiteY504" fmla="*/ 4063550 h 5392467"/>
              <a:gd name="connsiteX505" fmla="*/ 5257931 w 6096001"/>
              <a:gd name="connsiteY505" fmla="*/ 4057749 h 5392467"/>
              <a:gd name="connsiteX506" fmla="*/ 5261799 w 6096001"/>
              <a:gd name="connsiteY506" fmla="*/ 4057749 h 5392467"/>
              <a:gd name="connsiteX507" fmla="*/ 5275337 w 6096001"/>
              <a:gd name="connsiteY507" fmla="*/ 4053881 h 5392467"/>
              <a:gd name="connsiteX508" fmla="*/ 5285008 w 6096001"/>
              <a:gd name="connsiteY508" fmla="*/ 4050013 h 5392467"/>
              <a:gd name="connsiteX509" fmla="*/ 5267600 w 6096001"/>
              <a:gd name="connsiteY509" fmla="*/ 4050013 h 5392467"/>
              <a:gd name="connsiteX510" fmla="*/ 5534507 w 6096001"/>
              <a:gd name="connsiteY510" fmla="*/ 4048077 h 5392467"/>
              <a:gd name="connsiteX511" fmla="*/ 5536440 w 6096001"/>
              <a:gd name="connsiteY511" fmla="*/ 4048077 h 5392467"/>
              <a:gd name="connsiteX512" fmla="*/ 5542244 w 6096001"/>
              <a:gd name="connsiteY512" fmla="*/ 4051945 h 5392467"/>
              <a:gd name="connsiteX513" fmla="*/ 5528704 w 6096001"/>
              <a:gd name="connsiteY513" fmla="*/ 4053881 h 5392467"/>
              <a:gd name="connsiteX514" fmla="*/ 5532572 w 6096001"/>
              <a:gd name="connsiteY514" fmla="*/ 4050013 h 5392467"/>
              <a:gd name="connsiteX515" fmla="*/ 5534507 w 6096001"/>
              <a:gd name="connsiteY515" fmla="*/ 4048077 h 5392467"/>
              <a:gd name="connsiteX516" fmla="*/ 5449406 w 6096001"/>
              <a:gd name="connsiteY516" fmla="*/ 4048077 h 5392467"/>
              <a:gd name="connsiteX517" fmla="*/ 5428131 w 6096001"/>
              <a:gd name="connsiteY517" fmla="*/ 4051945 h 5392467"/>
              <a:gd name="connsiteX518" fmla="*/ 5420395 w 6096001"/>
              <a:gd name="connsiteY518" fmla="*/ 4053881 h 5392467"/>
              <a:gd name="connsiteX519" fmla="*/ 5414594 w 6096001"/>
              <a:gd name="connsiteY519" fmla="*/ 4057749 h 5392467"/>
              <a:gd name="connsiteX520" fmla="*/ 5449406 w 6096001"/>
              <a:gd name="connsiteY520" fmla="*/ 4048077 h 5392467"/>
              <a:gd name="connsiteX521" fmla="*/ 5737587 w 6096001"/>
              <a:gd name="connsiteY521" fmla="*/ 4030671 h 5392467"/>
              <a:gd name="connsiteX522" fmla="*/ 5741455 w 6096001"/>
              <a:gd name="connsiteY522" fmla="*/ 4032604 h 5392467"/>
              <a:gd name="connsiteX523" fmla="*/ 5739522 w 6096001"/>
              <a:gd name="connsiteY523" fmla="*/ 4034539 h 5392467"/>
              <a:gd name="connsiteX524" fmla="*/ 5735654 w 6096001"/>
              <a:gd name="connsiteY524" fmla="*/ 4032604 h 5392467"/>
              <a:gd name="connsiteX525" fmla="*/ 5737587 w 6096001"/>
              <a:gd name="connsiteY525" fmla="*/ 4030671 h 5392467"/>
              <a:gd name="connsiteX526" fmla="*/ 5762732 w 6096001"/>
              <a:gd name="connsiteY526" fmla="*/ 4028736 h 5392467"/>
              <a:gd name="connsiteX527" fmla="*/ 5758864 w 6096001"/>
              <a:gd name="connsiteY527" fmla="*/ 4034539 h 5392467"/>
              <a:gd name="connsiteX528" fmla="*/ 5756928 w 6096001"/>
              <a:gd name="connsiteY528" fmla="*/ 4034539 h 5392467"/>
              <a:gd name="connsiteX529" fmla="*/ 5754993 w 6096001"/>
              <a:gd name="connsiteY529" fmla="*/ 4030671 h 5392467"/>
              <a:gd name="connsiteX530" fmla="*/ 5762732 w 6096001"/>
              <a:gd name="connsiteY530" fmla="*/ 4028736 h 5392467"/>
              <a:gd name="connsiteX531" fmla="*/ 5535958 w 6096001"/>
              <a:gd name="connsiteY531" fmla="*/ 4025110 h 5392467"/>
              <a:gd name="connsiteX532" fmla="*/ 5524838 w 6096001"/>
              <a:gd name="connsiteY532" fmla="*/ 4030671 h 5392467"/>
              <a:gd name="connsiteX533" fmla="*/ 5507430 w 6096001"/>
              <a:gd name="connsiteY533" fmla="*/ 4036472 h 5392467"/>
              <a:gd name="connsiteX534" fmla="*/ 5532572 w 6096001"/>
              <a:gd name="connsiteY534" fmla="*/ 4036472 h 5392467"/>
              <a:gd name="connsiteX535" fmla="*/ 5549980 w 6096001"/>
              <a:gd name="connsiteY535" fmla="*/ 4032604 h 5392467"/>
              <a:gd name="connsiteX536" fmla="*/ 5549980 w 6096001"/>
              <a:gd name="connsiteY536" fmla="*/ 4026803 h 5392467"/>
              <a:gd name="connsiteX537" fmla="*/ 5535958 w 6096001"/>
              <a:gd name="connsiteY537" fmla="*/ 4025110 h 5392467"/>
              <a:gd name="connsiteX538" fmla="*/ 5530639 w 6096001"/>
              <a:gd name="connsiteY538" fmla="*/ 4009395 h 5392467"/>
              <a:gd name="connsiteX539" fmla="*/ 5509362 w 6096001"/>
              <a:gd name="connsiteY539" fmla="*/ 4011330 h 5392467"/>
              <a:gd name="connsiteX540" fmla="*/ 5486155 w 6096001"/>
              <a:gd name="connsiteY540" fmla="*/ 4015198 h 5392467"/>
              <a:gd name="connsiteX541" fmla="*/ 5488088 w 6096001"/>
              <a:gd name="connsiteY541" fmla="*/ 4013263 h 5392467"/>
              <a:gd name="connsiteX542" fmla="*/ 5474551 w 6096001"/>
              <a:gd name="connsiteY542" fmla="*/ 4015198 h 5392467"/>
              <a:gd name="connsiteX543" fmla="*/ 5457142 w 6096001"/>
              <a:gd name="connsiteY543" fmla="*/ 4015198 h 5392467"/>
              <a:gd name="connsiteX544" fmla="*/ 5443604 w 6096001"/>
              <a:gd name="connsiteY544" fmla="*/ 4020999 h 5392467"/>
              <a:gd name="connsiteX545" fmla="*/ 5432000 w 6096001"/>
              <a:gd name="connsiteY545" fmla="*/ 4022935 h 5392467"/>
              <a:gd name="connsiteX546" fmla="*/ 5402987 w 6096001"/>
              <a:gd name="connsiteY546" fmla="*/ 4026803 h 5392467"/>
              <a:gd name="connsiteX547" fmla="*/ 5401054 w 6096001"/>
              <a:gd name="connsiteY547" fmla="*/ 4030671 h 5392467"/>
              <a:gd name="connsiteX548" fmla="*/ 5433933 w 6096001"/>
              <a:gd name="connsiteY548" fmla="*/ 4022935 h 5392467"/>
              <a:gd name="connsiteX549" fmla="*/ 5430064 w 6096001"/>
              <a:gd name="connsiteY549" fmla="*/ 4030671 h 5392467"/>
              <a:gd name="connsiteX550" fmla="*/ 5393317 w 6096001"/>
              <a:gd name="connsiteY550" fmla="*/ 4040341 h 5392467"/>
              <a:gd name="connsiteX551" fmla="*/ 5372043 w 6096001"/>
              <a:gd name="connsiteY551" fmla="*/ 4048077 h 5392467"/>
              <a:gd name="connsiteX552" fmla="*/ 5391384 w 6096001"/>
              <a:gd name="connsiteY552" fmla="*/ 4044209 h 5392467"/>
              <a:gd name="connsiteX553" fmla="*/ 5437803 w 6096001"/>
              <a:gd name="connsiteY553" fmla="*/ 4030671 h 5392467"/>
              <a:gd name="connsiteX554" fmla="*/ 5476483 w 6096001"/>
              <a:gd name="connsiteY554" fmla="*/ 4019066 h 5392467"/>
              <a:gd name="connsiteX555" fmla="*/ 5503561 w 6096001"/>
              <a:gd name="connsiteY555" fmla="*/ 4013263 h 5392467"/>
              <a:gd name="connsiteX556" fmla="*/ 5530639 w 6096001"/>
              <a:gd name="connsiteY556" fmla="*/ 4009395 h 5392467"/>
              <a:gd name="connsiteX557" fmla="*/ 5387514 w 6096001"/>
              <a:gd name="connsiteY557" fmla="*/ 4003593 h 5392467"/>
              <a:gd name="connsiteX558" fmla="*/ 5383645 w 6096001"/>
              <a:gd name="connsiteY558" fmla="*/ 4005526 h 5392467"/>
              <a:gd name="connsiteX559" fmla="*/ 5385581 w 6096001"/>
              <a:gd name="connsiteY559" fmla="*/ 4005526 h 5392467"/>
              <a:gd name="connsiteX560" fmla="*/ 5387514 w 6096001"/>
              <a:gd name="connsiteY560" fmla="*/ 4003593 h 5392467"/>
              <a:gd name="connsiteX561" fmla="*/ 5188302 w 6096001"/>
              <a:gd name="connsiteY561" fmla="*/ 4001658 h 5392467"/>
              <a:gd name="connsiteX562" fmla="*/ 5188302 w 6096001"/>
              <a:gd name="connsiteY562" fmla="*/ 4013263 h 5392467"/>
              <a:gd name="connsiteX563" fmla="*/ 5194106 w 6096001"/>
              <a:gd name="connsiteY563" fmla="*/ 4015198 h 5392467"/>
              <a:gd name="connsiteX564" fmla="*/ 5188302 w 6096001"/>
              <a:gd name="connsiteY564" fmla="*/ 4001658 h 5392467"/>
              <a:gd name="connsiteX565" fmla="*/ 5462946 w 6096001"/>
              <a:gd name="connsiteY565" fmla="*/ 3997790 h 5392467"/>
              <a:gd name="connsiteX566" fmla="*/ 5461010 w 6096001"/>
              <a:gd name="connsiteY566" fmla="*/ 3999725 h 5392467"/>
              <a:gd name="connsiteX567" fmla="*/ 5466814 w 6096001"/>
              <a:gd name="connsiteY567" fmla="*/ 3999725 h 5392467"/>
              <a:gd name="connsiteX568" fmla="*/ 5466814 w 6096001"/>
              <a:gd name="connsiteY568" fmla="*/ 3997790 h 5392467"/>
              <a:gd name="connsiteX569" fmla="*/ 5462946 w 6096001"/>
              <a:gd name="connsiteY569" fmla="*/ 3997790 h 5392467"/>
              <a:gd name="connsiteX570" fmla="*/ 5600265 w 6096001"/>
              <a:gd name="connsiteY570" fmla="*/ 3988120 h 5392467"/>
              <a:gd name="connsiteX571" fmla="*/ 5592531 w 6096001"/>
              <a:gd name="connsiteY571" fmla="*/ 3991989 h 5392467"/>
              <a:gd name="connsiteX572" fmla="*/ 5600265 w 6096001"/>
              <a:gd name="connsiteY572" fmla="*/ 3988120 h 5392467"/>
              <a:gd name="connsiteX573" fmla="*/ 5325624 w 6096001"/>
              <a:gd name="connsiteY573" fmla="*/ 3986187 h 5392467"/>
              <a:gd name="connsiteX574" fmla="*/ 5310151 w 6096001"/>
              <a:gd name="connsiteY574" fmla="*/ 3988120 h 5392467"/>
              <a:gd name="connsiteX575" fmla="*/ 5310151 w 6096001"/>
              <a:gd name="connsiteY575" fmla="*/ 3990053 h 5392467"/>
              <a:gd name="connsiteX576" fmla="*/ 5323689 w 6096001"/>
              <a:gd name="connsiteY576" fmla="*/ 3990053 h 5392467"/>
              <a:gd name="connsiteX577" fmla="*/ 5325624 w 6096001"/>
              <a:gd name="connsiteY577" fmla="*/ 3986187 h 5392467"/>
              <a:gd name="connsiteX578" fmla="*/ 5252127 w 6096001"/>
              <a:gd name="connsiteY578" fmla="*/ 3984252 h 5392467"/>
              <a:gd name="connsiteX579" fmla="*/ 5240522 w 6096001"/>
              <a:gd name="connsiteY579" fmla="*/ 3990053 h 5392467"/>
              <a:gd name="connsiteX580" fmla="*/ 5242458 w 6096001"/>
              <a:gd name="connsiteY580" fmla="*/ 3991989 h 5392467"/>
              <a:gd name="connsiteX581" fmla="*/ 5255995 w 6096001"/>
              <a:gd name="connsiteY581" fmla="*/ 3986187 h 5392467"/>
              <a:gd name="connsiteX582" fmla="*/ 5252127 w 6096001"/>
              <a:gd name="connsiteY582" fmla="*/ 3984252 h 5392467"/>
              <a:gd name="connsiteX583" fmla="*/ 5640883 w 6096001"/>
              <a:gd name="connsiteY583" fmla="*/ 3980384 h 5392467"/>
              <a:gd name="connsiteX584" fmla="*/ 5638948 w 6096001"/>
              <a:gd name="connsiteY584" fmla="*/ 3982319 h 5392467"/>
              <a:gd name="connsiteX585" fmla="*/ 5629278 w 6096001"/>
              <a:gd name="connsiteY585" fmla="*/ 3982319 h 5392467"/>
              <a:gd name="connsiteX586" fmla="*/ 5640883 w 6096001"/>
              <a:gd name="connsiteY586" fmla="*/ 3980384 h 5392467"/>
              <a:gd name="connsiteX587" fmla="*/ 5279205 w 6096001"/>
              <a:gd name="connsiteY587" fmla="*/ 3976516 h 5392467"/>
              <a:gd name="connsiteX588" fmla="*/ 5277270 w 6096001"/>
              <a:gd name="connsiteY588" fmla="*/ 3982319 h 5392467"/>
              <a:gd name="connsiteX589" fmla="*/ 5275337 w 6096001"/>
              <a:gd name="connsiteY589" fmla="*/ 3986187 h 5392467"/>
              <a:gd name="connsiteX590" fmla="*/ 5294678 w 6096001"/>
              <a:gd name="connsiteY590" fmla="*/ 3982319 h 5392467"/>
              <a:gd name="connsiteX591" fmla="*/ 5294678 w 6096001"/>
              <a:gd name="connsiteY591" fmla="*/ 3978449 h 5392467"/>
              <a:gd name="connsiteX592" fmla="*/ 5283073 w 6096001"/>
              <a:gd name="connsiteY592" fmla="*/ 3976516 h 5392467"/>
              <a:gd name="connsiteX593" fmla="*/ 5279205 w 6096001"/>
              <a:gd name="connsiteY593" fmla="*/ 3976516 h 5392467"/>
              <a:gd name="connsiteX594" fmla="*/ 5331427 w 6096001"/>
              <a:gd name="connsiteY594" fmla="*/ 3972647 h 5392467"/>
              <a:gd name="connsiteX595" fmla="*/ 5314019 w 6096001"/>
              <a:gd name="connsiteY595" fmla="*/ 3976516 h 5392467"/>
              <a:gd name="connsiteX596" fmla="*/ 5319820 w 6096001"/>
              <a:gd name="connsiteY596" fmla="*/ 3976516 h 5392467"/>
              <a:gd name="connsiteX597" fmla="*/ 5331427 w 6096001"/>
              <a:gd name="connsiteY597" fmla="*/ 3972647 h 5392467"/>
              <a:gd name="connsiteX598" fmla="*/ 5418462 w 6096001"/>
              <a:gd name="connsiteY598" fmla="*/ 3970714 h 5392467"/>
              <a:gd name="connsiteX599" fmla="*/ 5420395 w 6096001"/>
              <a:gd name="connsiteY599" fmla="*/ 3972647 h 5392467"/>
              <a:gd name="connsiteX600" fmla="*/ 5422328 w 6096001"/>
              <a:gd name="connsiteY600" fmla="*/ 3970714 h 5392467"/>
              <a:gd name="connsiteX601" fmla="*/ 5418462 w 6096001"/>
              <a:gd name="connsiteY601" fmla="*/ 3970714 h 5392467"/>
              <a:gd name="connsiteX602" fmla="*/ 5633147 w 6096001"/>
              <a:gd name="connsiteY602" fmla="*/ 3966846 h 5392467"/>
              <a:gd name="connsiteX603" fmla="*/ 5606069 w 6096001"/>
              <a:gd name="connsiteY603" fmla="*/ 3972647 h 5392467"/>
              <a:gd name="connsiteX604" fmla="*/ 5608002 w 6096001"/>
              <a:gd name="connsiteY604" fmla="*/ 3972647 h 5392467"/>
              <a:gd name="connsiteX605" fmla="*/ 5592531 w 6096001"/>
              <a:gd name="connsiteY605" fmla="*/ 3974583 h 5392467"/>
              <a:gd name="connsiteX606" fmla="*/ 5588663 w 6096001"/>
              <a:gd name="connsiteY606" fmla="*/ 3974583 h 5392467"/>
              <a:gd name="connsiteX607" fmla="*/ 5584795 w 6096001"/>
              <a:gd name="connsiteY607" fmla="*/ 3978449 h 5392467"/>
              <a:gd name="connsiteX608" fmla="*/ 5646684 w 6096001"/>
              <a:gd name="connsiteY608" fmla="*/ 3966846 h 5392467"/>
              <a:gd name="connsiteX609" fmla="*/ 5633147 w 6096001"/>
              <a:gd name="connsiteY609" fmla="*/ 3966846 h 5392467"/>
              <a:gd name="connsiteX610" fmla="*/ 5497758 w 6096001"/>
              <a:gd name="connsiteY610" fmla="*/ 3966846 h 5392467"/>
              <a:gd name="connsiteX611" fmla="*/ 5490021 w 6096001"/>
              <a:gd name="connsiteY611" fmla="*/ 3974583 h 5392467"/>
              <a:gd name="connsiteX612" fmla="*/ 5495825 w 6096001"/>
              <a:gd name="connsiteY612" fmla="*/ 3974583 h 5392467"/>
              <a:gd name="connsiteX613" fmla="*/ 5490021 w 6096001"/>
              <a:gd name="connsiteY613" fmla="*/ 3976516 h 5392467"/>
              <a:gd name="connsiteX614" fmla="*/ 5486155 w 6096001"/>
              <a:gd name="connsiteY614" fmla="*/ 3980384 h 5392467"/>
              <a:gd name="connsiteX615" fmla="*/ 5497758 w 6096001"/>
              <a:gd name="connsiteY615" fmla="*/ 3980384 h 5392467"/>
              <a:gd name="connsiteX616" fmla="*/ 5499693 w 6096001"/>
              <a:gd name="connsiteY616" fmla="*/ 3980384 h 5392467"/>
              <a:gd name="connsiteX617" fmla="*/ 5507430 w 6096001"/>
              <a:gd name="connsiteY617" fmla="*/ 3980384 h 5392467"/>
              <a:gd name="connsiteX618" fmla="*/ 5528704 w 6096001"/>
              <a:gd name="connsiteY618" fmla="*/ 3980384 h 5392467"/>
              <a:gd name="connsiteX619" fmla="*/ 5540308 w 6096001"/>
              <a:gd name="connsiteY619" fmla="*/ 3980384 h 5392467"/>
              <a:gd name="connsiteX620" fmla="*/ 5559650 w 6096001"/>
              <a:gd name="connsiteY620" fmla="*/ 3972647 h 5392467"/>
              <a:gd name="connsiteX621" fmla="*/ 5544177 w 6096001"/>
              <a:gd name="connsiteY621" fmla="*/ 3974583 h 5392467"/>
              <a:gd name="connsiteX622" fmla="*/ 5542244 w 6096001"/>
              <a:gd name="connsiteY622" fmla="*/ 3974583 h 5392467"/>
              <a:gd name="connsiteX623" fmla="*/ 5497758 w 6096001"/>
              <a:gd name="connsiteY623" fmla="*/ 3966846 h 5392467"/>
              <a:gd name="connsiteX624" fmla="*/ 5536198 w 6096001"/>
              <a:gd name="connsiteY624" fmla="*/ 3960318 h 5392467"/>
              <a:gd name="connsiteX625" fmla="*/ 5517099 w 6096001"/>
              <a:gd name="connsiteY625" fmla="*/ 3964911 h 5392467"/>
              <a:gd name="connsiteX626" fmla="*/ 5553849 w 6096001"/>
              <a:gd name="connsiteY626" fmla="*/ 3962978 h 5392467"/>
              <a:gd name="connsiteX627" fmla="*/ 5536198 w 6096001"/>
              <a:gd name="connsiteY627" fmla="*/ 3960318 h 5392467"/>
              <a:gd name="connsiteX628" fmla="*/ 5199907 w 6096001"/>
              <a:gd name="connsiteY628" fmla="*/ 3959110 h 5392467"/>
              <a:gd name="connsiteX629" fmla="*/ 5192170 w 6096001"/>
              <a:gd name="connsiteY629" fmla="*/ 3964911 h 5392467"/>
              <a:gd name="connsiteX630" fmla="*/ 5201842 w 6096001"/>
              <a:gd name="connsiteY630" fmla="*/ 3962978 h 5392467"/>
              <a:gd name="connsiteX631" fmla="*/ 5201842 w 6096001"/>
              <a:gd name="connsiteY631" fmla="*/ 3959110 h 5392467"/>
              <a:gd name="connsiteX632" fmla="*/ 5199907 w 6096001"/>
              <a:gd name="connsiteY632" fmla="*/ 3959110 h 5392467"/>
              <a:gd name="connsiteX633" fmla="*/ 5139950 w 6096001"/>
              <a:gd name="connsiteY633" fmla="*/ 3959110 h 5392467"/>
              <a:gd name="connsiteX634" fmla="*/ 5126410 w 6096001"/>
              <a:gd name="connsiteY634" fmla="*/ 3964911 h 5392467"/>
              <a:gd name="connsiteX635" fmla="*/ 5134149 w 6096001"/>
              <a:gd name="connsiteY635" fmla="*/ 3964911 h 5392467"/>
              <a:gd name="connsiteX636" fmla="*/ 5141883 w 6096001"/>
              <a:gd name="connsiteY636" fmla="*/ 3962978 h 5392467"/>
              <a:gd name="connsiteX637" fmla="*/ 5139950 w 6096001"/>
              <a:gd name="connsiteY637" fmla="*/ 3959110 h 5392467"/>
              <a:gd name="connsiteX638" fmla="*/ 5472615 w 6096001"/>
              <a:gd name="connsiteY638" fmla="*/ 3957174 h 5392467"/>
              <a:gd name="connsiteX639" fmla="*/ 5457142 w 6096001"/>
              <a:gd name="connsiteY639" fmla="*/ 3961043 h 5392467"/>
              <a:gd name="connsiteX640" fmla="*/ 5476483 w 6096001"/>
              <a:gd name="connsiteY640" fmla="*/ 3964911 h 5392467"/>
              <a:gd name="connsiteX641" fmla="*/ 5472615 w 6096001"/>
              <a:gd name="connsiteY641" fmla="*/ 3968779 h 5392467"/>
              <a:gd name="connsiteX642" fmla="*/ 5441669 w 6096001"/>
              <a:gd name="connsiteY642" fmla="*/ 3970714 h 5392467"/>
              <a:gd name="connsiteX643" fmla="*/ 5422328 w 6096001"/>
              <a:gd name="connsiteY643" fmla="*/ 3976516 h 5392467"/>
              <a:gd name="connsiteX644" fmla="*/ 5397185 w 6096001"/>
              <a:gd name="connsiteY644" fmla="*/ 3982319 h 5392467"/>
              <a:gd name="connsiteX645" fmla="*/ 5372043 w 6096001"/>
              <a:gd name="connsiteY645" fmla="*/ 3988120 h 5392467"/>
              <a:gd name="connsiteX646" fmla="*/ 5348833 w 6096001"/>
              <a:gd name="connsiteY646" fmla="*/ 3995857 h 5392467"/>
              <a:gd name="connsiteX647" fmla="*/ 5327559 w 6096001"/>
              <a:gd name="connsiteY647" fmla="*/ 4001658 h 5392467"/>
              <a:gd name="connsiteX648" fmla="*/ 5300479 w 6096001"/>
              <a:gd name="connsiteY648" fmla="*/ 4007462 h 5392467"/>
              <a:gd name="connsiteX649" fmla="*/ 5298546 w 6096001"/>
              <a:gd name="connsiteY649" fmla="*/ 4009395 h 5392467"/>
              <a:gd name="connsiteX650" fmla="*/ 5296611 w 6096001"/>
              <a:gd name="connsiteY650" fmla="*/ 4007462 h 5392467"/>
              <a:gd name="connsiteX651" fmla="*/ 5283073 w 6096001"/>
              <a:gd name="connsiteY651" fmla="*/ 4011330 h 5392467"/>
              <a:gd name="connsiteX652" fmla="*/ 5261799 w 6096001"/>
              <a:gd name="connsiteY652" fmla="*/ 4013263 h 5392467"/>
              <a:gd name="connsiteX653" fmla="*/ 5255995 w 6096001"/>
              <a:gd name="connsiteY653" fmla="*/ 4009395 h 5392467"/>
              <a:gd name="connsiteX654" fmla="*/ 5269535 w 6096001"/>
              <a:gd name="connsiteY654" fmla="*/ 4003593 h 5392467"/>
              <a:gd name="connsiteX655" fmla="*/ 5281140 w 6096001"/>
              <a:gd name="connsiteY655" fmla="*/ 3999725 h 5392467"/>
              <a:gd name="connsiteX656" fmla="*/ 5283073 w 6096001"/>
              <a:gd name="connsiteY656" fmla="*/ 3991989 h 5392467"/>
              <a:gd name="connsiteX657" fmla="*/ 5259864 w 6096001"/>
              <a:gd name="connsiteY657" fmla="*/ 3997790 h 5392467"/>
              <a:gd name="connsiteX658" fmla="*/ 5228918 w 6096001"/>
              <a:gd name="connsiteY658" fmla="*/ 4003593 h 5392467"/>
              <a:gd name="connsiteX659" fmla="*/ 5221183 w 6096001"/>
              <a:gd name="connsiteY659" fmla="*/ 4003593 h 5392467"/>
              <a:gd name="connsiteX660" fmla="*/ 5219248 w 6096001"/>
              <a:gd name="connsiteY660" fmla="*/ 4015198 h 5392467"/>
              <a:gd name="connsiteX661" fmla="*/ 5184434 w 6096001"/>
              <a:gd name="connsiteY661" fmla="*/ 4026803 h 5392467"/>
              <a:gd name="connsiteX662" fmla="*/ 5190235 w 6096001"/>
              <a:gd name="connsiteY662" fmla="*/ 4026803 h 5392467"/>
              <a:gd name="connsiteX663" fmla="*/ 5197974 w 6096001"/>
              <a:gd name="connsiteY663" fmla="*/ 4026803 h 5392467"/>
              <a:gd name="connsiteX664" fmla="*/ 5199907 w 6096001"/>
              <a:gd name="connsiteY664" fmla="*/ 4026803 h 5392467"/>
              <a:gd name="connsiteX665" fmla="*/ 5206097 w 6096001"/>
              <a:gd name="connsiteY665" fmla="*/ 4028350 h 5392467"/>
              <a:gd name="connsiteX666" fmla="*/ 5203775 w 6096001"/>
              <a:gd name="connsiteY666" fmla="*/ 4030671 h 5392467"/>
              <a:gd name="connsiteX667" fmla="*/ 5204792 w 6096001"/>
              <a:gd name="connsiteY667" fmla="*/ 4030875 h 5392467"/>
              <a:gd name="connsiteX668" fmla="*/ 5199907 w 6096001"/>
              <a:gd name="connsiteY668" fmla="*/ 4034539 h 5392467"/>
              <a:gd name="connsiteX669" fmla="*/ 5197974 w 6096001"/>
              <a:gd name="connsiteY669" fmla="*/ 4034539 h 5392467"/>
              <a:gd name="connsiteX670" fmla="*/ 5178633 w 6096001"/>
              <a:gd name="connsiteY670" fmla="*/ 4042276 h 5392467"/>
              <a:gd name="connsiteX671" fmla="*/ 5153488 w 6096001"/>
              <a:gd name="connsiteY671" fmla="*/ 4046144 h 5392467"/>
              <a:gd name="connsiteX672" fmla="*/ 5134149 w 6096001"/>
              <a:gd name="connsiteY672" fmla="*/ 4055814 h 5392467"/>
              <a:gd name="connsiteX673" fmla="*/ 5101268 w 6096001"/>
              <a:gd name="connsiteY673" fmla="*/ 4065483 h 5392467"/>
              <a:gd name="connsiteX674" fmla="*/ 5103200 w 6096001"/>
              <a:gd name="connsiteY674" fmla="*/ 4069354 h 5392467"/>
              <a:gd name="connsiteX675" fmla="*/ 5097399 w 6096001"/>
              <a:gd name="connsiteY675" fmla="*/ 4071287 h 5392467"/>
              <a:gd name="connsiteX676" fmla="*/ 5095466 w 6096001"/>
              <a:gd name="connsiteY676" fmla="*/ 4069354 h 5392467"/>
              <a:gd name="connsiteX677" fmla="*/ 5097399 w 6096001"/>
              <a:gd name="connsiteY677" fmla="*/ 4067418 h 5392467"/>
              <a:gd name="connsiteX678" fmla="*/ 5047114 w 6096001"/>
              <a:gd name="connsiteY678" fmla="*/ 4082891 h 5392467"/>
              <a:gd name="connsiteX679" fmla="*/ 5025838 w 6096001"/>
              <a:gd name="connsiteY679" fmla="*/ 4088693 h 5392467"/>
              <a:gd name="connsiteX680" fmla="*/ 5020037 w 6096001"/>
              <a:gd name="connsiteY680" fmla="*/ 4090628 h 5392467"/>
              <a:gd name="connsiteX681" fmla="*/ 5021969 w 6096001"/>
              <a:gd name="connsiteY681" fmla="*/ 4092561 h 5392467"/>
              <a:gd name="connsiteX682" fmla="*/ 5095466 w 6096001"/>
              <a:gd name="connsiteY682" fmla="*/ 4080959 h 5392467"/>
              <a:gd name="connsiteX683" fmla="*/ 5138017 w 6096001"/>
              <a:gd name="connsiteY683" fmla="*/ 4075155 h 5392467"/>
              <a:gd name="connsiteX684" fmla="*/ 5139950 w 6096001"/>
              <a:gd name="connsiteY684" fmla="*/ 4075155 h 5392467"/>
              <a:gd name="connsiteX685" fmla="*/ 5145751 w 6096001"/>
              <a:gd name="connsiteY685" fmla="*/ 4073222 h 5392467"/>
              <a:gd name="connsiteX686" fmla="*/ 5151555 w 6096001"/>
              <a:gd name="connsiteY686" fmla="*/ 4071287 h 5392467"/>
              <a:gd name="connsiteX687" fmla="*/ 5186369 w 6096001"/>
              <a:gd name="connsiteY687" fmla="*/ 4065483 h 5392467"/>
              <a:gd name="connsiteX688" fmla="*/ 5199907 w 6096001"/>
              <a:gd name="connsiteY688" fmla="*/ 4059682 h 5392467"/>
              <a:gd name="connsiteX689" fmla="*/ 5211512 w 6096001"/>
              <a:gd name="connsiteY689" fmla="*/ 4050013 h 5392467"/>
              <a:gd name="connsiteX690" fmla="*/ 5226985 w 6096001"/>
              <a:gd name="connsiteY690" fmla="*/ 4046144 h 5392467"/>
              <a:gd name="connsiteX691" fmla="*/ 5234721 w 6096001"/>
              <a:gd name="connsiteY691" fmla="*/ 4044209 h 5392467"/>
              <a:gd name="connsiteX692" fmla="*/ 5255995 w 6096001"/>
              <a:gd name="connsiteY692" fmla="*/ 4038408 h 5392467"/>
              <a:gd name="connsiteX693" fmla="*/ 5285008 w 6096001"/>
              <a:gd name="connsiteY693" fmla="*/ 4030671 h 5392467"/>
              <a:gd name="connsiteX694" fmla="*/ 5246326 w 6096001"/>
              <a:gd name="connsiteY694" fmla="*/ 4034539 h 5392467"/>
              <a:gd name="connsiteX695" fmla="*/ 5223116 w 6096001"/>
              <a:gd name="connsiteY695" fmla="*/ 4030671 h 5392467"/>
              <a:gd name="connsiteX696" fmla="*/ 5213445 w 6096001"/>
              <a:gd name="connsiteY696" fmla="*/ 4032604 h 5392467"/>
              <a:gd name="connsiteX697" fmla="*/ 5204792 w 6096001"/>
              <a:gd name="connsiteY697" fmla="*/ 4030875 h 5392467"/>
              <a:gd name="connsiteX698" fmla="*/ 5207643 w 6096001"/>
              <a:gd name="connsiteY698" fmla="*/ 4028736 h 5392467"/>
              <a:gd name="connsiteX699" fmla="*/ 5206097 w 6096001"/>
              <a:gd name="connsiteY699" fmla="*/ 4028350 h 5392467"/>
              <a:gd name="connsiteX700" fmla="*/ 5207643 w 6096001"/>
              <a:gd name="connsiteY700" fmla="*/ 4026803 h 5392467"/>
              <a:gd name="connsiteX701" fmla="*/ 5232786 w 6096001"/>
              <a:gd name="connsiteY701" fmla="*/ 4015198 h 5392467"/>
              <a:gd name="connsiteX702" fmla="*/ 5238589 w 6096001"/>
              <a:gd name="connsiteY702" fmla="*/ 4015198 h 5392467"/>
              <a:gd name="connsiteX703" fmla="*/ 5250194 w 6096001"/>
              <a:gd name="connsiteY703" fmla="*/ 4015198 h 5392467"/>
              <a:gd name="connsiteX704" fmla="*/ 5236654 w 6096001"/>
              <a:gd name="connsiteY704" fmla="*/ 4024868 h 5392467"/>
              <a:gd name="connsiteX705" fmla="*/ 5252127 w 6096001"/>
              <a:gd name="connsiteY705" fmla="*/ 4020999 h 5392467"/>
              <a:gd name="connsiteX706" fmla="*/ 5257931 w 6096001"/>
              <a:gd name="connsiteY706" fmla="*/ 4020999 h 5392467"/>
              <a:gd name="connsiteX707" fmla="*/ 5279205 w 6096001"/>
              <a:gd name="connsiteY707" fmla="*/ 4020999 h 5392467"/>
              <a:gd name="connsiteX708" fmla="*/ 5306283 w 6096001"/>
              <a:gd name="connsiteY708" fmla="*/ 4015198 h 5392467"/>
              <a:gd name="connsiteX709" fmla="*/ 5317887 w 6096001"/>
              <a:gd name="connsiteY709" fmla="*/ 4015198 h 5392467"/>
              <a:gd name="connsiteX710" fmla="*/ 5362371 w 6096001"/>
              <a:gd name="connsiteY710" fmla="*/ 4009395 h 5392467"/>
              <a:gd name="connsiteX711" fmla="*/ 5368175 w 6096001"/>
              <a:gd name="connsiteY711" fmla="*/ 3993922 h 5392467"/>
              <a:gd name="connsiteX712" fmla="*/ 5370108 w 6096001"/>
              <a:gd name="connsiteY712" fmla="*/ 3991989 h 5392467"/>
              <a:gd name="connsiteX713" fmla="*/ 5416527 w 6096001"/>
              <a:gd name="connsiteY713" fmla="*/ 3984252 h 5392467"/>
              <a:gd name="connsiteX714" fmla="*/ 5437803 w 6096001"/>
              <a:gd name="connsiteY714" fmla="*/ 3980384 h 5392467"/>
              <a:gd name="connsiteX715" fmla="*/ 5482287 w 6096001"/>
              <a:gd name="connsiteY715" fmla="*/ 3976516 h 5392467"/>
              <a:gd name="connsiteX716" fmla="*/ 5482287 w 6096001"/>
              <a:gd name="connsiteY716" fmla="*/ 3974583 h 5392467"/>
              <a:gd name="connsiteX717" fmla="*/ 5445537 w 6096001"/>
              <a:gd name="connsiteY717" fmla="*/ 3976516 h 5392467"/>
              <a:gd name="connsiteX718" fmla="*/ 5484220 w 6096001"/>
              <a:gd name="connsiteY718" fmla="*/ 3970714 h 5392467"/>
              <a:gd name="connsiteX719" fmla="*/ 5490021 w 6096001"/>
              <a:gd name="connsiteY719" fmla="*/ 3966846 h 5392467"/>
              <a:gd name="connsiteX720" fmla="*/ 5486155 w 6096001"/>
              <a:gd name="connsiteY720" fmla="*/ 3966846 h 5392467"/>
              <a:gd name="connsiteX721" fmla="*/ 5490021 w 6096001"/>
              <a:gd name="connsiteY721" fmla="*/ 3962978 h 5392467"/>
              <a:gd name="connsiteX722" fmla="*/ 5495825 w 6096001"/>
              <a:gd name="connsiteY722" fmla="*/ 3961043 h 5392467"/>
              <a:gd name="connsiteX723" fmla="*/ 5499693 w 6096001"/>
              <a:gd name="connsiteY723" fmla="*/ 3961043 h 5392467"/>
              <a:gd name="connsiteX724" fmla="*/ 5501628 w 6096001"/>
              <a:gd name="connsiteY724" fmla="*/ 3961043 h 5392467"/>
              <a:gd name="connsiteX725" fmla="*/ 5519034 w 6096001"/>
              <a:gd name="connsiteY725" fmla="*/ 3961043 h 5392467"/>
              <a:gd name="connsiteX726" fmla="*/ 5517099 w 6096001"/>
              <a:gd name="connsiteY726" fmla="*/ 3957174 h 5392467"/>
              <a:gd name="connsiteX727" fmla="*/ 5501628 w 6096001"/>
              <a:gd name="connsiteY727" fmla="*/ 3957174 h 5392467"/>
              <a:gd name="connsiteX728" fmla="*/ 5482287 w 6096001"/>
              <a:gd name="connsiteY728" fmla="*/ 3957174 h 5392467"/>
              <a:gd name="connsiteX729" fmla="*/ 5472615 w 6096001"/>
              <a:gd name="connsiteY729" fmla="*/ 3957174 h 5392467"/>
              <a:gd name="connsiteX730" fmla="*/ 5134149 w 6096001"/>
              <a:gd name="connsiteY730" fmla="*/ 3951373 h 5392467"/>
              <a:gd name="connsiteX731" fmla="*/ 5128345 w 6096001"/>
              <a:gd name="connsiteY731" fmla="*/ 3959110 h 5392467"/>
              <a:gd name="connsiteX732" fmla="*/ 5130281 w 6096001"/>
              <a:gd name="connsiteY732" fmla="*/ 3957174 h 5392467"/>
              <a:gd name="connsiteX733" fmla="*/ 5138017 w 6096001"/>
              <a:gd name="connsiteY733" fmla="*/ 3955241 h 5392467"/>
              <a:gd name="connsiteX734" fmla="*/ 5134149 w 6096001"/>
              <a:gd name="connsiteY734" fmla="*/ 3951373 h 5392467"/>
              <a:gd name="connsiteX735" fmla="*/ 5602201 w 6096001"/>
              <a:gd name="connsiteY735" fmla="*/ 3947505 h 5392467"/>
              <a:gd name="connsiteX736" fmla="*/ 5590596 w 6096001"/>
              <a:gd name="connsiteY736" fmla="*/ 3959110 h 5392467"/>
              <a:gd name="connsiteX737" fmla="*/ 5621542 w 6096001"/>
              <a:gd name="connsiteY737" fmla="*/ 3951373 h 5392467"/>
              <a:gd name="connsiteX738" fmla="*/ 5611872 w 6096001"/>
              <a:gd name="connsiteY738" fmla="*/ 3949438 h 5392467"/>
              <a:gd name="connsiteX739" fmla="*/ 5602201 w 6096001"/>
              <a:gd name="connsiteY739" fmla="*/ 3947505 h 5392467"/>
              <a:gd name="connsiteX740" fmla="*/ 5472615 w 6096001"/>
              <a:gd name="connsiteY740" fmla="*/ 3945570 h 5392467"/>
              <a:gd name="connsiteX741" fmla="*/ 5443604 w 6096001"/>
              <a:gd name="connsiteY741" fmla="*/ 3947505 h 5392467"/>
              <a:gd name="connsiteX742" fmla="*/ 5430064 w 6096001"/>
              <a:gd name="connsiteY742" fmla="*/ 3949438 h 5392467"/>
              <a:gd name="connsiteX743" fmla="*/ 5466814 w 6096001"/>
              <a:gd name="connsiteY743" fmla="*/ 3949438 h 5392467"/>
              <a:gd name="connsiteX744" fmla="*/ 5474551 w 6096001"/>
              <a:gd name="connsiteY744" fmla="*/ 3947505 h 5392467"/>
              <a:gd name="connsiteX745" fmla="*/ 5472615 w 6096001"/>
              <a:gd name="connsiteY745" fmla="*/ 3945570 h 5392467"/>
              <a:gd name="connsiteX746" fmla="*/ 5395252 w 6096001"/>
              <a:gd name="connsiteY746" fmla="*/ 3945570 h 5392467"/>
              <a:gd name="connsiteX747" fmla="*/ 5385581 w 6096001"/>
              <a:gd name="connsiteY747" fmla="*/ 3947505 h 5392467"/>
              <a:gd name="connsiteX748" fmla="*/ 5391384 w 6096001"/>
              <a:gd name="connsiteY748" fmla="*/ 3947505 h 5392467"/>
              <a:gd name="connsiteX749" fmla="*/ 5395252 w 6096001"/>
              <a:gd name="connsiteY749" fmla="*/ 3945570 h 5392467"/>
              <a:gd name="connsiteX750" fmla="*/ 5491956 w 6096001"/>
              <a:gd name="connsiteY750" fmla="*/ 3943637 h 5392467"/>
              <a:gd name="connsiteX751" fmla="*/ 5491956 w 6096001"/>
              <a:gd name="connsiteY751" fmla="*/ 3945570 h 5392467"/>
              <a:gd name="connsiteX752" fmla="*/ 5493889 w 6096001"/>
              <a:gd name="connsiteY752" fmla="*/ 3945570 h 5392467"/>
              <a:gd name="connsiteX753" fmla="*/ 5495825 w 6096001"/>
              <a:gd name="connsiteY753" fmla="*/ 3943637 h 5392467"/>
              <a:gd name="connsiteX754" fmla="*/ 5491956 w 6096001"/>
              <a:gd name="connsiteY754" fmla="*/ 3943637 h 5392467"/>
              <a:gd name="connsiteX755" fmla="*/ 5211512 w 6096001"/>
              <a:gd name="connsiteY755" fmla="*/ 3943637 h 5392467"/>
              <a:gd name="connsiteX756" fmla="*/ 5197974 w 6096001"/>
              <a:gd name="connsiteY756" fmla="*/ 3947505 h 5392467"/>
              <a:gd name="connsiteX757" fmla="*/ 5199907 w 6096001"/>
              <a:gd name="connsiteY757" fmla="*/ 3953306 h 5392467"/>
              <a:gd name="connsiteX758" fmla="*/ 5201842 w 6096001"/>
              <a:gd name="connsiteY758" fmla="*/ 3953306 h 5392467"/>
              <a:gd name="connsiteX759" fmla="*/ 5228918 w 6096001"/>
              <a:gd name="connsiteY759" fmla="*/ 3943637 h 5392467"/>
              <a:gd name="connsiteX760" fmla="*/ 5211512 w 6096001"/>
              <a:gd name="connsiteY760" fmla="*/ 3943637 h 5392467"/>
              <a:gd name="connsiteX761" fmla="*/ 5716313 w 6096001"/>
              <a:gd name="connsiteY761" fmla="*/ 3941701 h 5392467"/>
              <a:gd name="connsiteX762" fmla="*/ 5720181 w 6096001"/>
              <a:gd name="connsiteY762" fmla="*/ 3941701 h 5392467"/>
              <a:gd name="connsiteX763" fmla="*/ 5720181 w 6096001"/>
              <a:gd name="connsiteY763" fmla="*/ 3943637 h 5392467"/>
              <a:gd name="connsiteX764" fmla="*/ 5716313 w 6096001"/>
              <a:gd name="connsiteY764" fmla="*/ 3941701 h 5392467"/>
              <a:gd name="connsiteX765" fmla="*/ 5679566 w 6096001"/>
              <a:gd name="connsiteY765" fmla="*/ 3939768 h 5392467"/>
              <a:gd name="connsiteX766" fmla="*/ 5681499 w 6096001"/>
              <a:gd name="connsiteY766" fmla="*/ 3941701 h 5392467"/>
              <a:gd name="connsiteX767" fmla="*/ 5691168 w 6096001"/>
              <a:gd name="connsiteY767" fmla="*/ 3939768 h 5392467"/>
              <a:gd name="connsiteX768" fmla="*/ 5679566 w 6096001"/>
              <a:gd name="connsiteY768" fmla="*/ 3939768 h 5392467"/>
              <a:gd name="connsiteX769" fmla="*/ 5132214 w 6096001"/>
              <a:gd name="connsiteY769" fmla="*/ 3933965 h 5392467"/>
              <a:gd name="connsiteX770" fmla="*/ 5124477 w 6096001"/>
              <a:gd name="connsiteY770" fmla="*/ 3935900 h 5392467"/>
              <a:gd name="connsiteX771" fmla="*/ 5124475 w 6096001"/>
              <a:gd name="connsiteY771" fmla="*/ 3935900 h 5392467"/>
              <a:gd name="connsiteX772" fmla="*/ 5350766 w 6096001"/>
              <a:gd name="connsiteY772" fmla="*/ 3930097 h 5392467"/>
              <a:gd name="connsiteX773" fmla="*/ 5335293 w 6096001"/>
              <a:gd name="connsiteY773" fmla="*/ 3935900 h 5392467"/>
              <a:gd name="connsiteX774" fmla="*/ 5358503 w 6096001"/>
              <a:gd name="connsiteY774" fmla="*/ 3935900 h 5392467"/>
              <a:gd name="connsiteX775" fmla="*/ 5360438 w 6096001"/>
              <a:gd name="connsiteY775" fmla="*/ 3935900 h 5392467"/>
              <a:gd name="connsiteX776" fmla="*/ 5366239 w 6096001"/>
              <a:gd name="connsiteY776" fmla="*/ 3935900 h 5392467"/>
              <a:gd name="connsiteX777" fmla="*/ 5373976 w 6096001"/>
              <a:gd name="connsiteY777" fmla="*/ 3933965 h 5392467"/>
              <a:gd name="connsiteX778" fmla="*/ 5370108 w 6096001"/>
              <a:gd name="connsiteY778" fmla="*/ 3932032 h 5392467"/>
              <a:gd name="connsiteX779" fmla="*/ 5350766 w 6096001"/>
              <a:gd name="connsiteY779" fmla="*/ 3930097 h 5392467"/>
              <a:gd name="connsiteX780" fmla="*/ 5393317 w 6096001"/>
              <a:gd name="connsiteY780" fmla="*/ 3924295 h 5392467"/>
              <a:gd name="connsiteX781" fmla="*/ 5381712 w 6096001"/>
              <a:gd name="connsiteY781" fmla="*/ 3926228 h 5392467"/>
              <a:gd name="connsiteX782" fmla="*/ 5385581 w 6096001"/>
              <a:gd name="connsiteY782" fmla="*/ 3930097 h 5392467"/>
              <a:gd name="connsiteX783" fmla="*/ 5399121 w 6096001"/>
              <a:gd name="connsiteY783" fmla="*/ 3928164 h 5392467"/>
              <a:gd name="connsiteX784" fmla="*/ 5393317 w 6096001"/>
              <a:gd name="connsiteY784" fmla="*/ 3924295 h 5392467"/>
              <a:gd name="connsiteX785" fmla="*/ 5492736 w 6096001"/>
              <a:gd name="connsiteY785" fmla="*/ 3920206 h 5392467"/>
              <a:gd name="connsiteX786" fmla="*/ 5495825 w 6096001"/>
              <a:gd name="connsiteY786" fmla="*/ 3920427 h 5392467"/>
              <a:gd name="connsiteX787" fmla="*/ 5496049 w 6096001"/>
              <a:gd name="connsiteY787" fmla="*/ 3922450 h 5392467"/>
              <a:gd name="connsiteX788" fmla="*/ 5495825 w 6096001"/>
              <a:gd name="connsiteY788" fmla="*/ 3922360 h 5392467"/>
              <a:gd name="connsiteX789" fmla="*/ 5493889 w 6096001"/>
              <a:gd name="connsiteY789" fmla="*/ 3922360 h 5392467"/>
              <a:gd name="connsiteX790" fmla="*/ 5368175 w 6096001"/>
              <a:gd name="connsiteY790" fmla="*/ 3914624 h 5392467"/>
              <a:gd name="connsiteX791" fmla="*/ 5367745 w 6096001"/>
              <a:gd name="connsiteY791" fmla="*/ 3915053 h 5392467"/>
              <a:gd name="connsiteX792" fmla="*/ 5327559 w 6096001"/>
              <a:gd name="connsiteY792" fmla="*/ 3922360 h 5392467"/>
              <a:gd name="connsiteX793" fmla="*/ 5339162 w 6096001"/>
              <a:gd name="connsiteY793" fmla="*/ 3920427 h 5392467"/>
              <a:gd name="connsiteX794" fmla="*/ 5341097 w 6096001"/>
              <a:gd name="connsiteY794" fmla="*/ 3920427 h 5392467"/>
              <a:gd name="connsiteX795" fmla="*/ 5343030 w 6096001"/>
              <a:gd name="connsiteY795" fmla="*/ 3920427 h 5392467"/>
              <a:gd name="connsiteX796" fmla="*/ 5364306 w 6096001"/>
              <a:gd name="connsiteY796" fmla="*/ 3918492 h 5392467"/>
              <a:gd name="connsiteX797" fmla="*/ 5367745 w 6096001"/>
              <a:gd name="connsiteY797" fmla="*/ 3915053 h 5392467"/>
              <a:gd name="connsiteX798" fmla="*/ 5370108 w 6096001"/>
              <a:gd name="connsiteY798" fmla="*/ 3914624 h 5392467"/>
              <a:gd name="connsiteX799" fmla="*/ 5368175 w 6096001"/>
              <a:gd name="connsiteY799" fmla="*/ 3914624 h 5392467"/>
              <a:gd name="connsiteX800" fmla="*/ 5503561 w 6096001"/>
              <a:gd name="connsiteY800" fmla="*/ 3899153 h 5392467"/>
              <a:gd name="connsiteX801" fmla="*/ 5503561 w 6096001"/>
              <a:gd name="connsiteY801" fmla="*/ 3901086 h 5392467"/>
              <a:gd name="connsiteX802" fmla="*/ 5507430 w 6096001"/>
              <a:gd name="connsiteY802" fmla="*/ 3899153 h 5392467"/>
              <a:gd name="connsiteX803" fmla="*/ 5505497 w 6096001"/>
              <a:gd name="connsiteY803" fmla="*/ 3899153 h 5392467"/>
              <a:gd name="connsiteX804" fmla="*/ 5503561 w 6096001"/>
              <a:gd name="connsiteY804" fmla="*/ 3899153 h 5392467"/>
              <a:gd name="connsiteX805" fmla="*/ 5549980 w 6096001"/>
              <a:gd name="connsiteY805" fmla="*/ 3897218 h 5392467"/>
              <a:gd name="connsiteX806" fmla="*/ 5538376 w 6096001"/>
              <a:gd name="connsiteY806" fmla="*/ 3899153 h 5392467"/>
              <a:gd name="connsiteX807" fmla="*/ 5530639 w 6096001"/>
              <a:gd name="connsiteY807" fmla="*/ 3903019 h 5392467"/>
              <a:gd name="connsiteX808" fmla="*/ 5526771 w 6096001"/>
              <a:gd name="connsiteY808" fmla="*/ 3906887 h 5392467"/>
              <a:gd name="connsiteX809" fmla="*/ 5505497 w 6096001"/>
              <a:gd name="connsiteY809" fmla="*/ 3901086 h 5392467"/>
              <a:gd name="connsiteX810" fmla="*/ 5484220 w 6096001"/>
              <a:gd name="connsiteY810" fmla="*/ 3910755 h 5392467"/>
              <a:gd name="connsiteX811" fmla="*/ 5476483 w 6096001"/>
              <a:gd name="connsiteY811" fmla="*/ 3910755 h 5392467"/>
              <a:gd name="connsiteX812" fmla="*/ 5430064 w 6096001"/>
              <a:gd name="connsiteY812" fmla="*/ 3910755 h 5392467"/>
              <a:gd name="connsiteX813" fmla="*/ 5428131 w 6096001"/>
              <a:gd name="connsiteY813" fmla="*/ 3912691 h 5392467"/>
              <a:gd name="connsiteX814" fmla="*/ 5410723 w 6096001"/>
              <a:gd name="connsiteY814" fmla="*/ 3920427 h 5392467"/>
              <a:gd name="connsiteX815" fmla="*/ 5416527 w 6096001"/>
              <a:gd name="connsiteY815" fmla="*/ 3924295 h 5392467"/>
              <a:gd name="connsiteX816" fmla="*/ 5424263 w 6096001"/>
              <a:gd name="connsiteY816" fmla="*/ 3924295 h 5392467"/>
              <a:gd name="connsiteX817" fmla="*/ 5437803 w 6096001"/>
              <a:gd name="connsiteY817" fmla="*/ 3920427 h 5392467"/>
              <a:gd name="connsiteX818" fmla="*/ 5482287 w 6096001"/>
              <a:gd name="connsiteY818" fmla="*/ 3914624 h 5392467"/>
              <a:gd name="connsiteX819" fmla="*/ 5490264 w 6096001"/>
              <a:gd name="connsiteY819" fmla="*/ 3915592 h 5392467"/>
              <a:gd name="connsiteX820" fmla="*/ 5492736 w 6096001"/>
              <a:gd name="connsiteY820" fmla="*/ 3920206 h 5392467"/>
              <a:gd name="connsiteX821" fmla="*/ 5482287 w 6096001"/>
              <a:gd name="connsiteY821" fmla="*/ 3919460 h 5392467"/>
              <a:gd name="connsiteX822" fmla="*/ 5468747 w 6096001"/>
              <a:gd name="connsiteY822" fmla="*/ 3924295 h 5392467"/>
              <a:gd name="connsiteX823" fmla="*/ 5451341 w 6096001"/>
              <a:gd name="connsiteY823" fmla="*/ 3930097 h 5392467"/>
              <a:gd name="connsiteX824" fmla="*/ 5476483 w 6096001"/>
              <a:gd name="connsiteY824" fmla="*/ 3930097 h 5392467"/>
              <a:gd name="connsiteX825" fmla="*/ 5493889 w 6096001"/>
              <a:gd name="connsiteY825" fmla="*/ 3926228 h 5392467"/>
              <a:gd name="connsiteX826" fmla="*/ 5496308 w 6096001"/>
              <a:gd name="connsiteY826" fmla="*/ 3924778 h 5392467"/>
              <a:gd name="connsiteX827" fmla="*/ 5496049 w 6096001"/>
              <a:gd name="connsiteY827" fmla="*/ 3922450 h 5392467"/>
              <a:gd name="connsiteX828" fmla="*/ 5505497 w 6096001"/>
              <a:gd name="connsiteY828" fmla="*/ 3926228 h 5392467"/>
              <a:gd name="connsiteX829" fmla="*/ 5555781 w 6096001"/>
              <a:gd name="connsiteY829" fmla="*/ 3916559 h 5392467"/>
              <a:gd name="connsiteX830" fmla="*/ 5549980 w 6096001"/>
              <a:gd name="connsiteY830" fmla="*/ 3920427 h 5392467"/>
              <a:gd name="connsiteX831" fmla="*/ 5598332 w 6096001"/>
              <a:gd name="connsiteY831" fmla="*/ 3918492 h 5392467"/>
              <a:gd name="connsiteX832" fmla="*/ 5608002 w 6096001"/>
              <a:gd name="connsiteY832" fmla="*/ 3912691 h 5392467"/>
              <a:gd name="connsiteX833" fmla="*/ 5573190 w 6096001"/>
              <a:gd name="connsiteY833" fmla="*/ 3912691 h 5392467"/>
              <a:gd name="connsiteX834" fmla="*/ 5578991 w 6096001"/>
              <a:gd name="connsiteY834" fmla="*/ 3903019 h 5392467"/>
              <a:gd name="connsiteX835" fmla="*/ 5573190 w 6096001"/>
              <a:gd name="connsiteY835" fmla="*/ 3904954 h 5392467"/>
              <a:gd name="connsiteX836" fmla="*/ 5565453 w 6096001"/>
              <a:gd name="connsiteY836" fmla="*/ 3901086 h 5392467"/>
              <a:gd name="connsiteX837" fmla="*/ 5563518 w 6096001"/>
              <a:gd name="connsiteY837" fmla="*/ 3897218 h 5392467"/>
              <a:gd name="connsiteX838" fmla="*/ 5551913 w 6096001"/>
              <a:gd name="connsiteY838" fmla="*/ 3897218 h 5392467"/>
              <a:gd name="connsiteX839" fmla="*/ 5549980 w 6096001"/>
              <a:gd name="connsiteY839" fmla="*/ 3897218 h 5392467"/>
              <a:gd name="connsiteX840" fmla="*/ 5604133 w 6096001"/>
              <a:gd name="connsiteY840" fmla="*/ 3885613 h 5392467"/>
              <a:gd name="connsiteX841" fmla="*/ 5590596 w 6096001"/>
              <a:gd name="connsiteY841" fmla="*/ 3887548 h 5392467"/>
              <a:gd name="connsiteX842" fmla="*/ 5577056 w 6096001"/>
              <a:gd name="connsiteY842" fmla="*/ 3897218 h 5392467"/>
              <a:gd name="connsiteX843" fmla="*/ 5582859 w 6096001"/>
              <a:gd name="connsiteY843" fmla="*/ 3901086 h 5392467"/>
              <a:gd name="connsiteX844" fmla="*/ 5602201 w 6096001"/>
              <a:gd name="connsiteY844" fmla="*/ 3895282 h 5392467"/>
              <a:gd name="connsiteX845" fmla="*/ 5629278 w 6096001"/>
              <a:gd name="connsiteY845" fmla="*/ 3903019 h 5392467"/>
              <a:gd name="connsiteX846" fmla="*/ 5642816 w 6096001"/>
              <a:gd name="connsiteY846" fmla="*/ 3895282 h 5392467"/>
              <a:gd name="connsiteX847" fmla="*/ 5631211 w 6096001"/>
              <a:gd name="connsiteY847" fmla="*/ 3891414 h 5392467"/>
              <a:gd name="connsiteX848" fmla="*/ 5625410 w 6096001"/>
              <a:gd name="connsiteY848" fmla="*/ 3889481 h 5392467"/>
              <a:gd name="connsiteX849" fmla="*/ 5617674 w 6096001"/>
              <a:gd name="connsiteY849" fmla="*/ 3889481 h 5392467"/>
              <a:gd name="connsiteX850" fmla="*/ 5619607 w 6096001"/>
              <a:gd name="connsiteY850" fmla="*/ 3887548 h 5392467"/>
              <a:gd name="connsiteX851" fmla="*/ 5604133 w 6096001"/>
              <a:gd name="connsiteY851" fmla="*/ 3885613 h 5392467"/>
              <a:gd name="connsiteX852" fmla="*/ 5228918 w 6096001"/>
              <a:gd name="connsiteY852" fmla="*/ 3870140 h 5392467"/>
              <a:gd name="connsiteX853" fmla="*/ 5219248 w 6096001"/>
              <a:gd name="connsiteY853" fmla="*/ 3872075 h 5392467"/>
              <a:gd name="connsiteX854" fmla="*/ 5221183 w 6096001"/>
              <a:gd name="connsiteY854" fmla="*/ 3872075 h 5392467"/>
              <a:gd name="connsiteX855" fmla="*/ 5228918 w 6096001"/>
              <a:gd name="connsiteY855" fmla="*/ 3870140 h 5392467"/>
              <a:gd name="connsiteX856" fmla="*/ 5443604 w 6096001"/>
              <a:gd name="connsiteY856" fmla="*/ 3862403 h 5392467"/>
              <a:gd name="connsiteX857" fmla="*/ 5441669 w 6096001"/>
              <a:gd name="connsiteY857" fmla="*/ 3864339 h 5392467"/>
              <a:gd name="connsiteX858" fmla="*/ 5445537 w 6096001"/>
              <a:gd name="connsiteY858" fmla="*/ 3864339 h 5392467"/>
              <a:gd name="connsiteX859" fmla="*/ 5443604 w 6096001"/>
              <a:gd name="connsiteY859" fmla="*/ 3862403 h 5392467"/>
              <a:gd name="connsiteX860" fmla="*/ 5478177 w 6096001"/>
              <a:gd name="connsiteY860" fmla="*/ 3853701 h 5392467"/>
              <a:gd name="connsiteX861" fmla="*/ 5461010 w 6096001"/>
              <a:gd name="connsiteY861" fmla="*/ 3858535 h 5392467"/>
              <a:gd name="connsiteX862" fmla="*/ 5474551 w 6096001"/>
              <a:gd name="connsiteY862" fmla="*/ 3858535 h 5392467"/>
              <a:gd name="connsiteX863" fmla="*/ 5493889 w 6096001"/>
              <a:gd name="connsiteY863" fmla="*/ 3854667 h 5392467"/>
              <a:gd name="connsiteX864" fmla="*/ 5478177 w 6096001"/>
              <a:gd name="connsiteY864" fmla="*/ 3853701 h 5392467"/>
              <a:gd name="connsiteX865" fmla="*/ 5422328 w 6096001"/>
              <a:gd name="connsiteY865" fmla="*/ 3848866 h 5392467"/>
              <a:gd name="connsiteX866" fmla="*/ 5424263 w 6096001"/>
              <a:gd name="connsiteY866" fmla="*/ 3848866 h 5392467"/>
              <a:gd name="connsiteX867" fmla="*/ 5424263 w 6096001"/>
              <a:gd name="connsiteY867" fmla="*/ 3850798 h 5392467"/>
              <a:gd name="connsiteX868" fmla="*/ 5422328 w 6096001"/>
              <a:gd name="connsiteY868" fmla="*/ 3848866 h 5392467"/>
              <a:gd name="connsiteX869" fmla="*/ 5399121 w 6096001"/>
              <a:gd name="connsiteY869" fmla="*/ 3844997 h 5392467"/>
              <a:gd name="connsiteX870" fmla="*/ 5385581 w 6096001"/>
              <a:gd name="connsiteY870" fmla="*/ 3846930 h 5392467"/>
              <a:gd name="connsiteX871" fmla="*/ 5327559 w 6096001"/>
              <a:gd name="connsiteY871" fmla="*/ 3860470 h 5392467"/>
              <a:gd name="connsiteX872" fmla="*/ 5317887 w 6096001"/>
              <a:gd name="connsiteY872" fmla="*/ 3862403 h 5392467"/>
              <a:gd name="connsiteX873" fmla="*/ 5314019 w 6096001"/>
              <a:gd name="connsiteY873" fmla="*/ 3852734 h 5392467"/>
              <a:gd name="connsiteX874" fmla="*/ 5315952 w 6096001"/>
              <a:gd name="connsiteY874" fmla="*/ 3848866 h 5392467"/>
              <a:gd name="connsiteX875" fmla="*/ 5314019 w 6096001"/>
              <a:gd name="connsiteY875" fmla="*/ 3848866 h 5392467"/>
              <a:gd name="connsiteX876" fmla="*/ 5283073 w 6096001"/>
              <a:gd name="connsiteY876" fmla="*/ 3854667 h 5392467"/>
              <a:gd name="connsiteX877" fmla="*/ 5255995 w 6096001"/>
              <a:gd name="connsiteY877" fmla="*/ 3862403 h 5392467"/>
              <a:gd name="connsiteX878" fmla="*/ 5236654 w 6096001"/>
              <a:gd name="connsiteY878" fmla="*/ 3872075 h 5392467"/>
              <a:gd name="connsiteX879" fmla="*/ 5184434 w 6096001"/>
              <a:gd name="connsiteY879" fmla="*/ 3885613 h 5392467"/>
              <a:gd name="connsiteX880" fmla="*/ 5180566 w 6096001"/>
              <a:gd name="connsiteY880" fmla="*/ 3885613 h 5392467"/>
              <a:gd name="connsiteX881" fmla="*/ 5155423 w 6096001"/>
              <a:gd name="connsiteY881" fmla="*/ 3891414 h 5392467"/>
              <a:gd name="connsiteX882" fmla="*/ 5147687 w 6096001"/>
              <a:gd name="connsiteY882" fmla="*/ 3893349 h 5392467"/>
              <a:gd name="connsiteX883" fmla="*/ 5155423 w 6096001"/>
              <a:gd name="connsiteY883" fmla="*/ 3897218 h 5392467"/>
              <a:gd name="connsiteX884" fmla="*/ 5145751 w 6096001"/>
              <a:gd name="connsiteY884" fmla="*/ 3904954 h 5392467"/>
              <a:gd name="connsiteX885" fmla="*/ 5155423 w 6096001"/>
              <a:gd name="connsiteY885" fmla="*/ 3906887 h 5392467"/>
              <a:gd name="connsiteX886" fmla="*/ 5153488 w 6096001"/>
              <a:gd name="connsiteY886" fmla="*/ 3908822 h 5392467"/>
              <a:gd name="connsiteX887" fmla="*/ 5124477 w 6096001"/>
              <a:gd name="connsiteY887" fmla="*/ 3918492 h 5392467"/>
              <a:gd name="connsiteX888" fmla="*/ 5097399 w 6096001"/>
              <a:gd name="connsiteY888" fmla="*/ 3926228 h 5392467"/>
              <a:gd name="connsiteX889" fmla="*/ 5132214 w 6096001"/>
              <a:gd name="connsiteY889" fmla="*/ 3926228 h 5392467"/>
              <a:gd name="connsiteX890" fmla="*/ 5147687 w 6096001"/>
              <a:gd name="connsiteY890" fmla="*/ 3928164 h 5392467"/>
              <a:gd name="connsiteX891" fmla="*/ 5146929 w 6096001"/>
              <a:gd name="connsiteY891" fmla="*/ 3928488 h 5392467"/>
              <a:gd name="connsiteX892" fmla="*/ 5137774 w 6096001"/>
              <a:gd name="connsiteY892" fmla="*/ 3929131 h 5392467"/>
              <a:gd name="connsiteX893" fmla="*/ 5122542 w 6096001"/>
              <a:gd name="connsiteY893" fmla="*/ 3935900 h 5392467"/>
              <a:gd name="connsiteX894" fmla="*/ 5124475 w 6096001"/>
              <a:gd name="connsiteY894" fmla="*/ 3935900 h 5392467"/>
              <a:gd name="connsiteX895" fmla="*/ 5109004 w 6096001"/>
              <a:gd name="connsiteY895" fmla="*/ 3939768 h 5392467"/>
              <a:gd name="connsiteX896" fmla="*/ 5108290 w 6096001"/>
              <a:gd name="connsiteY896" fmla="*/ 3941911 h 5392467"/>
              <a:gd name="connsiteX897" fmla="*/ 5088581 w 6096001"/>
              <a:gd name="connsiteY897" fmla="*/ 3945339 h 5392467"/>
              <a:gd name="connsiteX898" fmla="*/ 5087730 w 6096001"/>
              <a:gd name="connsiteY898" fmla="*/ 3943637 h 5392467"/>
              <a:gd name="connsiteX899" fmla="*/ 5069255 w 6096001"/>
              <a:gd name="connsiteY899" fmla="*/ 3945483 h 5392467"/>
              <a:gd name="connsiteX900" fmla="*/ 5066453 w 6096001"/>
              <a:gd name="connsiteY900" fmla="*/ 3941701 h 5392467"/>
              <a:gd name="connsiteX901" fmla="*/ 5066453 w 6096001"/>
              <a:gd name="connsiteY901" fmla="*/ 3943637 h 5392467"/>
              <a:gd name="connsiteX902" fmla="*/ 5068389 w 6096001"/>
              <a:gd name="connsiteY902" fmla="*/ 3945570 h 5392467"/>
              <a:gd name="connsiteX903" fmla="*/ 5069255 w 6096001"/>
              <a:gd name="connsiteY903" fmla="*/ 3945483 h 5392467"/>
              <a:gd name="connsiteX904" fmla="*/ 5071290 w 6096001"/>
              <a:gd name="connsiteY904" fmla="*/ 3948230 h 5392467"/>
              <a:gd name="connsiteX905" fmla="*/ 5076125 w 6096001"/>
              <a:gd name="connsiteY905" fmla="*/ 3947505 h 5392467"/>
              <a:gd name="connsiteX906" fmla="*/ 5088581 w 6096001"/>
              <a:gd name="connsiteY906" fmla="*/ 3945339 h 5392467"/>
              <a:gd name="connsiteX907" fmla="*/ 5091598 w 6096001"/>
              <a:gd name="connsiteY907" fmla="*/ 3951373 h 5392467"/>
              <a:gd name="connsiteX908" fmla="*/ 5107071 w 6096001"/>
              <a:gd name="connsiteY908" fmla="*/ 3947505 h 5392467"/>
              <a:gd name="connsiteX909" fmla="*/ 5120609 w 6096001"/>
              <a:gd name="connsiteY909" fmla="*/ 3947505 h 5392467"/>
              <a:gd name="connsiteX910" fmla="*/ 5120609 w 6096001"/>
              <a:gd name="connsiteY910" fmla="*/ 3945570 h 5392467"/>
              <a:gd name="connsiteX911" fmla="*/ 5107071 w 6096001"/>
              <a:gd name="connsiteY911" fmla="*/ 3945570 h 5392467"/>
              <a:gd name="connsiteX912" fmla="*/ 5108290 w 6096001"/>
              <a:gd name="connsiteY912" fmla="*/ 3941911 h 5392467"/>
              <a:gd name="connsiteX913" fmla="*/ 5120609 w 6096001"/>
              <a:gd name="connsiteY913" fmla="*/ 3939768 h 5392467"/>
              <a:gd name="connsiteX914" fmla="*/ 5146929 w 6096001"/>
              <a:gd name="connsiteY914" fmla="*/ 3928488 h 5392467"/>
              <a:gd name="connsiteX915" fmla="*/ 5151555 w 6096001"/>
              <a:gd name="connsiteY915" fmla="*/ 3928164 h 5392467"/>
              <a:gd name="connsiteX916" fmla="*/ 5176697 w 6096001"/>
              <a:gd name="connsiteY916" fmla="*/ 3922360 h 5392467"/>
              <a:gd name="connsiteX917" fmla="*/ 5167028 w 6096001"/>
              <a:gd name="connsiteY917" fmla="*/ 3918492 h 5392467"/>
              <a:gd name="connsiteX918" fmla="*/ 5197974 w 6096001"/>
              <a:gd name="connsiteY918" fmla="*/ 3908822 h 5392467"/>
              <a:gd name="connsiteX919" fmla="*/ 5203775 w 6096001"/>
              <a:gd name="connsiteY919" fmla="*/ 3908822 h 5392467"/>
              <a:gd name="connsiteX920" fmla="*/ 5225052 w 6096001"/>
              <a:gd name="connsiteY920" fmla="*/ 3908822 h 5392467"/>
              <a:gd name="connsiteX921" fmla="*/ 5252127 w 6096001"/>
              <a:gd name="connsiteY921" fmla="*/ 3903019 h 5392467"/>
              <a:gd name="connsiteX922" fmla="*/ 5255995 w 6096001"/>
              <a:gd name="connsiteY922" fmla="*/ 3903019 h 5392467"/>
              <a:gd name="connsiteX923" fmla="*/ 5261799 w 6096001"/>
              <a:gd name="connsiteY923" fmla="*/ 3901086 h 5392467"/>
              <a:gd name="connsiteX924" fmla="*/ 5310151 w 6096001"/>
              <a:gd name="connsiteY924" fmla="*/ 3889481 h 5392467"/>
              <a:gd name="connsiteX925" fmla="*/ 5310151 w 6096001"/>
              <a:gd name="connsiteY925" fmla="*/ 3887548 h 5392467"/>
              <a:gd name="connsiteX926" fmla="*/ 5312086 w 6096001"/>
              <a:gd name="connsiteY926" fmla="*/ 3885613 h 5392467"/>
              <a:gd name="connsiteX927" fmla="*/ 5327559 w 6096001"/>
              <a:gd name="connsiteY927" fmla="*/ 3885613 h 5392467"/>
              <a:gd name="connsiteX928" fmla="*/ 5352702 w 6096001"/>
              <a:gd name="connsiteY928" fmla="*/ 3879812 h 5392467"/>
              <a:gd name="connsiteX929" fmla="*/ 5356570 w 6096001"/>
              <a:gd name="connsiteY929" fmla="*/ 3877876 h 5392467"/>
              <a:gd name="connsiteX930" fmla="*/ 5377844 w 6096001"/>
              <a:gd name="connsiteY930" fmla="*/ 3874008 h 5392467"/>
              <a:gd name="connsiteX931" fmla="*/ 5395252 w 6096001"/>
              <a:gd name="connsiteY931" fmla="*/ 3872075 h 5392467"/>
              <a:gd name="connsiteX932" fmla="*/ 5418462 w 6096001"/>
              <a:gd name="connsiteY932" fmla="*/ 3862403 h 5392467"/>
              <a:gd name="connsiteX933" fmla="*/ 5432000 w 6096001"/>
              <a:gd name="connsiteY933" fmla="*/ 3860470 h 5392467"/>
              <a:gd name="connsiteX934" fmla="*/ 5432000 w 6096001"/>
              <a:gd name="connsiteY934" fmla="*/ 3856602 h 5392467"/>
              <a:gd name="connsiteX935" fmla="*/ 5437803 w 6096001"/>
              <a:gd name="connsiteY935" fmla="*/ 3854667 h 5392467"/>
              <a:gd name="connsiteX936" fmla="*/ 5461010 w 6096001"/>
              <a:gd name="connsiteY936" fmla="*/ 3852734 h 5392467"/>
              <a:gd name="connsiteX937" fmla="*/ 5459078 w 6096001"/>
              <a:gd name="connsiteY937" fmla="*/ 3844997 h 5392467"/>
              <a:gd name="connsiteX938" fmla="*/ 5451341 w 6096001"/>
              <a:gd name="connsiteY938" fmla="*/ 3846930 h 5392467"/>
              <a:gd name="connsiteX939" fmla="*/ 5416527 w 6096001"/>
              <a:gd name="connsiteY939" fmla="*/ 3846930 h 5392467"/>
              <a:gd name="connsiteX940" fmla="*/ 5408790 w 6096001"/>
              <a:gd name="connsiteY940" fmla="*/ 3844997 h 5392467"/>
              <a:gd name="connsiteX941" fmla="*/ 5399121 w 6096001"/>
              <a:gd name="connsiteY941" fmla="*/ 3854667 h 5392467"/>
              <a:gd name="connsiteX942" fmla="*/ 5418462 w 6096001"/>
              <a:gd name="connsiteY942" fmla="*/ 3858535 h 5392467"/>
              <a:gd name="connsiteX943" fmla="*/ 5414594 w 6096001"/>
              <a:gd name="connsiteY943" fmla="*/ 3862403 h 5392467"/>
              <a:gd name="connsiteX944" fmla="*/ 5368175 w 6096001"/>
              <a:gd name="connsiteY944" fmla="*/ 3866272 h 5392467"/>
              <a:gd name="connsiteX945" fmla="*/ 5366239 w 6096001"/>
              <a:gd name="connsiteY945" fmla="*/ 3864339 h 5392467"/>
              <a:gd name="connsiteX946" fmla="*/ 5375911 w 6096001"/>
              <a:gd name="connsiteY946" fmla="*/ 3862403 h 5392467"/>
              <a:gd name="connsiteX947" fmla="*/ 5387514 w 6096001"/>
              <a:gd name="connsiteY947" fmla="*/ 3860470 h 5392467"/>
              <a:gd name="connsiteX948" fmla="*/ 5397185 w 6096001"/>
              <a:gd name="connsiteY948" fmla="*/ 3848866 h 5392467"/>
              <a:gd name="connsiteX949" fmla="*/ 5399121 w 6096001"/>
              <a:gd name="connsiteY949" fmla="*/ 3844997 h 5392467"/>
              <a:gd name="connsiteX950" fmla="*/ 5491956 w 6096001"/>
              <a:gd name="connsiteY950" fmla="*/ 3843062 h 5392467"/>
              <a:gd name="connsiteX951" fmla="*/ 5490021 w 6096001"/>
              <a:gd name="connsiteY951" fmla="*/ 3844997 h 5392467"/>
              <a:gd name="connsiteX952" fmla="*/ 5493889 w 6096001"/>
              <a:gd name="connsiteY952" fmla="*/ 3846930 h 5392467"/>
              <a:gd name="connsiteX953" fmla="*/ 5493889 w 6096001"/>
              <a:gd name="connsiteY953" fmla="*/ 3844997 h 5392467"/>
              <a:gd name="connsiteX954" fmla="*/ 5491956 w 6096001"/>
              <a:gd name="connsiteY954" fmla="*/ 3843062 h 5392467"/>
              <a:gd name="connsiteX955" fmla="*/ 5531847 w 6096001"/>
              <a:gd name="connsiteY955" fmla="*/ 3842579 h 5392467"/>
              <a:gd name="connsiteX956" fmla="*/ 5528704 w 6096001"/>
              <a:gd name="connsiteY956" fmla="*/ 3844997 h 5392467"/>
              <a:gd name="connsiteX957" fmla="*/ 5536440 w 6096001"/>
              <a:gd name="connsiteY957" fmla="*/ 3843062 h 5392467"/>
              <a:gd name="connsiteX958" fmla="*/ 5531847 w 6096001"/>
              <a:gd name="connsiteY958" fmla="*/ 3842579 h 5392467"/>
              <a:gd name="connsiteX959" fmla="*/ 5281140 w 6096001"/>
              <a:gd name="connsiteY959" fmla="*/ 3839194 h 5392467"/>
              <a:gd name="connsiteX960" fmla="*/ 5269535 w 6096001"/>
              <a:gd name="connsiteY960" fmla="*/ 3843062 h 5392467"/>
              <a:gd name="connsiteX961" fmla="*/ 5275337 w 6096001"/>
              <a:gd name="connsiteY961" fmla="*/ 3843062 h 5392467"/>
              <a:gd name="connsiteX962" fmla="*/ 5281140 w 6096001"/>
              <a:gd name="connsiteY962" fmla="*/ 3839194 h 5392467"/>
              <a:gd name="connsiteX963" fmla="*/ 5582859 w 6096001"/>
              <a:gd name="connsiteY963" fmla="*/ 3837261 h 5392467"/>
              <a:gd name="connsiteX964" fmla="*/ 5553849 w 6096001"/>
              <a:gd name="connsiteY964" fmla="*/ 3843062 h 5392467"/>
              <a:gd name="connsiteX965" fmla="*/ 5544177 w 6096001"/>
              <a:gd name="connsiteY965" fmla="*/ 3846930 h 5392467"/>
              <a:gd name="connsiteX966" fmla="*/ 5538376 w 6096001"/>
              <a:gd name="connsiteY966" fmla="*/ 3852734 h 5392467"/>
              <a:gd name="connsiteX967" fmla="*/ 5571255 w 6096001"/>
              <a:gd name="connsiteY967" fmla="*/ 3850798 h 5392467"/>
              <a:gd name="connsiteX968" fmla="*/ 5573190 w 6096001"/>
              <a:gd name="connsiteY968" fmla="*/ 3848866 h 5392467"/>
              <a:gd name="connsiteX969" fmla="*/ 5577056 w 6096001"/>
              <a:gd name="connsiteY969" fmla="*/ 3848866 h 5392467"/>
              <a:gd name="connsiteX970" fmla="*/ 5580924 w 6096001"/>
              <a:gd name="connsiteY970" fmla="*/ 3846930 h 5392467"/>
              <a:gd name="connsiteX971" fmla="*/ 5596397 w 6096001"/>
              <a:gd name="connsiteY971" fmla="*/ 3841129 h 5392467"/>
              <a:gd name="connsiteX972" fmla="*/ 5598332 w 6096001"/>
              <a:gd name="connsiteY972" fmla="*/ 3839194 h 5392467"/>
              <a:gd name="connsiteX973" fmla="*/ 5582859 w 6096001"/>
              <a:gd name="connsiteY973" fmla="*/ 3837261 h 5392467"/>
              <a:gd name="connsiteX974" fmla="*/ 5480352 w 6096001"/>
              <a:gd name="connsiteY974" fmla="*/ 3829524 h 5392467"/>
              <a:gd name="connsiteX975" fmla="*/ 5462946 w 6096001"/>
              <a:gd name="connsiteY975" fmla="*/ 3833393 h 5392467"/>
              <a:gd name="connsiteX976" fmla="*/ 5443604 w 6096001"/>
              <a:gd name="connsiteY976" fmla="*/ 3839194 h 5392467"/>
              <a:gd name="connsiteX977" fmla="*/ 5437803 w 6096001"/>
              <a:gd name="connsiteY977" fmla="*/ 3839194 h 5392467"/>
              <a:gd name="connsiteX978" fmla="*/ 5437803 w 6096001"/>
              <a:gd name="connsiteY978" fmla="*/ 3841129 h 5392467"/>
              <a:gd name="connsiteX979" fmla="*/ 5439736 w 6096001"/>
              <a:gd name="connsiteY979" fmla="*/ 3841129 h 5392467"/>
              <a:gd name="connsiteX980" fmla="*/ 5443604 w 6096001"/>
              <a:gd name="connsiteY980" fmla="*/ 3839194 h 5392467"/>
              <a:gd name="connsiteX981" fmla="*/ 5451341 w 6096001"/>
              <a:gd name="connsiteY981" fmla="*/ 3841129 h 5392467"/>
              <a:gd name="connsiteX982" fmla="*/ 5459078 w 6096001"/>
              <a:gd name="connsiteY982" fmla="*/ 3843062 h 5392467"/>
              <a:gd name="connsiteX983" fmla="*/ 5464879 w 6096001"/>
              <a:gd name="connsiteY983" fmla="*/ 3837261 h 5392467"/>
              <a:gd name="connsiteX984" fmla="*/ 5470680 w 6096001"/>
              <a:gd name="connsiteY984" fmla="*/ 3837261 h 5392467"/>
              <a:gd name="connsiteX985" fmla="*/ 5472615 w 6096001"/>
              <a:gd name="connsiteY985" fmla="*/ 3835325 h 5392467"/>
              <a:gd name="connsiteX986" fmla="*/ 5480352 w 6096001"/>
              <a:gd name="connsiteY986" fmla="*/ 3829524 h 5392467"/>
              <a:gd name="connsiteX987" fmla="*/ 5517099 w 6096001"/>
              <a:gd name="connsiteY987" fmla="*/ 3827589 h 5392467"/>
              <a:gd name="connsiteX988" fmla="*/ 5488088 w 6096001"/>
              <a:gd name="connsiteY988" fmla="*/ 3829524 h 5392467"/>
              <a:gd name="connsiteX989" fmla="*/ 5491956 w 6096001"/>
              <a:gd name="connsiteY989" fmla="*/ 3835325 h 5392467"/>
              <a:gd name="connsiteX990" fmla="*/ 5555781 w 6096001"/>
              <a:gd name="connsiteY990" fmla="*/ 3833393 h 5392467"/>
              <a:gd name="connsiteX991" fmla="*/ 5534507 w 6096001"/>
              <a:gd name="connsiteY991" fmla="*/ 3829524 h 5392467"/>
              <a:gd name="connsiteX992" fmla="*/ 5517099 w 6096001"/>
              <a:gd name="connsiteY992" fmla="*/ 3827589 h 5392467"/>
              <a:gd name="connsiteX993" fmla="*/ 5613805 w 6096001"/>
              <a:gd name="connsiteY993" fmla="*/ 3825656 h 5392467"/>
              <a:gd name="connsiteX994" fmla="*/ 5606069 w 6096001"/>
              <a:gd name="connsiteY994" fmla="*/ 3829524 h 5392467"/>
              <a:gd name="connsiteX995" fmla="*/ 5611872 w 6096001"/>
              <a:gd name="connsiteY995" fmla="*/ 3831457 h 5392467"/>
              <a:gd name="connsiteX996" fmla="*/ 5613805 w 6096001"/>
              <a:gd name="connsiteY996" fmla="*/ 3831457 h 5392467"/>
              <a:gd name="connsiteX997" fmla="*/ 5625410 w 6096001"/>
              <a:gd name="connsiteY997" fmla="*/ 3825656 h 5392467"/>
              <a:gd name="connsiteX998" fmla="*/ 5613805 w 6096001"/>
              <a:gd name="connsiteY998" fmla="*/ 3825656 h 5392467"/>
              <a:gd name="connsiteX999" fmla="*/ 5756928 w 6096001"/>
              <a:gd name="connsiteY999" fmla="*/ 3815984 h 5392467"/>
              <a:gd name="connsiteX1000" fmla="*/ 5756928 w 6096001"/>
              <a:gd name="connsiteY1000" fmla="*/ 3817919 h 5392467"/>
              <a:gd name="connsiteX1001" fmla="*/ 5762732 w 6096001"/>
              <a:gd name="connsiteY1001" fmla="*/ 3815984 h 5392467"/>
              <a:gd name="connsiteX1002" fmla="*/ 5756928 w 6096001"/>
              <a:gd name="connsiteY1002" fmla="*/ 3815984 h 5392467"/>
              <a:gd name="connsiteX1003" fmla="*/ 5548045 w 6096001"/>
              <a:gd name="connsiteY1003" fmla="*/ 3812118 h 5392467"/>
              <a:gd name="connsiteX1004" fmla="*/ 5549980 w 6096001"/>
              <a:gd name="connsiteY1004" fmla="*/ 3814051 h 5392467"/>
              <a:gd name="connsiteX1005" fmla="*/ 5551913 w 6096001"/>
              <a:gd name="connsiteY1005" fmla="*/ 3812118 h 5392467"/>
              <a:gd name="connsiteX1006" fmla="*/ 5549980 w 6096001"/>
              <a:gd name="connsiteY1006" fmla="*/ 3812118 h 5392467"/>
              <a:gd name="connsiteX1007" fmla="*/ 5548045 w 6096001"/>
              <a:gd name="connsiteY1007" fmla="*/ 3812118 h 5392467"/>
              <a:gd name="connsiteX1008" fmla="*/ 5503561 w 6096001"/>
              <a:gd name="connsiteY1008" fmla="*/ 3798578 h 5392467"/>
              <a:gd name="connsiteX1009" fmla="*/ 5495825 w 6096001"/>
              <a:gd name="connsiteY1009" fmla="*/ 3800514 h 5392467"/>
              <a:gd name="connsiteX1010" fmla="*/ 5422328 w 6096001"/>
              <a:gd name="connsiteY1010" fmla="*/ 3812118 h 5392467"/>
              <a:gd name="connsiteX1011" fmla="*/ 5377844 w 6096001"/>
              <a:gd name="connsiteY1011" fmla="*/ 3821788 h 5392467"/>
              <a:gd name="connsiteX1012" fmla="*/ 5375911 w 6096001"/>
              <a:gd name="connsiteY1012" fmla="*/ 3823721 h 5392467"/>
              <a:gd name="connsiteX1013" fmla="*/ 5354635 w 6096001"/>
              <a:gd name="connsiteY1013" fmla="*/ 3825656 h 5392467"/>
              <a:gd name="connsiteX1014" fmla="*/ 5343030 w 6096001"/>
              <a:gd name="connsiteY1014" fmla="*/ 3825656 h 5392467"/>
              <a:gd name="connsiteX1015" fmla="*/ 5331427 w 6096001"/>
              <a:gd name="connsiteY1015" fmla="*/ 3823721 h 5392467"/>
              <a:gd name="connsiteX1016" fmla="*/ 5331427 w 6096001"/>
              <a:gd name="connsiteY1016" fmla="*/ 3827589 h 5392467"/>
              <a:gd name="connsiteX1017" fmla="*/ 5317887 w 6096001"/>
              <a:gd name="connsiteY1017" fmla="*/ 3825656 h 5392467"/>
              <a:gd name="connsiteX1018" fmla="*/ 5306283 w 6096001"/>
              <a:gd name="connsiteY1018" fmla="*/ 3829524 h 5392467"/>
              <a:gd name="connsiteX1019" fmla="*/ 5308218 w 6096001"/>
              <a:gd name="connsiteY1019" fmla="*/ 3833393 h 5392467"/>
              <a:gd name="connsiteX1020" fmla="*/ 5296611 w 6096001"/>
              <a:gd name="connsiteY1020" fmla="*/ 3835325 h 5392467"/>
              <a:gd name="connsiteX1021" fmla="*/ 5288877 w 6096001"/>
              <a:gd name="connsiteY1021" fmla="*/ 3843062 h 5392467"/>
              <a:gd name="connsiteX1022" fmla="*/ 5341097 w 6096001"/>
              <a:gd name="connsiteY1022" fmla="*/ 3839194 h 5392467"/>
              <a:gd name="connsiteX1023" fmla="*/ 5344965 w 6096001"/>
              <a:gd name="connsiteY1023" fmla="*/ 3839194 h 5392467"/>
              <a:gd name="connsiteX1024" fmla="*/ 5362371 w 6096001"/>
              <a:gd name="connsiteY1024" fmla="*/ 3831457 h 5392467"/>
              <a:gd name="connsiteX1025" fmla="*/ 5368175 w 6096001"/>
              <a:gd name="connsiteY1025" fmla="*/ 3831457 h 5392467"/>
              <a:gd name="connsiteX1026" fmla="*/ 5422328 w 6096001"/>
              <a:gd name="connsiteY1026" fmla="*/ 3823721 h 5392467"/>
              <a:gd name="connsiteX1027" fmla="*/ 5468747 w 6096001"/>
              <a:gd name="connsiteY1027" fmla="*/ 3815984 h 5392467"/>
              <a:gd name="connsiteX1028" fmla="*/ 5503561 w 6096001"/>
              <a:gd name="connsiteY1028" fmla="*/ 3798578 h 5392467"/>
              <a:gd name="connsiteX1029" fmla="*/ 5410723 w 6096001"/>
              <a:gd name="connsiteY1029" fmla="*/ 3794710 h 5392467"/>
              <a:gd name="connsiteX1030" fmla="*/ 5395252 w 6096001"/>
              <a:gd name="connsiteY1030" fmla="*/ 3796643 h 5392467"/>
              <a:gd name="connsiteX1031" fmla="*/ 5399121 w 6096001"/>
              <a:gd name="connsiteY1031" fmla="*/ 3796643 h 5392467"/>
              <a:gd name="connsiteX1032" fmla="*/ 5401054 w 6096001"/>
              <a:gd name="connsiteY1032" fmla="*/ 3796643 h 5392467"/>
              <a:gd name="connsiteX1033" fmla="*/ 5410723 w 6096001"/>
              <a:gd name="connsiteY1033" fmla="*/ 3794710 h 5392467"/>
              <a:gd name="connsiteX1034" fmla="*/ 5420395 w 6096001"/>
              <a:gd name="connsiteY1034" fmla="*/ 3786973 h 5392467"/>
              <a:gd name="connsiteX1035" fmla="*/ 5408790 w 6096001"/>
              <a:gd name="connsiteY1035" fmla="*/ 3790842 h 5392467"/>
              <a:gd name="connsiteX1036" fmla="*/ 5414594 w 6096001"/>
              <a:gd name="connsiteY1036" fmla="*/ 3794710 h 5392467"/>
              <a:gd name="connsiteX1037" fmla="*/ 5420395 w 6096001"/>
              <a:gd name="connsiteY1037" fmla="*/ 3786973 h 5392467"/>
              <a:gd name="connsiteX1038" fmla="*/ 5542244 w 6096001"/>
              <a:gd name="connsiteY1038" fmla="*/ 3752159 h 5392467"/>
              <a:gd name="connsiteX1039" fmla="*/ 5484220 w 6096001"/>
              <a:gd name="connsiteY1039" fmla="*/ 3761831 h 5392467"/>
              <a:gd name="connsiteX1040" fmla="*/ 5472615 w 6096001"/>
              <a:gd name="connsiteY1040" fmla="*/ 3763764 h 5392467"/>
              <a:gd name="connsiteX1041" fmla="*/ 5395252 w 6096001"/>
              <a:gd name="connsiteY1041" fmla="*/ 3775369 h 5392467"/>
              <a:gd name="connsiteX1042" fmla="*/ 5379779 w 6096001"/>
              <a:gd name="connsiteY1042" fmla="*/ 3783105 h 5392467"/>
              <a:gd name="connsiteX1043" fmla="*/ 5424263 w 6096001"/>
              <a:gd name="connsiteY1043" fmla="*/ 3779237 h 5392467"/>
              <a:gd name="connsiteX1044" fmla="*/ 5447473 w 6096001"/>
              <a:gd name="connsiteY1044" fmla="*/ 3773436 h 5392467"/>
              <a:gd name="connsiteX1045" fmla="*/ 5509362 w 6096001"/>
              <a:gd name="connsiteY1045" fmla="*/ 3769567 h 5392467"/>
              <a:gd name="connsiteX1046" fmla="*/ 5511298 w 6096001"/>
              <a:gd name="connsiteY1046" fmla="*/ 3769567 h 5392467"/>
              <a:gd name="connsiteX1047" fmla="*/ 5555781 w 6096001"/>
              <a:gd name="connsiteY1047" fmla="*/ 3765699 h 5392467"/>
              <a:gd name="connsiteX1048" fmla="*/ 5557714 w 6096001"/>
              <a:gd name="connsiteY1048" fmla="*/ 3765699 h 5392467"/>
              <a:gd name="connsiteX1049" fmla="*/ 5580924 w 6096001"/>
              <a:gd name="connsiteY1049" fmla="*/ 3757963 h 5392467"/>
              <a:gd name="connsiteX1050" fmla="*/ 5584795 w 6096001"/>
              <a:gd name="connsiteY1050" fmla="*/ 3756027 h 5392467"/>
              <a:gd name="connsiteX1051" fmla="*/ 5542244 w 6096001"/>
              <a:gd name="connsiteY1051" fmla="*/ 3752159 h 5392467"/>
              <a:gd name="connsiteX1052" fmla="*/ 5453274 w 6096001"/>
              <a:gd name="connsiteY1052" fmla="*/ 3744423 h 5392467"/>
              <a:gd name="connsiteX1053" fmla="*/ 5435868 w 6096001"/>
              <a:gd name="connsiteY1053" fmla="*/ 3748291 h 5392467"/>
              <a:gd name="connsiteX1054" fmla="*/ 5443604 w 6096001"/>
              <a:gd name="connsiteY1054" fmla="*/ 3746358 h 5392467"/>
              <a:gd name="connsiteX1055" fmla="*/ 5453274 w 6096001"/>
              <a:gd name="connsiteY1055" fmla="*/ 3748291 h 5392467"/>
              <a:gd name="connsiteX1056" fmla="*/ 5453274 w 6096001"/>
              <a:gd name="connsiteY1056" fmla="*/ 3744423 h 5392467"/>
              <a:gd name="connsiteX1057" fmla="*/ 5457142 w 6096001"/>
              <a:gd name="connsiteY1057" fmla="*/ 3727017 h 5392467"/>
              <a:gd name="connsiteX1058" fmla="*/ 5435868 w 6096001"/>
              <a:gd name="connsiteY1058" fmla="*/ 3732818 h 5392467"/>
              <a:gd name="connsiteX1059" fmla="*/ 5418462 w 6096001"/>
              <a:gd name="connsiteY1059" fmla="*/ 3736686 h 5392467"/>
              <a:gd name="connsiteX1060" fmla="*/ 5393317 w 6096001"/>
              <a:gd name="connsiteY1060" fmla="*/ 3744423 h 5392467"/>
              <a:gd name="connsiteX1061" fmla="*/ 5406855 w 6096001"/>
              <a:gd name="connsiteY1061" fmla="*/ 3744423 h 5392467"/>
              <a:gd name="connsiteX1062" fmla="*/ 5433933 w 6096001"/>
              <a:gd name="connsiteY1062" fmla="*/ 3742490 h 5392467"/>
              <a:gd name="connsiteX1063" fmla="*/ 5435868 w 6096001"/>
              <a:gd name="connsiteY1063" fmla="*/ 3742490 h 5392467"/>
              <a:gd name="connsiteX1064" fmla="*/ 5439736 w 6096001"/>
              <a:gd name="connsiteY1064" fmla="*/ 3738621 h 5392467"/>
              <a:gd name="connsiteX1065" fmla="*/ 5470680 w 6096001"/>
              <a:gd name="connsiteY1065" fmla="*/ 3730885 h 5392467"/>
              <a:gd name="connsiteX1066" fmla="*/ 5470680 w 6096001"/>
              <a:gd name="connsiteY1066" fmla="*/ 3728950 h 5392467"/>
              <a:gd name="connsiteX1067" fmla="*/ 5466814 w 6096001"/>
              <a:gd name="connsiteY1067" fmla="*/ 3727017 h 5392467"/>
              <a:gd name="connsiteX1068" fmla="*/ 5457142 w 6096001"/>
              <a:gd name="connsiteY1068" fmla="*/ 3727017 h 5392467"/>
              <a:gd name="connsiteX1069" fmla="*/ 5511298 w 6096001"/>
              <a:gd name="connsiteY1069" fmla="*/ 3651587 h 5392467"/>
              <a:gd name="connsiteX1070" fmla="*/ 5511298 w 6096001"/>
              <a:gd name="connsiteY1070" fmla="*/ 3655455 h 5392467"/>
              <a:gd name="connsiteX1071" fmla="*/ 5513231 w 6096001"/>
              <a:gd name="connsiteY1071" fmla="*/ 3655455 h 5392467"/>
              <a:gd name="connsiteX1072" fmla="*/ 5515166 w 6096001"/>
              <a:gd name="connsiteY1072" fmla="*/ 3651587 h 5392467"/>
              <a:gd name="connsiteX1073" fmla="*/ 5511298 w 6096001"/>
              <a:gd name="connsiteY1073" fmla="*/ 3651587 h 5392467"/>
              <a:gd name="connsiteX1074" fmla="*/ 5627343 w 6096001"/>
              <a:gd name="connsiteY1074" fmla="*/ 3614840 h 5392467"/>
              <a:gd name="connsiteX1075" fmla="*/ 5642816 w 6096001"/>
              <a:gd name="connsiteY1075" fmla="*/ 3614840 h 5392467"/>
              <a:gd name="connsiteX1076" fmla="*/ 5633147 w 6096001"/>
              <a:gd name="connsiteY1076" fmla="*/ 3614840 h 5392467"/>
              <a:gd name="connsiteX1077" fmla="*/ 5631211 w 6096001"/>
              <a:gd name="connsiteY1077" fmla="*/ 3614840 h 5392467"/>
              <a:gd name="connsiteX1078" fmla="*/ 5627343 w 6096001"/>
              <a:gd name="connsiteY1078" fmla="*/ 3614840 h 5392467"/>
              <a:gd name="connsiteX1079" fmla="*/ 5967745 w 6096001"/>
              <a:gd name="connsiteY1079" fmla="*/ 3345999 h 5392467"/>
              <a:gd name="connsiteX1080" fmla="*/ 5967745 w 6096001"/>
              <a:gd name="connsiteY1080" fmla="*/ 3347932 h 5392467"/>
              <a:gd name="connsiteX1081" fmla="*/ 5965812 w 6096001"/>
              <a:gd name="connsiteY1081" fmla="*/ 3353733 h 5392467"/>
              <a:gd name="connsiteX1082" fmla="*/ 5963876 w 6096001"/>
              <a:gd name="connsiteY1082" fmla="*/ 3347932 h 5392467"/>
              <a:gd name="connsiteX1083" fmla="*/ 5967745 w 6096001"/>
              <a:gd name="connsiteY1083" fmla="*/ 3345999 h 5392467"/>
              <a:gd name="connsiteX1084" fmla="*/ 5910690 w 6096001"/>
              <a:gd name="connsiteY1084" fmla="*/ 3319888 h 5392467"/>
              <a:gd name="connsiteX1085" fmla="*/ 5905855 w 6096001"/>
              <a:gd name="connsiteY1085" fmla="*/ 3324723 h 5392467"/>
              <a:gd name="connsiteX1086" fmla="*/ 5915524 w 6096001"/>
              <a:gd name="connsiteY1086" fmla="*/ 3320855 h 5392467"/>
              <a:gd name="connsiteX1087" fmla="*/ 5910690 w 6096001"/>
              <a:gd name="connsiteY1087" fmla="*/ 3319888 h 5392467"/>
              <a:gd name="connsiteX1088" fmla="*/ 5942844 w 6096001"/>
              <a:gd name="connsiteY1088" fmla="*/ 3319163 h 5392467"/>
              <a:gd name="connsiteX1089" fmla="*/ 5919393 w 6096001"/>
              <a:gd name="connsiteY1089" fmla="*/ 3324723 h 5392467"/>
              <a:gd name="connsiteX1090" fmla="*/ 5932933 w 6096001"/>
              <a:gd name="connsiteY1090" fmla="*/ 3326658 h 5392467"/>
              <a:gd name="connsiteX1091" fmla="*/ 5948403 w 6096001"/>
              <a:gd name="connsiteY1091" fmla="*/ 3326658 h 5392467"/>
              <a:gd name="connsiteX1092" fmla="*/ 5961943 w 6096001"/>
              <a:gd name="connsiteY1092" fmla="*/ 3320855 h 5392467"/>
              <a:gd name="connsiteX1093" fmla="*/ 5942844 w 6096001"/>
              <a:gd name="connsiteY1093" fmla="*/ 3319163 h 5392467"/>
              <a:gd name="connsiteX1094" fmla="*/ 5938734 w 6096001"/>
              <a:gd name="connsiteY1094" fmla="*/ 3305381 h 5392467"/>
              <a:gd name="connsiteX1095" fmla="*/ 5936801 w 6096001"/>
              <a:gd name="connsiteY1095" fmla="*/ 3309250 h 5392467"/>
              <a:gd name="connsiteX1096" fmla="*/ 5938734 w 6096001"/>
              <a:gd name="connsiteY1096" fmla="*/ 3313118 h 5392467"/>
              <a:gd name="connsiteX1097" fmla="*/ 5940669 w 6096001"/>
              <a:gd name="connsiteY1097" fmla="*/ 3307317 h 5392467"/>
              <a:gd name="connsiteX1098" fmla="*/ 5938734 w 6096001"/>
              <a:gd name="connsiteY1098" fmla="*/ 3305381 h 5392467"/>
              <a:gd name="connsiteX1099" fmla="*/ 5718246 w 6096001"/>
              <a:gd name="connsiteY1099" fmla="*/ 3301513 h 5392467"/>
              <a:gd name="connsiteX1100" fmla="*/ 5710509 w 6096001"/>
              <a:gd name="connsiteY1100" fmla="*/ 3305381 h 5392467"/>
              <a:gd name="connsiteX1101" fmla="*/ 5720181 w 6096001"/>
              <a:gd name="connsiteY1101" fmla="*/ 3305381 h 5392467"/>
              <a:gd name="connsiteX1102" fmla="*/ 5718246 w 6096001"/>
              <a:gd name="connsiteY1102" fmla="*/ 3301513 h 5392467"/>
              <a:gd name="connsiteX1103" fmla="*/ 5954207 w 6096001"/>
              <a:gd name="connsiteY1103" fmla="*/ 3299580 h 5392467"/>
              <a:gd name="connsiteX1104" fmla="*/ 5946470 w 6096001"/>
              <a:gd name="connsiteY1104" fmla="*/ 3301513 h 5392467"/>
              <a:gd name="connsiteX1105" fmla="*/ 5946470 w 6096001"/>
              <a:gd name="connsiteY1105" fmla="*/ 3303448 h 5392467"/>
              <a:gd name="connsiteX1106" fmla="*/ 5954207 w 6096001"/>
              <a:gd name="connsiteY1106" fmla="*/ 3303448 h 5392467"/>
              <a:gd name="connsiteX1107" fmla="*/ 5954207 w 6096001"/>
              <a:gd name="connsiteY1107" fmla="*/ 3299580 h 5392467"/>
              <a:gd name="connsiteX1108" fmla="*/ 5830425 w 6096001"/>
              <a:gd name="connsiteY1108" fmla="*/ 3295712 h 5392467"/>
              <a:gd name="connsiteX1109" fmla="*/ 5826557 w 6096001"/>
              <a:gd name="connsiteY1109" fmla="*/ 3299580 h 5392467"/>
              <a:gd name="connsiteX1110" fmla="*/ 5828490 w 6096001"/>
              <a:gd name="connsiteY1110" fmla="*/ 3301513 h 5392467"/>
              <a:gd name="connsiteX1111" fmla="*/ 5832358 w 6096001"/>
              <a:gd name="connsiteY1111" fmla="*/ 3297645 h 5392467"/>
              <a:gd name="connsiteX1112" fmla="*/ 5830425 w 6096001"/>
              <a:gd name="connsiteY1112" fmla="*/ 3295712 h 5392467"/>
              <a:gd name="connsiteX1113" fmla="*/ 5911656 w 6096001"/>
              <a:gd name="connsiteY1113" fmla="*/ 3266699 h 5392467"/>
              <a:gd name="connsiteX1114" fmla="*/ 5911656 w 6096001"/>
              <a:gd name="connsiteY1114" fmla="*/ 3270570 h 5392467"/>
              <a:gd name="connsiteX1115" fmla="*/ 5919393 w 6096001"/>
              <a:gd name="connsiteY1115" fmla="*/ 3266699 h 5392467"/>
              <a:gd name="connsiteX1116" fmla="*/ 5911656 w 6096001"/>
              <a:gd name="connsiteY1116" fmla="*/ 3266699 h 5392467"/>
              <a:gd name="connsiteX1117" fmla="*/ 5822689 w 6096001"/>
              <a:gd name="connsiteY1117" fmla="*/ 3266699 h 5392467"/>
              <a:gd name="connsiteX1118" fmla="*/ 5822689 w 6096001"/>
              <a:gd name="connsiteY1118" fmla="*/ 3270570 h 5392467"/>
              <a:gd name="connsiteX1119" fmla="*/ 5828490 w 6096001"/>
              <a:gd name="connsiteY1119" fmla="*/ 3270570 h 5392467"/>
              <a:gd name="connsiteX1120" fmla="*/ 5828490 w 6096001"/>
              <a:gd name="connsiteY1120" fmla="*/ 3266699 h 5392467"/>
              <a:gd name="connsiteX1121" fmla="*/ 5822689 w 6096001"/>
              <a:gd name="connsiteY1121" fmla="*/ 3266699 h 5392467"/>
              <a:gd name="connsiteX1122" fmla="*/ 5843963 w 6096001"/>
              <a:gd name="connsiteY1122" fmla="*/ 3255094 h 5392467"/>
              <a:gd name="connsiteX1123" fmla="*/ 5830425 w 6096001"/>
              <a:gd name="connsiteY1123" fmla="*/ 3260898 h 5392467"/>
              <a:gd name="connsiteX1124" fmla="*/ 5830425 w 6096001"/>
              <a:gd name="connsiteY1124" fmla="*/ 3264766 h 5392467"/>
              <a:gd name="connsiteX1125" fmla="*/ 5843963 w 6096001"/>
              <a:gd name="connsiteY1125" fmla="*/ 3264766 h 5392467"/>
              <a:gd name="connsiteX1126" fmla="*/ 5847831 w 6096001"/>
              <a:gd name="connsiteY1126" fmla="*/ 3258965 h 5392467"/>
              <a:gd name="connsiteX1127" fmla="*/ 5843963 w 6096001"/>
              <a:gd name="connsiteY1127" fmla="*/ 3255094 h 5392467"/>
              <a:gd name="connsiteX1128" fmla="*/ 5780138 w 6096001"/>
              <a:gd name="connsiteY1128" fmla="*/ 3255094 h 5392467"/>
              <a:gd name="connsiteX1129" fmla="*/ 5762732 w 6096001"/>
              <a:gd name="connsiteY1129" fmla="*/ 3266699 h 5392467"/>
              <a:gd name="connsiteX1130" fmla="*/ 5780138 w 6096001"/>
              <a:gd name="connsiteY1130" fmla="*/ 3255094 h 5392467"/>
              <a:gd name="connsiteX1131" fmla="*/ 5896183 w 6096001"/>
              <a:gd name="connsiteY1131" fmla="*/ 3251228 h 5392467"/>
              <a:gd name="connsiteX1132" fmla="*/ 5900051 w 6096001"/>
              <a:gd name="connsiteY1132" fmla="*/ 3255094 h 5392467"/>
              <a:gd name="connsiteX1133" fmla="*/ 5880710 w 6096001"/>
              <a:gd name="connsiteY1133" fmla="*/ 3262831 h 5392467"/>
              <a:gd name="connsiteX1134" fmla="*/ 5876842 w 6096001"/>
              <a:gd name="connsiteY1134" fmla="*/ 3262831 h 5392467"/>
              <a:gd name="connsiteX1135" fmla="*/ 5874909 w 6096001"/>
              <a:gd name="connsiteY1135" fmla="*/ 3270570 h 5392467"/>
              <a:gd name="connsiteX1136" fmla="*/ 5896183 w 6096001"/>
              <a:gd name="connsiteY1136" fmla="*/ 3268634 h 5392467"/>
              <a:gd name="connsiteX1137" fmla="*/ 5917460 w 6096001"/>
              <a:gd name="connsiteY1137" fmla="*/ 3251228 h 5392467"/>
              <a:gd name="connsiteX1138" fmla="*/ 5896183 w 6096001"/>
              <a:gd name="connsiteY1138" fmla="*/ 3251228 h 5392467"/>
              <a:gd name="connsiteX1139" fmla="*/ 5930997 w 6096001"/>
              <a:gd name="connsiteY1139" fmla="*/ 3249293 h 5392467"/>
              <a:gd name="connsiteX1140" fmla="*/ 5926416 w 6096001"/>
              <a:gd name="connsiteY1140" fmla="*/ 3253872 h 5392467"/>
              <a:gd name="connsiteX1141" fmla="*/ 5927996 w 6096001"/>
              <a:gd name="connsiteY1141" fmla="*/ 3249793 h 5392467"/>
              <a:gd name="connsiteX1142" fmla="*/ 5778203 w 6096001"/>
              <a:gd name="connsiteY1142" fmla="*/ 3243489 h 5392467"/>
              <a:gd name="connsiteX1143" fmla="*/ 5762732 w 6096001"/>
              <a:gd name="connsiteY1143" fmla="*/ 3247360 h 5392467"/>
              <a:gd name="connsiteX1144" fmla="*/ 5741455 w 6096001"/>
              <a:gd name="connsiteY1144" fmla="*/ 3249293 h 5392467"/>
              <a:gd name="connsiteX1145" fmla="*/ 5741455 w 6096001"/>
              <a:gd name="connsiteY1145" fmla="*/ 3253161 h 5392467"/>
              <a:gd name="connsiteX1146" fmla="*/ 5749192 w 6096001"/>
              <a:gd name="connsiteY1146" fmla="*/ 3251228 h 5392467"/>
              <a:gd name="connsiteX1147" fmla="*/ 5743391 w 6096001"/>
              <a:gd name="connsiteY1147" fmla="*/ 3253161 h 5392467"/>
              <a:gd name="connsiteX1148" fmla="*/ 5756928 w 6096001"/>
              <a:gd name="connsiteY1148" fmla="*/ 3253161 h 5392467"/>
              <a:gd name="connsiteX1149" fmla="*/ 5766600 w 6096001"/>
              <a:gd name="connsiteY1149" fmla="*/ 3251228 h 5392467"/>
              <a:gd name="connsiteX1150" fmla="*/ 5822689 w 6096001"/>
              <a:gd name="connsiteY1150" fmla="*/ 3251228 h 5392467"/>
              <a:gd name="connsiteX1151" fmla="*/ 5828490 w 6096001"/>
              <a:gd name="connsiteY1151" fmla="*/ 3249293 h 5392467"/>
              <a:gd name="connsiteX1152" fmla="*/ 5813017 w 6096001"/>
              <a:gd name="connsiteY1152" fmla="*/ 3245425 h 5392467"/>
              <a:gd name="connsiteX1153" fmla="*/ 5789807 w 6096001"/>
              <a:gd name="connsiteY1153" fmla="*/ 3243489 h 5392467"/>
              <a:gd name="connsiteX1154" fmla="*/ 5778203 w 6096001"/>
              <a:gd name="connsiteY1154" fmla="*/ 3243489 h 5392467"/>
              <a:gd name="connsiteX1155" fmla="*/ 5768533 w 6096001"/>
              <a:gd name="connsiteY1155" fmla="*/ 3231887 h 5392467"/>
              <a:gd name="connsiteX1156" fmla="*/ 5766600 w 6096001"/>
              <a:gd name="connsiteY1156" fmla="*/ 3235755 h 5392467"/>
              <a:gd name="connsiteX1157" fmla="*/ 5776270 w 6096001"/>
              <a:gd name="connsiteY1157" fmla="*/ 3237688 h 5392467"/>
              <a:gd name="connsiteX1158" fmla="*/ 5811084 w 6096001"/>
              <a:gd name="connsiteY1158" fmla="*/ 3235755 h 5392467"/>
              <a:gd name="connsiteX1159" fmla="*/ 5813017 w 6096001"/>
              <a:gd name="connsiteY1159" fmla="*/ 3235755 h 5392467"/>
              <a:gd name="connsiteX1160" fmla="*/ 5840095 w 6096001"/>
              <a:gd name="connsiteY1160" fmla="*/ 3235755 h 5392467"/>
              <a:gd name="connsiteX1161" fmla="*/ 5845898 w 6096001"/>
              <a:gd name="connsiteY1161" fmla="*/ 3235755 h 5392467"/>
              <a:gd name="connsiteX1162" fmla="*/ 5785941 w 6096001"/>
              <a:gd name="connsiteY1162" fmla="*/ 3231887 h 5392467"/>
              <a:gd name="connsiteX1163" fmla="*/ 5768533 w 6096001"/>
              <a:gd name="connsiteY1163" fmla="*/ 3231887 h 5392467"/>
              <a:gd name="connsiteX1164" fmla="*/ 5861369 w 6096001"/>
              <a:gd name="connsiteY1164" fmla="*/ 3164194 h 5392467"/>
              <a:gd name="connsiteX1165" fmla="*/ 5863304 w 6096001"/>
              <a:gd name="connsiteY1165" fmla="*/ 3164194 h 5392467"/>
              <a:gd name="connsiteX1166" fmla="*/ 5863304 w 6096001"/>
              <a:gd name="connsiteY1166" fmla="*/ 3168060 h 5392467"/>
              <a:gd name="connsiteX1167" fmla="*/ 5861369 w 6096001"/>
              <a:gd name="connsiteY1167" fmla="*/ 3164194 h 5392467"/>
              <a:gd name="connsiteX1168" fmla="*/ 5664090 w 6096001"/>
              <a:gd name="connsiteY1168" fmla="*/ 3150654 h 5392467"/>
              <a:gd name="connsiteX1169" fmla="*/ 5662157 w 6096001"/>
              <a:gd name="connsiteY1169" fmla="*/ 3158390 h 5392467"/>
              <a:gd name="connsiteX1170" fmla="*/ 5664090 w 6096001"/>
              <a:gd name="connsiteY1170" fmla="*/ 3150654 h 5392467"/>
              <a:gd name="connsiteX1171" fmla="*/ 5567386 w 6096001"/>
              <a:gd name="connsiteY1171" fmla="*/ 3111971 h 5392467"/>
              <a:gd name="connsiteX1172" fmla="*/ 5569322 w 6096001"/>
              <a:gd name="connsiteY1172" fmla="*/ 3113907 h 5392467"/>
              <a:gd name="connsiteX1173" fmla="*/ 5580924 w 6096001"/>
              <a:gd name="connsiteY1173" fmla="*/ 3115839 h 5392467"/>
              <a:gd name="connsiteX1174" fmla="*/ 5586728 w 6096001"/>
              <a:gd name="connsiteY1174" fmla="*/ 3113907 h 5392467"/>
              <a:gd name="connsiteX1175" fmla="*/ 5567386 w 6096001"/>
              <a:gd name="connsiteY1175" fmla="*/ 3111971 h 5392467"/>
              <a:gd name="connsiteX1176" fmla="*/ 5370108 w 6096001"/>
              <a:gd name="connsiteY1176" fmla="*/ 3071355 h 5392467"/>
              <a:gd name="connsiteX1177" fmla="*/ 5364306 w 6096001"/>
              <a:gd name="connsiteY1177" fmla="*/ 3075224 h 5392467"/>
              <a:gd name="connsiteX1178" fmla="*/ 5364306 w 6096001"/>
              <a:gd name="connsiteY1178" fmla="*/ 3077159 h 5392467"/>
              <a:gd name="connsiteX1179" fmla="*/ 5387514 w 6096001"/>
              <a:gd name="connsiteY1179" fmla="*/ 3073291 h 5392467"/>
              <a:gd name="connsiteX1180" fmla="*/ 5370108 w 6096001"/>
              <a:gd name="connsiteY1180" fmla="*/ 3071355 h 5392467"/>
              <a:gd name="connsiteX1181" fmla="*/ 5416527 w 6096001"/>
              <a:gd name="connsiteY1181" fmla="*/ 3063619 h 5392467"/>
              <a:gd name="connsiteX1182" fmla="*/ 5402987 w 6096001"/>
              <a:gd name="connsiteY1182" fmla="*/ 3071355 h 5392467"/>
              <a:gd name="connsiteX1183" fmla="*/ 5402987 w 6096001"/>
              <a:gd name="connsiteY1183" fmla="*/ 3073291 h 5392467"/>
              <a:gd name="connsiteX1184" fmla="*/ 5416527 w 6096001"/>
              <a:gd name="connsiteY1184" fmla="*/ 3063619 h 5392467"/>
              <a:gd name="connsiteX1185" fmla="*/ 5470680 w 6096001"/>
              <a:gd name="connsiteY1185" fmla="*/ 3059751 h 5392467"/>
              <a:gd name="connsiteX1186" fmla="*/ 5459078 w 6096001"/>
              <a:gd name="connsiteY1186" fmla="*/ 3065555 h 5392467"/>
              <a:gd name="connsiteX1187" fmla="*/ 5468747 w 6096001"/>
              <a:gd name="connsiteY1187" fmla="*/ 3065555 h 5392467"/>
              <a:gd name="connsiteX1188" fmla="*/ 5470680 w 6096001"/>
              <a:gd name="connsiteY1188" fmla="*/ 3059751 h 5392467"/>
              <a:gd name="connsiteX1189" fmla="*/ 5556265 w 6096001"/>
              <a:gd name="connsiteY1189" fmla="*/ 3057817 h 5392467"/>
              <a:gd name="connsiteX1190" fmla="*/ 5553849 w 6096001"/>
              <a:gd name="connsiteY1190" fmla="*/ 3063619 h 5392467"/>
              <a:gd name="connsiteX1191" fmla="*/ 5557714 w 6096001"/>
              <a:gd name="connsiteY1191" fmla="*/ 3063619 h 5392467"/>
              <a:gd name="connsiteX1192" fmla="*/ 5561585 w 6096001"/>
              <a:gd name="connsiteY1192" fmla="*/ 3061686 h 5392467"/>
              <a:gd name="connsiteX1193" fmla="*/ 5561585 w 6096001"/>
              <a:gd name="connsiteY1193" fmla="*/ 3057818 h 5392467"/>
              <a:gd name="connsiteX1194" fmla="*/ 5556265 w 6096001"/>
              <a:gd name="connsiteY1194" fmla="*/ 3057817 h 5392467"/>
              <a:gd name="connsiteX1195" fmla="*/ 5681499 w 6096001"/>
              <a:gd name="connsiteY1195" fmla="*/ 2937902 h 5392467"/>
              <a:gd name="connsiteX1196" fmla="*/ 5685367 w 6096001"/>
              <a:gd name="connsiteY1196" fmla="*/ 2937902 h 5392467"/>
              <a:gd name="connsiteX1197" fmla="*/ 5681499 w 6096001"/>
              <a:gd name="connsiteY1197" fmla="*/ 2941770 h 5392467"/>
              <a:gd name="connsiteX1198" fmla="*/ 5681499 w 6096001"/>
              <a:gd name="connsiteY1198" fmla="*/ 2937902 h 5392467"/>
              <a:gd name="connsiteX1199" fmla="*/ 128691 w 6096001"/>
              <a:gd name="connsiteY1199" fmla="*/ 2382815 h 5392467"/>
              <a:gd name="connsiteX1200" fmla="*/ 113218 w 6096001"/>
              <a:gd name="connsiteY1200" fmla="*/ 2396353 h 5392467"/>
              <a:gd name="connsiteX1201" fmla="*/ 122890 w 6096001"/>
              <a:gd name="connsiteY1201" fmla="*/ 2388616 h 5392467"/>
              <a:gd name="connsiteX1202" fmla="*/ 122890 w 6096001"/>
              <a:gd name="connsiteY1202" fmla="*/ 2390552 h 5392467"/>
              <a:gd name="connsiteX1203" fmla="*/ 128691 w 6096001"/>
              <a:gd name="connsiteY1203" fmla="*/ 2382815 h 5392467"/>
              <a:gd name="connsiteX1204" fmla="*/ 5683432 w 6096001"/>
              <a:gd name="connsiteY1204" fmla="*/ 1839331 h 5392467"/>
              <a:gd name="connsiteX1205" fmla="*/ 5685367 w 6096001"/>
              <a:gd name="connsiteY1205" fmla="*/ 1841267 h 5392467"/>
              <a:gd name="connsiteX1206" fmla="*/ 5679566 w 6096001"/>
              <a:gd name="connsiteY1206" fmla="*/ 1845135 h 5392467"/>
              <a:gd name="connsiteX1207" fmla="*/ 5677630 w 6096001"/>
              <a:gd name="connsiteY1207" fmla="*/ 1843200 h 5392467"/>
              <a:gd name="connsiteX1208" fmla="*/ 5683432 w 6096001"/>
              <a:gd name="connsiteY1208" fmla="*/ 1839331 h 5392467"/>
              <a:gd name="connsiteX1209" fmla="*/ 5644749 w 6096001"/>
              <a:gd name="connsiteY1209" fmla="*/ 1810321 h 5392467"/>
              <a:gd name="connsiteX1210" fmla="*/ 5638948 w 6096001"/>
              <a:gd name="connsiteY1210" fmla="*/ 1823858 h 5392467"/>
              <a:gd name="connsiteX1211" fmla="*/ 5632854 w 6096001"/>
              <a:gd name="connsiteY1211" fmla="*/ 1825383 h 5392467"/>
              <a:gd name="connsiteX1212" fmla="*/ 5631521 w 6096001"/>
              <a:gd name="connsiteY1212" fmla="*/ 1814730 h 5392467"/>
              <a:gd name="connsiteX1213" fmla="*/ 5584795 w 6096001"/>
              <a:gd name="connsiteY1213" fmla="*/ 1796783 h 5392467"/>
              <a:gd name="connsiteX1214" fmla="*/ 5582859 w 6096001"/>
              <a:gd name="connsiteY1214" fmla="*/ 1798716 h 5392467"/>
              <a:gd name="connsiteX1215" fmla="*/ 5586728 w 6096001"/>
              <a:gd name="connsiteY1215" fmla="*/ 1800651 h 5392467"/>
              <a:gd name="connsiteX1216" fmla="*/ 5584795 w 6096001"/>
              <a:gd name="connsiteY1216" fmla="*/ 1796783 h 5392467"/>
              <a:gd name="connsiteX1217" fmla="*/ 5663912 w 6096001"/>
              <a:gd name="connsiteY1217" fmla="*/ 1792035 h 5392467"/>
              <a:gd name="connsiteX1218" fmla="*/ 5659256 w 6096001"/>
              <a:gd name="connsiteY1218" fmla="*/ 1799925 h 5392467"/>
              <a:gd name="connsiteX1219" fmla="*/ 5644749 w 6096001"/>
              <a:gd name="connsiteY1219" fmla="*/ 1810321 h 5392467"/>
              <a:gd name="connsiteX1220" fmla="*/ 5652488 w 6096001"/>
              <a:gd name="connsiteY1220" fmla="*/ 1796783 h 5392467"/>
              <a:gd name="connsiteX1221" fmla="*/ 5653777 w 6096001"/>
              <a:gd name="connsiteY1221" fmla="*/ 1795492 h 5392467"/>
              <a:gd name="connsiteX1222" fmla="*/ 5656356 w 6096001"/>
              <a:gd name="connsiteY1222" fmla="*/ 1800651 h 5392467"/>
              <a:gd name="connsiteX1223" fmla="*/ 5662157 w 6096001"/>
              <a:gd name="connsiteY1223" fmla="*/ 1794848 h 5392467"/>
              <a:gd name="connsiteX1224" fmla="*/ 5662157 w 6096001"/>
              <a:gd name="connsiteY1224" fmla="*/ 1792912 h 5392467"/>
              <a:gd name="connsiteX1225" fmla="*/ 5667959 w 6096001"/>
              <a:gd name="connsiteY1225" fmla="*/ 1785178 h 5392467"/>
              <a:gd name="connsiteX1226" fmla="*/ 5673762 w 6096001"/>
              <a:gd name="connsiteY1226" fmla="*/ 1785178 h 5392467"/>
              <a:gd name="connsiteX1227" fmla="*/ 5673762 w 6096001"/>
              <a:gd name="connsiteY1227" fmla="*/ 1787111 h 5392467"/>
              <a:gd name="connsiteX1228" fmla="*/ 5663912 w 6096001"/>
              <a:gd name="connsiteY1228" fmla="*/ 1792035 h 5392467"/>
              <a:gd name="connsiteX1229" fmla="*/ 5638948 w 6096001"/>
              <a:gd name="connsiteY1229" fmla="*/ 1783243 h 5392467"/>
              <a:gd name="connsiteX1230" fmla="*/ 5631211 w 6096001"/>
              <a:gd name="connsiteY1230" fmla="*/ 1785178 h 5392467"/>
              <a:gd name="connsiteX1231" fmla="*/ 5633147 w 6096001"/>
              <a:gd name="connsiteY1231" fmla="*/ 1787111 h 5392467"/>
              <a:gd name="connsiteX1232" fmla="*/ 5621542 w 6096001"/>
              <a:gd name="connsiteY1232" fmla="*/ 1794848 h 5392467"/>
              <a:gd name="connsiteX1233" fmla="*/ 5602201 w 6096001"/>
              <a:gd name="connsiteY1233" fmla="*/ 1808388 h 5392467"/>
              <a:gd name="connsiteX1234" fmla="*/ 5600265 w 6096001"/>
              <a:gd name="connsiteY1234" fmla="*/ 1810321 h 5392467"/>
              <a:gd name="connsiteX1235" fmla="*/ 5604133 w 6096001"/>
              <a:gd name="connsiteY1235" fmla="*/ 1812254 h 5392467"/>
              <a:gd name="connsiteX1236" fmla="*/ 5621542 w 6096001"/>
              <a:gd name="connsiteY1236" fmla="*/ 1796783 h 5392467"/>
              <a:gd name="connsiteX1237" fmla="*/ 5625410 w 6096001"/>
              <a:gd name="connsiteY1237" fmla="*/ 1802584 h 5392467"/>
              <a:gd name="connsiteX1238" fmla="*/ 5633147 w 6096001"/>
              <a:gd name="connsiteY1238" fmla="*/ 1800651 h 5392467"/>
              <a:gd name="connsiteX1239" fmla="*/ 5635080 w 6096001"/>
              <a:gd name="connsiteY1239" fmla="*/ 1790979 h 5392467"/>
              <a:gd name="connsiteX1240" fmla="*/ 5638948 w 6096001"/>
              <a:gd name="connsiteY1240" fmla="*/ 1783243 h 5392467"/>
              <a:gd name="connsiteX1241" fmla="*/ 5646684 w 6096001"/>
              <a:gd name="connsiteY1241" fmla="*/ 1761969 h 5392467"/>
              <a:gd name="connsiteX1242" fmla="*/ 5646684 w 6096001"/>
              <a:gd name="connsiteY1242" fmla="*/ 1763902 h 5392467"/>
              <a:gd name="connsiteX1243" fmla="*/ 5652488 w 6096001"/>
              <a:gd name="connsiteY1243" fmla="*/ 1761969 h 5392467"/>
              <a:gd name="connsiteX1244" fmla="*/ 5646684 w 6096001"/>
              <a:gd name="connsiteY1244" fmla="*/ 1761969 h 5392467"/>
              <a:gd name="connsiteX1245" fmla="*/ 5573190 w 6096001"/>
              <a:gd name="connsiteY1245" fmla="*/ 1742627 h 5392467"/>
              <a:gd name="connsiteX1246" fmla="*/ 5551913 w 6096001"/>
              <a:gd name="connsiteY1246" fmla="*/ 1748429 h 5392467"/>
              <a:gd name="connsiteX1247" fmla="*/ 5551913 w 6096001"/>
              <a:gd name="connsiteY1247" fmla="*/ 1752297 h 5392467"/>
              <a:gd name="connsiteX1248" fmla="*/ 5573190 w 6096001"/>
              <a:gd name="connsiteY1248" fmla="*/ 1742627 h 5392467"/>
              <a:gd name="connsiteX1249" fmla="*/ 5524838 w 6096001"/>
              <a:gd name="connsiteY1249" fmla="*/ 1742627 h 5392467"/>
              <a:gd name="connsiteX1250" fmla="*/ 5522903 w 6096001"/>
              <a:gd name="connsiteY1250" fmla="*/ 1744560 h 5392467"/>
              <a:gd name="connsiteX1251" fmla="*/ 5524838 w 6096001"/>
              <a:gd name="connsiteY1251" fmla="*/ 1744560 h 5392467"/>
              <a:gd name="connsiteX1252" fmla="*/ 5524838 w 6096001"/>
              <a:gd name="connsiteY1252" fmla="*/ 1742627 h 5392467"/>
              <a:gd name="connsiteX1253" fmla="*/ 5731784 w 6096001"/>
              <a:gd name="connsiteY1253" fmla="*/ 1711681 h 5392467"/>
              <a:gd name="connsiteX1254" fmla="*/ 5733719 w 6096001"/>
              <a:gd name="connsiteY1254" fmla="*/ 1713616 h 5392467"/>
              <a:gd name="connsiteX1255" fmla="*/ 5725982 w 6096001"/>
              <a:gd name="connsiteY1255" fmla="*/ 1721353 h 5392467"/>
              <a:gd name="connsiteX1256" fmla="*/ 5724049 w 6096001"/>
              <a:gd name="connsiteY1256" fmla="*/ 1717482 h 5392467"/>
              <a:gd name="connsiteX1257" fmla="*/ 5731784 w 6096001"/>
              <a:gd name="connsiteY1257" fmla="*/ 1711681 h 5392467"/>
              <a:gd name="connsiteX1258" fmla="*/ 5588663 w 6096001"/>
              <a:gd name="connsiteY1258" fmla="*/ 1698144 h 5392467"/>
              <a:gd name="connsiteX1259" fmla="*/ 5557714 w 6096001"/>
              <a:gd name="connsiteY1259" fmla="*/ 1715549 h 5392467"/>
              <a:gd name="connsiteX1260" fmla="*/ 5553849 w 6096001"/>
              <a:gd name="connsiteY1260" fmla="*/ 1723286 h 5392467"/>
              <a:gd name="connsiteX1261" fmla="*/ 5555781 w 6096001"/>
              <a:gd name="connsiteY1261" fmla="*/ 1729087 h 5392467"/>
              <a:gd name="connsiteX1262" fmla="*/ 5557714 w 6096001"/>
              <a:gd name="connsiteY1262" fmla="*/ 1723286 h 5392467"/>
              <a:gd name="connsiteX1263" fmla="*/ 5563518 w 6096001"/>
              <a:gd name="connsiteY1263" fmla="*/ 1725219 h 5392467"/>
              <a:gd name="connsiteX1264" fmla="*/ 5567386 w 6096001"/>
              <a:gd name="connsiteY1264" fmla="*/ 1719418 h 5392467"/>
              <a:gd name="connsiteX1265" fmla="*/ 5577056 w 6096001"/>
              <a:gd name="connsiteY1265" fmla="*/ 1721353 h 5392467"/>
              <a:gd name="connsiteX1266" fmla="*/ 5582859 w 6096001"/>
              <a:gd name="connsiteY1266" fmla="*/ 1713616 h 5392467"/>
              <a:gd name="connsiteX1267" fmla="*/ 5578991 w 6096001"/>
              <a:gd name="connsiteY1267" fmla="*/ 1723286 h 5392467"/>
              <a:gd name="connsiteX1268" fmla="*/ 5586728 w 6096001"/>
              <a:gd name="connsiteY1268" fmla="*/ 1729087 h 5392467"/>
              <a:gd name="connsiteX1269" fmla="*/ 5575123 w 6096001"/>
              <a:gd name="connsiteY1269" fmla="*/ 1740692 h 5392467"/>
              <a:gd name="connsiteX1270" fmla="*/ 5590596 w 6096001"/>
              <a:gd name="connsiteY1270" fmla="*/ 1740692 h 5392467"/>
              <a:gd name="connsiteX1271" fmla="*/ 5563518 w 6096001"/>
              <a:gd name="connsiteY1271" fmla="*/ 1763902 h 5392467"/>
              <a:gd name="connsiteX1272" fmla="*/ 5571255 w 6096001"/>
              <a:gd name="connsiteY1272" fmla="*/ 1773573 h 5392467"/>
              <a:gd name="connsiteX1273" fmla="*/ 5577056 w 6096001"/>
              <a:gd name="connsiteY1273" fmla="*/ 1767770 h 5392467"/>
              <a:gd name="connsiteX1274" fmla="*/ 5575123 w 6096001"/>
              <a:gd name="connsiteY1274" fmla="*/ 1779374 h 5392467"/>
              <a:gd name="connsiteX1275" fmla="*/ 5577056 w 6096001"/>
              <a:gd name="connsiteY1275" fmla="*/ 1785178 h 5392467"/>
              <a:gd name="connsiteX1276" fmla="*/ 5584795 w 6096001"/>
              <a:gd name="connsiteY1276" fmla="*/ 1777442 h 5392467"/>
              <a:gd name="connsiteX1277" fmla="*/ 5598332 w 6096001"/>
              <a:gd name="connsiteY1277" fmla="*/ 1765837 h 5392467"/>
              <a:gd name="connsiteX1278" fmla="*/ 5592531 w 6096001"/>
              <a:gd name="connsiteY1278" fmla="*/ 1760033 h 5392467"/>
              <a:gd name="connsiteX1279" fmla="*/ 5604133 w 6096001"/>
              <a:gd name="connsiteY1279" fmla="*/ 1742627 h 5392467"/>
              <a:gd name="connsiteX1280" fmla="*/ 5617674 w 6096001"/>
              <a:gd name="connsiteY1280" fmla="*/ 1736824 h 5392467"/>
              <a:gd name="connsiteX1281" fmla="*/ 5594464 w 6096001"/>
              <a:gd name="connsiteY1281" fmla="*/ 1738759 h 5392467"/>
              <a:gd name="connsiteX1282" fmla="*/ 5598332 w 6096001"/>
              <a:gd name="connsiteY1282" fmla="*/ 1721353 h 5392467"/>
              <a:gd name="connsiteX1283" fmla="*/ 5590596 w 6096001"/>
              <a:gd name="connsiteY1283" fmla="*/ 1715549 h 5392467"/>
              <a:gd name="connsiteX1284" fmla="*/ 5588663 w 6096001"/>
              <a:gd name="connsiteY1284" fmla="*/ 1707813 h 5392467"/>
              <a:gd name="connsiteX1285" fmla="*/ 5588663 w 6096001"/>
              <a:gd name="connsiteY1285" fmla="*/ 1698144 h 5392467"/>
              <a:gd name="connsiteX1286" fmla="*/ 5684596 w 6096001"/>
              <a:gd name="connsiteY1286" fmla="*/ 1686440 h 5392467"/>
              <a:gd name="connsiteX1287" fmla="*/ 5679566 w 6096001"/>
              <a:gd name="connsiteY1287" fmla="*/ 1702012 h 5392467"/>
              <a:gd name="connsiteX1288" fmla="*/ 5662157 w 6096001"/>
              <a:gd name="connsiteY1288" fmla="*/ 1719418 h 5392467"/>
              <a:gd name="connsiteX1289" fmla="*/ 5664090 w 6096001"/>
              <a:gd name="connsiteY1289" fmla="*/ 1713616 h 5392467"/>
              <a:gd name="connsiteX1290" fmla="*/ 5664090 w 6096001"/>
              <a:gd name="connsiteY1290" fmla="*/ 1711681 h 5392467"/>
              <a:gd name="connsiteX1291" fmla="*/ 5662157 w 6096001"/>
              <a:gd name="connsiteY1291" fmla="*/ 1709748 h 5392467"/>
              <a:gd name="connsiteX1292" fmla="*/ 5661103 w 6096001"/>
              <a:gd name="connsiteY1292" fmla="*/ 1711066 h 5392467"/>
              <a:gd name="connsiteX1293" fmla="*/ 5667959 w 6096001"/>
              <a:gd name="connsiteY1293" fmla="*/ 1696208 h 5392467"/>
              <a:gd name="connsiteX1294" fmla="*/ 5673762 w 6096001"/>
              <a:gd name="connsiteY1294" fmla="*/ 1698144 h 5392467"/>
              <a:gd name="connsiteX1295" fmla="*/ 5681499 w 6096001"/>
              <a:gd name="connsiteY1295" fmla="*/ 1688956 h 5392467"/>
              <a:gd name="connsiteX1296" fmla="*/ 5747259 w 6096001"/>
              <a:gd name="connsiteY1296" fmla="*/ 1680735 h 5392467"/>
              <a:gd name="connsiteX1297" fmla="*/ 5740888 w 6096001"/>
              <a:gd name="connsiteY1297" fmla="*/ 1691885 h 5392467"/>
              <a:gd name="connsiteX1298" fmla="*/ 5739522 w 6096001"/>
              <a:gd name="connsiteY1298" fmla="*/ 1692340 h 5392467"/>
              <a:gd name="connsiteX1299" fmla="*/ 5734407 w 6096001"/>
              <a:gd name="connsiteY1299" fmla="*/ 1687225 h 5392467"/>
              <a:gd name="connsiteX1300" fmla="*/ 5736620 w 6096001"/>
              <a:gd name="connsiteY1300" fmla="*/ 1682911 h 5392467"/>
              <a:gd name="connsiteX1301" fmla="*/ 5747259 w 6096001"/>
              <a:gd name="connsiteY1301" fmla="*/ 1680735 h 5392467"/>
              <a:gd name="connsiteX1302" fmla="*/ 5739522 w 6096001"/>
              <a:gd name="connsiteY1302" fmla="*/ 1620778 h 5392467"/>
              <a:gd name="connsiteX1303" fmla="*/ 5743391 w 6096001"/>
              <a:gd name="connsiteY1303" fmla="*/ 1632383 h 5392467"/>
              <a:gd name="connsiteX1304" fmla="*/ 5748547 w 6096001"/>
              <a:gd name="connsiteY1304" fmla="*/ 1632383 h 5392467"/>
              <a:gd name="connsiteX1305" fmla="*/ 5741455 w 6096001"/>
              <a:gd name="connsiteY1305" fmla="*/ 1640120 h 5392467"/>
              <a:gd name="connsiteX1306" fmla="*/ 5747259 w 6096001"/>
              <a:gd name="connsiteY1306" fmla="*/ 1642053 h 5392467"/>
              <a:gd name="connsiteX1307" fmla="*/ 5741455 w 6096001"/>
              <a:gd name="connsiteY1307" fmla="*/ 1671066 h 5392467"/>
              <a:gd name="connsiteX1308" fmla="*/ 5731784 w 6096001"/>
              <a:gd name="connsiteY1308" fmla="*/ 1678802 h 5392467"/>
              <a:gd name="connsiteX1309" fmla="*/ 5733478 w 6096001"/>
              <a:gd name="connsiteY1309" fmla="*/ 1686296 h 5392467"/>
              <a:gd name="connsiteX1310" fmla="*/ 5734407 w 6096001"/>
              <a:gd name="connsiteY1310" fmla="*/ 1687225 h 5392467"/>
              <a:gd name="connsiteX1311" fmla="*/ 5731784 w 6096001"/>
              <a:gd name="connsiteY1311" fmla="*/ 1692340 h 5392467"/>
              <a:gd name="connsiteX1312" fmla="*/ 5739522 w 6096001"/>
              <a:gd name="connsiteY1312" fmla="*/ 1694275 h 5392467"/>
              <a:gd name="connsiteX1313" fmla="*/ 5740888 w 6096001"/>
              <a:gd name="connsiteY1313" fmla="*/ 1691885 h 5392467"/>
              <a:gd name="connsiteX1314" fmla="*/ 5756928 w 6096001"/>
              <a:gd name="connsiteY1314" fmla="*/ 1686539 h 5392467"/>
              <a:gd name="connsiteX1315" fmla="*/ 5756928 w 6096001"/>
              <a:gd name="connsiteY1315" fmla="*/ 1692340 h 5392467"/>
              <a:gd name="connsiteX1316" fmla="*/ 5725982 w 6096001"/>
              <a:gd name="connsiteY1316" fmla="*/ 1709748 h 5392467"/>
              <a:gd name="connsiteX1317" fmla="*/ 5720181 w 6096001"/>
              <a:gd name="connsiteY1317" fmla="*/ 1713616 h 5392467"/>
              <a:gd name="connsiteX1318" fmla="*/ 5704708 w 6096001"/>
              <a:gd name="connsiteY1318" fmla="*/ 1721353 h 5392467"/>
              <a:gd name="connsiteX1319" fmla="*/ 5706641 w 6096001"/>
              <a:gd name="connsiteY1319" fmla="*/ 1692340 h 5392467"/>
              <a:gd name="connsiteX1320" fmla="*/ 5710509 w 6096001"/>
              <a:gd name="connsiteY1320" fmla="*/ 1688472 h 5392467"/>
              <a:gd name="connsiteX1321" fmla="*/ 5710509 w 6096001"/>
              <a:gd name="connsiteY1321" fmla="*/ 1684603 h 5392467"/>
              <a:gd name="connsiteX1322" fmla="*/ 5689235 w 6096001"/>
              <a:gd name="connsiteY1322" fmla="*/ 1682670 h 5392467"/>
              <a:gd name="connsiteX1323" fmla="*/ 5684596 w 6096001"/>
              <a:gd name="connsiteY1323" fmla="*/ 1686440 h 5392467"/>
              <a:gd name="connsiteX1324" fmla="*/ 5684642 w 6096001"/>
              <a:gd name="connsiteY1324" fmla="*/ 1686297 h 5392467"/>
              <a:gd name="connsiteX1325" fmla="*/ 5696972 w 6096001"/>
              <a:gd name="connsiteY1325" fmla="*/ 1674934 h 5392467"/>
              <a:gd name="connsiteX1326" fmla="*/ 5698907 w 6096001"/>
              <a:gd name="connsiteY1326" fmla="*/ 1674934 h 5392467"/>
              <a:gd name="connsiteX1327" fmla="*/ 5729851 w 6096001"/>
              <a:gd name="connsiteY1327" fmla="*/ 1636251 h 5392467"/>
              <a:gd name="connsiteX1328" fmla="*/ 5739522 w 6096001"/>
              <a:gd name="connsiteY1328" fmla="*/ 1620778 h 5392467"/>
              <a:gd name="connsiteX1329" fmla="*/ 5784006 w 6096001"/>
              <a:gd name="connsiteY1329" fmla="*/ 1613042 h 5392467"/>
              <a:gd name="connsiteX1330" fmla="*/ 5790991 w 6096001"/>
              <a:gd name="connsiteY1330" fmla="*/ 1616035 h 5392467"/>
              <a:gd name="connsiteX1331" fmla="*/ 5789807 w 6096001"/>
              <a:gd name="connsiteY1331" fmla="*/ 1616910 h 5392467"/>
              <a:gd name="connsiteX1332" fmla="*/ 5766600 w 6096001"/>
              <a:gd name="connsiteY1332" fmla="*/ 1632383 h 5392467"/>
              <a:gd name="connsiteX1333" fmla="*/ 5761693 w 6096001"/>
              <a:gd name="connsiteY1333" fmla="*/ 1631401 h 5392467"/>
              <a:gd name="connsiteX1334" fmla="*/ 5770951 w 6096001"/>
              <a:gd name="connsiteY1334" fmla="*/ 1621262 h 5392467"/>
              <a:gd name="connsiteX1335" fmla="*/ 5784006 w 6096001"/>
              <a:gd name="connsiteY1335" fmla="*/ 1613042 h 5392467"/>
              <a:gd name="connsiteX1336" fmla="*/ 5770466 w 6096001"/>
              <a:gd name="connsiteY1336" fmla="*/ 1603834 h 5392467"/>
              <a:gd name="connsiteX1337" fmla="*/ 5770466 w 6096001"/>
              <a:gd name="connsiteY1337" fmla="*/ 1618843 h 5392467"/>
              <a:gd name="connsiteX1338" fmla="*/ 5756928 w 6096001"/>
              <a:gd name="connsiteY1338" fmla="*/ 1630448 h 5392467"/>
              <a:gd name="connsiteX1339" fmla="*/ 5761693 w 6096001"/>
              <a:gd name="connsiteY1339" fmla="*/ 1631401 h 5392467"/>
              <a:gd name="connsiteX1340" fmla="*/ 5760797 w 6096001"/>
              <a:gd name="connsiteY1340" fmla="*/ 1632383 h 5392467"/>
              <a:gd name="connsiteX1341" fmla="*/ 5748547 w 6096001"/>
              <a:gd name="connsiteY1341" fmla="*/ 1632383 h 5392467"/>
              <a:gd name="connsiteX1342" fmla="*/ 5762732 w 6096001"/>
              <a:gd name="connsiteY1342" fmla="*/ 1616910 h 5392467"/>
              <a:gd name="connsiteX1343" fmla="*/ 5762732 w 6096001"/>
              <a:gd name="connsiteY1343" fmla="*/ 1613042 h 5392467"/>
              <a:gd name="connsiteX1344" fmla="*/ 5754993 w 6096001"/>
              <a:gd name="connsiteY1344" fmla="*/ 1616910 h 5392467"/>
              <a:gd name="connsiteX1345" fmla="*/ 5754993 w 6096001"/>
              <a:gd name="connsiteY1345" fmla="*/ 1613042 h 5392467"/>
              <a:gd name="connsiteX1346" fmla="*/ 5757403 w 6096001"/>
              <a:gd name="connsiteY1346" fmla="*/ 1610934 h 5392467"/>
              <a:gd name="connsiteX1347" fmla="*/ 5814235 w 6096001"/>
              <a:gd name="connsiteY1347" fmla="*/ 1598856 h 5392467"/>
              <a:gd name="connsiteX1348" fmla="*/ 5824622 w 6096001"/>
              <a:gd name="connsiteY1348" fmla="*/ 1603372 h 5392467"/>
              <a:gd name="connsiteX1349" fmla="*/ 5797544 w 6096001"/>
              <a:gd name="connsiteY1349" fmla="*/ 1618843 h 5392467"/>
              <a:gd name="connsiteX1350" fmla="*/ 5790991 w 6096001"/>
              <a:gd name="connsiteY1350" fmla="*/ 1616035 h 5392467"/>
              <a:gd name="connsiteX1351" fmla="*/ 5834293 w 6096001"/>
              <a:gd name="connsiteY1351" fmla="*/ 1584031 h 5392467"/>
              <a:gd name="connsiteX1352" fmla="*/ 5834293 w 6096001"/>
              <a:gd name="connsiteY1352" fmla="*/ 1585964 h 5392467"/>
              <a:gd name="connsiteX1353" fmla="*/ 5831678 w 6096001"/>
              <a:gd name="connsiteY1353" fmla="*/ 1585964 h 5392467"/>
              <a:gd name="connsiteX1354" fmla="*/ 5846918 w 6096001"/>
              <a:gd name="connsiteY1354" fmla="*/ 1573903 h 5392467"/>
              <a:gd name="connsiteX1355" fmla="*/ 5847831 w 6096001"/>
              <a:gd name="connsiteY1355" fmla="*/ 1574359 h 5392467"/>
              <a:gd name="connsiteX1356" fmla="*/ 5842028 w 6096001"/>
              <a:gd name="connsiteY1356" fmla="*/ 1580163 h 5392467"/>
              <a:gd name="connsiteX1357" fmla="*/ 5840732 w 6096001"/>
              <a:gd name="connsiteY1357" fmla="*/ 1578866 h 5392467"/>
              <a:gd name="connsiteX1358" fmla="*/ 5818820 w 6096001"/>
              <a:gd name="connsiteY1358" fmla="*/ 1572426 h 5392467"/>
              <a:gd name="connsiteX1359" fmla="*/ 5807216 w 6096001"/>
              <a:gd name="connsiteY1359" fmla="*/ 1578227 h 5392467"/>
              <a:gd name="connsiteX1360" fmla="*/ 5809149 w 6096001"/>
              <a:gd name="connsiteY1360" fmla="*/ 1585964 h 5392467"/>
              <a:gd name="connsiteX1361" fmla="*/ 5818820 w 6096001"/>
              <a:gd name="connsiteY1361" fmla="*/ 1572426 h 5392467"/>
              <a:gd name="connsiteX1362" fmla="*/ 5843963 w 6096001"/>
              <a:gd name="connsiteY1362" fmla="*/ 1560822 h 5392467"/>
              <a:gd name="connsiteX1363" fmla="*/ 5832358 w 6096001"/>
              <a:gd name="connsiteY1363" fmla="*/ 1566623 h 5392467"/>
              <a:gd name="connsiteX1364" fmla="*/ 5830425 w 6096001"/>
              <a:gd name="connsiteY1364" fmla="*/ 1578227 h 5392467"/>
              <a:gd name="connsiteX1365" fmla="*/ 5834293 w 6096001"/>
              <a:gd name="connsiteY1365" fmla="*/ 1578227 h 5392467"/>
              <a:gd name="connsiteX1366" fmla="*/ 5843963 w 6096001"/>
              <a:gd name="connsiteY1366" fmla="*/ 1560822 h 5392467"/>
              <a:gd name="connsiteX1367" fmla="*/ 5876842 w 6096001"/>
              <a:gd name="connsiteY1367" fmla="*/ 1555018 h 5392467"/>
              <a:gd name="connsiteX1368" fmla="*/ 5878777 w 6096001"/>
              <a:gd name="connsiteY1368" fmla="*/ 1556953 h 5392467"/>
              <a:gd name="connsiteX1369" fmla="*/ 5872976 w 6096001"/>
              <a:gd name="connsiteY1369" fmla="*/ 1560822 h 5392467"/>
              <a:gd name="connsiteX1370" fmla="*/ 5876842 w 6096001"/>
              <a:gd name="connsiteY1370" fmla="*/ 1555018 h 5392467"/>
              <a:gd name="connsiteX1371" fmla="*/ 5890595 w 6096001"/>
              <a:gd name="connsiteY1371" fmla="*/ 1530009 h 5392467"/>
              <a:gd name="connsiteX1372" fmla="*/ 5882645 w 6096001"/>
              <a:gd name="connsiteY1372" fmla="*/ 1539547 h 5392467"/>
              <a:gd name="connsiteX1373" fmla="*/ 5869108 w 6096001"/>
              <a:gd name="connsiteY1373" fmla="*/ 1545349 h 5392467"/>
              <a:gd name="connsiteX1374" fmla="*/ 5875713 w 6096001"/>
              <a:gd name="connsiteY1374" fmla="*/ 1538142 h 5392467"/>
              <a:gd name="connsiteX1375" fmla="*/ 5884578 w 6096001"/>
              <a:gd name="connsiteY1375" fmla="*/ 1531809 h 5392467"/>
              <a:gd name="connsiteX1376" fmla="*/ 5987086 w 6096001"/>
              <a:gd name="connsiteY1376" fmla="*/ 1481524 h 5392467"/>
              <a:gd name="connsiteX1377" fmla="*/ 5977417 w 6096001"/>
              <a:gd name="connsiteY1377" fmla="*/ 1489260 h 5392467"/>
              <a:gd name="connsiteX1378" fmla="*/ 5987086 w 6096001"/>
              <a:gd name="connsiteY1378" fmla="*/ 1481524 h 5392467"/>
              <a:gd name="connsiteX1379" fmla="*/ 5468747 w 6096001"/>
              <a:gd name="connsiteY1379" fmla="*/ 1429303 h 5392467"/>
              <a:gd name="connsiteX1380" fmla="*/ 5464879 w 6096001"/>
              <a:gd name="connsiteY1380" fmla="*/ 1431236 h 5392467"/>
              <a:gd name="connsiteX1381" fmla="*/ 5462946 w 6096001"/>
              <a:gd name="connsiteY1381" fmla="*/ 1435104 h 5392467"/>
              <a:gd name="connsiteX1382" fmla="*/ 5468747 w 6096001"/>
              <a:gd name="connsiteY1382" fmla="*/ 1435104 h 5392467"/>
              <a:gd name="connsiteX1383" fmla="*/ 5468747 w 6096001"/>
              <a:gd name="connsiteY1383" fmla="*/ 1429303 h 5392467"/>
              <a:gd name="connsiteX1384" fmla="*/ 5488088 w 6096001"/>
              <a:gd name="connsiteY1384" fmla="*/ 1419631 h 5392467"/>
              <a:gd name="connsiteX1385" fmla="*/ 5482287 w 6096001"/>
              <a:gd name="connsiteY1385" fmla="*/ 1421567 h 5392467"/>
              <a:gd name="connsiteX1386" fmla="*/ 5472615 w 6096001"/>
              <a:gd name="connsiteY1386" fmla="*/ 1433172 h 5392467"/>
              <a:gd name="connsiteX1387" fmla="*/ 5482287 w 6096001"/>
              <a:gd name="connsiteY1387" fmla="*/ 1435104 h 5392467"/>
              <a:gd name="connsiteX1388" fmla="*/ 5484220 w 6096001"/>
              <a:gd name="connsiteY1388" fmla="*/ 1435104 h 5392467"/>
              <a:gd name="connsiteX1389" fmla="*/ 5490021 w 6096001"/>
              <a:gd name="connsiteY1389" fmla="*/ 1431236 h 5392467"/>
              <a:gd name="connsiteX1390" fmla="*/ 5495825 w 6096001"/>
              <a:gd name="connsiteY1390" fmla="*/ 1419631 h 5392467"/>
              <a:gd name="connsiteX1391" fmla="*/ 5488088 w 6096001"/>
              <a:gd name="connsiteY1391" fmla="*/ 1419631 h 5392467"/>
              <a:gd name="connsiteX1392" fmla="*/ 5476483 w 6096001"/>
              <a:gd name="connsiteY1392" fmla="*/ 1408027 h 5392467"/>
              <a:gd name="connsiteX1393" fmla="*/ 5472615 w 6096001"/>
              <a:gd name="connsiteY1393" fmla="*/ 1411895 h 5392467"/>
              <a:gd name="connsiteX1394" fmla="*/ 5474551 w 6096001"/>
              <a:gd name="connsiteY1394" fmla="*/ 1413830 h 5392467"/>
              <a:gd name="connsiteX1395" fmla="*/ 5476483 w 6096001"/>
              <a:gd name="connsiteY1395" fmla="*/ 1408027 h 5392467"/>
              <a:gd name="connsiteX1396" fmla="*/ 5975481 w 6096001"/>
              <a:gd name="connsiteY1396" fmla="*/ 1390621 h 5392467"/>
              <a:gd name="connsiteX1397" fmla="*/ 5971613 w 6096001"/>
              <a:gd name="connsiteY1397" fmla="*/ 1398357 h 5392467"/>
              <a:gd name="connsiteX1398" fmla="*/ 5973548 w 6096001"/>
              <a:gd name="connsiteY1398" fmla="*/ 1400290 h 5392467"/>
              <a:gd name="connsiteX1399" fmla="*/ 5979352 w 6096001"/>
              <a:gd name="connsiteY1399" fmla="*/ 1392554 h 5392467"/>
              <a:gd name="connsiteX1400" fmla="*/ 5975481 w 6096001"/>
              <a:gd name="connsiteY1400" fmla="*/ 1390621 h 5392467"/>
              <a:gd name="connsiteX1401" fmla="*/ 5987086 w 6096001"/>
              <a:gd name="connsiteY1401" fmla="*/ 1385301 h 5392467"/>
              <a:gd name="connsiteX1402" fmla="*/ 5987086 w 6096001"/>
              <a:gd name="connsiteY1402" fmla="*/ 1390621 h 5392467"/>
              <a:gd name="connsiteX1403" fmla="*/ 5982327 w 6096001"/>
              <a:gd name="connsiteY1403" fmla="*/ 1387795 h 5392467"/>
              <a:gd name="connsiteX1404" fmla="*/ 5981285 w 6096001"/>
              <a:gd name="connsiteY1404" fmla="*/ 1386752 h 5392467"/>
              <a:gd name="connsiteX1405" fmla="*/ 6021900 w 6096001"/>
              <a:gd name="connsiteY1405" fmla="*/ 1379338 h 5392467"/>
              <a:gd name="connsiteX1406" fmla="*/ 6021900 w 6096001"/>
              <a:gd name="connsiteY1406" fmla="*/ 1380949 h 5392467"/>
              <a:gd name="connsiteX1407" fmla="*/ 6020519 w 6096001"/>
              <a:gd name="connsiteY1407" fmla="*/ 1380489 h 5392467"/>
              <a:gd name="connsiteX1408" fmla="*/ 5529913 w 6096001"/>
              <a:gd name="connsiteY1408" fmla="*/ 1372488 h 5392467"/>
              <a:gd name="connsiteX1409" fmla="*/ 5520967 w 6096001"/>
              <a:gd name="connsiteY1409" fmla="*/ 1379016 h 5392467"/>
              <a:gd name="connsiteX1410" fmla="*/ 5513231 w 6096001"/>
              <a:gd name="connsiteY1410" fmla="*/ 1380949 h 5392467"/>
              <a:gd name="connsiteX1411" fmla="*/ 5507430 w 6096001"/>
              <a:gd name="connsiteY1411" fmla="*/ 1386752 h 5392467"/>
              <a:gd name="connsiteX1412" fmla="*/ 5501628 w 6096001"/>
              <a:gd name="connsiteY1412" fmla="*/ 1382884 h 5392467"/>
              <a:gd name="connsiteX1413" fmla="*/ 5495825 w 6096001"/>
              <a:gd name="connsiteY1413" fmla="*/ 1388685 h 5392467"/>
              <a:gd name="connsiteX1414" fmla="*/ 5493889 w 6096001"/>
              <a:gd name="connsiteY1414" fmla="*/ 1386752 h 5392467"/>
              <a:gd name="connsiteX1415" fmla="*/ 5478419 w 6096001"/>
              <a:gd name="connsiteY1415" fmla="*/ 1406094 h 5392467"/>
              <a:gd name="connsiteX1416" fmla="*/ 5484220 w 6096001"/>
              <a:gd name="connsiteY1416" fmla="*/ 1409962 h 5392467"/>
              <a:gd name="connsiteX1417" fmla="*/ 5484220 w 6096001"/>
              <a:gd name="connsiteY1417" fmla="*/ 1417699 h 5392467"/>
              <a:gd name="connsiteX1418" fmla="*/ 5499693 w 6096001"/>
              <a:gd name="connsiteY1418" fmla="*/ 1404158 h 5392467"/>
              <a:gd name="connsiteX1419" fmla="*/ 5505497 w 6096001"/>
              <a:gd name="connsiteY1419" fmla="*/ 1400290 h 5392467"/>
              <a:gd name="connsiteX1420" fmla="*/ 5505497 w 6096001"/>
              <a:gd name="connsiteY1420" fmla="*/ 1402225 h 5392467"/>
              <a:gd name="connsiteX1421" fmla="*/ 5522903 w 6096001"/>
              <a:gd name="connsiteY1421" fmla="*/ 1392554 h 5392467"/>
              <a:gd name="connsiteX1422" fmla="*/ 5538376 w 6096001"/>
              <a:gd name="connsiteY1422" fmla="*/ 1377081 h 5392467"/>
              <a:gd name="connsiteX1423" fmla="*/ 5540308 w 6096001"/>
              <a:gd name="connsiteY1423" fmla="*/ 1373212 h 5392467"/>
              <a:gd name="connsiteX1424" fmla="*/ 5529913 w 6096001"/>
              <a:gd name="connsiteY1424" fmla="*/ 1372488 h 5392467"/>
              <a:gd name="connsiteX1425" fmla="*/ 5546112 w 6096001"/>
              <a:gd name="connsiteY1425" fmla="*/ 1369344 h 5392467"/>
              <a:gd name="connsiteX1426" fmla="*/ 5540308 w 6096001"/>
              <a:gd name="connsiteY1426" fmla="*/ 1375148 h 5392467"/>
              <a:gd name="connsiteX1427" fmla="*/ 5546112 w 6096001"/>
              <a:gd name="connsiteY1427" fmla="*/ 1375148 h 5392467"/>
              <a:gd name="connsiteX1428" fmla="*/ 5548045 w 6096001"/>
              <a:gd name="connsiteY1428" fmla="*/ 1371279 h 5392467"/>
              <a:gd name="connsiteX1429" fmla="*/ 5546112 w 6096001"/>
              <a:gd name="connsiteY1429" fmla="*/ 1369344 h 5392467"/>
              <a:gd name="connsiteX1430" fmla="*/ 5971613 w 6096001"/>
              <a:gd name="connsiteY1430" fmla="*/ 1361607 h 5392467"/>
              <a:gd name="connsiteX1431" fmla="*/ 5960011 w 6096001"/>
              <a:gd name="connsiteY1431" fmla="*/ 1371279 h 5392467"/>
              <a:gd name="connsiteX1432" fmla="*/ 5971613 w 6096001"/>
              <a:gd name="connsiteY1432" fmla="*/ 1361607 h 5392467"/>
              <a:gd name="connsiteX1433" fmla="*/ 6023836 w 6096001"/>
              <a:gd name="connsiteY1433" fmla="*/ 1351938 h 5392467"/>
              <a:gd name="connsiteX1434" fmla="*/ 6024801 w 6096001"/>
              <a:gd name="connsiteY1434" fmla="*/ 1351938 h 5392467"/>
              <a:gd name="connsiteX1435" fmla="*/ 6025769 w 6096001"/>
              <a:gd name="connsiteY1435" fmla="*/ 1353873 h 5392467"/>
              <a:gd name="connsiteX1436" fmla="*/ 6027853 w 6096001"/>
              <a:gd name="connsiteY1436" fmla="*/ 1352236 h 5392467"/>
              <a:gd name="connsiteX1437" fmla="*/ 6029637 w 6096001"/>
              <a:gd name="connsiteY1437" fmla="*/ 1355806 h 5392467"/>
              <a:gd name="connsiteX1438" fmla="*/ 6023836 w 6096001"/>
              <a:gd name="connsiteY1438" fmla="*/ 1363543 h 5392467"/>
              <a:gd name="connsiteX1439" fmla="*/ 6019967 w 6096001"/>
              <a:gd name="connsiteY1439" fmla="*/ 1361607 h 5392467"/>
              <a:gd name="connsiteX1440" fmla="*/ 6023836 w 6096001"/>
              <a:gd name="connsiteY1440" fmla="*/ 1351938 h 5392467"/>
              <a:gd name="connsiteX1441" fmla="*/ 6019967 w 6096001"/>
              <a:gd name="connsiteY1441" fmla="*/ 1342269 h 5392467"/>
              <a:gd name="connsiteX1442" fmla="*/ 6020353 w 6096001"/>
              <a:gd name="connsiteY1442" fmla="*/ 1343041 h 5392467"/>
              <a:gd name="connsiteX1443" fmla="*/ 6012406 w 6096001"/>
              <a:gd name="connsiteY1443" fmla="*/ 1347015 h 5392467"/>
              <a:gd name="connsiteX1444" fmla="*/ 6010295 w 6096001"/>
              <a:gd name="connsiteY1444" fmla="*/ 1344202 h 5392467"/>
              <a:gd name="connsiteX1445" fmla="*/ 6019967 w 6096001"/>
              <a:gd name="connsiteY1445" fmla="*/ 1342269 h 5392467"/>
              <a:gd name="connsiteX1446" fmla="*/ 6033505 w 6096001"/>
              <a:gd name="connsiteY1446" fmla="*/ 1336465 h 5392467"/>
              <a:gd name="connsiteX1447" fmla="*/ 6036149 w 6096001"/>
              <a:gd name="connsiteY1447" fmla="*/ 1345717 h 5392467"/>
              <a:gd name="connsiteX1448" fmla="*/ 6027853 w 6096001"/>
              <a:gd name="connsiteY1448" fmla="*/ 1352236 h 5392467"/>
              <a:gd name="connsiteX1449" fmla="*/ 6027704 w 6096001"/>
              <a:gd name="connsiteY1449" fmla="*/ 1351938 h 5392467"/>
              <a:gd name="connsiteX1450" fmla="*/ 6024801 w 6096001"/>
              <a:gd name="connsiteY1450" fmla="*/ 1351938 h 5392467"/>
              <a:gd name="connsiteX1451" fmla="*/ 6020353 w 6096001"/>
              <a:gd name="connsiteY1451" fmla="*/ 1343041 h 5392467"/>
              <a:gd name="connsiteX1452" fmla="*/ 5608002 w 6096001"/>
              <a:gd name="connsiteY1452" fmla="*/ 1324860 h 5392467"/>
              <a:gd name="connsiteX1453" fmla="*/ 5604133 w 6096001"/>
              <a:gd name="connsiteY1453" fmla="*/ 1326796 h 5392467"/>
              <a:gd name="connsiteX1454" fmla="*/ 5606069 w 6096001"/>
              <a:gd name="connsiteY1454" fmla="*/ 1328729 h 5392467"/>
              <a:gd name="connsiteX1455" fmla="*/ 5608002 w 6096001"/>
              <a:gd name="connsiteY1455" fmla="*/ 1324860 h 5392467"/>
              <a:gd name="connsiteX1456" fmla="*/ 6095397 w 6096001"/>
              <a:gd name="connsiteY1456" fmla="*/ 1307454 h 5392467"/>
              <a:gd name="connsiteX1457" fmla="*/ 6093946 w 6096001"/>
              <a:gd name="connsiteY1457" fmla="*/ 1310597 h 5392467"/>
              <a:gd name="connsiteX1458" fmla="*/ 6092743 w 6096001"/>
              <a:gd name="connsiteY1458" fmla="*/ 1309401 h 5392467"/>
              <a:gd name="connsiteX1459" fmla="*/ 5642816 w 6096001"/>
              <a:gd name="connsiteY1459" fmla="*/ 1303586 h 5392467"/>
              <a:gd name="connsiteX1460" fmla="*/ 5623475 w 6096001"/>
              <a:gd name="connsiteY1460" fmla="*/ 1315191 h 5392467"/>
              <a:gd name="connsiteX1461" fmla="*/ 5613805 w 6096001"/>
              <a:gd name="connsiteY1461" fmla="*/ 1320992 h 5392467"/>
              <a:gd name="connsiteX1462" fmla="*/ 5609937 w 6096001"/>
              <a:gd name="connsiteY1462" fmla="*/ 1330664 h 5392467"/>
              <a:gd name="connsiteX1463" fmla="*/ 5627343 w 6096001"/>
              <a:gd name="connsiteY1463" fmla="*/ 1328729 h 5392467"/>
              <a:gd name="connsiteX1464" fmla="*/ 5642816 w 6096001"/>
              <a:gd name="connsiteY1464" fmla="*/ 1303586 h 5392467"/>
              <a:gd name="connsiteX1465" fmla="*/ 6077989 w 6096001"/>
              <a:gd name="connsiteY1465" fmla="*/ 1291981 h 5392467"/>
              <a:gd name="connsiteX1466" fmla="*/ 6088325 w 6096001"/>
              <a:gd name="connsiteY1466" fmla="*/ 1305006 h 5392467"/>
              <a:gd name="connsiteX1467" fmla="*/ 6092743 w 6096001"/>
              <a:gd name="connsiteY1467" fmla="*/ 1309401 h 5392467"/>
              <a:gd name="connsiteX1468" fmla="*/ 6066386 w 6096001"/>
              <a:gd name="connsiteY1468" fmla="*/ 1328729 h 5392467"/>
              <a:gd name="connsiteX1469" fmla="*/ 6037373 w 6096001"/>
              <a:gd name="connsiteY1469" fmla="*/ 1350003 h 5392467"/>
              <a:gd name="connsiteX1470" fmla="*/ 6036149 w 6096001"/>
              <a:gd name="connsiteY1470" fmla="*/ 1345717 h 5392467"/>
              <a:gd name="connsiteX1471" fmla="*/ 6052846 w 6096001"/>
              <a:gd name="connsiteY1471" fmla="*/ 1332597 h 5392467"/>
              <a:gd name="connsiteX1472" fmla="*/ 6050911 w 6096001"/>
              <a:gd name="connsiteY1472" fmla="*/ 1330664 h 5392467"/>
              <a:gd name="connsiteX1473" fmla="*/ 6031570 w 6096001"/>
              <a:gd name="connsiteY1473" fmla="*/ 1334532 h 5392467"/>
              <a:gd name="connsiteX1474" fmla="*/ 6033505 w 6096001"/>
              <a:gd name="connsiteY1474" fmla="*/ 1330664 h 5392467"/>
              <a:gd name="connsiteX1475" fmla="*/ 6077989 w 6096001"/>
              <a:gd name="connsiteY1475" fmla="*/ 1291981 h 5392467"/>
              <a:gd name="connsiteX1476" fmla="*/ 5644749 w 6096001"/>
              <a:gd name="connsiteY1476" fmla="*/ 1251363 h 5392467"/>
              <a:gd name="connsiteX1477" fmla="*/ 5635080 w 6096001"/>
              <a:gd name="connsiteY1477" fmla="*/ 1262968 h 5392467"/>
              <a:gd name="connsiteX1478" fmla="*/ 5638948 w 6096001"/>
              <a:gd name="connsiteY1478" fmla="*/ 1276508 h 5392467"/>
              <a:gd name="connsiteX1479" fmla="*/ 5629278 w 6096001"/>
              <a:gd name="connsiteY1479" fmla="*/ 1286178 h 5392467"/>
              <a:gd name="connsiteX1480" fmla="*/ 5623475 w 6096001"/>
              <a:gd name="connsiteY1480" fmla="*/ 1295850 h 5392467"/>
              <a:gd name="connsiteX1481" fmla="*/ 5644749 w 6096001"/>
              <a:gd name="connsiteY1481" fmla="*/ 1301651 h 5392467"/>
              <a:gd name="connsiteX1482" fmla="*/ 5660224 w 6096001"/>
              <a:gd name="connsiteY1482" fmla="*/ 1305519 h 5392467"/>
              <a:gd name="connsiteX1483" fmla="*/ 5615738 w 6096001"/>
              <a:gd name="connsiteY1483" fmla="*/ 1346137 h 5392467"/>
              <a:gd name="connsiteX1484" fmla="*/ 5557714 w 6096001"/>
              <a:gd name="connsiteY1484" fmla="*/ 1382884 h 5392467"/>
              <a:gd name="connsiteX1485" fmla="*/ 5559650 w 6096001"/>
              <a:gd name="connsiteY1485" fmla="*/ 1390621 h 5392467"/>
              <a:gd name="connsiteX1486" fmla="*/ 5551913 w 6096001"/>
              <a:gd name="connsiteY1486" fmla="*/ 1396422 h 5392467"/>
              <a:gd name="connsiteX1487" fmla="*/ 5522903 w 6096001"/>
              <a:gd name="connsiteY1487" fmla="*/ 1409962 h 5392467"/>
              <a:gd name="connsiteX1488" fmla="*/ 5517099 w 6096001"/>
              <a:gd name="connsiteY1488" fmla="*/ 1402225 h 5392467"/>
              <a:gd name="connsiteX1489" fmla="*/ 5503561 w 6096001"/>
              <a:gd name="connsiteY1489" fmla="*/ 1409962 h 5392467"/>
              <a:gd name="connsiteX1490" fmla="*/ 5501628 w 6096001"/>
              <a:gd name="connsiteY1490" fmla="*/ 1417699 h 5392467"/>
              <a:gd name="connsiteX1491" fmla="*/ 5503561 w 6096001"/>
              <a:gd name="connsiteY1491" fmla="*/ 1417699 h 5392467"/>
              <a:gd name="connsiteX1492" fmla="*/ 5503561 w 6096001"/>
              <a:gd name="connsiteY1492" fmla="*/ 1419631 h 5392467"/>
              <a:gd name="connsiteX1493" fmla="*/ 5502112 w 6096001"/>
              <a:gd name="connsiteY1493" fmla="*/ 1421083 h 5392467"/>
              <a:gd name="connsiteX1494" fmla="*/ 5501628 w 6096001"/>
              <a:gd name="connsiteY1494" fmla="*/ 1419631 h 5392467"/>
              <a:gd name="connsiteX1495" fmla="*/ 5501628 w 6096001"/>
              <a:gd name="connsiteY1495" fmla="*/ 1421567 h 5392467"/>
              <a:gd name="connsiteX1496" fmla="*/ 5502112 w 6096001"/>
              <a:gd name="connsiteY1496" fmla="*/ 1421083 h 5392467"/>
              <a:gd name="connsiteX1497" fmla="*/ 5503561 w 6096001"/>
              <a:gd name="connsiteY1497" fmla="*/ 1425435 h 5392467"/>
              <a:gd name="connsiteX1498" fmla="*/ 5573190 w 6096001"/>
              <a:gd name="connsiteY1498" fmla="*/ 1388685 h 5392467"/>
              <a:gd name="connsiteX1499" fmla="*/ 5644749 w 6096001"/>
              <a:gd name="connsiteY1499" fmla="*/ 1396422 h 5392467"/>
              <a:gd name="connsiteX1500" fmla="*/ 5650553 w 6096001"/>
              <a:gd name="connsiteY1500" fmla="*/ 1386752 h 5392467"/>
              <a:gd name="connsiteX1501" fmla="*/ 5631211 w 6096001"/>
              <a:gd name="connsiteY1501" fmla="*/ 1382884 h 5392467"/>
              <a:gd name="connsiteX1502" fmla="*/ 5635080 w 6096001"/>
              <a:gd name="connsiteY1502" fmla="*/ 1375148 h 5392467"/>
              <a:gd name="connsiteX1503" fmla="*/ 5646684 w 6096001"/>
              <a:gd name="connsiteY1503" fmla="*/ 1367411 h 5392467"/>
              <a:gd name="connsiteX1504" fmla="*/ 5637015 w 6096001"/>
              <a:gd name="connsiteY1504" fmla="*/ 1350003 h 5392467"/>
              <a:gd name="connsiteX1505" fmla="*/ 5664090 w 6096001"/>
              <a:gd name="connsiteY1505" fmla="*/ 1328729 h 5392467"/>
              <a:gd name="connsiteX1506" fmla="*/ 5664090 w 6096001"/>
              <a:gd name="connsiteY1506" fmla="*/ 1313255 h 5392467"/>
              <a:gd name="connsiteX1507" fmla="*/ 5664090 w 6096001"/>
              <a:gd name="connsiteY1507" fmla="*/ 1311323 h 5392467"/>
              <a:gd name="connsiteX1508" fmla="*/ 5662157 w 6096001"/>
              <a:gd name="connsiteY1508" fmla="*/ 1261035 h 5392467"/>
              <a:gd name="connsiteX1509" fmla="*/ 5654421 w 6096001"/>
              <a:gd name="connsiteY1509" fmla="*/ 1262968 h 5392467"/>
              <a:gd name="connsiteX1510" fmla="*/ 5644749 w 6096001"/>
              <a:gd name="connsiteY1510" fmla="*/ 1251363 h 5392467"/>
              <a:gd name="connsiteX1511" fmla="*/ 5635080 w 6096001"/>
              <a:gd name="connsiteY1511" fmla="*/ 1241694 h 5392467"/>
              <a:gd name="connsiteX1512" fmla="*/ 5629278 w 6096001"/>
              <a:gd name="connsiteY1512" fmla="*/ 1247497 h 5392467"/>
              <a:gd name="connsiteX1513" fmla="*/ 5640883 w 6096001"/>
              <a:gd name="connsiteY1513" fmla="*/ 1255234 h 5392467"/>
              <a:gd name="connsiteX1514" fmla="*/ 5640883 w 6096001"/>
              <a:gd name="connsiteY1514" fmla="*/ 1247497 h 5392467"/>
              <a:gd name="connsiteX1515" fmla="*/ 5635080 w 6096001"/>
              <a:gd name="connsiteY1515" fmla="*/ 1241694 h 5392467"/>
              <a:gd name="connsiteX1516" fmla="*/ 5573190 w 6096001"/>
              <a:gd name="connsiteY1516" fmla="*/ 1013469 h 5392467"/>
              <a:gd name="connsiteX1517" fmla="*/ 5569322 w 6096001"/>
              <a:gd name="connsiteY1517" fmla="*/ 1015404 h 5392467"/>
              <a:gd name="connsiteX1518" fmla="*/ 5565453 w 6096001"/>
              <a:gd name="connsiteY1518" fmla="*/ 1021206 h 5392467"/>
              <a:gd name="connsiteX1519" fmla="*/ 5565453 w 6096001"/>
              <a:gd name="connsiteY1519" fmla="*/ 1023141 h 5392467"/>
              <a:gd name="connsiteX1520" fmla="*/ 5573190 w 6096001"/>
              <a:gd name="connsiteY1520" fmla="*/ 1013469 h 5392467"/>
              <a:gd name="connsiteX1521" fmla="*/ 4991023 w 6096001"/>
              <a:gd name="connsiteY1521" fmla="*/ 986394 h 5392467"/>
              <a:gd name="connsiteX1522" fmla="*/ 4985222 w 6096001"/>
              <a:gd name="connsiteY1522" fmla="*/ 990260 h 5392467"/>
              <a:gd name="connsiteX1523" fmla="*/ 4987155 w 6096001"/>
              <a:gd name="connsiteY1523" fmla="*/ 992195 h 5392467"/>
              <a:gd name="connsiteX1524" fmla="*/ 4992959 w 6096001"/>
              <a:gd name="connsiteY1524" fmla="*/ 988327 h 5392467"/>
              <a:gd name="connsiteX1525" fmla="*/ 4991023 w 6096001"/>
              <a:gd name="connsiteY1525" fmla="*/ 986394 h 5392467"/>
              <a:gd name="connsiteX1526" fmla="*/ 5462946 w 6096001"/>
              <a:gd name="connsiteY1526" fmla="*/ 965117 h 5392467"/>
              <a:gd name="connsiteX1527" fmla="*/ 5451341 w 6096001"/>
              <a:gd name="connsiteY1527" fmla="*/ 967052 h 5392467"/>
              <a:gd name="connsiteX1528" fmla="*/ 5428131 w 6096001"/>
              <a:gd name="connsiteY1528" fmla="*/ 986394 h 5392467"/>
              <a:gd name="connsiteX1529" fmla="*/ 5424263 w 6096001"/>
              <a:gd name="connsiteY1529" fmla="*/ 990260 h 5392467"/>
              <a:gd name="connsiteX1530" fmla="*/ 5426196 w 6096001"/>
              <a:gd name="connsiteY1530" fmla="*/ 1009601 h 5392467"/>
              <a:gd name="connsiteX1531" fmla="*/ 5445537 w 6096001"/>
              <a:gd name="connsiteY1531" fmla="*/ 996063 h 5392467"/>
              <a:gd name="connsiteX1532" fmla="*/ 5461010 w 6096001"/>
              <a:gd name="connsiteY1532" fmla="*/ 978657 h 5392467"/>
              <a:gd name="connsiteX1533" fmla="*/ 5462946 w 6096001"/>
              <a:gd name="connsiteY1533" fmla="*/ 965117 h 5392467"/>
              <a:gd name="connsiteX1534" fmla="*/ 5468747 w 6096001"/>
              <a:gd name="connsiteY1534" fmla="*/ 943843 h 5392467"/>
              <a:gd name="connsiteX1535" fmla="*/ 5466814 w 6096001"/>
              <a:gd name="connsiteY1535" fmla="*/ 949644 h 5392467"/>
              <a:gd name="connsiteX1536" fmla="*/ 5468747 w 6096001"/>
              <a:gd name="connsiteY1536" fmla="*/ 955448 h 5392467"/>
              <a:gd name="connsiteX1537" fmla="*/ 5472615 w 6096001"/>
              <a:gd name="connsiteY1537" fmla="*/ 951579 h 5392467"/>
              <a:gd name="connsiteX1538" fmla="*/ 5472615 w 6096001"/>
              <a:gd name="connsiteY1538" fmla="*/ 945776 h 5392467"/>
              <a:gd name="connsiteX1539" fmla="*/ 5470680 w 6096001"/>
              <a:gd name="connsiteY1539" fmla="*/ 943843 h 5392467"/>
              <a:gd name="connsiteX1540" fmla="*/ 5468747 w 6096001"/>
              <a:gd name="connsiteY1540" fmla="*/ 943843 h 5392467"/>
              <a:gd name="connsiteX1541" fmla="*/ 5298546 w 6096001"/>
              <a:gd name="connsiteY1541" fmla="*/ 878083 h 5392467"/>
              <a:gd name="connsiteX1542" fmla="*/ 5281140 w 6096001"/>
              <a:gd name="connsiteY1542" fmla="*/ 893556 h 5392467"/>
              <a:gd name="connsiteX1543" fmla="*/ 5283073 w 6096001"/>
              <a:gd name="connsiteY1543" fmla="*/ 895488 h 5392467"/>
              <a:gd name="connsiteX1544" fmla="*/ 5290810 w 6096001"/>
              <a:gd name="connsiteY1544" fmla="*/ 883884 h 5392467"/>
              <a:gd name="connsiteX1545" fmla="*/ 5298546 w 6096001"/>
              <a:gd name="connsiteY1545" fmla="*/ 878083 h 5392467"/>
              <a:gd name="connsiteX1546" fmla="*/ 999037 w 6096001"/>
              <a:gd name="connsiteY1546" fmla="*/ 876150 h 5392467"/>
              <a:gd name="connsiteX1547" fmla="*/ 999037 w 6096001"/>
              <a:gd name="connsiteY1547" fmla="*/ 878083 h 5392467"/>
              <a:gd name="connsiteX1548" fmla="*/ 1000972 w 6096001"/>
              <a:gd name="connsiteY1548" fmla="*/ 876150 h 5392467"/>
              <a:gd name="connsiteX1549" fmla="*/ 999037 w 6096001"/>
              <a:gd name="connsiteY1549" fmla="*/ 876150 h 5392467"/>
              <a:gd name="connsiteX1550" fmla="*/ 886860 w 6096001"/>
              <a:gd name="connsiteY1550" fmla="*/ 860677 h 5392467"/>
              <a:gd name="connsiteX1551" fmla="*/ 886860 w 6096001"/>
              <a:gd name="connsiteY1551" fmla="*/ 864545 h 5392467"/>
              <a:gd name="connsiteX1552" fmla="*/ 890728 w 6096001"/>
              <a:gd name="connsiteY1552" fmla="*/ 864545 h 5392467"/>
              <a:gd name="connsiteX1553" fmla="*/ 892661 w 6096001"/>
              <a:gd name="connsiteY1553" fmla="*/ 860677 h 5392467"/>
              <a:gd name="connsiteX1554" fmla="*/ 886860 w 6096001"/>
              <a:gd name="connsiteY1554" fmla="*/ 860677 h 5392467"/>
              <a:gd name="connsiteX1555" fmla="*/ 5321756 w 6096001"/>
              <a:gd name="connsiteY1555" fmla="*/ 854873 h 5392467"/>
              <a:gd name="connsiteX1556" fmla="*/ 5304350 w 6096001"/>
              <a:gd name="connsiteY1556" fmla="*/ 866478 h 5392467"/>
              <a:gd name="connsiteX1557" fmla="*/ 5310151 w 6096001"/>
              <a:gd name="connsiteY1557" fmla="*/ 872281 h 5392467"/>
              <a:gd name="connsiteX1558" fmla="*/ 5321756 w 6096001"/>
              <a:gd name="connsiteY1558" fmla="*/ 854873 h 5392467"/>
              <a:gd name="connsiteX1559" fmla="*/ 1873250 w 6096001"/>
              <a:gd name="connsiteY1559" fmla="*/ 835532 h 5392467"/>
              <a:gd name="connsiteX1560" fmla="*/ 1865516 w 6096001"/>
              <a:gd name="connsiteY1560" fmla="*/ 841335 h 5392467"/>
              <a:gd name="connsiteX1561" fmla="*/ 1865516 w 6096001"/>
              <a:gd name="connsiteY1561" fmla="*/ 843268 h 5392467"/>
              <a:gd name="connsiteX1562" fmla="*/ 1879054 w 6096001"/>
              <a:gd name="connsiteY1562" fmla="*/ 837467 h 5392467"/>
              <a:gd name="connsiteX1563" fmla="*/ 1873250 w 6096001"/>
              <a:gd name="connsiteY1563" fmla="*/ 835532 h 5392467"/>
              <a:gd name="connsiteX1564" fmla="*/ 1902263 w 6096001"/>
              <a:gd name="connsiteY1564" fmla="*/ 827795 h 5392467"/>
              <a:gd name="connsiteX1565" fmla="*/ 1882922 w 6096001"/>
              <a:gd name="connsiteY1565" fmla="*/ 835532 h 5392467"/>
              <a:gd name="connsiteX1566" fmla="*/ 1884855 w 6096001"/>
              <a:gd name="connsiteY1566" fmla="*/ 835532 h 5392467"/>
              <a:gd name="connsiteX1567" fmla="*/ 1882922 w 6096001"/>
              <a:gd name="connsiteY1567" fmla="*/ 843268 h 5392467"/>
              <a:gd name="connsiteX1568" fmla="*/ 1880987 w 6096001"/>
              <a:gd name="connsiteY1568" fmla="*/ 845204 h 5392467"/>
              <a:gd name="connsiteX1569" fmla="*/ 1902263 w 6096001"/>
              <a:gd name="connsiteY1569" fmla="*/ 827795 h 5392467"/>
              <a:gd name="connsiteX1570" fmla="*/ 1718523 w 6096001"/>
              <a:gd name="connsiteY1570" fmla="*/ 816190 h 5392467"/>
              <a:gd name="connsiteX1571" fmla="*/ 1677907 w 6096001"/>
              <a:gd name="connsiteY1571" fmla="*/ 835532 h 5392467"/>
              <a:gd name="connsiteX1572" fmla="*/ 1718523 w 6096001"/>
              <a:gd name="connsiteY1572" fmla="*/ 816190 h 5392467"/>
              <a:gd name="connsiteX1573" fmla="*/ 1991231 w 6096001"/>
              <a:gd name="connsiteY1573" fmla="*/ 792983 h 5392467"/>
              <a:gd name="connsiteX1574" fmla="*/ 1979626 w 6096001"/>
              <a:gd name="connsiteY1574" fmla="*/ 802653 h 5392467"/>
              <a:gd name="connsiteX1575" fmla="*/ 1989298 w 6096001"/>
              <a:gd name="connsiteY1575" fmla="*/ 800720 h 5392467"/>
              <a:gd name="connsiteX1576" fmla="*/ 1993166 w 6096001"/>
              <a:gd name="connsiteY1576" fmla="*/ 792983 h 5392467"/>
              <a:gd name="connsiteX1577" fmla="*/ 1991231 w 6096001"/>
              <a:gd name="connsiteY1577" fmla="*/ 792983 h 5392467"/>
              <a:gd name="connsiteX1578" fmla="*/ 1037719 w 6096001"/>
              <a:gd name="connsiteY1578" fmla="*/ 781378 h 5392467"/>
              <a:gd name="connsiteX1579" fmla="*/ 1033851 w 6096001"/>
              <a:gd name="connsiteY1579" fmla="*/ 783311 h 5392467"/>
              <a:gd name="connsiteX1580" fmla="*/ 1035784 w 6096001"/>
              <a:gd name="connsiteY1580" fmla="*/ 785247 h 5392467"/>
              <a:gd name="connsiteX1581" fmla="*/ 1037719 w 6096001"/>
              <a:gd name="connsiteY1581" fmla="*/ 781378 h 5392467"/>
              <a:gd name="connsiteX1582" fmla="*/ 1782350 w 6096001"/>
              <a:gd name="connsiteY1582" fmla="*/ 777510 h 5392467"/>
              <a:gd name="connsiteX1583" fmla="*/ 1753337 w 6096001"/>
              <a:gd name="connsiteY1583" fmla="*/ 794916 h 5392467"/>
              <a:gd name="connsiteX1584" fmla="*/ 1755272 w 6096001"/>
              <a:gd name="connsiteY1584" fmla="*/ 798784 h 5392467"/>
              <a:gd name="connsiteX1585" fmla="*/ 1784283 w 6096001"/>
              <a:gd name="connsiteY1585" fmla="*/ 779443 h 5392467"/>
              <a:gd name="connsiteX1586" fmla="*/ 1782350 w 6096001"/>
              <a:gd name="connsiteY1586" fmla="*/ 777510 h 5392467"/>
              <a:gd name="connsiteX1587" fmla="*/ 4911725 w 6096001"/>
              <a:gd name="connsiteY1587" fmla="*/ 767838 h 5392467"/>
              <a:gd name="connsiteX1588" fmla="*/ 4900121 w 6096001"/>
              <a:gd name="connsiteY1588" fmla="*/ 777510 h 5392467"/>
              <a:gd name="connsiteX1589" fmla="*/ 4894319 w 6096001"/>
              <a:gd name="connsiteY1589" fmla="*/ 781378 h 5392467"/>
              <a:gd name="connsiteX1590" fmla="*/ 4878846 w 6096001"/>
              <a:gd name="connsiteY1590" fmla="*/ 787180 h 5392467"/>
              <a:gd name="connsiteX1591" fmla="*/ 4834363 w 6096001"/>
              <a:gd name="connsiteY1591" fmla="*/ 820059 h 5392467"/>
              <a:gd name="connsiteX1592" fmla="*/ 4826626 w 6096001"/>
              <a:gd name="connsiteY1592" fmla="*/ 827795 h 5392467"/>
              <a:gd name="connsiteX1593" fmla="*/ 4844032 w 6096001"/>
              <a:gd name="connsiteY1593" fmla="*/ 820059 h 5392467"/>
              <a:gd name="connsiteX1594" fmla="*/ 4847900 w 6096001"/>
              <a:gd name="connsiteY1594" fmla="*/ 825862 h 5392467"/>
              <a:gd name="connsiteX1595" fmla="*/ 4855637 w 6096001"/>
              <a:gd name="connsiteY1595" fmla="*/ 816190 h 5392467"/>
              <a:gd name="connsiteX1596" fmla="*/ 4857572 w 6096001"/>
              <a:gd name="connsiteY1596" fmla="*/ 810389 h 5392467"/>
              <a:gd name="connsiteX1597" fmla="*/ 4886583 w 6096001"/>
              <a:gd name="connsiteY1597" fmla="*/ 792983 h 5392467"/>
              <a:gd name="connsiteX1598" fmla="*/ 4911725 w 6096001"/>
              <a:gd name="connsiteY1598" fmla="*/ 779443 h 5392467"/>
              <a:gd name="connsiteX1599" fmla="*/ 4911725 w 6096001"/>
              <a:gd name="connsiteY1599" fmla="*/ 767838 h 5392467"/>
              <a:gd name="connsiteX1600" fmla="*/ 5325624 w 6096001"/>
              <a:gd name="connsiteY1600" fmla="*/ 762037 h 5392467"/>
              <a:gd name="connsiteX1601" fmla="*/ 5321756 w 6096001"/>
              <a:gd name="connsiteY1601" fmla="*/ 765905 h 5392467"/>
              <a:gd name="connsiteX1602" fmla="*/ 5325624 w 6096001"/>
              <a:gd name="connsiteY1602" fmla="*/ 765905 h 5392467"/>
              <a:gd name="connsiteX1603" fmla="*/ 5327559 w 6096001"/>
              <a:gd name="connsiteY1603" fmla="*/ 763970 h 5392467"/>
              <a:gd name="connsiteX1604" fmla="*/ 5325624 w 6096001"/>
              <a:gd name="connsiteY1604" fmla="*/ 762037 h 5392467"/>
              <a:gd name="connsiteX1605" fmla="*/ 4902056 w 6096001"/>
              <a:gd name="connsiteY1605" fmla="*/ 762037 h 5392467"/>
              <a:gd name="connsiteX1606" fmla="*/ 4898188 w 6096001"/>
              <a:gd name="connsiteY1606" fmla="*/ 765905 h 5392467"/>
              <a:gd name="connsiteX1607" fmla="*/ 4898188 w 6096001"/>
              <a:gd name="connsiteY1607" fmla="*/ 767838 h 5392467"/>
              <a:gd name="connsiteX1608" fmla="*/ 4902056 w 6096001"/>
              <a:gd name="connsiteY1608" fmla="*/ 762037 h 5392467"/>
              <a:gd name="connsiteX1609" fmla="*/ 5401054 w 6096001"/>
              <a:gd name="connsiteY1609" fmla="*/ 756234 h 5392467"/>
              <a:gd name="connsiteX1610" fmla="*/ 5385581 w 6096001"/>
              <a:gd name="connsiteY1610" fmla="*/ 767838 h 5392467"/>
              <a:gd name="connsiteX1611" fmla="*/ 5389449 w 6096001"/>
              <a:gd name="connsiteY1611" fmla="*/ 767838 h 5392467"/>
              <a:gd name="connsiteX1612" fmla="*/ 5397185 w 6096001"/>
              <a:gd name="connsiteY1612" fmla="*/ 762037 h 5392467"/>
              <a:gd name="connsiteX1613" fmla="*/ 5401054 w 6096001"/>
              <a:gd name="connsiteY1613" fmla="*/ 756234 h 5392467"/>
              <a:gd name="connsiteX1614" fmla="*/ 1834568 w 6096001"/>
              <a:gd name="connsiteY1614" fmla="*/ 756234 h 5392467"/>
              <a:gd name="connsiteX1615" fmla="*/ 1832635 w 6096001"/>
              <a:gd name="connsiteY1615" fmla="*/ 758169 h 5392467"/>
              <a:gd name="connsiteX1616" fmla="*/ 1836503 w 6096001"/>
              <a:gd name="connsiteY1616" fmla="*/ 756234 h 5392467"/>
              <a:gd name="connsiteX1617" fmla="*/ 1834568 w 6096001"/>
              <a:gd name="connsiteY1617" fmla="*/ 756234 h 5392467"/>
              <a:gd name="connsiteX1618" fmla="*/ 1828767 w 6096001"/>
              <a:gd name="connsiteY1618" fmla="*/ 748497 h 5392467"/>
              <a:gd name="connsiteX1619" fmla="*/ 1822965 w 6096001"/>
              <a:gd name="connsiteY1619" fmla="*/ 750432 h 5392467"/>
              <a:gd name="connsiteX1620" fmla="*/ 1824898 w 6096001"/>
              <a:gd name="connsiteY1620" fmla="*/ 750432 h 5392467"/>
              <a:gd name="connsiteX1621" fmla="*/ 1809425 w 6096001"/>
              <a:gd name="connsiteY1621" fmla="*/ 763970 h 5392467"/>
              <a:gd name="connsiteX1622" fmla="*/ 1819097 w 6096001"/>
              <a:gd name="connsiteY1622" fmla="*/ 767838 h 5392467"/>
              <a:gd name="connsiteX1623" fmla="*/ 1822965 w 6096001"/>
              <a:gd name="connsiteY1623" fmla="*/ 756234 h 5392467"/>
              <a:gd name="connsiteX1624" fmla="*/ 1826834 w 6096001"/>
              <a:gd name="connsiteY1624" fmla="*/ 750432 h 5392467"/>
              <a:gd name="connsiteX1625" fmla="*/ 1828767 w 6096001"/>
              <a:gd name="connsiteY1625" fmla="*/ 748497 h 5392467"/>
              <a:gd name="connsiteX1626" fmla="*/ 5397185 w 6096001"/>
              <a:gd name="connsiteY1626" fmla="*/ 742696 h 5392467"/>
              <a:gd name="connsiteX1627" fmla="*/ 5393317 w 6096001"/>
              <a:gd name="connsiteY1627" fmla="*/ 748497 h 5392467"/>
              <a:gd name="connsiteX1628" fmla="*/ 5399121 w 6096001"/>
              <a:gd name="connsiteY1628" fmla="*/ 744629 h 5392467"/>
              <a:gd name="connsiteX1629" fmla="*/ 5397185 w 6096001"/>
              <a:gd name="connsiteY1629" fmla="*/ 742696 h 5392467"/>
              <a:gd name="connsiteX1630" fmla="*/ 2122235 w 6096001"/>
              <a:gd name="connsiteY1630" fmla="*/ 705949 h 5392467"/>
              <a:gd name="connsiteX1631" fmla="*/ 2122752 w 6096001"/>
              <a:gd name="connsiteY1631" fmla="*/ 705949 h 5392467"/>
              <a:gd name="connsiteX1632" fmla="*/ 2122752 w 6096001"/>
              <a:gd name="connsiteY1632" fmla="*/ 709815 h 5392467"/>
              <a:gd name="connsiteX1633" fmla="*/ 2121769 w 6096001"/>
              <a:gd name="connsiteY1633" fmla="*/ 707852 h 5392467"/>
              <a:gd name="connsiteX1634" fmla="*/ 5445537 w 6096001"/>
              <a:gd name="connsiteY1634" fmla="*/ 702080 h 5392467"/>
              <a:gd name="connsiteX1635" fmla="*/ 5441669 w 6096001"/>
              <a:gd name="connsiteY1635" fmla="*/ 705949 h 5392467"/>
              <a:gd name="connsiteX1636" fmla="*/ 5445537 w 6096001"/>
              <a:gd name="connsiteY1636" fmla="*/ 707882 h 5392467"/>
              <a:gd name="connsiteX1637" fmla="*/ 5447473 w 6096001"/>
              <a:gd name="connsiteY1637" fmla="*/ 704013 h 5392467"/>
              <a:gd name="connsiteX1638" fmla="*/ 5445537 w 6096001"/>
              <a:gd name="connsiteY1638" fmla="*/ 702080 h 5392467"/>
              <a:gd name="connsiteX1639" fmla="*/ 1832635 w 6096001"/>
              <a:gd name="connsiteY1639" fmla="*/ 700145 h 5392467"/>
              <a:gd name="connsiteX1640" fmla="*/ 1805557 w 6096001"/>
              <a:gd name="connsiteY1640" fmla="*/ 707882 h 5392467"/>
              <a:gd name="connsiteX1641" fmla="*/ 1813294 w 6096001"/>
              <a:gd name="connsiteY1641" fmla="*/ 711750 h 5392467"/>
              <a:gd name="connsiteX1642" fmla="*/ 1811361 w 6096001"/>
              <a:gd name="connsiteY1642" fmla="*/ 713685 h 5392467"/>
              <a:gd name="connsiteX1643" fmla="*/ 1706918 w 6096001"/>
              <a:gd name="connsiteY1643" fmla="*/ 756234 h 5392467"/>
              <a:gd name="connsiteX1644" fmla="*/ 1703050 w 6096001"/>
              <a:gd name="connsiteY1644" fmla="*/ 758169 h 5392467"/>
              <a:gd name="connsiteX1645" fmla="*/ 1697248 w 6096001"/>
              <a:gd name="connsiteY1645" fmla="*/ 769774 h 5392467"/>
              <a:gd name="connsiteX1646" fmla="*/ 1689512 w 6096001"/>
              <a:gd name="connsiteY1646" fmla="*/ 789115 h 5392467"/>
              <a:gd name="connsiteX1647" fmla="*/ 1701117 w 6096001"/>
              <a:gd name="connsiteY1647" fmla="*/ 783311 h 5392467"/>
              <a:gd name="connsiteX1648" fmla="*/ 1710786 w 6096001"/>
              <a:gd name="connsiteY1648" fmla="*/ 777510 h 5392467"/>
              <a:gd name="connsiteX1649" fmla="*/ 1714654 w 6096001"/>
              <a:gd name="connsiteY1649" fmla="*/ 775575 h 5392467"/>
              <a:gd name="connsiteX1650" fmla="*/ 1726259 w 6096001"/>
              <a:gd name="connsiteY1650" fmla="*/ 769774 h 5392467"/>
              <a:gd name="connsiteX1651" fmla="*/ 1730127 w 6096001"/>
              <a:gd name="connsiteY1651" fmla="*/ 767838 h 5392467"/>
              <a:gd name="connsiteX1652" fmla="*/ 1741732 w 6096001"/>
              <a:gd name="connsiteY1652" fmla="*/ 762037 h 5392467"/>
              <a:gd name="connsiteX1653" fmla="*/ 1830702 w 6096001"/>
              <a:gd name="connsiteY1653" fmla="*/ 719486 h 5392467"/>
              <a:gd name="connsiteX1654" fmla="*/ 1836503 w 6096001"/>
              <a:gd name="connsiteY1654" fmla="*/ 715618 h 5392467"/>
              <a:gd name="connsiteX1655" fmla="*/ 1853909 w 6096001"/>
              <a:gd name="connsiteY1655" fmla="*/ 705949 h 5392467"/>
              <a:gd name="connsiteX1656" fmla="*/ 1844240 w 6096001"/>
              <a:gd name="connsiteY1656" fmla="*/ 707882 h 5392467"/>
              <a:gd name="connsiteX1657" fmla="*/ 1836503 w 6096001"/>
              <a:gd name="connsiteY1657" fmla="*/ 713685 h 5392467"/>
              <a:gd name="connsiteX1658" fmla="*/ 1832635 w 6096001"/>
              <a:gd name="connsiteY1658" fmla="*/ 700145 h 5392467"/>
              <a:gd name="connsiteX1659" fmla="*/ 5372043 w 6096001"/>
              <a:gd name="connsiteY1659" fmla="*/ 694344 h 5392467"/>
              <a:gd name="connsiteX1660" fmla="*/ 5364306 w 6096001"/>
              <a:gd name="connsiteY1660" fmla="*/ 700145 h 5392467"/>
              <a:gd name="connsiteX1661" fmla="*/ 5366239 w 6096001"/>
              <a:gd name="connsiteY1661" fmla="*/ 702080 h 5392467"/>
              <a:gd name="connsiteX1662" fmla="*/ 5372043 w 6096001"/>
              <a:gd name="connsiteY1662" fmla="*/ 694344 h 5392467"/>
              <a:gd name="connsiteX1663" fmla="*/ 1981562 w 6096001"/>
              <a:gd name="connsiteY1663" fmla="*/ 690476 h 5392467"/>
              <a:gd name="connsiteX1664" fmla="*/ 1952551 w 6096001"/>
              <a:gd name="connsiteY1664" fmla="*/ 698212 h 5392467"/>
              <a:gd name="connsiteX1665" fmla="*/ 1948680 w 6096001"/>
              <a:gd name="connsiteY1665" fmla="*/ 707882 h 5392467"/>
              <a:gd name="connsiteX1666" fmla="*/ 1973825 w 6096001"/>
              <a:gd name="connsiteY1666" fmla="*/ 698212 h 5392467"/>
              <a:gd name="connsiteX1667" fmla="*/ 1981562 w 6096001"/>
              <a:gd name="connsiteY1667" fmla="*/ 690476 h 5392467"/>
              <a:gd name="connsiteX1668" fmla="*/ 1860437 w 6096001"/>
              <a:gd name="connsiteY1668" fmla="*/ 685157 h 5392467"/>
              <a:gd name="connsiteX1669" fmla="*/ 1850043 w 6096001"/>
              <a:gd name="connsiteY1669" fmla="*/ 694344 h 5392467"/>
              <a:gd name="connsiteX1670" fmla="*/ 1863581 w 6096001"/>
              <a:gd name="connsiteY1670" fmla="*/ 690476 h 5392467"/>
              <a:gd name="connsiteX1671" fmla="*/ 1860437 w 6096001"/>
              <a:gd name="connsiteY1671" fmla="*/ 685157 h 5392467"/>
              <a:gd name="connsiteX1672" fmla="*/ 1735931 w 6096001"/>
              <a:gd name="connsiteY1672" fmla="*/ 684672 h 5392467"/>
              <a:gd name="connsiteX1673" fmla="*/ 1714654 w 6096001"/>
              <a:gd name="connsiteY1673" fmla="*/ 686607 h 5392467"/>
              <a:gd name="connsiteX1674" fmla="*/ 1718523 w 6096001"/>
              <a:gd name="connsiteY1674" fmla="*/ 692409 h 5392467"/>
              <a:gd name="connsiteX1675" fmla="*/ 1735931 w 6096001"/>
              <a:gd name="connsiteY1675" fmla="*/ 688540 h 5392467"/>
              <a:gd name="connsiteX1676" fmla="*/ 1735931 w 6096001"/>
              <a:gd name="connsiteY1676" fmla="*/ 684672 h 5392467"/>
              <a:gd name="connsiteX1677" fmla="*/ 5414594 w 6096001"/>
              <a:gd name="connsiteY1677" fmla="*/ 663398 h 5392467"/>
              <a:gd name="connsiteX1678" fmla="*/ 5399121 w 6096001"/>
              <a:gd name="connsiteY1678" fmla="*/ 671134 h 5392467"/>
              <a:gd name="connsiteX1679" fmla="*/ 5414594 w 6096001"/>
              <a:gd name="connsiteY1679" fmla="*/ 663398 h 5392467"/>
              <a:gd name="connsiteX1680" fmla="*/ 1726259 w 6096001"/>
              <a:gd name="connsiteY1680" fmla="*/ 663398 h 5392467"/>
              <a:gd name="connsiteX1681" fmla="*/ 1716590 w 6096001"/>
              <a:gd name="connsiteY1681" fmla="*/ 669199 h 5392467"/>
              <a:gd name="connsiteX1682" fmla="*/ 1708853 w 6096001"/>
              <a:gd name="connsiteY1682" fmla="*/ 678871 h 5392467"/>
              <a:gd name="connsiteX1683" fmla="*/ 1710786 w 6096001"/>
              <a:gd name="connsiteY1683" fmla="*/ 682739 h 5392467"/>
              <a:gd name="connsiteX1684" fmla="*/ 1712721 w 6096001"/>
              <a:gd name="connsiteY1684" fmla="*/ 678871 h 5392467"/>
              <a:gd name="connsiteX1685" fmla="*/ 1714654 w 6096001"/>
              <a:gd name="connsiteY1685" fmla="*/ 676936 h 5392467"/>
              <a:gd name="connsiteX1686" fmla="*/ 1726259 w 6096001"/>
              <a:gd name="connsiteY1686" fmla="*/ 663398 h 5392467"/>
              <a:gd name="connsiteX1687" fmla="*/ 1163436 w 6096001"/>
              <a:gd name="connsiteY1687" fmla="*/ 653726 h 5392467"/>
              <a:gd name="connsiteX1688" fmla="*/ 1118950 w 6096001"/>
              <a:gd name="connsiteY1688" fmla="*/ 669199 h 5392467"/>
              <a:gd name="connsiteX1689" fmla="*/ 1163436 w 6096001"/>
              <a:gd name="connsiteY1689" fmla="*/ 653726 h 5392467"/>
              <a:gd name="connsiteX1690" fmla="*/ 3539475 w 6096001"/>
              <a:gd name="connsiteY1690" fmla="*/ 647925 h 5392467"/>
              <a:gd name="connsiteX1691" fmla="*/ 3542382 w 6096001"/>
              <a:gd name="connsiteY1691" fmla="*/ 647925 h 5392467"/>
              <a:gd name="connsiteX1692" fmla="*/ 3530777 w 6096001"/>
              <a:gd name="connsiteY1692" fmla="*/ 655661 h 5392467"/>
              <a:gd name="connsiteX1693" fmla="*/ 3526574 w 6096001"/>
              <a:gd name="connsiteY1693" fmla="*/ 654461 h 5392467"/>
              <a:gd name="connsiteX1694" fmla="*/ 3532710 w 6096001"/>
              <a:gd name="connsiteY1694" fmla="*/ 649858 h 5392467"/>
              <a:gd name="connsiteX1695" fmla="*/ 3563656 w 6096001"/>
              <a:gd name="connsiteY1695" fmla="*/ 634385 h 5392467"/>
              <a:gd name="connsiteX1696" fmla="*/ 3563656 w 6096001"/>
              <a:gd name="connsiteY1696" fmla="*/ 638253 h 5392467"/>
              <a:gd name="connsiteX1697" fmla="*/ 3557855 w 6096001"/>
              <a:gd name="connsiteY1697" fmla="*/ 642121 h 5392467"/>
              <a:gd name="connsiteX1698" fmla="*/ 3557855 w 6096001"/>
              <a:gd name="connsiteY1698" fmla="*/ 640188 h 5392467"/>
              <a:gd name="connsiteX1699" fmla="*/ 3563656 w 6096001"/>
              <a:gd name="connsiteY1699" fmla="*/ 634385 h 5392467"/>
              <a:gd name="connsiteX1700" fmla="*/ 3534646 w 6096001"/>
              <a:gd name="connsiteY1700" fmla="*/ 632452 h 5392467"/>
              <a:gd name="connsiteX1701" fmla="*/ 3534646 w 6096001"/>
              <a:gd name="connsiteY1701" fmla="*/ 636320 h 5392467"/>
              <a:gd name="connsiteX1702" fmla="*/ 3538514 w 6096001"/>
              <a:gd name="connsiteY1702" fmla="*/ 642121 h 5392467"/>
              <a:gd name="connsiteX1703" fmla="*/ 3540447 w 6096001"/>
              <a:gd name="connsiteY1703" fmla="*/ 636320 h 5392467"/>
              <a:gd name="connsiteX1704" fmla="*/ 3534646 w 6096001"/>
              <a:gd name="connsiteY1704" fmla="*/ 632452 h 5392467"/>
              <a:gd name="connsiteX1705" fmla="*/ 5248259 w 6096001"/>
              <a:gd name="connsiteY1705" fmla="*/ 624715 h 5392467"/>
              <a:gd name="connsiteX1706" fmla="*/ 5250194 w 6096001"/>
              <a:gd name="connsiteY1706" fmla="*/ 626651 h 5392467"/>
              <a:gd name="connsiteX1707" fmla="*/ 5244393 w 6096001"/>
              <a:gd name="connsiteY1707" fmla="*/ 630519 h 5392467"/>
              <a:gd name="connsiteX1708" fmla="*/ 5242458 w 6096001"/>
              <a:gd name="connsiteY1708" fmla="*/ 628584 h 5392467"/>
              <a:gd name="connsiteX1709" fmla="*/ 5248259 w 6096001"/>
              <a:gd name="connsiteY1709" fmla="*/ 624715 h 5392467"/>
              <a:gd name="connsiteX1710" fmla="*/ 2076333 w 6096001"/>
              <a:gd name="connsiteY1710" fmla="*/ 616979 h 5392467"/>
              <a:gd name="connsiteX1711" fmla="*/ 2076333 w 6096001"/>
              <a:gd name="connsiteY1711" fmla="*/ 624715 h 5392467"/>
              <a:gd name="connsiteX1712" fmla="*/ 2076333 w 6096001"/>
              <a:gd name="connsiteY1712" fmla="*/ 616979 h 5392467"/>
              <a:gd name="connsiteX1713" fmla="*/ 1991231 w 6096001"/>
              <a:gd name="connsiteY1713" fmla="*/ 611178 h 5392467"/>
              <a:gd name="connsiteX1714" fmla="*/ 1969957 w 6096001"/>
              <a:gd name="connsiteY1714" fmla="*/ 616979 h 5392467"/>
              <a:gd name="connsiteX1715" fmla="*/ 1971890 w 6096001"/>
              <a:gd name="connsiteY1715" fmla="*/ 616979 h 5392467"/>
              <a:gd name="connsiteX1716" fmla="*/ 1985430 w 6096001"/>
              <a:gd name="connsiteY1716" fmla="*/ 615046 h 5392467"/>
              <a:gd name="connsiteX1717" fmla="*/ 1991231 w 6096001"/>
              <a:gd name="connsiteY1717" fmla="*/ 611178 h 5392467"/>
              <a:gd name="connsiteX1718" fmla="*/ 1821030 w 6096001"/>
              <a:gd name="connsiteY1718" fmla="*/ 603441 h 5392467"/>
              <a:gd name="connsiteX1719" fmla="*/ 1820451 w 6096001"/>
              <a:gd name="connsiteY1719" fmla="*/ 607623 h 5392467"/>
              <a:gd name="connsiteX1720" fmla="*/ 1817162 w 6096001"/>
              <a:gd name="connsiteY1720" fmla="*/ 609242 h 5392467"/>
              <a:gd name="connsiteX1721" fmla="*/ 1816673 w 6096001"/>
              <a:gd name="connsiteY1721" fmla="*/ 606553 h 5392467"/>
              <a:gd name="connsiteX1722" fmla="*/ 3523041 w 6096001"/>
              <a:gd name="connsiteY1722" fmla="*/ 601506 h 5392467"/>
              <a:gd name="connsiteX1723" fmla="*/ 3519173 w 6096001"/>
              <a:gd name="connsiteY1723" fmla="*/ 603441 h 5392467"/>
              <a:gd name="connsiteX1724" fmla="*/ 3521106 w 6096001"/>
              <a:gd name="connsiteY1724" fmla="*/ 607309 h 5392467"/>
              <a:gd name="connsiteX1725" fmla="*/ 3524974 w 6096001"/>
              <a:gd name="connsiteY1725" fmla="*/ 603441 h 5392467"/>
              <a:gd name="connsiteX1726" fmla="*/ 3523041 w 6096001"/>
              <a:gd name="connsiteY1726" fmla="*/ 601506 h 5392467"/>
              <a:gd name="connsiteX1727" fmla="*/ 1478696 w 6096001"/>
              <a:gd name="connsiteY1727" fmla="*/ 599573 h 5392467"/>
              <a:gd name="connsiteX1728" fmla="*/ 1467088 w 6096001"/>
              <a:gd name="connsiteY1728" fmla="*/ 603441 h 5392467"/>
              <a:gd name="connsiteX1729" fmla="*/ 1474827 w 6096001"/>
              <a:gd name="connsiteY1729" fmla="*/ 605374 h 5392467"/>
              <a:gd name="connsiteX1730" fmla="*/ 1476760 w 6096001"/>
              <a:gd name="connsiteY1730" fmla="*/ 605374 h 5392467"/>
              <a:gd name="connsiteX1731" fmla="*/ 1480628 w 6096001"/>
              <a:gd name="connsiteY1731" fmla="*/ 601506 h 5392467"/>
              <a:gd name="connsiteX1732" fmla="*/ 1478696 w 6096001"/>
              <a:gd name="connsiteY1732" fmla="*/ 599573 h 5392467"/>
              <a:gd name="connsiteX1733" fmla="*/ 3473721 w 6096001"/>
              <a:gd name="connsiteY1733" fmla="*/ 589901 h 5392467"/>
              <a:gd name="connsiteX1734" fmla="*/ 3478555 w 6096001"/>
              <a:gd name="connsiteY1734" fmla="*/ 589901 h 5392467"/>
              <a:gd name="connsiteX1735" fmla="*/ 3478555 w 6096001"/>
              <a:gd name="connsiteY1735" fmla="*/ 591836 h 5392467"/>
              <a:gd name="connsiteX1736" fmla="*/ 3473778 w 6096001"/>
              <a:gd name="connsiteY1736" fmla="*/ 590243 h 5392467"/>
              <a:gd name="connsiteX1737" fmla="*/ 1420672 w 6096001"/>
              <a:gd name="connsiteY1737" fmla="*/ 580232 h 5392467"/>
              <a:gd name="connsiteX1738" fmla="*/ 1391661 w 6096001"/>
              <a:gd name="connsiteY1738" fmla="*/ 595705 h 5392467"/>
              <a:gd name="connsiteX1739" fmla="*/ 1428408 w 6096001"/>
              <a:gd name="connsiteY1739" fmla="*/ 589901 h 5392467"/>
              <a:gd name="connsiteX1740" fmla="*/ 1420672 w 6096001"/>
              <a:gd name="connsiteY1740" fmla="*/ 580232 h 5392467"/>
              <a:gd name="connsiteX1741" fmla="*/ 3492895 w 6096001"/>
              <a:gd name="connsiteY1741" fmla="*/ 576352 h 5392467"/>
              <a:gd name="connsiteX1742" fmla="*/ 3491611 w 6096001"/>
              <a:gd name="connsiteY1742" fmla="*/ 580714 h 5392467"/>
              <a:gd name="connsiteX1743" fmla="*/ 3486294 w 6096001"/>
              <a:gd name="connsiteY1743" fmla="*/ 580232 h 5392467"/>
              <a:gd name="connsiteX1744" fmla="*/ 3488472 w 6096001"/>
              <a:gd name="connsiteY1744" fmla="*/ 578053 h 5392467"/>
              <a:gd name="connsiteX1745" fmla="*/ 4145820 w 6096001"/>
              <a:gd name="connsiteY1745" fmla="*/ 562823 h 5392467"/>
              <a:gd name="connsiteX1746" fmla="*/ 4138086 w 6096001"/>
              <a:gd name="connsiteY1746" fmla="*/ 566691 h 5392467"/>
              <a:gd name="connsiteX1747" fmla="*/ 4118745 w 6096001"/>
              <a:gd name="connsiteY1747" fmla="*/ 576363 h 5392467"/>
              <a:gd name="connsiteX1748" fmla="*/ 4141955 w 6096001"/>
              <a:gd name="connsiteY1748" fmla="*/ 574428 h 5392467"/>
              <a:gd name="connsiteX1749" fmla="*/ 4149689 w 6096001"/>
              <a:gd name="connsiteY1749" fmla="*/ 570560 h 5392467"/>
              <a:gd name="connsiteX1750" fmla="*/ 4151624 w 6096001"/>
              <a:gd name="connsiteY1750" fmla="*/ 568627 h 5392467"/>
              <a:gd name="connsiteX1751" fmla="*/ 4145820 w 6096001"/>
              <a:gd name="connsiteY1751" fmla="*/ 562823 h 5392467"/>
              <a:gd name="connsiteX1752" fmla="*/ 1494166 w 6096001"/>
              <a:gd name="connsiteY1752" fmla="*/ 562823 h 5392467"/>
              <a:gd name="connsiteX1753" fmla="*/ 1463222 w 6096001"/>
              <a:gd name="connsiteY1753" fmla="*/ 572495 h 5392467"/>
              <a:gd name="connsiteX1754" fmla="*/ 1494166 w 6096001"/>
              <a:gd name="connsiteY1754" fmla="*/ 562823 h 5392467"/>
              <a:gd name="connsiteX1755" fmla="*/ 4027842 w 6096001"/>
              <a:gd name="connsiteY1755" fmla="*/ 560890 h 5392467"/>
              <a:gd name="connsiteX1756" fmla="*/ 4014302 w 6096001"/>
              <a:gd name="connsiteY1756" fmla="*/ 566691 h 5392467"/>
              <a:gd name="connsiteX1757" fmla="*/ 4008501 w 6096001"/>
              <a:gd name="connsiteY1757" fmla="*/ 570560 h 5392467"/>
              <a:gd name="connsiteX1758" fmla="*/ 4008501 w 6096001"/>
              <a:gd name="connsiteY1758" fmla="*/ 574428 h 5392467"/>
              <a:gd name="connsiteX1759" fmla="*/ 4014302 w 6096001"/>
              <a:gd name="connsiteY1759" fmla="*/ 572495 h 5392467"/>
              <a:gd name="connsiteX1760" fmla="*/ 4027842 w 6096001"/>
              <a:gd name="connsiteY1760" fmla="*/ 560890 h 5392467"/>
              <a:gd name="connsiteX1761" fmla="*/ 2269743 w 6096001"/>
              <a:gd name="connsiteY1761" fmla="*/ 560890 h 5392467"/>
              <a:gd name="connsiteX1762" fmla="*/ 2267808 w 6096001"/>
              <a:gd name="connsiteY1762" fmla="*/ 562823 h 5392467"/>
              <a:gd name="connsiteX1763" fmla="*/ 2267808 w 6096001"/>
              <a:gd name="connsiteY1763" fmla="*/ 564758 h 5392467"/>
              <a:gd name="connsiteX1764" fmla="*/ 2269743 w 6096001"/>
              <a:gd name="connsiteY1764" fmla="*/ 564758 h 5392467"/>
              <a:gd name="connsiteX1765" fmla="*/ 2269743 w 6096001"/>
              <a:gd name="connsiteY1765" fmla="*/ 560890 h 5392467"/>
              <a:gd name="connsiteX1766" fmla="*/ 4167097 w 6096001"/>
              <a:gd name="connsiteY1766" fmla="*/ 551218 h 5392467"/>
              <a:gd name="connsiteX1767" fmla="*/ 4163229 w 6096001"/>
              <a:gd name="connsiteY1767" fmla="*/ 555087 h 5392467"/>
              <a:gd name="connsiteX1768" fmla="*/ 4161296 w 6096001"/>
              <a:gd name="connsiteY1768" fmla="*/ 557022 h 5392467"/>
              <a:gd name="connsiteX1769" fmla="*/ 4167097 w 6096001"/>
              <a:gd name="connsiteY1769" fmla="*/ 551218 h 5392467"/>
              <a:gd name="connsiteX1770" fmla="*/ 4029775 w 6096001"/>
              <a:gd name="connsiteY1770" fmla="*/ 551218 h 5392467"/>
              <a:gd name="connsiteX1771" fmla="*/ 4029775 w 6096001"/>
              <a:gd name="connsiteY1771" fmla="*/ 555087 h 5392467"/>
              <a:gd name="connsiteX1772" fmla="*/ 4028324 w 6096001"/>
              <a:gd name="connsiteY1772" fmla="*/ 553636 h 5392467"/>
              <a:gd name="connsiteX1773" fmla="*/ 4028163 w 6096001"/>
              <a:gd name="connsiteY1773" fmla="*/ 552832 h 5392467"/>
              <a:gd name="connsiteX1774" fmla="*/ 4027840 w 6096001"/>
              <a:gd name="connsiteY1774" fmla="*/ 551216 h 5392467"/>
              <a:gd name="connsiteX1775" fmla="*/ 4027842 w 6096001"/>
              <a:gd name="connsiteY1775" fmla="*/ 551218 h 5392467"/>
              <a:gd name="connsiteX1776" fmla="*/ 4027841 w 6096001"/>
              <a:gd name="connsiteY1776" fmla="*/ 551219 h 5392467"/>
              <a:gd name="connsiteX1777" fmla="*/ 3540447 w 6096001"/>
              <a:gd name="connsiteY1777" fmla="*/ 547350 h 5392467"/>
              <a:gd name="connsiteX1778" fmla="*/ 3542382 w 6096001"/>
              <a:gd name="connsiteY1778" fmla="*/ 551218 h 5392467"/>
              <a:gd name="connsiteX1779" fmla="*/ 3534646 w 6096001"/>
              <a:gd name="connsiteY1779" fmla="*/ 555087 h 5392467"/>
              <a:gd name="connsiteX1780" fmla="*/ 3532710 w 6096001"/>
              <a:gd name="connsiteY1780" fmla="*/ 553154 h 5392467"/>
              <a:gd name="connsiteX1781" fmla="*/ 3540447 w 6096001"/>
              <a:gd name="connsiteY1781" fmla="*/ 547350 h 5392467"/>
              <a:gd name="connsiteX1782" fmla="*/ 3548183 w 6096001"/>
              <a:gd name="connsiteY1782" fmla="*/ 541549 h 5392467"/>
              <a:gd name="connsiteX1783" fmla="*/ 3550119 w 6096001"/>
              <a:gd name="connsiteY1783" fmla="*/ 543484 h 5392467"/>
              <a:gd name="connsiteX1784" fmla="*/ 3546248 w 6096001"/>
              <a:gd name="connsiteY1784" fmla="*/ 547350 h 5392467"/>
              <a:gd name="connsiteX1785" fmla="*/ 3544315 w 6096001"/>
              <a:gd name="connsiteY1785" fmla="*/ 545417 h 5392467"/>
              <a:gd name="connsiteX1786" fmla="*/ 3548183 w 6096001"/>
              <a:gd name="connsiteY1786" fmla="*/ 541549 h 5392467"/>
              <a:gd name="connsiteX1787" fmla="*/ 1641157 w 6096001"/>
              <a:gd name="connsiteY1787" fmla="*/ 539614 h 5392467"/>
              <a:gd name="connsiteX1788" fmla="*/ 1637292 w 6096001"/>
              <a:gd name="connsiteY1788" fmla="*/ 541549 h 5392467"/>
              <a:gd name="connsiteX1789" fmla="*/ 1637292 w 6096001"/>
              <a:gd name="connsiteY1789" fmla="*/ 547350 h 5392467"/>
              <a:gd name="connsiteX1790" fmla="*/ 1643093 w 6096001"/>
              <a:gd name="connsiteY1790" fmla="*/ 543484 h 5392467"/>
              <a:gd name="connsiteX1791" fmla="*/ 1641157 w 6096001"/>
              <a:gd name="connsiteY1791" fmla="*/ 539614 h 5392467"/>
              <a:gd name="connsiteX1792" fmla="*/ 1604410 w 6096001"/>
              <a:gd name="connsiteY1792" fmla="*/ 537681 h 5392467"/>
              <a:gd name="connsiteX1793" fmla="*/ 1602477 w 6096001"/>
              <a:gd name="connsiteY1793" fmla="*/ 547350 h 5392467"/>
              <a:gd name="connsiteX1794" fmla="*/ 1612147 w 6096001"/>
              <a:gd name="connsiteY1794" fmla="*/ 545417 h 5392467"/>
              <a:gd name="connsiteX1795" fmla="*/ 1614082 w 6096001"/>
              <a:gd name="connsiteY1795" fmla="*/ 537681 h 5392467"/>
              <a:gd name="connsiteX1796" fmla="*/ 1604410 w 6096001"/>
              <a:gd name="connsiteY1796" fmla="*/ 537681 h 5392467"/>
              <a:gd name="connsiteX1797" fmla="*/ 4130347 w 6096001"/>
              <a:gd name="connsiteY1797" fmla="*/ 528009 h 5392467"/>
              <a:gd name="connsiteX1798" fmla="*/ 4118745 w 6096001"/>
              <a:gd name="connsiteY1798" fmla="*/ 535745 h 5392467"/>
              <a:gd name="connsiteX1799" fmla="*/ 4130347 w 6096001"/>
              <a:gd name="connsiteY1799" fmla="*/ 528009 h 5392467"/>
              <a:gd name="connsiteX1800" fmla="*/ 4199976 w 6096001"/>
              <a:gd name="connsiteY1800" fmla="*/ 520275 h 5392467"/>
              <a:gd name="connsiteX1801" fmla="*/ 4176767 w 6096001"/>
              <a:gd name="connsiteY1801" fmla="*/ 531879 h 5392467"/>
              <a:gd name="connsiteX1802" fmla="*/ 4176767 w 6096001"/>
              <a:gd name="connsiteY1802" fmla="*/ 541549 h 5392467"/>
              <a:gd name="connsiteX1803" fmla="*/ 4178702 w 6096001"/>
              <a:gd name="connsiteY1803" fmla="*/ 541549 h 5392467"/>
              <a:gd name="connsiteX1804" fmla="*/ 4176767 w 6096001"/>
              <a:gd name="connsiteY1804" fmla="*/ 543484 h 5392467"/>
              <a:gd name="connsiteX1805" fmla="*/ 4176767 w 6096001"/>
              <a:gd name="connsiteY1805" fmla="*/ 547350 h 5392467"/>
              <a:gd name="connsiteX1806" fmla="*/ 4180635 w 6096001"/>
              <a:gd name="connsiteY1806" fmla="*/ 549285 h 5392467"/>
              <a:gd name="connsiteX1807" fmla="*/ 4199976 w 6096001"/>
              <a:gd name="connsiteY1807" fmla="*/ 520275 h 5392467"/>
              <a:gd name="connsiteX1808" fmla="*/ 4112941 w 6096001"/>
              <a:gd name="connsiteY1808" fmla="*/ 518339 h 5392467"/>
              <a:gd name="connsiteX1809" fmla="*/ 4105205 w 6096001"/>
              <a:gd name="connsiteY1809" fmla="*/ 520275 h 5392467"/>
              <a:gd name="connsiteX1810" fmla="*/ 4107138 w 6096001"/>
              <a:gd name="connsiteY1810" fmla="*/ 522208 h 5392467"/>
              <a:gd name="connsiteX1811" fmla="*/ 4112941 w 6096001"/>
              <a:gd name="connsiteY1811" fmla="*/ 518339 h 5392467"/>
              <a:gd name="connsiteX1812" fmla="*/ 4234790 w 6096001"/>
              <a:gd name="connsiteY1812" fmla="*/ 504802 h 5392467"/>
              <a:gd name="connsiteX1813" fmla="*/ 4225121 w 6096001"/>
              <a:gd name="connsiteY1813" fmla="*/ 512538 h 5392467"/>
              <a:gd name="connsiteX1814" fmla="*/ 4234790 w 6096001"/>
              <a:gd name="connsiteY1814" fmla="*/ 504802 h 5392467"/>
              <a:gd name="connsiteX1815" fmla="*/ 4917188 w 6096001"/>
              <a:gd name="connsiteY1815" fmla="*/ 495811 h 5392467"/>
              <a:gd name="connsiteX1816" fmla="*/ 4913661 w 6096001"/>
              <a:gd name="connsiteY1816" fmla="*/ 502866 h 5392467"/>
              <a:gd name="connsiteX1817" fmla="*/ 4911725 w 6096001"/>
              <a:gd name="connsiteY1817" fmla="*/ 500933 h 5392467"/>
              <a:gd name="connsiteX1818" fmla="*/ 4914633 w 6096001"/>
              <a:gd name="connsiteY1818" fmla="*/ 498025 h 5392467"/>
              <a:gd name="connsiteX1819" fmla="*/ 4252196 w 6096001"/>
              <a:gd name="connsiteY1819" fmla="*/ 495130 h 5392467"/>
              <a:gd name="connsiteX1820" fmla="*/ 4234790 w 6096001"/>
              <a:gd name="connsiteY1820" fmla="*/ 506735 h 5392467"/>
              <a:gd name="connsiteX1821" fmla="*/ 4242527 w 6096001"/>
              <a:gd name="connsiteY1821" fmla="*/ 508670 h 5392467"/>
              <a:gd name="connsiteX1822" fmla="*/ 4252196 w 6096001"/>
              <a:gd name="connsiteY1822" fmla="*/ 495130 h 5392467"/>
              <a:gd name="connsiteX1823" fmla="*/ 4184503 w 6096001"/>
              <a:gd name="connsiteY1823" fmla="*/ 495130 h 5392467"/>
              <a:gd name="connsiteX1824" fmla="*/ 4178702 w 6096001"/>
              <a:gd name="connsiteY1824" fmla="*/ 498998 h 5392467"/>
              <a:gd name="connsiteX1825" fmla="*/ 4149689 w 6096001"/>
              <a:gd name="connsiteY1825" fmla="*/ 512538 h 5392467"/>
              <a:gd name="connsiteX1826" fmla="*/ 4140019 w 6096001"/>
              <a:gd name="connsiteY1826" fmla="*/ 524143 h 5392467"/>
              <a:gd name="connsiteX1827" fmla="*/ 4143888 w 6096001"/>
              <a:gd name="connsiteY1827" fmla="*/ 529944 h 5392467"/>
              <a:gd name="connsiteX1828" fmla="*/ 4157425 w 6096001"/>
              <a:gd name="connsiteY1828" fmla="*/ 526076 h 5392467"/>
              <a:gd name="connsiteX1829" fmla="*/ 4159361 w 6096001"/>
              <a:gd name="connsiteY1829" fmla="*/ 526076 h 5392467"/>
              <a:gd name="connsiteX1830" fmla="*/ 4159361 w 6096001"/>
              <a:gd name="connsiteY1830" fmla="*/ 528009 h 5392467"/>
              <a:gd name="connsiteX1831" fmla="*/ 4163229 w 6096001"/>
              <a:gd name="connsiteY1831" fmla="*/ 529944 h 5392467"/>
              <a:gd name="connsiteX1832" fmla="*/ 4163229 w 6096001"/>
              <a:gd name="connsiteY1832" fmla="*/ 526076 h 5392467"/>
              <a:gd name="connsiteX1833" fmla="*/ 4169030 w 6096001"/>
              <a:gd name="connsiteY1833" fmla="*/ 516406 h 5392467"/>
              <a:gd name="connsiteX1834" fmla="*/ 4192240 w 6096001"/>
              <a:gd name="connsiteY1834" fmla="*/ 498998 h 5392467"/>
              <a:gd name="connsiteX1835" fmla="*/ 4190307 w 6096001"/>
              <a:gd name="connsiteY1835" fmla="*/ 495130 h 5392467"/>
              <a:gd name="connsiteX1836" fmla="*/ 4184503 w 6096001"/>
              <a:gd name="connsiteY1836" fmla="*/ 495130 h 5392467"/>
              <a:gd name="connsiteX1837" fmla="*/ 4143888 w 6096001"/>
              <a:gd name="connsiteY1837" fmla="*/ 489329 h 5392467"/>
              <a:gd name="connsiteX1838" fmla="*/ 4136151 w 6096001"/>
              <a:gd name="connsiteY1838" fmla="*/ 491262 h 5392467"/>
              <a:gd name="connsiteX1839" fmla="*/ 4136151 w 6096001"/>
              <a:gd name="connsiteY1839" fmla="*/ 493197 h 5392467"/>
              <a:gd name="connsiteX1840" fmla="*/ 4143888 w 6096001"/>
              <a:gd name="connsiteY1840" fmla="*/ 491262 h 5392467"/>
              <a:gd name="connsiteX1841" fmla="*/ 4143888 w 6096001"/>
              <a:gd name="connsiteY1841" fmla="*/ 489329 h 5392467"/>
              <a:gd name="connsiteX1842" fmla="*/ 4128415 w 6096001"/>
              <a:gd name="connsiteY1842" fmla="*/ 489329 h 5392467"/>
              <a:gd name="connsiteX1843" fmla="*/ 4114877 w 6096001"/>
              <a:gd name="connsiteY1843" fmla="*/ 497065 h 5392467"/>
              <a:gd name="connsiteX1844" fmla="*/ 4116810 w 6096001"/>
              <a:gd name="connsiteY1844" fmla="*/ 498998 h 5392467"/>
              <a:gd name="connsiteX1845" fmla="*/ 4128415 w 6096001"/>
              <a:gd name="connsiteY1845" fmla="*/ 489329 h 5392467"/>
              <a:gd name="connsiteX1846" fmla="*/ 3488227 w 6096001"/>
              <a:gd name="connsiteY1846" fmla="*/ 485460 h 5392467"/>
              <a:gd name="connsiteX1847" fmla="*/ 3486294 w 6096001"/>
              <a:gd name="connsiteY1847" fmla="*/ 487393 h 5392467"/>
              <a:gd name="connsiteX1848" fmla="*/ 3480490 w 6096001"/>
              <a:gd name="connsiteY1848" fmla="*/ 491262 h 5392467"/>
              <a:gd name="connsiteX1849" fmla="*/ 3482423 w 6096001"/>
              <a:gd name="connsiteY1849" fmla="*/ 487393 h 5392467"/>
              <a:gd name="connsiteX1850" fmla="*/ 3488227 w 6096001"/>
              <a:gd name="connsiteY1850" fmla="*/ 485460 h 5392467"/>
              <a:gd name="connsiteX1851" fmla="*/ 4136151 w 6096001"/>
              <a:gd name="connsiteY1851" fmla="*/ 471920 h 5392467"/>
              <a:gd name="connsiteX1852" fmla="*/ 4128415 w 6096001"/>
              <a:gd name="connsiteY1852" fmla="*/ 477724 h 5392467"/>
              <a:gd name="connsiteX1853" fmla="*/ 4138086 w 6096001"/>
              <a:gd name="connsiteY1853" fmla="*/ 473856 h 5392467"/>
              <a:gd name="connsiteX1854" fmla="*/ 4136151 w 6096001"/>
              <a:gd name="connsiteY1854" fmla="*/ 471920 h 5392467"/>
              <a:gd name="connsiteX1855" fmla="*/ 4247120 w 6096001"/>
              <a:gd name="connsiteY1855" fmla="*/ 469019 h 5392467"/>
              <a:gd name="connsiteX1856" fmla="*/ 4244460 w 6096001"/>
              <a:gd name="connsiteY1856" fmla="*/ 469987 h 5392467"/>
              <a:gd name="connsiteX1857" fmla="*/ 4223186 w 6096001"/>
              <a:gd name="connsiteY1857" fmla="*/ 487393 h 5392467"/>
              <a:gd name="connsiteX1858" fmla="*/ 4190307 w 6096001"/>
              <a:gd name="connsiteY1858" fmla="*/ 504802 h 5392467"/>
              <a:gd name="connsiteX1859" fmla="*/ 4186438 w 6096001"/>
              <a:gd name="connsiteY1859" fmla="*/ 508670 h 5392467"/>
              <a:gd name="connsiteX1860" fmla="*/ 4190307 w 6096001"/>
              <a:gd name="connsiteY1860" fmla="*/ 512538 h 5392467"/>
              <a:gd name="connsiteX1861" fmla="*/ 4199976 w 6096001"/>
              <a:gd name="connsiteY1861" fmla="*/ 510603 h 5392467"/>
              <a:gd name="connsiteX1862" fmla="*/ 4232855 w 6096001"/>
              <a:gd name="connsiteY1862" fmla="*/ 489329 h 5392467"/>
              <a:gd name="connsiteX1863" fmla="*/ 4254132 w 6096001"/>
              <a:gd name="connsiteY1863" fmla="*/ 473856 h 5392467"/>
              <a:gd name="connsiteX1864" fmla="*/ 4247120 w 6096001"/>
              <a:gd name="connsiteY1864" fmla="*/ 469019 h 5392467"/>
              <a:gd name="connsiteX1865" fmla="*/ 4238659 w 6096001"/>
              <a:gd name="connsiteY1865" fmla="*/ 458383 h 5392467"/>
              <a:gd name="connsiteX1866" fmla="*/ 4232855 w 6096001"/>
              <a:gd name="connsiteY1866" fmla="*/ 460316 h 5392467"/>
              <a:gd name="connsiteX1867" fmla="*/ 4201911 w 6096001"/>
              <a:gd name="connsiteY1867" fmla="*/ 483525 h 5392467"/>
              <a:gd name="connsiteX1868" fmla="*/ 4201911 w 6096001"/>
              <a:gd name="connsiteY1868" fmla="*/ 485460 h 5392467"/>
              <a:gd name="connsiteX1869" fmla="*/ 4199976 w 6096001"/>
              <a:gd name="connsiteY1869" fmla="*/ 495130 h 5392467"/>
              <a:gd name="connsiteX1870" fmla="*/ 4215449 w 6096001"/>
              <a:gd name="connsiteY1870" fmla="*/ 483525 h 5392467"/>
              <a:gd name="connsiteX1871" fmla="*/ 4211581 w 6096001"/>
              <a:gd name="connsiteY1871" fmla="*/ 485460 h 5392467"/>
              <a:gd name="connsiteX1872" fmla="*/ 4209648 w 6096001"/>
              <a:gd name="connsiteY1872" fmla="*/ 481592 h 5392467"/>
              <a:gd name="connsiteX1873" fmla="*/ 4223186 w 6096001"/>
              <a:gd name="connsiteY1873" fmla="*/ 475789 h 5392467"/>
              <a:gd name="connsiteX1874" fmla="*/ 4240592 w 6096001"/>
              <a:gd name="connsiteY1874" fmla="*/ 462251 h 5392467"/>
              <a:gd name="connsiteX1875" fmla="*/ 4238659 w 6096001"/>
              <a:gd name="connsiteY1875" fmla="*/ 458383 h 5392467"/>
              <a:gd name="connsiteX1876" fmla="*/ 2836434 w 6096001"/>
              <a:gd name="connsiteY1876" fmla="*/ 448711 h 5392467"/>
              <a:gd name="connsiteX1877" fmla="*/ 2832566 w 6096001"/>
              <a:gd name="connsiteY1877" fmla="*/ 450646 h 5392467"/>
              <a:gd name="connsiteX1878" fmla="*/ 2828697 w 6096001"/>
              <a:gd name="connsiteY1878" fmla="*/ 454514 h 5392467"/>
              <a:gd name="connsiteX1879" fmla="*/ 2817093 w 6096001"/>
              <a:gd name="connsiteY1879" fmla="*/ 458383 h 5392467"/>
              <a:gd name="connsiteX1880" fmla="*/ 2819028 w 6096001"/>
              <a:gd name="connsiteY1880" fmla="*/ 464184 h 5392467"/>
              <a:gd name="connsiteX1881" fmla="*/ 2822896 w 6096001"/>
              <a:gd name="connsiteY1881" fmla="*/ 466119 h 5392467"/>
              <a:gd name="connsiteX1882" fmla="*/ 2828697 w 6096001"/>
              <a:gd name="connsiteY1882" fmla="*/ 462251 h 5392467"/>
              <a:gd name="connsiteX1883" fmla="*/ 2836434 w 6096001"/>
              <a:gd name="connsiteY1883" fmla="*/ 456450 h 5392467"/>
              <a:gd name="connsiteX1884" fmla="*/ 2838369 w 6096001"/>
              <a:gd name="connsiteY1884" fmla="*/ 454514 h 5392467"/>
              <a:gd name="connsiteX1885" fmla="*/ 2838369 w 6096001"/>
              <a:gd name="connsiteY1885" fmla="*/ 450646 h 5392467"/>
              <a:gd name="connsiteX1886" fmla="*/ 2836434 w 6096001"/>
              <a:gd name="connsiteY1886" fmla="*/ 448711 h 5392467"/>
              <a:gd name="connsiteX1887" fmla="*/ 4221253 w 6096001"/>
              <a:gd name="connsiteY1887" fmla="*/ 435173 h 5392467"/>
              <a:gd name="connsiteX1888" fmla="*/ 4211581 w 6096001"/>
              <a:gd name="connsiteY1888" fmla="*/ 442910 h 5392467"/>
              <a:gd name="connsiteX1889" fmla="*/ 4221253 w 6096001"/>
              <a:gd name="connsiteY1889" fmla="*/ 435173 h 5392467"/>
              <a:gd name="connsiteX1890" fmla="*/ 4316024 w 6096001"/>
              <a:gd name="connsiteY1890" fmla="*/ 415832 h 5392467"/>
              <a:gd name="connsiteX1891" fmla="*/ 4296682 w 6096001"/>
              <a:gd name="connsiteY1891" fmla="*/ 423568 h 5392467"/>
              <a:gd name="connsiteX1892" fmla="*/ 4298615 w 6096001"/>
              <a:gd name="connsiteY1892" fmla="*/ 425504 h 5392467"/>
              <a:gd name="connsiteX1893" fmla="*/ 4316024 w 6096001"/>
              <a:gd name="connsiteY1893" fmla="*/ 415832 h 5392467"/>
              <a:gd name="connsiteX1894" fmla="*/ 4263560 w 6096001"/>
              <a:gd name="connsiteY1894" fmla="*/ 406645 h 5392467"/>
              <a:gd name="connsiteX1895" fmla="*/ 4256065 w 6096001"/>
              <a:gd name="connsiteY1895" fmla="*/ 413899 h 5392467"/>
              <a:gd name="connsiteX1896" fmla="*/ 4269605 w 6096001"/>
              <a:gd name="connsiteY1896" fmla="*/ 413899 h 5392467"/>
              <a:gd name="connsiteX1897" fmla="*/ 4263560 w 6096001"/>
              <a:gd name="connsiteY1897" fmla="*/ 406645 h 5392467"/>
              <a:gd name="connsiteX1898" fmla="*/ 4319890 w 6096001"/>
              <a:gd name="connsiteY1898" fmla="*/ 406162 h 5392467"/>
              <a:gd name="connsiteX1899" fmla="*/ 4319890 w 6096001"/>
              <a:gd name="connsiteY1899" fmla="*/ 411964 h 5392467"/>
              <a:gd name="connsiteX1900" fmla="*/ 4327626 w 6096001"/>
              <a:gd name="connsiteY1900" fmla="*/ 413899 h 5392467"/>
              <a:gd name="connsiteX1901" fmla="*/ 4325693 w 6096001"/>
              <a:gd name="connsiteY1901" fmla="*/ 406162 h 5392467"/>
              <a:gd name="connsiteX1902" fmla="*/ 4319890 w 6096001"/>
              <a:gd name="connsiteY1902" fmla="*/ 406162 h 5392467"/>
              <a:gd name="connsiteX1903" fmla="*/ 4304417 w 6096001"/>
              <a:gd name="connsiteY1903" fmla="*/ 381018 h 5392467"/>
              <a:gd name="connsiteX1904" fmla="*/ 4300548 w 6096001"/>
              <a:gd name="connsiteY1904" fmla="*/ 382953 h 5392467"/>
              <a:gd name="connsiteX1905" fmla="*/ 4298615 w 6096001"/>
              <a:gd name="connsiteY1905" fmla="*/ 388754 h 5392467"/>
              <a:gd name="connsiteX1906" fmla="*/ 4304417 w 6096001"/>
              <a:gd name="connsiteY1906" fmla="*/ 384886 h 5392467"/>
              <a:gd name="connsiteX1907" fmla="*/ 4304417 w 6096001"/>
              <a:gd name="connsiteY1907" fmla="*/ 381018 h 5392467"/>
              <a:gd name="connsiteX1908" fmla="*/ 4316024 w 6096001"/>
              <a:gd name="connsiteY1908" fmla="*/ 373281 h 5392467"/>
              <a:gd name="connsiteX1909" fmla="*/ 4314088 w 6096001"/>
              <a:gd name="connsiteY1909" fmla="*/ 379085 h 5392467"/>
              <a:gd name="connsiteX1910" fmla="*/ 4317957 w 6096001"/>
              <a:gd name="connsiteY1910" fmla="*/ 375216 h 5392467"/>
              <a:gd name="connsiteX1911" fmla="*/ 4316024 w 6096001"/>
              <a:gd name="connsiteY1911" fmla="*/ 373281 h 5392467"/>
              <a:gd name="connsiteX1912" fmla="*/ 4366309 w 6096001"/>
              <a:gd name="connsiteY1912" fmla="*/ 350074 h 5392467"/>
              <a:gd name="connsiteX1913" fmla="*/ 4337298 w 6096001"/>
              <a:gd name="connsiteY1913" fmla="*/ 369415 h 5392467"/>
              <a:gd name="connsiteX1914" fmla="*/ 4366309 w 6096001"/>
              <a:gd name="connsiteY1914" fmla="*/ 350074 h 5392467"/>
              <a:gd name="connsiteX1915" fmla="*/ 4780207 w 6096001"/>
              <a:gd name="connsiteY1915" fmla="*/ 321061 h 5392467"/>
              <a:gd name="connsiteX1916" fmla="*/ 4778272 w 6096001"/>
              <a:gd name="connsiteY1916" fmla="*/ 322996 h 5392467"/>
              <a:gd name="connsiteX1917" fmla="*/ 4782140 w 6096001"/>
              <a:gd name="connsiteY1917" fmla="*/ 328797 h 5392467"/>
              <a:gd name="connsiteX1918" fmla="*/ 4784075 w 6096001"/>
              <a:gd name="connsiteY1918" fmla="*/ 326864 h 5392467"/>
              <a:gd name="connsiteX1919" fmla="*/ 4780207 w 6096001"/>
              <a:gd name="connsiteY1919" fmla="*/ 321061 h 5392467"/>
              <a:gd name="connsiteX1920" fmla="*/ 4795680 w 6096001"/>
              <a:gd name="connsiteY1920" fmla="*/ 317192 h 5392467"/>
              <a:gd name="connsiteX1921" fmla="*/ 4795680 w 6096001"/>
              <a:gd name="connsiteY1921" fmla="*/ 319128 h 5392467"/>
              <a:gd name="connsiteX1922" fmla="*/ 4787944 w 6096001"/>
              <a:gd name="connsiteY1922" fmla="*/ 324929 h 5392467"/>
              <a:gd name="connsiteX1923" fmla="*/ 4787138 w 6096001"/>
              <a:gd name="connsiteY1923" fmla="*/ 323317 h 5392467"/>
              <a:gd name="connsiteX1924" fmla="*/ 4787420 w 6096001"/>
              <a:gd name="connsiteY1924" fmla="*/ 320497 h 5392467"/>
              <a:gd name="connsiteX1925" fmla="*/ 4420464 w 6096001"/>
              <a:gd name="connsiteY1925" fmla="*/ 313324 h 5392467"/>
              <a:gd name="connsiteX1926" fmla="*/ 4385650 w 6096001"/>
              <a:gd name="connsiteY1926" fmla="*/ 326864 h 5392467"/>
              <a:gd name="connsiteX1927" fmla="*/ 4370177 w 6096001"/>
              <a:gd name="connsiteY1927" fmla="*/ 340402 h 5392467"/>
              <a:gd name="connsiteX1928" fmla="*/ 4375980 w 6096001"/>
              <a:gd name="connsiteY1928" fmla="*/ 342335 h 5392467"/>
              <a:gd name="connsiteX1929" fmla="*/ 4408859 w 6096001"/>
              <a:gd name="connsiteY1929" fmla="*/ 324929 h 5392467"/>
              <a:gd name="connsiteX1930" fmla="*/ 4420464 w 6096001"/>
              <a:gd name="connsiteY1930" fmla="*/ 313324 h 5392467"/>
              <a:gd name="connsiteX1931" fmla="*/ 4453343 w 6096001"/>
              <a:gd name="connsiteY1931" fmla="*/ 299786 h 5392467"/>
              <a:gd name="connsiteX1932" fmla="*/ 4428201 w 6096001"/>
              <a:gd name="connsiteY1932" fmla="*/ 313324 h 5392467"/>
              <a:gd name="connsiteX1933" fmla="*/ 4430134 w 6096001"/>
              <a:gd name="connsiteY1933" fmla="*/ 315260 h 5392467"/>
              <a:gd name="connsiteX1934" fmla="*/ 4453343 w 6096001"/>
              <a:gd name="connsiteY1934" fmla="*/ 299786 h 5392467"/>
              <a:gd name="connsiteX1935" fmla="*/ 4787944 w 6096001"/>
              <a:gd name="connsiteY1935" fmla="*/ 295918 h 5392467"/>
              <a:gd name="connsiteX1936" fmla="*/ 4787944 w 6096001"/>
              <a:gd name="connsiteY1936" fmla="*/ 311391 h 5392467"/>
              <a:gd name="connsiteX1937" fmla="*/ 4787944 w 6096001"/>
              <a:gd name="connsiteY1937" fmla="*/ 295918 h 5392467"/>
              <a:gd name="connsiteX1938" fmla="*/ 4517168 w 6096001"/>
              <a:gd name="connsiteY1938" fmla="*/ 282378 h 5392467"/>
              <a:gd name="connsiteX1939" fmla="*/ 4515235 w 6096001"/>
              <a:gd name="connsiteY1939" fmla="*/ 286246 h 5392467"/>
              <a:gd name="connsiteX1940" fmla="*/ 4521036 w 6096001"/>
              <a:gd name="connsiteY1940" fmla="*/ 288182 h 5392467"/>
              <a:gd name="connsiteX1941" fmla="*/ 4521036 w 6096001"/>
              <a:gd name="connsiteY1941" fmla="*/ 282378 h 5392467"/>
              <a:gd name="connsiteX1942" fmla="*/ 4517168 w 6096001"/>
              <a:gd name="connsiteY1942" fmla="*/ 282378 h 5392467"/>
              <a:gd name="connsiteX1943" fmla="*/ 4764734 w 6096001"/>
              <a:gd name="connsiteY1943" fmla="*/ 276577 h 5392467"/>
              <a:gd name="connsiteX1944" fmla="*/ 4765701 w 6096001"/>
              <a:gd name="connsiteY1944" fmla="*/ 277543 h 5392467"/>
              <a:gd name="connsiteX1945" fmla="*/ 4764734 w 6096001"/>
              <a:gd name="connsiteY1945" fmla="*/ 278510 h 5392467"/>
              <a:gd name="connsiteX1946" fmla="*/ 4764033 w 6096001"/>
              <a:gd name="connsiteY1946" fmla="*/ 277208 h 5392467"/>
              <a:gd name="connsiteX1947" fmla="*/ 4567455 w 6096001"/>
              <a:gd name="connsiteY1947" fmla="*/ 268840 h 5392467"/>
              <a:gd name="connsiteX1948" fmla="*/ 4548114 w 6096001"/>
              <a:gd name="connsiteY1948" fmla="*/ 278510 h 5392467"/>
              <a:gd name="connsiteX1949" fmla="*/ 4567455 w 6096001"/>
              <a:gd name="connsiteY1949" fmla="*/ 268840 h 5392467"/>
              <a:gd name="connsiteX1950" fmla="*/ 4572774 w 6096001"/>
              <a:gd name="connsiteY1950" fmla="*/ 254576 h 5392467"/>
              <a:gd name="connsiteX1951" fmla="*/ 4571324 w 6096001"/>
              <a:gd name="connsiteY1951" fmla="*/ 261104 h 5392467"/>
              <a:gd name="connsiteX1952" fmla="*/ 4582928 w 6096001"/>
              <a:gd name="connsiteY1952" fmla="*/ 255300 h 5392467"/>
              <a:gd name="connsiteX1953" fmla="*/ 4572774 w 6096001"/>
              <a:gd name="connsiteY1953" fmla="*/ 254576 h 5392467"/>
              <a:gd name="connsiteX1954" fmla="*/ 4727987 w 6096001"/>
              <a:gd name="connsiteY1954" fmla="*/ 253367 h 5392467"/>
              <a:gd name="connsiteX1955" fmla="*/ 4710579 w 6096001"/>
              <a:gd name="connsiteY1955" fmla="*/ 266905 h 5392467"/>
              <a:gd name="connsiteX1956" fmla="*/ 4727987 w 6096001"/>
              <a:gd name="connsiteY1956" fmla="*/ 253367 h 5392467"/>
              <a:gd name="connsiteX1957" fmla="*/ 4596469 w 6096001"/>
              <a:gd name="connsiteY1957" fmla="*/ 243698 h 5392467"/>
              <a:gd name="connsiteX1958" fmla="*/ 4582928 w 6096001"/>
              <a:gd name="connsiteY1958" fmla="*/ 249499 h 5392467"/>
              <a:gd name="connsiteX1959" fmla="*/ 4596469 w 6096001"/>
              <a:gd name="connsiteY1959" fmla="*/ 243698 h 5392467"/>
              <a:gd name="connsiteX1960" fmla="*/ 4563587 w 6096001"/>
              <a:gd name="connsiteY1960" fmla="*/ 230158 h 5392467"/>
              <a:gd name="connsiteX1961" fmla="*/ 4557367 w 6096001"/>
              <a:gd name="connsiteY1961" fmla="*/ 234824 h 5392467"/>
              <a:gd name="connsiteX1962" fmla="*/ 4555372 w 6096001"/>
              <a:gd name="connsiteY1962" fmla="*/ 235482 h 5392467"/>
              <a:gd name="connsiteX1963" fmla="*/ 4555078 w 6096001"/>
              <a:gd name="connsiteY1963" fmla="*/ 235188 h 5392467"/>
              <a:gd name="connsiteX1964" fmla="*/ 4561177 w 6096001"/>
              <a:gd name="connsiteY1964" fmla="*/ 231122 h 5392467"/>
              <a:gd name="connsiteX1965" fmla="*/ 4712514 w 6096001"/>
              <a:gd name="connsiteY1965" fmla="*/ 228225 h 5392467"/>
              <a:gd name="connsiteX1966" fmla="*/ 4704777 w 6096001"/>
              <a:gd name="connsiteY1966" fmla="*/ 237894 h 5392467"/>
              <a:gd name="connsiteX1967" fmla="*/ 4712514 w 6096001"/>
              <a:gd name="connsiteY1967" fmla="*/ 228225 h 5392467"/>
              <a:gd name="connsiteX1968" fmla="*/ 3863443 w 6096001"/>
              <a:gd name="connsiteY1968" fmla="*/ 0 h 5392467"/>
              <a:gd name="connsiteX1969" fmla="*/ 3869244 w 6096001"/>
              <a:gd name="connsiteY1969" fmla="*/ 3868 h 5392467"/>
              <a:gd name="connsiteX1970" fmla="*/ 3867311 w 6096001"/>
              <a:gd name="connsiteY1970" fmla="*/ 7737 h 5392467"/>
              <a:gd name="connsiteX1971" fmla="*/ 3865376 w 6096001"/>
              <a:gd name="connsiteY1971" fmla="*/ 9670 h 5392467"/>
              <a:gd name="connsiteX1972" fmla="*/ 3859574 w 6096001"/>
              <a:gd name="connsiteY1972" fmla="*/ 21274 h 5392467"/>
              <a:gd name="connsiteX1973" fmla="*/ 3853771 w 6096001"/>
              <a:gd name="connsiteY1973" fmla="*/ 32879 h 5392467"/>
              <a:gd name="connsiteX1974" fmla="*/ 3826693 w 6096001"/>
              <a:gd name="connsiteY1974" fmla="*/ 50288 h 5392467"/>
              <a:gd name="connsiteX1975" fmla="*/ 3795749 w 6096001"/>
              <a:gd name="connsiteY1975" fmla="*/ 71562 h 5392467"/>
              <a:gd name="connsiteX1976" fmla="*/ 3791881 w 6096001"/>
              <a:gd name="connsiteY1976" fmla="*/ 79298 h 5392467"/>
              <a:gd name="connsiteX1977" fmla="*/ 3795749 w 6096001"/>
              <a:gd name="connsiteY1977" fmla="*/ 87035 h 5392467"/>
              <a:gd name="connsiteX1978" fmla="*/ 3799618 w 6096001"/>
              <a:gd name="connsiteY1978" fmla="*/ 88970 h 5392467"/>
              <a:gd name="connsiteX1979" fmla="*/ 3801551 w 6096001"/>
              <a:gd name="connsiteY1979" fmla="*/ 92836 h 5392467"/>
              <a:gd name="connsiteX1980" fmla="*/ 3799618 w 6096001"/>
              <a:gd name="connsiteY1980" fmla="*/ 94771 h 5392467"/>
              <a:gd name="connsiteX1981" fmla="*/ 3789946 w 6096001"/>
              <a:gd name="connsiteY1981" fmla="*/ 96704 h 5392467"/>
              <a:gd name="connsiteX1982" fmla="*/ 3774475 w 6096001"/>
              <a:gd name="connsiteY1982" fmla="*/ 104441 h 5392467"/>
              <a:gd name="connsiteX1983" fmla="*/ 3764803 w 6096001"/>
              <a:gd name="connsiteY1983" fmla="*/ 106376 h 5392467"/>
              <a:gd name="connsiteX1984" fmla="*/ 3760935 w 6096001"/>
              <a:gd name="connsiteY1984" fmla="*/ 112177 h 5392467"/>
              <a:gd name="connsiteX1985" fmla="*/ 3751266 w 6096001"/>
              <a:gd name="connsiteY1985" fmla="*/ 119914 h 5392467"/>
              <a:gd name="connsiteX1986" fmla="*/ 3745462 w 6096001"/>
              <a:gd name="connsiteY1986" fmla="*/ 125717 h 5392467"/>
              <a:gd name="connsiteX1987" fmla="*/ 3739658 w 6096001"/>
              <a:gd name="connsiteY1987" fmla="*/ 133454 h 5392467"/>
              <a:gd name="connsiteX1988" fmla="*/ 3726121 w 6096001"/>
              <a:gd name="connsiteY1988" fmla="*/ 141190 h 5392467"/>
              <a:gd name="connsiteX1989" fmla="*/ 3722253 w 6096001"/>
              <a:gd name="connsiteY1989" fmla="*/ 154728 h 5392467"/>
              <a:gd name="connsiteX1990" fmla="*/ 3728056 w 6096001"/>
              <a:gd name="connsiteY1990" fmla="*/ 158596 h 5392467"/>
              <a:gd name="connsiteX1991" fmla="*/ 3729989 w 6096001"/>
              <a:gd name="connsiteY1991" fmla="*/ 160532 h 5392467"/>
              <a:gd name="connsiteX1992" fmla="*/ 3728056 w 6096001"/>
              <a:gd name="connsiteY1992" fmla="*/ 164400 h 5392467"/>
              <a:gd name="connsiteX1993" fmla="*/ 3724188 w 6096001"/>
              <a:gd name="connsiteY1993" fmla="*/ 166333 h 5392467"/>
              <a:gd name="connsiteX1994" fmla="*/ 3720320 w 6096001"/>
              <a:gd name="connsiteY1994" fmla="*/ 168266 h 5392467"/>
              <a:gd name="connsiteX1995" fmla="*/ 3714516 w 6096001"/>
              <a:gd name="connsiteY1995" fmla="*/ 176005 h 5392467"/>
              <a:gd name="connsiteX1996" fmla="*/ 3697110 w 6096001"/>
              <a:gd name="connsiteY1996" fmla="*/ 185674 h 5392467"/>
              <a:gd name="connsiteX1997" fmla="*/ 3687441 w 6096001"/>
              <a:gd name="connsiteY1997" fmla="*/ 195343 h 5392467"/>
              <a:gd name="connsiteX1998" fmla="*/ 3679702 w 6096001"/>
              <a:gd name="connsiteY1998" fmla="*/ 201147 h 5392467"/>
              <a:gd name="connsiteX1999" fmla="*/ 3662296 w 6096001"/>
              <a:gd name="connsiteY1999" fmla="*/ 206948 h 5392467"/>
              <a:gd name="connsiteX2000" fmla="*/ 3648758 w 6096001"/>
              <a:gd name="connsiteY2000" fmla="*/ 214685 h 5392467"/>
              <a:gd name="connsiteX2001" fmla="*/ 3635218 w 6096001"/>
              <a:gd name="connsiteY2001" fmla="*/ 232093 h 5392467"/>
              <a:gd name="connsiteX2002" fmla="*/ 3631350 w 6096001"/>
              <a:gd name="connsiteY2002" fmla="*/ 237894 h 5392467"/>
              <a:gd name="connsiteX2003" fmla="*/ 3608140 w 6096001"/>
              <a:gd name="connsiteY2003" fmla="*/ 253367 h 5392467"/>
              <a:gd name="connsiteX2004" fmla="*/ 3606207 w 6096001"/>
              <a:gd name="connsiteY2004" fmla="*/ 259171 h 5392467"/>
              <a:gd name="connsiteX2005" fmla="*/ 3606207 w 6096001"/>
              <a:gd name="connsiteY2005" fmla="*/ 263039 h 5392467"/>
              <a:gd name="connsiteX2006" fmla="*/ 3594602 w 6096001"/>
              <a:gd name="connsiteY2006" fmla="*/ 276577 h 5392467"/>
              <a:gd name="connsiteX2007" fmla="*/ 3586866 w 6096001"/>
              <a:gd name="connsiteY2007" fmla="*/ 282378 h 5392467"/>
              <a:gd name="connsiteX2008" fmla="*/ 3582998 w 6096001"/>
              <a:gd name="connsiteY2008" fmla="*/ 288182 h 5392467"/>
              <a:gd name="connsiteX2009" fmla="*/ 3586866 w 6096001"/>
              <a:gd name="connsiteY2009" fmla="*/ 311391 h 5392467"/>
              <a:gd name="connsiteX2010" fmla="*/ 3594602 w 6096001"/>
              <a:gd name="connsiteY2010" fmla="*/ 322996 h 5392467"/>
              <a:gd name="connsiteX2011" fmla="*/ 3594602 w 6096001"/>
              <a:gd name="connsiteY2011" fmla="*/ 326864 h 5392467"/>
              <a:gd name="connsiteX2012" fmla="*/ 3569458 w 6096001"/>
              <a:gd name="connsiteY2012" fmla="*/ 342335 h 5392467"/>
              <a:gd name="connsiteX2013" fmla="*/ 3563656 w 6096001"/>
              <a:gd name="connsiteY2013" fmla="*/ 342335 h 5392467"/>
              <a:gd name="connsiteX2014" fmla="*/ 3559788 w 6096001"/>
              <a:gd name="connsiteY2014" fmla="*/ 350074 h 5392467"/>
              <a:gd name="connsiteX2015" fmla="*/ 3561723 w 6096001"/>
              <a:gd name="connsiteY2015" fmla="*/ 352007 h 5392467"/>
              <a:gd name="connsiteX2016" fmla="*/ 3563656 w 6096001"/>
              <a:gd name="connsiteY2016" fmla="*/ 352007 h 5392467"/>
              <a:gd name="connsiteX2017" fmla="*/ 3561723 w 6096001"/>
              <a:gd name="connsiteY2017" fmla="*/ 361676 h 5392467"/>
              <a:gd name="connsiteX2018" fmla="*/ 3555920 w 6096001"/>
              <a:gd name="connsiteY2018" fmla="*/ 363612 h 5392467"/>
              <a:gd name="connsiteX2019" fmla="*/ 3552052 w 6096001"/>
              <a:gd name="connsiteY2019" fmla="*/ 365544 h 5392467"/>
              <a:gd name="connsiteX2020" fmla="*/ 3548183 w 6096001"/>
              <a:gd name="connsiteY2020" fmla="*/ 371348 h 5392467"/>
              <a:gd name="connsiteX2021" fmla="*/ 3538514 w 6096001"/>
              <a:gd name="connsiteY2021" fmla="*/ 379085 h 5392467"/>
              <a:gd name="connsiteX2022" fmla="*/ 3532710 w 6096001"/>
              <a:gd name="connsiteY2022" fmla="*/ 386821 h 5392467"/>
              <a:gd name="connsiteX2023" fmla="*/ 3524974 w 6096001"/>
              <a:gd name="connsiteY2023" fmla="*/ 398426 h 5392467"/>
              <a:gd name="connsiteX2024" fmla="*/ 3511436 w 6096001"/>
              <a:gd name="connsiteY2024" fmla="*/ 411964 h 5392467"/>
              <a:gd name="connsiteX2025" fmla="*/ 3503700 w 6096001"/>
              <a:gd name="connsiteY2025" fmla="*/ 417767 h 5392467"/>
              <a:gd name="connsiteX2026" fmla="*/ 3494030 w 6096001"/>
              <a:gd name="connsiteY2026" fmla="*/ 425504 h 5392467"/>
              <a:gd name="connsiteX2027" fmla="*/ 3486294 w 6096001"/>
              <a:gd name="connsiteY2027" fmla="*/ 435173 h 5392467"/>
              <a:gd name="connsiteX2028" fmla="*/ 3488227 w 6096001"/>
              <a:gd name="connsiteY2028" fmla="*/ 439041 h 5392467"/>
              <a:gd name="connsiteX2029" fmla="*/ 3495963 w 6096001"/>
              <a:gd name="connsiteY2029" fmla="*/ 435173 h 5392467"/>
              <a:gd name="connsiteX2030" fmla="*/ 3499831 w 6096001"/>
              <a:gd name="connsiteY2030" fmla="*/ 431305 h 5392467"/>
              <a:gd name="connsiteX2031" fmla="*/ 3505633 w 6096001"/>
              <a:gd name="connsiteY2031" fmla="*/ 433240 h 5392467"/>
              <a:gd name="connsiteX2032" fmla="*/ 3505633 w 6096001"/>
              <a:gd name="connsiteY2032" fmla="*/ 440974 h 5392467"/>
              <a:gd name="connsiteX2033" fmla="*/ 3503700 w 6096001"/>
              <a:gd name="connsiteY2033" fmla="*/ 444845 h 5392467"/>
              <a:gd name="connsiteX2034" fmla="*/ 3492095 w 6096001"/>
              <a:gd name="connsiteY2034" fmla="*/ 462251 h 5392467"/>
              <a:gd name="connsiteX2035" fmla="*/ 3470821 w 6096001"/>
              <a:gd name="connsiteY2035" fmla="*/ 475789 h 5392467"/>
              <a:gd name="connsiteX2036" fmla="*/ 3472754 w 6096001"/>
              <a:gd name="connsiteY2036" fmla="*/ 475789 h 5392467"/>
              <a:gd name="connsiteX2037" fmla="*/ 3484358 w 6096001"/>
              <a:gd name="connsiteY2037" fmla="*/ 473856 h 5392467"/>
              <a:gd name="connsiteX2038" fmla="*/ 3524974 w 6096001"/>
              <a:gd name="connsiteY2038" fmla="*/ 460316 h 5392467"/>
              <a:gd name="connsiteX2039" fmla="*/ 3524974 w 6096001"/>
              <a:gd name="connsiteY2039" fmla="*/ 466119 h 5392467"/>
              <a:gd name="connsiteX2040" fmla="*/ 3501764 w 6096001"/>
              <a:gd name="connsiteY2040" fmla="*/ 473856 h 5392467"/>
              <a:gd name="connsiteX2041" fmla="*/ 3494030 w 6096001"/>
              <a:gd name="connsiteY2041" fmla="*/ 475789 h 5392467"/>
              <a:gd name="connsiteX2042" fmla="*/ 3480490 w 6096001"/>
              <a:gd name="connsiteY2042" fmla="*/ 479657 h 5392467"/>
              <a:gd name="connsiteX2043" fmla="*/ 3474689 w 6096001"/>
              <a:gd name="connsiteY2043" fmla="*/ 481592 h 5392467"/>
              <a:gd name="connsiteX2044" fmla="*/ 3449544 w 6096001"/>
              <a:gd name="connsiteY2044" fmla="*/ 493197 h 5392467"/>
              <a:gd name="connsiteX2045" fmla="*/ 3447611 w 6096001"/>
              <a:gd name="connsiteY2045" fmla="*/ 493197 h 5392467"/>
              <a:gd name="connsiteX2046" fmla="*/ 3443743 w 6096001"/>
              <a:gd name="connsiteY2046" fmla="*/ 498998 h 5392467"/>
              <a:gd name="connsiteX2047" fmla="*/ 3437939 w 6096001"/>
              <a:gd name="connsiteY2047" fmla="*/ 502866 h 5392467"/>
              <a:gd name="connsiteX2048" fmla="*/ 3437939 w 6096001"/>
              <a:gd name="connsiteY2048" fmla="*/ 504802 h 5392467"/>
              <a:gd name="connsiteX2049" fmla="*/ 3443743 w 6096001"/>
              <a:gd name="connsiteY2049" fmla="*/ 508670 h 5392467"/>
              <a:gd name="connsiteX2050" fmla="*/ 3434071 w 6096001"/>
              <a:gd name="connsiteY2050" fmla="*/ 516406 h 5392467"/>
              <a:gd name="connsiteX2051" fmla="*/ 3497896 w 6096001"/>
              <a:gd name="connsiteY2051" fmla="*/ 502866 h 5392467"/>
              <a:gd name="connsiteX2052" fmla="*/ 3488227 w 6096001"/>
              <a:gd name="connsiteY2052" fmla="*/ 514471 h 5392467"/>
              <a:gd name="connsiteX2053" fmla="*/ 3501764 w 6096001"/>
              <a:gd name="connsiteY2053" fmla="*/ 508670 h 5392467"/>
              <a:gd name="connsiteX2054" fmla="*/ 3569458 w 6096001"/>
              <a:gd name="connsiteY2054" fmla="*/ 487393 h 5392467"/>
              <a:gd name="connsiteX2055" fmla="*/ 3563656 w 6096001"/>
              <a:gd name="connsiteY2055" fmla="*/ 495130 h 5392467"/>
              <a:gd name="connsiteX2056" fmla="*/ 3571393 w 6096001"/>
              <a:gd name="connsiteY2056" fmla="*/ 498998 h 5392467"/>
              <a:gd name="connsiteX2057" fmla="*/ 3538514 w 6096001"/>
              <a:gd name="connsiteY2057" fmla="*/ 510603 h 5392467"/>
              <a:gd name="connsiteX2058" fmla="*/ 3534646 w 6096001"/>
              <a:gd name="connsiteY2058" fmla="*/ 510603 h 5392467"/>
              <a:gd name="connsiteX2059" fmla="*/ 3515304 w 6096001"/>
              <a:gd name="connsiteY2059" fmla="*/ 518339 h 5392467"/>
              <a:gd name="connsiteX2060" fmla="*/ 3503700 w 6096001"/>
              <a:gd name="connsiteY2060" fmla="*/ 524143 h 5392467"/>
              <a:gd name="connsiteX2061" fmla="*/ 3509501 w 6096001"/>
              <a:gd name="connsiteY2061" fmla="*/ 516406 h 5392467"/>
              <a:gd name="connsiteX2062" fmla="*/ 3488227 w 6096001"/>
              <a:gd name="connsiteY2062" fmla="*/ 528009 h 5392467"/>
              <a:gd name="connsiteX2063" fmla="*/ 3476622 w 6096001"/>
              <a:gd name="connsiteY2063" fmla="*/ 535745 h 5392467"/>
              <a:gd name="connsiteX2064" fmla="*/ 3472754 w 6096001"/>
              <a:gd name="connsiteY2064" fmla="*/ 539614 h 5392467"/>
              <a:gd name="connsiteX2065" fmla="*/ 3470821 w 6096001"/>
              <a:gd name="connsiteY2065" fmla="*/ 541549 h 5392467"/>
              <a:gd name="connsiteX2066" fmla="*/ 3472754 w 6096001"/>
              <a:gd name="connsiteY2066" fmla="*/ 547350 h 5392467"/>
              <a:gd name="connsiteX2067" fmla="*/ 3505633 w 6096001"/>
              <a:gd name="connsiteY2067" fmla="*/ 533812 h 5392467"/>
              <a:gd name="connsiteX2068" fmla="*/ 3540447 w 6096001"/>
              <a:gd name="connsiteY2068" fmla="*/ 520275 h 5392467"/>
              <a:gd name="connsiteX2069" fmla="*/ 3575261 w 6096001"/>
              <a:gd name="connsiteY2069" fmla="*/ 510603 h 5392467"/>
              <a:gd name="connsiteX2070" fmla="*/ 3577197 w 6096001"/>
              <a:gd name="connsiteY2070" fmla="*/ 518339 h 5392467"/>
              <a:gd name="connsiteX2071" fmla="*/ 3571393 w 6096001"/>
              <a:gd name="connsiteY2071" fmla="*/ 522208 h 5392467"/>
              <a:gd name="connsiteX2072" fmla="*/ 3540447 w 6096001"/>
              <a:gd name="connsiteY2072" fmla="*/ 533812 h 5392467"/>
              <a:gd name="connsiteX2073" fmla="*/ 3532710 w 6096001"/>
              <a:gd name="connsiteY2073" fmla="*/ 543484 h 5392467"/>
              <a:gd name="connsiteX2074" fmla="*/ 3524974 w 6096001"/>
              <a:gd name="connsiteY2074" fmla="*/ 560890 h 5392467"/>
              <a:gd name="connsiteX2075" fmla="*/ 3524974 w 6096001"/>
              <a:gd name="connsiteY2075" fmla="*/ 566691 h 5392467"/>
              <a:gd name="connsiteX2076" fmla="*/ 3505633 w 6096001"/>
              <a:gd name="connsiteY2076" fmla="*/ 562823 h 5392467"/>
              <a:gd name="connsiteX2077" fmla="*/ 3495963 w 6096001"/>
              <a:gd name="connsiteY2077" fmla="*/ 568627 h 5392467"/>
              <a:gd name="connsiteX2078" fmla="*/ 3497896 w 6096001"/>
              <a:gd name="connsiteY2078" fmla="*/ 574428 h 5392467"/>
              <a:gd name="connsiteX2079" fmla="*/ 3492895 w 6096001"/>
              <a:gd name="connsiteY2079" fmla="*/ 576352 h 5392467"/>
              <a:gd name="connsiteX2080" fmla="*/ 3494030 w 6096001"/>
              <a:gd name="connsiteY2080" fmla="*/ 572495 h 5392467"/>
              <a:gd name="connsiteX2081" fmla="*/ 3488472 w 6096001"/>
              <a:gd name="connsiteY2081" fmla="*/ 578053 h 5392467"/>
              <a:gd name="connsiteX2082" fmla="*/ 3472754 w 6096001"/>
              <a:gd name="connsiteY2082" fmla="*/ 584100 h 5392467"/>
              <a:gd name="connsiteX2083" fmla="*/ 3473721 w 6096001"/>
              <a:gd name="connsiteY2083" fmla="*/ 589901 h 5392467"/>
              <a:gd name="connsiteX2084" fmla="*/ 3472754 w 6096001"/>
              <a:gd name="connsiteY2084" fmla="*/ 589901 h 5392467"/>
              <a:gd name="connsiteX2085" fmla="*/ 3473778 w 6096001"/>
              <a:gd name="connsiteY2085" fmla="*/ 590243 h 5392467"/>
              <a:gd name="connsiteX2086" fmla="*/ 3474689 w 6096001"/>
              <a:gd name="connsiteY2086" fmla="*/ 595705 h 5392467"/>
              <a:gd name="connsiteX2087" fmla="*/ 3470821 w 6096001"/>
              <a:gd name="connsiteY2087" fmla="*/ 609242 h 5392467"/>
              <a:gd name="connsiteX2088" fmla="*/ 3463084 w 6096001"/>
              <a:gd name="connsiteY2088" fmla="*/ 615046 h 5392467"/>
              <a:gd name="connsiteX2089" fmla="*/ 3451479 w 6096001"/>
              <a:gd name="connsiteY2089" fmla="*/ 616979 h 5392467"/>
              <a:gd name="connsiteX2090" fmla="*/ 3441808 w 6096001"/>
              <a:gd name="connsiteY2090" fmla="*/ 622780 h 5392467"/>
              <a:gd name="connsiteX2091" fmla="*/ 3428270 w 6096001"/>
              <a:gd name="connsiteY2091" fmla="*/ 628584 h 5392467"/>
              <a:gd name="connsiteX2092" fmla="*/ 3410862 w 6096001"/>
              <a:gd name="connsiteY2092" fmla="*/ 638253 h 5392467"/>
              <a:gd name="connsiteX2093" fmla="*/ 3408929 w 6096001"/>
              <a:gd name="connsiteY2093" fmla="*/ 644057 h 5392467"/>
              <a:gd name="connsiteX2094" fmla="*/ 3422466 w 6096001"/>
              <a:gd name="connsiteY2094" fmla="*/ 638253 h 5392467"/>
              <a:gd name="connsiteX2095" fmla="*/ 3428270 w 6096001"/>
              <a:gd name="connsiteY2095" fmla="*/ 644057 h 5392467"/>
              <a:gd name="connsiteX2096" fmla="*/ 3441808 w 6096001"/>
              <a:gd name="connsiteY2096" fmla="*/ 636320 h 5392467"/>
              <a:gd name="connsiteX2097" fmla="*/ 3470821 w 6096001"/>
              <a:gd name="connsiteY2097" fmla="*/ 622780 h 5392467"/>
              <a:gd name="connsiteX2098" fmla="*/ 3486294 w 6096001"/>
              <a:gd name="connsiteY2098" fmla="*/ 607309 h 5392467"/>
              <a:gd name="connsiteX2099" fmla="*/ 3482423 w 6096001"/>
              <a:gd name="connsiteY2099" fmla="*/ 603441 h 5392467"/>
              <a:gd name="connsiteX2100" fmla="*/ 3480490 w 6096001"/>
              <a:gd name="connsiteY2100" fmla="*/ 595705 h 5392467"/>
              <a:gd name="connsiteX2101" fmla="*/ 3486294 w 6096001"/>
              <a:gd name="connsiteY2101" fmla="*/ 593769 h 5392467"/>
              <a:gd name="connsiteX2102" fmla="*/ 3497896 w 6096001"/>
              <a:gd name="connsiteY2102" fmla="*/ 580232 h 5392467"/>
              <a:gd name="connsiteX2103" fmla="*/ 3509501 w 6096001"/>
              <a:gd name="connsiteY2103" fmla="*/ 570560 h 5392467"/>
              <a:gd name="connsiteX2104" fmla="*/ 3523041 w 6096001"/>
              <a:gd name="connsiteY2104" fmla="*/ 576363 h 5392467"/>
              <a:gd name="connsiteX2105" fmla="*/ 3509501 w 6096001"/>
              <a:gd name="connsiteY2105" fmla="*/ 597637 h 5392467"/>
              <a:gd name="connsiteX2106" fmla="*/ 3532710 w 6096001"/>
              <a:gd name="connsiteY2106" fmla="*/ 582164 h 5392467"/>
              <a:gd name="connsiteX2107" fmla="*/ 3557855 w 6096001"/>
              <a:gd name="connsiteY2107" fmla="*/ 560890 h 5392467"/>
              <a:gd name="connsiteX2108" fmla="*/ 3559788 w 6096001"/>
              <a:gd name="connsiteY2108" fmla="*/ 549285 h 5392467"/>
              <a:gd name="connsiteX2109" fmla="*/ 3573328 w 6096001"/>
              <a:gd name="connsiteY2109" fmla="*/ 566691 h 5392467"/>
              <a:gd name="connsiteX2110" fmla="*/ 3559788 w 6096001"/>
              <a:gd name="connsiteY2110" fmla="*/ 576363 h 5392467"/>
              <a:gd name="connsiteX2111" fmla="*/ 3561723 w 6096001"/>
              <a:gd name="connsiteY2111" fmla="*/ 580232 h 5392467"/>
              <a:gd name="connsiteX2112" fmla="*/ 3592667 w 6096001"/>
              <a:gd name="connsiteY2112" fmla="*/ 570560 h 5392467"/>
              <a:gd name="connsiteX2113" fmla="*/ 3592667 w 6096001"/>
              <a:gd name="connsiteY2113" fmla="*/ 568627 h 5392467"/>
              <a:gd name="connsiteX2114" fmla="*/ 3582998 w 6096001"/>
              <a:gd name="connsiteY2114" fmla="*/ 564758 h 5392467"/>
              <a:gd name="connsiteX2115" fmla="*/ 3606207 w 6096001"/>
              <a:gd name="connsiteY2115" fmla="*/ 558955 h 5392467"/>
              <a:gd name="connsiteX2116" fmla="*/ 3612008 w 6096001"/>
              <a:gd name="connsiteY2116" fmla="*/ 572495 h 5392467"/>
              <a:gd name="connsiteX2117" fmla="*/ 3608140 w 6096001"/>
              <a:gd name="connsiteY2117" fmla="*/ 576363 h 5392467"/>
              <a:gd name="connsiteX2118" fmla="*/ 3602339 w 6096001"/>
              <a:gd name="connsiteY2118" fmla="*/ 564758 h 5392467"/>
              <a:gd name="connsiteX2119" fmla="*/ 3598471 w 6096001"/>
              <a:gd name="connsiteY2119" fmla="*/ 570560 h 5392467"/>
              <a:gd name="connsiteX2120" fmla="*/ 3592667 w 6096001"/>
              <a:gd name="connsiteY2120" fmla="*/ 580232 h 5392467"/>
              <a:gd name="connsiteX2121" fmla="*/ 3577197 w 6096001"/>
              <a:gd name="connsiteY2121" fmla="*/ 587968 h 5392467"/>
              <a:gd name="connsiteX2122" fmla="*/ 3575261 w 6096001"/>
              <a:gd name="connsiteY2122" fmla="*/ 587968 h 5392467"/>
              <a:gd name="connsiteX2123" fmla="*/ 3565589 w 6096001"/>
              <a:gd name="connsiteY2123" fmla="*/ 589901 h 5392467"/>
              <a:gd name="connsiteX2124" fmla="*/ 3540447 w 6096001"/>
              <a:gd name="connsiteY2124" fmla="*/ 605374 h 5392467"/>
              <a:gd name="connsiteX2125" fmla="*/ 3534646 w 6096001"/>
              <a:gd name="connsiteY2125" fmla="*/ 595705 h 5392467"/>
              <a:gd name="connsiteX2126" fmla="*/ 3528842 w 6096001"/>
              <a:gd name="connsiteY2126" fmla="*/ 609242 h 5392467"/>
              <a:gd name="connsiteX2127" fmla="*/ 3513372 w 6096001"/>
              <a:gd name="connsiteY2127" fmla="*/ 613111 h 5392467"/>
              <a:gd name="connsiteX2128" fmla="*/ 3515304 w 6096001"/>
              <a:gd name="connsiteY2128" fmla="*/ 605374 h 5392467"/>
              <a:gd name="connsiteX2129" fmla="*/ 3511436 w 6096001"/>
              <a:gd name="connsiteY2129" fmla="*/ 605374 h 5392467"/>
              <a:gd name="connsiteX2130" fmla="*/ 3492095 w 6096001"/>
              <a:gd name="connsiteY2130" fmla="*/ 622780 h 5392467"/>
              <a:gd name="connsiteX2131" fmla="*/ 3486294 w 6096001"/>
              <a:gd name="connsiteY2131" fmla="*/ 630519 h 5392467"/>
              <a:gd name="connsiteX2132" fmla="*/ 3492095 w 6096001"/>
              <a:gd name="connsiteY2132" fmla="*/ 630519 h 5392467"/>
              <a:gd name="connsiteX2133" fmla="*/ 3532710 w 6096001"/>
              <a:gd name="connsiteY2133" fmla="*/ 613111 h 5392467"/>
              <a:gd name="connsiteX2134" fmla="*/ 3542382 w 6096001"/>
              <a:gd name="connsiteY2134" fmla="*/ 611178 h 5392467"/>
              <a:gd name="connsiteX2135" fmla="*/ 3573328 w 6096001"/>
              <a:gd name="connsiteY2135" fmla="*/ 599573 h 5392467"/>
              <a:gd name="connsiteX2136" fmla="*/ 3579129 w 6096001"/>
              <a:gd name="connsiteY2136" fmla="*/ 597637 h 5392467"/>
              <a:gd name="connsiteX2137" fmla="*/ 3584931 w 6096001"/>
              <a:gd name="connsiteY2137" fmla="*/ 605374 h 5392467"/>
              <a:gd name="connsiteX2138" fmla="*/ 3569458 w 6096001"/>
              <a:gd name="connsiteY2138" fmla="*/ 605374 h 5392467"/>
              <a:gd name="connsiteX2139" fmla="*/ 3555920 w 6096001"/>
              <a:gd name="connsiteY2139" fmla="*/ 624715 h 5392467"/>
              <a:gd name="connsiteX2140" fmla="*/ 3546248 w 6096001"/>
              <a:gd name="connsiteY2140" fmla="*/ 645990 h 5392467"/>
              <a:gd name="connsiteX2141" fmla="*/ 3539475 w 6096001"/>
              <a:gd name="connsiteY2141" fmla="*/ 647925 h 5392467"/>
              <a:gd name="connsiteX2142" fmla="*/ 3524974 w 6096001"/>
              <a:gd name="connsiteY2142" fmla="*/ 647925 h 5392467"/>
              <a:gd name="connsiteX2143" fmla="*/ 3517237 w 6096001"/>
              <a:gd name="connsiteY2143" fmla="*/ 640188 h 5392467"/>
              <a:gd name="connsiteX2144" fmla="*/ 3503700 w 6096001"/>
              <a:gd name="connsiteY2144" fmla="*/ 645990 h 5392467"/>
              <a:gd name="connsiteX2145" fmla="*/ 3503700 w 6096001"/>
              <a:gd name="connsiteY2145" fmla="*/ 647925 h 5392467"/>
              <a:gd name="connsiteX2146" fmla="*/ 3526574 w 6096001"/>
              <a:gd name="connsiteY2146" fmla="*/ 654461 h 5392467"/>
              <a:gd name="connsiteX2147" fmla="*/ 3524974 w 6096001"/>
              <a:gd name="connsiteY2147" fmla="*/ 655661 h 5392467"/>
              <a:gd name="connsiteX2148" fmla="*/ 3532710 w 6096001"/>
              <a:gd name="connsiteY2148" fmla="*/ 663398 h 5392467"/>
              <a:gd name="connsiteX2149" fmla="*/ 3536579 w 6096001"/>
              <a:gd name="connsiteY2149" fmla="*/ 661463 h 5392467"/>
              <a:gd name="connsiteX2150" fmla="*/ 3534646 w 6096001"/>
              <a:gd name="connsiteY2150" fmla="*/ 665331 h 5392467"/>
              <a:gd name="connsiteX2151" fmla="*/ 3538514 w 6096001"/>
              <a:gd name="connsiteY2151" fmla="*/ 671134 h 5392467"/>
              <a:gd name="connsiteX2152" fmla="*/ 3917598 w 6096001"/>
              <a:gd name="connsiteY2152" fmla="*/ 508670 h 5392467"/>
              <a:gd name="connsiteX2153" fmla="*/ 3985291 w 6096001"/>
              <a:gd name="connsiteY2153" fmla="*/ 537681 h 5392467"/>
              <a:gd name="connsiteX2154" fmla="*/ 3987224 w 6096001"/>
              <a:gd name="connsiteY2154" fmla="*/ 537681 h 5392467"/>
              <a:gd name="connsiteX2155" fmla="*/ 3987224 w 6096001"/>
              <a:gd name="connsiteY2155" fmla="*/ 539614 h 5392467"/>
              <a:gd name="connsiteX2156" fmla="*/ 3989160 w 6096001"/>
              <a:gd name="connsiteY2156" fmla="*/ 545417 h 5392467"/>
              <a:gd name="connsiteX2157" fmla="*/ 3994961 w 6096001"/>
              <a:gd name="connsiteY2157" fmla="*/ 541549 h 5392467"/>
              <a:gd name="connsiteX2158" fmla="*/ 3998829 w 6096001"/>
              <a:gd name="connsiteY2158" fmla="*/ 539614 h 5392467"/>
              <a:gd name="connsiteX2159" fmla="*/ 4002697 w 6096001"/>
              <a:gd name="connsiteY2159" fmla="*/ 537681 h 5392467"/>
              <a:gd name="connsiteX2160" fmla="*/ 3994961 w 6096001"/>
              <a:gd name="connsiteY2160" fmla="*/ 535745 h 5392467"/>
              <a:gd name="connsiteX2161" fmla="*/ 4016237 w 6096001"/>
              <a:gd name="connsiteY2161" fmla="*/ 529944 h 5392467"/>
              <a:gd name="connsiteX2162" fmla="*/ 4022039 w 6096001"/>
              <a:gd name="connsiteY2162" fmla="*/ 528009 h 5392467"/>
              <a:gd name="connsiteX2163" fmla="*/ 4031711 w 6096001"/>
              <a:gd name="connsiteY2163" fmla="*/ 522208 h 5392467"/>
              <a:gd name="connsiteX2164" fmla="*/ 4018170 w 6096001"/>
              <a:gd name="connsiteY2164" fmla="*/ 539614 h 5392467"/>
              <a:gd name="connsiteX2165" fmla="*/ 4025907 w 6096001"/>
              <a:gd name="connsiteY2165" fmla="*/ 541549 h 5392467"/>
              <a:gd name="connsiteX2166" fmla="*/ 4027840 w 6096001"/>
              <a:gd name="connsiteY2166" fmla="*/ 551216 h 5392467"/>
              <a:gd name="connsiteX2167" fmla="*/ 4025423 w 6096001"/>
              <a:gd name="connsiteY2167" fmla="*/ 548559 h 5392467"/>
              <a:gd name="connsiteX2168" fmla="*/ 4020103 w 6096001"/>
              <a:gd name="connsiteY2168" fmla="*/ 553154 h 5392467"/>
              <a:gd name="connsiteX2169" fmla="*/ 4022039 w 6096001"/>
              <a:gd name="connsiteY2169" fmla="*/ 553154 h 5392467"/>
              <a:gd name="connsiteX2170" fmla="*/ 4027841 w 6096001"/>
              <a:gd name="connsiteY2170" fmla="*/ 551219 h 5392467"/>
              <a:gd name="connsiteX2171" fmla="*/ 4028163 w 6096001"/>
              <a:gd name="connsiteY2171" fmla="*/ 552832 h 5392467"/>
              <a:gd name="connsiteX2172" fmla="*/ 4027842 w 6096001"/>
              <a:gd name="connsiteY2172" fmla="*/ 553154 h 5392467"/>
              <a:gd name="connsiteX2173" fmla="*/ 4028324 w 6096001"/>
              <a:gd name="connsiteY2173" fmla="*/ 553636 h 5392467"/>
              <a:gd name="connsiteX2174" fmla="*/ 4029775 w 6096001"/>
              <a:gd name="connsiteY2174" fmla="*/ 560890 h 5392467"/>
              <a:gd name="connsiteX2175" fmla="*/ 4051052 w 6096001"/>
              <a:gd name="connsiteY2175" fmla="*/ 545417 h 5392467"/>
              <a:gd name="connsiteX2176" fmla="*/ 4052985 w 6096001"/>
              <a:gd name="connsiteY2176" fmla="*/ 543484 h 5392467"/>
              <a:gd name="connsiteX2177" fmla="*/ 4076194 w 6096001"/>
              <a:gd name="connsiteY2177" fmla="*/ 524143 h 5392467"/>
              <a:gd name="connsiteX2178" fmla="*/ 4078127 w 6096001"/>
              <a:gd name="connsiteY2178" fmla="*/ 520275 h 5392467"/>
              <a:gd name="connsiteX2179" fmla="*/ 4080063 w 6096001"/>
              <a:gd name="connsiteY2179" fmla="*/ 522208 h 5392467"/>
              <a:gd name="connsiteX2180" fmla="*/ 4085864 w 6096001"/>
              <a:gd name="connsiteY2180" fmla="*/ 514471 h 5392467"/>
              <a:gd name="connsiteX2181" fmla="*/ 4095536 w 6096001"/>
              <a:gd name="connsiteY2181" fmla="*/ 504802 h 5392467"/>
              <a:gd name="connsiteX2182" fmla="*/ 4099404 w 6096001"/>
              <a:gd name="connsiteY2182" fmla="*/ 498998 h 5392467"/>
              <a:gd name="connsiteX2183" fmla="*/ 4095536 w 6096001"/>
              <a:gd name="connsiteY2183" fmla="*/ 497065 h 5392467"/>
              <a:gd name="connsiteX2184" fmla="*/ 4072326 w 6096001"/>
              <a:gd name="connsiteY2184" fmla="*/ 510603 h 5392467"/>
              <a:gd name="connsiteX2185" fmla="*/ 4062654 w 6096001"/>
              <a:gd name="connsiteY2185" fmla="*/ 520275 h 5392467"/>
              <a:gd name="connsiteX2186" fmla="*/ 4066522 w 6096001"/>
              <a:gd name="connsiteY2186" fmla="*/ 524143 h 5392467"/>
              <a:gd name="connsiteX2187" fmla="*/ 4052985 w 6096001"/>
              <a:gd name="connsiteY2187" fmla="*/ 537681 h 5392467"/>
              <a:gd name="connsiteX2188" fmla="*/ 4039445 w 6096001"/>
              <a:gd name="connsiteY2188" fmla="*/ 545417 h 5392467"/>
              <a:gd name="connsiteX2189" fmla="*/ 4037512 w 6096001"/>
              <a:gd name="connsiteY2189" fmla="*/ 543484 h 5392467"/>
              <a:gd name="connsiteX2190" fmla="*/ 4054920 w 6096001"/>
              <a:gd name="connsiteY2190" fmla="*/ 529944 h 5392467"/>
              <a:gd name="connsiteX2191" fmla="*/ 4037512 w 6096001"/>
              <a:gd name="connsiteY2191" fmla="*/ 522208 h 5392467"/>
              <a:gd name="connsiteX2192" fmla="*/ 4049116 w 6096001"/>
              <a:gd name="connsiteY2192" fmla="*/ 516406 h 5392467"/>
              <a:gd name="connsiteX2193" fmla="*/ 4052985 w 6096001"/>
              <a:gd name="connsiteY2193" fmla="*/ 514471 h 5392467"/>
              <a:gd name="connsiteX2194" fmla="*/ 4056853 w 6096001"/>
              <a:gd name="connsiteY2194" fmla="*/ 500933 h 5392467"/>
              <a:gd name="connsiteX2195" fmla="*/ 4081995 w 6096001"/>
              <a:gd name="connsiteY2195" fmla="*/ 483525 h 5392467"/>
              <a:gd name="connsiteX2196" fmla="*/ 4105205 w 6096001"/>
              <a:gd name="connsiteY2196" fmla="*/ 471920 h 5392467"/>
              <a:gd name="connsiteX2197" fmla="*/ 4118745 w 6096001"/>
              <a:gd name="connsiteY2197" fmla="*/ 458383 h 5392467"/>
              <a:gd name="connsiteX2198" fmla="*/ 4134216 w 6096001"/>
              <a:gd name="connsiteY2198" fmla="*/ 442910 h 5392467"/>
              <a:gd name="connsiteX2199" fmla="*/ 4149689 w 6096001"/>
              <a:gd name="connsiteY2199" fmla="*/ 433240 h 5392467"/>
              <a:gd name="connsiteX2200" fmla="*/ 4151624 w 6096001"/>
              <a:gd name="connsiteY2200" fmla="*/ 435173 h 5392467"/>
              <a:gd name="connsiteX2201" fmla="*/ 4147756 w 6096001"/>
              <a:gd name="connsiteY2201" fmla="*/ 448711 h 5392467"/>
              <a:gd name="connsiteX2202" fmla="*/ 4167097 w 6096001"/>
              <a:gd name="connsiteY2202" fmla="*/ 433240 h 5392467"/>
              <a:gd name="connsiteX2203" fmla="*/ 4178702 w 6096001"/>
              <a:gd name="connsiteY2203" fmla="*/ 411964 h 5392467"/>
              <a:gd name="connsiteX2204" fmla="*/ 4201911 w 6096001"/>
              <a:gd name="connsiteY2204" fmla="*/ 417767 h 5392467"/>
              <a:gd name="connsiteX2205" fmla="*/ 4213514 w 6096001"/>
              <a:gd name="connsiteY2205" fmla="*/ 410031 h 5392467"/>
              <a:gd name="connsiteX2206" fmla="*/ 4227054 w 6096001"/>
              <a:gd name="connsiteY2206" fmla="*/ 425504 h 5392467"/>
              <a:gd name="connsiteX2207" fmla="*/ 4238659 w 6096001"/>
              <a:gd name="connsiteY2207" fmla="*/ 408095 h 5392467"/>
              <a:gd name="connsiteX2208" fmla="*/ 4236723 w 6096001"/>
              <a:gd name="connsiteY2208" fmla="*/ 402294 h 5392467"/>
              <a:gd name="connsiteX2209" fmla="*/ 4238659 w 6096001"/>
              <a:gd name="connsiteY2209" fmla="*/ 402294 h 5392467"/>
              <a:gd name="connsiteX2210" fmla="*/ 4285078 w 6096001"/>
              <a:gd name="connsiteY2210" fmla="*/ 369415 h 5392467"/>
              <a:gd name="connsiteX2211" fmla="*/ 4287011 w 6096001"/>
              <a:gd name="connsiteY2211" fmla="*/ 367480 h 5392467"/>
              <a:gd name="connsiteX2212" fmla="*/ 4296682 w 6096001"/>
              <a:gd name="connsiteY2212" fmla="*/ 357810 h 5392467"/>
              <a:gd name="connsiteX2213" fmla="*/ 4316024 w 6096001"/>
              <a:gd name="connsiteY2213" fmla="*/ 361676 h 5392467"/>
              <a:gd name="connsiteX2214" fmla="*/ 4314088 w 6096001"/>
              <a:gd name="connsiteY2214" fmla="*/ 348139 h 5392467"/>
              <a:gd name="connsiteX2215" fmla="*/ 4346967 w 6096001"/>
              <a:gd name="connsiteY2215" fmla="*/ 326864 h 5392467"/>
              <a:gd name="connsiteX2216" fmla="*/ 4348903 w 6096001"/>
              <a:gd name="connsiteY2216" fmla="*/ 328797 h 5392467"/>
              <a:gd name="connsiteX2217" fmla="*/ 4341166 w 6096001"/>
              <a:gd name="connsiteY2217" fmla="*/ 338469 h 5392467"/>
              <a:gd name="connsiteX2218" fmla="*/ 4343099 w 6096001"/>
              <a:gd name="connsiteY2218" fmla="*/ 340402 h 5392467"/>
              <a:gd name="connsiteX2219" fmla="*/ 4372112 w 6096001"/>
              <a:gd name="connsiteY2219" fmla="*/ 322996 h 5392467"/>
              <a:gd name="connsiteX2220" fmla="*/ 4370177 w 6096001"/>
              <a:gd name="connsiteY2220" fmla="*/ 317192 h 5392467"/>
              <a:gd name="connsiteX2221" fmla="*/ 4372112 w 6096001"/>
              <a:gd name="connsiteY2221" fmla="*/ 315260 h 5392467"/>
              <a:gd name="connsiteX2222" fmla="*/ 4375980 w 6096001"/>
              <a:gd name="connsiteY2222" fmla="*/ 322996 h 5392467"/>
              <a:gd name="connsiteX2223" fmla="*/ 4391451 w 6096001"/>
              <a:gd name="connsiteY2223" fmla="*/ 307523 h 5392467"/>
              <a:gd name="connsiteX2224" fmla="*/ 4395322 w 6096001"/>
              <a:gd name="connsiteY2224" fmla="*/ 305588 h 5392467"/>
              <a:gd name="connsiteX2225" fmla="*/ 4412728 w 6096001"/>
              <a:gd name="connsiteY2225" fmla="*/ 299786 h 5392467"/>
              <a:gd name="connsiteX2226" fmla="*/ 4426265 w 6096001"/>
              <a:gd name="connsiteY2226" fmla="*/ 288182 h 5392467"/>
              <a:gd name="connsiteX2227" fmla="*/ 4447542 w 6096001"/>
              <a:gd name="connsiteY2227" fmla="*/ 274642 h 5392467"/>
              <a:gd name="connsiteX2228" fmla="*/ 4439805 w 6096001"/>
              <a:gd name="connsiteY2228" fmla="*/ 284313 h 5392467"/>
              <a:gd name="connsiteX2229" fmla="*/ 4453343 w 6096001"/>
              <a:gd name="connsiteY2229" fmla="*/ 282378 h 5392467"/>
              <a:gd name="connsiteX2230" fmla="*/ 4455278 w 6096001"/>
              <a:gd name="connsiteY2230" fmla="*/ 290115 h 5392467"/>
              <a:gd name="connsiteX2231" fmla="*/ 4478488 w 6096001"/>
              <a:gd name="connsiteY2231" fmla="*/ 278510 h 5392467"/>
              <a:gd name="connsiteX2232" fmla="*/ 4482356 w 6096001"/>
              <a:gd name="connsiteY2232" fmla="*/ 284313 h 5392467"/>
              <a:gd name="connsiteX2233" fmla="*/ 4484289 w 6096001"/>
              <a:gd name="connsiteY2233" fmla="*/ 282378 h 5392467"/>
              <a:gd name="connsiteX2234" fmla="*/ 4507499 w 6096001"/>
              <a:gd name="connsiteY2234" fmla="*/ 264972 h 5392467"/>
              <a:gd name="connsiteX2235" fmla="*/ 4534577 w 6096001"/>
              <a:gd name="connsiteY2235" fmla="*/ 251434 h 5392467"/>
              <a:gd name="connsiteX2236" fmla="*/ 4534577 w 6096001"/>
              <a:gd name="connsiteY2236" fmla="*/ 241763 h 5392467"/>
              <a:gd name="connsiteX2237" fmla="*/ 4536509 w 6096001"/>
              <a:gd name="connsiteY2237" fmla="*/ 234026 h 5392467"/>
              <a:gd name="connsiteX2238" fmla="*/ 4546181 w 6096001"/>
              <a:gd name="connsiteY2238" fmla="*/ 226290 h 5392467"/>
              <a:gd name="connsiteX2239" fmla="*/ 4586797 w 6096001"/>
              <a:gd name="connsiteY2239" fmla="*/ 208884 h 5392467"/>
              <a:gd name="connsiteX2240" fmla="*/ 4573259 w 6096001"/>
              <a:gd name="connsiteY2240" fmla="*/ 216620 h 5392467"/>
              <a:gd name="connsiteX2241" fmla="*/ 4565523 w 6096001"/>
              <a:gd name="connsiteY2241" fmla="*/ 228225 h 5392467"/>
              <a:gd name="connsiteX2242" fmla="*/ 4561177 w 6096001"/>
              <a:gd name="connsiteY2242" fmla="*/ 231122 h 5392467"/>
              <a:gd name="connsiteX2243" fmla="*/ 4553918 w 6096001"/>
              <a:gd name="connsiteY2243" fmla="*/ 234026 h 5392467"/>
              <a:gd name="connsiteX2244" fmla="*/ 4555078 w 6096001"/>
              <a:gd name="connsiteY2244" fmla="*/ 235188 h 5392467"/>
              <a:gd name="connsiteX2245" fmla="*/ 4553918 w 6096001"/>
              <a:gd name="connsiteY2245" fmla="*/ 235961 h 5392467"/>
              <a:gd name="connsiteX2246" fmla="*/ 4555372 w 6096001"/>
              <a:gd name="connsiteY2246" fmla="*/ 235482 h 5392467"/>
              <a:gd name="connsiteX2247" fmla="*/ 4555851 w 6096001"/>
              <a:gd name="connsiteY2247" fmla="*/ 235961 h 5392467"/>
              <a:gd name="connsiteX2248" fmla="*/ 4557367 w 6096001"/>
              <a:gd name="connsiteY2248" fmla="*/ 234824 h 5392467"/>
              <a:gd name="connsiteX2249" fmla="*/ 4575918 w 6096001"/>
              <a:gd name="connsiteY2249" fmla="*/ 228708 h 5392467"/>
              <a:gd name="connsiteX2250" fmla="*/ 4596469 w 6096001"/>
              <a:gd name="connsiteY2250" fmla="*/ 218553 h 5392467"/>
              <a:gd name="connsiteX2251" fmla="*/ 4640952 w 6096001"/>
              <a:gd name="connsiteY2251" fmla="*/ 197279 h 5392467"/>
              <a:gd name="connsiteX2252" fmla="*/ 4685436 w 6096001"/>
              <a:gd name="connsiteY2252" fmla="*/ 181806 h 5392467"/>
              <a:gd name="connsiteX2253" fmla="*/ 4658358 w 6096001"/>
              <a:gd name="connsiteY2253" fmla="*/ 197279 h 5392467"/>
              <a:gd name="connsiteX2254" fmla="*/ 4629348 w 6096001"/>
              <a:gd name="connsiteY2254" fmla="*/ 220488 h 5392467"/>
              <a:gd name="connsiteX2255" fmla="*/ 4669963 w 6096001"/>
              <a:gd name="connsiteY2255" fmla="*/ 201147 h 5392467"/>
              <a:gd name="connsiteX2256" fmla="*/ 4673831 w 6096001"/>
              <a:gd name="connsiteY2256" fmla="*/ 206948 h 5392467"/>
              <a:gd name="connsiteX2257" fmla="*/ 4689304 w 6096001"/>
              <a:gd name="connsiteY2257" fmla="*/ 203080 h 5392467"/>
              <a:gd name="connsiteX2258" fmla="*/ 4691237 w 6096001"/>
              <a:gd name="connsiteY2258" fmla="*/ 210817 h 5392467"/>
              <a:gd name="connsiteX2259" fmla="*/ 4733788 w 6096001"/>
              <a:gd name="connsiteY2259" fmla="*/ 197279 h 5392467"/>
              <a:gd name="connsiteX2260" fmla="*/ 4712514 w 6096001"/>
              <a:gd name="connsiteY2260" fmla="*/ 214685 h 5392467"/>
              <a:gd name="connsiteX2261" fmla="*/ 4739592 w 6096001"/>
              <a:gd name="connsiteY2261" fmla="*/ 228225 h 5392467"/>
              <a:gd name="connsiteX2262" fmla="*/ 4726052 w 6096001"/>
              <a:gd name="connsiteY2262" fmla="*/ 232093 h 5392467"/>
              <a:gd name="connsiteX2263" fmla="*/ 4749261 w 6096001"/>
              <a:gd name="connsiteY2263" fmla="*/ 235961 h 5392467"/>
              <a:gd name="connsiteX2264" fmla="*/ 4770538 w 6096001"/>
              <a:gd name="connsiteY2264" fmla="*/ 220488 h 5392467"/>
              <a:gd name="connsiteX2265" fmla="*/ 4756998 w 6096001"/>
              <a:gd name="connsiteY2265" fmla="*/ 243698 h 5392467"/>
              <a:gd name="connsiteX2266" fmla="*/ 4774404 w 6096001"/>
              <a:gd name="connsiteY2266" fmla="*/ 232093 h 5392467"/>
              <a:gd name="connsiteX2267" fmla="*/ 4762801 w 6096001"/>
              <a:gd name="connsiteY2267" fmla="*/ 245631 h 5392467"/>
              <a:gd name="connsiteX2268" fmla="*/ 4774404 w 6096001"/>
              <a:gd name="connsiteY2268" fmla="*/ 249499 h 5392467"/>
              <a:gd name="connsiteX2269" fmla="*/ 4755062 w 6096001"/>
              <a:gd name="connsiteY2269" fmla="*/ 268840 h 5392467"/>
              <a:gd name="connsiteX2270" fmla="*/ 4761350 w 6096001"/>
              <a:gd name="connsiteY2270" fmla="*/ 272225 h 5392467"/>
              <a:gd name="connsiteX2271" fmla="*/ 4764033 w 6096001"/>
              <a:gd name="connsiteY2271" fmla="*/ 277208 h 5392467"/>
              <a:gd name="connsiteX2272" fmla="*/ 4745393 w 6096001"/>
              <a:gd name="connsiteY2272" fmla="*/ 293983 h 5392467"/>
              <a:gd name="connsiteX2273" fmla="*/ 4745393 w 6096001"/>
              <a:gd name="connsiteY2273" fmla="*/ 295918 h 5392467"/>
              <a:gd name="connsiteX2274" fmla="*/ 4756998 w 6096001"/>
              <a:gd name="connsiteY2274" fmla="*/ 293983 h 5392467"/>
              <a:gd name="connsiteX2275" fmla="*/ 4762801 w 6096001"/>
              <a:gd name="connsiteY2275" fmla="*/ 301719 h 5392467"/>
              <a:gd name="connsiteX2276" fmla="*/ 4772471 w 6096001"/>
              <a:gd name="connsiteY2276" fmla="*/ 284313 h 5392467"/>
              <a:gd name="connsiteX2277" fmla="*/ 4762801 w 6096001"/>
              <a:gd name="connsiteY2277" fmla="*/ 290115 h 5392467"/>
              <a:gd name="connsiteX2278" fmla="*/ 4760866 w 6096001"/>
              <a:gd name="connsiteY2278" fmla="*/ 288182 h 5392467"/>
              <a:gd name="connsiteX2279" fmla="*/ 4766669 w 6096001"/>
              <a:gd name="connsiteY2279" fmla="*/ 278510 h 5392467"/>
              <a:gd name="connsiteX2280" fmla="*/ 4765701 w 6096001"/>
              <a:gd name="connsiteY2280" fmla="*/ 277543 h 5392467"/>
              <a:gd name="connsiteX2281" fmla="*/ 4784075 w 6096001"/>
              <a:gd name="connsiteY2281" fmla="*/ 259171 h 5392467"/>
              <a:gd name="connsiteX2282" fmla="*/ 4787944 w 6096001"/>
              <a:gd name="connsiteY2282" fmla="*/ 272709 h 5392467"/>
              <a:gd name="connsiteX2283" fmla="*/ 4780207 w 6096001"/>
              <a:gd name="connsiteY2283" fmla="*/ 284313 h 5392467"/>
              <a:gd name="connsiteX2284" fmla="*/ 4799548 w 6096001"/>
              <a:gd name="connsiteY2284" fmla="*/ 282378 h 5392467"/>
              <a:gd name="connsiteX2285" fmla="*/ 4797613 w 6096001"/>
              <a:gd name="connsiteY2285" fmla="*/ 292050 h 5392467"/>
              <a:gd name="connsiteX2286" fmla="*/ 4805350 w 6096001"/>
              <a:gd name="connsiteY2286" fmla="*/ 293983 h 5392467"/>
              <a:gd name="connsiteX2287" fmla="*/ 4787944 w 6096001"/>
              <a:gd name="connsiteY2287" fmla="*/ 315260 h 5392467"/>
              <a:gd name="connsiteX2288" fmla="*/ 4787420 w 6096001"/>
              <a:gd name="connsiteY2288" fmla="*/ 320497 h 5392467"/>
              <a:gd name="connsiteX2289" fmla="*/ 4786011 w 6096001"/>
              <a:gd name="connsiteY2289" fmla="*/ 321061 h 5392467"/>
              <a:gd name="connsiteX2290" fmla="*/ 4787138 w 6096001"/>
              <a:gd name="connsiteY2290" fmla="*/ 323317 h 5392467"/>
              <a:gd name="connsiteX2291" fmla="*/ 4786011 w 6096001"/>
              <a:gd name="connsiteY2291" fmla="*/ 334601 h 5392467"/>
              <a:gd name="connsiteX2292" fmla="*/ 4815021 w 6096001"/>
              <a:gd name="connsiteY2292" fmla="*/ 313324 h 5392467"/>
              <a:gd name="connsiteX2293" fmla="*/ 4844032 w 6096001"/>
              <a:gd name="connsiteY2293" fmla="*/ 293983 h 5392467"/>
              <a:gd name="connsiteX2294" fmla="*/ 4851769 w 6096001"/>
              <a:gd name="connsiteY2294" fmla="*/ 292050 h 5392467"/>
              <a:gd name="connsiteX2295" fmla="*/ 4842097 w 6096001"/>
              <a:gd name="connsiteY2295" fmla="*/ 299786 h 5392467"/>
              <a:gd name="connsiteX2296" fmla="*/ 4844032 w 6096001"/>
              <a:gd name="connsiteY2296" fmla="*/ 303655 h 5392467"/>
              <a:gd name="connsiteX2297" fmla="*/ 4859505 w 6096001"/>
              <a:gd name="connsiteY2297" fmla="*/ 295918 h 5392467"/>
              <a:gd name="connsiteX2298" fmla="*/ 4816954 w 6096001"/>
              <a:gd name="connsiteY2298" fmla="*/ 332665 h 5392467"/>
              <a:gd name="connsiteX2299" fmla="*/ 4811153 w 6096001"/>
              <a:gd name="connsiteY2299" fmla="*/ 355875 h 5392467"/>
              <a:gd name="connsiteX2300" fmla="*/ 4818890 w 6096001"/>
              <a:gd name="connsiteY2300" fmla="*/ 369415 h 5392467"/>
              <a:gd name="connsiteX2301" fmla="*/ 4828559 w 6096001"/>
              <a:gd name="connsiteY2301" fmla="*/ 379085 h 5392467"/>
              <a:gd name="connsiteX2302" fmla="*/ 4861438 w 6096001"/>
              <a:gd name="connsiteY2302" fmla="*/ 373281 h 5392467"/>
              <a:gd name="connsiteX2303" fmla="*/ 4853704 w 6096001"/>
              <a:gd name="connsiteY2303" fmla="*/ 382953 h 5392467"/>
              <a:gd name="connsiteX2304" fmla="*/ 4900121 w 6096001"/>
              <a:gd name="connsiteY2304" fmla="*/ 357810 h 5392467"/>
              <a:gd name="connsiteX2305" fmla="*/ 4880779 w 6096001"/>
              <a:gd name="connsiteY2305" fmla="*/ 375216 h 5392467"/>
              <a:gd name="connsiteX2306" fmla="*/ 4859505 w 6096001"/>
              <a:gd name="connsiteY2306" fmla="*/ 396491 h 5392467"/>
              <a:gd name="connsiteX2307" fmla="*/ 4886583 w 6096001"/>
              <a:gd name="connsiteY2307" fmla="*/ 382953 h 5392467"/>
              <a:gd name="connsiteX2308" fmla="*/ 4911725 w 6096001"/>
              <a:gd name="connsiteY2308" fmla="*/ 369415 h 5392467"/>
              <a:gd name="connsiteX2309" fmla="*/ 4874978 w 6096001"/>
              <a:gd name="connsiteY2309" fmla="*/ 410031 h 5392467"/>
              <a:gd name="connsiteX2310" fmla="*/ 4876913 w 6096001"/>
              <a:gd name="connsiteY2310" fmla="*/ 425504 h 5392467"/>
              <a:gd name="connsiteX2311" fmla="*/ 4886583 w 6096001"/>
              <a:gd name="connsiteY2311" fmla="*/ 421635 h 5392467"/>
              <a:gd name="connsiteX2312" fmla="*/ 4884648 w 6096001"/>
              <a:gd name="connsiteY2312" fmla="*/ 435173 h 5392467"/>
              <a:gd name="connsiteX2313" fmla="*/ 4919462 w 6096001"/>
              <a:gd name="connsiteY2313" fmla="*/ 411964 h 5392467"/>
              <a:gd name="connsiteX2314" fmla="*/ 4921397 w 6096001"/>
              <a:gd name="connsiteY2314" fmla="*/ 413899 h 5392467"/>
              <a:gd name="connsiteX2315" fmla="*/ 4907857 w 6096001"/>
              <a:gd name="connsiteY2315" fmla="*/ 431305 h 5392467"/>
              <a:gd name="connsiteX2316" fmla="*/ 4919462 w 6096001"/>
              <a:gd name="connsiteY2316" fmla="*/ 431305 h 5392467"/>
              <a:gd name="connsiteX2317" fmla="*/ 4894319 w 6096001"/>
              <a:gd name="connsiteY2317" fmla="*/ 456450 h 5392467"/>
              <a:gd name="connsiteX2318" fmla="*/ 4907857 w 6096001"/>
              <a:gd name="connsiteY2318" fmla="*/ 456450 h 5392467"/>
              <a:gd name="connsiteX2319" fmla="*/ 4902056 w 6096001"/>
              <a:gd name="connsiteY2319" fmla="*/ 466119 h 5392467"/>
              <a:gd name="connsiteX2320" fmla="*/ 4921397 w 6096001"/>
              <a:gd name="connsiteY2320" fmla="*/ 481592 h 5392467"/>
              <a:gd name="connsiteX2321" fmla="*/ 4911725 w 6096001"/>
              <a:gd name="connsiteY2321" fmla="*/ 489329 h 5392467"/>
              <a:gd name="connsiteX2322" fmla="*/ 4913661 w 6096001"/>
              <a:gd name="connsiteY2322" fmla="*/ 491262 h 5392467"/>
              <a:gd name="connsiteX2323" fmla="*/ 4927198 w 6096001"/>
              <a:gd name="connsiteY2323" fmla="*/ 483525 h 5392467"/>
              <a:gd name="connsiteX2324" fmla="*/ 4929131 w 6096001"/>
              <a:gd name="connsiteY2324" fmla="*/ 485460 h 5392467"/>
              <a:gd name="connsiteX2325" fmla="*/ 4917188 w 6096001"/>
              <a:gd name="connsiteY2325" fmla="*/ 495811 h 5392467"/>
              <a:gd name="connsiteX2326" fmla="*/ 4917529 w 6096001"/>
              <a:gd name="connsiteY2326" fmla="*/ 495130 h 5392467"/>
              <a:gd name="connsiteX2327" fmla="*/ 4914633 w 6096001"/>
              <a:gd name="connsiteY2327" fmla="*/ 498025 h 5392467"/>
              <a:gd name="connsiteX2328" fmla="*/ 4900121 w 6096001"/>
              <a:gd name="connsiteY2328" fmla="*/ 510603 h 5392467"/>
              <a:gd name="connsiteX2329" fmla="*/ 4892384 w 6096001"/>
              <a:gd name="connsiteY2329" fmla="*/ 504802 h 5392467"/>
              <a:gd name="connsiteX2330" fmla="*/ 4890451 w 6096001"/>
              <a:gd name="connsiteY2330" fmla="*/ 520275 h 5392467"/>
              <a:gd name="connsiteX2331" fmla="*/ 4882715 w 6096001"/>
              <a:gd name="connsiteY2331" fmla="*/ 547350 h 5392467"/>
              <a:gd name="connsiteX2332" fmla="*/ 4902056 w 6096001"/>
              <a:gd name="connsiteY2332" fmla="*/ 558955 h 5392467"/>
              <a:gd name="connsiteX2333" fmla="*/ 4880779 w 6096001"/>
              <a:gd name="connsiteY2333" fmla="*/ 584100 h 5392467"/>
              <a:gd name="connsiteX2334" fmla="*/ 4880779 w 6096001"/>
              <a:gd name="connsiteY2334" fmla="*/ 586033 h 5392467"/>
              <a:gd name="connsiteX2335" fmla="*/ 4890451 w 6096001"/>
              <a:gd name="connsiteY2335" fmla="*/ 584100 h 5392467"/>
              <a:gd name="connsiteX2336" fmla="*/ 4934935 w 6096001"/>
              <a:gd name="connsiteY2336" fmla="*/ 553154 h 5392467"/>
              <a:gd name="connsiteX2337" fmla="*/ 4944607 w 6096001"/>
              <a:gd name="connsiteY2337" fmla="*/ 549285 h 5392467"/>
              <a:gd name="connsiteX2338" fmla="*/ 4950408 w 6096001"/>
              <a:gd name="connsiteY2338" fmla="*/ 547350 h 5392467"/>
              <a:gd name="connsiteX2339" fmla="*/ 4983289 w 6096001"/>
              <a:gd name="connsiteY2339" fmla="*/ 529944 h 5392467"/>
              <a:gd name="connsiteX2340" fmla="*/ 4789879 w 6096001"/>
              <a:gd name="connsiteY2340" fmla="*/ 804588 h 5392467"/>
              <a:gd name="connsiteX2341" fmla="*/ 4815021 w 6096001"/>
              <a:gd name="connsiteY2341" fmla="*/ 796849 h 5392467"/>
              <a:gd name="connsiteX2342" fmla="*/ 4824691 w 6096001"/>
              <a:gd name="connsiteY2342" fmla="*/ 792983 h 5392467"/>
              <a:gd name="connsiteX2343" fmla="*/ 4842097 w 6096001"/>
              <a:gd name="connsiteY2343" fmla="*/ 789115 h 5392467"/>
              <a:gd name="connsiteX2344" fmla="*/ 4857572 w 6096001"/>
              <a:gd name="connsiteY2344" fmla="*/ 779443 h 5392467"/>
              <a:gd name="connsiteX2345" fmla="*/ 4869175 w 6096001"/>
              <a:gd name="connsiteY2345" fmla="*/ 763970 h 5392467"/>
              <a:gd name="connsiteX2346" fmla="*/ 4874978 w 6096001"/>
              <a:gd name="connsiteY2346" fmla="*/ 756234 h 5392467"/>
              <a:gd name="connsiteX2347" fmla="*/ 4894319 w 6096001"/>
              <a:gd name="connsiteY2347" fmla="*/ 744629 h 5392467"/>
              <a:gd name="connsiteX2348" fmla="*/ 4900121 w 6096001"/>
              <a:gd name="connsiteY2348" fmla="*/ 752365 h 5392467"/>
              <a:gd name="connsiteX2349" fmla="*/ 4915594 w 6096001"/>
              <a:gd name="connsiteY2349" fmla="*/ 733024 h 5392467"/>
              <a:gd name="connsiteX2350" fmla="*/ 4929131 w 6096001"/>
              <a:gd name="connsiteY2350" fmla="*/ 725290 h 5392467"/>
              <a:gd name="connsiteX2351" fmla="*/ 4950408 w 6096001"/>
              <a:gd name="connsiteY2351" fmla="*/ 715618 h 5392467"/>
              <a:gd name="connsiteX2352" fmla="*/ 4971682 w 6096001"/>
              <a:gd name="connsiteY2352" fmla="*/ 715618 h 5392467"/>
              <a:gd name="connsiteX2353" fmla="*/ 4965881 w 6096001"/>
              <a:gd name="connsiteY2353" fmla="*/ 707882 h 5392467"/>
              <a:gd name="connsiteX2354" fmla="*/ 5016166 w 6096001"/>
              <a:gd name="connsiteY2354" fmla="*/ 680804 h 5392467"/>
              <a:gd name="connsiteX2355" fmla="*/ 5008432 w 6096001"/>
              <a:gd name="connsiteY2355" fmla="*/ 688540 h 5392467"/>
              <a:gd name="connsiteX2356" fmla="*/ 5039375 w 6096001"/>
              <a:gd name="connsiteY2356" fmla="*/ 673067 h 5392467"/>
              <a:gd name="connsiteX2357" fmla="*/ 5041311 w 6096001"/>
              <a:gd name="connsiteY2357" fmla="*/ 671134 h 5392467"/>
              <a:gd name="connsiteX2358" fmla="*/ 5060652 w 6096001"/>
              <a:gd name="connsiteY2358" fmla="*/ 657594 h 5392467"/>
              <a:gd name="connsiteX2359" fmla="*/ 5078058 w 6096001"/>
              <a:gd name="connsiteY2359" fmla="*/ 647925 h 5392467"/>
              <a:gd name="connsiteX2360" fmla="*/ 5079993 w 6096001"/>
              <a:gd name="connsiteY2360" fmla="*/ 655661 h 5392467"/>
              <a:gd name="connsiteX2361" fmla="*/ 5095466 w 6096001"/>
              <a:gd name="connsiteY2361" fmla="*/ 642121 h 5392467"/>
              <a:gd name="connsiteX2362" fmla="*/ 5114808 w 6096001"/>
              <a:gd name="connsiteY2362" fmla="*/ 632452 h 5392467"/>
              <a:gd name="connsiteX2363" fmla="*/ 5105136 w 6096001"/>
              <a:gd name="connsiteY2363" fmla="*/ 644057 h 5392467"/>
              <a:gd name="connsiteX2364" fmla="*/ 5147687 w 6096001"/>
              <a:gd name="connsiteY2364" fmla="*/ 630519 h 5392467"/>
              <a:gd name="connsiteX2365" fmla="*/ 5136082 w 6096001"/>
              <a:gd name="connsiteY2365" fmla="*/ 640188 h 5392467"/>
              <a:gd name="connsiteX2366" fmla="*/ 5139950 w 6096001"/>
              <a:gd name="connsiteY2366" fmla="*/ 642121 h 5392467"/>
              <a:gd name="connsiteX2367" fmla="*/ 5184434 w 6096001"/>
              <a:gd name="connsiteY2367" fmla="*/ 620847 h 5392467"/>
              <a:gd name="connsiteX2368" fmla="*/ 5242458 w 6096001"/>
              <a:gd name="connsiteY2368" fmla="*/ 593769 h 5392467"/>
              <a:gd name="connsiteX2369" fmla="*/ 5244393 w 6096001"/>
              <a:gd name="connsiteY2369" fmla="*/ 593769 h 5392467"/>
              <a:gd name="connsiteX2370" fmla="*/ 5207643 w 6096001"/>
              <a:gd name="connsiteY2370" fmla="*/ 616979 h 5392467"/>
              <a:gd name="connsiteX2371" fmla="*/ 5221183 w 6096001"/>
              <a:gd name="connsiteY2371" fmla="*/ 620847 h 5392467"/>
              <a:gd name="connsiteX2372" fmla="*/ 5259864 w 6096001"/>
              <a:gd name="connsiteY2372" fmla="*/ 605374 h 5392467"/>
              <a:gd name="connsiteX2373" fmla="*/ 5271468 w 6096001"/>
              <a:gd name="connsiteY2373" fmla="*/ 603441 h 5392467"/>
              <a:gd name="connsiteX2374" fmla="*/ 5244393 w 6096001"/>
              <a:gd name="connsiteY2374" fmla="*/ 626651 h 5392467"/>
              <a:gd name="connsiteX2375" fmla="*/ 5238589 w 6096001"/>
              <a:gd name="connsiteY2375" fmla="*/ 630519 h 5392467"/>
              <a:gd name="connsiteX2376" fmla="*/ 5240522 w 6096001"/>
              <a:gd name="connsiteY2376" fmla="*/ 632452 h 5392467"/>
              <a:gd name="connsiteX2377" fmla="*/ 5290810 w 6096001"/>
              <a:gd name="connsiteY2377" fmla="*/ 609242 h 5392467"/>
              <a:gd name="connsiteX2378" fmla="*/ 5308218 w 6096001"/>
              <a:gd name="connsiteY2378" fmla="*/ 618914 h 5392467"/>
              <a:gd name="connsiteX2379" fmla="*/ 5304350 w 6096001"/>
              <a:gd name="connsiteY2379" fmla="*/ 613111 h 5392467"/>
              <a:gd name="connsiteX2380" fmla="*/ 5300479 w 6096001"/>
              <a:gd name="connsiteY2380" fmla="*/ 605374 h 5392467"/>
              <a:gd name="connsiteX2381" fmla="*/ 5308218 w 6096001"/>
              <a:gd name="connsiteY2381" fmla="*/ 599573 h 5392467"/>
              <a:gd name="connsiteX2382" fmla="*/ 5329492 w 6096001"/>
              <a:gd name="connsiteY2382" fmla="*/ 593769 h 5392467"/>
              <a:gd name="connsiteX2383" fmla="*/ 5350766 w 6096001"/>
              <a:gd name="connsiteY2383" fmla="*/ 584100 h 5392467"/>
              <a:gd name="connsiteX2384" fmla="*/ 5370108 w 6096001"/>
              <a:gd name="connsiteY2384" fmla="*/ 576363 h 5392467"/>
              <a:gd name="connsiteX2385" fmla="*/ 5364306 w 6096001"/>
              <a:gd name="connsiteY2385" fmla="*/ 586033 h 5392467"/>
              <a:gd name="connsiteX2386" fmla="*/ 5439736 w 6096001"/>
              <a:gd name="connsiteY2386" fmla="*/ 549285 h 5392467"/>
              <a:gd name="connsiteX2387" fmla="*/ 5441669 w 6096001"/>
              <a:gd name="connsiteY2387" fmla="*/ 560890 h 5392467"/>
              <a:gd name="connsiteX2388" fmla="*/ 5439736 w 6096001"/>
              <a:gd name="connsiteY2388" fmla="*/ 562823 h 5392467"/>
              <a:gd name="connsiteX2389" fmla="*/ 5428131 w 6096001"/>
              <a:gd name="connsiteY2389" fmla="*/ 562823 h 5392467"/>
              <a:gd name="connsiteX2390" fmla="*/ 5389449 w 6096001"/>
              <a:gd name="connsiteY2390" fmla="*/ 582164 h 5392467"/>
              <a:gd name="connsiteX2391" fmla="*/ 5381712 w 6096001"/>
              <a:gd name="connsiteY2391" fmla="*/ 586033 h 5392467"/>
              <a:gd name="connsiteX2392" fmla="*/ 5352702 w 6096001"/>
              <a:gd name="connsiteY2392" fmla="*/ 605374 h 5392467"/>
              <a:gd name="connsiteX2393" fmla="*/ 5362371 w 6096001"/>
              <a:gd name="connsiteY2393" fmla="*/ 605374 h 5392467"/>
              <a:gd name="connsiteX2394" fmla="*/ 5387514 w 6096001"/>
              <a:gd name="connsiteY2394" fmla="*/ 595705 h 5392467"/>
              <a:gd name="connsiteX2395" fmla="*/ 5397185 w 6096001"/>
              <a:gd name="connsiteY2395" fmla="*/ 597637 h 5392467"/>
              <a:gd name="connsiteX2396" fmla="*/ 5406855 w 6096001"/>
              <a:gd name="connsiteY2396" fmla="*/ 607309 h 5392467"/>
              <a:gd name="connsiteX2397" fmla="*/ 5391384 w 6096001"/>
              <a:gd name="connsiteY2397" fmla="*/ 626651 h 5392467"/>
              <a:gd name="connsiteX2398" fmla="*/ 5377844 w 6096001"/>
              <a:gd name="connsiteY2398" fmla="*/ 616979 h 5392467"/>
              <a:gd name="connsiteX2399" fmla="*/ 5362371 w 6096001"/>
              <a:gd name="connsiteY2399" fmla="*/ 630519 h 5392467"/>
              <a:gd name="connsiteX2400" fmla="*/ 5356570 w 6096001"/>
              <a:gd name="connsiteY2400" fmla="*/ 642121 h 5392467"/>
              <a:gd name="connsiteX2401" fmla="*/ 5346898 w 6096001"/>
              <a:gd name="connsiteY2401" fmla="*/ 642121 h 5392467"/>
              <a:gd name="connsiteX2402" fmla="*/ 5350766 w 6096001"/>
              <a:gd name="connsiteY2402" fmla="*/ 655661 h 5392467"/>
              <a:gd name="connsiteX2403" fmla="*/ 5375911 w 6096001"/>
              <a:gd name="connsiteY2403" fmla="*/ 649858 h 5392467"/>
              <a:gd name="connsiteX2404" fmla="*/ 5370108 w 6096001"/>
              <a:gd name="connsiteY2404" fmla="*/ 657594 h 5392467"/>
              <a:gd name="connsiteX2405" fmla="*/ 5350766 w 6096001"/>
              <a:gd name="connsiteY2405" fmla="*/ 678871 h 5392467"/>
              <a:gd name="connsiteX2406" fmla="*/ 5339162 w 6096001"/>
              <a:gd name="connsiteY2406" fmla="*/ 688540 h 5392467"/>
              <a:gd name="connsiteX2407" fmla="*/ 5308218 w 6096001"/>
              <a:gd name="connsiteY2407" fmla="*/ 727223 h 5392467"/>
              <a:gd name="connsiteX2408" fmla="*/ 5325624 w 6096001"/>
              <a:gd name="connsiteY2408" fmla="*/ 717553 h 5392467"/>
              <a:gd name="connsiteX2409" fmla="*/ 5339162 w 6096001"/>
              <a:gd name="connsiteY2409" fmla="*/ 702080 h 5392467"/>
              <a:gd name="connsiteX2410" fmla="*/ 5343030 w 6096001"/>
              <a:gd name="connsiteY2410" fmla="*/ 704013 h 5392467"/>
              <a:gd name="connsiteX2411" fmla="*/ 5341097 w 6096001"/>
              <a:gd name="connsiteY2411" fmla="*/ 698212 h 5392467"/>
              <a:gd name="connsiteX2412" fmla="*/ 5350766 w 6096001"/>
              <a:gd name="connsiteY2412" fmla="*/ 684672 h 5392467"/>
              <a:gd name="connsiteX2413" fmla="*/ 5358503 w 6096001"/>
              <a:gd name="connsiteY2413" fmla="*/ 678871 h 5392467"/>
              <a:gd name="connsiteX2414" fmla="*/ 5385581 w 6096001"/>
              <a:gd name="connsiteY2414" fmla="*/ 671134 h 5392467"/>
              <a:gd name="connsiteX2415" fmla="*/ 5381712 w 6096001"/>
              <a:gd name="connsiteY2415" fmla="*/ 667266 h 5392467"/>
              <a:gd name="connsiteX2416" fmla="*/ 5391384 w 6096001"/>
              <a:gd name="connsiteY2416" fmla="*/ 669199 h 5392467"/>
              <a:gd name="connsiteX2417" fmla="*/ 5391384 w 6096001"/>
              <a:gd name="connsiteY2417" fmla="*/ 671134 h 5392467"/>
              <a:gd name="connsiteX2418" fmla="*/ 5399121 w 6096001"/>
              <a:gd name="connsiteY2418" fmla="*/ 671134 h 5392467"/>
              <a:gd name="connsiteX2419" fmla="*/ 5404922 w 6096001"/>
              <a:gd name="connsiteY2419" fmla="*/ 671134 h 5392467"/>
              <a:gd name="connsiteX2420" fmla="*/ 5406855 w 6096001"/>
              <a:gd name="connsiteY2420" fmla="*/ 671134 h 5392467"/>
              <a:gd name="connsiteX2421" fmla="*/ 5430064 w 6096001"/>
              <a:gd name="connsiteY2421" fmla="*/ 665331 h 5392467"/>
              <a:gd name="connsiteX2422" fmla="*/ 5424263 w 6096001"/>
              <a:gd name="connsiteY2422" fmla="*/ 669199 h 5392467"/>
              <a:gd name="connsiteX2423" fmla="*/ 5418462 w 6096001"/>
              <a:gd name="connsiteY2423" fmla="*/ 671134 h 5392467"/>
              <a:gd name="connsiteX2424" fmla="*/ 5433933 w 6096001"/>
              <a:gd name="connsiteY2424" fmla="*/ 671134 h 5392467"/>
              <a:gd name="connsiteX2425" fmla="*/ 5480352 w 6096001"/>
              <a:gd name="connsiteY2425" fmla="*/ 665331 h 5392467"/>
              <a:gd name="connsiteX2426" fmla="*/ 5490021 w 6096001"/>
              <a:gd name="connsiteY2426" fmla="*/ 661463 h 5392467"/>
              <a:gd name="connsiteX2427" fmla="*/ 5503561 w 6096001"/>
              <a:gd name="connsiteY2427" fmla="*/ 651793 h 5392467"/>
              <a:gd name="connsiteX2428" fmla="*/ 5540308 w 6096001"/>
              <a:gd name="connsiteY2428" fmla="*/ 647925 h 5392467"/>
              <a:gd name="connsiteX2429" fmla="*/ 5542244 w 6096001"/>
              <a:gd name="connsiteY2429" fmla="*/ 663398 h 5392467"/>
              <a:gd name="connsiteX2430" fmla="*/ 5561585 w 6096001"/>
              <a:gd name="connsiteY2430" fmla="*/ 667266 h 5392467"/>
              <a:gd name="connsiteX2431" fmla="*/ 5555781 w 6096001"/>
              <a:gd name="connsiteY2431" fmla="*/ 680804 h 5392467"/>
              <a:gd name="connsiteX2432" fmla="*/ 5559650 w 6096001"/>
              <a:gd name="connsiteY2432" fmla="*/ 694344 h 5392467"/>
              <a:gd name="connsiteX2433" fmla="*/ 5559650 w 6096001"/>
              <a:gd name="connsiteY2433" fmla="*/ 707882 h 5392467"/>
              <a:gd name="connsiteX2434" fmla="*/ 5548045 w 6096001"/>
              <a:gd name="connsiteY2434" fmla="*/ 738828 h 5392467"/>
              <a:gd name="connsiteX2435" fmla="*/ 5549980 w 6096001"/>
              <a:gd name="connsiteY2435" fmla="*/ 738828 h 5392467"/>
              <a:gd name="connsiteX2436" fmla="*/ 5548045 w 6096001"/>
              <a:gd name="connsiteY2436" fmla="*/ 740761 h 5392467"/>
              <a:gd name="connsiteX2437" fmla="*/ 5540308 w 6096001"/>
              <a:gd name="connsiteY2437" fmla="*/ 752365 h 5392467"/>
              <a:gd name="connsiteX2438" fmla="*/ 5528704 w 6096001"/>
              <a:gd name="connsiteY2438" fmla="*/ 794916 h 5392467"/>
              <a:gd name="connsiteX2439" fmla="*/ 5522903 w 6096001"/>
              <a:gd name="connsiteY2439" fmla="*/ 835532 h 5392467"/>
              <a:gd name="connsiteX2440" fmla="*/ 5511298 w 6096001"/>
              <a:gd name="connsiteY2440" fmla="*/ 885819 h 5392467"/>
              <a:gd name="connsiteX2441" fmla="*/ 5507430 w 6096001"/>
              <a:gd name="connsiteY2441" fmla="*/ 901292 h 5392467"/>
              <a:gd name="connsiteX2442" fmla="*/ 5544177 w 6096001"/>
              <a:gd name="connsiteY2442" fmla="*/ 893556 h 5392467"/>
              <a:gd name="connsiteX2443" fmla="*/ 5519034 w 6096001"/>
              <a:gd name="connsiteY2443" fmla="*/ 907093 h 5392467"/>
              <a:gd name="connsiteX2444" fmla="*/ 5503561 w 6096001"/>
              <a:gd name="connsiteY2444" fmla="*/ 910964 h 5392467"/>
              <a:gd name="connsiteX2445" fmla="*/ 5497758 w 6096001"/>
              <a:gd name="connsiteY2445" fmla="*/ 926435 h 5392467"/>
              <a:gd name="connsiteX2446" fmla="*/ 5493889 w 6096001"/>
              <a:gd name="connsiteY2446" fmla="*/ 934171 h 5392467"/>
              <a:gd name="connsiteX2447" fmla="*/ 5468747 w 6096001"/>
              <a:gd name="connsiteY2447" fmla="*/ 1005733 h 5392467"/>
              <a:gd name="connsiteX2448" fmla="*/ 5476483 w 6096001"/>
              <a:gd name="connsiteY2448" fmla="*/ 1003800 h 5392467"/>
              <a:gd name="connsiteX2449" fmla="*/ 5484220 w 6096001"/>
              <a:gd name="connsiteY2449" fmla="*/ 1001864 h 5392467"/>
              <a:gd name="connsiteX2450" fmla="*/ 5538376 w 6096001"/>
              <a:gd name="connsiteY2450" fmla="*/ 982523 h 5392467"/>
              <a:gd name="connsiteX2451" fmla="*/ 5553849 w 6096001"/>
              <a:gd name="connsiteY2451" fmla="*/ 980590 h 5392467"/>
              <a:gd name="connsiteX2452" fmla="*/ 5594464 w 6096001"/>
              <a:gd name="connsiteY2452" fmla="*/ 990260 h 5392467"/>
              <a:gd name="connsiteX2453" fmla="*/ 5594464 w 6096001"/>
              <a:gd name="connsiteY2453" fmla="*/ 992195 h 5392467"/>
              <a:gd name="connsiteX2454" fmla="*/ 5592531 w 6096001"/>
              <a:gd name="connsiteY2454" fmla="*/ 996063 h 5392467"/>
              <a:gd name="connsiteX2455" fmla="*/ 5567386 w 6096001"/>
              <a:gd name="connsiteY2455" fmla="*/ 1009601 h 5392467"/>
              <a:gd name="connsiteX2456" fmla="*/ 5588663 w 6096001"/>
              <a:gd name="connsiteY2456" fmla="*/ 1003800 h 5392467"/>
              <a:gd name="connsiteX2457" fmla="*/ 5596397 w 6096001"/>
              <a:gd name="connsiteY2457" fmla="*/ 999931 h 5392467"/>
              <a:gd name="connsiteX2458" fmla="*/ 5617674 w 6096001"/>
              <a:gd name="connsiteY2458" fmla="*/ 992195 h 5392467"/>
              <a:gd name="connsiteX2459" fmla="*/ 5638948 w 6096001"/>
              <a:gd name="connsiteY2459" fmla="*/ 984458 h 5392467"/>
              <a:gd name="connsiteX2460" fmla="*/ 5625410 w 6096001"/>
              <a:gd name="connsiteY2460" fmla="*/ 997998 h 5392467"/>
              <a:gd name="connsiteX2461" fmla="*/ 5608002 w 6096001"/>
              <a:gd name="connsiteY2461" fmla="*/ 1013469 h 5392467"/>
              <a:gd name="connsiteX2462" fmla="*/ 5633147 w 6096001"/>
              <a:gd name="connsiteY2462" fmla="*/ 1011536 h 5392467"/>
              <a:gd name="connsiteX2463" fmla="*/ 5623475 w 6096001"/>
              <a:gd name="connsiteY2463" fmla="*/ 1021206 h 5392467"/>
              <a:gd name="connsiteX2464" fmla="*/ 5611872 w 6096001"/>
              <a:gd name="connsiteY2464" fmla="*/ 1040547 h 5392467"/>
              <a:gd name="connsiteX2465" fmla="*/ 5578991 w 6096001"/>
              <a:gd name="connsiteY2465" fmla="*/ 1057955 h 5392467"/>
              <a:gd name="connsiteX2466" fmla="*/ 5588663 w 6096001"/>
              <a:gd name="connsiteY2466" fmla="*/ 1059888 h 5392467"/>
              <a:gd name="connsiteX2467" fmla="*/ 5557714 w 6096001"/>
              <a:gd name="connsiteY2467" fmla="*/ 1086966 h 5392467"/>
              <a:gd name="connsiteX2468" fmla="*/ 5563518 w 6096001"/>
              <a:gd name="connsiteY2468" fmla="*/ 1088899 h 5392467"/>
              <a:gd name="connsiteX2469" fmla="*/ 5571255 w 6096001"/>
              <a:gd name="connsiteY2469" fmla="*/ 1083098 h 5392467"/>
              <a:gd name="connsiteX2470" fmla="*/ 5594464 w 6096001"/>
              <a:gd name="connsiteY2470" fmla="*/ 1067625 h 5392467"/>
              <a:gd name="connsiteX2471" fmla="*/ 5573190 w 6096001"/>
              <a:gd name="connsiteY2471" fmla="*/ 1086966 h 5392467"/>
              <a:gd name="connsiteX2472" fmla="*/ 5577056 w 6096001"/>
              <a:gd name="connsiteY2472" fmla="*/ 1086966 h 5392467"/>
              <a:gd name="connsiteX2473" fmla="*/ 5577056 w 6096001"/>
              <a:gd name="connsiteY2473" fmla="*/ 1094703 h 5392467"/>
              <a:gd name="connsiteX2474" fmla="*/ 5586728 w 6096001"/>
              <a:gd name="connsiteY2474" fmla="*/ 1085033 h 5392467"/>
              <a:gd name="connsiteX2475" fmla="*/ 5604133 w 6096001"/>
              <a:gd name="connsiteY2475" fmla="*/ 1071493 h 5392467"/>
              <a:gd name="connsiteX2476" fmla="*/ 5629278 w 6096001"/>
              <a:gd name="connsiteY2476" fmla="*/ 1054087 h 5392467"/>
              <a:gd name="connsiteX2477" fmla="*/ 5638948 w 6096001"/>
              <a:gd name="connsiteY2477" fmla="*/ 1054087 h 5392467"/>
              <a:gd name="connsiteX2478" fmla="*/ 5621542 w 6096001"/>
              <a:gd name="connsiteY2478" fmla="*/ 1065692 h 5392467"/>
              <a:gd name="connsiteX2479" fmla="*/ 5602201 w 6096001"/>
              <a:gd name="connsiteY2479" fmla="*/ 1081162 h 5392467"/>
              <a:gd name="connsiteX2480" fmla="*/ 5594464 w 6096001"/>
              <a:gd name="connsiteY2480" fmla="*/ 1086966 h 5392467"/>
              <a:gd name="connsiteX2481" fmla="*/ 5578991 w 6096001"/>
              <a:gd name="connsiteY2481" fmla="*/ 1100504 h 5392467"/>
              <a:gd name="connsiteX2482" fmla="*/ 5584795 w 6096001"/>
              <a:gd name="connsiteY2482" fmla="*/ 1108240 h 5392467"/>
              <a:gd name="connsiteX2483" fmla="*/ 5582859 w 6096001"/>
              <a:gd name="connsiteY2483" fmla="*/ 1123713 h 5392467"/>
              <a:gd name="connsiteX2484" fmla="*/ 5578991 w 6096001"/>
              <a:gd name="connsiteY2484" fmla="*/ 1129517 h 5392467"/>
              <a:gd name="connsiteX2485" fmla="*/ 5573190 w 6096001"/>
              <a:gd name="connsiteY2485" fmla="*/ 1123713 h 5392467"/>
              <a:gd name="connsiteX2486" fmla="*/ 5557714 w 6096001"/>
              <a:gd name="connsiteY2486" fmla="*/ 1125649 h 5392467"/>
              <a:gd name="connsiteX2487" fmla="*/ 5565453 w 6096001"/>
              <a:gd name="connsiteY2487" fmla="*/ 1112109 h 5392467"/>
              <a:gd name="connsiteX2488" fmla="*/ 5559650 w 6096001"/>
              <a:gd name="connsiteY2488" fmla="*/ 1110176 h 5392467"/>
              <a:gd name="connsiteX2489" fmla="*/ 5546112 w 6096001"/>
              <a:gd name="connsiteY2489" fmla="*/ 1121780 h 5392467"/>
              <a:gd name="connsiteX2490" fmla="*/ 5549980 w 6096001"/>
              <a:gd name="connsiteY2490" fmla="*/ 1133385 h 5392467"/>
              <a:gd name="connsiteX2491" fmla="*/ 5544177 w 6096001"/>
              <a:gd name="connsiteY2491" fmla="*/ 1133385 h 5392467"/>
              <a:gd name="connsiteX2492" fmla="*/ 5540308 w 6096001"/>
              <a:gd name="connsiteY2492" fmla="*/ 1137253 h 5392467"/>
              <a:gd name="connsiteX2493" fmla="*/ 5548045 w 6096001"/>
              <a:gd name="connsiteY2493" fmla="*/ 1139186 h 5392467"/>
              <a:gd name="connsiteX2494" fmla="*/ 5557714 w 6096001"/>
              <a:gd name="connsiteY2494" fmla="*/ 1135318 h 5392467"/>
              <a:gd name="connsiteX2495" fmla="*/ 5553849 w 6096001"/>
              <a:gd name="connsiteY2495" fmla="*/ 1168199 h 5392467"/>
              <a:gd name="connsiteX2496" fmla="*/ 5555781 w 6096001"/>
              <a:gd name="connsiteY2496" fmla="*/ 1168199 h 5392467"/>
              <a:gd name="connsiteX2497" fmla="*/ 5563518 w 6096001"/>
              <a:gd name="connsiteY2497" fmla="*/ 1158528 h 5392467"/>
              <a:gd name="connsiteX2498" fmla="*/ 5565453 w 6096001"/>
              <a:gd name="connsiteY2498" fmla="*/ 1162396 h 5392467"/>
              <a:gd name="connsiteX2499" fmla="*/ 5563518 w 6096001"/>
              <a:gd name="connsiteY2499" fmla="*/ 1174001 h 5392467"/>
              <a:gd name="connsiteX2500" fmla="*/ 5571255 w 6096001"/>
              <a:gd name="connsiteY2500" fmla="*/ 1175934 h 5392467"/>
              <a:gd name="connsiteX2501" fmla="*/ 5588663 w 6096001"/>
              <a:gd name="connsiteY2501" fmla="*/ 1187538 h 5392467"/>
              <a:gd name="connsiteX2502" fmla="*/ 5588663 w 6096001"/>
              <a:gd name="connsiteY2502" fmla="*/ 1195275 h 5392467"/>
              <a:gd name="connsiteX2503" fmla="*/ 5602201 w 6096001"/>
              <a:gd name="connsiteY2503" fmla="*/ 1199143 h 5392467"/>
              <a:gd name="connsiteX2504" fmla="*/ 5608002 w 6096001"/>
              <a:gd name="connsiteY2504" fmla="*/ 1204947 h 5392467"/>
              <a:gd name="connsiteX2505" fmla="*/ 5621542 w 6096001"/>
              <a:gd name="connsiteY2505" fmla="*/ 1218484 h 5392467"/>
              <a:gd name="connsiteX2506" fmla="*/ 5629278 w 6096001"/>
              <a:gd name="connsiteY2506" fmla="*/ 1220420 h 5392467"/>
              <a:gd name="connsiteX2507" fmla="*/ 5642816 w 6096001"/>
              <a:gd name="connsiteY2507" fmla="*/ 1233957 h 5392467"/>
              <a:gd name="connsiteX2508" fmla="*/ 5646684 w 6096001"/>
              <a:gd name="connsiteY2508" fmla="*/ 1251363 h 5392467"/>
              <a:gd name="connsiteX2509" fmla="*/ 5669894 w 6096001"/>
              <a:gd name="connsiteY2509" fmla="*/ 1249430 h 5392467"/>
              <a:gd name="connsiteX2510" fmla="*/ 5669894 w 6096001"/>
              <a:gd name="connsiteY2510" fmla="*/ 1268772 h 5392467"/>
              <a:gd name="connsiteX2511" fmla="*/ 5683432 w 6096001"/>
              <a:gd name="connsiteY2511" fmla="*/ 1286178 h 5392467"/>
              <a:gd name="connsiteX2512" fmla="*/ 5685367 w 6096001"/>
              <a:gd name="connsiteY2512" fmla="*/ 1299718 h 5392467"/>
              <a:gd name="connsiteX2513" fmla="*/ 5679566 w 6096001"/>
              <a:gd name="connsiteY2513" fmla="*/ 1307454 h 5392467"/>
              <a:gd name="connsiteX2514" fmla="*/ 5696972 w 6096001"/>
              <a:gd name="connsiteY2514" fmla="*/ 1313255 h 5392467"/>
              <a:gd name="connsiteX2515" fmla="*/ 5710509 w 6096001"/>
              <a:gd name="connsiteY2515" fmla="*/ 1313255 h 5392467"/>
              <a:gd name="connsiteX2516" fmla="*/ 5699632 w 6096001"/>
              <a:gd name="connsiteY2516" fmla="*/ 1331389 h 5392467"/>
              <a:gd name="connsiteX2517" fmla="*/ 5698907 w 6096001"/>
              <a:gd name="connsiteY2517" fmla="*/ 1332597 h 5392467"/>
              <a:gd name="connsiteX2518" fmla="*/ 5695036 w 6096001"/>
              <a:gd name="connsiteY2518" fmla="*/ 1359675 h 5392467"/>
              <a:gd name="connsiteX2519" fmla="*/ 5691168 w 6096001"/>
              <a:gd name="connsiteY2519" fmla="*/ 1363543 h 5392467"/>
              <a:gd name="connsiteX2520" fmla="*/ 5650553 w 6096001"/>
              <a:gd name="connsiteY2520" fmla="*/ 1400290 h 5392467"/>
              <a:gd name="connsiteX2521" fmla="*/ 5642816 w 6096001"/>
              <a:gd name="connsiteY2521" fmla="*/ 1406094 h 5392467"/>
              <a:gd name="connsiteX2522" fmla="*/ 5654421 w 6096001"/>
              <a:gd name="connsiteY2522" fmla="*/ 1404158 h 5392467"/>
              <a:gd name="connsiteX2523" fmla="*/ 5662157 w 6096001"/>
              <a:gd name="connsiteY2523" fmla="*/ 1400290 h 5392467"/>
              <a:gd name="connsiteX2524" fmla="*/ 5669894 w 6096001"/>
              <a:gd name="connsiteY2524" fmla="*/ 1400290 h 5392467"/>
              <a:gd name="connsiteX2525" fmla="*/ 5669894 w 6096001"/>
              <a:gd name="connsiteY2525" fmla="*/ 1409962 h 5392467"/>
              <a:gd name="connsiteX2526" fmla="*/ 5660224 w 6096001"/>
              <a:gd name="connsiteY2526" fmla="*/ 1417699 h 5392467"/>
              <a:gd name="connsiteX2527" fmla="*/ 5648620 w 6096001"/>
              <a:gd name="connsiteY2527" fmla="*/ 1427368 h 5392467"/>
              <a:gd name="connsiteX2528" fmla="*/ 5650553 w 6096001"/>
              <a:gd name="connsiteY2528" fmla="*/ 1438973 h 5392467"/>
              <a:gd name="connsiteX2529" fmla="*/ 5855568 w 6096001"/>
              <a:gd name="connsiteY2529" fmla="*/ 1342269 h 5392467"/>
              <a:gd name="connsiteX2530" fmla="*/ 5905855 w 6096001"/>
              <a:gd name="connsiteY2530" fmla="*/ 1338398 h 5392467"/>
              <a:gd name="connsiteX2531" fmla="*/ 5909723 w 6096001"/>
              <a:gd name="connsiteY2531" fmla="*/ 1330664 h 5392467"/>
              <a:gd name="connsiteX2532" fmla="*/ 5921328 w 6096001"/>
              <a:gd name="connsiteY2532" fmla="*/ 1326796 h 5392467"/>
              <a:gd name="connsiteX2533" fmla="*/ 5915524 w 6096001"/>
              <a:gd name="connsiteY2533" fmla="*/ 1338398 h 5392467"/>
              <a:gd name="connsiteX2534" fmla="*/ 5925194 w 6096001"/>
              <a:gd name="connsiteY2534" fmla="*/ 1342269 h 5392467"/>
              <a:gd name="connsiteX2535" fmla="*/ 5921328 w 6096001"/>
              <a:gd name="connsiteY2535" fmla="*/ 1346137 h 5392467"/>
              <a:gd name="connsiteX2536" fmla="*/ 5927129 w 6096001"/>
              <a:gd name="connsiteY2536" fmla="*/ 1350003 h 5392467"/>
              <a:gd name="connsiteX2537" fmla="*/ 5930997 w 6096001"/>
              <a:gd name="connsiteY2537" fmla="*/ 1344202 h 5392467"/>
              <a:gd name="connsiteX2538" fmla="*/ 5946470 w 6096001"/>
              <a:gd name="connsiteY2538" fmla="*/ 1332597 h 5392467"/>
              <a:gd name="connsiteX2539" fmla="*/ 5950339 w 6096001"/>
              <a:gd name="connsiteY2539" fmla="*/ 1332597 h 5392467"/>
              <a:gd name="connsiteX2540" fmla="*/ 5967745 w 6096001"/>
              <a:gd name="connsiteY2540" fmla="*/ 1336465 h 5392467"/>
              <a:gd name="connsiteX2541" fmla="*/ 5971613 w 6096001"/>
              <a:gd name="connsiteY2541" fmla="*/ 1355806 h 5392467"/>
              <a:gd name="connsiteX2542" fmla="*/ 5973548 w 6096001"/>
              <a:gd name="connsiteY2542" fmla="*/ 1371279 h 5392467"/>
              <a:gd name="connsiteX2543" fmla="*/ 5981285 w 6096001"/>
              <a:gd name="connsiteY2543" fmla="*/ 1375148 h 5392467"/>
              <a:gd name="connsiteX2544" fmla="*/ 5977417 w 6096001"/>
              <a:gd name="connsiteY2544" fmla="*/ 1359675 h 5392467"/>
              <a:gd name="connsiteX2545" fmla="*/ 5979352 w 6096001"/>
              <a:gd name="connsiteY2545" fmla="*/ 1357739 h 5392467"/>
              <a:gd name="connsiteX2546" fmla="*/ 5985153 w 6096001"/>
              <a:gd name="connsiteY2546" fmla="*/ 1365478 h 5392467"/>
              <a:gd name="connsiteX2547" fmla="*/ 5998691 w 6096001"/>
              <a:gd name="connsiteY2547" fmla="*/ 1353873 h 5392467"/>
              <a:gd name="connsiteX2548" fmla="*/ 5990954 w 6096001"/>
              <a:gd name="connsiteY2548" fmla="*/ 1338398 h 5392467"/>
              <a:gd name="connsiteX2549" fmla="*/ 5969680 w 6096001"/>
              <a:gd name="connsiteY2549" fmla="*/ 1332597 h 5392467"/>
              <a:gd name="connsiteX2550" fmla="*/ 6021900 w 6096001"/>
              <a:gd name="connsiteY2550" fmla="*/ 1290046 h 5392467"/>
              <a:gd name="connsiteX2551" fmla="*/ 6018032 w 6096001"/>
              <a:gd name="connsiteY2551" fmla="*/ 1313255 h 5392467"/>
              <a:gd name="connsiteX2552" fmla="*/ 6012228 w 6096001"/>
              <a:gd name="connsiteY2552" fmla="*/ 1305519 h 5392467"/>
              <a:gd name="connsiteX2553" fmla="*/ 6008363 w 6096001"/>
              <a:gd name="connsiteY2553" fmla="*/ 1320992 h 5392467"/>
              <a:gd name="connsiteX2554" fmla="*/ 6000626 w 6096001"/>
              <a:gd name="connsiteY2554" fmla="*/ 1328729 h 5392467"/>
              <a:gd name="connsiteX2555" fmla="*/ 6008363 w 6096001"/>
              <a:gd name="connsiteY2555" fmla="*/ 1336465 h 5392467"/>
              <a:gd name="connsiteX2556" fmla="*/ 6010295 w 6096001"/>
              <a:gd name="connsiteY2556" fmla="*/ 1348070 h 5392467"/>
              <a:gd name="connsiteX2557" fmla="*/ 6012406 w 6096001"/>
              <a:gd name="connsiteY2557" fmla="*/ 1347015 h 5392467"/>
              <a:gd name="connsiteX2558" fmla="*/ 6016099 w 6096001"/>
              <a:gd name="connsiteY2558" fmla="*/ 1351938 h 5392467"/>
              <a:gd name="connsiteX2559" fmla="*/ 6002559 w 6096001"/>
              <a:gd name="connsiteY2559" fmla="*/ 1377081 h 5392467"/>
              <a:gd name="connsiteX2560" fmla="*/ 6025769 w 6096001"/>
              <a:gd name="connsiteY2560" fmla="*/ 1363543 h 5392467"/>
              <a:gd name="connsiteX2561" fmla="*/ 6045110 w 6096001"/>
              <a:gd name="connsiteY2561" fmla="*/ 1350003 h 5392467"/>
              <a:gd name="connsiteX2562" fmla="*/ 6043177 w 6096001"/>
              <a:gd name="connsiteY2562" fmla="*/ 1355806 h 5392467"/>
              <a:gd name="connsiteX2563" fmla="*/ 6031570 w 6096001"/>
              <a:gd name="connsiteY2563" fmla="*/ 1371279 h 5392467"/>
              <a:gd name="connsiteX2564" fmla="*/ 6021900 w 6096001"/>
              <a:gd name="connsiteY2564" fmla="*/ 1379338 h 5392467"/>
              <a:gd name="connsiteX2565" fmla="*/ 6021900 w 6096001"/>
              <a:gd name="connsiteY2565" fmla="*/ 1375148 h 5392467"/>
              <a:gd name="connsiteX2566" fmla="*/ 6016099 w 6096001"/>
              <a:gd name="connsiteY2566" fmla="*/ 1375148 h 5392467"/>
              <a:gd name="connsiteX2567" fmla="*/ 6016099 w 6096001"/>
              <a:gd name="connsiteY2567" fmla="*/ 1379016 h 5392467"/>
              <a:gd name="connsiteX2568" fmla="*/ 6020519 w 6096001"/>
              <a:gd name="connsiteY2568" fmla="*/ 1380489 h 5392467"/>
              <a:gd name="connsiteX2569" fmla="*/ 6019967 w 6096001"/>
              <a:gd name="connsiteY2569" fmla="*/ 1380949 h 5392467"/>
              <a:gd name="connsiteX2570" fmla="*/ 6014164 w 6096001"/>
              <a:gd name="connsiteY2570" fmla="*/ 1382884 h 5392467"/>
              <a:gd name="connsiteX2571" fmla="*/ 5989021 w 6096001"/>
              <a:gd name="connsiteY2571" fmla="*/ 1384817 h 5392467"/>
              <a:gd name="connsiteX2572" fmla="*/ 5987086 w 6096001"/>
              <a:gd name="connsiteY2572" fmla="*/ 1385301 h 5392467"/>
              <a:gd name="connsiteX2573" fmla="*/ 5987086 w 6096001"/>
              <a:gd name="connsiteY2573" fmla="*/ 1377081 h 5392467"/>
              <a:gd name="connsiteX2574" fmla="*/ 5983218 w 6096001"/>
              <a:gd name="connsiteY2574" fmla="*/ 1377081 h 5392467"/>
              <a:gd name="connsiteX2575" fmla="*/ 5979350 w 6096001"/>
              <a:gd name="connsiteY2575" fmla="*/ 1386027 h 5392467"/>
              <a:gd name="connsiteX2576" fmla="*/ 5982327 w 6096001"/>
              <a:gd name="connsiteY2576" fmla="*/ 1387795 h 5392467"/>
              <a:gd name="connsiteX2577" fmla="*/ 5987086 w 6096001"/>
              <a:gd name="connsiteY2577" fmla="*/ 1392554 h 5392467"/>
              <a:gd name="connsiteX2578" fmla="*/ 5989021 w 6096001"/>
              <a:gd name="connsiteY2578" fmla="*/ 1406094 h 5392467"/>
              <a:gd name="connsiteX2579" fmla="*/ 5971613 w 6096001"/>
              <a:gd name="connsiteY2579" fmla="*/ 1421567 h 5392467"/>
              <a:gd name="connsiteX2580" fmla="*/ 5958075 w 6096001"/>
              <a:gd name="connsiteY2580" fmla="*/ 1431236 h 5392467"/>
              <a:gd name="connsiteX2581" fmla="*/ 5946470 w 6096001"/>
              <a:gd name="connsiteY2581" fmla="*/ 1442841 h 5392467"/>
              <a:gd name="connsiteX2582" fmla="*/ 5940669 w 6096001"/>
              <a:gd name="connsiteY2582" fmla="*/ 1454446 h 5392467"/>
              <a:gd name="connsiteX2583" fmla="*/ 5942602 w 6096001"/>
              <a:gd name="connsiteY2583" fmla="*/ 1456379 h 5392467"/>
              <a:gd name="connsiteX2584" fmla="*/ 5987086 w 6096001"/>
              <a:gd name="connsiteY2584" fmla="*/ 1423500 h 5392467"/>
              <a:gd name="connsiteX2585" fmla="*/ 5992890 w 6096001"/>
              <a:gd name="connsiteY2585" fmla="*/ 1429303 h 5392467"/>
              <a:gd name="connsiteX2586" fmla="*/ 6002559 w 6096001"/>
              <a:gd name="connsiteY2586" fmla="*/ 1417699 h 5392467"/>
              <a:gd name="connsiteX2587" fmla="*/ 6016099 w 6096001"/>
              <a:gd name="connsiteY2587" fmla="*/ 1423500 h 5392467"/>
              <a:gd name="connsiteX2588" fmla="*/ 5983218 w 6096001"/>
              <a:gd name="connsiteY2588" fmla="*/ 1458314 h 5392467"/>
              <a:gd name="connsiteX2589" fmla="*/ 5936801 w 6096001"/>
              <a:gd name="connsiteY2589" fmla="*/ 1504733 h 5392467"/>
              <a:gd name="connsiteX2590" fmla="*/ 5912866 w 6096001"/>
              <a:gd name="connsiteY2590" fmla="*/ 1523347 h 5392467"/>
              <a:gd name="connsiteX2591" fmla="*/ 5890595 w 6096001"/>
              <a:gd name="connsiteY2591" fmla="*/ 1530009 h 5392467"/>
              <a:gd name="connsiteX2592" fmla="*/ 5892317 w 6096001"/>
              <a:gd name="connsiteY2592" fmla="*/ 1527943 h 5392467"/>
              <a:gd name="connsiteX2593" fmla="*/ 5898118 w 6096001"/>
              <a:gd name="connsiteY2593" fmla="*/ 1522139 h 5392467"/>
              <a:gd name="connsiteX2594" fmla="*/ 5890382 w 6096001"/>
              <a:gd name="connsiteY2594" fmla="*/ 1522139 h 5392467"/>
              <a:gd name="connsiteX2595" fmla="*/ 5875713 w 6096001"/>
              <a:gd name="connsiteY2595" fmla="*/ 1538142 h 5392467"/>
              <a:gd name="connsiteX2596" fmla="*/ 5871041 w 6096001"/>
              <a:gd name="connsiteY2596" fmla="*/ 1541480 h 5392467"/>
              <a:gd name="connsiteX2597" fmla="*/ 5856293 w 6096001"/>
              <a:gd name="connsiteY2597" fmla="*/ 1566382 h 5392467"/>
              <a:gd name="connsiteX2598" fmla="*/ 5846918 w 6096001"/>
              <a:gd name="connsiteY2598" fmla="*/ 1573903 h 5392467"/>
              <a:gd name="connsiteX2599" fmla="*/ 5843963 w 6096001"/>
              <a:gd name="connsiteY2599" fmla="*/ 1572426 h 5392467"/>
              <a:gd name="connsiteX2600" fmla="*/ 5840095 w 6096001"/>
              <a:gd name="connsiteY2600" fmla="*/ 1578227 h 5392467"/>
              <a:gd name="connsiteX2601" fmla="*/ 5840732 w 6096001"/>
              <a:gd name="connsiteY2601" fmla="*/ 1578866 h 5392467"/>
              <a:gd name="connsiteX2602" fmla="*/ 5834293 w 6096001"/>
              <a:gd name="connsiteY2602" fmla="*/ 1584031 h 5392467"/>
              <a:gd name="connsiteX2603" fmla="*/ 5828490 w 6096001"/>
              <a:gd name="connsiteY2603" fmla="*/ 1580163 h 5392467"/>
              <a:gd name="connsiteX2604" fmla="*/ 5828490 w 6096001"/>
              <a:gd name="connsiteY2604" fmla="*/ 1585964 h 5392467"/>
              <a:gd name="connsiteX2605" fmla="*/ 5831678 w 6096001"/>
              <a:gd name="connsiteY2605" fmla="*/ 1585964 h 5392467"/>
              <a:gd name="connsiteX2606" fmla="*/ 5814235 w 6096001"/>
              <a:gd name="connsiteY2606" fmla="*/ 1598856 h 5392467"/>
              <a:gd name="connsiteX2607" fmla="*/ 5813501 w 6096001"/>
              <a:gd name="connsiteY2607" fmla="*/ 1598537 h 5392467"/>
              <a:gd name="connsiteX2608" fmla="*/ 5805280 w 6096001"/>
              <a:gd name="connsiteY2608" fmla="*/ 1605305 h 5392467"/>
              <a:gd name="connsiteX2609" fmla="*/ 5803347 w 6096001"/>
              <a:gd name="connsiteY2609" fmla="*/ 1585964 h 5392467"/>
              <a:gd name="connsiteX2610" fmla="*/ 5770466 w 6096001"/>
              <a:gd name="connsiteY2610" fmla="*/ 1603834 h 5392467"/>
              <a:gd name="connsiteX2611" fmla="*/ 5770466 w 6096001"/>
              <a:gd name="connsiteY2611" fmla="*/ 1599504 h 5392467"/>
              <a:gd name="connsiteX2612" fmla="*/ 5757403 w 6096001"/>
              <a:gd name="connsiteY2612" fmla="*/ 1610934 h 5392467"/>
              <a:gd name="connsiteX2613" fmla="*/ 5714378 w 6096001"/>
              <a:gd name="connsiteY2613" fmla="*/ 1634316 h 5392467"/>
              <a:gd name="connsiteX2614" fmla="*/ 5695036 w 6096001"/>
              <a:gd name="connsiteY2614" fmla="*/ 1647856 h 5392467"/>
              <a:gd name="connsiteX2615" fmla="*/ 5660224 w 6096001"/>
              <a:gd name="connsiteY2615" fmla="*/ 1671066 h 5392467"/>
              <a:gd name="connsiteX2616" fmla="*/ 5650553 w 6096001"/>
              <a:gd name="connsiteY2616" fmla="*/ 1672999 h 5392467"/>
              <a:gd name="connsiteX2617" fmla="*/ 5642816 w 6096001"/>
              <a:gd name="connsiteY2617" fmla="*/ 1672999 h 5392467"/>
              <a:gd name="connsiteX2618" fmla="*/ 5640883 w 6096001"/>
              <a:gd name="connsiteY2618" fmla="*/ 1674934 h 5392467"/>
              <a:gd name="connsiteX2619" fmla="*/ 5638948 w 6096001"/>
              <a:gd name="connsiteY2619" fmla="*/ 1682670 h 5392467"/>
              <a:gd name="connsiteX2620" fmla="*/ 5635080 w 6096001"/>
              <a:gd name="connsiteY2620" fmla="*/ 1690407 h 5392467"/>
              <a:gd name="connsiteX2621" fmla="*/ 5631211 w 6096001"/>
              <a:gd name="connsiteY2621" fmla="*/ 1694275 h 5392467"/>
              <a:gd name="connsiteX2622" fmla="*/ 5644749 w 6096001"/>
              <a:gd name="connsiteY2622" fmla="*/ 1698144 h 5392467"/>
              <a:gd name="connsiteX2623" fmla="*/ 5625410 w 6096001"/>
              <a:gd name="connsiteY2623" fmla="*/ 1700077 h 5392467"/>
              <a:gd name="connsiteX2624" fmla="*/ 5619607 w 6096001"/>
              <a:gd name="connsiteY2624" fmla="*/ 1705878 h 5392467"/>
              <a:gd name="connsiteX2625" fmla="*/ 5617674 w 6096001"/>
              <a:gd name="connsiteY2625" fmla="*/ 1690407 h 5392467"/>
              <a:gd name="connsiteX2626" fmla="*/ 5617674 w 6096001"/>
              <a:gd name="connsiteY2626" fmla="*/ 1688472 h 5392467"/>
              <a:gd name="connsiteX2627" fmla="*/ 5604133 w 6096001"/>
              <a:gd name="connsiteY2627" fmla="*/ 1696208 h 5392467"/>
              <a:gd name="connsiteX2628" fmla="*/ 5623475 w 6096001"/>
              <a:gd name="connsiteY2628" fmla="*/ 1731022 h 5392467"/>
              <a:gd name="connsiteX2629" fmla="*/ 5625410 w 6096001"/>
              <a:gd name="connsiteY2629" fmla="*/ 1732958 h 5392467"/>
              <a:gd name="connsiteX2630" fmla="*/ 5631211 w 6096001"/>
              <a:gd name="connsiteY2630" fmla="*/ 1727154 h 5392467"/>
              <a:gd name="connsiteX2631" fmla="*/ 5644749 w 6096001"/>
              <a:gd name="connsiteY2631" fmla="*/ 1731022 h 5392467"/>
              <a:gd name="connsiteX2632" fmla="*/ 5648620 w 6096001"/>
              <a:gd name="connsiteY2632" fmla="*/ 1727154 h 5392467"/>
              <a:gd name="connsiteX2633" fmla="*/ 5640883 w 6096001"/>
              <a:gd name="connsiteY2633" fmla="*/ 1725219 h 5392467"/>
              <a:gd name="connsiteX2634" fmla="*/ 5650553 w 6096001"/>
              <a:gd name="connsiteY2634" fmla="*/ 1717482 h 5392467"/>
              <a:gd name="connsiteX2635" fmla="*/ 5654421 w 6096001"/>
              <a:gd name="connsiteY2635" fmla="*/ 1719418 h 5392467"/>
              <a:gd name="connsiteX2636" fmla="*/ 5661103 w 6096001"/>
              <a:gd name="connsiteY2636" fmla="*/ 1711066 h 5392467"/>
              <a:gd name="connsiteX2637" fmla="*/ 5656356 w 6096001"/>
              <a:gd name="connsiteY2637" fmla="*/ 1721353 h 5392467"/>
              <a:gd name="connsiteX2638" fmla="*/ 5664090 w 6096001"/>
              <a:gd name="connsiteY2638" fmla="*/ 1734891 h 5392467"/>
              <a:gd name="connsiteX2639" fmla="*/ 5660224 w 6096001"/>
              <a:gd name="connsiteY2639" fmla="*/ 1740692 h 5392467"/>
              <a:gd name="connsiteX2640" fmla="*/ 5664090 w 6096001"/>
              <a:gd name="connsiteY2640" fmla="*/ 1744560 h 5392467"/>
              <a:gd name="connsiteX2641" fmla="*/ 5667959 w 6096001"/>
              <a:gd name="connsiteY2641" fmla="*/ 1748429 h 5392467"/>
              <a:gd name="connsiteX2642" fmla="*/ 5666026 w 6096001"/>
              <a:gd name="connsiteY2642" fmla="*/ 1752297 h 5392467"/>
              <a:gd name="connsiteX2643" fmla="*/ 5664090 w 6096001"/>
              <a:gd name="connsiteY2643" fmla="*/ 1754232 h 5392467"/>
              <a:gd name="connsiteX2644" fmla="*/ 5664090 w 6096001"/>
              <a:gd name="connsiteY2644" fmla="*/ 1779374 h 5392467"/>
              <a:gd name="connsiteX2645" fmla="*/ 5666026 w 6096001"/>
              <a:gd name="connsiteY2645" fmla="*/ 1779374 h 5392467"/>
              <a:gd name="connsiteX2646" fmla="*/ 5666026 w 6096001"/>
              <a:gd name="connsiteY2646" fmla="*/ 1781310 h 5392467"/>
              <a:gd name="connsiteX2647" fmla="*/ 5664090 w 6096001"/>
              <a:gd name="connsiteY2647" fmla="*/ 1785178 h 5392467"/>
              <a:gd name="connsiteX2648" fmla="*/ 5667959 w 6096001"/>
              <a:gd name="connsiteY2648" fmla="*/ 1785178 h 5392467"/>
              <a:gd name="connsiteX2649" fmla="*/ 5658289 w 6096001"/>
              <a:gd name="connsiteY2649" fmla="*/ 1792912 h 5392467"/>
              <a:gd name="connsiteX2650" fmla="*/ 5654421 w 6096001"/>
              <a:gd name="connsiteY2650" fmla="*/ 1794848 h 5392467"/>
              <a:gd name="connsiteX2651" fmla="*/ 5653777 w 6096001"/>
              <a:gd name="connsiteY2651" fmla="*/ 1795492 h 5392467"/>
              <a:gd name="connsiteX2652" fmla="*/ 5652488 w 6096001"/>
              <a:gd name="connsiteY2652" fmla="*/ 1792912 h 5392467"/>
              <a:gd name="connsiteX2653" fmla="*/ 5648620 w 6096001"/>
              <a:gd name="connsiteY2653" fmla="*/ 1792912 h 5392467"/>
              <a:gd name="connsiteX2654" fmla="*/ 5631211 w 6096001"/>
              <a:gd name="connsiteY2654" fmla="*/ 1812254 h 5392467"/>
              <a:gd name="connsiteX2655" fmla="*/ 5631521 w 6096001"/>
              <a:gd name="connsiteY2655" fmla="*/ 1814730 h 5392467"/>
              <a:gd name="connsiteX2656" fmla="*/ 5621542 w 6096001"/>
              <a:gd name="connsiteY2656" fmla="*/ 1818057 h 5392467"/>
              <a:gd name="connsiteX2657" fmla="*/ 5631211 w 6096001"/>
              <a:gd name="connsiteY2657" fmla="*/ 1825794 h 5392467"/>
              <a:gd name="connsiteX2658" fmla="*/ 5632854 w 6096001"/>
              <a:gd name="connsiteY2658" fmla="*/ 1825383 h 5392467"/>
              <a:gd name="connsiteX2659" fmla="*/ 5633147 w 6096001"/>
              <a:gd name="connsiteY2659" fmla="*/ 1827726 h 5392467"/>
              <a:gd name="connsiteX2660" fmla="*/ 5633147 w 6096001"/>
              <a:gd name="connsiteY2660" fmla="*/ 1839331 h 5392467"/>
              <a:gd name="connsiteX2661" fmla="*/ 5646684 w 6096001"/>
              <a:gd name="connsiteY2661" fmla="*/ 1829662 h 5392467"/>
              <a:gd name="connsiteX2662" fmla="*/ 5654421 w 6096001"/>
              <a:gd name="connsiteY2662" fmla="*/ 1829662 h 5392467"/>
              <a:gd name="connsiteX2663" fmla="*/ 5648620 w 6096001"/>
              <a:gd name="connsiteY2663" fmla="*/ 1841267 h 5392467"/>
              <a:gd name="connsiteX2664" fmla="*/ 5667959 w 6096001"/>
              <a:gd name="connsiteY2664" fmla="*/ 1831595 h 5392467"/>
              <a:gd name="connsiteX2665" fmla="*/ 5671829 w 6096001"/>
              <a:gd name="connsiteY2665" fmla="*/ 1829662 h 5392467"/>
              <a:gd name="connsiteX2666" fmla="*/ 5673762 w 6096001"/>
              <a:gd name="connsiteY2666" fmla="*/ 1825794 h 5392467"/>
              <a:gd name="connsiteX2667" fmla="*/ 5689235 w 6096001"/>
              <a:gd name="connsiteY2667" fmla="*/ 1814189 h 5392467"/>
              <a:gd name="connsiteX2668" fmla="*/ 5683432 w 6096001"/>
              <a:gd name="connsiteY2668" fmla="*/ 1821925 h 5392467"/>
              <a:gd name="connsiteX2669" fmla="*/ 5700840 w 6096001"/>
              <a:gd name="connsiteY2669" fmla="*/ 1823858 h 5392467"/>
              <a:gd name="connsiteX2670" fmla="*/ 5704708 w 6096001"/>
              <a:gd name="connsiteY2670" fmla="*/ 1833530 h 5392467"/>
              <a:gd name="connsiteX2671" fmla="*/ 5691168 w 6096001"/>
              <a:gd name="connsiteY2671" fmla="*/ 1845135 h 5392467"/>
              <a:gd name="connsiteX2672" fmla="*/ 5683432 w 6096001"/>
              <a:gd name="connsiteY2672" fmla="*/ 1839331 h 5392467"/>
              <a:gd name="connsiteX2673" fmla="*/ 5671829 w 6096001"/>
              <a:gd name="connsiteY2673" fmla="*/ 1833530 h 5392467"/>
              <a:gd name="connsiteX2674" fmla="*/ 5658289 w 6096001"/>
              <a:gd name="connsiteY2674" fmla="*/ 1850936 h 5392467"/>
              <a:gd name="connsiteX2675" fmla="*/ 5666026 w 6096001"/>
              <a:gd name="connsiteY2675" fmla="*/ 1852871 h 5392467"/>
              <a:gd name="connsiteX2676" fmla="*/ 5646684 w 6096001"/>
              <a:gd name="connsiteY2676" fmla="*/ 1870277 h 5392467"/>
              <a:gd name="connsiteX2677" fmla="*/ 5650553 w 6096001"/>
              <a:gd name="connsiteY2677" fmla="*/ 1856740 h 5392467"/>
              <a:gd name="connsiteX2678" fmla="*/ 5631211 w 6096001"/>
              <a:gd name="connsiteY2678" fmla="*/ 1864476 h 5392467"/>
              <a:gd name="connsiteX2679" fmla="*/ 5623475 w 6096001"/>
              <a:gd name="connsiteY2679" fmla="*/ 1870277 h 5392467"/>
              <a:gd name="connsiteX2680" fmla="*/ 5604133 w 6096001"/>
              <a:gd name="connsiteY2680" fmla="*/ 1924433 h 5392467"/>
              <a:gd name="connsiteX2681" fmla="*/ 5588663 w 6096001"/>
              <a:gd name="connsiteY2681" fmla="*/ 1965049 h 5392467"/>
              <a:gd name="connsiteX2682" fmla="*/ 5565453 w 6096001"/>
              <a:gd name="connsiteY2682" fmla="*/ 2015336 h 5392467"/>
              <a:gd name="connsiteX2683" fmla="*/ 5582859 w 6096001"/>
              <a:gd name="connsiteY2683" fmla="*/ 2011468 h 5392467"/>
              <a:gd name="connsiteX2684" fmla="*/ 5588663 w 6096001"/>
              <a:gd name="connsiteY2684" fmla="*/ 2013400 h 5392467"/>
              <a:gd name="connsiteX2685" fmla="*/ 5561585 w 6096001"/>
              <a:gd name="connsiteY2685" fmla="*/ 2025005 h 5392467"/>
              <a:gd name="connsiteX2686" fmla="*/ 5544177 w 6096001"/>
              <a:gd name="connsiteY2686" fmla="*/ 2065623 h 5392467"/>
              <a:gd name="connsiteX2687" fmla="*/ 5542244 w 6096001"/>
              <a:gd name="connsiteY2687" fmla="*/ 2069491 h 5392467"/>
              <a:gd name="connsiteX2688" fmla="*/ 5559650 w 6096001"/>
              <a:gd name="connsiteY2688" fmla="*/ 2063688 h 5392467"/>
              <a:gd name="connsiteX2689" fmla="*/ 5546112 w 6096001"/>
              <a:gd name="connsiteY2689" fmla="*/ 2081096 h 5392467"/>
              <a:gd name="connsiteX2690" fmla="*/ 5536440 w 6096001"/>
              <a:gd name="connsiteY2690" fmla="*/ 2088830 h 5392467"/>
              <a:gd name="connsiteX2691" fmla="*/ 5530639 w 6096001"/>
              <a:gd name="connsiteY2691" fmla="*/ 2092698 h 5392467"/>
              <a:gd name="connsiteX2692" fmla="*/ 5497758 w 6096001"/>
              <a:gd name="connsiteY2692" fmla="*/ 2170064 h 5392467"/>
              <a:gd name="connsiteX2693" fmla="*/ 5490021 w 6096001"/>
              <a:gd name="connsiteY2693" fmla="*/ 2193273 h 5392467"/>
              <a:gd name="connsiteX2694" fmla="*/ 5488088 w 6096001"/>
              <a:gd name="connsiteY2694" fmla="*/ 2206811 h 5392467"/>
              <a:gd name="connsiteX2695" fmla="*/ 5503561 w 6096001"/>
              <a:gd name="connsiteY2695" fmla="*/ 2201010 h 5392467"/>
              <a:gd name="connsiteX2696" fmla="*/ 5546112 w 6096001"/>
              <a:gd name="connsiteY2696" fmla="*/ 2183602 h 5392467"/>
              <a:gd name="connsiteX2697" fmla="*/ 5679566 w 6096001"/>
              <a:gd name="connsiteY2697" fmla="*/ 2123645 h 5392467"/>
              <a:gd name="connsiteX2698" fmla="*/ 5720181 w 6096001"/>
              <a:gd name="connsiteY2698" fmla="*/ 2113975 h 5392467"/>
              <a:gd name="connsiteX2699" fmla="*/ 5756928 w 6096001"/>
              <a:gd name="connsiteY2699" fmla="*/ 2113975 h 5392467"/>
              <a:gd name="connsiteX2700" fmla="*/ 5782073 w 6096001"/>
              <a:gd name="connsiteY2700" fmla="*/ 2121712 h 5392467"/>
              <a:gd name="connsiteX2701" fmla="*/ 5811084 w 6096001"/>
              <a:gd name="connsiteY2701" fmla="*/ 2129448 h 5392467"/>
              <a:gd name="connsiteX2702" fmla="*/ 5836226 w 6096001"/>
              <a:gd name="connsiteY2702" fmla="*/ 2141053 h 5392467"/>
              <a:gd name="connsiteX2703" fmla="*/ 5845898 w 6096001"/>
              <a:gd name="connsiteY2703" fmla="*/ 2148789 h 5392467"/>
              <a:gd name="connsiteX2704" fmla="*/ 5882645 w 6096001"/>
              <a:gd name="connsiteY2704" fmla="*/ 2175867 h 5392467"/>
              <a:gd name="connsiteX2705" fmla="*/ 5898118 w 6096001"/>
              <a:gd name="connsiteY2705" fmla="*/ 2195206 h 5392467"/>
              <a:gd name="connsiteX2706" fmla="*/ 5901987 w 6096001"/>
              <a:gd name="connsiteY2706" fmla="*/ 2199075 h 5392467"/>
              <a:gd name="connsiteX2707" fmla="*/ 5929065 w 6096001"/>
              <a:gd name="connsiteY2707" fmla="*/ 2230020 h 5392467"/>
              <a:gd name="connsiteX2708" fmla="*/ 5942602 w 6096001"/>
              <a:gd name="connsiteY2708" fmla="*/ 2251297 h 5392467"/>
              <a:gd name="connsiteX2709" fmla="*/ 5967745 w 6096001"/>
              <a:gd name="connsiteY2709" fmla="*/ 2289977 h 5392467"/>
              <a:gd name="connsiteX2710" fmla="*/ 5979352 w 6096001"/>
              <a:gd name="connsiteY2710" fmla="*/ 2305450 h 5392467"/>
              <a:gd name="connsiteX2711" fmla="*/ 5992890 w 6096001"/>
              <a:gd name="connsiteY2711" fmla="*/ 2326727 h 5392467"/>
              <a:gd name="connsiteX2712" fmla="*/ 6000626 w 6096001"/>
              <a:gd name="connsiteY2712" fmla="*/ 2349937 h 5392467"/>
              <a:gd name="connsiteX2713" fmla="*/ 6000626 w 6096001"/>
              <a:gd name="connsiteY2713" fmla="*/ 2371211 h 5392467"/>
              <a:gd name="connsiteX2714" fmla="*/ 6000626 w 6096001"/>
              <a:gd name="connsiteY2714" fmla="*/ 2377012 h 5392467"/>
              <a:gd name="connsiteX2715" fmla="*/ 6008363 w 6096001"/>
              <a:gd name="connsiteY2715" fmla="*/ 2446640 h 5392467"/>
              <a:gd name="connsiteX2716" fmla="*/ 5990954 w 6096001"/>
              <a:gd name="connsiteY2716" fmla="*/ 2489191 h 5392467"/>
              <a:gd name="connsiteX2717" fmla="*/ 5981285 w 6096001"/>
              <a:gd name="connsiteY2717" fmla="*/ 2508533 h 5392467"/>
              <a:gd name="connsiteX2718" fmla="*/ 5979352 w 6096001"/>
              <a:gd name="connsiteY2718" fmla="*/ 2514334 h 5392467"/>
              <a:gd name="connsiteX2719" fmla="*/ 5956142 w 6096001"/>
              <a:gd name="connsiteY2719" fmla="*/ 2547213 h 5392467"/>
              <a:gd name="connsiteX2720" fmla="*/ 5913591 w 6096001"/>
              <a:gd name="connsiteY2720" fmla="*/ 2599435 h 5392467"/>
              <a:gd name="connsiteX2721" fmla="*/ 5847831 w 6096001"/>
              <a:gd name="connsiteY2721" fmla="*/ 2655524 h 5392467"/>
              <a:gd name="connsiteX2722" fmla="*/ 5842028 w 6096001"/>
              <a:gd name="connsiteY2722" fmla="*/ 2659392 h 5392467"/>
              <a:gd name="connsiteX2723" fmla="*/ 5693103 w 6096001"/>
              <a:gd name="connsiteY2723" fmla="*/ 2759964 h 5392467"/>
              <a:gd name="connsiteX2724" fmla="*/ 5642816 w 6096001"/>
              <a:gd name="connsiteY2724" fmla="*/ 2804451 h 5392467"/>
              <a:gd name="connsiteX2725" fmla="*/ 5577056 w 6096001"/>
              <a:gd name="connsiteY2725" fmla="*/ 2862472 h 5392467"/>
              <a:gd name="connsiteX2726" fmla="*/ 5580924 w 6096001"/>
              <a:gd name="connsiteY2726" fmla="*/ 2866340 h 5392467"/>
              <a:gd name="connsiteX2727" fmla="*/ 5598332 w 6096001"/>
              <a:gd name="connsiteY2727" fmla="*/ 2854735 h 5392467"/>
              <a:gd name="connsiteX2728" fmla="*/ 5592531 w 6096001"/>
              <a:gd name="connsiteY2728" fmla="*/ 2868276 h 5392467"/>
              <a:gd name="connsiteX2729" fmla="*/ 5582859 w 6096001"/>
              <a:gd name="connsiteY2729" fmla="*/ 2870208 h 5392467"/>
              <a:gd name="connsiteX2730" fmla="*/ 5569322 w 6096001"/>
              <a:gd name="connsiteY2730" fmla="*/ 2881813 h 5392467"/>
              <a:gd name="connsiteX2731" fmla="*/ 5561585 w 6096001"/>
              <a:gd name="connsiteY2731" fmla="*/ 2887617 h 5392467"/>
              <a:gd name="connsiteX2732" fmla="*/ 5559650 w 6096001"/>
              <a:gd name="connsiteY2732" fmla="*/ 2889550 h 5392467"/>
              <a:gd name="connsiteX2733" fmla="*/ 5563518 w 6096001"/>
              <a:gd name="connsiteY2733" fmla="*/ 2893418 h 5392467"/>
              <a:gd name="connsiteX2734" fmla="*/ 5584795 w 6096001"/>
              <a:gd name="connsiteY2734" fmla="*/ 2883749 h 5392467"/>
              <a:gd name="connsiteX2735" fmla="*/ 5592531 w 6096001"/>
              <a:gd name="connsiteY2735" fmla="*/ 2885682 h 5392467"/>
              <a:gd name="connsiteX2736" fmla="*/ 5580924 w 6096001"/>
              <a:gd name="connsiteY2736" fmla="*/ 2889550 h 5392467"/>
              <a:gd name="connsiteX2737" fmla="*/ 5573190 w 6096001"/>
              <a:gd name="connsiteY2737" fmla="*/ 2893418 h 5392467"/>
              <a:gd name="connsiteX2738" fmla="*/ 5563518 w 6096001"/>
              <a:gd name="connsiteY2738" fmla="*/ 2897287 h 5392467"/>
              <a:gd name="connsiteX2739" fmla="*/ 5561585 w 6096001"/>
              <a:gd name="connsiteY2739" fmla="*/ 2897287 h 5392467"/>
              <a:gd name="connsiteX2740" fmla="*/ 5561585 w 6096001"/>
              <a:gd name="connsiteY2740" fmla="*/ 2899219 h 5392467"/>
              <a:gd name="connsiteX2741" fmla="*/ 5542244 w 6096001"/>
              <a:gd name="connsiteY2741" fmla="*/ 2901155 h 5392467"/>
              <a:gd name="connsiteX2742" fmla="*/ 5530639 w 6096001"/>
              <a:gd name="connsiteY2742" fmla="*/ 2903090 h 5392467"/>
              <a:gd name="connsiteX2743" fmla="*/ 5526771 w 6096001"/>
              <a:gd name="connsiteY2743" fmla="*/ 2906956 h 5392467"/>
              <a:gd name="connsiteX2744" fmla="*/ 5584795 w 6096001"/>
              <a:gd name="connsiteY2744" fmla="*/ 2910824 h 5392467"/>
              <a:gd name="connsiteX2745" fmla="*/ 5577056 w 6096001"/>
              <a:gd name="connsiteY2745" fmla="*/ 2912759 h 5392467"/>
              <a:gd name="connsiteX2746" fmla="*/ 5617674 w 6096001"/>
              <a:gd name="connsiteY2746" fmla="*/ 2916628 h 5392467"/>
              <a:gd name="connsiteX2747" fmla="*/ 5623475 w 6096001"/>
              <a:gd name="connsiteY2747" fmla="*/ 2916628 h 5392467"/>
              <a:gd name="connsiteX2748" fmla="*/ 5627343 w 6096001"/>
              <a:gd name="connsiteY2748" fmla="*/ 2916628 h 5392467"/>
              <a:gd name="connsiteX2749" fmla="*/ 5648620 w 6096001"/>
              <a:gd name="connsiteY2749" fmla="*/ 2905023 h 5392467"/>
              <a:gd name="connsiteX2750" fmla="*/ 5662157 w 6096001"/>
              <a:gd name="connsiteY2750" fmla="*/ 2899219 h 5392467"/>
              <a:gd name="connsiteX2751" fmla="*/ 5656356 w 6096001"/>
              <a:gd name="connsiteY2751" fmla="*/ 2905023 h 5392467"/>
              <a:gd name="connsiteX2752" fmla="*/ 5658289 w 6096001"/>
              <a:gd name="connsiteY2752" fmla="*/ 2906956 h 5392467"/>
              <a:gd name="connsiteX2753" fmla="*/ 5685367 w 6096001"/>
              <a:gd name="connsiteY2753" fmla="*/ 2910824 h 5392467"/>
              <a:gd name="connsiteX2754" fmla="*/ 5696972 w 6096001"/>
              <a:gd name="connsiteY2754" fmla="*/ 2891485 h 5392467"/>
              <a:gd name="connsiteX2755" fmla="*/ 5712445 w 6096001"/>
              <a:gd name="connsiteY2755" fmla="*/ 2891485 h 5392467"/>
              <a:gd name="connsiteX2756" fmla="*/ 5702773 w 6096001"/>
              <a:gd name="connsiteY2756" fmla="*/ 2895351 h 5392467"/>
              <a:gd name="connsiteX2757" fmla="*/ 5708576 w 6096001"/>
              <a:gd name="connsiteY2757" fmla="*/ 2901155 h 5392467"/>
              <a:gd name="connsiteX2758" fmla="*/ 5704708 w 6096001"/>
              <a:gd name="connsiteY2758" fmla="*/ 2908891 h 5392467"/>
              <a:gd name="connsiteX2759" fmla="*/ 5733719 w 6096001"/>
              <a:gd name="connsiteY2759" fmla="*/ 2908891 h 5392467"/>
              <a:gd name="connsiteX2760" fmla="*/ 5733719 w 6096001"/>
              <a:gd name="connsiteY2760" fmla="*/ 2916628 h 5392467"/>
              <a:gd name="connsiteX2761" fmla="*/ 5693103 w 6096001"/>
              <a:gd name="connsiteY2761" fmla="*/ 2922429 h 5392467"/>
              <a:gd name="connsiteX2762" fmla="*/ 5646684 w 6096001"/>
              <a:gd name="connsiteY2762" fmla="*/ 2926297 h 5392467"/>
              <a:gd name="connsiteX2763" fmla="*/ 5650553 w 6096001"/>
              <a:gd name="connsiteY2763" fmla="*/ 2930165 h 5392467"/>
              <a:gd name="connsiteX2764" fmla="*/ 5654421 w 6096001"/>
              <a:gd name="connsiteY2764" fmla="*/ 2934034 h 5392467"/>
              <a:gd name="connsiteX2765" fmla="*/ 5673762 w 6096001"/>
              <a:gd name="connsiteY2765" fmla="*/ 2932101 h 5392467"/>
              <a:gd name="connsiteX2766" fmla="*/ 5658289 w 6096001"/>
              <a:gd name="connsiteY2766" fmla="*/ 2939837 h 5392467"/>
              <a:gd name="connsiteX2767" fmla="*/ 5658289 w 6096001"/>
              <a:gd name="connsiteY2767" fmla="*/ 2947574 h 5392467"/>
              <a:gd name="connsiteX2768" fmla="*/ 5652488 w 6096001"/>
              <a:gd name="connsiteY2768" fmla="*/ 2959178 h 5392467"/>
              <a:gd name="connsiteX2769" fmla="*/ 5660224 w 6096001"/>
              <a:gd name="connsiteY2769" fmla="*/ 2959178 h 5392467"/>
              <a:gd name="connsiteX2770" fmla="*/ 5658289 w 6096001"/>
              <a:gd name="connsiteY2770" fmla="*/ 2963047 h 5392467"/>
              <a:gd name="connsiteX2771" fmla="*/ 5687300 w 6096001"/>
              <a:gd name="connsiteY2771" fmla="*/ 2963047 h 5392467"/>
              <a:gd name="connsiteX2772" fmla="*/ 5582859 w 6096001"/>
              <a:gd name="connsiteY2772" fmla="*/ 2988189 h 5392467"/>
              <a:gd name="connsiteX2773" fmla="*/ 5590596 w 6096001"/>
              <a:gd name="connsiteY2773" fmla="*/ 3003662 h 5392467"/>
              <a:gd name="connsiteX2774" fmla="*/ 5594464 w 6096001"/>
              <a:gd name="connsiteY2774" fmla="*/ 3007531 h 5392467"/>
              <a:gd name="connsiteX2775" fmla="*/ 5613805 w 6096001"/>
              <a:gd name="connsiteY2775" fmla="*/ 3009464 h 5392467"/>
              <a:gd name="connsiteX2776" fmla="*/ 5714378 w 6096001"/>
              <a:gd name="connsiteY2776" fmla="*/ 3017200 h 5392467"/>
              <a:gd name="connsiteX2777" fmla="*/ 5722114 w 6096001"/>
              <a:gd name="connsiteY2777" fmla="*/ 3009464 h 5392467"/>
              <a:gd name="connsiteX2778" fmla="*/ 5720181 w 6096001"/>
              <a:gd name="connsiteY2778" fmla="*/ 3019135 h 5392467"/>
              <a:gd name="connsiteX2779" fmla="*/ 5747259 w 6096001"/>
              <a:gd name="connsiteY2779" fmla="*/ 3024936 h 5392467"/>
              <a:gd name="connsiteX2780" fmla="*/ 5762732 w 6096001"/>
              <a:gd name="connsiteY2780" fmla="*/ 3024936 h 5392467"/>
              <a:gd name="connsiteX2781" fmla="*/ 5754993 w 6096001"/>
              <a:gd name="connsiteY2781" fmla="*/ 3028805 h 5392467"/>
              <a:gd name="connsiteX2782" fmla="*/ 5764665 w 6096001"/>
              <a:gd name="connsiteY2782" fmla="*/ 3036541 h 5392467"/>
              <a:gd name="connsiteX2783" fmla="*/ 5745324 w 6096001"/>
              <a:gd name="connsiteY2783" fmla="*/ 3036541 h 5392467"/>
              <a:gd name="connsiteX2784" fmla="*/ 5578991 w 6096001"/>
              <a:gd name="connsiteY2784" fmla="*/ 3021068 h 5392467"/>
              <a:gd name="connsiteX2785" fmla="*/ 5575123 w 6096001"/>
              <a:gd name="connsiteY2785" fmla="*/ 3021068 h 5392467"/>
              <a:gd name="connsiteX2786" fmla="*/ 5577056 w 6096001"/>
              <a:gd name="connsiteY2786" fmla="*/ 3026872 h 5392467"/>
              <a:gd name="connsiteX2787" fmla="*/ 5544177 w 6096001"/>
              <a:gd name="connsiteY2787" fmla="*/ 3024936 h 5392467"/>
              <a:gd name="connsiteX2788" fmla="*/ 5551913 w 6096001"/>
              <a:gd name="connsiteY2788" fmla="*/ 3032673 h 5392467"/>
              <a:gd name="connsiteX2789" fmla="*/ 5490021 w 6096001"/>
              <a:gd name="connsiteY2789" fmla="*/ 3034608 h 5392467"/>
              <a:gd name="connsiteX2790" fmla="*/ 5480352 w 6096001"/>
              <a:gd name="connsiteY2790" fmla="*/ 3038476 h 5392467"/>
              <a:gd name="connsiteX2791" fmla="*/ 5480352 w 6096001"/>
              <a:gd name="connsiteY2791" fmla="*/ 3034608 h 5392467"/>
              <a:gd name="connsiteX2792" fmla="*/ 5476483 w 6096001"/>
              <a:gd name="connsiteY2792" fmla="*/ 3034608 h 5392467"/>
              <a:gd name="connsiteX2793" fmla="*/ 5474551 w 6096001"/>
              <a:gd name="connsiteY2793" fmla="*/ 3048146 h 5392467"/>
              <a:gd name="connsiteX2794" fmla="*/ 5497758 w 6096001"/>
              <a:gd name="connsiteY2794" fmla="*/ 3048146 h 5392467"/>
              <a:gd name="connsiteX2795" fmla="*/ 5524838 w 6096001"/>
              <a:gd name="connsiteY2795" fmla="*/ 3044278 h 5392467"/>
              <a:gd name="connsiteX2796" fmla="*/ 5530639 w 6096001"/>
              <a:gd name="connsiteY2796" fmla="*/ 3040409 h 5392467"/>
              <a:gd name="connsiteX2797" fmla="*/ 5548045 w 6096001"/>
              <a:gd name="connsiteY2797" fmla="*/ 3036541 h 5392467"/>
              <a:gd name="connsiteX2798" fmla="*/ 5548045 w 6096001"/>
              <a:gd name="connsiteY2798" fmla="*/ 3040409 h 5392467"/>
              <a:gd name="connsiteX2799" fmla="*/ 5551913 w 6096001"/>
              <a:gd name="connsiteY2799" fmla="*/ 3042345 h 5392467"/>
              <a:gd name="connsiteX2800" fmla="*/ 5563518 w 6096001"/>
              <a:gd name="connsiteY2800" fmla="*/ 3040409 h 5392467"/>
              <a:gd name="connsiteX2801" fmla="*/ 5569322 w 6096001"/>
              <a:gd name="connsiteY2801" fmla="*/ 3040409 h 5392467"/>
              <a:gd name="connsiteX2802" fmla="*/ 5600265 w 6096001"/>
              <a:gd name="connsiteY2802" fmla="*/ 3042345 h 5392467"/>
              <a:gd name="connsiteX2803" fmla="*/ 5600265 w 6096001"/>
              <a:gd name="connsiteY2803" fmla="*/ 3040409 h 5392467"/>
              <a:gd name="connsiteX2804" fmla="*/ 5602201 w 6096001"/>
              <a:gd name="connsiteY2804" fmla="*/ 3042345 h 5392467"/>
              <a:gd name="connsiteX2805" fmla="*/ 5602201 w 6096001"/>
              <a:gd name="connsiteY2805" fmla="*/ 3044278 h 5392467"/>
              <a:gd name="connsiteX2806" fmla="*/ 5617674 w 6096001"/>
              <a:gd name="connsiteY2806" fmla="*/ 3046213 h 5392467"/>
              <a:gd name="connsiteX2807" fmla="*/ 5613805 w 6096001"/>
              <a:gd name="connsiteY2807" fmla="*/ 3044278 h 5392467"/>
              <a:gd name="connsiteX2808" fmla="*/ 5633147 w 6096001"/>
              <a:gd name="connsiteY2808" fmla="*/ 3036541 h 5392467"/>
              <a:gd name="connsiteX2809" fmla="*/ 5627343 w 6096001"/>
              <a:gd name="connsiteY2809" fmla="*/ 3046213 h 5392467"/>
              <a:gd name="connsiteX2810" fmla="*/ 5658289 w 6096001"/>
              <a:gd name="connsiteY2810" fmla="*/ 3050081 h 5392467"/>
              <a:gd name="connsiteX2811" fmla="*/ 5696972 w 6096001"/>
              <a:gd name="connsiteY2811" fmla="*/ 3052014 h 5392467"/>
              <a:gd name="connsiteX2812" fmla="*/ 5735654 w 6096001"/>
              <a:gd name="connsiteY2812" fmla="*/ 3057818 h 5392467"/>
              <a:gd name="connsiteX2813" fmla="*/ 5735654 w 6096001"/>
              <a:gd name="connsiteY2813" fmla="*/ 3055883 h 5392467"/>
              <a:gd name="connsiteX2814" fmla="*/ 5737587 w 6096001"/>
              <a:gd name="connsiteY2814" fmla="*/ 3057818 h 5392467"/>
              <a:gd name="connsiteX2815" fmla="*/ 5743391 w 6096001"/>
              <a:gd name="connsiteY2815" fmla="*/ 3057818 h 5392467"/>
              <a:gd name="connsiteX2816" fmla="*/ 5751125 w 6096001"/>
              <a:gd name="connsiteY2816" fmla="*/ 3061686 h 5392467"/>
              <a:gd name="connsiteX2817" fmla="*/ 5735654 w 6096001"/>
              <a:gd name="connsiteY2817" fmla="*/ 3065555 h 5392467"/>
              <a:gd name="connsiteX2818" fmla="*/ 5731784 w 6096001"/>
              <a:gd name="connsiteY2818" fmla="*/ 3067487 h 5392467"/>
              <a:gd name="connsiteX2819" fmla="*/ 5745324 w 6096001"/>
              <a:gd name="connsiteY2819" fmla="*/ 3077159 h 5392467"/>
              <a:gd name="connsiteX2820" fmla="*/ 5768533 w 6096001"/>
              <a:gd name="connsiteY2820" fmla="*/ 3079092 h 5392467"/>
              <a:gd name="connsiteX2821" fmla="*/ 5782073 w 6096001"/>
              <a:gd name="connsiteY2821" fmla="*/ 3092630 h 5392467"/>
              <a:gd name="connsiteX2822" fmla="*/ 5770466 w 6096001"/>
              <a:gd name="connsiteY2822" fmla="*/ 3098433 h 5392467"/>
              <a:gd name="connsiteX2823" fmla="*/ 5662157 w 6096001"/>
              <a:gd name="connsiteY2823" fmla="*/ 3106170 h 5392467"/>
              <a:gd name="connsiteX2824" fmla="*/ 5633147 w 6096001"/>
              <a:gd name="connsiteY2824" fmla="*/ 3111971 h 5392467"/>
              <a:gd name="connsiteX2825" fmla="*/ 5623475 w 6096001"/>
              <a:gd name="connsiteY2825" fmla="*/ 3111971 h 5392467"/>
              <a:gd name="connsiteX2826" fmla="*/ 5635080 w 6096001"/>
              <a:gd name="connsiteY2826" fmla="*/ 3115839 h 5392467"/>
              <a:gd name="connsiteX2827" fmla="*/ 5648620 w 6096001"/>
              <a:gd name="connsiteY2827" fmla="*/ 3113907 h 5392467"/>
              <a:gd name="connsiteX2828" fmla="*/ 5644749 w 6096001"/>
              <a:gd name="connsiteY2828" fmla="*/ 3117775 h 5392467"/>
              <a:gd name="connsiteX2829" fmla="*/ 5648620 w 6096001"/>
              <a:gd name="connsiteY2829" fmla="*/ 3119708 h 5392467"/>
              <a:gd name="connsiteX2830" fmla="*/ 5652488 w 6096001"/>
              <a:gd name="connsiteY2830" fmla="*/ 3137116 h 5392467"/>
              <a:gd name="connsiteX2831" fmla="*/ 5644749 w 6096001"/>
              <a:gd name="connsiteY2831" fmla="*/ 3140984 h 5392467"/>
              <a:gd name="connsiteX2832" fmla="*/ 5642816 w 6096001"/>
              <a:gd name="connsiteY2832" fmla="*/ 3144852 h 5392467"/>
              <a:gd name="connsiteX2833" fmla="*/ 5652488 w 6096001"/>
              <a:gd name="connsiteY2833" fmla="*/ 3144852 h 5392467"/>
              <a:gd name="connsiteX2834" fmla="*/ 5658289 w 6096001"/>
              <a:gd name="connsiteY2834" fmla="*/ 3139049 h 5392467"/>
              <a:gd name="connsiteX2835" fmla="*/ 5669894 w 6096001"/>
              <a:gd name="connsiteY2835" fmla="*/ 3139049 h 5392467"/>
              <a:gd name="connsiteX2836" fmla="*/ 5669894 w 6096001"/>
              <a:gd name="connsiteY2836" fmla="*/ 3137116 h 5392467"/>
              <a:gd name="connsiteX2837" fmla="*/ 5677630 w 6096001"/>
              <a:gd name="connsiteY2837" fmla="*/ 3135181 h 5392467"/>
              <a:gd name="connsiteX2838" fmla="*/ 5677630 w 6096001"/>
              <a:gd name="connsiteY2838" fmla="*/ 3137116 h 5392467"/>
              <a:gd name="connsiteX2839" fmla="*/ 5681499 w 6096001"/>
              <a:gd name="connsiteY2839" fmla="*/ 3137116 h 5392467"/>
              <a:gd name="connsiteX2840" fmla="*/ 5708576 w 6096001"/>
              <a:gd name="connsiteY2840" fmla="*/ 3139049 h 5392467"/>
              <a:gd name="connsiteX2841" fmla="*/ 5809149 w 6096001"/>
              <a:gd name="connsiteY2841" fmla="*/ 3135181 h 5392467"/>
              <a:gd name="connsiteX2842" fmla="*/ 5830425 w 6096001"/>
              <a:gd name="connsiteY2842" fmla="*/ 3131312 h 5392467"/>
              <a:gd name="connsiteX2843" fmla="*/ 5876842 w 6096001"/>
              <a:gd name="connsiteY2843" fmla="*/ 3119708 h 5392467"/>
              <a:gd name="connsiteX2844" fmla="*/ 5894250 w 6096001"/>
              <a:gd name="connsiteY2844" fmla="*/ 3123576 h 5392467"/>
              <a:gd name="connsiteX2845" fmla="*/ 5896183 w 6096001"/>
              <a:gd name="connsiteY2845" fmla="*/ 3129379 h 5392467"/>
              <a:gd name="connsiteX2846" fmla="*/ 5892317 w 6096001"/>
              <a:gd name="connsiteY2846" fmla="*/ 3135181 h 5392467"/>
              <a:gd name="connsiteX2847" fmla="*/ 5871041 w 6096001"/>
              <a:gd name="connsiteY2847" fmla="*/ 3144852 h 5392467"/>
              <a:gd name="connsiteX2848" fmla="*/ 5882645 w 6096001"/>
              <a:gd name="connsiteY2848" fmla="*/ 3152589 h 5392467"/>
              <a:gd name="connsiteX2849" fmla="*/ 5956142 w 6096001"/>
              <a:gd name="connsiteY2849" fmla="*/ 3162259 h 5392467"/>
              <a:gd name="connsiteX2850" fmla="*/ 5884578 w 6096001"/>
              <a:gd name="connsiteY2850" fmla="*/ 3160326 h 5392467"/>
              <a:gd name="connsiteX2851" fmla="*/ 5853635 w 6096001"/>
              <a:gd name="connsiteY2851" fmla="*/ 3162259 h 5392467"/>
              <a:gd name="connsiteX2852" fmla="*/ 5820753 w 6096001"/>
              <a:gd name="connsiteY2852" fmla="*/ 3164194 h 5392467"/>
              <a:gd name="connsiteX2853" fmla="*/ 5797544 w 6096001"/>
              <a:gd name="connsiteY2853" fmla="*/ 3169995 h 5392467"/>
              <a:gd name="connsiteX2854" fmla="*/ 5809149 w 6096001"/>
              <a:gd name="connsiteY2854" fmla="*/ 3175796 h 5392467"/>
              <a:gd name="connsiteX2855" fmla="*/ 5855568 w 6096001"/>
              <a:gd name="connsiteY2855" fmla="*/ 3189336 h 5392467"/>
              <a:gd name="connsiteX2856" fmla="*/ 5898118 w 6096001"/>
              <a:gd name="connsiteY2856" fmla="*/ 3189336 h 5392467"/>
              <a:gd name="connsiteX2857" fmla="*/ 6018032 w 6096001"/>
              <a:gd name="connsiteY2857" fmla="*/ 3195137 h 5392467"/>
              <a:gd name="connsiteX2858" fmla="*/ 6043177 w 6096001"/>
              <a:gd name="connsiteY2858" fmla="*/ 3199006 h 5392467"/>
              <a:gd name="connsiteX2859" fmla="*/ 6037373 w 6096001"/>
              <a:gd name="connsiteY2859" fmla="*/ 3204809 h 5392467"/>
              <a:gd name="connsiteX2860" fmla="*/ 5956142 w 6096001"/>
              <a:gd name="connsiteY2860" fmla="*/ 3218347 h 5392467"/>
              <a:gd name="connsiteX2861" fmla="*/ 5901987 w 6096001"/>
              <a:gd name="connsiteY2861" fmla="*/ 3218347 h 5392467"/>
              <a:gd name="connsiteX2862" fmla="*/ 5898118 w 6096001"/>
              <a:gd name="connsiteY2862" fmla="*/ 3218347 h 5392467"/>
              <a:gd name="connsiteX2863" fmla="*/ 5890382 w 6096001"/>
              <a:gd name="connsiteY2863" fmla="*/ 3222215 h 5392467"/>
              <a:gd name="connsiteX2864" fmla="*/ 5890382 w 6096001"/>
              <a:gd name="connsiteY2864" fmla="*/ 3218347 h 5392467"/>
              <a:gd name="connsiteX2865" fmla="*/ 5853635 w 6096001"/>
              <a:gd name="connsiteY2865" fmla="*/ 3218347 h 5392467"/>
              <a:gd name="connsiteX2866" fmla="*/ 5838159 w 6096001"/>
              <a:gd name="connsiteY2866" fmla="*/ 3228019 h 5392467"/>
              <a:gd name="connsiteX2867" fmla="*/ 5822689 w 6096001"/>
              <a:gd name="connsiteY2867" fmla="*/ 3228019 h 5392467"/>
              <a:gd name="connsiteX2868" fmla="*/ 5822689 w 6096001"/>
              <a:gd name="connsiteY2868" fmla="*/ 3231887 h 5392467"/>
              <a:gd name="connsiteX2869" fmla="*/ 5851699 w 6096001"/>
              <a:gd name="connsiteY2869" fmla="*/ 3233820 h 5392467"/>
              <a:gd name="connsiteX2870" fmla="*/ 5869108 w 6096001"/>
              <a:gd name="connsiteY2870" fmla="*/ 3235755 h 5392467"/>
              <a:gd name="connsiteX2871" fmla="*/ 5874909 w 6096001"/>
              <a:gd name="connsiteY2871" fmla="*/ 3235755 h 5392467"/>
              <a:gd name="connsiteX2872" fmla="*/ 5898118 w 6096001"/>
              <a:gd name="connsiteY2872" fmla="*/ 3229952 h 5392467"/>
              <a:gd name="connsiteX2873" fmla="*/ 5915524 w 6096001"/>
              <a:gd name="connsiteY2873" fmla="*/ 3228019 h 5392467"/>
              <a:gd name="connsiteX2874" fmla="*/ 5942602 w 6096001"/>
              <a:gd name="connsiteY2874" fmla="*/ 3229952 h 5392467"/>
              <a:gd name="connsiteX2875" fmla="*/ 5930997 w 6096001"/>
              <a:gd name="connsiteY2875" fmla="*/ 3233820 h 5392467"/>
              <a:gd name="connsiteX2876" fmla="*/ 5942602 w 6096001"/>
              <a:gd name="connsiteY2876" fmla="*/ 3235755 h 5392467"/>
              <a:gd name="connsiteX2877" fmla="*/ 5930998 w 6096001"/>
              <a:gd name="connsiteY2877" fmla="*/ 3242040 h 5392467"/>
              <a:gd name="connsiteX2878" fmla="*/ 5927996 w 6096001"/>
              <a:gd name="connsiteY2878" fmla="*/ 3249793 h 5392467"/>
              <a:gd name="connsiteX2879" fmla="*/ 5926645 w 6096001"/>
              <a:gd name="connsiteY2879" fmla="*/ 3250018 h 5392467"/>
              <a:gd name="connsiteX2880" fmla="*/ 5925194 w 6096001"/>
              <a:gd name="connsiteY2880" fmla="*/ 3255094 h 5392467"/>
              <a:gd name="connsiteX2881" fmla="*/ 5926416 w 6096001"/>
              <a:gd name="connsiteY2881" fmla="*/ 3253872 h 5392467"/>
              <a:gd name="connsiteX2882" fmla="*/ 5925194 w 6096001"/>
              <a:gd name="connsiteY2882" fmla="*/ 3257029 h 5392467"/>
              <a:gd name="connsiteX2883" fmla="*/ 5989021 w 6096001"/>
              <a:gd name="connsiteY2883" fmla="*/ 3262831 h 5392467"/>
              <a:gd name="connsiteX2884" fmla="*/ 5987086 w 6096001"/>
              <a:gd name="connsiteY2884" fmla="*/ 3270570 h 5392467"/>
              <a:gd name="connsiteX2885" fmla="*/ 5983218 w 6096001"/>
              <a:gd name="connsiteY2885" fmla="*/ 3276371 h 5392467"/>
              <a:gd name="connsiteX2886" fmla="*/ 5973548 w 6096001"/>
              <a:gd name="connsiteY2886" fmla="*/ 3280239 h 5392467"/>
              <a:gd name="connsiteX2887" fmla="*/ 5952272 w 6096001"/>
              <a:gd name="connsiteY2887" fmla="*/ 3282172 h 5392467"/>
              <a:gd name="connsiteX2888" fmla="*/ 5958075 w 6096001"/>
              <a:gd name="connsiteY2888" fmla="*/ 3297645 h 5392467"/>
              <a:gd name="connsiteX2889" fmla="*/ 5973548 w 6096001"/>
              <a:gd name="connsiteY2889" fmla="*/ 3301513 h 5392467"/>
              <a:gd name="connsiteX2890" fmla="*/ 5985153 w 6096001"/>
              <a:gd name="connsiteY2890" fmla="*/ 3301513 h 5392467"/>
              <a:gd name="connsiteX2891" fmla="*/ 5973548 w 6096001"/>
              <a:gd name="connsiteY2891" fmla="*/ 3309250 h 5392467"/>
              <a:gd name="connsiteX2892" fmla="*/ 5977417 w 6096001"/>
              <a:gd name="connsiteY2892" fmla="*/ 3320855 h 5392467"/>
              <a:gd name="connsiteX2893" fmla="*/ 5994822 w 6096001"/>
              <a:gd name="connsiteY2893" fmla="*/ 3316986 h 5392467"/>
              <a:gd name="connsiteX2894" fmla="*/ 6027704 w 6096001"/>
              <a:gd name="connsiteY2894" fmla="*/ 3322790 h 5392467"/>
              <a:gd name="connsiteX2895" fmla="*/ 6016099 w 6096001"/>
              <a:gd name="connsiteY2895" fmla="*/ 3322790 h 5392467"/>
              <a:gd name="connsiteX2896" fmla="*/ 6004494 w 6096001"/>
              <a:gd name="connsiteY2896" fmla="*/ 3324723 h 5392467"/>
              <a:gd name="connsiteX2897" fmla="*/ 5996758 w 6096001"/>
              <a:gd name="connsiteY2897" fmla="*/ 3326658 h 5392467"/>
              <a:gd name="connsiteX2898" fmla="*/ 5985153 w 6096001"/>
              <a:gd name="connsiteY2898" fmla="*/ 3340196 h 5392467"/>
              <a:gd name="connsiteX2899" fmla="*/ 5971613 w 6096001"/>
              <a:gd name="connsiteY2899" fmla="*/ 3330527 h 5392467"/>
              <a:gd name="connsiteX2900" fmla="*/ 5967745 w 6096001"/>
              <a:gd name="connsiteY2900" fmla="*/ 3338263 h 5392467"/>
              <a:gd name="connsiteX2901" fmla="*/ 5925194 w 6096001"/>
              <a:gd name="connsiteY2901" fmla="*/ 3342129 h 5392467"/>
              <a:gd name="connsiteX2902" fmla="*/ 5921328 w 6096001"/>
              <a:gd name="connsiteY2902" fmla="*/ 3344064 h 5392467"/>
              <a:gd name="connsiteX2903" fmla="*/ 5948403 w 6096001"/>
              <a:gd name="connsiteY2903" fmla="*/ 3349865 h 5392467"/>
              <a:gd name="connsiteX2904" fmla="*/ 5909723 w 6096001"/>
              <a:gd name="connsiteY2904" fmla="*/ 3351801 h 5392467"/>
              <a:gd name="connsiteX2905" fmla="*/ 5907788 w 6096001"/>
              <a:gd name="connsiteY2905" fmla="*/ 3373075 h 5392467"/>
              <a:gd name="connsiteX2906" fmla="*/ 5969680 w 6096001"/>
              <a:gd name="connsiteY2906" fmla="*/ 3376943 h 5392467"/>
              <a:gd name="connsiteX2907" fmla="*/ 5942602 w 6096001"/>
              <a:gd name="connsiteY2907" fmla="*/ 3477518 h 5392467"/>
              <a:gd name="connsiteX2908" fmla="*/ 5867172 w 6096001"/>
              <a:gd name="connsiteY2908" fmla="*/ 3504595 h 5392467"/>
              <a:gd name="connsiteX2909" fmla="*/ 5824622 w 6096001"/>
              <a:gd name="connsiteY2909" fmla="*/ 3541343 h 5392467"/>
              <a:gd name="connsiteX2910" fmla="*/ 5720181 w 6096001"/>
              <a:gd name="connsiteY2910" fmla="*/ 3568420 h 5392467"/>
              <a:gd name="connsiteX2911" fmla="*/ 5722114 w 6096001"/>
              <a:gd name="connsiteY2911" fmla="*/ 3568420 h 5392467"/>
              <a:gd name="connsiteX2912" fmla="*/ 5762732 w 6096001"/>
              <a:gd name="connsiteY2912" fmla="*/ 3568420 h 5392467"/>
              <a:gd name="connsiteX2913" fmla="*/ 5824622 w 6096001"/>
              <a:gd name="connsiteY2913" fmla="*/ 3564552 h 5392467"/>
              <a:gd name="connsiteX2914" fmla="*/ 5834293 w 6096001"/>
              <a:gd name="connsiteY2914" fmla="*/ 3562617 h 5392467"/>
              <a:gd name="connsiteX2915" fmla="*/ 5855568 w 6096001"/>
              <a:gd name="connsiteY2915" fmla="*/ 3576157 h 5392467"/>
              <a:gd name="connsiteX2916" fmla="*/ 5836226 w 6096001"/>
              <a:gd name="connsiteY2916" fmla="*/ 3583894 h 5392467"/>
              <a:gd name="connsiteX2917" fmla="*/ 5762732 w 6096001"/>
              <a:gd name="connsiteY2917" fmla="*/ 3589695 h 5392467"/>
              <a:gd name="connsiteX2918" fmla="*/ 5741455 w 6096001"/>
              <a:gd name="connsiteY2918" fmla="*/ 3589695 h 5392467"/>
              <a:gd name="connsiteX2919" fmla="*/ 5702773 w 6096001"/>
              <a:gd name="connsiteY2919" fmla="*/ 3593563 h 5392467"/>
              <a:gd name="connsiteX2920" fmla="*/ 5716313 w 6096001"/>
              <a:gd name="connsiteY2920" fmla="*/ 3597431 h 5392467"/>
              <a:gd name="connsiteX2921" fmla="*/ 5718246 w 6096001"/>
              <a:gd name="connsiteY2921" fmla="*/ 3597431 h 5392467"/>
              <a:gd name="connsiteX2922" fmla="*/ 5762732 w 6096001"/>
              <a:gd name="connsiteY2922" fmla="*/ 3589695 h 5392467"/>
              <a:gd name="connsiteX2923" fmla="*/ 5749192 w 6096001"/>
              <a:gd name="connsiteY2923" fmla="*/ 3599367 h 5392467"/>
              <a:gd name="connsiteX2924" fmla="*/ 5768533 w 6096001"/>
              <a:gd name="connsiteY2924" fmla="*/ 3605168 h 5392467"/>
              <a:gd name="connsiteX2925" fmla="*/ 5774334 w 6096001"/>
              <a:gd name="connsiteY2925" fmla="*/ 3607103 h 5392467"/>
              <a:gd name="connsiteX2926" fmla="*/ 5785941 w 6096001"/>
              <a:gd name="connsiteY2926" fmla="*/ 3610969 h 5392467"/>
              <a:gd name="connsiteX2927" fmla="*/ 5797544 w 6096001"/>
              <a:gd name="connsiteY2927" fmla="*/ 3620641 h 5392467"/>
              <a:gd name="connsiteX2928" fmla="*/ 5799479 w 6096001"/>
              <a:gd name="connsiteY2928" fmla="*/ 3639982 h 5392467"/>
              <a:gd name="connsiteX2929" fmla="*/ 5789807 w 6096001"/>
              <a:gd name="connsiteY2929" fmla="*/ 3641915 h 5392467"/>
              <a:gd name="connsiteX2930" fmla="*/ 5793676 w 6096001"/>
              <a:gd name="connsiteY2930" fmla="*/ 3630310 h 5392467"/>
              <a:gd name="connsiteX2931" fmla="*/ 5772401 w 6096001"/>
              <a:gd name="connsiteY2931" fmla="*/ 3616773 h 5392467"/>
              <a:gd name="connsiteX2932" fmla="*/ 5762732 w 6096001"/>
              <a:gd name="connsiteY2932" fmla="*/ 3612904 h 5392467"/>
              <a:gd name="connsiteX2933" fmla="*/ 5749192 w 6096001"/>
              <a:gd name="connsiteY2933" fmla="*/ 3607103 h 5392467"/>
              <a:gd name="connsiteX2934" fmla="*/ 5722114 w 6096001"/>
              <a:gd name="connsiteY2934" fmla="*/ 3605168 h 5392467"/>
              <a:gd name="connsiteX2935" fmla="*/ 5687300 w 6096001"/>
              <a:gd name="connsiteY2935" fmla="*/ 3616773 h 5392467"/>
              <a:gd name="connsiteX2936" fmla="*/ 5671829 w 6096001"/>
              <a:gd name="connsiteY2936" fmla="*/ 3610969 h 5392467"/>
              <a:gd name="connsiteX2937" fmla="*/ 5667959 w 6096001"/>
              <a:gd name="connsiteY2937" fmla="*/ 3614840 h 5392467"/>
              <a:gd name="connsiteX2938" fmla="*/ 5666026 w 6096001"/>
              <a:gd name="connsiteY2938" fmla="*/ 3624509 h 5392467"/>
              <a:gd name="connsiteX2939" fmla="*/ 5681499 w 6096001"/>
              <a:gd name="connsiteY2939" fmla="*/ 3628377 h 5392467"/>
              <a:gd name="connsiteX2940" fmla="*/ 5669894 w 6096001"/>
              <a:gd name="connsiteY2940" fmla="*/ 3632246 h 5392467"/>
              <a:gd name="connsiteX2941" fmla="*/ 5675697 w 6096001"/>
              <a:gd name="connsiteY2941" fmla="*/ 3636114 h 5392467"/>
              <a:gd name="connsiteX2942" fmla="*/ 5689235 w 6096001"/>
              <a:gd name="connsiteY2942" fmla="*/ 3653520 h 5392467"/>
              <a:gd name="connsiteX2943" fmla="*/ 5675697 w 6096001"/>
              <a:gd name="connsiteY2943" fmla="*/ 3659323 h 5392467"/>
              <a:gd name="connsiteX2944" fmla="*/ 5681499 w 6096001"/>
              <a:gd name="connsiteY2944" fmla="*/ 3665125 h 5392467"/>
              <a:gd name="connsiteX2945" fmla="*/ 5716313 w 6096001"/>
              <a:gd name="connsiteY2945" fmla="*/ 3657388 h 5392467"/>
              <a:gd name="connsiteX2946" fmla="*/ 5747259 w 6096001"/>
              <a:gd name="connsiteY2946" fmla="*/ 3653520 h 5392467"/>
              <a:gd name="connsiteX2947" fmla="*/ 5747259 w 6096001"/>
              <a:gd name="connsiteY2947" fmla="*/ 3663192 h 5392467"/>
              <a:gd name="connsiteX2948" fmla="*/ 5689235 w 6096001"/>
              <a:gd name="connsiteY2948" fmla="*/ 3670928 h 5392467"/>
              <a:gd name="connsiteX2949" fmla="*/ 5695036 w 6096001"/>
              <a:gd name="connsiteY2949" fmla="*/ 3676729 h 5392467"/>
              <a:gd name="connsiteX2950" fmla="*/ 5696972 w 6096001"/>
              <a:gd name="connsiteY2950" fmla="*/ 3678665 h 5392467"/>
              <a:gd name="connsiteX2951" fmla="*/ 5702773 w 6096001"/>
              <a:gd name="connsiteY2951" fmla="*/ 3678665 h 5392467"/>
              <a:gd name="connsiteX2952" fmla="*/ 5704708 w 6096001"/>
              <a:gd name="connsiteY2952" fmla="*/ 3684466 h 5392467"/>
              <a:gd name="connsiteX2953" fmla="*/ 5712445 w 6096001"/>
              <a:gd name="connsiteY2953" fmla="*/ 3684466 h 5392467"/>
              <a:gd name="connsiteX2954" fmla="*/ 5716313 w 6096001"/>
              <a:gd name="connsiteY2954" fmla="*/ 3692202 h 5392467"/>
              <a:gd name="connsiteX2955" fmla="*/ 5718246 w 6096001"/>
              <a:gd name="connsiteY2955" fmla="*/ 3692202 h 5392467"/>
              <a:gd name="connsiteX2956" fmla="*/ 5731784 w 6096001"/>
              <a:gd name="connsiteY2956" fmla="*/ 3686401 h 5392467"/>
              <a:gd name="connsiteX2957" fmla="*/ 5753060 w 6096001"/>
              <a:gd name="connsiteY2957" fmla="*/ 3686401 h 5392467"/>
              <a:gd name="connsiteX2958" fmla="*/ 5853635 w 6096001"/>
              <a:gd name="connsiteY2958" fmla="*/ 3668993 h 5392467"/>
              <a:gd name="connsiteX2959" fmla="*/ 5963876 w 6096001"/>
              <a:gd name="connsiteY2959" fmla="*/ 3670928 h 5392467"/>
              <a:gd name="connsiteX2960" fmla="*/ 5956142 w 6096001"/>
              <a:gd name="connsiteY2960" fmla="*/ 3678665 h 5392467"/>
              <a:gd name="connsiteX2961" fmla="*/ 5919393 w 6096001"/>
              <a:gd name="connsiteY2961" fmla="*/ 3686401 h 5392467"/>
              <a:gd name="connsiteX2962" fmla="*/ 5900051 w 6096001"/>
              <a:gd name="connsiteY2962" fmla="*/ 3682533 h 5392467"/>
              <a:gd name="connsiteX2963" fmla="*/ 5884578 w 6096001"/>
              <a:gd name="connsiteY2963" fmla="*/ 3686401 h 5392467"/>
              <a:gd name="connsiteX2964" fmla="*/ 5872976 w 6096001"/>
              <a:gd name="connsiteY2964" fmla="*/ 3684466 h 5392467"/>
              <a:gd name="connsiteX2965" fmla="*/ 5851699 w 6096001"/>
              <a:gd name="connsiteY2965" fmla="*/ 3684466 h 5392467"/>
              <a:gd name="connsiteX2966" fmla="*/ 5822689 w 6096001"/>
              <a:gd name="connsiteY2966" fmla="*/ 3686401 h 5392467"/>
              <a:gd name="connsiteX2967" fmla="*/ 5787874 w 6096001"/>
              <a:gd name="connsiteY2967" fmla="*/ 3696071 h 5392467"/>
              <a:gd name="connsiteX2968" fmla="*/ 5751125 w 6096001"/>
              <a:gd name="connsiteY2968" fmla="*/ 3699939 h 5392467"/>
              <a:gd name="connsiteX2969" fmla="*/ 5768533 w 6096001"/>
              <a:gd name="connsiteY2969" fmla="*/ 3703807 h 5392467"/>
              <a:gd name="connsiteX2970" fmla="*/ 5784006 w 6096001"/>
              <a:gd name="connsiteY2970" fmla="*/ 3705742 h 5392467"/>
              <a:gd name="connsiteX2971" fmla="*/ 5822689 w 6096001"/>
              <a:gd name="connsiteY2971" fmla="*/ 3713479 h 5392467"/>
              <a:gd name="connsiteX2972" fmla="*/ 5828490 w 6096001"/>
              <a:gd name="connsiteY2972" fmla="*/ 3715412 h 5392467"/>
              <a:gd name="connsiteX2973" fmla="*/ 5840095 w 6096001"/>
              <a:gd name="connsiteY2973" fmla="*/ 3719280 h 5392467"/>
              <a:gd name="connsiteX2974" fmla="*/ 5851699 w 6096001"/>
              <a:gd name="connsiteY2974" fmla="*/ 3728950 h 5392467"/>
              <a:gd name="connsiteX2975" fmla="*/ 5853635 w 6096001"/>
              <a:gd name="connsiteY2975" fmla="*/ 3748291 h 5392467"/>
              <a:gd name="connsiteX2976" fmla="*/ 5843963 w 6096001"/>
              <a:gd name="connsiteY2976" fmla="*/ 3750226 h 5392467"/>
              <a:gd name="connsiteX2977" fmla="*/ 5847831 w 6096001"/>
              <a:gd name="connsiteY2977" fmla="*/ 3738621 h 5392467"/>
              <a:gd name="connsiteX2978" fmla="*/ 5826557 w 6096001"/>
              <a:gd name="connsiteY2978" fmla="*/ 3725084 h 5392467"/>
              <a:gd name="connsiteX2979" fmla="*/ 5816885 w 6096001"/>
              <a:gd name="connsiteY2979" fmla="*/ 3721213 h 5392467"/>
              <a:gd name="connsiteX2980" fmla="*/ 5803347 w 6096001"/>
              <a:gd name="connsiteY2980" fmla="*/ 3715412 h 5392467"/>
              <a:gd name="connsiteX2981" fmla="*/ 5754993 w 6096001"/>
              <a:gd name="connsiteY2981" fmla="*/ 3713479 h 5392467"/>
              <a:gd name="connsiteX2982" fmla="*/ 5737587 w 6096001"/>
              <a:gd name="connsiteY2982" fmla="*/ 3711544 h 5392467"/>
              <a:gd name="connsiteX2983" fmla="*/ 5743391 w 6096001"/>
              <a:gd name="connsiteY2983" fmla="*/ 3709608 h 5392467"/>
              <a:gd name="connsiteX2984" fmla="*/ 5743391 w 6096001"/>
              <a:gd name="connsiteY2984" fmla="*/ 3707675 h 5392467"/>
              <a:gd name="connsiteX2985" fmla="*/ 5729851 w 6096001"/>
              <a:gd name="connsiteY2985" fmla="*/ 3707675 h 5392467"/>
              <a:gd name="connsiteX2986" fmla="*/ 5689235 w 6096001"/>
              <a:gd name="connsiteY2986" fmla="*/ 3717345 h 5392467"/>
              <a:gd name="connsiteX2987" fmla="*/ 5685367 w 6096001"/>
              <a:gd name="connsiteY2987" fmla="*/ 3723148 h 5392467"/>
              <a:gd name="connsiteX2988" fmla="*/ 5683432 w 6096001"/>
              <a:gd name="connsiteY2988" fmla="*/ 3730885 h 5392467"/>
              <a:gd name="connsiteX2989" fmla="*/ 5660224 w 6096001"/>
              <a:gd name="connsiteY2989" fmla="*/ 3725084 h 5392467"/>
              <a:gd name="connsiteX2990" fmla="*/ 5654421 w 6096001"/>
              <a:gd name="connsiteY2990" fmla="*/ 3728950 h 5392467"/>
              <a:gd name="connsiteX2991" fmla="*/ 5644749 w 6096001"/>
              <a:gd name="connsiteY2991" fmla="*/ 3736686 h 5392467"/>
              <a:gd name="connsiteX2992" fmla="*/ 5631211 w 6096001"/>
              <a:gd name="connsiteY2992" fmla="*/ 3738621 h 5392467"/>
              <a:gd name="connsiteX2993" fmla="*/ 5606069 w 6096001"/>
              <a:gd name="connsiteY2993" fmla="*/ 3742490 h 5392467"/>
              <a:gd name="connsiteX2994" fmla="*/ 5666026 w 6096001"/>
              <a:gd name="connsiteY2994" fmla="*/ 3736686 h 5392467"/>
              <a:gd name="connsiteX2995" fmla="*/ 5695036 w 6096001"/>
              <a:gd name="connsiteY2995" fmla="*/ 3736686 h 5392467"/>
              <a:gd name="connsiteX2996" fmla="*/ 5695036 w 6096001"/>
              <a:gd name="connsiteY2996" fmla="*/ 3740554 h 5392467"/>
              <a:gd name="connsiteX2997" fmla="*/ 5621542 w 6096001"/>
              <a:gd name="connsiteY2997" fmla="*/ 3769567 h 5392467"/>
              <a:gd name="connsiteX2998" fmla="*/ 5553849 w 6096001"/>
              <a:gd name="connsiteY2998" fmla="*/ 3781172 h 5392467"/>
              <a:gd name="connsiteX2999" fmla="*/ 5598332 w 6096001"/>
              <a:gd name="connsiteY2999" fmla="*/ 3779237 h 5392467"/>
              <a:gd name="connsiteX3000" fmla="*/ 5573190 w 6096001"/>
              <a:gd name="connsiteY3000" fmla="*/ 3792777 h 5392467"/>
              <a:gd name="connsiteX3001" fmla="*/ 5557714 w 6096001"/>
              <a:gd name="connsiteY3001" fmla="*/ 3806315 h 5392467"/>
              <a:gd name="connsiteX3002" fmla="*/ 5629278 w 6096001"/>
              <a:gd name="connsiteY3002" fmla="*/ 3806315 h 5392467"/>
              <a:gd name="connsiteX3003" fmla="*/ 5650553 w 6096001"/>
              <a:gd name="connsiteY3003" fmla="*/ 3804379 h 5392467"/>
              <a:gd name="connsiteX3004" fmla="*/ 5646684 w 6096001"/>
              <a:gd name="connsiteY3004" fmla="*/ 3812118 h 5392467"/>
              <a:gd name="connsiteX3005" fmla="*/ 5656356 w 6096001"/>
              <a:gd name="connsiteY3005" fmla="*/ 3814051 h 5392467"/>
              <a:gd name="connsiteX3006" fmla="*/ 5669894 w 6096001"/>
              <a:gd name="connsiteY3006" fmla="*/ 3819852 h 5392467"/>
              <a:gd name="connsiteX3007" fmla="*/ 5675697 w 6096001"/>
              <a:gd name="connsiteY3007" fmla="*/ 3808248 h 5392467"/>
              <a:gd name="connsiteX3008" fmla="*/ 5691168 w 6096001"/>
              <a:gd name="connsiteY3008" fmla="*/ 3804379 h 5392467"/>
              <a:gd name="connsiteX3009" fmla="*/ 5687300 w 6096001"/>
              <a:gd name="connsiteY3009" fmla="*/ 3804379 h 5392467"/>
              <a:gd name="connsiteX3010" fmla="*/ 5669894 w 6096001"/>
              <a:gd name="connsiteY3010" fmla="*/ 3802446 h 5392467"/>
              <a:gd name="connsiteX3011" fmla="*/ 5718246 w 6096001"/>
              <a:gd name="connsiteY3011" fmla="*/ 3796643 h 5392467"/>
              <a:gd name="connsiteX3012" fmla="*/ 5762732 w 6096001"/>
              <a:gd name="connsiteY3012" fmla="*/ 3786973 h 5392467"/>
              <a:gd name="connsiteX3013" fmla="*/ 5820753 w 6096001"/>
              <a:gd name="connsiteY3013" fmla="*/ 3781172 h 5392467"/>
              <a:gd name="connsiteX3014" fmla="*/ 5828490 w 6096001"/>
              <a:gd name="connsiteY3014" fmla="*/ 3783105 h 5392467"/>
              <a:gd name="connsiteX3015" fmla="*/ 5832358 w 6096001"/>
              <a:gd name="connsiteY3015" fmla="*/ 3796643 h 5392467"/>
              <a:gd name="connsiteX3016" fmla="*/ 5867172 w 6096001"/>
              <a:gd name="connsiteY3016" fmla="*/ 3796643 h 5392467"/>
              <a:gd name="connsiteX3017" fmla="*/ 5847831 w 6096001"/>
              <a:gd name="connsiteY3017" fmla="*/ 3804379 h 5392467"/>
              <a:gd name="connsiteX3018" fmla="*/ 5826557 w 6096001"/>
              <a:gd name="connsiteY3018" fmla="*/ 3808248 h 5392467"/>
              <a:gd name="connsiteX3019" fmla="*/ 5805280 w 6096001"/>
              <a:gd name="connsiteY3019" fmla="*/ 3814051 h 5392467"/>
              <a:gd name="connsiteX3020" fmla="*/ 5784006 w 6096001"/>
              <a:gd name="connsiteY3020" fmla="*/ 3817919 h 5392467"/>
              <a:gd name="connsiteX3021" fmla="*/ 5762732 w 6096001"/>
              <a:gd name="connsiteY3021" fmla="*/ 3823721 h 5392467"/>
              <a:gd name="connsiteX3022" fmla="*/ 5739522 w 6096001"/>
              <a:gd name="connsiteY3022" fmla="*/ 3823721 h 5392467"/>
              <a:gd name="connsiteX3023" fmla="*/ 5768533 w 6096001"/>
              <a:gd name="connsiteY3023" fmla="*/ 3831457 h 5392467"/>
              <a:gd name="connsiteX3024" fmla="*/ 5764665 w 6096001"/>
              <a:gd name="connsiteY3024" fmla="*/ 3833393 h 5392467"/>
              <a:gd name="connsiteX3025" fmla="*/ 5774334 w 6096001"/>
              <a:gd name="connsiteY3025" fmla="*/ 3833393 h 5392467"/>
              <a:gd name="connsiteX3026" fmla="*/ 5747259 w 6096001"/>
              <a:gd name="connsiteY3026" fmla="*/ 3839194 h 5392467"/>
              <a:gd name="connsiteX3027" fmla="*/ 5689235 w 6096001"/>
              <a:gd name="connsiteY3027" fmla="*/ 3848866 h 5392467"/>
              <a:gd name="connsiteX3028" fmla="*/ 5671829 w 6096001"/>
              <a:gd name="connsiteY3028" fmla="*/ 3852734 h 5392467"/>
              <a:gd name="connsiteX3029" fmla="*/ 5646684 w 6096001"/>
              <a:gd name="connsiteY3029" fmla="*/ 3854667 h 5392467"/>
              <a:gd name="connsiteX3030" fmla="*/ 5642816 w 6096001"/>
              <a:gd name="connsiteY3030" fmla="*/ 3860470 h 5392467"/>
              <a:gd name="connsiteX3031" fmla="*/ 5644749 w 6096001"/>
              <a:gd name="connsiteY3031" fmla="*/ 3862403 h 5392467"/>
              <a:gd name="connsiteX3032" fmla="*/ 5679566 w 6096001"/>
              <a:gd name="connsiteY3032" fmla="*/ 3856602 h 5392467"/>
              <a:gd name="connsiteX3033" fmla="*/ 5660224 w 6096001"/>
              <a:gd name="connsiteY3033" fmla="*/ 3866272 h 5392467"/>
              <a:gd name="connsiteX3034" fmla="*/ 5650553 w 6096001"/>
              <a:gd name="connsiteY3034" fmla="*/ 3868207 h 5392467"/>
              <a:gd name="connsiteX3035" fmla="*/ 5654421 w 6096001"/>
              <a:gd name="connsiteY3035" fmla="*/ 3870140 h 5392467"/>
              <a:gd name="connsiteX3036" fmla="*/ 5666026 w 6096001"/>
              <a:gd name="connsiteY3036" fmla="*/ 3874008 h 5392467"/>
              <a:gd name="connsiteX3037" fmla="*/ 5679566 w 6096001"/>
              <a:gd name="connsiteY3037" fmla="*/ 3872075 h 5392467"/>
              <a:gd name="connsiteX3038" fmla="*/ 5785941 w 6096001"/>
              <a:gd name="connsiteY3038" fmla="*/ 3854667 h 5392467"/>
              <a:gd name="connsiteX3039" fmla="*/ 5811084 w 6096001"/>
              <a:gd name="connsiteY3039" fmla="*/ 3852734 h 5392467"/>
              <a:gd name="connsiteX3040" fmla="*/ 5820753 w 6096001"/>
              <a:gd name="connsiteY3040" fmla="*/ 3856602 h 5392467"/>
              <a:gd name="connsiteX3041" fmla="*/ 5811084 w 6096001"/>
              <a:gd name="connsiteY3041" fmla="*/ 3858535 h 5392467"/>
              <a:gd name="connsiteX3042" fmla="*/ 5869108 w 6096001"/>
              <a:gd name="connsiteY3042" fmla="*/ 3850798 h 5392467"/>
              <a:gd name="connsiteX3043" fmla="*/ 5913591 w 6096001"/>
              <a:gd name="connsiteY3043" fmla="*/ 3846930 h 5392467"/>
              <a:gd name="connsiteX3044" fmla="*/ 5907788 w 6096001"/>
              <a:gd name="connsiteY3044" fmla="*/ 3854667 h 5392467"/>
              <a:gd name="connsiteX3045" fmla="*/ 5836226 w 6096001"/>
              <a:gd name="connsiteY3045" fmla="*/ 3866272 h 5392467"/>
              <a:gd name="connsiteX3046" fmla="*/ 5778203 w 6096001"/>
              <a:gd name="connsiteY3046" fmla="*/ 3872075 h 5392467"/>
              <a:gd name="connsiteX3047" fmla="*/ 5722114 w 6096001"/>
              <a:gd name="connsiteY3047" fmla="*/ 3881745 h 5392467"/>
              <a:gd name="connsiteX3048" fmla="*/ 5679566 w 6096001"/>
              <a:gd name="connsiteY3048" fmla="*/ 3883677 h 5392467"/>
              <a:gd name="connsiteX3049" fmla="*/ 5669894 w 6096001"/>
              <a:gd name="connsiteY3049" fmla="*/ 3887548 h 5392467"/>
              <a:gd name="connsiteX3050" fmla="*/ 5646684 w 6096001"/>
              <a:gd name="connsiteY3050" fmla="*/ 3895282 h 5392467"/>
              <a:gd name="connsiteX3051" fmla="*/ 5708576 w 6096001"/>
              <a:gd name="connsiteY3051" fmla="*/ 3889481 h 5392467"/>
              <a:gd name="connsiteX3052" fmla="*/ 5727918 w 6096001"/>
              <a:gd name="connsiteY3052" fmla="*/ 3883677 h 5392467"/>
              <a:gd name="connsiteX3053" fmla="*/ 5756928 w 6096001"/>
              <a:gd name="connsiteY3053" fmla="*/ 3881745 h 5392467"/>
              <a:gd name="connsiteX3054" fmla="*/ 5803347 w 6096001"/>
              <a:gd name="connsiteY3054" fmla="*/ 3874008 h 5392467"/>
              <a:gd name="connsiteX3055" fmla="*/ 5826557 w 6096001"/>
              <a:gd name="connsiteY3055" fmla="*/ 3872075 h 5392467"/>
              <a:gd name="connsiteX3056" fmla="*/ 5820753 w 6096001"/>
              <a:gd name="connsiteY3056" fmla="*/ 3875943 h 5392467"/>
              <a:gd name="connsiteX3057" fmla="*/ 5776270 w 6096001"/>
              <a:gd name="connsiteY3057" fmla="*/ 3885613 h 5392467"/>
              <a:gd name="connsiteX3058" fmla="*/ 5725982 w 6096001"/>
              <a:gd name="connsiteY3058" fmla="*/ 3895282 h 5392467"/>
              <a:gd name="connsiteX3059" fmla="*/ 5698907 w 6096001"/>
              <a:gd name="connsiteY3059" fmla="*/ 3899153 h 5392467"/>
              <a:gd name="connsiteX3060" fmla="*/ 5700840 w 6096001"/>
              <a:gd name="connsiteY3060" fmla="*/ 3895282 h 5392467"/>
              <a:gd name="connsiteX3061" fmla="*/ 5654421 w 6096001"/>
              <a:gd name="connsiteY3061" fmla="*/ 3904954 h 5392467"/>
              <a:gd name="connsiteX3062" fmla="*/ 5656356 w 6096001"/>
              <a:gd name="connsiteY3062" fmla="*/ 3904954 h 5392467"/>
              <a:gd name="connsiteX3063" fmla="*/ 5693103 w 6096001"/>
              <a:gd name="connsiteY3063" fmla="*/ 3910755 h 5392467"/>
              <a:gd name="connsiteX3064" fmla="*/ 5704708 w 6096001"/>
              <a:gd name="connsiteY3064" fmla="*/ 3910755 h 5392467"/>
              <a:gd name="connsiteX3065" fmla="*/ 5704708 w 6096001"/>
              <a:gd name="connsiteY3065" fmla="*/ 3914624 h 5392467"/>
              <a:gd name="connsiteX3066" fmla="*/ 5706641 w 6096001"/>
              <a:gd name="connsiteY3066" fmla="*/ 3920427 h 5392467"/>
              <a:gd name="connsiteX3067" fmla="*/ 5695036 w 6096001"/>
              <a:gd name="connsiteY3067" fmla="*/ 3928164 h 5392467"/>
              <a:gd name="connsiteX3068" fmla="*/ 5727918 w 6096001"/>
              <a:gd name="connsiteY3068" fmla="*/ 3922360 h 5392467"/>
              <a:gd name="connsiteX3069" fmla="*/ 5725982 w 6096001"/>
              <a:gd name="connsiteY3069" fmla="*/ 3920427 h 5392467"/>
              <a:gd name="connsiteX3070" fmla="*/ 5778203 w 6096001"/>
              <a:gd name="connsiteY3070" fmla="*/ 3906887 h 5392467"/>
              <a:gd name="connsiteX3071" fmla="*/ 5774334 w 6096001"/>
              <a:gd name="connsiteY3071" fmla="*/ 3910755 h 5392467"/>
              <a:gd name="connsiteX3072" fmla="*/ 5764665 w 6096001"/>
              <a:gd name="connsiteY3072" fmla="*/ 3912691 h 5392467"/>
              <a:gd name="connsiteX3073" fmla="*/ 5756928 w 6096001"/>
              <a:gd name="connsiteY3073" fmla="*/ 3914624 h 5392467"/>
              <a:gd name="connsiteX3074" fmla="*/ 5745324 w 6096001"/>
              <a:gd name="connsiteY3074" fmla="*/ 3918492 h 5392467"/>
              <a:gd name="connsiteX3075" fmla="*/ 5743391 w 6096001"/>
              <a:gd name="connsiteY3075" fmla="*/ 3918492 h 5392467"/>
              <a:gd name="connsiteX3076" fmla="*/ 5720181 w 6096001"/>
              <a:gd name="connsiteY3076" fmla="*/ 3932032 h 5392467"/>
              <a:gd name="connsiteX3077" fmla="*/ 5687300 w 6096001"/>
              <a:gd name="connsiteY3077" fmla="*/ 3941701 h 5392467"/>
              <a:gd name="connsiteX3078" fmla="*/ 5712445 w 6096001"/>
              <a:gd name="connsiteY3078" fmla="*/ 3943637 h 5392467"/>
              <a:gd name="connsiteX3079" fmla="*/ 5706641 w 6096001"/>
              <a:gd name="connsiteY3079" fmla="*/ 3947505 h 5392467"/>
              <a:gd name="connsiteX3080" fmla="*/ 5693103 w 6096001"/>
              <a:gd name="connsiteY3080" fmla="*/ 3949438 h 5392467"/>
              <a:gd name="connsiteX3081" fmla="*/ 5687300 w 6096001"/>
              <a:gd name="connsiteY3081" fmla="*/ 3961043 h 5392467"/>
              <a:gd name="connsiteX3082" fmla="*/ 5698907 w 6096001"/>
              <a:gd name="connsiteY3082" fmla="*/ 3968779 h 5392467"/>
              <a:gd name="connsiteX3083" fmla="*/ 5712445 w 6096001"/>
              <a:gd name="connsiteY3083" fmla="*/ 3974583 h 5392467"/>
              <a:gd name="connsiteX3084" fmla="*/ 5702773 w 6096001"/>
              <a:gd name="connsiteY3084" fmla="*/ 3984252 h 5392467"/>
              <a:gd name="connsiteX3085" fmla="*/ 5693103 w 6096001"/>
              <a:gd name="connsiteY3085" fmla="*/ 3988120 h 5392467"/>
              <a:gd name="connsiteX3086" fmla="*/ 5671829 w 6096001"/>
              <a:gd name="connsiteY3086" fmla="*/ 3982319 h 5392467"/>
              <a:gd name="connsiteX3087" fmla="*/ 5635080 w 6096001"/>
              <a:gd name="connsiteY3087" fmla="*/ 3978449 h 5392467"/>
              <a:gd name="connsiteX3088" fmla="*/ 5623475 w 6096001"/>
              <a:gd name="connsiteY3088" fmla="*/ 3978449 h 5392467"/>
              <a:gd name="connsiteX3089" fmla="*/ 5617674 w 6096001"/>
              <a:gd name="connsiteY3089" fmla="*/ 3980384 h 5392467"/>
              <a:gd name="connsiteX3090" fmla="*/ 5598332 w 6096001"/>
              <a:gd name="connsiteY3090" fmla="*/ 3986187 h 5392467"/>
              <a:gd name="connsiteX3091" fmla="*/ 5580924 w 6096001"/>
              <a:gd name="connsiteY3091" fmla="*/ 3986187 h 5392467"/>
              <a:gd name="connsiteX3092" fmla="*/ 5578991 w 6096001"/>
              <a:gd name="connsiteY3092" fmla="*/ 3986187 h 5392467"/>
              <a:gd name="connsiteX3093" fmla="*/ 5563518 w 6096001"/>
              <a:gd name="connsiteY3093" fmla="*/ 3990053 h 5392467"/>
              <a:gd name="connsiteX3094" fmla="*/ 5519034 w 6096001"/>
              <a:gd name="connsiteY3094" fmla="*/ 4001658 h 5392467"/>
              <a:gd name="connsiteX3095" fmla="*/ 5515166 w 6096001"/>
              <a:gd name="connsiteY3095" fmla="*/ 4003593 h 5392467"/>
              <a:gd name="connsiteX3096" fmla="*/ 5526771 w 6096001"/>
              <a:gd name="connsiteY3096" fmla="*/ 4001658 h 5392467"/>
              <a:gd name="connsiteX3097" fmla="*/ 5538376 w 6096001"/>
              <a:gd name="connsiteY3097" fmla="*/ 4009395 h 5392467"/>
              <a:gd name="connsiteX3098" fmla="*/ 5540308 w 6096001"/>
              <a:gd name="connsiteY3098" fmla="*/ 4009395 h 5392467"/>
              <a:gd name="connsiteX3099" fmla="*/ 5577056 w 6096001"/>
              <a:gd name="connsiteY3099" fmla="*/ 4007462 h 5392467"/>
              <a:gd name="connsiteX3100" fmla="*/ 5586728 w 6096001"/>
              <a:gd name="connsiteY3100" fmla="*/ 4005526 h 5392467"/>
              <a:gd name="connsiteX3101" fmla="*/ 5606069 w 6096001"/>
              <a:gd name="connsiteY3101" fmla="*/ 4007462 h 5392467"/>
              <a:gd name="connsiteX3102" fmla="*/ 5627343 w 6096001"/>
              <a:gd name="connsiteY3102" fmla="*/ 4001658 h 5392467"/>
              <a:gd name="connsiteX3103" fmla="*/ 5700840 w 6096001"/>
              <a:gd name="connsiteY3103" fmla="*/ 3988120 h 5392467"/>
              <a:gd name="connsiteX3104" fmla="*/ 5712445 w 6096001"/>
              <a:gd name="connsiteY3104" fmla="*/ 3986187 h 5392467"/>
              <a:gd name="connsiteX3105" fmla="*/ 5696972 w 6096001"/>
              <a:gd name="connsiteY3105" fmla="*/ 3997790 h 5392467"/>
              <a:gd name="connsiteX3106" fmla="*/ 5693103 w 6096001"/>
              <a:gd name="connsiteY3106" fmla="*/ 3999725 h 5392467"/>
              <a:gd name="connsiteX3107" fmla="*/ 5710509 w 6096001"/>
              <a:gd name="connsiteY3107" fmla="*/ 4001658 h 5392467"/>
              <a:gd name="connsiteX3108" fmla="*/ 5753060 w 6096001"/>
              <a:gd name="connsiteY3108" fmla="*/ 4007462 h 5392467"/>
              <a:gd name="connsiteX3109" fmla="*/ 5758864 w 6096001"/>
              <a:gd name="connsiteY3109" fmla="*/ 4011330 h 5392467"/>
              <a:gd name="connsiteX3110" fmla="*/ 5760797 w 6096001"/>
              <a:gd name="connsiteY3110" fmla="*/ 4017131 h 5392467"/>
              <a:gd name="connsiteX3111" fmla="*/ 5743391 w 6096001"/>
              <a:gd name="connsiteY3111" fmla="*/ 4028736 h 5392467"/>
              <a:gd name="connsiteX3112" fmla="*/ 5698907 w 6096001"/>
              <a:gd name="connsiteY3112" fmla="*/ 4028736 h 5392467"/>
              <a:gd name="connsiteX3113" fmla="*/ 5716313 w 6096001"/>
              <a:gd name="connsiteY3113" fmla="*/ 4030671 h 5392467"/>
              <a:gd name="connsiteX3114" fmla="*/ 5733719 w 6096001"/>
              <a:gd name="connsiteY3114" fmla="*/ 4034539 h 5392467"/>
              <a:gd name="connsiteX3115" fmla="*/ 5727918 w 6096001"/>
              <a:gd name="connsiteY3115" fmla="*/ 4038408 h 5392467"/>
              <a:gd name="connsiteX3116" fmla="*/ 5679566 w 6096001"/>
              <a:gd name="connsiteY3116" fmla="*/ 4040341 h 5392467"/>
              <a:gd name="connsiteX3117" fmla="*/ 5658289 w 6096001"/>
              <a:gd name="connsiteY3117" fmla="*/ 4036472 h 5392467"/>
              <a:gd name="connsiteX3118" fmla="*/ 5635080 w 6096001"/>
              <a:gd name="connsiteY3118" fmla="*/ 4038408 h 5392467"/>
              <a:gd name="connsiteX3119" fmla="*/ 5604133 w 6096001"/>
              <a:gd name="connsiteY3119" fmla="*/ 4044209 h 5392467"/>
              <a:gd name="connsiteX3120" fmla="*/ 5515166 w 6096001"/>
              <a:gd name="connsiteY3120" fmla="*/ 4048077 h 5392467"/>
              <a:gd name="connsiteX3121" fmla="*/ 5484220 w 6096001"/>
              <a:gd name="connsiteY3121" fmla="*/ 4059682 h 5392467"/>
              <a:gd name="connsiteX3122" fmla="*/ 5462946 w 6096001"/>
              <a:gd name="connsiteY3122" fmla="*/ 4065483 h 5392467"/>
              <a:gd name="connsiteX3123" fmla="*/ 5437803 w 6096001"/>
              <a:gd name="connsiteY3123" fmla="*/ 4071287 h 5392467"/>
              <a:gd name="connsiteX3124" fmla="*/ 5412658 w 6096001"/>
              <a:gd name="connsiteY3124" fmla="*/ 4077088 h 5392467"/>
              <a:gd name="connsiteX3125" fmla="*/ 5389449 w 6096001"/>
              <a:gd name="connsiteY3125" fmla="*/ 4084824 h 5392467"/>
              <a:gd name="connsiteX3126" fmla="*/ 5368175 w 6096001"/>
              <a:gd name="connsiteY3126" fmla="*/ 4090628 h 5392467"/>
              <a:gd name="connsiteX3127" fmla="*/ 5323689 w 6096001"/>
              <a:gd name="connsiteY3127" fmla="*/ 4102233 h 5392467"/>
              <a:gd name="connsiteX3128" fmla="*/ 5302414 w 6096001"/>
              <a:gd name="connsiteY3128" fmla="*/ 4104166 h 5392467"/>
              <a:gd name="connsiteX3129" fmla="*/ 5298546 w 6096001"/>
              <a:gd name="connsiteY3129" fmla="*/ 4102233 h 5392467"/>
              <a:gd name="connsiteX3130" fmla="*/ 5292745 w 6096001"/>
              <a:gd name="connsiteY3130" fmla="*/ 4104166 h 5392467"/>
              <a:gd name="connsiteX3131" fmla="*/ 5259864 w 6096001"/>
              <a:gd name="connsiteY3131" fmla="*/ 4119639 h 5392467"/>
              <a:gd name="connsiteX3132" fmla="*/ 5250194 w 6096001"/>
              <a:gd name="connsiteY3132" fmla="*/ 4117706 h 5392467"/>
              <a:gd name="connsiteX3133" fmla="*/ 5253096 w 6096001"/>
              <a:gd name="connsiteY3133" fmla="*/ 4114805 h 5392467"/>
              <a:gd name="connsiteX3134" fmla="*/ 5255995 w 6096001"/>
              <a:gd name="connsiteY3134" fmla="*/ 4113838 h 5392467"/>
              <a:gd name="connsiteX3135" fmla="*/ 5254062 w 6096001"/>
              <a:gd name="connsiteY3135" fmla="*/ 4113838 h 5392467"/>
              <a:gd name="connsiteX3136" fmla="*/ 5253096 w 6096001"/>
              <a:gd name="connsiteY3136" fmla="*/ 4114805 h 5392467"/>
              <a:gd name="connsiteX3137" fmla="*/ 5246050 w 6096001"/>
              <a:gd name="connsiteY3137" fmla="*/ 4117154 h 5392467"/>
              <a:gd name="connsiteX3138" fmla="*/ 5244393 w 6096001"/>
              <a:gd name="connsiteY3138" fmla="*/ 4113838 h 5392467"/>
              <a:gd name="connsiteX3139" fmla="*/ 5242458 w 6096001"/>
              <a:gd name="connsiteY3139" fmla="*/ 4113838 h 5392467"/>
              <a:gd name="connsiteX3140" fmla="*/ 5242458 w 6096001"/>
              <a:gd name="connsiteY3140" fmla="*/ 4118672 h 5392467"/>
              <a:gd name="connsiteX3141" fmla="*/ 5240522 w 6096001"/>
              <a:gd name="connsiteY3141" fmla="*/ 4119639 h 5392467"/>
              <a:gd name="connsiteX3142" fmla="*/ 5242458 w 6096001"/>
              <a:gd name="connsiteY3142" fmla="*/ 4119639 h 5392467"/>
              <a:gd name="connsiteX3143" fmla="*/ 5246326 w 6096001"/>
              <a:gd name="connsiteY3143" fmla="*/ 4123507 h 5392467"/>
              <a:gd name="connsiteX3144" fmla="*/ 5238589 w 6096001"/>
              <a:gd name="connsiteY3144" fmla="*/ 4129311 h 5392467"/>
              <a:gd name="connsiteX3145" fmla="*/ 5223116 w 6096001"/>
              <a:gd name="connsiteY3145" fmla="*/ 4133179 h 5392467"/>
              <a:gd name="connsiteX3146" fmla="*/ 5219248 w 6096001"/>
              <a:gd name="connsiteY3146" fmla="*/ 4135112 h 5392467"/>
              <a:gd name="connsiteX3147" fmla="*/ 5197974 w 6096001"/>
              <a:gd name="connsiteY3147" fmla="*/ 4138980 h 5392467"/>
              <a:gd name="connsiteX3148" fmla="*/ 5180566 w 6096001"/>
              <a:gd name="connsiteY3148" fmla="*/ 4148652 h 5392467"/>
              <a:gd name="connsiteX3149" fmla="*/ 5174764 w 6096001"/>
              <a:gd name="connsiteY3149" fmla="*/ 4156388 h 5392467"/>
              <a:gd name="connsiteX3150" fmla="*/ 5101268 w 6096001"/>
              <a:gd name="connsiteY3150" fmla="*/ 4189267 h 5392467"/>
              <a:gd name="connsiteX3151" fmla="*/ 5095466 w 6096001"/>
              <a:gd name="connsiteY3151" fmla="*/ 4191200 h 5392467"/>
              <a:gd name="connsiteX3152" fmla="*/ 5049047 w 6096001"/>
              <a:gd name="connsiteY3152" fmla="*/ 4214410 h 5392467"/>
              <a:gd name="connsiteX3153" fmla="*/ 5035507 w 6096001"/>
              <a:gd name="connsiteY3153" fmla="*/ 4224082 h 5392467"/>
              <a:gd name="connsiteX3154" fmla="*/ 5014233 w 6096001"/>
              <a:gd name="connsiteY3154" fmla="*/ 4241488 h 5392467"/>
              <a:gd name="connsiteX3155" fmla="*/ 5058717 w 6096001"/>
              <a:gd name="connsiteY3155" fmla="*/ 4229883 h 5392467"/>
              <a:gd name="connsiteX3156" fmla="*/ 5085794 w 6096001"/>
              <a:gd name="connsiteY3156" fmla="*/ 4220214 h 5392467"/>
              <a:gd name="connsiteX3157" fmla="*/ 5093531 w 6096001"/>
              <a:gd name="connsiteY3157" fmla="*/ 4218278 h 5392467"/>
              <a:gd name="connsiteX3158" fmla="*/ 5161224 w 6096001"/>
              <a:gd name="connsiteY3158" fmla="*/ 4197004 h 5392467"/>
              <a:gd name="connsiteX3159" fmla="*/ 5180566 w 6096001"/>
              <a:gd name="connsiteY3159" fmla="*/ 4195069 h 5392467"/>
              <a:gd name="connsiteX3160" fmla="*/ 5211512 w 6096001"/>
              <a:gd name="connsiteY3160" fmla="*/ 4181531 h 5392467"/>
              <a:gd name="connsiteX3161" fmla="*/ 5267600 w 6096001"/>
              <a:gd name="connsiteY3161" fmla="*/ 4162190 h 5392467"/>
              <a:gd name="connsiteX3162" fmla="*/ 5300479 w 6096001"/>
              <a:gd name="connsiteY3162" fmla="*/ 4154453 h 5392467"/>
              <a:gd name="connsiteX3163" fmla="*/ 5288877 w 6096001"/>
              <a:gd name="connsiteY3163" fmla="*/ 4166058 h 5392467"/>
              <a:gd name="connsiteX3164" fmla="*/ 5304350 w 6096001"/>
              <a:gd name="connsiteY3164" fmla="*/ 4166058 h 5392467"/>
              <a:gd name="connsiteX3165" fmla="*/ 5302414 w 6096001"/>
              <a:gd name="connsiteY3165" fmla="*/ 4177663 h 5392467"/>
              <a:gd name="connsiteX3166" fmla="*/ 5292745 w 6096001"/>
              <a:gd name="connsiteY3166" fmla="*/ 4173794 h 5392467"/>
              <a:gd name="connsiteX3167" fmla="*/ 5288877 w 6096001"/>
              <a:gd name="connsiteY3167" fmla="*/ 4175727 h 5392467"/>
              <a:gd name="connsiteX3168" fmla="*/ 5261799 w 6096001"/>
              <a:gd name="connsiteY3168" fmla="*/ 4197004 h 5392467"/>
              <a:gd name="connsiteX3169" fmla="*/ 5192170 w 6096001"/>
              <a:gd name="connsiteY3169" fmla="*/ 4218278 h 5392467"/>
              <a:gd name="connsiteX3170" fmla="*/ 5182501 w 6096001"/>
              <a:gd name="connsiteY3170" fmla="*/ 4214410 h 5392467"/>
              <a:gd name="connsiteX3171" fmla="*/ 5149620 w 6096001"/>
              <a:gd name="connsiteY3171" fmla="*/ 4222146 h 5392467"/>
              <a:gd name="connsiteX3172" fmla="*/ 5132214 w 6096001"/>
              <a:gd name="connsiteY3172" fmla="*/ 4231818 h 5392467"/>
              <a:gd name="connsiteX3173" fmla="*/ 5112872 w 6096001"/>
              <a:gd name="connsiteY3173" fmla="*/ 4243423 h 5392467"/>
              <a:gd name="connsiteX3174" fmla="*/ 5130281 w 6096001"/>
              <a:gd name="connsiteY3174" fmla="*/ 4239552 h 5392467"/>
              <a:gd name="connsiteX3175" fmla="*/ 5109004 w 6096001"/>
              <a:gd name="connsiteY3175" fmla="*/ 4251157 h 5392467"/>
              <a:gd name="connsiteX3176" fmla="*/ 5101268 w 6096001"/>
              <a:gd name="connsiteY3176" fmla="*/ 4249224 h 5392467"/>
              <a:gd name="connsiteX3177" fmla="*/ 5085794 w 6096001"/>
              <a:gd name="connsiteY3177" fmla="*/ 4255028 h 5392467"/>
              <a:gd name="connsiteX3178" fmla="*/ 5085794 w 6096001"/>
              <a:gd name="connsiteY3178" fmla="*/ 4256961 h 5392467"/>
              <a:gd name="connsiteX3179" fmla="*/ 5066453 w 6096001"/>
              <a:gd name="connsiteY3179" fmla="*/ 4262762 h 5392467"/>
              <a:gd name="connsiteX3180" fmla="*/ 5068389 w 6096001"/>
              <a:gd name="connsiteY3180" fmla="*/ 4260829 h 5392467"/>
              <a:gd name="connsiteX3181" fmla="*/ 5025838 w 6096001"/>
              <a:gd name="connsiteY3181" fmla="*/ 4276302 h 5392467"/>
              <a:gd name="connsiteX3182" fmla="*/ 4944607 w 6096001"/>
              <a:gd name="connsiteY3182" fmla="*/ 4307248 h 5392467"/>
              <a:gd name="connsiteX3183" fmla="*/ 4828559 w 6096001"/>
              <a:gd name="connsiteY3183" fmla="*/ 4351732 h 5392467"/>
              <a:gd name="connsiteX3184" fmla="*/ 4805350 w 6096001"/>
              <a:gd name="connsiteY3184" fmla="*/ 4365270 h 5392467"/>
              <a:gd name="connsiteX3185" fmla="*/ 4795680 w 6096001"/>
              <a:gd name="connsiteY3185" fmla="*/ 4371073 h 5392467"/>
              <a:gd name="connsiteX3186" fmla="*/ 4772471 w 6096001"/>
              <a:gd name="connsiteY3186" fmla="*/ 4384611 h 5392467"/>
              <a:gd name="connsiteX3187" fmla="*/ 4753129 w 6096001"/>
              <a:gd name="connsiteY3187" fmla="*/ 4394283 h 5392467"/>
              <a:gd name="connsiteX3188" fmla="*/ 4648686 w 6096001"/>
              <a:gd name="connsiteY3188" fmla="*/ 4438766 h 5392467"/>
              <a:gd name="connsiteX3189" fmla="*/ 4617743 w 6096001"/>
              <a:gd name="connsiteY3189" fmla="*/ 4454239 h 5392467"/>
              <a:gd name="connsiteX3190" fmla="*/ 4557786 w 6096001"/>
              <a:gd name="connsiteY3190" fmla="*/ 4483250 h 5392467"/>
              <a:gd name="connsiteX3191" fmla="*/ 4548114 w 6096001"/>
              <a:gd name="connsiteY3191" fmla="*/ 4490987 h 5392467"/>
              <a:gd name="connsiteX3192" fmla="*/ 4553918 w 6096001"/>
              <a:gd name="connsiteY3192" fmla="*/ 4494855 h 5392467"/>
              <a:gd name="connsiteX3193" fmla="*/ 4540378 w 6096001"/>
              <a:gd name="connsiteY3193" fmla="*/ 4498723 h 5392467"/>
              <a:gd name="connsiteX3194" fmla="*/ 4517168 w 6096001"/>
              <a:gd name="connsiteY3194" fmla="*/ 4506460 h 5392467"/>
              <a:gd name="connsiteX3195" fmla="*/ 4486225 w 6096001"/>
              <a:gd name="connsiteY3195" fmla="*/ 4529669 h 5392467"/>
              <a:gd name="connsiteX3196" fmla="*/ 4435937 w 6096001"/>
              <a:gd name="connsiteY3196" fmla="*/ 4556747 h 5392467"/>
              <a:gd name="connsiteX3197" fmla="*/ 4381782 w 6096001"/>
              <a:gd name="connsiteY3197" fmla="*/ 4587693 h 5392467"/>
              <a:gd name="connsiteX3198" fmla="*/ 4374045 w 6096001"/>
              <a:gd name="connsiteY3198" fmla="*/ 4593494 h 5392467"/>
              <a:gd name="connsiteX3199" fmla="*/ 4346967 w 6096001"/>
              <a:gd name="connsiteY3199" fmla="*/ 4610903 h 5392467"/>
              <a:gd name="connsiteX3200" fmla="*/ 4234790 w 6096001"/>
              <a:gd name="connsiteY3200" fmla="*/ 4763695 h 5392467"/>
              <a:gd name="connsiteX3201" fmla="*/ 4203844 w 6096001"/>
              <a:gd name="connsiteY3201" fmla="*/ 4777233 h 5392467"/>
              <a:gd name="connsiteX3202" fmla="*/ 4196108 w 6096001"/>
              <a:gd name="connsiteY3202" fmla="*/ 4779168 h 5392467"/>
              <a:gd name="connsiteX3203" fmla="*/ 4182570 w 6096001"/>
              <a:gd name="connsiteY3203" fmla="*/ 4779168 h 5392467"/>
              <a:gd name="connsiteX3204" fmla="*/ 4178702 w 6096001"/>
              <a:gd name="connsiteY3204" fmla="*/ 4781101 h 5392467"/>
              <a:gd name="connsiteX3205" fmla="*/ 4176767 w 6096001"/>
              <a:gd name="connsiteY3205" fmla="*/ 4783037 h 5392467"/>
              <a:gd name="connsiteX3206" fmla="*/ 4099404 w 6096001"/>
              <a:gd name="connsiteY3206" fmla="*/ 4827520 h 5392467"/>
              <a:gd name="connsiteX3207" fmla="*/ 4052985 w 6096001"/>
              <a:gd name="connsiteY3207" fmla="*/ 4852665 h 5392467"/>
              <a:gd name="connsiteX3208" fmla="*/ 4002697 w 6096001"/>
              <a:gd name="connsiteY3208" fmla="*/ 4887477 h 5392467"/>
              <a:gd name="connsiteX3209" fmla="*/ 3964015 w 6096001"/>
              <a:gd name="connsiteY3209" fmla="*/ 4918426 h 5392467"/>
              <a:gd name="connsiteX3210" fmla="*/ 3904058 w 6096001"/>
              <a:gd name="connsiteY3210" fmla="*/ 4964842 h 5392467"/>
              <a:gd name="connsiteX3211" fmla="*/ 3844101 w 6096001"/>
              <a:gd name="connsiteY3211" fmla="*/ 5005460 h 5392467"/>
              <a:gd name="connsiteX3212" fmla="*/ 3809287 w 6096001"/>
              <a:gd name="connsiteY3212" fmla="*/ 5026734 h 5392467"/>
              <a:gd name="connsiteX3213" fmla="*/ 3733857 w 6096001"/>
              <a:gd name="connsiteY3213" fmla="*/ 5063482 h 5392467"/>
              <a:gd name="connsiteX3214" fmla="*/ 3724188 w 6096001"/>
              <a:gd name="connsiteY3214" fmla="*/ 5065417 h 5392467"/>
              <a:gd name="connsiteX3215" fmla="*/ 3670032 w 6096001"/>
              <a:gd name="connsiteY3215" fmla="*/ 5082823 h 5392467"/>
              <a:gd name="connsiteX3216" fmla="*/ 3615877 w 6096001"/>
              <a:gd name="connsiteY3216" fmla="*/ 5096361 h 5392467"/>
              <a:gd name="connsiteX3217" fmla="*/ 3590734 w 6096001"/>
              <a:gd name="connsiteY3217" fmla="*/ 5096361 h 5392467"/>
              <a:gd name="connsiteX3218" fmla="*/ 3586866 w 6096001"/>
              <a:gd name="connsiteY3218" fmla="*/ 5100229 h 5392467"/>
              <a:gd name="connsiteX3219" fmla="*/ 3567525 w 6096001"/>
              <a:gd name="connsiteY3219" fmla="*/ 5123438 h 5392467"/>
              <a:gd name="connsiteX3220" fmla="*/ 3540447 w 6096001"/>
              <a:gd name="connsiteY3220" fmla="*/ 5156320 h 5392467"/>
              <a:gd name="connsiteX3221" fmla="*/ 3536579 w 6096001"/>
              <a:gd name="connsiteY3221" fmla="*/ 5160188 h 5392467"/>
              <a:gd name="connsiteX3222" fmla="*/ 3484358 w 6096001"/>
              <a:gd name="connsiteY3222" fmla="*/ 5218209 h 5392467"/>
              <a:gd name="connsiteX3223" fmla="*/ 3478555 w 6096001"/>
              <a:gd name="connsiteY3223" fmla="*/ 5222078 h 5392467"/>
              <a:gd name="connsiteX3224" fmla="*/ 3484358 w 6096001"/>
              <a:gd name="connsiteY3224" fmla="*/ 5212408 h 5392467"/>
              <a:gd name="connsiteX3225" fmla="*/ 3546248 w 6096001"/>
              <a:gd name="connsiteY3225" fmla="*/ 5135043 h 5392467"/>
              <a:gd name="connsiteX3226" fmla="*/ 3581065 w 6096001"/>
              <a:gd name="connsiteY3226" fmla="*/ 5092495 h 5392467"/>
              <a:gd name="connsiteX3227" fmla="*/ 3567525 w 6096001"/>
              <a:gd name="connsiteY3227" fmla="*/ 5092495 h 5392467"/>
              <a:gd name="connsiteX3228" fmla="*/ 3555920 w 6096001"/>
              <a:gd name="connsiteY3228" fmla="*/ 5102164 h 5392467"/>
              <a:gd name="connsiteX3229" fmla="*/ 3561723 w 6096001"/>
              <a:gd name="connsiteY3229" fmla="*/ 5092495 h 5392467"/>
              <a:gd name="connsiteX3230" fmla="*/ 3557855 w 6096001"/>
              <a:gd name="connsiteY3230" fmla="*/ 5092495 h 5392467"/>
              <a:gd name="connsiteX3231" fmla="*/ 3548183 w 6096001"/>
              <a:gd name="connsiteY3231" fmla="*/ 5106032 h 5392467"/>
              <a:gd name="connsiteX3232" fmla="*/ 3542382 w 6096001"/>
              <a:gd name="connsiteY3232" fmla="*/ 5115702 h 5392467"/>
              <a:gd name="connsiteX3233" fmla="*/ 3526909 w 6096001"/>
              <a:gd name="connsiteY3233" fmla="*/ 5129242 h 5392467"/>
              <a:gd name="connsiteX3234" fmla="*/ 3490162 w 6096001"/>
              <a:gd name="connsiteY3234" fmla="*/ 5175661 h 5392467"/>
              <a:gd name="connsiteX3235" fmla="*/ 3478555 w 6096001"/>
              <a:gd name="connsiteY3235" fmla="*/ 5195000 h 5392467"/>
              <a:gd name="connsiteX3236" fmla="*/ 3468885 w 6096001"/>
              <a:gd name="connsiteY3236" fmla="*/ 5204672 h 5392467"/>
              <a:gd name="connsiteX3237" fmla="*/ 3455348 w 6096001"/>
              <a:gd name="connsiteY3237" fmla="*/ 5218209 h 5392467"/>
              <a:gd name="connsiteX3238" fmla="*/ 3439875 w 6096001"/>
              <a:gd name="connsiteY3238" fmla="*/ 5235618 h 5392467"/>
              <a:gd name="connsiteX3239" fmla="*/ 3430203 w 6096001"/>
              <a:gd name="connsiteY3239" fmla="*/ 5234005 h 5392467"/>
              <a:gd name="connsiteX3240" fmla="*/ 3432138 w 6096001"/>
              <a:gd name="connsiteY3240" fmla="*/ 5231747 h 5392467"/>
              <a:gd name="connsiteX3241" fmla="*/ 3429777 w 6096001"/>
              <a:gd name="connsiteY3241" fmla="*/ 5233934 h 5392467"/>
              <a:gd name="connsiteX3242" fmla="*/ 3428270 w 6096001"/>
              <a:gd name="connsiteY3242" fmla="*/ 5233683 h 5392467"/>
              <a:gd name="connsiteX3243" fmla="*/ 3453412 w 6096001"/>
              <a:gd name="connsiteY3243" fmla="*/ 5195000 h 5392467"/>
              <a:gd name="connsiteX3244" fmla="*/ 3497896 w 6096001"/>
              <a:gd name="connsiteY3244" fmla="*/ 5135043 h 5392467"/>
              <a:gd name="connsiteX3245" fmla="*/ 3499831 w 6096001"/>
              <a:gd name="connsiteY3245" fmla="*/ 5129242 h 5392467"/>
              <a:gd name="connsiteX3246" fmla="*/ 3486294 w 6096001"/>
              <a:gd name="connsiteY3246" fmla="*/ 5142780 h 5392467"/>
              <a:gd name="connsiteX3247" fmla="*/ 3488227 w 6096001"/>
              <a:gd name="connsiteY3247" fmla="*/ 5129242 h 5392467"/>
              <a:gd name="connsiteX3248" fmla="*/ 3484358 w 6096001"/>
              <a:gd name="connsiteY3248" fmla="*/ 5129242 h 5392467"/>
              <a:gd name="connsiteX3249" fmla="*/ 3463084 w 6096001"/>
              <a:gd name="connsiteY3249" fmla="*/ 5136978 h 5392467"/>
              <a:gd name="connsiteX3250" fmla="*/ 3428270 w 6096001"/>
              <a:gd name="connsiteY3250" fmla="*/ 5183395 h 5392467"/>
              <a:gd name="connsiteX3251" fmla="*/ 3426337 w 6096001"/>
              <a:gd name="connsiteY3251" fmla="*/ 5189199 h 5392467"/>
              <a:gd name="connsiteX3252" fmla="*/ 3443743 w 6096001"/>
              <a:gd name="connsiteY3252" fmla="*/ 5173726 h 5392467"/>
              <a:gd name="connsiteX3253" fmla="*/ 3439875 w 6096001"/>
              <a:gd name="connsiteY3253" fmla="*/ 5191132 h 5392467"/>
              <a:gd name="connsiteX3254" fmla="*/ 3449544 w 6096001"/>
              <a:gd name="connsiteY3254" fmla="*/ 5181462 h 5392467"/>
              <a:gd name="connsiteX3255" fmla="*/ 3470821 w 6096001"/>
              <a:gd name="connsiteY3255" fmla="*/ 5152451 h 5392467"/>
              <a:gd name="connsiteX3256" fmla="*/ 3484358 w 6096001"/>
              <a:gd name="connsiteY3256" fmla="*/ 5142780 h 5392467"/>
              <a:gd name="connsiteX3257" fmla="*/ 3441808 w 6096001"/>
              <a:gd name="connsiteY3257" fmla="*/ 5200804 h 5392467"/>
              <a:gd name="connsiteX3258" fmla="*/ 3434071 w 6096001"/>
              <a:gd name="connsiteY3258" fmla="*/ 5206605 h 5392467"/>
              <a:gd name="connsiteX3259" fmla="*/ 3434071 w 6096001"/>
              <a:gd name="connsiteY3259" fmla="*/ 5202736 h 5392467"/>
              <a:gd name="connsiteX3260" fmla="*/ 3437939 w 6096001"/>
              <a:gd name="connsiteY3260" fmla="*/ 5193067 h 5392467"/>
              <a:gd name="connsiteX3261" fmla="*/ 3432138 w 6096001"/>
              <a:gd name="connsiteY3261" fmla="*/ 5202736 h 5392467"/>
              <a:gd name="connsiteX3262" fmla="*/ 3422466 w 6096001"/>
              <a:gd name="connsiteY3262" fmla="*/ 5218209 h 5392467"/>
              <a:gd name="connsiteX3263" fmla="*/ 3428270 w 6096001"/>
              <a:gd name="connsiteY3263" fmla="*/ 5214341 h 5392467"/>
              <a:gd name="connsiteX3264" fmla="*/ 3399257 w 6096001"/>
              <a:gd name="connsiteY3264" fmla="*/ 5253024 h 5392467"/>
              <a:gd name="connsiteX3265" fmla="*/ 3401192 w 6096001"/>
              <a:gd name="connsiteY3265" fmla="*/ 5249156 h 5392467"/>
              <a:gd name="connsiteX3266" fmla="*/ 3393456 w 6096001"/>
              <a:gd name="connsiteY3266" fmla="*/ 5254957 h 5392467"/>
              <a:gd name="connsiteX3267" fmla="*/ 3381851 w 6096001"/>
              <a:gd name="connsiteY3267" fmla="*/ 5272365 h 5392467"/>
              <a:gd name="connsiteX3268" fmla="*/ 3364445 w 6096001"/>
              <a:gd name="connsiteY3268" fmla="*/ 5295575 h 5392467"/>
              <a:gd name="connsiteX3269" fmla="*/ 3372179 w 6096001"/>
              <a:gd name="connsiteY3269" fmla="*/ 5291706 h 5392467"/>
              <a:gd name="connsiteX3270" fmla="*/ 3362510 w 6096001"/>
              <a:gd name="connsiteY3270" fmla="*/ 5311048 h 5392467"/>
              <a:gd name="connsiteX3271" fmla="*/ 3360577 w 6096001"/>
              <a:gd name="connsiteY3271" fmla="*/ 5303311 h 5392467"/>
              <a:gd name="connsiteX3272" fmla="*/ 3354773 w 6096001"/>
              <a:gd name="connsiteY3272" fmla="*/ 5312981 h 5392467"/>
              <a:gd name="connsiteX3273" fmla="*/ 3348972 w 6096001"/>
              <a:gd name="connsiteY3273" fmla="*/ 5324585 h 5392467"/>
              <a:gd name="connsiteX3274" fmla="*/ 3339302 w 6096001"/>
              <a:gd name="connsiteY3274" fmla="*/ 5328454 h 5392467"/>
              <a:gd name="connsiteX3275" fmla="*/ 3331564 w 6096001"/>
              <a:gd name="connsiteY3275" fmla="*/ 5322652 h 5392467"/>
              <a:gd name="connsiteX3276" fmla="*/ 3331564 w 6096001"/>
              <a:gd name="connsiteY3276" fmla="*/ 5314916 h 5392467"/>
              <a:gd name="connsiteX3277" fmla="*/ 3329631 w 6096001"/>
              <a:gd name="connsiteY3277" fmla="*/ 5309112 h 5392467"/>
              <a:gd name="connsiteX3278" fmla="*/ 3323827 w 6096001"/>
              <a:gd name="connsiteY3278" fmla="*/ 5297508 h 5392467"/>
              <a:gd name="connsiteX3279" fmla="*/ 3310289 w 6096001"/>
              <a:gd name="connsiteY3279" fmla="*/ 5309112 h 5392467"/>
              <a:gd name="connsiteX3280" fmla="*/ 3310289 w 6096001"/>
              <a:gd name="connsiteY3280" fmla="*/ 5301376 h 5392467"/>
              <a:gd name="connsiteX3281" fmla="*/ 3314158 w 6096001"/>
              <a:gd name="connsiteY3281" fmla="*/ 5293639 h 5392467"/>
              <a:gd name="connsiteX3282" fmla="*/ 3306421 w 6096001"/>
              <a:gd name="connsiteY3282" fmla="*/ 5293639 h 5392467"/>
              <a:gd name="connsiteX3283" fmla="*/ 3302553 w 6096001"/>
              <a:gd name="connsiteY3283" fmla="*/ 5289771 h 5392467"/>
              <a:gd name="connsiteX3284" fmla="*/ 3300620 w 6096001"/>
              <a:gd name="connsiteY3284" fmla="*/ 5293639 h 5392467"/>
              <a:gd name="connsiteX3285" fmla="*/ 3290948 w 6096001"/>
              <a:gd name="connsiteY3285" fmla="*/ 5293639 h 5392467"/>
              <a:gd name="connsiteX3286" fmla="*/ 3290948 w 6096001"/>
              <a:gd name="connsiteY3286" fmla="*/ 5285905 h 5392467"/>
              <a:gd name="connsiteX3287" fmla="*/ 3298685 w 6096001"/>
              <a:gd name="connsiteY3287" fmla="*/ 5264629 h 5392467"/>
              <a:gd name="connsiteX3288" fmla="*/ 3294816 w 6096001"/>
              <a:gd name="connsiteY3288" fmla="*/ 5260760 h 5392467"/>
              <a:gd name="connsiteX3289" fmla="*/ 3294816 w 6096001"/>
              <a:gd name="connsiteY3289" fmla="*/ 5262696 h 5392467"/>
              <a:gd name="connsiteX3290" fmla="*/ 3290948 w 6096001"/>
              <a:gd name="connsiteY3290" fmla="*/ 5260760 h 5392467"/>
              <a:gd name="connsiteX3291" fmla="*/ 3290948 w 6096001"/>
              <a:gd name="connsiteY3291" fmla="*/ 5256892 h 5392467"/>
              <a:gd name="connsiteX3292" fmla="*/ 3277410 w 6096001"/>
              <a:gd name="connsiteY3292" fmla="*/ 5224013 h 5392467"/>
              <a:gd name="connsiteX3293" fmla="*/ 3275475 w 6096001"/>
              <a:gd name="connsiteY3293" fmla="*/ 5220145 h 5392467"/>
              <a:gd name="connsiteX3294" fmla="*/ 3275475 w 6096001"/>
              <a:gd name="connsiteY3294" fmla="*/ 5216277 h 5392467"/>
              <a:gd name="connsiteX3295" fmla="*/ 3275475 w 6096001"/>
              <a:gd name="connsiteY3295" fmla="*/ 5210473 h 5392467"/>
              <a:gd name="connsiteX3296" fmla="*/ 3273542 w 6096001"/>
              <a:gd name="connsiteY3296" fmla="*/ 5208540 h 5392467"/>
              <a:gd name="connsiteX3297" fmla="*/ 3267739 w 6096001"/>
              <a:gd name="connsiteY3297" fmla="*/ 5196935 h 5392467"/>
              <a:gd name="connsiteX3298" fmla="*/ 3254201 w 6096001"/>
              <a:gd name="connsiteY3298" fmla="*/ 5208540 h 5392467"/>
              <a:gd name="connsiteX3299" fmla="*/ 3254201 w 6096001"/>
              <a:gd name="connsiteY3299" fmla="*/ 5200804 h 5392467"/>
              <a:gd name="connsiteX3300" fmla="*/ 3254201 w 6096001"/>
              <a:gd name="connsiteY3300" fmla="*/ 5198871 h 5392467"/>
              <a:gd name="connsiteX3301" fmla="*/ 3252265 w 6096001"/>
              <a:gd name="connsiteY3301" fmla="*/ 5200804 h 5392467"/>
              <a:gd name="connsiteX3302" fmla="*/ 3250333 w 6096001"/>
              <a:gd name="connsiteY3302" fmla="*/ 5196935 h 5392467"/>
              <a:gd name="connsiteX3303" fmla="*/ 3254201 w 6096001"/>
              <a:gd name="connsiteY3303" fmla="*/ 5193067 h 5392467"/>
              <a:gd name="connsiteX3304" fmla="*/ 3256134 w 6096001"/>
              <a:gd name="connsiteY3304" fmla="*/ 5195000 h 5392467"/>
              <a:gd name="connsiteX3305" fmla="*/ 3256134 w 6096001"/>
              <a:gd name="connsiteY3305" fmla="*/ 5196935 h 5392467"/>
              <a:gd name="connsiteX3306" fmla="*/ 3258069 w 6096001"/>
              <a:gd name="connsiteY3306" fmla="*/ 5191132 h 5392467"/>
              <a:gd name="connsiteX3307" fmla="*/ 3250333 w 6096001"/>
              <a:gd name="connsiteY3307" fmla="*/ 5191132 h 5392467"/>
              <a:gd name="connsiteX3308" fmla="*/ 3246464 w 6096001"/>
              <a:gd name="connsiteY3308" fmla="*/ 5187263 h 5392467"/>
              <a:gd name="connsiteX3309" fmla="*/ 3244529 w 6096001"/>
              <a:gd name="connsiteY3309" fmla="*/ 5191132 h 5392467"/>
              <a:gd name="connsiteX3310" fmla="*/ 3234860 w 6096001"/>
              <a:gd name="connsiteY3310" fmla="*/ 5191132 h 5392467"/>
              <a:gd name="connsiteX3311" fmla="*/ 3234860 w 6096001"/>
              <a:gd name="connsiteY3311" fmla="*/ 5183395 h 5392467"/>
              <a:gd name="connsiteX3312" fmla="*/ 3242596 w 6096001"/>
              <a:gd name="connsiteY3312" fmla="*/ 5162121 h 5392467"/>
              <a:gd name="connsiteX3313" fmla="*/ 3223255 w 6096001"/>
              <a:gd name="connsiteY3313" fmla="*/ 5117637 h 5392467"/>
              <a:gd name="connsiteX3314" fmla="*/ 3221319 w 6096001"/>
              <a:gd name="connsiteY3314" fmla="*/ 5107965 h 5392467"/>
              <a:gd name="connsiteX3315" fmla="*/ 3201978 w 6096001"/>
              <a:gd name="connsiteY3315" fmla="*/ 5121505 h 5392467"/>
              <a:gd name="connsiteX3316" fmla="*/ 3203913 w 6096001"/>
              <a:gd name="connsiteY3316" fmla="*/ 5113769 h 5392467"/>
              <a:gd name="connsiteX3317" fmla="*/ 3221319 w 6096001"/>
              <a:gd name="connsiteY3317" fmla="*/ 5098296 h 5392467"/>
              <a:gd name="connsiteX3318" fmla="*/ 3225188 w 6096001"/>
              <a:gd name="connsiteY3318" fmla="*/ 5082823 h 5392467"/>
              <a:gd name="connsiteX3319" fmla="*/ 3227123 w 6096001"/>
              <a:gd name="connsiteY3319" fmla="*/ 5077019 h 5392467"/>
              <a:gd name="connsiteX3320" fmla="*/ 3225188 w 6096001"/>
              <a:gd name="connsiteY3320" fmla="*/ 5077019 h 5392467"/>
              <a:gd name="connsiteX3321" fmla="*/ 3198110 w 6096001"/>
              <a:gd name="connsiteY3321" fmla="*/ 5063482 h 5392467"/>
              <a:gd name="connsiteX3322" fmla="*/ 3215518 w 6096001"/>
              <a:gd name="connsiteY3322" fmla="*/ 5042207 h 5392467"/>
              <a:gd name="connsiteX3323" fmla="*/ 3217451 w 6096001"/>
              <a:gd name="connsiteY3323" fmla="*/ 5036404 h 5392467"/>
              <a:gd name="connsiteX3324" fmla="*/ 3211650 w 6096001"/>
              <a:gd name="connsiteY3324" fmla="*/ 5028667 h 5392467"/>
              <a:gd name="connsiteX3325" fmla="*/ 3219387 w 6096001"/>
              <a:gd name="connsiteY3325" fmla="*/ 5024801 h 5392467"/>
              <a:gd name="connsiteX3326" fmla="*/ 3219387 w 6096001"/>
              <a:gd name="connsiteY3326" fmla="*/ 5022866 h 5392467"/>
              <a:gd name="connsiteX3327" fmla="*/ 3215518 w 6096001"/>
              <a:gd name="connsiteY3327" fmla="*/ 5018998 h 5392467"/>
              <a:gd name="connsiteX3328" fmla="*/ 3203913 w 6096001"/>
              <a:gd name="connsiteY3328" fmla="*/ 5009326 h 5392467"/>
              <a:gd name="connsiteX3329" fmla="*/ 3196177 w 6096001"/>
              <a:gd name="connsiteY3329" fmla="*/ 4999657 h 5392467"/>
              <a:gd name="connsiteX3330" fmla="*/ 3167166 w 6096001"/>
              <a:gd name="connsiteY3330" fmla="*/ 5015130 h 5392467"/>
              <a:gd name="connsiteX3331" fmla="*/ 3184572 w 6096001"/>
              <a:gd name="connsiteY3331" fmla="*/ 4999657 h 5392467"/>
              <a:gd name="connsiteX3332" fmla="*/ 3184572 w 6096001"/>
              <a:gd name="connsiteY3332" fmla="*/ 4995788 h 5392467"/>
              <a:gd name="connsiteX3333" fmla="*/ 3203913 w 6096001"/>
              <a:gd name="connsiteY3333" fmla="*/ 4974512 h 5392467"/>
              <a:gd name="connsiteX3334" fmla="*/ 3219387 w 6096001"/>
              <a:gd name="connsiteY3334" fmla="*/ 4959041 h 5392467"/>
              <a:gd name="connsiteX3335" fmla="*/ 3213585 w 6096001"/>
              <a:gd name="connsiteY3335" fmla="*/ 4953237 h 5392467"/>
              <a:gd name="connsiteX3336" fmla="*/ 3211650 w 6096001"/>
              <a:gd name="connsiteY3336" fmla="*/ 4955173 h 5392467"/>
              <a:gd name="connsiteX3337" fmla="*/ 3176836 w 6096001"/>
              <a:gd name="connsiteY3337" fmla="*/ 4988052 h 5392467"/>
              <a:gd name="connsiteX3338" fmla="*/ 3173291 w 6096001"/>
              <a:gd name="connsiteY3338" fmla="*/ 4990416 h 5392467"/>
              <a:gd name="connsiteX3339" fmla="*/ 3172967 w 6096001"/>
              <a:gd name="connsiteY3339" fmla="*/ 4989985 h 5392467"/>
              <a:gd name="connsiteX3340" fmla="*/ 3171034 w 6096001"/>
              <a:gd name="connsiteY3340" fmla="*/ 4991920 h 5392467"/>
              <a:gd name="connsiteX3341" fmla="*/ 3173291 w 6096001"/>
              <a:gd name="connsiteY3341" fmla="*/ 4990416 h 5392467"/>
              <a:gd name="connsiteX3342" fmla="*/ 3175144 w 6096001"/>
              <a:gd name="connsiteY3342" fmla="*/ 4992887 h 5392467"/>
              <a:gd name="connsiteX3343" fmla="*/ 3172967 w 6096001"/>
              <a:gd name="connsiteY3343" fmla="*/ 4995788 h 5392467"/>
              <a:gd name="connsiteX3344" fmla="*/ 3145892 w 6096001"/>
              <a:gd name="connsiteY3344" fmla="*/ 5017063 h 5392467"/>
              <a:gd name="connsiteX3345" fmla="*/ 3147825 w 6096001"/>
              <a:gd name="connsiteY3345" fmla="*/ 5009326 h 5392467"/>
              <a:gd name="connsiteX3346" fmla="*/ 3165231 w 6096001"/>
              <a:gd name="connsiteY3346" fmla="*/ 4993853 h 5392467"/>
              <a:gd name="connsiteX3347" fmla="*/ 3169099 w 6096001"/>
              <a:gd name="connsiteY3347" fmla="*/ 4986119 h 5392467"/>
              <a:gd name="connsiteX3348" fmla="*/ 3192309 w 6096001"/>
              <a:gd name="connsiteY3348" fmla="*/ 4962909 h 5392467"/>
              <a:gd name="connsiteX3349" fmla="*/ 3203913 w 6096001"/>
              <a:gd name="connsiteY3349" fmla="*/ 4951302 h 5392467"/>
              <a:gd name="connsiteX3350" fmla="*/ 3205849 w 6096001"/>
              <a:gd name="connsiteY3350" fmla="*/ 4949369 h 5392467"/>
              <a:gd name="connsiteX3351" fmla="*/ 3196177 w 6096001"/>
              <a:gd name="connsiteY3351" fmla="*/ 4941633 h 5392467"/>
              <a:gd name="connsiteX3352" fmla="*/ 3180704 w 6096001"/>
              <a:gd name="connsiteY3352" fmla="*/ 4947436 h 5392467"/>
              <a:gd name="connsiteX3353" fmla="*/ 3174903 w 6096001"/>
              <a:gd name="connsiteY3353" fmla="*/ 4953237 h 5392467"/>
              <a:gd name="connsiteX3354" fmla="*/ 3176836 w 6096001"/>
              <a:gd name="connsiteY3354" fmla="*/ 4960974 h 5392467"/>
              <a:gd name="connsiteX3355" fmla="*/ 3178771 w 6096001"/>
              <a:gd name="connsiteY3355" fmla="*/ 4960974 h 5392467"/>
              <a:gd name="connsiteX3356" fmla="*/ 3171034 w 6096001"/>
              <a:gd name="connsiteY3356" fmla="*/ 4972579 h 5392467"/>
              <a:gd name="connsiteX3357" fmla="*/ 3167166 w 6096001"/>
              <a:gd name="connsiteY3357" fmla="*/ 4972579 h 5392467"/>
              <a:gd name="connsiteX3358" fmla="*/ 3161363 w 6096001"/>
              <a:gd name="connsiteY3358" fmla="*/ 4978380 h 5392467"/>
              <a:gd name="connsiteX3359" fmla="*/ 3134285 w 6096001"/>
              <a:gd name="connsiteY3359" fmla="*/ 5001592 h 5392467"/>
              <a:gd name="connsiteX3360" fmla="*/ 3114944 w 6096001"/>
              <a:gd name="connsiteY3360" fmla="*/ 5013194 h 5392467"/>
              <a:gd name="connsiteX3361" fmla="*/ 3130417 w 6096001"/>
              <a:gd name="connsiteY3361" fmla="*/ 4988052 h 5392467"/>
              <a:gd name="connsiteX3362" fmla="*/ 3149758 w 6096001"/>
              <a:gd name="connsiteY3362" fmla="*/ 4976447 h 5392467"/>
              <a:gd name="connsiteX3363" fmla="*/ 3155561 w 6096001"/>
              <a:gd name="connsiteY3363" fmla="*/ 4970643 h 5392467"/>
              <a:gd name="connsiteX3364" fmla="*/ 3157494 w 6096001"/>
              <a:gd name="connsiteY3364" fmla="*/ 4968710 h 5392467"/>
              <a:gd name="connsiteX3365" fmla="*/ 3145892 w 6096001"/>
              <a:gd name="connsiteY3365" fmla="*/ 4957106 h 5392467"/>
              <a:gd name="connsiteX3366" fmla="*/ 3157494 w 6096001"/>
              <a:gd name="connsiteY3366" fmla="*/ 4939700 h 5392467"/>
              <a:gd name="connsiteX3367" fmla="*/ 3147825 w 6096001"/>
              <a:gd name="connsiteY3367" fmla="*/ 4937764 h 5392467"/>
              <a:gd name="connsiteX3368" fmla="*/ 3132352 w 6096001"/>
              <a:gd name="connsiteY3368" fmla="*/ 4953237 h 5392467"/>
              <a:gd name="connsiteX3369" fmla="*/ 3116879 w 6096001"/>
              <a:gd name="connsiteY3369" fmla="*/ 4951302 h 5392467"/>
              <a:gd name="connsiteX3370" fmla="*/ 3116879 w 6096001"/>
              <a:gd name="connsiteY3370" fmla="*/ 4945501 h 5392467"/>
              <a:gd name="connsiteX3371" fmla="*/ 3126551 w 6096001"/>
              <a:gd name="connsiteY3371" fmla="*/ 4931963 h 5392467"/>
              <a:gd name="connsiteX3372" fmla="*/ 3109142 w 6096001"/>
              <a:gd name="connsiteY3372" fmla="*/ 4941633 h 5392467"/>
              <a:gd name="connsiteX3373" fmla="*/ 3113011 w 6096001"/>
              <a:gd name="connsiteY3373" fmla="*/ 4926160 h 5392467"/>
              <a:gd name="connsiteX3374" fmla="*/ 3103341 w 6096001"/>
              <a:gd name="connsiteY3374" fmla="*/ 4931963 h 5392467"/>
              <a:gd name="connsiteX3375" fmla="*/ 3105274 w 6096001"/>
              <a:gd name="connsiteY3375" fmla="*/ 4926160 h 5392467"/>
              <a:gd name="connsiteX3376" fmla="*/ 3087868 w 6096001"/>
              <a:gd name="connsiteY3376" fmla="*/ 4941633 h 5392467"/>
              <a:gd name="connsiteX3377" fmla="*/ 3085933 w 6096001"/>
              <a:gd name="connsiteY3377" fmla="*/ 4943567 h 5392467"/>
              <a:gd name="connsiteX3378" fmla="*/ 3087384 w 6096001"/>
              <a:gd name="connsiteY3378" fmla="*/ 4941150 h 5392467"/>
              <a:gd name="connsiteX3379" fmla="*/ 3091734 w 6096001"/>
              <a:gd name="connsiteY3379" fmla="*/ 4935832 h 5392467"/>
              <a:gd name="connsiteX3380" fmla="*/ 3087868 w 6096001"/>
              <a:gd name="connsiteY3380" fmla="*/ 4937764 h 5392467"/>
              <a:gd name="connsiteX3381" fmla="*/ 3076263 w 6096001"/>
              <a:gd name="connsiteY3381" fmla="*/ 4930028 h 5392467"/>
              <a:gd name="connsiteX3382" fmla="*/ 3074328 w 6096001"/>
              <a:gd name="connsiteY3382" fmla="*/ 4930028 h 5392467"/>
              <a:gd name="connsiteX3383" fmla="*/ 3064659 w 6096001"/>
              <a:gd name="connsiteY3383" fmla="*/ 4935832 h 5392467"/>
              <a:gd name="connsiteX3384" fmla="*/ 3064659 w 6096001"/>
              <a:gd name="connsiteY3384" fmla="*/ 4933896 h 5392467"/>
              <a:gd name="connsiteX3385" fmla="*/ 3006635 w 6096001"/>
              <a:gd name="connsiteY3385" fmla="*/ 4976447 h 5392467"/>
              <a:gd name="connsiteX3386" fmla="*/ 2998898 w 6096001"/>
              <a:gd name="connsiteY3386" fmla="*/ 4984184 h 5392467"/>
              <a:gd name="connsiteX3387" fmla="*/ 3012438 w 6096001"/>
              <a:gd name="connsiteY3387" fmla="*/ 4986119 h 5392467"/>
              <a:gd name="connsiteX3388" fmla="*/ 3033713 w 6096001"/>
              <a:gd name="connsiteY3388" fmla="*/ 4970643 h 5392467"/>
              <a:gd name="connsiteX3389" fmla="*/ 3027909 w 6096001"/>
              <a:gd name="connsiteY3389" fmla="*/ 4986119 h 5392467"/>
              <a:gd name="connsiteX3390" fmla="*/ 3033713 w 6096001"/>
              <a:gd name="connsiteY3390" fmla="*/ 4986119 h 5392467"/>
              <a:gd name="connsiteX3391" fmla="*/ 3041449 w 6096001"/>
              <a:gd name="connsiteY3391" fmla="*/ 4976447 h 5392467"/>
              <a:gd name="connsiteX3392" fmla="*/ 3041449 w 6096001"/>
              <a:gd name="connsiteY3392" fmla="*/ 4974512 h 5392467"/>
              <a:gd name="connsiteX3393" fmla="*/ 3045317 w 6096001"/>
              <a:gd name="connsiteY3393" fmla="*/ 4972579 h 5392467"/>
              <a:gd name="connsiteX3394" fmla="*/ 3053054 w 6096001"/>
              <a:gd name="connsiteY3394" fmla="*/ 4966778 h 5392467"/>
              <a:gd name="connsiteX3395" fmla="*/ 3060790 w 6096001"/>
              <a:gd name="connsiteY3395" fmla="*/ 4962909 h 5392467"/>
              <a:gd name="connsiteX3396" fmla="*/ 3068527 w 6096001"/>
              <a:gd name="connsiteY3396" fmla="*/ 4959041 h 5392467"/>
              <a:gd name="connsiteX3397" fmla="*/ 3053054 w 6096001"/>
              <a:gd name="connsiteY3397" fmla="*/ 4978380 h 5392467"/>
              <a:gd name="connsiteX3398" fmla="*/ 3049186 w 6096001"/>
              <a:gd name="connsiteY3398" fmla="*/ 4978380 h 5392467"/>
              <a:gd name="connsiteX3399" fmla="*/ 3047250 w 6096001"/>
              <a:gd name="connsiteY3399" fmla="*/ 4978380 h 5392467"/>
              <a:gd name="connsiteX3400" fmla="*/ 3043382 w 6096001"/>
              <a:gd name="connsiteY3400" fmla="*/ 4995788 h 5392467"/>
              <a:gd name="connsiteX3401" fmla="*/ 3058857 w 6096001"/>
              <a:gd name="connsiteY3401" fmla="*/ 4980315 h 5392467"/>
              <a:gd name="connsiteX3402" fmla="*/ 3074328 w 6096001"/>
              <a:gd name="connsiteY3402" fmla="*/ 4966778 h 5392467"/>
              <a:gd name="connsiteX3403" fmla="*/ 3078196 w 6096001"/>
              <a:gd name="connsiteY3403" fmla="*/ 4972579 h 5392467"/>
              <a:gd name="connsiteX3404" fmla="*/ 3051118 w 6096001"/>
              <a:gd name="connsiteY3404" fmla="*/ 5018998 h 5392467"/>
              <a:gd name="connsiteX3405" fmla="*/ 3043382 w 6096001"/>
              <a:gd name="connsiteY3405" fmla="*/ 5018998 h 5392467"/>
              <a:gd name="connsiteX3406" fmla="*/ 3031780 w 6096001"/>
              <a:gd name="connsiteY3406" fmla="*/ 5034471 h 5392467"/>
              <a:gd name="connsiteX3407" fmla="*/ 3033713 w 6096001"/>
              <a:gd name="connsiteY3407" fmla="*/ 5040272 h 5392467"/>
              <a:gd name="connsiteX3408" fmla="*/ 3039516 w 6096001"/>
              <a:gd name="connsiteY3408" fmla="*/ 5028667 h 5392467"/>
              <a:gd name="connsiteX3409" fmla="*/ 3043382 w 6096001"/>
              <a:gd name="connsiteY3409" fmla="*/ 5026734 h 5392467"/>
              <a:gd name="connsiteX3410" fmla="*/ 3049186 w 6096001"/>
              <a:gd name="connsiteY3410" fmla="*/ 5034471 h 5392467"/>
              <a:gd name="connsiteX3411" fmla="*/ 3041449 w 6096001"/>
              <a:gd name="connsiteY3411" fmla="*/ 5059613 h 5392467"/>
              <a:gd name="connsiteX3412" fmla="*/ 3043382 w 6096001"/>
              <a:gd name="connsiteY3412" fmla="*/ 5084756 h 5392467"/>
              <a:gd name="connsiteX3413" fmla="*/ 3049186 w 6096001"/>
              <a:gd name="connsiteY3413" fmla="*/ 5088626 h 5392467"/>
              <a:gd name="connsiteX3414" fmla="*/ 3045800 w 6096001"/>
              <a:gd name="connsiteY3414" fmla="*/ 5096119 h 5392467"/>
              <a:gd name="connsiteX3415" fmla="*/ 3034689 w 6096001"/>
              <a:gd name="connsiteY3415" fmla="*/ 5107009 h 5392467"/>
              <a:gd name="connsiteX3416" fmla="*/ 3033713 w 6096001"/>
              <a:gd name="connsiteY3416" fmla="*/ 5106032 h 5392467"/>
              <a:gd name="connsiteX3417" fmla="*/ 3033713 w 6096001"/>
              <a:gd name="connsiteY3417" fmla="*/ 5104097 h 5392467"/>
              <a:gd name="connsiteX3418" fmla="*/ 3029844 w 6096001"/>
              <a:gd name="connsiteY3418" fmla="*/ 5107965 h 5392467"/>
              <a:gd name="connsiteX3419" fmla="*/ 3033713 w 6096001"/>
              <a:gd name="connsiteY3419" fmla="*/ 5108933 h 5392467"/>
              <a:gd name="connsiteX3420" fmla="*/ 3033713 w 6096001"/>
              <a:gd name="connsiteY3420" fmla="*/ 5109901 h 5392467"/>
              <a:gd name="connsiteX3421" fmla="*/ 3037581 w 6096001"/>
              <a:gd name="connsiteY3421" fmla="*/ 5109901 h 5392467"/>
              <a:gd name="connsiteX3422" fmla="*/ 3043382 w 6096001"/>
              <a:gd name="connsiteY3422" fmla="*/ 5109901 h 5392467"/>
              <a:gd name="connsiteX3423" fmla="*/ 3043382 w 6096001"/>
              <a:gd name="connsiteY3423" fmla="*/ 5113769 h 5392467"/>
              <a:gd name="connsiteX3424" fmla="*/ 3042975 w 6096001"/>
              <a:gd name="connsiteY3424" fmla="*/ 5114379 h 5392467"/>
              <a:gd name="connsiteX3425" fmla="*/ 3041449 w 6096001"/>
              <a:gd name="connsiteY3425" fmla="*/ 5111836 h 5392467"/>
              <a:gd name="connsiteX3426" fmla="*/ 3041449 w 6096001"/>
              <a:gd name="connsiteY3426" fmla="*/ 5116669 h 5392467"/>
              <a:gd name="connsiteX3427" fmla="*/ 3039516 w 6096001"/>
              <a:gd name="connsiteY3427" fmla="*/ 5119570 h 5392467"/>
              <a:gd name="connsiteX3428" fmla="*/ 3041449 w 6096001"/>
              <a:gd name="connsiteY3428" fmla="*/ 5120538 h 5392467"/>
              <a:gd name="connsiteX3429" fmla="*/ 3041449 w 6096001"/>
              <a:gd name="connsiteY3429" fmla="*/ 5122665 h 5392467"/>
              <a:gd name="connsiteX3430" fmla="*/ 3033713 w 6096001"/>
              <a:gd name="connsiteY3430" fmla="*/ 5127307 h 5392467"/>
              <a:gd name="connsiteX3431" fmla="*/ 3031780 w 6096001"/>
              <a:gd name="connsiteY3431" fmla="*/ 5125374 h 5392467"/>
              <a:gd name="connsiteX3432" fmla="*/ 2991162 w 6096001"/>
              <a:gd name="connsiteY3432" fmla="*/ 5160188 h 5392467"/>
              <a:gd name="connsiteX3433" fmla="*/ 2969888 w 6096001"/>
              <a:gd name="connsiteY3433" fmla="*/ 5171790 h 5392467"/>
              <a:gd name="connsiteX3434" fmla="*/ 2956347 w 6096001"/>
              <a:gd name="connsiteY3434" fmla="*/ 5177594 h 5392467"/>
              <a:gd name="connsiteX3435" fmla="*/ 2938941 w 6096001"/>
              <a:gd name="connsiteY3435" fmla="*/ 5164054 h 5392467"/>
              <a:gd name="connsiteX3436" fmla="*/ 2929272 w 6096001"/>
              <a:gd name="connsiteY3436" fmla="*/ 5138911 h 5392467"/>
              <a:gd name="connsiteX3437" fmla="*/ 2925404 w 6096001"/>
              <a:gd name="connsiteY3437" fmla="*/ 5123438 h 5392467"/>
              <a:gd name="connsiteX3438" fmla="*/ 2900259 w 6096001"/>
              <a:gd name="connsiteY3438" fmla="*/ 5127307 h 5392467"/>
              <a:gd name="connsiteX3439" fmla="*/ 2898326 w 6096001"/>
              <a:gd name="connsiteY3439" fmla="*/ 5121505 h 5392467"/>
              <a:gd name="connsiteX3440" fmla="*/ 2898326 w 6096001"/>
              <a:gd name="connsiteY3440" fmla="*/ 5117637 h 5392467"/>
              <a:gd name="connsiteX3441" fmla="*/ 2888654 w 6096001"/>
              <a:gd name="connsiteY3441" fmla="*/ 5127307 h 5392467"/>
              <a:gd name="connsiteX3442" fmla="*/ 2873181 w 6096001"/>
              <a:gd name="connsiteY3442" fmla="*/ 5136978 h 5392467"/>
              <a:gd name="connsiteX3443" fmla="*/ 2871248 w 6096001"/>
              <a:gd name="connsiteY3443" fmla="*/ 5135043 h 5392467"/>
              <a:gd name="connsiteX3444" fmla="*/ 2875116 w 6096001"/>
              <a:gd name="connsiteY3444" fmla="*/ 5121505 h 5392467"/>
              <a:gd name="connsiteX3445" fmla="*/ 2855775 w 6096001"/>
              <a:gd name="connsiteY3445" fmla="*/ 5136978 h 5392467"/>
              <a:gd name="connsiteX3446" fmla="*/ 2844170 w 6096001"/>
              <a:gd name="connsiteY3446" fmla="*/ 5158253 h 5392467"/>
              <a:gd name="connsiteX3447" fmla="*/ 2840101 w 6096001"/>
              <a:gd name="connsiteY3447" fmla="*/ 5153312 h 5392467"/>
              <a:gd name="connsiteX3448" fmla="*/ 2842237 w 6096001"/>
              <a:gd name="connsiteY3448" fmla="*/ 5148583 h 5392467"/>
              <a:gd name="connsiteX3449" fmla="*/ 2838602 w 6096001"/>
              <a:gd name="connsiteY3449" fmla="*/ 5151491 h 5392467"/>
              <a:gd name="connsiteX3450" fmla="*/ 2834016 w 6096001"/>
              <a:gd name="connsiteY3450" fmla="*/ 5145923 h 5392467"/>
              <a:gd name="connsiteX3451" fmla="*/ 2820961 w 6096001"/>
              <a:gd name="connsiteY3451" fmla="*/ 5152451 h 5392467"/>
              <a:gd name="connsiteX3452" fmla="*/ 2811291 w 6096001"/>
              <a:gd name="connsiteY3452" fmla="*/ 5160188 h 5392467"/>
              <a:gd name="connsiteX3453" fmla="*/ 2797754 w 6096001"/>
              <a:gd name="connsiteY3453" fmla="*/ 5146648 h 5392467"/>
              <a:gd name="connsiteX3454" fmla="*/ 2786147 w 6096001"/>
              <a:gd name="connsiteY3454" fmla="*/ 5164054 h 5392467"/>
              <a:gd name="connsiteX3455" fmla="*/ 2790015 w 6096001"/>
              <a:gd name="connsiteY3455" fmla="*/ 5169857 h 5392467"/>
              <a:gd name="connsiteX3456" fmla="*/ 2788082 w 6096001"/>
              <a:gd name="connsiteY3456" fmla="*/ 5169857 h 5392467"/>
              <a:gd name="connsiteX3457" fmla="*/ 2741663 w 6096001"/>
              <a:gd name="connsiteY3457" fmla="*/ 5202736 h 5392467"/>
              <a:gd name="connsiteX3458" fmla="*/ 2739730 w 6096001"/>
              <a:gd name="connsiteY3458" fmla="*/ 5204672 h 5392467"/>
              <a:gd name="connsiteX3459" fmla="*/ 2730058 w 6096001"/>
              <a:gd name="connsiteY3459" fmla="*/ 5214341 h 5392467"/>
              <a:gd name="connsiteX3460" fmla="*/ 2710717 w 6096001"/>
              <a:gd name="connsiteY3460" fmla="*/ 5210473 h 5392467"/>
              <a:gd name="connsiteX3461" fmla="*/ 2712652 w 6096001"/>
              <a:gd name="connsiteY3461" fmla="*/ 5224013 h 5392467"/>
              <a:gd name="connsiteX3462" fmla="*/ 2679771 w 6096001"/>
              <a:gd name="connsiteY3462" fmla="*/ 5245287 h 5392467"/>
              <a:gd name="connsiteX3463" fmla="*/ 2677838 w 6096001"/>
              <a:gd name="connsiteY3463" fmla="*/ 5243354 h 5392467"/>
              <a:gd name="connsiteX3464" fmla="*/ 2685574 w 6096001"/>
              <a:gd name="connsiteY3464" fmla="*/ 5233683 h 5392467"/>
              <a:gd name="connsiteX3465" fmla="*/ 2683639 w 6096001"/>
              <a:gd name="connsiteY3465" fmla="*/ 5231747 h 5392467"/>
              <a:gd name="connsiteX3466" fmla="*/ 2654628 w 6096001"/>
              <a:gd name="connsiteY3466" fmla="*/ 5249156 h 5392467"/>
              <a:gd name="connsiteX3467" fmla="*/ 2656561 w 6096001"/>
              <a:gd name="connsiteY3467" fmla="*/ 5254957 h 5392467"/>
              <a:gd name="connsiteX3468" fmla="*/ 2654628 w 6096001"/>
              <a:gd name="connsiteY3468" fmla="*/ 5256892 h 5392467"/>
              <a:gd name="connsiteX3469" fmla="*/ 2650760 w 6096001"/>
              <a:gd name="connsiteY3469" fmla="*/ 5249156 h 5392467"/>
              <a:gd name="connsiteX3470" fmla="*/ 2635287 w 6096001"/>
              <a:gd name="connsiteY3470" fmla="*/ 5264629 h 5392467"/>
              <a:gd name="connsiteX3471" fmla="*/ 2631419 w 6096001"/>
              <a:gd name="connsiteY3471" fmla="*/ 5266564 h 5392467"/>
              <a:gd name="connsiteX3472" fmla="*/ 2614013 w 6096001"/>
              <a:gd name="connsiteY3472" fmla="*/ 5272365 h 5392467"/>
              <a:gd name="connsiteX3473" fmla="*/ 2600473 w 6096001"/>
              <a:gd name="connsiteY3473" fmla="*/ 5285905 h 5392467"/>
              <a:gd name="connsiteX3474" fmla="*/ 2579199 w 6096001"/>
              <a:gd name="connsiteY3474" fmla="*/ 5299443 h 5392467"/>
              <a:gd name="connsiteX3475" fmla="*/ 2586935 w 6096001"/>
              <a:gd name="connsiteY3475" fmla="*/ 5289771 h 5392467"/>
              <a:gd name="connsiteX3476" fmla="*/ 2573395 w 6096001"/>
              <a:gd name="connsiteY3476" fmla="*/ 5291706 h 5392467"/>
              <a:gd name="connsiteX3477" fmla="*/ 2571462 w 6096001"/>
              <a:gd name="connsiteY3477" fmla="*/ 5283970 h 5392467"/>
              <a:gd name="connsiteX3478" fmla="*/ 2548253 w 6096001"/>
              <a:gd name="connsiteY3478" fmla="*/ 5295575 h 5392467"/>
              <a:gd name="connsiteX3479" fmla="*/ 2544384 w 6096001"/>
              <a:gd name="connsiteY3479" fmla="*/ 5289771 h 5392467"/>
              <a:gd name="connsiteX3480" fmla="*/ 2542451 w 6096001"/>
              <a:gd name="connsiteY3480" fmla="*/ 5291706 h 5392467"/>
              <a:gd name="connsiteX3481" fmla="*/ 2519242 w 6096001"/>
              <a:gd name="connsiteY3481" fmla="*/ 5309112 h 5392467"/>
              <a:gd name="connsiteX3482" fmla="*/ 2507636 w 6096001"/>
              <a:gd name="connsiteY3482" fmla="*/ 5314916 h 5392467"/>
              <a:gd name="connsiteX3483" fmla="*/ 2495066 w 6096001"/>
              <a:gd name="connsiteY3483" fmla="*/ 5313223 h 5392467"/>
              <a:gd name="connsiteX3484" fmla="*/ 2488296 w 6096001"/>
              <a:gd name="connsiteY3484" fmla="*/ 5324585 h 5392467"/>
              <a:gd name="connsiteX3485" fmla="*/ 2501533 w 6096001"/>
              <a:gd name="connsiteY3485" fmla="*/ 5317968 h 5392467"/>
              <a:gd name="connsiteX3486" fmla="*/ 2492164 w 6096001"/>
              <a:gd name="connsiteY3486" fmla="*/ 5322652 h 5392467"/>
              <a:gd name="connsiteX3487" fmla="*/ 2494099 w 6096001"/>
              <a:gd name="connsiteY3487" fmla="*/ 5332322 h 5392467"/>
              <a:gd name="connsiteX3488" fmla="*/ 2492164 w 6096001"/>
              <a:gd name="connsiteY3488" fmla="*/ 5340058 h 5392467"/>
              <a:gd name="connsiteX3489" fmla="*/ 2482492 w 6096001"/>
              <a:gd name="connsiteY3489" fmla="*/ 5347795 h 5392467"/>
              <a:gd name="connsiteX3490" fmla="*/ 2441877 w 6096001"/>
              <a:gd name="connsiteY3490" fmla="*/ 5365201 h 5392467"/>
              <a:gd name="connsiteX3491" fmla="*/ 2455417 w 6096001"/>
              <a:gd name="connsiteY3491" fmla="*/ 5357464 h 5392467"/>
              <a:gd name="connsiteX3492" fmla="*/ 2457593 w 6096001"/>
              <a:gd name="connsiteY3492" fmla="*/ 5351663 h 5392467"/>
              <a:gd name="connsiteX3493" fmla="*/ 2459331 w 6096001"/>
              <a:gd name="connsiteY3493" fmla="*/ 5348881 h 5392467"/>
              <a:gd name="connsiteX3494" fmla="*/ 2470890 w 6096001"/>
              <a:gd name="connsiteY3494" fmla="*/ 5343927 h 5392467"/>
              <a:gd name="connsiteX3495" fmla="*/ 2466220 w 6096001"/>
              <a:gd name="connsiteY3495" fmla="*/ 5342526 h 5392467"/>
              <a:gd name="connsiteX3496" fmla="*/ 2472823 w 6096001"/>
              <a:gd name="connsiteY3496" fmla="*/ 5338123 h 5392467"/>
              <a:gd name="connsiteX3497" fmla="*/ 2462686 w 6096001"/>
              <a:gd name="connsiteY3497" fmla="*/ 5341466 h 5392467"/>
              <a:gd name="connsiteX3498" fmla="*/ 2461218 w 6096001"/>
              <a:gd name="connsiteY3498" fmla="*/ 5341025 h 5392467"/>
              <a:gd name="connsiteX3499" fmla="*/ 2460736 w 6096001"/>
              <a:gd name="connsiteY3499" fmla="*/ 5342109 h 5392467"/>
              <a:gd name="connsiteX3500" fmla="*/ 2450823 w 6096001"/>
              <a:gd name="connsiteY3500" fmla="*/ 5345378 h 5392467"/>
              <a:gd name="connsiteX3501" fmla="*/ 2430274 w 6096001"/>
              <a:gd name="connsiteY3501" fmla="*/ 5355531 h 5392467"/>
              <a:gd name="connsiteX3502" fmla="*/ 2385788 w 6096001"/>
              <a:gd name="connsiteY3502" fmla="*/ 5376806 h 5392467"/>
              <a:gd name="connsiteX3503" fmla="*/ 2341304 w 6096001"/>
              <a:gd name="connsiteY3503" fmla="*/ 5392279 h 5392467"/>
              <a:gd name="connsiteX3504" fmla="*/ 2366447 w 6096001"/>
              <a:gd name="connsiteY3504" fmla="*/ 5376806 h 5392467"/>
              <a:gd name="connsiteX3505" fmla="*/ 2395458 w 6096001"/>
              <a:gd name="connsiteY3505" fmla="*/ 5353598 h 5392467"/>
              <a:gd name="connsiteX3506" fmla="*/ 2354842 w 6096001"/>
              <a:gd name="connsiteY3506" fmla="*/ 5372940 h 5392467"/>
              <a:gd name="connsiteX3507" fmla="*/ 2350974 w 6096001"/>
              <a:gd name="connsiteY3507" fmla="*/ 5367136 h 5392467"/>
              <a:gd name="connsiteX3508" fmla="*/ 2335501 w 6096001"/>
              <a:gd name="connsiteY3508" fmla="*/ 5371004 h 5392467"/>
              <a:gd name="connsiteX3509" fmla="*/ 2333568 w 6096001"/>
              <a:gd name="connsiteY3509" fmla="*/ 5363268 h 5392467"/>
              <a:gd name="connsiteX3510" fmla="*/ 2291017 w 6096001"/>
              <a:gd name="connsiteY3510" fmla="*/ 5376806 h 5392467"/>
              <a:gd name="connsiteX3511" fmla="*/ 2312291 w 6096001"/>
              <a:gd name="connsiteY3511" fmla="*/ 5359400 h 5392467"/>
              <a:gd name="connsiteX3512" fmla="*/ 2285216 w 6096001"/>
              <a:gd name="connsiteY3512" fmla="*/ 5345862 h 5392467"/>
              <a:gd name="connsiteX3513" fmla="*/ 2298754 w 6096001"/>
              <a:gd name="connsiteY3513" fmla="*/ 5341991 h 5392467"/>
              <a:gd name="connsiteX3514" fmla="*/ 2275544 w 6096001"/>
              <a:gd name="connsiteY3514" fmla="*/ 5340058 h 5392467"/>
              <a:gd name="connsiteX3515" fmla="*/ 2254270 w 6096001"/>
              <a:gd name="connsiteY3515" fmla="*/ 5355531 h 5392467"/>
              <a:gd name="connsiteX3516" fmla="*/ 2267808 w 6096001"/>
              <a:gd name="connsiteY3516" fmla="*/ 5332322 h 5392467"/>
              <a:gd name="connsiteX3517" fmla="*/ 2250402 w 6096001"/>
              <a:gd name="connsiteY3517" fmla="*/ 5343927 h 5392467"/>
              <a:gd name="connsiteX3518" fmla="*/ 2260071 w 6096001"/>
              <a:gd name="connsiteY3518" fmla="*/ 5330389 h 5392467"/>
              <a:gd name="connsiteX3519" fmla="*/ 2248466 w 6096001"/>
              <a:gd name="connsiteY3519" fmla="*/ 5326521 h 5392467"/>
              <a:gd name="connsiteX3520" fmla="*/ 2267808 w 6096001"/>
              <a:gd name="connsiteY3520" fmla="*/ 5307179 h 5392467"/>
              <a:gd name="connsiteX3521" fmla="*/ 2258138 w 6096001"/>
              <a:gd name="connsiteY3521" fmla="*/ 5297508 h 5392467"/>
              <a:gd name="connsiteX3522" fmla="*/ 2238797 w 6096001"/>
              <a:gd name="connsiteY3522" fmla="*/ 5316849 h 5392467"/>
              <a:gd name="connsiteX3523" fmla="*/ 2234929 w 6096001"/>
              <a:gd name="connsiteY3523" fmla="*/ 5303311 h 5392467"/>
              <a:gd name="connsiteX3524" fmla="*/ 2242665 w 6096001"/>
              <a:gd name="connsiteY3524" fmla="*/ 5291706 h 5392467"/>
              <a:gd name="connsiteX3525" fmla="*/ 2223324 w 6096001"/>
              <a:gd name="connsiteY3525" fmla="*/ 5293639 h 5392467"/>
              <a:gd name="connsiteX3526" fmla="*/ 2225257 w 6096001"/>
              <a:gd name="connsiteY3526" fmla="*/ 5283970 h 5392467"/>
              <a:gd name="connsiteX3527" fmla="*/ 2217523 w 6096001"/>
              <a:gd name="connsiteY3527" fmla="*/ 5282035 h 5392467"/>
              <a:gd name="connsiteX3528" fmla="*/ 2234929 w 6096001"/>
              <a:gd name="connsiteY3528" fmla="*/ 5260760 h 5392467"/>
              <a:gd name="connsiteX3529" fmla="*/ 2236864 w 6096001"/>
              <a:gd name="connsiteY3529" fmla="*/ 5241419 h 5392467"/>
              <a:gd name="connsiteX3530" fmla="*/ 2207851 w 6096001"/>
              <a:gd name="connsiteY3530" fmla="*/ 5262696 h 5392467"/>
              <a:gd name="connsiteX3531" fmla="*/ 2180773 w 6096001"/>
              <a:gd name="connsiteY3531" fmla="*/ 5282035 h 5392467"/>
              <a:gd name="connsiteX3532" fmla="*/ 2173037 w 6096001"/>
              <a:gd name="connsiteY3532" fmla="*/ 5283970 h 5392467"/>
              <a:gd name="connsiteX3533" fmla="*/ 2182706 w 6096001"/>
              <a:gd name="connsiteY3533" fmla="*/ 5276233 h 5392467"/>
              <a:gd name="connsiteX3534" fmla="*/ 2180773 w 6096001"/>
              <a:gd name="connsiteY3534" fmla="*/ 5274298 h 5392467"/>
              <a:gd name="connsiteX3535" fmla="*/ 2165300 w 6096001"/>
              <a:gd name="connsiteY3535" fmla="*/ 5282035 h 5392467"/>
              <a:gd name="connsiteX3536" fmla="*/ 2207851 w 6096001"/>
              <a:gd name="connsiteY3536" fmla="*/ 5245287 h 5392467"/>
              <a:gd name="connsiteX3537" fmla="*/ 2213655 w 6096001"/>
              <a:gd name="connsiteY3537" fmla="*/ 5222078 h 5392467"/>
              <a:gd name="connsiteX3538" fmla="*/ 2205916 w 6096001"/>
              <a:gd name="connsiteY3538" fmla="*/ 5208540 h 5392467"/>
              <a:gd name="connsiteX3539" fmla="*/ 2196246 w 6096001"/>
              <a:gd name="connsiteY3539" fmla="*/ 5198871 h 5392467"/>
              <a:gd name="connsiteX3540" fmla="*/ 2163367 w 6096001"/>
              <a:gd name="connsiteY3540" fmla="*/ 5204672 h 5392467"/>
              <a:gd name="connsiteX3541" fmla="*/ 2171104 w 6096001"/>
              <a:gd name="connsiteY3541" fmla="*/ 5195000 h 5392467"/>
              <a:gd name="connsiteX3542" fmla="*/ 2124685 w 6096001"/>
              <a:gd name="connsiteY3542" fmla="*/ 5220145 h 5392467"/>
              <a:gd name="connsiteX3543" fmla="*/ 2144026 w 6096001"/>
              <a:gd name="connsiteY3543" fmla="*/ 5202736 h 5392467"/>
              <a:gd name="connsiteX3544" fmla="*/ 2165300 w 6096001"/>
              <a:gd name="connsiteY3544" fmla="*/ 5181462 h 5392467"/>
              <a:gd name="connsiteX3545" fmla="*/ 2138223 w 6096001"/>
              <a:gd name="connsiteY3545" fmla="*/ 5195000 h 5392467"/>
              <a:gd name="connsiteX3546" fmla="*/ 2113080 w 6096001"/>
              <a:gd name="connsiteY3546" fmla="*/ 5210473 h 5392467"/>
              <a:gd name="connsiteX3547" fmla="*/ 2149829 w 6096001"/>
              <a:gd name="connsiteY3547" fmla="*/ 5169857 h 5392467"/>
              <a:gd name="connsiteX3548" fmla="*/ 2147894 w 6096001"/>
              <a:gd name="connsiteY3548" fmla="*/ 5154384 h 5392467"/>
              <a:gd name="connsiteX3549" fmla="*/ 2138223 w 6096001"/>
              <a:gd name="connsiteY3549" fmla="*/ 5158253 h 5392467"/>
              <a:gd name="connsiteX3550" fmla="*/ 2140158 w 6096001"/>
              <a:gd name="connsiteY3550" fmla="*/ 5144713 h 5392467"/>
              <a:gd name="connsiteX3551" fmla="*/ 2107279 w 6096001"/>
              <a:gd name="connsiteY3551" fmla="*/ 5167922 h 5392467"/>
              <a:gd name="connsiteX3552" fmla="*/ 2105343 w 6096001"/>
              <a:gd name="connsiteY3552" fmla="*/ 5165989 h 5392467"/>
              <a:gd name="connsiteX3553" fmla="*/ 2118881 w 6096001"/>
              <a:gd name="connsiteY3553" fmla="*/ 5148583 h 5392467"/>
              <a:gd name="connsiteX3554" fmla="*/ 2107279 w 6096001"/>
              <a:gd name="connsiteY3554" fmla="*/ 5148583 h 5392467"/>
              <a:gd name="connsiteX3555" fmla="*/ 2132421 w 6096001"/>
              <a:gd name="connsiteY3555" fmla="*/ 5121505 h 5392467"/>
              <a:gd name="connsiteX3556" fmla="*/ 2118881 w 6096001"/>
              <a:gd name="connsiteY3556" fmla="*/ 5121505 h 5392467"/>
              <a:gd name="connsiteX3557" fmla="*/ 2124685 w 6096001"/>
              <a:gd name="connsiteY3557" fmla="*/ 5111836 h 5392467"/>
              <a:gd name="connsiteX3558" fmla="*/ 2105343 w 6096001"/>
              <a:gd name="connsiteY3558" fmla="*/ 5096361 h 5392467"/>
              <a:gd name="connsiteX3559" fmla="*/ 2115013 w 6096001"/>
              <a:gd name="connsiteY3559" fmla="*/ 5088626 h 5392467"/>
              <a:gd name="connsiteX3560" fmla="*/ 2113080 w 6096001"/>
              <a:gd name="connsiteY3560" fmla="*/ 5086691 h 5392467"/>
              <a:gd name="connsiteX3561" fmla="*/ 2099542 w 6096001"/>
              <a:gd name="connsiteY3561" fmla="*/ 5094428 h 5392467"/>
              <a:gd name="connsiteX3562" fmla="*/ 2097607 w 6096001"/>
              <a:gd name="connsiteY3562" fmla="*/ 5092495 h 5392467"/>
              <a:gd name="connsiteX3563" fmla="*/ 2126620 w 6096001"/>
              <a:gd name="connsiteY3563" fmla="*/ 5067350 h 5392467"/>
              <a:gd name="connsiteX3564" fmla="*/ 2134354 w 6096001"/>
              <a:gd name="connsiteY3564" fmla="*/ 5073153 h 5392467"/>
              <a:gd name="connsiteX3565" fmla="*/ 2136290 w 6096001"/>
              <a:gd name="connsiteY3565" fmla="*/ 5057678 h 5392467"/>
              <a:gd name="connsiteX3566" fmla="*/ 2144026 w 6096001"/>
              <a:gd name="connsiteY3566" fmla="*/ 5030603 h 5392467"/>
              <a:gd name="connsiteX3567" fmla="*/ 2124685 w 6096001"/>
              <a:gd name="connsiteY3567" fmla="*/ 5018998 h 5392467"/>
              <a:gd name="connsiteX3568" fmla="*/ 2144026 w 6096001"/>
              <a:gd name="connsiteY3568" fmla="*/ 4993853 h 5392467"/>
              <a:gd name="connsiteX3569" fmla="*/ 2144026 w 6096001"/>
              <a:gd name="connsiteY3569" fmla="*/ 4991920 h 5392467"/>
              <a:gd name="connsiteX3570" fmla="*/ 2134354 w 6096001"/>
              <a:gd name="connsiteY3570" fmla="*/ 4993853 h 5392467"/>
              <a:gd name="connsiteX3571" fmla="*/ 2089870 w 6096001"/>
              <a:gd name="connsiteY3571" fmla="*/ 5024801 h 5392467"/>
              <a:gd name="connsiteX3572" fmla="*/ 2080201 w 6096001"/>
              <a:gd name="connsiteY3572" fmla="*/ 5028667 h 5392467"/>
              <a:gd name="connsiteX3573" fmla="*/ 2074397 w 6096001"/>
              <a:gd name="connsiteY3573" fmla="*/ 5030603 h 5392467"/>
              <a:gd name="connsiteX3574" fmla="*/ 2041518 w 6096001"/>
              <a:gd name="connsiteY3574" fmla="*/ 5048009 h 5392467"/>
              <a:gd name="connsiteX3575" fmla="*/ 1892592 w 6096001"/>
              <a:gd name="connsiteY3575" fmla="*/ 5044140 h 5392467"/>
              <a:gd name="connsiteX3576" fmla="*/ 1882197 w 6096001"/>
              <a:gd name="connsiteY3576" fmla="*/ 5050910 h 5392467"/>
              <a:gd name="connsiteX3577" fmla="*/ 1870196 w 6096001"/>
              <a:gd name="connsiteY3577" fmla="*/ 5051697 h 5392467"/>
              <a:gd name="connsiteX3578" fmla="*/ 1875186 w 6096001"/>
              <a:gd name="connsiteY3578" fmla="*/ 5048009 h 5392467"/>
              <a:gd name="connsiteX3579" fmla="*/ 1882922 w 6096001"/>
              <a:gd name="connsiteY3579" fmla="*/ 5042207 h 5392467"/>
              <a:gd name="connsiteX3580" fmla="*/ 1880987 w 6096001"/>
              <a:gd name="connsiteY3580" fmla="*/ 5040272 h 5392467"/>
              <a:gd name="connsiteX3581" fmla="*/ 1865516 w 6096001"/>
              <a:gd name="connsiteY3581" fmla="*/ 5048009 h 5392467"/>
              <a:gd name="connsiteX3582" fmla="*/ 1861646 w 6096001"/>
              <a:gd name="connsiteY3582" fmla="*/ 5042207 h 5392467"/>
              <a:gd name="connsiteX3583" fmla="*/ 1853909 w 6096001"/>
              <a:gd name="connsiteY3583" fmla="*/ 5051877 h 5392467"/>
              <a:gd name="connsiteX3584" fmla="*/ 1851976 w 6096001"/>
              <a:gd name="connsiteY3584" fmla="*/ 5057678 h 5392467"/>
              <a:gd name="connsiteX3585" fmla="*/ 1846700 w 6096001"/>
              <a:gd name="connsiteY3585" fmla="*/ 5060844 h 5392467"/>
              <a:gd name="connsiteX3586" fmla="*/ 1840371 w 6096001"/>
              <a:gd name="connsiteY3586" fmla="*/ 5059613 h 5392467"/>
              <a:gd name="connsiteX3587" fmla="*/ 1824898 w 6096001"/>
              <a:gd name="connsiteY3587" fmla="*/ 5069285 h 5392467"/>
              <a:gd name="connsiteX3588" fmla="*/ 1816196 w 6096001"/>
              <a:gd name="connsiteY3588" fmla="*/ 5074120 h 5392467"/>
              <a:gd name="connsiteX3589" fmla="*/ 1814721 w 6096001"/>
              <a:gd name="connsiteY3589" fmla="*/ 5079526 h 5392467"/>
              <a:gd name="connsiteX3590" fmla="*/ 1797821 w 6096001"/>
              <a:gd name="connsiteY3590" fmla="*/ 5088626 h 5392467"/>
              <a:gd name="connsiteX3591" fmla="*/ 1793470 w 6096001"/>
              <a:gd name="connsiteY3591" fmla="*/ 5093703 h 5392467"/>
              <a:gd name="connsiteX3592" fmla="*/ 1796901 w 6096001"/>
              <a:gd name="connsiteY3592" fmla="*/ 5098849 h 5392467"/>
              <a:gd name="connsiteX3593" fmla="*/ 1788151 w 6096001"/>
              <a:gd name="connsiteY3593" fmla="*/ 5104097 h 5392467"/>
              <a:gd name="connsiteX3594" fmla="*/ 1782350 w 6096001"/>
              <a:gd name="connsiteY3594" fmla="*/ 5096361 h 5392467"/>
              <a:gd name="connsiteX3595" fmla="*/ 1768810 w 6096001"/>
              <a:gd name="connsiteY3595" fmla="*/ 5115702 h 5392467"/>
              <a:gd name="connsiteX3596" fmla="*/ 1755272 w 6096001"/>
              <a:gd name="connsiteY3596" fmla="*/ 5123438 h 5392467"/>
              <a:gd name="connsiteX3597" fmla="*/ 1733996 w 6096001"/>
              <a:gd name="connsiteY3597" fmla="*/ 5133110 h 5392467"/>
              <a:gd name="connsiteX3598" fmla="*/ 1712721 w 6096001"/>
              <a:gd name="connsiteY3598" fmla="*/ 5135043 h 5392467"/>
              <a:gd name="connsiteX3599" fmla="*/ 1718523 w 6096001"/>
              <a:gd name="connsiteY3599" fmla="*/ 5142780 h 5392467"/>
              <a:gd name="connsiteX3600" fmla="*/ 1668238 w 6096001"/>
              <a:gd name="connsiteY3600" fmla="*/ 5171790 h 5392467"/>
              <a:gd name="connsiteX3601" fmla="*/ 1675974 w 6096001"/>
              <a:gd name="connsiteY3601" fmla="*/ 5164054 h 5392467"/>
              <a:gd name="connsiteX3602" fmla="*/ 1645028 w 6096001"/>
              <a:gd name="connsiteY3602" fmla="*/ 5179529 h 5392467"/>
              <a:gd name="connsiteX3603" fmla="*/ 1643093 w 6096001"/>
              <a:gd name="connsiteY3603" fmla="*/ 5181462 h 5392467"/>
              <a:gd name="connsiteX3604" fmla="*/ 1623752 w 6096001"/>
              <a:gd name="connsiteY3604" fmla="*/ 5195000 h 5392467"/>
              <a:gd name="connsiteX3605" fmla="*/ 1606346 w 6096001"/>
              <a:gd name="connsiteY3605" fmla="*/ 5204672 h 5392467"/>
              <a:gd name="connsiteX3606" fmla="*/ 1604410 w 6096001"/>
              <a:gd name="connsiteY3606" fmla="*/ 5196935 h 5392467"/>
              <a:gd name="connsiteX3607" fmla="*/ 1588940 w 6096001"/>
              <a:gd name="connsiteY3607" fmla="*/ 5210473 h 5392467"/>
              <a:gd name="connsiteX3608" fmla="*/ 1569598 w 6096001"/>
              <a:gd name="connsiteY3608" fmla="*/ 5220145 h 5392467"/>
              <a:gd name="connsiteX3609" fmla="*/ 1579268 w 6096001"/>
              <a:gd name="connsiteY3609" fmla="*/ 5208540 h 5392467"/>
              <a:gd name="connsiteX3610" fmla="*/ 1536717 w 6096001"/>
              <a:gd name="connsiteY3610" fmla="*/ 5222078 h 5392467"/>
              <a:gd name="connsiteX3611" fmla="*/ 1546389 w 6096001"/>
              <a:gd name="connsiteY3611" fmla="*/ 5212408 h 5392467"/>
              <a:gd name="connsiteX3612" fmla="*/ 1542521 w 6096001"/>
              <a:gd name="connsiteY3612" fmla="*/ 5210473 h 5392467"/>
              <a:gd name="connsiteX3613" fmla="*/ 1498037 w 6096001"/>
              <a:gd name="connsiteY3613" fmla="*/ 5231747 h 5392467"/>
              <a:gd name="connsiteX3614" fmla="*/ 1440013 w 6096001"/>
              <a:gd name="connsiteY3614" fmla="*/ 5258827 h 5392467"/>
              <a:gd name="connsiteX3615" fmla="*/ 1438078 w 6096001"/>
              <a:gd name="connsiteY3615" fmla="*/ 5258827 h 5392467"/>
              <a:gd name="connsiteX3616" fmla="*/ 1461787 w 6096001"/>
              <a:gd name="connsiteY3616" fmla="*/ 5243853 h 5392467"/>
              <a:gd name="connsiteX3617" fmla="*/ 1463222 w 6096001"/>
              <a:gd name="connsiteY3617" fmla="*/ 5245287 h 5392467"/>
              <a:gd name="connsiteX3618" fmla="*/ 1469024 w 6096001"/>
              <a:gd name="connsiteY3618" fmla="*/ 5241419 h 5392467"/>
              <a:gd name="connsiteX3619" fmla="*/ 1467713 w 6096001"/>
              <a:gd name="connsiteY3619" fmla="*/ 5240111 h 5392467"/>
              <a:gd name="connsiteX3620" fmla="*/ 1474827 w 6096001"/>
              <a:gd name="connsiteY3620" fmla="*/ 5235618 h 5392467"/>
              <a:gd name="connsiteX3621" fmla="*/ 1461287 w 6096001"/>
              <a:gd name="connsiteY3621" fmla="*/ 5231747 h 5392467"/>
              <a:gd name="connsiteX3622" fmla="*/ 1422605 w 6096001"/>
              <a:gd name="connsiteY3622" fmla="*/ 5247223 h 5392467"/>
              <a:gd name="connsiteX3623" fmla="*/ 1411002 w 6096001"/>
              <a:gd name="connsiteY3623" fmla="*/ 5249156 h 5392467"/>
              <a:gd name="connsiteX3624" fmla="*/ 1438078 w 6096001"/>
              <a:gd name="connsiteY3624" fmla="*/ 5225946 h 5392467"/>
              <a:gd name="connsiteX3625" fmla="*/ 1443881 w 6096001"/>
              <a:gd name="connsiteY3625" fmla="*/ 5222078 h 5392467"/>
              <a:gd name="connsiteX3626" fmla="*/ 1441946 w 6096001"/>
              <a:gd name="connsiteY3626" fmla="*/ 5220145 h 5392467"/>
              <a:gd name="connsiteX3627" fmla="*/ 1391661 w 6096001"/>
              <a:gd name="connsiteY3627" fmla="*/ 5243354 h 5392467"/>
              <a:gd name="connsiteX3628" fmla="*/ 1374253 w 6096001"/>
              <a:gd name="connsiteY3628" fmla="*/ 5233683 h 5392467"/>
              <a:gd name="connsiteX3629" fmla="*/ 1378121 w 6096001"/>
              <a:gd name="connsiteY3629" fmla="*/ 5239486 h 5392467"/>
              <a:gd name="connsiteX3630" fmla="*/ 1381989 w 6096001"/>
              <a:gd name="connsiteY3630" fmla="*/ 5247223 h 5392467"/>
              <a:gd name="connsiteX3631" fmla="*/ 1374253 w 6096001"/>
              <a:gd name="connsiteY3631" fmla="*/ 5253024 h 5392467"/>
              <a:gd name="connsiteX3632" fmla="*/ 1352978 w 6096001"/>
              <a:gd name="connsiteY3632" fmla="*/ 5258827 h 5392467"/>
              <a:gd name="connsiteX3633" fmla="*/ 1331702 w 6096001"/>
              <a:gd name="connsiteY3633" fmla="*/ 5268497 h 5392467"/>
              <a:gd name="connsiteX3634" fmla="*/ 1312361 w 6096001"/>
              <a:gd name="connsiteY3634" fmla="*/ 5276233 h 5392467"/>
              <a:gd name="connsiteX3635" fmla="*/ 1318164 w 6096001"/>
              <a:gd name="connsiteY3635" fmla="*/ 5266564 h 5392467"/>
              <a:gd name="connsiteX3636" fmla="*/ 1242734 w 6096001"/>
              <a:gd name="connsiteY3636" fmla="*/ 5303311 h 5392467"/>
              <a:gd name="connsiteX3637" fmla="*/ 1240801 w 6096001"/>
              <a:gd name="connsiteY3637" fmla="*/ 5291706 h 5392467"/>
              <a:gd name="connsiteX3638" fmla="*/ 1242734 w 6096001"/>
              <a:gd name="connsiteY3638" fmla="*/ 5289771 h 5392467"/>
              <a:gd name="connsiteX3639" fmla="*/ 1254339 w 6096001"/>
              <a:gd name="connsiteY3639" fmla="*/ 5289771 h 5392467"/>
              <a:gd name="connsiteX3640" fmla="*/ 1293019 w 6096001"/>
              <a:gd name="connsiteY3640" fmla="*/ 5270430 h 5392467"/>
              <a:gd name="connsiteX3641" fmla="*/ 1300758 w 6096001"/>
              <a:gd name="connsiteY3641" fmla="*/ 5266564 h 5392467"/>
              <a:gd name="connsiteX3642" fmla="*/ 1329769 w 6096001"/>
              <a:gd name="connsiteY3642" fmla="*/ 5247223 h 5392467"/>
              <a:gd name="connsiteX3643" fmla="*/ 1320097 w 6096001"/>
              <a:gd name="connsiteY3643" fmla="*/ 5247223 h 5392467"/>
              <a:gd name="connsiteX3644" fmla="*/ 1294955 w 6096001"/>
              <a:gd name="connsiteY3644" fmla="*/ 5256892 h 5392467"/>
              <a:gd name="connsiteX3645" fmla="*/ 1285285 w 6096001"/>
              <a:gd name="connsiteY3645" fmla="*/ 5254957 h 5392467"/>
              <a:gd name="connsiteX3646" fmla="*/ 1275613 w 6096001"/>
              <a:gd name="connsiteY3646" fmla="*/ 5247223 h 5392467"/>
              <a:gd name="connsiteX3647" fmla="*/ 1291086 w 6096001"/>
              <a:gd name="connsiteY3647" fmla="*/ 5227881 h 5392467"/>
              <a:gd name="connsiteX3648" fmla="*/ 1304626 w 6096001"/>
              <a:gd name="connsiteY3648" fmla="*/ 5237551 h 5392467"/>
              <a:gd name="connsiteX3649" fmla="*/ 1320097 w 6096001"/>
              <a:gd name="connsiteY3649" fmla="*/ 5224013 h 5392467"/>
              <a:gd name="connsiteX3650" fmla="*/ 1325901 w 6096001"/>
              <a:gd name="connsiteY3650" fmla="*/ 5212408 h 5392467"/>
              <a:gd name="connsiteX3651" fmla="*/ 1335570 w 6096001"/>
              <a:gd name="connsiteY3651" fmla="*/ 5212408 h 5392467"/>
              <a:gd name="connsiteX3652" fmla="*/ 1331702 w 6096001"/>
              <a:gd name="connsiteY3652" fmla="*/ 5198871 h 5392467"/>
              <a:gd name="connsiteX3653" fmla="*/ 1306559 w 6096001"/>
              <a:gd name="connsiteY3653" fmla="*/ 5204672 h 5392467"/>
              <a:gd name="connsiteX3654" fmla="*/ 1312361 w 6096001"/>
              <a:gd name="connsiteY3654" fmla="*/ 5196935 h 5392467"/>
              <a:gd name="connsiteX3655" fmla="*/ 1331702 w 6096001"/>
              <a:gd name="connsiteY3655" fmla="*/ 5175661 h 5392467"/>
              <a:gd name="connsiteX3656" fmla="*/ 1343307 w 6096001"/>
              <a:gd name="connsiteY3656" fmla="*/ 5165989 h 5392467"/>
              <a:gd name="connsiteX3657" fmla="*/ 1374253 w 6096001"/>
              <a:gd name="connsiteY3657" fmla="*/ 5127307 h 5392467"/>
              <a:gd name="connsiteX3658" fmla="*/ 1356847 w 6096001"/>
              <a:gd name="connsiteY3658" fmla="*/ 5136978 h 5392467"/>
              <a:gd name="connsiteX3659" fmla="*/ 1343307 w 6096001"/>
              <a:gd name="connsiteY3659" fmla="*/ 5152451 h 5392467"/>
              <a:gd name="connsiteX3660" fmla="*/ 1325901 w 6096001"/>
              <a:gd name="connsiteY3660" fmla="*/ 5156320 h 5392467"/>
              <a:gd name="connsiteX3661" fmla="*/ 1294955 w 6096001"/>
              <a:gd name="connsiteY3661" fmla="*/ 5181462 h 5392467"/>
              <a:gd name="connsiteX3662" fmla="*/ 1302691 w 6096001"/>
              <a:gd name="connsiteY3662" fmla="*/ 5187263 h 5392467"/>
              <a:gd name="connsiteX3663" fmla="*/ 1293019 w 6096001"/>
              <a:gd name="connsiteY3663" fmla="*/ 5185330 h 5392467"/>
              <a:gd name="connsiteX3664" fmla="*/ 1291086 w 6096001"/>
              <a:gd name="connsiteY3664" fmla="*/ 5175661 h 5392467"/>
              <a:gd name="connsiteX3665" fmla="*/ 1252404 w 6096001"/>
              <a:gd name="connsiteY3665" fmla="*/ 5191132 h 5392467"/>
              <a:gd name="connsiteX3666" fmla="*/ 1258207 w 6096001"/>
              <a:gd name="connsiteY3666" fmla="*/ 5187263 h 5392467"/>
              <a:gd name="connsiteX3667" fmla="*/ 1275613 w 6096001"/>
              <a:gd name="connsiteY3667" fmla="*/ 5177594 h 5392467"/>
              <a:gd name="connsiteX3668" fmla="*/ 1293019 w 6096001"/>
              <a:gd name="connsiteY3668" fmla="*/ 5156320 h 5392467"/>
              <a:gd name="connsiteX3669" fmla="*/ 1306559 w 6096001"/>
              <a:gd name="connsiteY3669" fmla="*/ 5142780 h 5392467"/>
              <a:gd name="connsiteX3670" fmla="*/ 1312361 w 6096001"/>
              <a:gd name="connsiteY3670" fmla="*/ 5150516 h 5392467"/>
              <a:gd name="connsiteX3671" fmla="*/ 1318164 w 6096001"/>
              <a:gd name="connsiteY3671" fmla="*/ 5138911 h 5392467"/>
              <a:gd name="connsiteX3672" fmla="*/ 1337505 w 6096001"/>
              <a:gd name="connsiteY3672" fmla="*/ 5117637 h 5392467"/>
              <a:gd name="connsiteX3673" fmla="*/ 1345242 w 6096001"/>
              <a:gd name="connsiteY3673" fmla="*/ 5111836 h 5392467"/>
              <a:gd name="connsiteX3674" fmla="*/ 1364583 w 6096001"/>
              <a:gd name="connsiteY3674" fmla="*/ 5102164 h 5392467"/>
              <a:gd name="connsiteX3675" fmla="*/ 1369543 w 6096001"/>
              <a:gd name="connsiteY3675" fmla="*/ 5095551 h 5392467"/>
              <a:gd name="connsiteX3676" fmla="*/ 1376429 w 6096001"/>
              <a:gd name="connsiteY3676" fmla="*/ 5094427 h 5392467"/>
              <a:gd name="connsiteX3677" fmla="*/ 1383922 w 6096001"/>
              <a:gd name="connsiteY3677" fmla="*/ 5086691 h 5392467"/>
              <a:gd name="connsiteX3678" fmla="*/ 1375502 w 6096001"/>
              <a:gd name="connsiteY3678" fmla="*/ 5087606 h 5392467"/>
              <a:gd name="connsiteX3679" fmla="*/ 1376188 w 6096001"/>
              <a:gd name="connsiteY3679" fmla="*/ 5086691 h 5392467"/>
              <a:gd name="connsiteX3680" fmla="*/ 1374253 w 6096001"/>
              <a:gd name="connsiteY3680" fmla="*/ 5084756 h 5392467"/>
              <a:gd name="connsiteX3681" fmla="*/ 1354911 w 6096001"/>
              <a:gd name="connsiteY3681" fmla="*/ 5096361 h 5392467"/>
              <a:gd name="connsiteX3682" fmla="*/ 1349110 w 6096001"/>
              <a:gd name="connsiteY3682" fmla="*/ 5100229 h 5392467"/>
              <a:gd name="connsiteX3683" fmla="*/ 1316229 w 6096001"/>
              <a:gd name="connsiteY3683" fmla="*/ 5107965 h 5392467"/>
              <a:gd name="connsiteX3684" fmla="*/ 1310428 w 6096001"/>
              <a:gd name="connsiteY3684" fmla="*/ 5123438 h 5392467"/>
              <a:gd name="connsiteX3685" fmla="*/ 1293019 w 6096001"/>
              <a:gd name="connsiteY3685" fmla="*/ 5127307 h 5392467"/>
              <a:gd name="connsiteX3686" fmla="*/ 1298823 w 6096001"/>
              <a:gd name="connsiteY3686" fmla="*/ 5111836 h 5392467"/>
              <a:gd name="connsiteX3687" fmla="*/ 1252404 w 6096001"/>
              <a:gd name="connsiteY3687" fmla="*/ 5135043 h 5392467"/>
              <a:gd name="connsiteX3688" fmla="*/ 1250471 w 6096001"/>
              <a:gd name="connsiteY3688" fmla="*/ 5133110 h 5392467"/>
              <a:gd name="connsiteX3689" fmla="*/ 1279482 w 6096001"/>
              <a:gd name="connsiteY3689" fmla="*/ 5111836 h 5392467"/>
              <a:gd name="connsiteX3690" fmla="*/ 1306559 w 6096001"/>
              <a:gd name="connsiteY3690" fmla="*/ 5088626 h 5392467"/>
              <a:gd name="connsiteX3691" fmla="*/ 1275613 w 6096001"/>
              <a:gd name="connsiteY3691" fmla="*/ 5107965 h 5392467"/>
              <a:gd name="connsiteX3692" fmla="*/ 1275613 w 6096001"/>
              <a:gd name="connsiteY3692" fmla="*/ 5106032 h 5392467"/>
              <a:gd name="connsiteX3693" fmla="*/ 1289153 w 6096001"/>
              <a:gd name="connsiteY3693" fmla="*/ 5094428 h 5392467"/>
              <a:gd name="connsiteX3694" fmla="*/ 1302691 w 6096001"/>
              <a:gd name="connsiteY3694" fmla="*/ 5082823 h 5392467"/>
              <a:gd name="connsiteX3695" fmla="*/ 1244667 w 6096001"/>
              <a:gd name="connsiteY3695" fmla="*/ 5115702 h 5392467"/>
              <a:gd name="connsiteX3696" fmla="*/ 1240801 w 6096001"/>
              <a:gd name="connsiteY3696" fmla="*/ 5113769 h 5392467"/>
              <a:gd name="connsiteX3697" fmla="*/ 1246603 w 6096001"/>
              <a:gd name="connsiteY3697" fmla="*/ 5107965 h 5392467"/>
              <a:gd name="connsiteX3698" fmla="*/ 1277549 w 6096001"/>
              <a:gd name="connsiteY3698" fmla="*/ 5084756 h 5392467"/>
              <a:gd name="connsiteX3699" fmla="*/ 1283350 w 6096001"/>
              <a:gd name="connsiteY3699" fmla="*/ 5080888 h 5392467"/>
              <a:gd name="connsiteX3700" fmla="*/ 1302691 w 6096001"/>
              <a:gd name="connsiteY3700" fmla="*/ 5067350 h 5392467"/>
              <a:gd name="connsiteX3701" fmla="*/ 1310428 w 6096001"/>
              <a:gd name="connsiteY3701" fmla="*/ 5069285 h 5392467"/>
              <a:gd name="connsiteX3702" fmla="*/ 1316229 w 6096001"/>
              <a:gd name="connsiteY3702" fmla="*/ 5059613 h 5392467"/>
              <a:gd name="connsiteX3703" fmla="*/ 1331702 w 6096001"/>
              <a:gd name="connsiteY3703" fmla="*/ 5038339 h 5392467"/>
              <a:gd name="connsiteX3704" fmla="*/ 1345242 w 6096001"/>
              <a:gd name="connsiteY3704" fmla="*/ 5036404 h 5392467"/>
              <a:gd name="connsiteX3705" fmla="*/ 1358780 w 6096001"/>
              <a:gd name="connsiteY3705" fmla="*/ 5011261 h 5392467"/>
              <a:gd name="connsiteX3706" fmla="*/ 1370384 w 6096001"/>
              <a:gd name="connsiteY3706" fmla="*/ 5003525 h 5392467"/>
              <a:gd name="connsiteX3707" fmla="*/ 1387793 w 6096001"/>
              <a:gd name="connsiteY3707" fmla="*/ 4991920 h 5392467"/>
              <a:gd name="connsiteX3708" fmla="*/ 1381989 w 6096001"/>
              <a:gd name="connsiteY3708" fmla="*/ 4986119 h 5392467"/>
              <a:gd name="connsiteX3709" fmla="*/ 1412935 w 6096001"/>
              <a:gd name="connsiteY3709" fmla="*/ 4964842 h 5392467"/>
              <a:gd name="connsiteX3710" fmla="*/ 1403263 w 6096001"/>
              <a:gd name="connsiteY3710" fmla="*/ 4957106 h 5392467"/>
              <a:gd name="connsiteX3711" fmla="*/ 1395529 w 6096001"/>
              <a:gd name="connsiteY3711" fmla="*/ 4970643 h 5392467"/>
              <a:gd name="connsiteX3712" fmla="*/ 1393594 w 6096001"/>
              <a:gd name="connsiteY3712" fmla="*/ 4960974 h 5392467"/>
              <a:gd name="connsiteX3713" fmla="*/ 1381989 w 6096001"/>
              <a:gd name="connsiteY3713" fmla="*/ 4968710 h 5392467"/>
              <a:gd name="connsiteX3714" fmla="*/ 1372320 w 6096001"/>
              <a:gd name="connsiteY3714" fmla="*/ 4972579 h 5392467"/>
              <a:gd name="connsiteX3715" fmla="*/ 1343307 w 6096001"/>
              <a:gd name="connsiteY3715" fmla="*/ 4989985 h 5392467"/>
              <a:gd name="connsiteX3716" fmla="*/ 1327836 w 6096001"/>
              <a:gd name="connsiteY3716" fmla="*/ 4995788 h 5392467"/>
              <a:gd name="connsiteX3717" fmla="*/ 1291086 w 6096001"/>
              <a:gd name="connsiteY3717" fmla="*/ 5005460 h 5392467"/>
              <a:gd name="connsiteX3718" fmla="*/ 1287218 w 6096001"/>
              <a:gd name="connsiteY3718" fmla="*/ 5005460 h 5392467"/>
              <a:gd name="connsiteX3719" fmla="*/ 1298823 w 6096001"/>
              <a:gd name="connsiteY3719" fmla="*/ 4993853 h 5392467"/>
              <a:gd name="connsiteX3720" fmla="*/ 1300758 w 6096001"/>
              <a:gd name="connsiteY3720" fmla="*/ 4989985 h 5392467"/>
              <a:gd name="connsiteX3721" fmla="*/ 1312361 w 6096001"/>
              <a:gd name="connsiteY3721" fmla="*/ 4972579 h 5392467"/>
              <a:gd name="connsiteX3722" fmla="*/ 1331702 w 6096001"/>
              <a:gd name="connsiteY3722" fmla="*/ 4960974 h 5392467"/>
              <a:gd name="connsiteX3723" fmla="*/ 1351043 w 6096001"/>
              <a:gd name="connsiteY3723" fmla="*/ 4943568 h 5392467"/>
              <a:gd name="connsiteX3724" fmla="*/ 1312361 w 6096001"/>
              <a:gd name="connsiteY3724" fmla="*/ 4955173 h 5392467"/>
              <a:gd name="connsiteX3725" fmla="*/ 1304626 w 6096001"/>
              <a:gd name="connsiteY3725" fmla="*/ 4960974 h 5392467"/>
              <a:gd name="connsiteX3726" fmla="*/ 1273678 w 6096001"/>
              <a:gd name="connsiteY3726" fmla="*/ 4984184 h 5392467"/>
              <a:gd name="connsiteX3727" fmla="*/ 1269812 w 6096001"/>
              <a:gd name="connsiteY3727" fmla="*/ 4995788 h 5392467"/>
              <a:gd name="connsiteX3728" fmla="*/ 1264009 w 6096001"/>
              <a:gd name="connsiteY3728" fmla="*/ 4997721 h 5392467"/>
              <a:gd name="connsiteX3729" fmla="*/ 1258207 w 6096001"/>
              <a:gd name="connsiteY3729" fmla="*/ 4989985 h 5392467"/>
              <a:gd name="connsiteX3730" fmla="*/ 1279482 w 6096001"/>
              <a:gd name="connsiteY3730" fmla="*/ 4970643 h 5392467"/>
              <a:gd name="connsiteX3731" fmla="*/ 1285285 w 6096001"/>
              <a:gd name="connsiteY3731" fmla="*/ 4968710 h 5392467"/>
              <a:gd name="connsiteX3732" fmla="*/ 1294955 w 6096001"/>
              <a:gd name="connsiteY3732" fmla="*/ 4959041 h 5392467"/>
              <a:gd name="connsiteX3733" fmla="*/ 1277549 w 6096001"/>
              <a:gd name="connsiteY3733" fmla="*/ 4964842 h 5392467"/>
              <a:gd name="connsiteX3734" fmla="*/ 1271745 w 6096001"/>
              <a:gd name="connsiteY3734" fmla="*/ 4970643 h 5392467"/>
              <a:gd name="connsiteX3735" fmla="*/ 1267877 w 6096001"/>
              <a:gd name="connsiteY3735" fmla="*/ 4966778 h 5392467"/>
              <a:gd name="connsiteX3736" fmla="*/ 1254339 w 6096001"/>
              <a:gd name="connsiteY3736" fmla="*/ 4962909 h 5392467"/>
              <a:gd name="connsiteX3737" fmla="*/ 1267877 w 6096001"/>
              <a:gd name="connsiteY3737" fmla="*/ 4955173 h 5392467"/>
              <a:gd name="connsiteX3738" fmla="*/ 1267877 w 6096001"/>
              <a:gd name="connsiteY3738" fmla="*/ 4953237 h 5392467"/>
              <a:gd name="connsiteX3739" fmla="*/ 1269812 w 6096001"/>
              <a:gd name="connsiteY3739" fmla="*/ 4953237 h 5392467"/>
              <a:gd name="connsiteX3740" fmla="*/ 1281417 w 6096001"/>
              <a:gd name="connsiteY3740" fmla="*/ 4945501 h 5392467"/>
              <a:gd name="connsiteX3741" fmla="*/ 1293019 w 6096001"/>
              <a:gd name="connsiteY3741" fmla="*/ 4945501 h 5392467"/>
              <a:gd name="connsiteX3742" fmla="*/ 1302691 w 6096001"/>
              <a:gd name="connsiteY3742" fmla="*/ 4926160 h 5392467"/>
              <a:gd name="connsiteX3743" fmla="*/ 1298823 w 6096001"/>
              <a:gd name="connsiteY3743" fmla="*/ 4924227 h 5392467"/>
              <a:gd name="connsiteX3744" fmla="*/ 1260140 w 6096001"/>
              <a:gd name="connsiteY3744" fmla="*/ 4951302 h 5392467"/>
              <a:gd name="connsiteX3745" fmla="*/ 1265944 w 6096001"/>
              <a:gd name="connsiteY3745" fmla="*/ 4939700 h 5392467"/>
              <a:gd name="connsiteX3746" fmla="*/ 1279482 w 6096001"/>
              <a:gd name="connsiteY3746" fmla="*/ 4922291 h 5392467"/>
              <a:gd name="connsiteX3747" fmla="*/ 1250471 w 6096001"/>
              <a:gd name="connsiteY3747" fmla="*/ 4931963 h 5392467"/>
              <a:gd name="connsiteX3748" fmla="*/ 1204052 w 6096001"/>
              <a:gd name="connsiteY3748" fmla="*/ 4943568 h 5392467"/>
              <a:gd name="connsiteX3749" fmla="*/ 1184711 w 6096001"/>
              <a:gd name="connsiteY3749" fmla="*/ 4949369 h 5392467"/>
              <a:gd name="connsiteX3750" fmla="*/ 1138291 w 6096001"/>
              <a:gd name="connsiteY3750" fmla="*/ 4960974 h 5392467"/>
              <a:gd name="connsiteX3751" fmla="*/ 1163436 w 6096001"/>
              <a:gd name="connsiteY3751" fmla="*/ 4947436 h 5392467"/>
              <a:gd name="connsiteX3752" fmla="*/ 1215657 w 6096001"/>
              <a:gd name="connsiteY3752" fmla="*/ 4930028 h 5392467"/>
              <a:gd name="connsiteX3753" fmla="*/ 1236931 w 6096001"/>
              <a:gd name="connsiteY3753" fmla="*/ 4922291 h 5392467"/>
              <a:gd name="connsiteX3754" fmla="*/ 1269812 w 6096001"/>
              <a:gd name="connsiteY3754" fmla="*/ 4914555 h 5392467"/>
              <a:gd name="connsiteX3755" fmla="*/ 1277549 w 6096001"/>
              <a:gd name="connsiteY3755" fmla="*/ 4908754 h 5392467"/>
              <a:gd name="connsiteX3756" fmla="*/ 1294955 w 6096001"/>
              <a:gd name="connsiteY3756" fmla="*/ 4901017 h 5392467"/>
              <a:gd name="connsiteX3757" fmla="*/ 1302691 w 6096001"/>
              <a:gd name="connsiteY3757" fmla="*/ 4895216 h 5392467"/>
              <a:gd name="connsiteX3758" fmla="*/ 1320097 w 6096001"/>
              <a:gd name="connsiteY3758" fmla="*/ 4879743 h 5392467"/>
              <a:gd name="connsiteX3759" fmla="*/ 1300758 w 6096001"/>
              <a:gd name="connsiteY3759" fmla="*/ 4885544 h 5392467"/>
              <a:gd name="connsiteX3760" fmla="*/ 1362648 w 6096001"/>
              <a:gd name="connsiteY3760" fmla="*/ 4839125 h 5392467"/>
              <a:gd name="connsiteX3761" fmla="*/ 1360713 w 6096001"/>
              <a:gd name="connsiteY3761" fmla="*/ 4837192 h 5392467"/>
              <a:gd name="connsiteX3762" fmla="*/ 1294955 w 6096001"/>
              <a:gd name="connsiteY3762" fmla="*/ 4881676 h 5392467"/>
              <a:gd name="connsiteX3763" fmla="*/ 1304626 w 6096001"/>
              <a:gd name="connsiteY3763" fmla="*/ 4862335 h 5392467"/>
              <a:gd name="connsiteX3764" fmla="*/ 1356847 w 6096001"/>
              <a:gd name="connsiteY3764" fmla="*/ 4821719 h 5392467"/>
              <a:gd name="connsiteX3765" fmla="*/ 1360713 w 6096001"/>
              <a:gd name="connsiteY3765" fmla="*/ 4812050 h 5392467"/>
              <a:gd name="connsiteX3766" fmla="*/ 1325901 w 6096001"/>
              <a:gd name="connsiteY3766" fmla="*/ 4837192 h 5392467"/>
              <a:gd name="connsiteX3767" fmla="*/ 1325901 w 6096001"/>
              <a:gd name="connsiteY3767" fmla="*/ 4823652 h 5392467"/>
              <a:gd name="connsiteX3768" fmla="*/ 1316229 w 6096001"/>
              <a:gd name="connsiteY3768" fmla="*/ 4839125 h 5392467"/>
              <a:gd name="connsiteX3769" fmla="*/ 1294955 w 6096001"/>
              <a:gd name="connsiteY3769" fmla="*/ 4839125 h 5392467"/>
              <a:gd name="connsiteX3770" fmla="*/ 1333637 w 6096001"/>
              <a:gd name="connsiteY3770" fmla="*/ 4808181 h 5392467"/>
              <a:gd name="connsiteX3771" fmla="*/ 1343307 w 6096001"/>
              <a:gd name="connsiteY3771" fmla="*/ 4819784 h 5392467"/>
              <a:gd name="connsiteX3772" fmla="*/ 1339438 w 6096001"/>
              <a:gd name="connsiteY3772" fmla="*/ 4804311 h 5392467"/>
              <a:gd name="connsiteX3773" fmla="*/ 1368451 w 6096001"/>
              <a:gd name="connsiteY3773" fmla="*/ 4783037 h 5392467"/>
              <a:gd name="connsiteX3774" fmla="*/ 1372320 w 6096001"/>
              <a:gd name="connsiteY3774" fmla="*/ 4779168 h 5392467"/>
              <a:gd name="connsiteX3775" fmla="*/ 1393594 w 6096001"/>
              <a:gd name="connsiteY3775" fmla="*/ 4761762 h 5392467"/>
              <a:gd name="connsiteX3776" fmla="*/ 1374253 w 6096001"/>
              <a:gd name="connsiteY3776" fmla="*/ 4769499 h 5392467"/>
              <a:gd name="connsiteX3777" fmla="*/ 1364583 w 6096001"/>
              <a:gd name="connsiteY3777" fmla="*/ 4775300 h 5392467"/>
              <a:gd name="connsiteX3778" fmla="*/ 1358780 w 6096001"/>
              <a:gd name="connsiteY3778" fmla="*/ 4779168 h 5392467"/>
              <a:gd name="connsiteX3779" fmla="*/ 1356847 w 6096001"/>
              <a:gd name="connsiteY3779" fmla="*/ 4781101 h 5392467"/>
              <a:gd name="connsiteX3780" fmla="*/ 1322032 w 6096001"/>
              <a:gd name="connsiteY3780" fmla="*/ 4808181 h 5392467"/>
              <a:gd name="connsiteX3781" fmla="*/ 1310428 w 6096001"/>
              <a:gd name="connsiteY3781" fmla="*/ 4813983 h 5392467"/>
              <a:gd name="connsiteX3782" fmla="*/ 1316229 w 6096001"/>
              <a:gd name="connsiteY3782" fmla="*/ 4802378 h 5392467"/>
              <a:gd name="connsiteX3783" fmla="*/ 1308495 w 6096001"/>
              <a:gd name="connsiteY3783" fmla="*/ 4804311 h 5392467"/>
              <a:gd name="connsiteX3784" fmla="*/ 1275613 w 6096001"/>
              <a:gd name="connsiteY3784" fmla="*/ 4817851 h 5392467"/>
              <a:gd name="connsiteX3785" fmla="*/ 1267877 w 6096001"/>
              <a:gd name="connsiteY3785" fmla="*/ 4821719 h 5392467"/>
              <a:gd name="connsiteX3786" fmla="*/ 1236931 w 6096001"/>
              <a:gd name="connsiteY3786" fmla="*/ 4835257 h 5392467"/>
              <a:gd name="connsiteX3787" fmla="*/ 1202119 w 6096001"/>
              <a:gd name="connsiteY3787" fmla="*/ 4850730 h 5392467"/>
              <a:gd name="connsiteX3788" fmla="*/ 1194382 w 6096001"/>
              <a:gd name="connsiteY3788" fmla="*/ 4852665 h 5392467"/>
              <a:gd name="connsiteX3789" fmla="*/ 1140227 w 6096001"/>
              <a:gd name="connsiteY3789" fmla="*/ 4872006 h 5392467"/>
              <a:gd name="connsiteX3790" fmla="*/ 1124754 w 6096001"/>
              <a:gd name="connsiteY3790" fmla="*/ 4873939 h 5392467"/>
              <a:gd name="connsiteX3791" fmla="*/ 1084138 w 6096001"/>
              <a:gd name="connsiteY3791" fmla="*/ 4864268 h 5392467"/>
              <a:gd name="connsiteX3792" fmla="*/ 1084138 w 6096001"/>
              <a:gd name="connsiteY3792" fmla="*/ 4862335 h 5392467"/>
              <a:gd name="connsiteX3793" fmla="*/ 1086071 w 6096001"/>
              <a:gd name="connsiteY3793" fmla="*/ 4858466 h 5392467"/>
              <a:gd name="connsiteX3794" fmla="*/ 1111216 w 6096001"/>
              <a:gd name="connsiteY3794" fmla="*/ 4844929 h 5392467"/>
              <a:gd name="connsiteX3795" fmla="*/ 1089939 w 6096001"/>
              <a:gd name="connsiteY3795" fmla="*/ 4850730 h 5392467"/>
              <a:gd name="connsiteX3796" fmla="*/ 1082203 w 6096001"/>
              <a:gd name="connsiteY3796" fmla="*/ 4854598 h 5392467"/>
              <a:gd name="connsiteX3797" fmla="*/ 1060929 w 6096001"/>
              <a:gd name="connsiteY3797" fmla="*/ 4864268 h 5392467"/>
              <a:gd name="connsiteX3798" fmla="*/ 1039652 w 6096001"/>
              <a:gd name="connsiteY3798" fmla="*/ 4872006 h 5392467"/>
              <a:gd name="connsiteX3799" fmla="*/ 1053192 w 6096001"/>
              <a:gd name="connsiteY3799" fmla="*/ 4858466 h 5392467"/>
              <a:gd name="connsiteX3800" fmla="*/ 1070598 w 6096001"/>
              <a:gd name="connsiteY3800" fmla="*/ 4842993 h 5392467"/>
              <a:gd name="connsiteX3801" fmla="*/ 1045456 w 6096001"/>
              <a:gd name="connsiteY3801" fmla="*/ 4844929 h 5392467"/>
              <a:gd name="connsiteX3802" fmla="*/ 1055125 w 6096001"/>
              <a:gd name="connsiteY3802" fmla="*/ 4835257 h 5392467"/>
              <a:gd name="connsiteX3803" fmla="*/ 1066732 w 6096001"/>
              <a:gd name="connsiteY3803" fmla="*/ 4815916 h 5392467"/>
              <a:gd name="connsiteX3804" fmla="*/ 1099609 w 6096001"/>
              <a:gd name="connsiteY3804" fmla="*/ 4796574 h 5392467"/>
              <a:gd name="connsiteX3805" fmla="*/ 1089939 w 6096001"/>
              <a:gd name="connsiteY3805" fmla="*/ 4796574 h 5392467"/>
              <a:gd name="connsiteX3806" fmla="*/ 1120886 w 6096001"/>
              <a:gd name="connsiteY3806" fmla="*/ 4769499 h 5392467"/>
              <a:gd name="connsiteX3807" fmla="*/ 1115084 w 6096001"/>
              <a:gd name="connsiteY3807" fmla="*/ 4767564 h 5392467"/>
              <a:gd name="connsiteX3808" fmla="*/ 1107348 w 6096001"/>
              <a:gd name="connsiteY3808" fmla="*/ 4773367 h 5392467"/>
              <a:gd name="connsiteX3809" fmla="*/ 1084138 w 6096001"/>
              <a:gd name="connsiteY3809" fmla="*/ 4788840 h 5392467"/>
              <a:gd name="connsiteX3810" fmla="*/ 1105413 w 6096001"/>
              <a:gd name="connsiteY3810" fmla="*/ 4769499 h 5392467"/>
              <a:gd name="connsiteX3811" fmla="*/ 1101544 w 6096001"/>
              <a:gd name="connsiteY3811" fmla="*/ 4769499 h 5392467"/>
              <a:gd name="connsiteX3812" fmla="*/ 1101544 w 6096001"/>
              <a:gd name="connsiteY3812" fmla="*/ 4761762 h 5392467"/>
              <a:gd name="connsiteX3813" fmla="*/ 1091875 w 6096001"/>
              <a:gd name="connsiteY3813" fmla="*/ 4771432 h 5392467"/>
              <a:gd name="connsiteX3814" fmla="*/ 1074467 w 6096001"/>
              <a:gd name="connsiteY3814" fmla="*/ 4784972 h 5392467"/>
              <a:gd name="connsiteX3815" fmla="*/ 1049324 w 6096001"/>
              <a:gd name="connsiteY3815" fmla="*/ 4802378 h 5392467"/>
              <a:gd name="connsiteX3816" fmla="*/ 1039652 w 6096001"/>
              <a:gd name="connsiteY3816" fmla="*/ 4802378 h 5392467"/>
              <a:gd name="connsiteX3817" fmla="*/ 1057061 w 6096001"/>
              <a:gd name="connsiteY3817" fmla="*/ 4790773 h 5392467"/>
              <a:gd name="connsiteX3818" fmla="*/ 1076402 w 6096001"/>
              <a:gd name="connsiteY3818" fmla="*/ 4775300 h 5392467"/>
              <a:gd name="connsiteX3819" fmla="*/ 1084138 w 6096001"/>
              <a:gd name="connsiteY3819" fmla="*/ 4769499 h 5392467"/>
              <a:gd name="connsiteX3820" fmla="*/ 1099609 w 6096001"/>
              <a:gd name="connsiteY3820" fmla="*/ 4755959 h 5392467"/>
              <a:gd name="connsiteX3821" fmla="*/ 1093808 w 6096001"/>
              <a:gd name="connsiteY3821" fmla="*/ 4748222 h 5392467"/>
              <a:gd name="connsiteX3822" fmla="*/ 1095743 w 6096001"/>
              <a:gd name="connsiteY3822" fmla="*/ 4732749 h 5392467"/>
              <a:gd name="connsiteX3823" fmla="*/ 1099609 w 6096001"/>
              <a:gd name="connsiteY3823" fmla="*/ 4726948 h 5392467"/>
              <a:gd name="connsiteX3824" fmla="*/ 1105413 w 6096001"/>
              <a:gd name="connsiteY3824" fmla="*/ 4732749 h 5392467"/>
              <a:gd name="connsiteX3825" fmla="*/ 1120886 w 6096001"/>
              <a:gd name="connsiteY3825" fmla="*/ 4730816 h 5392467"/>
              <a:gd name="connsiteX3826" fmla="*/ 1113149 w 6096001"/>
              <a:gd name="connsiteY3826" fmla="*/ 4744354 h 5392467"/>
              <a:gd name="connsiteX3827" fmla="*/ 1118950 w 6096001"/>
              <a:gd name="connsiteY3827" fmla="*/ 4746289 h 5392467"/>
              <a:gd name="connsiteX3828" fmla="*/ 1132490 w 6096001"/>
              <a:gd name="connsiteY3828" fmla="*/ 4734685 h 5392467"/>
              <a:gd name="connsiteX3829" fmla="*/ 1128622 w 6096001"/>
              <a:gd name="connsiteY3829" fmla="*/ 4723080 h 5392467"/>
              <a:gd name="connsiteX3830" fmla="*/ 1134426 w 6096001"/>
              <a:gd name="connsiteY3830" fmla="*/ 4723080 h 5392467"/>
              <a:gd name="connsiteX3831" fmla="*/ 1138291 w 6096001"/>
              <a:gd name="connsiteY3831" fmla="*/ 4719212 h 5392467"/>
              <a:gd name="connsiteX3832" fmla="*/ 1130557 w 6096001"/>
              <a:gd name="connsiteY3832" fmla="*/ 4717276 h 5392467"/>
              <a:gd name="connsiteX3833" fmla="*/ 1120886 w 6096001"/>
              <a:gd name="connsiteY3833" fmla="*/ 4721147 h 5392467"/>
              <a:gd name="connsiteX3834" fmla="*/ 1124754 w 6096001"/>
              <a:gd name="connsiteY3834" fmla="*/ 4688265 h 5392467"/>
              <a:gd name="connsiteX3835" fmla="*/ 1122818 w 6096001"/>
              <a:gd name="connsiteY3835" fmla="*/ 4688265 h 5392467"/>
              <a:gd name="connsiteX3836" fmla="*/ 1115084 w 6096001"/>
              <a:gd name="connsiteY3836" fmla="*/ 4697937 h 5392467"/>
              <a:gd name="connsiteX3837" fmla="*/ 1113149 w 6096001"/>
              <a:gd name="connsiteY3837" fmla="*/ 4694067 h 5392467"/>
              <a:gd name="connsiteX3838" fmla="*/ 1115084 w 6096001"/>
              <a:gd name="connsiteY3838" fmla="*/ 4682464 h 5392467"/>
              <a:gd name="connsiteX3839" fmla="*/ 1107348 w 6096001"/>
              <a:gd name="connsiteY3839" fmla="*/ 4682464 h 5392467"/>
              <a:gd name="connsiteX3840" fmla="*/ 1089939 w 6096001"/>
              <a:gd name="connsiteY3840" fmla="*/ 4670859 h 5392467"/>
              <a:gd name="connsiteX3841" fmla="*/ 1146028 w 6096001"/>
              <a:gd name="connsiteY3841" fmla="*/ 4641846 h 5392467"/>
              <a:gd name="connsiteX3842" fmla="*/ 1132490 w 6096001"/>
              <a:gd name="connsiteY3842" fmla="*/ 4637980 h 5392467"/>
              <a:gd name="connsiteX3843" fmla="*/ 1126687 w 6096001"/>
              <a:gd name="connsiteY3843" fmla="*/ 4632177 h 5392467"/>
              <a:gd name="connsiteX3844" fmla="*/ 1113149 w 6096001"/>
              <a:gd name="connsiteY3844" fmla="*/ 4618639 h 5392467"/>
              <a:gd name="connsiteX3845" fmla="*/ 1105413 w 6096001"/>
              <a:gd name="connsiteY3845" fmla="*/ 4616704 h 5392467"/>
              <a:gd name="connsiteX3846" fmla="*/ 1091875 w 6096001"/>
              <a:gd name="connsiteY3846" fmla="*/ 4603164 h 5392467"/>
              <a:gd name="connsiteX3847" fmla="*/ 1088007 w 6096001"/>
              <a:gd name="connsiteY3847" fmla="*/ 4585758 h 5392467"/>
              <a:gd name="connsiteX3848" fmla="*/ 1064797 w 6096001"/>
              <a:gd name="connsiteY3848" fmla="*/ 4587693 h 5392467"/>
              <a:gd name="connsiteX3849" fmla="*/ 1064797 w 6096001"/>
              <a:gd name="connsiteY3849" fmla="*/ 4572220 h 5392467"/>
              <a:gd name="connsiteX3850" fmla="*/ 1049324 w 6096001"/>
              <a:gd name="connsiteY3850" fmla="*/ 4564484 h 5392467"/>
              <a:gd name="connsiteX3851" fmla="*/ 1029983 w 6096001"/>
              <a:gd name="connsiteY3851" fmla="*/ 4556747 h 5392467"/>
              <a:gd name="connsiteX3852" fmla="*/ 1024182 w 6096001"/>
              <a:gd name="connsiteY3852" fmla="*/ 4552879 h 5392467"/>
              <a:gd name="connsiteX3853" fmla="*/ 1004840 w 6096001"/>
              <a:gd name="connsiteY3853" fmla="*/ 4539339 h 5392467"/>
              <a:gd name="connsiteX3854" fmla="*/ 997104 w 6096001"/>
              <a:gd name="connsiteY3854" fmla="*/ 4537406 h 5392467"/>
              <a:gd name="connsiteX3855" fmla="*/ 991300 w 6096001"/>
              <a:gd name="connsiteY3855" fmla="*/ 4537406 h 5392467"/>
              <a:gd name="connsiteX3856" fmla="*/ 954553 w 6096001"/>
              <a:gd name="connsiteY3856" fmla="*/ 4558680 h 5392467"/>
              <a:gd name="connsiteX3857" fmla="*/ 952618 w 6096001"/>
              <a:gd name="connsiteY3857" fmla="*/ 4560615 h 5392467"/>
              <a:gd name="connsiteX3858" fmla="*/ 942948 w 6096001"/>
              <a:gd name="connsiteY3858" fmla="*/ 4566417 h 5392467"/>
              <a:gd name="connsiteX3859" fmla="*/ 935212 w 6096001"/>
              <a:gd name="connsiteY3859" fmla="*/ 4578021 h 5392467"/>
              <a:gd name="connsiteX3860" fmla="*/ 939080 w 6096001"/>
              <a:gd name="connsiteY3860" fmla="*/ 4583823 h 5392467"/>
              <a:gd name="connsiteX3861" fmla="*/ 939080 w 6096001"/>
              <a:gd name="connsiteY3861" fmla="*/ 4589626 h 5392467"/>
              <a:gd name="connsiteX3862" fmla="*/ 915870 w 6096001"/>
              <a:gd name="connsiteY3862" fmla="*/ 4610903 h 5392467"/>
              <a:gd name="connsiteX3863" fmla="*/ 910069 w 6096001"/>
              <a:gd name="connsiteY3863" fmla="*/ 4618639 h 5392467"/>
              <a:gd name="connsiteX3864" fmla="*/ 888793 w 6096001"/>
              <a:gd name="connsiteY3864" fmla="*/ 4626373 h 5392467"/>
              <a:gd name="connsiteX3865" fmla="*/ 881056 w 6096001"/>
              <a:gd name="connsiteY3865" fmla="*/ 4620572 h 5392467"/>
              <a:gd name="connsiteX3866" fmla="*/ 875255 w 6096001"/>
              <a:gd name="connsiteY3866" fmla="*/ 4610903 h 5392467"/>
              <a:gd name="connsiteX3867" fmla="*/ 877188 w 6096001"/>
              <a:gd name="connsiteY3867" fmla="*/ 4599298 h 5392467"/>
              <a:gd name="connsiteX3868" fmla="*/ 879123 w 6096001"/>
              <a:gd name="connsiteY3868" fmla="*/ 4589626 h 5392467"/>
              <a:gd name="connsiteX3869" fmla="*/ 873320 w 6096001"/>
              <a:gd name="connsiteY3869" fmla="*/ 4576088 h 5392467"/>
              <a:gd name="connsiteX3870" fmla="*/ 863650 w 6096001"/>
              <a:gd name="connsiteY3870" fmla="*/ 4566417 h 5392467"/>
              <a:gd name="connsiteX3871" fmla="*/ 846244 w 6096001"/>
              <a:gd name="connsiteY3871" fmla="*/ 4566417 h 5392467"/>
              <a:gd name="connsiteX3872" fmla="*/ 826903 w 6096001"/>
              <a:gd name="connsiteY3872" fmla="*/ 4564484 h 5392467"/>
              <a:gd name="connsiteX3873" fmla="*/ 797890 w 6096001"/>
              <a:gd name="connsiteY3873" fmla="*/ 4552879 h 5392467"/>
              <a:gd name="connsiteX3874" fmla="*/ 792089 w 6096001"/>
              <a:gd name="connsiteY3874" fmla="*/ 4554812 h 5392467"/>
              <a:gd name="connsiteX3875" fmla="*/ 780484 w 6096001"/>
              <a:gd name="connsiteY3875" fmla="*/ 4552879 h 5392467"/>
              <a:gd name="connsiteX3876" fmla="*/ 770812 w 6096001"/>
              <a:gd name="connsiteY3876" fmla="*/ 4550944 h 5392467"/>
              <a:gd name="connsiteX3877" fmla="*/ 765011 w 6096001"/>
              <a:gd name="connsiteY3877" fmla="*/ 4552879 h 5392467"/>
              <a:gd name="connsiteX3878" fmla="*/ 759210 w 6096001"/>
              <a:gd name="connsiteY3878" fmla="*/ 4552879 h 5392467"/>
              <a:gd name="connsiteX3879" fmla="*/ 745670 w 6096001"/>
              <a:gd name="connsiteY3879" fmla="*/ 4543207 h 5392467"/>
              <a:gd name="connsiteX3880" fmla="*/ 734065 w 6096001"/>
              <a:gd name="connsiteY3880" fmla="*/ 4539339 h 5392467"/>
              <a:gd name="connsiteX3881" fmla="*/ 724395 w 6096001"/>
              <a:gd name="connsiteY3881" fmla="*/ 4539339 h 5392467"/>
              <a:gd name="connsiteX3882" fmla="*/ 708922 w 6096001"/>
              <a:gd name="connsiteY3882" fmla="*/ 4535471 h 5392467"/>
              <a:gd name="connsiteX3883" fmla="*/ 693449 w 6096001"/>
              <a:gd name="connsiteY3883" fmla="*/ 4521933 h 5392467"/>
              <a:gd name="connsiteX3884" fmla="*/ 687646 w 6096001"/>
              <a:gd name="connsiteY3884" fmla="*/ 4514196 h 5392467"/>
              <a:gd name="connsiteX3885" fmla="*/ 670240 w 6096001"/>
              <a:gd name="connsiteY3885" fmla="*/ 4502592 h 5392467"/>
              <a:gd name="connsiteX3886" fmla="*/ 706987 w 6096001"/>
              <a:gd name="connsiteY3886" fmla="*/ 4448436 h 5392467"/>
              <a:gd name="connsiteX3887" fmla="*/ 691514 w 6096001"/>
              <a:gd name="connsiteY3887" fmla="*/ 4432963 h 5392467"/>
              <a:gd name="connsiteX3888" fmla="*/ 679909 w 6096001"/>
              <a:gd name="connsiteY3888" fmla="*/ 4425229 h 5392467"/>
              <a:gd name="connsiteX3889" fmla="*/ 658635 w 6096001"/>
              <a:gd name="connsiteY3889" fmla="*/ 4436831 h 5392467"/>
              <a:gd name="connsiteX3890" fmla="*/ 645097 w 6096001"/>
              <a:gd name="connsiteY3890" fmla="*/ 4442635 h 5392467"/>
              <a:gd name="connsiteX3891" fmla="*/ 631557 w 6096001"/>
              <a:gd name="connsiteY3891" fmla="*/ 4444568 h 5392467"/>
              <a:gd name="connsiteX3892" fmla="*/ 618019 w 6096001"/>
              <a:gd name="connsiteY3892" fmla="*/ 4448436 h 5392467"/>
              <a:gd name="connsiteX3893" fmla="*/ 606415 w 6096001"/>
              <a:gd name="connsiteY3893" fmla="*/ 4450371 h 5392467"/>
              <a:gd name="connsiteX3894" fmla="*/ 592875 w 6096001"/>
              <a:gd name="connsiteY3894" fmla="*/ 4448436 h 5392467"/>
              <a:gd name="connsiteX3895" fmla="*/ 583205 w 6096001"/>
              <a:gd name="connsiteY3895" fmla="*/ 4440702 h 5392467"/>
              <a:gd name="connsiteX3896" fmla="*/ 575469 w 6096001"/>
              <a:gd name="connsiteY3896" fmla="*/ 4434898 h 5392467"/>
              <a:gd name="connsiteX3897" fmla="*/ 558063 w 6096001"/>
              <a:gd name="connsiteY3897" fmla="*/ 4444568 h 5392467"/>
              <a:gd name="connsiteX3898" fmla="*/ 544523 w 6096001"/>
              <a:gd name="connsiteY3898" fmla="*/ 4446503 h 5392467"/>
              <a:gd name="connsiteX3899" fmla="*/ 532918 w 6096001"/>
              <a:gd name="connsiteY3899" fmla="*/ 4460041 h 5392467"/>
              <a:gd name="connsiteX3900" fmla="*/ 503907 w 6096001"/>
              <a:gd name="connsiteY3900" fmla="*/ 4475514 h 5392467"/>
              <a:gd name="connsiteX3901" fmla="*/ 490370 w 6096001"/>
              <a:gd name="connsiteY3901" fmla="*/ 4481317 h 5392467"/>
              <a:gd name="connsiteX3902" fmla="*/ 459424 w 6096001"/>
              <a:gd name="connsiteY3902" fmla="*/ 4502592 h 5392467"/>
              <a:gd name="connsiteX3903" fmla="*/ 451687 w 6096001"/>
              <a:gd name="connsiteY3903" fmla="*/ 4508395 h 5392467"/>
              <a:gd name="connsiteX3904" fmla="*/ 378190 w 6096001"/>
              <a:gd name="connsiteY3904" fmla="*/ 4545142 h 5392467"/>
              <a:gd name="connsiteX3905" fmla="*/ 368521 w 6096001"/>
              <a:gd name="connsiteY3905" fmla="*/ 4547075 h 5392467"/>
              <a:gd name="connsiteX3906" fmla="*/ 354981 w 6096001"/>
              <a:gd name="connsiteY3906" fmla="*/ 4554812 h 5392467"/>
              <a:gd name="connsiteX3907" fmla="*/ 347244 w 6096001"/>
              <a:gd name="connsiteY3907" fmla="*/ 4560615 h 5392467"/>
              <a:gd name="connsiteX3908" fmla="*/ 337575 w 6096001"/>
              <a:gd name="connsiteY3908" fmla="*/ 4560615 h 5392467"/>
              <a:gd name="connsiteX3909" fmla="*/ 277618 w 6096001"/>
              <a:gd name="connsiteY3909" fmla="*/ 4591561 h 5392467"/>
              <a:gd name="connsiteX3910" fmla="*/ 237000 w 6096001"/>
              <a:gd name="connsiteY3910" fmla="*/ 4572220 h 5392467"/>
              <a:gd name="connsiteX3911" fmla="*/ 200253 w 6096001"/>
              <a:gd name="connsiteY3911" fmla="*/ 4597363 h 5392467"/>
              <a:gd name="connsiteX3912" fmla="*/ 155769 w 6096001"/>
              <a:gd name="connsiteY3912" fmla="*/ 4620572 h 5392467"/>
              <a:gd name="connsiteX3913" fmla="*/ 132559 w 6096001"/>
              <a:gd name="connsiteY3913" fmla="*/ 4630242 h 5392467"/>
              <a:gd name="connsiteX3914" fmla="*/ 109350 w 6096001"/>
              <a:gd name="connsiteY3914" fmla="*/ 4634112 h 5392467"/>
              <a:gd name="connsiteX3915" fmla="*/ 86140 w 6096001"/>
              <a:gd name="connsiteY3915" fmla="*/ 4639913 h 5392467"/>
              <a:gd name="connsiteX3916" fmla="*/ 64866 w 6096001"/>
              <a:gd name="connsiteY3916" fmla="*/ 4643782 h 5392467"/>
              <a:gd name="connsiteX3917" fmla="*/ 41657 w 6096001"/>
              <a:gd name="connsiteY3917" fmla="*/ 4639913 h 5392467"/>
              <a:gd name="connsiteX3918" fmla="*/ 26184 w 6096001"/>
              <a:gd name="connsiteY3918" fmla="*/ 4626373 h 5392467"/>
              <a:gd name="connsiteX3919" fmla="*/ 12646 w 6096001"/>
              <a:gd name="connsiteY3919" fmla="*/ 4614771 h 5392467"/>
              <a:gd name="connsiteX3920" fmla="*/ 2491 w 6096001"/>
              <a:gd name="connsiteY3920" fmla="*/ 4604132 h 5392467"/>
              <a:gd name="connsiteX3921" fmla="*/ 0 w 6096001"/>
              <a:gd name="connsiteY3921" fmla="*/ 4603210 h 5392467"/>
              <a:gd name="connsiteX3922" fmla="*/ 0 w 6096001"/>
              <a:gd name="connsiteY3922" fmla="*/ 1780731 h 5392467"/>
              <a:gd name="connsiteX3923" fmla="*/ 12646 w 6096001"/>
              <a:gd name="connsiteY3923" fmla="*/ 1765837 h 5392467"/>
              <a:gd name="connsiteX3924" fmla="*/ 0 w 6096001"/>
              <a:gd name="connsiteY3924" fmla="*/ 1774315 h 5392467"/>
              <a:gd name="connsiteX3925" fmla="*/ 0 w 6096001"/>
              <a:gd name="connsiteY3925" fmla="*/ 1288043 h 5392467"/>
              <a:gd name="connsiteX3926" fmla="*/ 9019 w 6096001"/>
              <a:gd name="connsiteY3926" fmla="*/ 1280134 h 5392467"/>
              <a:gd name="connsiteX3927" fmla="*/ 26184 w 6096001"/>
              <a:gd name="connsiteY3927" fmla="*/ 1270705 h 5392467"/>
              <a:gd name="connsiteX3928" fmla="*/ 33920 w 6096001"/>
              <a:gd name="connsiteY3928" fmla="*/ 1264903 h 5392467"/>
              <a:gd name="connsiteX3929" fmla="*/ 91944 w 6096001"/>
              <a:gd name="connsiteY3929" fmla="*/ 1195275 h 5392467"/>
              <a:gd name="connsiteX3930" fmla="*/ 155769 w 6096001"/>
              <a:gd name="connsiteY3930" fmla="*/ 1150791 h 5392467"/>
              <a:gd name="connsiteX3931" fmla="*/ 175110 w 6096001"/>
              <a:gd name="connsiteY3931" fmla="*/ 1133385 h 5392467"/>
              <a:gd name="connsiteX3932" fmla="*/ 202188 w 6096001"/>
              <a:gd name="connsiteY3932" fmla="*/ 1114044 h 5392467"/>
              <a:gd name="connsiteX3933" fmla="*/ 266013 w 6096001"/>
              <a:gd name="connsiteY3933" fmla="*/ 1079230 h 5392467"/>
              <a:gd name="connsiteX3934" fmla="*/ 318233 w 6096001"/>
              <a:gd name="connsiteY3934" fmla="*/ 1046350 h 5392467"/>
              <a:gd name="connsiteX3935" fmla="*/ 399464 w 6096001"/>
              <a:gd name="connsiteY3935" fmla="*/ 980590 h 5392467"/>
              <a:gd name="connsiteX3936" fmla="*/ 474894 w 6096001"/>
              <a:gd name="connsiteY3936" fmla="*/ 936106 h 5392467"/>
              <a:gd name="connsiteX3937" fmla="*/ 498104 w 6096001"/>
              <a:gd name="connsiteY3937" fmla="*/ 922566 h 5392467"/>
              <a:gd name="connsiteX3938" fmla="*/ 610283 w 6096001"/>
              <a:gd name="connsiteY3938" fmla="*/ 854873 h 5392467"/>
              <a:gd name="connsiteX3939" fmla="*/ 627689 w 6096001"/>
              <a:gd name="connsiteY3939" fmla="*/ 843268 h 5392467"/>
              <a:gd name="connsiteX3940" fmla="*/ 674108 w 6096001"/>
              <a:gd name="connsiteY3940" fmla="*/ 816190 h 5392467"/>
              <a:gd name="connsiteX3941" fmla="*/ 718592 w 6096001"/>
              <a:gd name="connsiteY3941" fmla="*/ 792983 h 5392467"/>
              <a:gd name="connsiteX3942" fmla="*/ 927475 w 6096001"/>
              <a:gd name="connsiteY3942" fmla="*/ 725290 h 5392467"/>
              <a:gd name="connsiteX3943" fmla="*/ 997104 w 6096001"/>
              <a:gd name="connsiteY3943" fmla="*/ 694344 h 5392467"/>
              <a:gd name="connsiteX3944" fmla="*/ 1068665 w 6096001"/>
              <a:gd name="connsiteY3944" fmla="*/ 657594 h 5392467"/>
              <a:gd name="connsiteX3945" fmla="*/ 1167305 w 6096001"/>
              <a:gd name="connsiteY3945" fmla="*/ 624715 h 5392467"/>
              <a:gd name="connsiteX3946" fmla="*/ 1176974 w 6096001"/>
              <a:gd name="connsiteY3946" fmla="*/ 622780 h 5392467"/>
              <a:gd name="connsiteX3947" fmla="*/ 1215657 w 6096001"/>
              <a:gd name="connsiteY3947" fmla="*/ 601506 h 5392467"/>
              <a:gd name="connsiteX3948" fmla="*/ 1283350 w 6096001"/>
              <a:gd name="connsiteY3948" fmla="*/ 572495 h 5392467"/>
              <a:gd name="connsiteX3949" fmla="*/ 1300758 w 6096001"/>
              <a:gd name="connsiteY3949" fmla="*/ 568627 h 5392467"/>
              <a:gd name="connsiteX3950" fmla="*/ 1358780 w 6096001"/>
              <a:gd name="connsiteY3950" fmla="*/ 547350 h 5392467"/>
              <a:gd name="connsiteX3951" fmla="*/ 1368451 w 6096001"/>
              <a:gd name="connsiteY3951" fmla="*/ 543484 h 5392467"/>
              <a:gd name="connsiteX3952" fmla="*/ 1447749 w 6096001"/>
              <a:gd name="connsiteY3952" fmla="*/ 526076 h 5392467"/>
              <a:gd name="connsiteX3953" fmla="*/ 1525112 w 6096001"/>
              <a:gd name="connsiteY3953" fmla="*/ 508670 h 5392467"/>
              <a:gd name="connsiteX3954" fmla="*/ 1561862 w 6096001"/>
              <a:gd name="connsiteY3954" fmla="*/ 500933 h 5392467"/>
              <a:gd name="connsiteX3955" fmla="*/ 1579268 w 6096001"/>
              <a:gd name="connsiteY3955" fmla="*/ 497065 h 5392467"/>
              <a:gd name="connsiteX3956" fmla="*/ 1646961 w 6096001"/>
              <a:gd name="connsiteY3956" fmla="*/ 495130 h 5392467"/>
              <a:gd name="connsiteX3957" fmla="*/ 1666302 w 6096001"/>
              <a:gd name="connsiteY3957" fmla="*/ 491262 h 5392467"/>
              <a:gd name="connsiteX3958" fmla="*/ 1691447 w 6096001"/>
              <a:gd name="connsiteY3958" fmla="*/ 500933 h 5392467"/>
              <a:gd name="connsiteX3959" fmla="*/ 1691447 w 6096001"/>
              <a:gd name="connsiteY3959" fmla="*/ 502866 h 5392467"/>
              <a:gd name="connsiteX3960" fmla="*/ 1755272 w 6096001"/>
              <a:gd name="connsiteY3960" fmla="*/ 469987 h 5392467"/>
              <a:gd name="connsiteX3961" fmla="*/ 1871317 w 6096001"/>
              <a:gd name="connsiteY3961" fmla="*/ 417767 h 5392467"/>
              <a:gd name="connsiteX3962" fmla="*/ 1894527 w 6096001"/>
              <a:gd name="connsiteY3962" fmla="*/ 410031 h 5392467"/>
              <a:gd name="connsiteX3963" fmla="*/ 1904196 w 6096001"/>
              <a:gd name="connsiteY3963" fmla="*/ 415832 h 5392467"/>
              <a:gd name="connsiteX3964" fmla="*/ 1861646 w 6096001"/>
              <a:gd name="connsiteY3964" fmla="*/ 437108 h 5392467"/>
              <a:gd name="connsiteX3965" fmla="*/ 1819097 w 6096001"/>
              <a:gd name="connsiteY3965" fmla="*/ 460316 h 5392467"/>
              <a:gd name="connsiteX3966" fmla="*/ 1776546 w 6096001"/>
              <a:gd name="connsiteY3966" fmla="*/ 483525 h 5392467"/>
              <a:gd name="connsiteX3967" fmla="*/ 1792019 w 6096001"/>
              <a:gd name="connsiteY3967" fmla="*/ 483525 h 5392467"/>
              <a:gd name="connsiteX3968" fmla="*/ 1855844 w 6096001"/>
              <a:gd name="connsiteY3968" fmla="*/ 450646 h 5392467"/>
              <a:gd name="connsiteX3969" fmla="*/ 1964153 w 6096001"/>
              <a:gd name="connsiteY3969" fmla="*/ 411964 h 5392467"/>
              <a:gd name="connsiteX3970" fmla="*/ 1979626 w 6096001"/>
              <a:gd name="connsiteY3970" fmla="*/ 410031 h 5392467"/>
              <a:gd name="connsiteX3971" fmla="*/ 1993166 w 6096001"/>
              <a:gd name="connsiteY3971" fmla="*/ 417767 h 5392467"/>
              <a:gd name="connsiteX3972" fmla="*/ 2004771 w 6096001"/>
              <a:gd name="connsiteY3972" fmla="*/ 431305 h 5392467"/>
              <a:gd name="connsiteX3973" fmla="*/ 2002836 w 6096001"/>
              <a:gd name="connsiteY3973" fmla="*/ 446778 h 5392467"/>
              <a:gd name="connsiteX3974" fmla="*/ 2035717 w 6096001"/>
              <a:gd name="connsiteY3974" fmla="*/ 433240 h 5392467"/>
              <a:gd name="connsiteX3975" fmla="*/ 1944812 w 6096001"/>
              <a:gd name="connsiteY3975" fmla="*/ 493197 h 5392467"/>
              <a:gd name="connsiteX3976" fmla="*/ 1956419 w 6096001"/>
              <a:gd name="connsiteY3976" fmla="*/ 504802 h 5392467"/>
              <a:gd name="connsiteX3977" fmla="*/ 1962220 w 6096001"/>
              <a:gd name="connsiteY3977" fmla="*/ 506735 h 5392467"/>
              <a:gd name="connsiteX3978" fmla="*/ 1981562 w 6096001"/>
              <a:gd name="connsiteY3978" fmla="*/ 502866 h 5392467"/>
              <a:gd name="connsiteX3979" fmla="*/ 2078265 w 6096001"/>
              <a:gd name="connsiteY3979" fmla="*/ 475789 h 5392467"/>
              <a:gd name="connsiteX3980" fmla="*/ 2116948 w 6096001"/>
              <a:gd name="connsiteY3980" fmla="*/ 469987 h 5392467"/>
              <a:gd name="connsiteX3981" fmla="*/ 2132421 w 6096001"/>
              <a:gd name="connsiteY3981" fmla="*/ 475789 h 5392467"/>
              <a:gd name="connsiteX3982" fmla="*/ 2115013 w 6096001"/>
              <a:gd name="connsiteY3982" fmla="*/ 483525 h 5392467"/>
              <a:gd name="connsiteX3983" fmla="*/ 1954484 w 6096001"/>
              <a:gd name="connsiteY3983" fmla="*/ 526076 h 5392467"/>
              <a:gd name="connsiteX3984" fmla="*/ 1952551 w 6096001"/>
              <a:gd name="connsiteY3984" fmla="*/ 528009 h 5392467"/>
              <a:gd name="connsiteX3985" fmla="*/ 1956419 w 6096001"/>
              <a:gd name="connsiteY3985" fmla="*/ 533812 h 5392467"/>
              <a:gd name="connsiteX3986" fmla="*/ 1923538 w 6096001"/>
              <a:gd name="connsiteY3986" fmla="*/ 543484 h 5392467"/>
              <a:gd name="connsiteX3987" fmla="*/ 1933210 w 6096001"/>
              <a:gd name="connsiteY3987" fmla="*/ 547350 h 5392467"/>
              <a:gd name="connsiteX3988" fmla="*/ 1855844 w 6096001"/>
              <a:gd name="connsiteY3988" fmla="*/ 574428 h 5392467"/>
              <a:gd name="connsiteX3989" fmla="*/ 1900328 w 6096001"/>
              <a:gd name="connsiteY3989" fmla="*/ 549285 h 5392467"/>
              <a:gd name="connsiteX3990" fmla="*/ 1890659 w 6096001"/>
              <a:gd name="connsiteY3990" fmla="*/ 553154 h 5392467"/>
              <a:gd name="connsiteX3991" fmla="*/ 1848108 w 6096001"/>
              <a:gd name="connsiteY3991" fmla="*/ 570560 h 5392467"/>
              <a:gd name="connsiteX3992" fmla="*/ 1813294 w 6096001"/>
              <a:gd name="connsiteY3992" fmla="*/ 587968 h 5392467"/>
              <a:gd name="connsiteX3993" fmla="*/ 1816673 w 6096001"/>
              <a:gd name="connsiteY3993" fmla="*/ 606553 h 5392467"/>
              <a:gd name="connsiteX3994" fmla="*/ 1807492 w 6096001"/>
              <a:gd name="connsiteY3994" fmla="*/ 613111 h 5392467"/>
              <a:gd name="connsiteX3995" fmla="*/ 1780415 w 6096001"/>
              <a:gd name="connsiteY3995" fmla="*/ 630519 h 5392467"/>
              <a:gd name="connsiteX3996" fmla="*/ 1733996 w 6096001"/>
              <a:gd name="connsiteY3996" fmla="*/ 655661 h 5392467"/>
              <a:gd name="connsiteX3997" fmla="*/ 1737864 w 6096001"/>
              <a:gd name="connsiteY3997" fmla="*/ 665331 h 5392467"/>
              <a:gd name="connsiteX3998" fmla="*/ 1811361 w 6096001"/>
              <a:gd name="connsiteY3998" fmla="*/ 632452 h 5392467"/>
              <a:gd name="connsiteX3999" fmla="*/ 1815229 w 6096001"/>
              <a:gd name="connsiteY3999" fmla="*/ 630519 h 5392467"/>
              <a:gd name="connsiteX4000" fmla="*/ 1818855 w 6096001"/>
              <a:gd name="connsiteY4000" fmla="*/ 619155 h 5392467"/>
              <a:gd name="connsiteX4001" fmla="*/ 1820451 w 6096001"/>
              <a:gd name="connsiteY4001" fmla="*/ 607623 h 5392467"/>
              <a:gd name="connsiteX4002" fmla="*/ 1864789 w 6096001"/>
              <a:gd name="connsiteY4002" fmla="*/ 585791 h 5392467"/>
              <a:gd name="connsiteX4003" fmla="*/ 1913868 w 6096001"/>
              <a:gd name="connsiteY4003" fmla="*/ 566691 h 5392467"/>
              <a:gd name="connsiteX4004" fmla="*/ 1927406 w 6096001"/>
              <a:gd name="connsiteY4004" fmla="*/ 560890 h 5392467"/>
              <a:gd name="connsiteX4005" fmla="*/ 1981562 w 6096001"/>
              <a:gd name="connsiteY4005" fmla="*/ 539614 h 5392467"/>
              <a:gd name="connsiteX4006" fmla="*/ 2037650 w 6096001"/>
              <a:gd name="connsiteY4006" fmla="*/ 526076 h 5392467"/>
              <a:gd name="connsiteX4007" fmla="*/ 2076333 w 6096001"/>
              <a:gd name="connsiteY4007" fmla="*/ 514471 h 5392467"/>
              <a:gd name="connsiteX4008" fmla="*/ 2116948 w 6096001"/>
              <a:gd name="connsiteY4008" fmla="*/ 506735 h 5392467"/>
              <a:gd name="connsiteX4009" fmla="*/ 2116948 w 6096001"/>
              <a:gd name="connsiteY4009" fmla="*/ 518339 h 5392467"/>
              <a:gd name="connsiteX4010" fmla="*/ 2132421 w 6096001"/>
              <a:gd name="connsiteY4010" fmla="*/ 522208 h 5392467"/>
              <a:gd name="connsiteX4011" fmla="*/ 2153695 w 6096001"/>
              <a:gd name="connsiteY4011" fmla="*/ 516406 h 5392467"/>
              <a:gd name="connsiteX4012" fmla="*/ 2171104 w 6096001"/>
              <a:gd name="connsiteY4012" fmla="*/ 524143 h 5392467"/>
              <a:gd name="connsiteX4013" fmla="*/ 2161432 w 6096001"/>
              <a:gd name="connsiteY4013" fmla="*/ 533812 h 5392467"/>
              <a:gd name="connsiteX4014" fmla="*/ 2062795 w 6096001"/>
              <a:gd name="connsiteY4014" fmla="*/ 578296 h 5392467"/>
              <a:gd name="connsiteX4015" fmla="*/ 2037650 w 6096001"/>
              <a:gd name="connsiteY4015" fmla="*/ 593769 h 5392467"/>
              <a:gd name="connsiteX4016" fmla="*/ 2029913 w 6096001"/>
              <a:gd name="connsiteY4016" fmla="*/ 597637 h 5392467"/>
              <a:gd name="connsiteX4017" fmla="*/ 2045387 w 6096001"/>
              <a:gd name="connsiteY4017" fmla="*/ 597637 h 5392467"/>
              <a:gd name="connsiteX4018" fmla="*/ 2056991 w 6096001"/>
              <a:gd name="connsiteY4018" fmla="*/ 595705 h 5392467"/>
              <a:gd name="connsiteX4019" fmla="*/ 2066661 w 6096001"/>
              <a:gd name="connsiteY4019" fmla="*/ 611178 h 5392467"/>
              <a:gd name="connsiteX4020" fmla="*/ 2060860 w 6096001"/>
              <a:gd name="connsiteY4020" fmla="*/ 616979 h 5392467"/>
              <a:gd name="connsiteX4021" fmla="*/ 2060860 w 6096001"/>
              <a:gd name="connsiteY4021" fmla="*/ 620847 h 5392467"/>
              <a:gd name="connsiteX4022" fmla="*/ 2068596 w 6096001"/>
              <a:gd name="connsiteY4022" fmla="*/ 616979 h 5392467"/>
              <a:gd name="connsiteX4023" fmla="*/ 2072464 w 6096001"/>
              <a:gd name="connsiteY4023" fmla="*/ 609242 h 5392467"/>
              <a:gd name="connsiteX4024" fmla="*/ 2084069 w 6096001"/>
              <a:gd name="connsiteY4024" fmla="*/ 607309 h 5392467"/>
              <a:gd name="connsiteX4025" fmla="*/ 2093739 w 6096001"/>
              <a:gd name="connsiteY4025" fmla="*/ 605374 h 5392467"/>
              <a:gd name="connsiteX4026" fmla="*/ 2118881 w 6096001"/>
              <a:gd name="connsiteY4026" fmla="*/ 597637 h 5392467"/>
              <a:gd name="connsiteX4027" fmla="*/ 2211719 w 6096001"/>
              <a:gd name="connsiteY4027" fmla="*/ 560890 h 5392467"/>
              <a:gd name="connsiteX4028" fmla="*/ 2229125 w 6096001"/>
              <a:gd name="connsiteY4028" fmla="*/ 551218 h 5392467"/>
              <a:gd name="connsiteX4029" fmla="*/ 2269743 w 6096001"/>
              <a:gd name="connsiteY4029" fmla="*/ 524143 h 5392467"/>
              <a:gd name="connsiteX4030" fmla="*/ 2287149 w 6096001"/>
              <a:gd name="connsiteY4030" fmla="*/ 520275 h 5392467"/>
              <a:gd name="connsiteX4031" fmla="*/ 2291017 w 6096001"/>
              <a:gd name="connsiteY4031" fmla="*/ 524143 h 5392467"/>
              <a:gd name="connsiteX4032" fmla="*/ 2289082 w 6096001"/>
              <a:gd name="connsiteY4032" fmla="*/ 529944 h 5392467"/>
              <a:gd name="connsiteX4033" fmla="*/ 2271676 w 6096001"/>
              <a:gd name="connsiteY4033" fmla="*/ 545417 h 5392467"/>
              <a:gd name="connsiteX4034" fmla="*/ 2285216 w 6096001"/>
              <a:gd name="connsiteY4034" fmla="*/ 549285 h 5392467"/>
              <a:gd name="connsiteX4035" fmla="*/ 2358710 w 6096001"/>
              <a:gd name="connsiteY4035" fmla="*/ 533812 h 5392467"/>
              <a:gd name="connsiteX4036" fmla="*/ 2291017 w 6096001"/>
              <a:gd name="connsiteY4036" fmla="*/ 557022 h 5392467"/>
              <a:gd name="connsiteX4037" fmla="*/ 2262007 w 6096001"/>
              <a:gd name="connsiteY4037" fmla="*/ 568627 h 5392467"/>
              <a:gd name="connsiteX4038" fmla="*/ 2231061 w 6096001"/>
              <a:gd name="connsiteY4038" fmla="*/ 582164 h 5392467"/>
              <a:gd name="connsiteX4039" fmla="*/ 2209786 w 6096001"/>
              <a:gd name="connsiteY4039" fmla="*/ 595705 h 5392467"/>
              <a:gd name="connsiteX4040" fmla="*/ 2221389 w 6096001"/>
              <a:gd name="connsiteY4040" fmla="*/ 597637 h 5392467"/>
              <a:gd name="connsiteX4041" fmla="*/ 2269743 w 6096001"/>
              <a:gd name="connsiteY4041" fmla="*/ 595705 h 5392467"/>
              <a:gd name="connsiteX4042" fmla="*/ 2310359 w 6096001"/>
              <a:gd name="connsiteY4042" fmla="*/ 582164 h 5392467"/>
              <a:gd name="connsiteX4043" fmla="*/ 2424471 w 6096001"/>
              <a:gd name="connsiteY4043" fmla="*/ 547350 h 5392467"/>
              <a:gd name="connsiteX4044" fmla="*/ 2449613 w 6096001"/>
              <a:gd name="connsiteY4044" fmla="*/ 543484 h 5392467"/>
              <a:gd name="connsiteX4045" fmla="*/ 2445745 w 6096001"/>
              <a:gd name="connsiteY4045" fmla="*/ 549285 h 5392467"/>
              <a:gd name="connsiteX4046" fmla="*/ 2374184 w 6096001"/>
              <a:gd name="connsiteY4046" fmla="*/ 589901 h 5392467"/>
              <a:gd name="connsiteX4047" fmla="*/ 2321963 w 6096001"/>
              <a:gd name="connsiteY4047" fmla="*/ 609242 h 5392467"/>
              <a:gd name="connsiteX4048" fmla="*/ 2196246 w 6096001"/>
              <a:gd name="connsiteY4048" fmla="*/ 649858 h 5392467"/>
              <a:gd name="connsiteX4049" fmla="*/ 2107279 w 6096001"/>
              <a:gd name="connsiteY4049" fmla="*/ 684672 h 5392467"/>
              <a:gd name="connsiteX4050" fmla="*/ 2109212 w 6096001"/>
              <a:gd name="connsiteY4050" fmla="*/ 692409 h 5392467"/>
              <a:gd name="connsiteX4051" fmla="*/ 2120816 w 6096001"/>
              <a:gd name="connsiteY4051" fmla="*/ 692409 h 5392467"/>
              <a:gd name="connsiteX4052" fmla="*/ 2113080 w 6096001"/>
              <a:gd name="connsiteY4052" fmla="*/ 696277 h 5392467"/>
              <a:gd name="connsiteX4053" fmla="*/ 2115013 w 6096001"/>
              <a:gd name="connsiteY4053" fmla="*/ 700145 h 5392467"/>
              <a:gd name="connsiteX4054" fmla="*/ 2122752 w 6096001"/>
              <a:gd name="connsiteY4054" fmla="*/ 698212 h 5392467"/>
              <a:gd name="connsiteX4055" fmla="*/ 2120816 w 6096001"/>
              <a:gd name="connsiteY4055" fmla="*/ 692409 h 5392467"/>
              <a:gd name="connsiteX4056" fmla="*/ 2126620 w 6096001"/>
              <a:gd name="connsiteY4056" fmla="*/ 692409 h 5392467"/>
              <a:gd name="connsiteX4057" fmla="*/ 2130488 w 6096001"/>
              <a:gd name="connsiteY4057" fmla="*/ 694344 h 5392467"/>
              <a:gd name="connsiteX4058" fmla="*/ 2123476 w 6096001"/>
              <a:gd name="connsiteY4058" fmla="*/ 700871 h 5392467"/>
              <a:gd name="connsiteX4059" fmla="*/ 2122235 w 6096001"/>
              <a:gd name="connsiteY4059" fmla="*/ 705949 h 5392467"/>
              <a:gd name="connsiteX4060" fmla="*/ 2120816 w 6096001"/>
              <a:gd name="connsiteY4060" fmla="*/ 705949 h 5392467"/>
              <a:gd name="connsiteX4061" fmla="*/ 2121769 w 6096001"/>
              <a:gd name="connsiteY4061" fmla="*/ 707852 h 5392467"/>
              <a:gd name="connsiteX4062" fmla="*/ 2120816 w 6096001"/>
              <a:gd name="connsiteY4062" fmla="*/ 711750 h 5392467"/>
              <a:gd name="connsiteX4063" fmla="*/ 2105343 w 6096001"/>
              <a:gd name="connsiteY4063" fmla="*/ 704013 h 5392467"/>
              <a:gd name="connsiteX4064" fmla="*/ 2099542 w 6096001"/>
              <a:gd name="connsiteY4064" fmla="*/ 705949 h 5392467"/>
              <a:gd name="connsiteX4065" fmla="*/ 2095671 w 6096001"/>
              <a:gd name="connsiteY4065" fmla="*/ 717553 h 5392467"/>
              <a:gd name="connsiteX4066" fmla="*/ 2078265 w 6096001"/>
              <a:gd name="connsiteY4066" fmla="*/ 723355 h 5392467"/>
              <a:gd name="connsiteX4067" fmla="*/ 2070529 w 6096001"/>
              <a:gd name="connsiteY4067" fmla="*/ 725290 h 5392467"/>
              <a:gd name="connsiteX4068" fmla="*/ 2072464 w 6096001"/>
              <a:gd name="connsiteY4068" fmla="*/ 704013 h 5392467"/>
              <a:gd name="connsiteX4069" fmla="*/ 2045387 w 6096001"/>
              <a:gd name="connsiteY4069" fmla="*/ 721419 h 5392467"/>
              <a:gd name="connsiteX4070" fmla="*/ 2058924 w 6096001"/>
              <a:gd name="connsiteY4070" fmla="*/ 713685 h 5392467"/>
              <a:gd name="connsiteX4071" fmla="*/ 2039585 w 6096001"/>
              <a:gd name="connsiteY4071" fmla="*/ 729156 h 5392467"/>
              <a:gd name="connsiteX4072" fmla="*/ 2014440 w 6096001"/>
              <a:gd name="connsiteY4072" fmla="*/ 758169 h 5392467"/>
              <a:gd name="connsiteX4073" fmla="*/ 2066661 w 6096001"/>
              <a:gd name="connsiteY4073" fmla="*/ 740761 h 5392467"/>
              <a:gd name="connsiteX4074" fmla="*/ 2058924 w 6096001"/>
              <a:gd name="connsiteY4074" fmla="*/ 748497 h 5392467"/>
              <a:gd name="connsiteX4075" fmla="*/ 2008637 w 6096001"/>
              <a:gd name="connsiteY4075" fmla="*/ 769774 h 5392467"/>
              <a:gd name="connsiteX4076" fmla="*/ 1989298 w 6096001"/>
              <a:gd name="connsiteY4076" fmla="*/ 779443 h 5392467"/>
              <a:gd name="connsiteX4077" fmla="*/ 1997035 w 6096001"/>
              <a:gd name="connsiteY4077" fmla="*/ 789115 h 5392467"/>
              <a:gd name="connsiteX4078" fmla="*/ 2010572 w 6096001"/>
              <a:gd name="connsiteY4078" fmla="*/ 785247 h 5392467"/>
              <a:gd name="connsiteX4079" fmla="*/ 2018309 w 6096001"/>
              <a:gd name="connsiteY4079" fmla="*/ 779443 h 5392467"/>
              <a:gd name="connsiteX4080" fmla="*/ 2058924 w 6096001"/>
              <a:gd name="connsiteY4080" fmla="*/ 771707 h 5392467"/>
              <a:gd name="connsiteX4081" fmla="*/ 2314227 w 6096001"/>
              <a:gd name="connsiteY4081" fmla="*/ 704013 h 5392467"/>
              <a:gd name="connsiteX4082" fmla="*/ 2329700 w 6096001"/>
              <a:gd name="connsiteY4082" fmla="*/ 702080 h 5392467"/>
              <a:gd name="connsiteX4083" fmla="*/ 2331633 w 6096001"/>
              <a:gd name="connsiteY4083" fmla="*/ 700145 h 5392467"/>
              <a:gd name="connsiteX4084" fmla="*/ 2337436 w 6096001"/>
              <a:gd name="connsiteY4084" fmla="*/ 696277 h 5392467"/>
              <a:gd name="connsiteX4085" fmla="*/ 2360646 w 6096001"/>
              <a:gd name="connsiteY4085" fmla="*/ 686607 h 5392467"/>
              <a:gd name="connsiteX4086" fmla="*/ 2362579 w 6096001"/>
              <a:gd name="connsiteY4086" fmla="*/ 682739 h 5392467"/>
              <a:gd name="connsiteX4087" fmla="*/ 2370315 w 6096001"/>
              <a:gd name="connsiteY4087" fmla="*/ 678871 h 5392467"/>
              <a:gd name="connsiteX4088" fmla="*/ 2378052 w 6096001"/>
              <a:gd name="connsiteY4088" fmla="*/ 675003 h 5392467"/>
              <a:gd name="connsiteX4089" fmla="*/ 2381920 w 6096001"/>
              <a:gd name="connsiteY4089" fmla="*/ 669199 h 5392467"/>
              <a:gd name="connsiteX4090" fmla="*/ 2399326 w 6096001"/>
              <a:gd name="connsiteY4090" fmla="*/ 657594 h 5392467"/>
              <a:gd name="connsiteX4091" fmla="*/ 2410933 w 6096001"/>
              <a:gd name="connsiteY4091" fmla="*/ 653726 h 5392467"/>
              <a:gd name="connsiteX4092" fmla="*/ 2420602 w 6096001"/>
              <a:gd name="connsiteY4092" fmla="*/ 651793 h 5392467"/>
              <a:gd name="connsiteX4093" fmla="*/ 2428339 w 6096001"/>
              <a:gd name="connsiteY4093" fmla="*/ 644057 h 5392467"/>
              <a:gd name="connsiteX4094" fmla="*/ 2430274 w 6096001"/>
              <a:gd name="connsiteY4094" fmla="*/ 640188 h 5392467"/>
              <a:gd name="connsiteX4095" fmla="*/ 2438008 w 6096001"/>
              <a:gd name="connsiteY4095" fmla="*/ 634385 h 5392467"/>
              <a:gd name="connsiteX4096" fmla="*/ 2445745 w 6096001"/>
              <a:gd name="connsiteY4096" fmla="*/ 630519 h 5392467"/>
              <a:gd name="connsiteX4097" fmla="*/ 2453481 w 6096001"/>
              <a:gd name="connsiteY4097" fmla="*/ 620847 h 5392467"/>
              <a:gd name="connsiteX4098" fmla="*/ 2517309 w 6096001"/>
              <a:gd name="connsiteY4098" fmla="*/ 582164 h 5392467"/>
              <a:gd name="connsiteX4099" fmla="*/ 2530847 w 6096001"/>
              <a:gd name="connsiteY4099" fmla="*/ 580232 h 5392467"/>
              <a:gd name="connsiteX4100" fmla="*/ 2542451 w 6096001"/>
              <a:gd name="connsiteY4100" fmla="*/ 578296 h 5392467"/>
              <a:gd name="connsiteX4101" fmla="*/ 2565661 w 6096001"/>
              <a:gd name="connsiteY4101" fmla="*/ 564758 h 5392467"/>
              <a:gd name="connsiteX4102" fmla="*/ 2575330 w 6096001"/>
              <a:gd name="connsiteY4102" fmla="*/ 562823 h 5392467"/>
              <a:gd name="connsiteX4103" fmla="*/ 2594672 w 6096001"/>
              <a:gd name="connsiteY4103" fmla="*/ 549285 h 5392467"/>
              <a:gd name="connsiteX4104" fmla="*/ 2598540 w 6096001"/>
              <a:gd name="connsiteY4104" fmla="*/ 547350 h 5392467"/>
              <a:gd name="connsiteX4105" fmla="*/ 2606276 w 6096001"/>
              <a:gd name="connsiteY4105" fmla="*/ 545417 h 5392467"/>
              <a:gd name="connsiteX4106" fmla="*/ 2652695 w 6096001"/>
              <a:gd name="connsiteY4106" fmla="*/ 516406 h 5392467"/>
              <a:gd name="connsiteX4107" fmla="*/ 2693311 w 6096001"/>
              <a:gd name="connsiteY4107" fmla="*/ 491262 h 5392467"/>
              <a:gd name="connsiteX4108" fmla="*/ 2701047 w 6096001"/>
              <a:gd name="connsiteY4108" fmla="*/ 489329 h 5392467"/>
              <a:gd name="connsiteX4109" fmla="*/ 2704916 w 6096001"/>
              <a:gd name="connsiteY4109" fmla="*/ 487393 h 5392467"/>
              <a:gd name="connsiteX4110" fmla="*/ 2708784 w 6096001"/>
              <a:gd name="connsiteY4110" fmla="*/ 481592 h 5392467"/>
              <a:gd name="connsiteX4111" fmla="*/ 2724257 w 6096001"/>
              <a:gd name="connsiteY4111" fmla="*/ 475789 h 5392467"/>
              <a:gd name="connsiteX4112" fmla="*/ 2751335 w 6096001"/>
              <a:gd name="connsiteY4112" fmla="*/ 458383 h 5392467"/>
              <a:gd name="connsiteX4113" fmla="*/ 2762937 w 6096001"/>
              <a:gd name="connsiteY4113" fmla="*/ 454514 h 5392467"/>
              <a:gd name="connsiteX4114" fmla="*/ 2772609 w 6096001"/>
              <a:gd name="connsiteY4114" fmla="*/ 448711 h 5392467"/>
              <a:gd name="connsiteX4115" fmla="*/ 2786147 w 6096001"/>
              <a:gd name="connsiteY4115" fmla="*/ 440974 h 5392467"/>
              <a:gd name="connsiteX4116" fmla="*/ 2795818 w 6096001"/>
              <a:gd name="connsiteY4116" fmla="*/ 435173 h 5392467"/>
              <a:gd name="connsiteX4117" fmla="*/ 2805488 w 6096001"/>
              <a:gd name="connsiteY4117" fmla="*/ 425504 h 5392467"/>
              <a:gd name="connsiteX4118" fmla="*/ 2815160 w 6096001"/>
              <a:gd name="connsiteY4118" fmla="*/ 417767 h 5392467"/>
              <a:gd name="connsiteX4119" fmla="*/ 2842237 w 6096001"/>
              <a:gd name="connsiteY4119" fmla="*/ 413899 h 5392467"/>
              <a:gd name="connsiteX4120" fmla="*/ 2844170 w 6096001"/>
              <a:gd name="connsiteY4120" fmla="*/ 417767 h 5392467"/>
              <a:gd name="connsiteX4121" fmla="*/ 2842237 w 6096001"/>
              <a:gd name="connsiteY4121" fmla="*/ 421635 h 5392467"/>
              <a:gd name="connsiteX4122" fmla="*/ 2836434 w 6096001"/>
              <a:gd name="connsiteY4122" fmla="*/ 425504 h 5392467"/>
              <a:gd name="connsiteX4123" fmla="*/ 2819028 w 6096001"/>
              <a:gd name="connsiteY4123" fmla="*/ 437108 h 5392467"/>
              <a:gd name="connsiteX4124" fmla="*/ 2817093 w 6096001"/>
              <a:gd name="connsiteY4124" fmla="*/ 439041 h 5392467"/>
              <a:gd name="connsiteX4125" fmla="*/ 2820961 w 6096001"/>
              <a:gd name="connsiteY4125" fmla="*/ 440974 h 5392467"/>
              <a:gd name="connsiteX4126" fmla="*/ 2830630 w 6096001"/>
              <a:gd name="connsiteY4126" fmla="*/ 440974 h 5392467"/>
              <a:gd name="connsiteX4127" fmla="*/ 2853840 w 6096001"/>
              <a:gd name="connsiteY4127" fmla="*/ 427437 h 5392467"/>
              <a:gd name="connsiteX4128" fmla="*/ 2861579 w 6096001"/>
              <a:gd name="connsiteY4128" fmla="*/ 425504 h 5392467"/>
              <a:gd name="connsiteX4129" fmla="*/ 2873181 w 6096001"/>
              <a:gd name="connsiteY4129" fmla="*/ 417767 h 5392467"/>
              <a:gd name="connsiteX4130" fmla="*/ 2877049 w 6096001"/>
              <a:gd name="connsiteY4130" fmla="*/ 411964 h 5392467"/>
              <a:gd name="connsiteX4131" fmla="*/ 2884788 w 6096001"/>
              <a:gd name="connsiteY4131" fmla="*/ 410031 h 5392467"/>
              <a:gd name="connsiteX4132" fmla="*/ 2913799 w 6096001"/>
              <a:gd name="connsiteY4132" fmla="*/ 415832 h 5392467"/>
              <a:gd name="connsiteX4133" fmla="*/ 2921536 w 6096001"/>
              <a:gd name="connsiteY4133" fmla="*/ 411964 h 5392467"/>
              <a:gd name="connsiteX4134" fmla="*/ 2925404 w 6096001"/>
              <a:gd name="connsiteY4134" fmla="*/ 408095 h 5392467"/>
              <a:gd name="connsiteX4135" fmla="*/ 2935073 w 6096001"/>
              <a:gd name="connsiteY4135" fmla="*/ 406162 h 5392467"/>
              <a:gd name="connsiteX4136" fmla="*/ 2952482 w 6096001"/>
              <a:gd name="connsiteY4136" fmla="*/ 396491 h 5392467"/>
              <a:gd name="connsiteX4137" fmla="*/ 2969888 w 6096001"/>
              <a:gd name="connsiteY4137" fmla="*/ 390689 h 5392467"/>
              <a:gd name="connsiteX4138" fmla="*/ 2971823 w 6096001"/>
              <a:gd name="connsiteY4138" fmla="*/ 390689 h 5392467"/>
              <a:gd name="connsiteX4139" fmla="*/ 2989229 w 6096001"/>
              <a:gd name="connsiteY4139" fmla="*/ 377149 h 5392467"/>
              <a:gd name="connsiteX4140" fmla="*/ 2993097 w 6096001"/>
              <a:gd name="connsiteY4140" fmla="*/ 375216 h 5392467"/>
              <a:gd name="connsiteX4141" fmla="*/ 3000834 w 6096001"/>
              <a:gd name="connsiteY4141" fmla="*/ 373281 h 5392467"/>
              <a:gd name="connsiteX4142" fmla="*/ 3024041 w 6096001"/>
              <a:gd name="connsiteY4142" fmla="*/ 359743 h 5392467"/>
              <a:gd name="connsiteX4143" fmla="*/ 3029844 w 6096001"/>
              <a:gd name="connsiteY4143" fmla="*/ 355875 h 5392467"/>
              <a:gd name="connsiteX4144" fmla="*/ 3054987 w 6096001"/>
              <a:gd name="connsiteY4144" fmla="*/ 346206 h 5392467"/>
              <a:gd name="connsiteX4145" fmla="*/ 3062723 w 6096001"/>
              <a:gd name="connsiteY4145" fmla="*/ 344270 h 5392467"/>
              <a:gd name="connsiteX4146" fmla="*/ 3082065 w 6096001"/>
              <a:gd name="connsiteY4146" fmla="*/ 330733 h 5392467"/>
              <a:gd name="connsiteX4147" fmla="*/ 3091734 w 6096001"/>
              <a:gd name="connsiteY4147" fmla="*/ 324929 h 5392467"/>
              <a:gd name="connsiteX4148" fmla="*/ 3095605 w 6096001"/>
              <a:gd name="connsiteY4148" fmla="*/ 322996 h 5392467"/>
              <a:gd name="connsiteX4149" fmla="*/ 3109142 w 6096001"/>
              <a:gd name="connsiteY4149" fmla="*/ 313324 h 5392467"/>
              <a:gd name="connsiteX4150" fmla="*/ 3132352 w 6096001"/>
              <a:gd name="connsiteY4150" fmla="*/ 303655 h 5392467"/>
              <a:gd name="connsiteX4151" fmla="*/ 3138153 w 6096001"/>
              <a:gd name="connsiteY4151" fmla="*/ 301719 h 5392467"/>
              <a:gd name="connsiteX4152" fmla="*/ 3151693 w 6096001"/>
              <a:gd name="connsiteY4152" fmla="*/ 297851 h 5392467"/>
              <a:gd name="connsiteX4153" fmla="*/ 3203913 w 6096001"/>
              <a:gd name="connsiteY4153" fmla="*/ 266905 h 5392467"/>
              <a:gd name="connsiteX4154" fmla="*/ 3217451 w 6096001"/>
              <a:gd name="connsiteY4154" fmla="*/ 263039 h 5392467"/>
              <a:gd name="connsiteX4155" fmla="*/ 3225188 w 6096001"/>
              <a:gd name="connsiteY4155" fmla="*/ 261104 h 5392467"/>
              <a:gd name="connsiteX4156" fmla="*/ 3261937 w 6096001"/>
              <a:gd name="connsiteY4156" fmla="*/ 239830 h 5392467"/>
              <a:gd name="connsiteX4157" fmla="*/ 3267739 w 6096001"/>
              <a:gd name="connsiteY4157" fmla="*/ 237894 h 5392467"/>
              <a:gd name="connsiteX4158" fmla="*/ 3275475 w 6096001"/>
              <a:gd name="connsiteY4158" fmla="*/ 234026 h 5392467"/>
              <a:gd name="connsiteX4159" fmla="*/ 3279343 w 6096001"/>
              <a:gd name="connsiteY4159" fmla="*/ 230158 h 5392467"/>
              <a:gd name="connsiteX4160" fmla="*/ 3294816 w 6096001"/>
              <a:gd name="connsiteY4160" fmla="*/ 224357 h 5392467"/>
              <a:gd name="connsiteX4161" fmla="*/ 3325762 w 6096001"/>
              <a:gd name="connsiteY4161" fmla="*/ 206948 h 5392467"/>
              <a:gd name="connsiteX4162" fmla="*/ 3333499 w 6096001"/>
              <a:gd name="connsiteY4162" fmla="*/ 205015 h 5392467"/>
              <a:gd name="connsiteX4163" fmla="*/ 3352840 w 6096001"/>
              <a:gd name="connsiteY4163" fmla="*/ 203080 h 5392467"/>
              <a:gd name="connsiteX4164" fmla="*/ 3366378 w 6096001"/>
              <a:gd name="connsiteY4164" fmla="*/ 199212 h 5392467"/>
              <a:gd name="connsiteX4165" fmla="*/ 3385719 w 6096001"/>
              <a:gd name="connsiteY4165" fmla="*/ 187607 h 5392467"/>
              <a:gd name="connsiteX4166" fmla="*/ 3393456 w 6096001"/>
              <a:gd name="connsiteY4166" fmla="*/ 185674 h 5392467"/>
              <a:gd name="connsiteX4167" fmla="*/ 3401192 w 6096001"/>
              <a:gd name="connsiteY4167" fmla="*/ 183739 h 5392467"/>
              <a:gd name="connsiteX4168" fmla="*/ 3416665 w 6096001"/>
              <a:gd name="connsiteY4168" fmla="*/ 176005 h 5392467"/>
              <a:gd name="connsiteX4169" fmla="*/ 3428270 w 6096001"/>
              <a:gd name="connsiteY4169" fmla="*/ 172136 h 5392467"/>
              <a:gd name="connsiteX4170" fmla="*/ 3432138 w 6096001"/>
              <a:gd name="connsiteY4170" fmla="*/ 170201 h 5392467"/>
              <a:gd name="connsiteX4171" fmla="*/ 3447611 w 6096001"/>
              <a:gd name="connsiteY4171" fmla="*/ 160532 h 5392467"/>
              <a:gd name="connsiteX4172" fmla="*/ 3451479 w 6096001"/>
              <a:gd name="connsiteY4172" fmla="*/ 158596 h 5392467"/>
              <a:gd name="connsiteX4173" fmla="*/ 3463084 w 6096001"/>
              <a:gd name="connsiteY4173" fmla="*/ 154728 h 5392467"/>
              <a:gd name="connsiteX4174" fmla="*/ 3486294 w 6096001"/>
              <a:gd name="connsiteY4174" fmla="*/ 141190 h 5392467"/>
              <a:gd name="connsiteX4175" fmla="*/ 3509501 w 6096001"/>
              <a:gd name="connsiteY4175" fmla="*/ 131519 h 5392467"/>
              <a:gd name="connsiteX4176" fmla="*/ 3524974 w 6096001"/>
              <a:gd name="connsiteY4176" fmla="*/ 121849 h 5392467"/>
              <a:gd name="connsiteX4177" fmla="*/ 3528842 w 6096001"/>
              <a:gd name="connsiteY4177" fmla="*/ 119914 h 5392467"/>
              <a:gd name="connsiteX4178" fmla="*/ 3538514 w 6096001"/>
              <a:gd name="connsiteY4178" fmla="*/ 117981 h 5392467"/>
              <a:gd name="connsiteX4179" fmla="*/ 3552052 w 6096001"/>
              <a:gd name="connsiteY4179" fmla="*/ 110244 h 5392467"/>
              <a:gd name="connsiteX4180" fmla="*/ 3561723 w 6096001"/>
              <a:gd name="connsiteY4180" fmla="*/ 108309 h 5392467"/>
              <a:gd name="connsiteX4181" fmla="*/ 3575261 w 6096001"/>
              <a:gd name="connsiteY4181" fmla="*/ 106376 h 5392467"/>
              <a:gd name="connsiteX4182" fmla="*/ 3592667 w 6096001"/>
              <a:gd name="connsiteY4182" fmla="*/ 100572 h 5392467"/>
              <a:gd name="connsiteX4183" fmla="*/ 3596535 w 6096001"/>
              <a:gd name="connsiteY4183" fmla="*/ 98639 h 5392467"/>
              <a:gd name="connsiteX4184" fmla="*/ 3619745 w 6096001"/>
              <a:gd name="connsiteY4184" fmla="*/ 88970 h 5392467"/>
              <a:gd name="connsiteX4185" fmla="*/ 3631350 w 6096001"/>
              <a:gd name="connsiteY4185" fmla="*/ 83166 h 5392467"/>
              <a:gd name="connsiteX4186" fmla="*/ 3660363 w 6096001"/>
              <a:gd name="connsiteY4186" fmla="*/ 77365 h 5392467"/>
              <a:gd name="connsiteX4187" fmla="*/ 3666164 w 6096001"/>
              <a:gd name="connsiteY4187" fmla="*/ 77365 h 5392467"/>
              <a:gd name="connsiteX4188" fmla="*/ 3675833 w 6096001"/>
              <a:gd name="connsiteY4188" fmla="*/ 71562 h 5392467"/>
              <a:gd name="connsiteX4189" fmla="*/ 3685505 w 6096001"/>
              <a:gd name="connsiteY4189" fmla="*/ 61892 h 5392467"/>
              <a:gd name="connsiteX4190" fmla="*/ 3731924 w 6096001"/>
              <a:gd name="connsiteY4190" fmla="*/ 32879 h 5392467"/>
              <a:gd name="connsiteX4191" fmla="*/ 3741594 w 6096001"/>
              <a:gd name="connsiteY4191" fmla="*/ 30946 h 5392467"/>
              <a:gd name="connsiteX4192" fmla="*/ 3743527 w 6096001"/>
              <a:gd name="connsiteY4192" fmla="*/ 30946 h 5392467"/>
              <a:gd name="connsiteX4193" fmla="*/ 3757067 w 6096001"/>
              <a:gd name="connsiteY4193" fmla="*/ 23210 h 5392467"/>
              <a:gd name="connsiteX4194" fmla="*/ 3770607 w 6096001"/>
              <a:gd name="connsiteY4194" fmla="*/ 19341 h 5392467"/>
              <a:gd name="connsiteX4195" fmla="*/ 3772540 w 6096001"/>
              <a:gd name="connsiteY4195" fmla="*/ 17406 h 5392467"/>
              <a:gd name="connsiteX4196" fmla="*/ 3784145 w 6096001"/>
              <a:gd name="connsiteY4196" fmla="*/ 13538 h 5392467"/>
              <a:gd name="connsiteX4197" fmla="*/ 3797682 w 6096001"/>
              <a:gd name="connsiteY4197" fmla="*/ 11605 h 5392467"/>
              <a:gd name="connsiteX4198" fmla="*/ 3809287 w 6096001"/>
              <a:gd name="connsiteY4198" fmla="*/ 7737 h 5392467"/>
              <a:gd name="connsiteX4199" fmla="*/ 3820892 w 6096001"/>
              <a:gd name="connsiteY4199" fmla="*/ 7737 h 5392467"/>
              <a:gd name="connsiteX4200" fmla="*/ 3834432 w 6096001"/>
              <a:gd name="connsiteY4200" fmla="*/ 3868 h 5392467"/>
              <a:gd name="connsiteX4201" fmla="*/ 3849903 w 6096001"/>
              <a:gd name="connsiteY4201" fmla="*/ 1935 h 5392467"/>
              <a:gd name="connsiteX4202" fmla="*/ 3863443 w 6096001"/>
              <a:gd name="connsiteY4202" fmla="*/ 0 h 5392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</a:cxnLst>
            <a:rect l="l" t="t" r="r" b="b"/>
            <a:pathLst>
              <a:path w="6096001" h="5392467">
                <a:moveTo>
                  <a:pt x="2497968" y="5359400"/>
                </a:moveTo>
                <a:cubicBezTo>
                  <a:pt x="2497968" y="5359400"/>
                  <a:pt x="2499901" y="5361333"/>
                  <a:pt x="2499901" y="5361333"/>
                </a:cubicBezTo>
                <a:cubicBezTo>
                  <a:pt x="2497968" y="5361333"/>
                  <a:pt x="2496032" y="5363268"/>
                  <a:pt x="2490229" y="5365201"/>
                </a:cubicBezTo>
                <a:cubicBezTo>
                  <a:pt x="2494099" y="5361333"/>
                  <a:pt x="2496032" y="5359400"/>
                  <a:pt x="2497968" y="5359400"/>
                </a:cubicBezTo>
                <a:close/>
                <a:moveTo>
                  <a:pt x="2350974" y="5357464"/>
                </a:moveTo>
                <a:cubicBezTo>
                  <a:pt x="2343240" y="5359400"/>
                  <a:pt x="2343240" y="5359400"/>
                  <a:pt x="2343240" y="5367136"/>
                </a:cubicBezTo>
                <a:cubicBezTo>
                  <a:pt x="2349041" y="5367136"/>
                  <a:pt x="2350974" y="5363268"/>
                  <a:pt x="2350974" y="5357464"/>
                </a:cubicBezTo>
                <a:close/>
                <a:moveTo>
                  <a:pt x="2462686" y="5341466"/>
                </a:moveTo>
                <a:lnTo>
                  <a:pt x="2466220" y="5342526"/>
                </a:lnTo>
                <a:lnTo>
                  <a:pt x="2461218" y="5345862"/>
                </a:lnTo>
                <a:lnTo>
                  <a:pt x="2459331" y="5348881"/>
                </a:lnTo>
                <a:lnTo>
                  <a:pt x="2457350" y="5349730"/>
                </a:lnTo>
                <a:lnTo>
                  <a:pt x="2460736" y="5342109"/>
                </a:lnTo>
                <a:close/>
                <a:moveTo>
                  <a:pt x="2484427" y="5334257"/>
                </a:moveTo>
                <a:cubicBezTo>
                  <a:pt x="2480559" y="5336190"/>
                  <a:pt x="2478626" y="5336190"/>
                  <a:pt x="2472823" y="5340058"/>
                </a:cubicBezTo>
                <a:cubicBezTo>
                  <a:pt x="2482492" y="5341991"/>
                  <a:pt x="2482492" y="5341991"/>
                  <a:pt x="2484427" y="5334257"/>
                </a:cubicBezTo>
                <a:close/>
                <a:moveTo>
                  <a:pt x="2345173" y="5328454"/>
                </a:moveTo>
                <a:cubicBezTo>
                  <a:pt x="2329700" y="5332322"/>
                  <a:pt x="2329700" y="5332322"/>
                  <a:pt x="2327765" y="5341991"/>
                </a:cubicBezTo>
                <a:cubicBezTo>
                  <a:pt x="2335501" y="5341991"/>
                  <a:pt x="2341304" y="5336190"/>
                  <a:pt x="2345173" y="5328454"/>
                </a:cubicBezTo>
                <a:close/>
                <a:moveTo>
                  <a:pt x="2507636" y="5314916"/>
                </a:moveTo>
                <a:lnTo>
                  <a:pt x="2507637" y="5314916"/>
                </a:lnTo>
                <a:lnTo>
                  <a:pt x="2501533" y="5317968"/>
                </a:lnTo>
                <a:close/>
                <a:moveTo>
                  <a:pt x="3360577" y="5311048"/>
                </a:moveTo>
                <a:cubicBezTo>
                  <a:pt x="3358641" y="5316849"/>
                  <a:pt x="3354773" y="5320717"/>
                  <a:pt x="3348972" y="5324585"/>
                </a:cubicBezTo>
                <a:cubicBezTo>
                  <a:pt x="3352840" y="5322652"/>
                  <a:pt x="3354773" y="5318782"/>
                  <a:pt x="3354773" y="5312981"/>
                </a:cubicBezTo>
                <a:cubicBezTo>
                  <a:pt x="3356708" y="5312981"/>
                  <a:pt x="3358641" y="5311048"/>
                  <a:pt x="3360577" y="5311048"/>
                </a:cubicBezTo>
                <a:close/>
                <a:moveTo>
                  <a:pt x="2532779" y="5305244"/>
                </a:moveTo>
                <a:cubicBezTo>
                  <a:pt x="2534715" y="5305244"/>
                  <a:pt x="2536648" y="5305244"/>
                  <a:pt x="2538583" y="5307179"/>
                </a:cubicBezTo>
                <a:cubicBezTo>
                  <a:pt x="2538583" y="5307179"/>
                  <a:pt x="2538583" y="5311048"/>
                  <a:pt x="2536648" y="5311048"/>
                </a:cubicBezTo>
                <a:cubicBezTo>
                  <a:pt x="2536648" y="5311048"/>
                  <a:pt x="2532779" y="5311048"/>
                  <a:pt x="2532779" y="5311048"/>
                </a:cubicBezTo>
                <a:cubicBezTo>
                  <a:pt x="2532779" y="5309112"/>
                  <a:pt x="2532779" y="5307179"/>
                  <a:pt x="2532779" y="5305244"/>
                </a:cubicBezTo>
                <a:close/>
                <a:moveTo>
                  <a:pt x="3319961" y="5291706"/>
                </a:moveTo>
                <a:cubicBezTo>
                  <a:pt x="3314158" y="5295575"/>
                  <a:pt x="3312222" y="5299443"/>
                  <a:pt x="3314158" y="5305244"/>
                </a:cubicBezTo>
                <a:cubicBezTo>
                  <a:pt x="3314158" y="5299443"/>
                  <a:pt x="3321894" y="5297508"/>
                  <a:pt x="3319961" y="5291706"/>
                </a:cubicBezTo>
                <a:close/>
                <a:moveTo>
                  <a:pt x="2292950" y="5291706"/>
                </a:moveTo>
                <a:cubicBezTo>
                  <a:pt x="2289082" y="5297508"/>
                  <a:pt x="2287149" y="5303311"/>
                  <a:pt x="2285216" y="5309112"/>
                </a:cubicBezTo>
                <a:cubicBezTo>
                  <a:pt x="2287149" y="5307179"/>
                  <a:pt x="2291017" y="5305244"/>
                  <a:pt x="2294885" y="5303311"/>
                </a:cubicBezTo>
                <a:cubicBezTo>
                  <a:pt x="2294885" y="5303311"/>
                  <a:pt x="2296821" y="5305244"/>
                  <a:pt x="2296821" y="5305244"/>
                </a:cubicBezTo>
                <a:cubicBezTo>
                  <a:pt x="2294885" y="5309112"/>
                  <a:pt x="2292950" y="5311048"/>
                  <a:pt x="2291017" y="5314916"/>
                </a:cubicBezTo>
                <a:cubicBezTo>
                  <a:pt x="2291017" y="5314916"/>
                  <a:pt x="2292950" y="5316849"/>
                  <a:pt x="2292950" y="5316849"/>
                </a:cubicBezTo>
                <a:cubicBezTo>
                  <a:pt x="2298754" y="5312981"/>
                  <a:pt x="2304557" y="5307179"/>
                  <a:pt x="2312291" y="5297508"/>
                </a:cubicBezTo>
                <a:cubicBezTo>
                  <a:pt x="2312291" y="5297508"/>
                  <a:pt x="2312291" y="5295575"/>
                  <a:pt x="2312291" y="5295575"/>
                </a:cubicBezTo>
                <a:cubicBezTo>
                  <a:pt x="2308423" y="5297508"/>
                  <a:pt x="2304557" y="5297508"/>
                  <a:pt x="2300689" y="5299443"/>
                </a:cubicBezTo>
                <a:cubicBezTo>
                  <a:pt x="2296821" y="5295575"/>
                  <a:pt x="2294885" y="5293639"/>
                  <a:pt x="2292950" y="5291706"/>
                </a:cubicBezTo>
                <a:close/>
                <a:moveTo>
                  <a:pt x="2265875" y="5285905"/>
                </a:moveTo>
                <a:cubicBezTo>
                  <a:pt x="2258138" y="5293639"/>
                  <a:pt x="2258138" y="5293639"/>
                  <a:pt x="2265875" y="5301376"/>
                </a:cubicBezTo>
                <a:cubicBezTo>
                  <a:pt x="2267808" y="5293639"/>
                  <a:pt x="2267808" y="5291706"/>
                  <a:pt x="2265875" y="5285905"/>
                </a:cubicBezTo>
                <a:close/>
                <a:moveTo>
                  <a:pt x="2625618" y="5278166"/>
                </a:moveTo>
                <a:cubicBezTo>
                  <a:pt x="2625618" y="5278166"/>
                  <a:pt x="2627551" y="5280102"/>
                  <a:pt x="2627551" y="5280102"/>
                </a:cubicBezTo>
                <a:cubicBezTo>
                  <a:pt x="2619814" y="5287838"/>
                  <a:pt x="2612078" y="5295575"/>
                  <a:pt x="2600473" y="5293639"/>
                </a:cubicBezTo>
                <a:cubicBezTo>
                  <a:pt x="2608209" y="5287838"/>
                  <a:pt x="2615946" y="5283970"/>
                  <a:pt x="2625618" y="5278166"/>
                </a:cubicBezTo>
                <a:close/>
                <a:moveTo>
                  <a:pt x="2263939" y="5270430"/>
                </a:moveTo>
                <a:cubicBezTo>
                  <a:pt x="2262007" y="5272365"/>
                  <a:pt x="2258138" y="5274298"/>
                  <a:pt x="2256203" y="5278166"/>
                </a:cubicBezTo>
                <a:cubicBezTo>
                  <a:pt x="2260071" y="5276233"/>
                  <a:pt x="2263939" y="5276233"/>
                  <a:pt x="2265875" y="5274298"/>
                </a:cubicBezTo>
                <a:cubicBezTo>
                  <a:pt x="2263939" y="5272365"/>
                  <a:pt x="2263939" y="5272365"/>
                  <a:pt x="2263939" y="5270430"/>
                </a:cubicBezTo>
                <a:close/>
                <a:moveTo>
                  <a:pt x="2273611" y="5266564"/>
                </a:moveTo>
                <a:cubicBezTo>
                  <a:pt x="2273611" y="5266564"/>
                  <a:pt x="2271676" y="5268497"/>
                  <a:pt x="2271676" y="5268497"/>
                </a:cubicBezTo>
                <a:cubicBezTo>
                  <a:pt x="2271676" y="5270430"/>
                  <a:pt x="2273611" y="5272365"/>
                  <a:pt x="2275544" y="5274298"/>
                </a:cubicBezTo>
                <a:cubicBezTo>
                  <a:pt x="2275544" y="5274298"/>
                  <a:pt x="2275544" y="5272365"/>
                  <a:pt x="2277479" y="5272365"/>
                </a:cubicBezTo>
                <a:cubicBezTo>
                  <a:pt x="2275544" y="5270430"/>
                  <a:pt x="2275544" y="5268497"/>
                  <a:pt x="2273611" y="5266564"/>
                </a:cubicBezTo>
                <a:close/>
                <a:moveTo>
                  <a:pt x="3416665" y="5249156"/>
                </a:moveTo>
                <a:cubicBezTo>
                  <a:pt x="3416665" y="5253024"/>
                  <a:pt x="3414730" y="5256892"/>
                  <a:pt x="3412797" y="5260760"/>
                </a:cubicBezTo>
                <a:cubicBezTo>
                  <a:pt x="3410862" y="5254957"/>
                  <a:pt x="3414730" y="5251088"/>
                  <a:pt x="3416665" y="5249156"/>
                </a:cubicBezTo>
                <a:close/>
                <a:moveTo>
                  <a:pt x="2677838" y="5249156"/>
                </a:moveTo>
                <a:cubicBezTo>
                  <a:pt x="2677838" y="5249156"/>
                  <a:pt x="2679771" y="5249156"/>
                  <a:pt x="2683639" y="5251088"/>
                </a:cubicBezTo>
                <a:cubicBezTo>
                  <a:pt x="2675903" y="5254957"/>
                  <a:pt x="2672037" y="5260760"/>
                  <a:pt x="2666233" y="5264629"/>
                </a:cubicBezTo>
                <a:cubicBezTo>
                  <a:pt x="2654628" y="5268497"/>
                  <a:pt x="2644959" y="5274298"/>
                  <a:pt x="2631419" y="5278166"/>
                </a:cubicBezTo>
                <a:cubicBezTo>
                  <a:pt x="2635287" y="5274298"/>
                  <a:pt x="2639155" y="5270430"/>
                  <a:pt x="2644959" y="5266564"/>
                </a:cubicBezTo>
                <a:cubicBezTo>
                  <a:pt x="2654628" y="5260760"/>
                  <a:pt x="2666233" y="5254957"/>
                  <a:pt x="2677838" y="5249156"/>
                </a:cubicBezTo>
                <a:close/>
                <a:moveTo>
                  <a:pt x="1467088" y="5239486"/>
                </a:moveTo>
                <a:lnTo>
                  <a:pt x="1467713" y="5240111"/>
                </a:lnTo>
                <a:lnTo>
                  <a:pt x="1461787" y="5243853"/>
                </a:lnTo>
                <a:lnTo>
                  <a:pt x="1461287" y="5243354"/>
                </a:lnTo>
                <a:cubicBezTo>
                  <a:pt x="1463222" y="5241419"/>
                  <a:pt x="1465155" y="5241419"/>
                  <a:pt x="1467088" y="5239486"/>
                </a:cubicBezTo>
                <a:close/>
                <a:moveTo>
                  <a:pt x="3429777" y="5233934"/>
                </a:moveTo>
                <a:lnTo>
                  <a:pt x="3430203" y="5234005"/>
                </a:lnTo>
                <a:lnTo>
                  <a:pt x="3420533" y="5245287"/>
                </a:lnTo>
                <a:cubicBezTo>
                  <a:pt x="3422467" y="5243353"/>
                  <a:pt x="3423918" y="5240452"/>
                  <a:pt x="3425611" y="5237793"/>
                </a:cubicBezTo>
                <a:close/>
                <a:moveTo>
                  <a:pt x="2716520" y="5222078"/>
                </a:moveTo>
                <a:cubicBezTo>
                  <a:pt x="2716520" y="5233683"/>
                  <a:pt x="2710717" y="5239486"/>
                  <a:pt x="2687510" y="5243354"/>
                </a:cubicBezTo>
                <a:cubicBezTo>
                  <a:pt x="2697179" y="5235618"/>
                  <a:pt x="2706849" y="5229814"/>
                  <a:pt x="2716520" y="5222078"/>
                </a:cubicBezTo>
                <a:close/>
                <a:moveTo>
                  <a:pt x="2739730" y="5214341"/>
                </a:moveTo>
                <a:cubicBezTo>
                  <a:pt x="2739730" y="5214341"/>
                  <a:pt x="2741663" y="5216277"/>
                  <a:pt x="2741663" y="5216277"/>
                </a:cubicBezTo>
                <a:cubicBezTo>
                  <a:pt x="2739730" y="5216277"/>
                  <a:pt x="2737795" y="5218209"/>
                  <a:pt x="2735862" y="5220145"/>
                </a:cubicBezTo>
                <a:cubicBezTo>
                  <a:pt x="2735862" y="5220145"/>
                  <a:pt x="2733926" y="5218209"/>
                  <a:pt x="2733926" y="5218209"/>
                </a:cubicBezTo>
                <a:cubicBezTo>
                  <a:pt x="2735862" y="5216277"/>
                  <a:pt x="2737795" y="5214341"/>
                  <a:pt x="2739730" y="5214341"/>
                </a:cubicBezTo>
                <a:close/>
                <a:moveTo>
                  <a:pt x="3424402" y="5212408"/>
                </a:moveTo>
                <a:cubicBezTo>
                  <a:pt x="3426337" y="5212408"/>
                  <a:pt x="3428270" y="5212408"/>
                  <a:pt x="3428270" y="5212408"/>
                </a:cubicBezTo>
                <a:cubicBezTo>
                  <a:pt x="3426337" y="5214341"/>
                  <a:pt x="3426337" y="5216277"/>
                  <a:pt x="3424402" y="5216277"/>
                </a:cubicBezTo>
                <a:cubicBezTo>
                  <a:pt x="3424402" y="5214341"/>
                  <a:pt x="3424402" y="5214341"/>
                  <a:pt x="3424402" y="5212408"/>
                </a:cubicBezTo>
                <a:close/>
                <a:moveTo>
                  <a:pt x="2755203" y="5202736"/>
                </a:moveTo>
                <a:cubicBezTo>
                  <a:pt x="2753268" y="5206605"/>
                  <a:pt x="2755203" y="5208540"/>
                  <a:pt x="2753268" y="5208540"/>
                </a:cubicBezTo>
                <a:cubicBezTo>
                  <a:pt x="2753268" y="5208540"/>
                  <a:pt x="2751335" y="5210473"/>
                  <a:pt x="2749399" y="5210473"/>
                </a:cubicBezTo>
                <a:cubicBezTo>
                  <a:pt x="2749399" y="5208540"/>
                  <a:pt x="2747464" y="5208540"/>
                  <a:pt x="2749399" y="5206605"/>
                </a:cubicBezTo>
                <a:cubicBezTo>
                  <a:pt x="2749399" y="5204672"/>
                  <a:pt x="2751335" y="5204672"/>
                  <a:pt x="2755203" y="5202736"/>
                </a:cubicBezTo>
                <a:close/>
                <a:moveTo>
                  <a:pt x="3265806" y="5185330"/>
                </a:moveTo>
                <a:cubicBezTo>
                  <a:pt x="3260002" y="5189199"/>
                  <a:pt x="3258069" y="5193067"/>
                  <a:pt x="3260002" y="5198871"/>
                </a:cubicBezTo>
                <a:cubicBezTo>
                  <a:pt x="3260002" y="5195000"/>
                  <a:pt x="3265806" y="5193067"/>
                  <a:pt x="3265806" y="5185330"/>
                </a:cubicBezTo>
                <a:close/>
                <a:moveTo>
                  <a:pt x="2726190" y="5179529"/>
                </a:moveTo>
                <a:cubicBezTo>
                  <a:pt x="2726190" y="5181462"/>
                  <a:pt x="2726190" y="5185330"/>
                  <a:pt x="2726190" y="5185330"/>
                </a:cubicBezTo>
                <a:cubicBezTo>
                  <a:pt x="2728125" y="5185330"/>
                  <a:pt x="2730058" y="5187263"/>
                  <a:pt x="2731993" y="5185330"/>
                </a:cubicBezTo>
                <a:cubicBezTo>
                  <a:pt x="2731993" y="5185330"/>
                  <a:pt x="2731993" y="5181462"/>
                  <a:pt x="2733926" y="5181462"/>
                </a:cubicBezTo>
                <a:cubicBezTo>
                  <a:pt x="2731993" y="5179529"/>
                  <a:pt x="2730058" y="5179529"/>
                  <a:pt x="2726190" y="5179529"/>
                </a:cubicBezTo>
                <a:close/>
                <a:moveTo>
                  <a:pt x="2784214" y="5177594"/>
                </a:moveTo>
                <a:cubicBezTo>
                  <a:pt x="2788082" y="5177594"/>
                  <a:pt x="2791950" y="5177594"/>
                  <a:pt x="2797754" y="5177594"/>
                </a:cubicBezTo>
                <a:cubicBezTo>
                  <a:pt x="2790015" y="5187263"/>
                  <a:pt x="2790015" y="5187263"/>
                  <a:pt x="2784214" y="5177594"/>
                </a:cubicBezTo>
                <a:close/>
                <a:moveTo>
                  <a:pt x="2753268" y="5167922"/>
                </a:moveTo>
                <a:cubicBezTo>
                  <a:pt x="2747464" y="5171790"/>
                  <a:pt x="2741663" y="5173726"/>
                  <a:pt x="2735862" y="5177594"/>
                </a:cubicBezTo>
                <a:cubicBezTo>
                  <a:pt x="2745531" y="5179529"/>
                  <a:pt x="2751335" y="5173726"/>
                  <a:pt x="2755203" y="5169857"/>
                </a:cubicBezTo>
                <a:cubicBezTo>
                  <a:pt x="2755203" y="5169857"/>
                  <a:pt x="2753268" y="5167922"/>
                  <a:pt x="2753268" y="5167922"/>
                </a:cubicBezTo>
                <a:close/>
                <a:moveTo>
                  <a:pt x="2838602" y="5151491"/>
                </a:moveTo>
                <a:lnTo>
                  <a:pt x="2840101" y="5153312"/>
                </a:lnTo>
                <a:lnTo>
                  <a:pt x="2838852" y="5156078"/>
                </a:lnTo>
                <a:cubicBezTo>
                  <a:pt x="2836918" y="5156803"/>
                  <a:pt x="2834500" y="5156320"/>
                  <a:pt x="2832566" y="5156320"/>
                </a:cubicBezTo>
                <a:close/>
                <a:moveTo>
                  <a:pt x="3383786" y="5148583"/>
                </a:moveTo>
                <a:cubicBezTo>
                  <a:pt x="3376050" y="5154384"/>
                  <a:pt x="3368313" y="5162121"/>
                  <a:pt x="3366378" y="5171790"/>
                </a:cubicBezTo>
                <a:cubicBezTo>
                  <a:pt x="3366378" y="5173726"/>
                  <a:pt x="3366378" y="5177594"/>
                  <a:pt x="3364445" y="5179529"/>
                </a:cubicBezTo>
                <a:cubicBezTo>
                  <a:pt x="3364445" y="5177594"/>
                  <a:pt x="3366378" y="5175661"/>
                  <a:pt x="3368313" y="5173726"/>
                </a:cubicBezTo>
                <a:cubicBezTo>
                  <a:pt x="3368313" y="5173726"/>
                  <a:pt x="3370246" y="5175661"/>
                  <a:pt x="3370246" y="5175661"/>
                </a:cubicBezTo>
                <a:cubicBezTo>
                  <a:pt x="3366378" y="5179529"/>
                  <a:pt x="3364445" y="5181462"/>
                  <a:pt x="3362510" y="5185330"/>
                </a:cubicBezTo>
                <a:cubicBezTo>
                  <a:pt x="3360577" y="5183395"/>
                  <a:pt x="3360577" y="5183395"/>
                  <a:pt x="3360577" y="5183395"/>
                </a:cubicBezTo>
                <a:cubicBezTo>
                  <a:pt x="3358641" y="5187263"/>
                  <a:pt x="3358641" y="5189199"/>
                  <a:pt x="3356708" y="5191132"/>
                </a:cubicBezTo>
                <a:cubicBezTo>
                  <a:pt x="3354773" y="5195000"/>
                  <a:pt x="3352840" y="5198871"/>
                  <a:pt x="3354773" y="5202736"/>
                </a:cubicBezTo>
                <a:cubicBezTo>
                  <a:pt x="3356708" y="5202736"/>
                  <a:pt x="3358641" y="5202736"/>
                  <a:pt x="3358641" y="5202736"/>
                </a:cubicBezTo>
                <a:cubicBezTo>
                  <a:pt x="3368313" y="5189199"/>
                  <a:pt x="3377983" y="5177594"/>
                  <a:pt x="3387654" y="5164054"/>
                </a:cubicBezTo>
                <a:cubicBezTo>
                  <a:pt x="3389587" y="5160188"/>
                  <a:pt x="3391520" y="5154384"/>
                  <a:pt x="3393456" y="5150516"/>
                </a:cubicBezTo>
                <a:cubicBezTo>
                  <a:pt x="3389587" y="5146648"/>
                  <a:pt x="3387654" y="5146648"/>
                  <a:pt x="3383786" y="5148583"/>
                </a:cubicBezTo>
                <a:close/>
                <a:moveTo>
                  <a:pt x="3430203" y="5131175"/>
                </a:moveTo>
                <a:cubicBezTo>
                  <a:pt x="3420533" y="5133110"/>
                  <a:pt x="3420533" y="5133110"/>
                  <a:pt x="3416665" y="5144713"/>
                </a:cubicBezTo>
                <a:cubicBezTo>
                  <a:pt x="3424402" y="5142780"/>
                  <a:pt x="3426337" y="5136978"/>
                  <a:pt x="3430203" y="5131175"/>
                </a:cubicBezTo>
                <a:close/>
                <a:moveTo>
                  <a:pt x="3418598" y="5117637"/>
                </a:moveTo>
                <a:cubicBezTo>
                  <a:pt x="3416665" y="5117637"/>
                  <a:pt x="3416665" y="5119570"/>
                  <a:pt x="3414730" y="5121505"/>
                </a:cubicBezTo>
                <a:cubicBezTo>
                  <a:pt x="3414730" y="5121505"/>
                  <a:pt x="3416665" y="5121505"/>
                  <a:pt x="3416665" y="5121505"/>
                </a:cubicBezTo>
                <a:cubicBezTo>
                  <a:pt x="3418598" y="5119570"/>
                  <a:pt x="3418598" y="5119570"/>
                  <a:pt x="3418598" y="5117637"/>
                </a:cubicBezTo>
                <a:close/>
                <a:moveTo>
                  <a:pt x="3042975" y="5114379"/>
                </a:moveTo>
                <a:lnTo>
                  <a:pt x="3047250" y="5121505"/>
                </a:lnTo>
                <a:cubicBezTo>
                  <a:pt x="3045317" y="5121505"/>
                  <a:pt x="3043382" y="5123438"/>
                  <a:pt x="3041449" y="5123438"/>
                </a:cubicBezTo>
                <a:lnTo>
                  <a:pt x="3041449" y="5122665"/>
                </a:lnTo>
                <a:lnTo>
                  <a:pt x="3043382" y="5121505"/>
                </a:lnTo>
                <a:lnTo>
                  <a:pt x="3041449" y="5120538"/>
                </a:lnTo>
                <a:lnTo>
                  <a:pt x="3041449" y="5116669"/>
                </a:lnTo>
                <a:close/>
                <a:moveTo>
                  <a:pt x="3034689" y="5107009"/>
                </a:moveTo>
                <a:lnTo>
                  <a:pt x="3037581" y="5109901"/>
                </a:lnTo>
                <a:lnTo>
                  <a:pt x="3033713" y="5108933"/>
                </a:lnTo>
                <a:lnTo>
                  <a:pt x="3033713" y="5107965"/>
                </a:lnTo>
                <a:close/>
                <a:moveTo>
                  <a:pt x="3532710" y="5104097"/>
                </a:moveTo>
                <a:cubicBezTo>
                  <a:pt x="3526909" y="5102164"/>
                  <a:pt x="3523041" y="5104097"/>
                  <a:pt x="3519173" y="5107965"/>
                </a:cubicBezTo>
                <a:cubicBezTo>
                  <a:pt x="3509501" y="5113769"/>
                  <a:pt x="3503700" y="5123438"/>
                  <a:pt x="3497896" y="5138911"/>
                </a:cubicBezTo>
                <a:cubicBezTo>
                  <a:pt x="3503700" y="5136978"/>
                  <a:pt x="3509501" y="5135043"/>
                  <a:pt x="3509501" y="5125374"/>
                </a:cubicBezTo>
                <a:cubicBezTo>
                  <a:pt x="3509501" y="5125374"/>
                  <a:pt x="3511436" y="5123438"/>
                  <a:pt x="3513372" y="5121505"/>
                </a:cubicBezTo>
                <a:cubicBezTo>
                  <a:pt x="3521106" y="5119570"/>
                  <a:pt x="3528842" y="5109901"/>
                  <a:pt x="3532710" y="5104097"/>
                </a:cubicBezTo>
                <a:close/>
                <a:moveTo>
                  <a:pt x="2907995" y="5100229"/>
                </a:moveTo>
                <a:cubicBezTo>
                  <a:pt x="2907995" y="5100229"/>
                  <a:pt x="2907995" y="5102164"/>
                  <a:pt x="2907995" y="5102164"/>
                </a:cubicBezTo>
                <a:cubicBezTo>
                  <a:pt x="2909931" y="5102164"/>
                  <a:pt x="2909931" y="5102164"/>
                  <a:pt x="2911864" y="5102164"/>
                </a:cubicBezTo>
                <a:cubicBezTo>
                  <a:pt x="2911864" y="5102164"/>
                  <a:pt x="2913799" y="5100229"/>
                  <a:pt x="2911864" y="5100229"/>
                </a:cubicBezTo>
                <a:cubicBezTo>
                  <a:pt x="2911864" y="5100229"/>
                  <a:pt x="2909931" y="5100229"/>
                  <a:pt x="2907995" y="5100229"/>
                </a:cubicBezTo>
                <a:close/>
                <a:moveTo>
                  <a:pt x="2853840" y="5100229"/>
                </a:moveTo>
                <a:cubicBezTo>
                  <a:pt x="2838369" y="5109901"/>
                  <a:pt x="2824829" y="5121505"/>
                  <a:pt x="2813224" y="5131175"/>
                </a:cubicBezTo>
                <a:cubicBezTo>
                  <a:pt x="2813224" y="5133110"/>
                  <a:pt x="2815160" y="5133110"/>
                  <a:pt x="2815160" y="5135043"/>
                </a:cubicBezTo>
                <a:cubicBezTo>
                  <a:pt x="2817093" y="5135043"/>
                  <a:pt x="2819028" y="5135043"/>
                  <a:pt x="2820961" y="5133110"/>
                </a:cubicBezTo>
                <a:cubicBezTo>
                  <a:pt x="2830630" y="5125374"/>
                  <a:pt x="2842237" y="5117637"/>
                  <a:pt x="2851907" y="5109901"/>
                </a:cubicBezTo>
                <a:cubicBezTo>
                  <a:pt x="2851907" y="5107965"/>
                  <a:pt x="2851907" y="5106032"/>
                  <a:pt x="2853840" y="5100229"/>
                </a:cubicBezTo>
                <a:close/>
                <a:moveTo>
                  <a:pt x="1813294" y="5100229"/>
                </a:moveTo>
                <a:cubicBezTo>
                  <a:pt x="1813294" y="5100229"/>
                  <a:pt x="1813294" y="5100229"/>
                  <a:pt x="1813294" y="5102164"/>
                </a:cubicBezTo>
                <a:cubicBezTo>
                  <a:pt x="1811361" y="5104097"/>
                  <a:pt x="1811361" y="5106032"/>
                  <a:pt x="1809425" y="5106032"/>
                </a:cubicBezTo>
                <a:cubicBezTo>
                  <a:pt x="1811361" y="5104097"/>
                  <a:pt x="1811361" y="5102164"/>
                  <a:pt x="1813294" y="5100229"/>
                </a:cubicBezTo>
                <a:close/>
                <a:moveTo>
                  <a:pt x="2140158" y="5094428"/>
                </a:moveTo>
                <a:cubicBezTo>
                  <a:pt x="2138223" y="5096361"/>
                  <a:pt x="2136290" y="5098296"/>
                  <a:pt x="2136290" y="5102164"/>
                </a:cubicBezTo>
                <a:cubicBezTo>
                  <a:pt x="2138223" y="5100229"/>
                  <a:pt x="2140158" y="5098296"/>
                  <a:pt x="2142091" y="5096361"/>
                </a:cubicBezTo>
                <a:cubicBezTo>
                  <a:pt x="2142091" y="5096361"/>
                  <a:pt x="2140158" y="5094428"/>
                  <a:pt x="2140158" y="5094428"/>
                </a:cubicBezTo>
                <a:close/>
                <a:moveTo>
                  <a:pt x="1806100" y="5093330"/>
                </a:moveTo>
                <a:lnTo>
                  <a:pt x="1797821" y="5100229"/>
                </a:lnTo>
                <a:lnTo>
                  <a:pt x="1796901" y="5098849"/>
                </a:lnTo>
                <a:close/>
                <a:moveTo>
                  <a:pt x="1808141" y="5091629"/>
                </a:moveTo>
                <a:lnTo>
                  <a:pt x="1807492" y="5092495"/>
                </a:lnTo>
                <a:lnTo>
                  <a:pt x="1806100" y="5093330"/>
                </a:lnTo>
                <a:close/>
                <a:moveTo>
                  <a:pt x="1375502" y="5087606"/>
                </a:moveTo>
                <a:lnTo>
                  <a:pt x="1369543" y="5095551"/>
                </a:lnTo>
                <a:lnTo>
                  <a:pt x="1364583" y="5096361"/>
                </a:lnTo>
                <a:cubicBezTo>
                  <a:pt x="1365550" y="5090558"/>
                  <a:pt x="1368934" y="5088625"/>
                  <a:pt x="1372802" y="5087900"/>
                </a:cubicBezTo>
                <a:close/>
                <a:moveTo>
                  <a:pt x="2863512" y="5080888"/>
                </a:moveTo>
                <a:cubicBezTo>
                  <a:pt x="2859643" y="5080888"/>
                  <a:pt x="2855775" y="5080888"/>
                  <a:pt x="2853840" y="5082823"/>
                </a:cubicBezTo>
                <a:cubicBezTo>
                  <a:pt x="2842237" y="5090559"/>
                  <a:pt x="2832566" y="5098296"/>
                  <a:pt x="2820961" y="5104097"/>
                </a:cubicBezTo>
                <a:cubicBezTo>
                  <a:pt x="2811291" y="5107965"/>
                  <a:pt x="2805488" y="5113769"/>
                  <a:pt x="2799687" y="5119570"/>
                </a:cubicBezTo>
                <a:cubicBezTo>
                  <a:pt x="2807423" y="5125374"/>
                  <a:pt x="2807423" y="5125374"/>
                  <a:pt x="2809356" y="5123438"/>
                </a:cubicBezTo>
                <a:cubicBezTo>
                  <a:pt x="2817093" y="5117637"/>
                  <a:pt x="2822896" y="5111836"/>
                  <a:pt x="2830630" y="5106032"/>
                </a:cubicBezTo>
                <a:cubicBezTo>
                  <a:pt x="2840302" y="5098296"/>
                  <a:pt x="2848039" y="5086691"/>
                  <a:pt x="2863512" y="5088626"/>
                </a:cubicBezTo>
                <a:cubicBezTo>
                  <a:pt x="2865447" y="5088626"/>
                  <a:pt x="2867380" y="5086691"/>
                  <a:pt x="2867380" y="5084756"/>
                </a:cubicBezTo>
                <a:cubicBezTo>
                  <a:pt x="2867380" y="5082823"/>
                  <a:pt x="2865447" y="5080888"/>
                  <a:pt x="2863512" y="5080888"/>
                </a:cubicBezTo>
                <a:close/>
                <a:moveTo>
                  <a:pt x="2811291" y="5080888"/>
                </a:moveTo>
                <a:cubicBezTo>
                  <a:pt x="2807423" y="5086691"/>
                  <a:pt x="2805488" y="5090559"/>
                  <a:pt x="2803555" y="5096361"/>
                </a:cubicBezTo>
                <a:cubicBezTo>
                  <a:pt x="2811291" y="5096361"/>
                  <a:pt x="2815160" y="5088626"/>
                  <a:pt x="2819028" y="5084756"/>
                </a:cubicBezTo>
                <a:cubicBezTo>
                  <a:pt x="2817093" y="5084756"/>
                  <a:pt x="2813224" y="5082823"/>
                  <a:pt x="2811291" y="5080888"/>
                </a:cubicBezTo>
                <a:close/>
                <a:moveTo>
                  <a:pt x="2820237" y="5078470"/>
                </a:moveTo>
                <a:cubicBezTo>
                  <a:pt x="2819028" y="5079437"/>
                  <a:pt x="2819028" y="5081855"/>
                  <a:pt x="2819028" y="5086691"/>
                </a:cubicBezTo>
                <a:cubicBezTo>
                  <a:pt x="2820961" y="5084756"/>
                  <a:pt x="2824829" y="5080888"/>
                  <a:pt x="2828697" y="5078955"/>
                </a:cubicBezTo>
                <a:cubicBezTo>
                  <a:pt x="2823863" y="5077987"/>
                  <a:pt x="2821445" y="5077503"/>
                  <a:pt x="2820237" y="5078470"/>
                </a:cubicBezTo>
                <a:close/>
                <a:moveTo>
                  <a:pt x="3546248" y="5075086"/>
                </a:moveTo>
                <a:cubicBezTo>
                  <a:pt x="3544315" y="5077019"/>
                  <a:pt x="3544315" y="5080888"/>
                  <a:pt x="3544315" y="5082823"/>
                </a:cubicBezTo>
                <a:cubicBezTo>
                  <a:pt x="3544315" y="5080888"/>
                  <a:pt x="3546248" y="5078955"/>
                  <a:pt x="3548183" y="5077019"/>
                </a:cubicBezTo>
                <a:cubicBezTo>
                  <a:pt x="3548183" y="5075086"/>
                  <a:pt x="3546248" y="5075086"/>
                  <a:pt x="3546248" y="5075086"/>
                </a:cubicBezTo>
                <a:close/>
                <a:moveTo>
                  <a:pt x="1420672" y="5075086"/>
                </a:moveTo>
                <a:cubicBezTo>
                  <a:pt x="1416803" y="5077019"/>
                  <a:pt x="1412935" y="5080888"/>
                  <a:pt x="1409067" y="5082823"/>
                </a:cubicBezTo>
                <a:cubicBezTo>
                  <a:pt x="1409067" y="5082823"/>
                  <a:pt x="1411002" y="5084756"/>
                  <a:pt x="1411002" y="5084756"/>
                </a:cubicBezTo>
                <a:cubicBezTo>
                  <a:pt x="1414870" y="5082823"/>
                  <a:pt x="1416803" y="5078955"/>
                  <a:pt x="1422605" y="5077019"/>
                </a:cubicBezTo>
                <a:cubicBezTo>
                  <a:pt x="1420672" y="5075086"/>
                  <a:pt x="1420672" y="5075086"/>
                  <a:pt x="1420672" y="5075086"/>
                </a:cubicBezTo>
                <a:close/>
                <a:moveTo>
                  <a:pt x="3261937" y="5061549"/>
                </a:moveTo>
                <a:cubicBezTo>
                  <a:pt x="3254201" y="5067350"/>
                  <a:pt x="3252265" y="5075086"/>
                  <a:pt x="3250333" y="5082823"/>
                </a:cubicBezTo>
                <a:cubicBezTo>
                  <a:pt x="3256134" y="5077019"/>
                  <a:pt x="3261937" y="5069285"/>
                  <a:pt x="3261937" y="5061549"/>
                </a:cubicBezTo>
                <a:close/>
                <a:moveTo>
                  <a:pt x="2896391" y="5055745"/>
                </a:moveTo>
                <a:cubicBezTo>
                  <a:pt x="2894458" y="5059613"/>
                  <a:pt x="2890589" y="5063482"/>
                  <a:pt x="2890589" y="5065417"/>
                </a:cubicBezTo>
                <a:cubicBezTo>
                  <a:pt x="2890589" y="5071218"/>
                  <a:pt x="2888654" y="5073153"/>
                  <a:pt x="2884788" y="5075086"/>
                </a:cubicBezTo>
                <a:cubicBezTo>
                  <a:pt x="2877049" y="5080888"/>
                  <a:pt x="2869313" y="5086691"/>
                  <a:pt x="2861579" y="5092495"/>
                </a:cubicBezTo>
                <a:cubicBezTo>
                  <a:pt x="2863512" y="5094428"/>
                  <a:pt x="2863512" y="5094428"/>
                  <a:pt x="2863512" y="5096361"/>
                </a:cubicBezTo>
                <a:cubicBezTo>
                  <a:pt x="2865447" y="5096361"/>
                  <a:pt x="2867380" y="5096361"/>
                  <a:pt x="2869313" y="5096361"/>
                </a:cubicBezTo>
                <a:cubicBezTo>
                  <a:pt x="2871248" y="5096361"/>
                  <a:pt x="2873181" y="5092495"/>
                  <a:pt x="2875116" y="5092495"/>
                </a:cubicBezTo>
                <a:cubicBezTo>
                  <a:pt x="2888654" y="5094428"/>
                  <a:pt x="2894458" y="5084756"/>
                  <a:pt x="2904127" y="5078955"/>
                </a:cubicBezTo>
                <a:cubicBezTo>
                  <a:pt x="2904127" y="5077019"/>
                  <a:pt x="2904127" y="5077019"/>
                  <a:pt x="2907995" y="5073153"/>
                </a:cubicBezTo>
                <a:cubicBezTo>
                  <a:pt x="2907995" y="5073153"/>
                  <a:pt x="2906063" y="5071218"/>
                  <a:pt x="2906063" y="5071218"/>
                </a:cubicBezTo>
                <a:cubicBezTo>
                  <a:pt x="2904127" y="5069285"/>
                  <a:pt x="2902194" y="5065417"/>
                  <a:pt x="2900259" y="5063482"/>
                </a:cubicBezTo>
                <a:cubicBezTo>
                  <a:pt x="2900259" y="5063482"/>
                  <a:pt x="2898326" y="5065417"/>
                  <a:pt x="2896391" y="5065417"/>
                </a:cubicBezTo>
                <a:cubicBezTo>
                  <a:pt x="2896391" y="5063482"/>
                  <a:pt x="2898326" y="5061549"/>
                  <a:pt x="2898326" y="5059613"/>
                </a:cubicBezTo>
                <a:cubicBezTo>
                  <a:pt x="2898326" y="5057678"/>
                  <a:pt x="2896391" y="5057678"/>
                  <a:pt x="2896391" y="5055745"/>
                </a:cubicBezTo>
                <a:close/>
                <a:moveTo>
                  <a:pt x="1870196" y="5051697"/>
                </a:moveTo>
                <a:lnTo>
                  <a:pt x="1830702" y="5080888"/>
                </a:lnTo>
                <a:cubicBezTo>
                  <a:pt x="1826834" y="5084756"/>
                  <a:pt x="1822965" y="5086691"/>
                  <a:pt x="1815229" y="5086691"/>
                </a:cubicBezTo>
                <a:cubicBezTo>
                  <a:pt x="1813294" y="5086691"/>
                  <a:pt x="1811361" y="5088626"/>
                  <a:pt x="1809425" y="5090559"/>
                </a:cubicBezTo>
                <a:lnTo>
                  <a:pt x="1808141" y="5091629"/>
                </a:lnTo>
                <a:lnTo>
                  <a:pt x="1813294" y="5084756"/>
                </a:lnTo>
                <a:lnTo>
                  <a:pt x="1814721" y="5079526"/>
                </a:lnTo>
                <a:lnTo>
                  <a:pt x="1822965" y="5075086"/>
                </a:lnTo>
                <a:lnTo>
                  <a:pt x="1846700" y="5060844"/>
                </a:lnTo>
                <a:lnTo>
                  <a:pt x="1849075" y="5061306"/>
                </a:lnTo>
                <a:cubicBezTo>
                  <a:pt x="1851976" y="5061064"/>
                  <a:pt x="1854877" y="5059614"/>
                  <a:pt x="1857777" y="5055745"/>
                </a:cubicBezTo>
                <a:cubicBezTo>
                  <a:pt x="1859713" y="5053812"/>
                  <a:pt x="1865516" y="5051877"/>
                  <a:pt x="1867449" y="5051877"/>
                </a:cubicBezTo>
                <a:close/>
                <a:moveTo>
                  <a:pt x="2871248" y="5044140"/>
                </a:moveTo>
                <a:cubicBezTo>
                  <a:pt x="2869313" y="5055745"/>
                  <a:pt x="2851907" y="5053812"/>
                  <a:pt x="2853840" y="5071218"/>
                </a:cubicBezTo>
                <a:cubicBezTo>
                  <a:pt x="2863512" y="5067350"/>
                  <a:pt x="2869313" y="5063482"/>
                  <a:pt x="2877049" y="5059613"/>
                </a:cubicBezTo>
                <a:cubicBezTo>
                  <a:pt x="2875116" y="5053812"/>
                  <a:pt x="2875116" y="5049944"/>
                  <a:pt x="2875116" y="5046076"/>
                </a:cubicBezTo>
                <a:cubicBezTo>
                  <a:pt x="2873181" y="5044140"/>
                  <a:pt x="2873181" y="5044140"/>
                  <a:pt x="2871248" y="5044140"/>
                </a:cubicBezTo>
                <a:close/>
                <a:moveTo>
                  <a:pt x="3325762" y="5042207"/>
                </a:moveTo>
                <a:cubicBezTo>
                  <a:pt x="3319961" y="5046076"/>
                  <a:pt x="3314158" y="5053812"/>
                  <a:pt x="3310289" y="5061549"/>
                </a:cubicBezTo>
                <a:cubicBezTo>
                  <a:pt x="3310289" y="5063482"/>
                  <a:pt x="3310289" y="5063482"/>
                  <a:pt x="3310289" y="5065417"/>
                </a:cubicBezTo>
                <a:cubicBezTo>
                  <a:pt x="3308354" y="5073153"/>
                  <a:pt x="3306421" y="5078955"/>
                  <a:pt x="3302553" y="5084756"/>
                </a:cubicBezTo>
                <a:cubicBezTo>
                  <a:pt x="3300620" y="5088626"/>
                  <a:pt x="3298685" y="5092495"/>
                  <a:pt x="3300620" y="5096361"/>
                </a:cubicBezTo>
                <a:cubicBezTo>
                  <a:pt x="3302553" y="5096361"/>
                  <a:pt x="3304486" y="5096361"/>
                  <a:pt x="3304486" y="5096361"/>
                </a:cubicBezTo>
                <a:cubicBezTo>
                  <a:pt x="3308354" y="5092495"/>
                  <a:pt x="3310289" y="5088626"/>
                  <a:pt x="3314158" y="5084756"/>
                </a:cubicBezTo>
                <a:cubicBezTo>
                  <a:pt x="3312222" y="5086691"/>
                  <a:pt x="3310289" y="5086691"/>
                  <a:pt x="3308354" y="5088626"/>
                </a:cubicBezTo>
                <a:cubicBezTo>
                  <a:pt x="3310289" y="5084756"/>
                  <a:pt x="3312222" y="5082823"/>
                  <a:pt x="3316093" y="5082823"/>
                </a:cubicBezTo>
                <a:cubicBezTo>
                  <a:pt x="3321894" y="5073153"/>
                  <a:pt x="3327695" y="5065417"/>
                  <a:pt x="3333499" y="5057678"/>
                </a:cubicBezTo>
                <a:cubicBezTo>
                  <a:pt x="3335432" y="5053812"/>
                  <a:pt x="3337367" y="5049944"/>
                  <a:pt x="3335432" y="5044140"/>
                </a:cubicBezTo>
                <a:cubicBezTo>
                  <a:pt x="3331564" y="5040272"/>
                  <a:pt x="3329631" y="5040272"/>
                  <a:pt x="3325762" y="5042207"/>
                </a:cubicBezTo>
                <a:close/>
                <a:moveTo>
                  <a:pt x="2886721" y="5034471"/>
                </a:moveTo>
                <a:cubicBezTo>
                  <a:pt x="2884788" y="5034471"/>
                  <a:pt x="2884788" y="5042207"/>
                  <a:pt x="2882853" y="5042207"/>
                </a:cubicBezTo>
                <a:cubicBezTo>
                  <a:pt x="2884788" y="5042207"/>
                  <a:pt x="2884788" y="5042207"/>
                  <a:pt x="2884788" y="5044140"/>
                </a:cubicBezTo>
                <a:cubicBezTo>
                  <a:pt x="2886721" y="5044140"/>
                  <a:pt x="2888654" y="5042207"/>
                  <a:pt x="2890589" y="5040272"/>
                </a:cubicBezTo>
                <a:cubicBezTo>
                  <a:pt x="2890589" y="5038339"/>
                  <a:pt x="2890589" y="5036404"/>
                  <a:pt x="2886721" y="5034471"/>
                </a:cubicBezTo>
                <a:close/>
                <a:moveTo>
                  <a:pt x="3817024" y="5005460"/>
                </a:moveTo>
                <a:cubicBezTo>
                  <a:pt x="3789946" y="5018998"/>
                  <a:pt x="3762868" y="5028667"/>
                  <a:pt x="3737726" y="5048009"/>
                </a:cubicBezTo>
                <a:cubicBezTo>
                  <a:pt x="3764803" y="5040272"/>
                  <a:pt x="3803486" y="5018998"/>
                  <a:pt x="3817024" y="5005460"/>
                </a:cubicBezTo>
                <a:close/>
                <a:moveTo>
                  <a:pt x="2993097" y="4991920"/>
                </a:moveTo>
                <a:cubicBezTo>
                  <a:pt x="2991162" y="4991920"/>
                  <a:pt x="2989229" y="4993853"/>
                  <a:pt x="2987293" y="4993853"/>
                </a:cubicBezTo>
                <a:cubicBezTo>
                  <a:pt x="2987293" y="4993853"/>
                  <a:pt x="2987293" y="4995788"/>
                  <a:pt x="2987293" y="4995788"/>
                </a:cubicBezTo>
                <a:cubicBezTo>
                  <a:pt x="2989229" y="4995788"/>
                  <a:pt x="2991162" y="4993853"/>
                  <a:pt x="2993097" y="4993853"/>
                </a:cubicBezTo>
                <a:cubicBezTo>
                  <a:pt x="2993097" y="4993853"/>
                  <a:pt x="2993097" y="4991920"/>
                  <a:pt x="2993097" y="4991920"/>
                </a:cubicBezTo>
                <a:close/>
                <a:moveTo>
                  <a:pt x="2991162" y="4962909"/>
                </a:moveTo>
                <a:cubicBezTo>
                  <a:pt x="2991162" y="4964842"/>
                  <a:pt x="2989229" y="4964842"/>
                  <a:pt x="2991162" y="4966778"/>
                </a:cubicBezTo>
                <a:cubicBezTo>
                  <a:pt x="2993097" y="4964842"/>
                  <a:pt x="2993097" y="4964842"/>
                  <a:pt x="2995030" y="4964842"/>
                </a:cubicBezTo>
                <a:cubicBezTo>
                  <a:pt x="2993097" y="4962909"/>
                  <a:pt x="2993097" y="4962909"/>
                  <a:pt x="2991162" y="4962909"/>
                </a:cubicBezTo>
                <a:close/>
                <a:moveTo>
                  <a:pt x="3155561" y="4947436"/>
                </a:moveTo>
                <a:cubicBezTo>
                  <a:pt x="3153626" y="4947436"/>
                  <a:pt x="3153626" y="4949369"/>
                  <a:pt x="3153626" y="4949369"/>
                </a:cubicBezTo>
                <a:cubicBezTo>
                  <a:pt x="3153626" y="4949369"/>
                  <a:pt x="3155561" y="4949369"/>
                  <a:pt x="3157494" y="4947436"/>
                </a:cubicBezTo>
                <a:cubicBezTo>
                  <a:pt x="3157494" y="4947436"/>
                  <a:pt x="3155561" y="4947436"/>
                  <a:pt x="3155561" y="4947436"/>
                </a:cubicBezTo>
                <a:close/>
                <a:moveTo>
                  <a:pt x="3083492" y="4945704"/>
                </a:moveTo>
                <a:lnTo>
                  <a:pt x="3070460" y="4957106"/>
                </a:lnTo>
                <a:cubicBezTo>
                  <a:pt x="3070460" y="4957106"/>
                  <a:pt x="3070460" y="4959041"/>
                  <a:pt x="3068527" y="4959041"/>
                </a:cubicBezTo>
                <a:cubicBezTo>
                  <a:pt x="3068527" y="4957106"/>
                  <a:pt x="3070460" y="4953237"/>
                  <a:pt x="3072395" y="4951302"/>
                </a:cubicBezTo>
                <a:cubicBezTo>
                  <a:pt x="3072395" y="4951302"/>
                  <a:pt x="3072395" y="4951302"/>
                  <a:pt x="3074328" y="4949369"/>
                </a:cubicBezTo>
                <a:close/>
                <a:moveTo>
                  <a:pt x="3085930" y="4943571"/>
                </a:moveTo>
                <a:lnTo>
                  <a:pt x="3084000" y="4945501"/>
                </a:lnTo>
                <a:lnTo>
                  <a:pt x="3083492" y="4945704"/>
                </a:lnTo>
                <a:close/>
                <a:moveTo>
                  <a:pt x="3085933" y="4943567"/>
                </a:moveTo>
                <a:lnTo>
                  <a:pt x="3085933" y="4943568"/>
                </a:lnTo>
                <a:lnTo>
                  <a:pt x="3085930" y="4943571"/>
                </a:lnTo>
                <a:close/>
                <a:moveTo>
                  <a:pt x="3242596" y="4931963"/>
                </a:moveTo>
                <a:cubicBezTo>
                  <a:pt x="3242596" y="4931963"/>
                  <a:pt x="3240661" y="4933896"/>
                  <a:pt x="3238728" y="4933896"/>
                </a:cubicBezTo>
                <a:cubicBezTo>
                  <a:pt x="3236792" y="4935832"/>
                  <a:pt x="3232927" y="4935832"/>
                  <a:pt x="3229058" y="4937764"/>
                </a:cubicBezTo>
                <a:cubicBezTo>
                  <a:pt x="3229058" y="4939700"/>
                  <a:pt x="3229058" y="4939700"/>
                  <a:pt x="3229058" y="4941633"/>
                </a:cubicBezTo>
                <a:cubicBezTo>
                  <a:pt x="3229058" y="4943568"/>
                  <a:pt x="3230991" y="4945501"/>
                  <a:pt x="3232927" y="4945501"/>
                </a:cubicBezTo>
                <a:cubicBezTo>
                  <a:pt x="3234860" y="4945501"/>
                  <a:pt x="3236792" y="4943568"/>
                  <a:pt x="3238728" y="4943568"/>
                </a:cubicBezTo>
                <a:cubicBezTo>
                  <a:pt x="3238728" y="4945501"/>
                  <a:pt x="3236792" y="4945501"/>
                  <a:pt x="3236792" y="4947436"/>
                </a:cubicBezTo>
                <a:cubicBezTo>
                  <a:pt x="3244529" y="4947436"/>
                  <a:pt x="3250333" y="4943568"/>
                  <a:pt x="3254201" y="4939700"/>
                </a:cubicBezTo>
                <a:cubicBezTo>
                  <a:pt x="3250333" y="4935832"/>
                  <a:pt x="3246464" y="4933896"/>
                  <a:pt x="3242596" y="4931963"/>
                </a:cubicBezTo>
                <a:close/>
                <a:moveTo>
                  <a:pt x="3151693" y="4922291"/>
                </a:moveTo>
                <a:cubicBezTo>
                  <a:pt x="3149758" y="4924227"/>
                  <a:pt x="3147825" y="4924227"/>
                  <a:pt x="3145892" y="4926160"/>
                </a:cubicBezTo>
                <a:cubicBezTo>
                  <a:pt x="3145892" y="4926160"/>
                  <a:pt x="3147825" y="4928095"/>
                  <a:pt x="3147825" y="4928095"/>
                </a:cubicBezTo>
                <a:cubicBezTo>
                  <a:pt x="3147825" y="4928095"/>
                  <a:pt x="3149758" y="4926160"/>
                  <a:pt x="3149758" y="4926160"/>
                </a:cubicBezTo>
                <a:cubicBezTo>
                  <a:pt x="3149758" y="4924227"/>
                  <a:pt x="3149758" y="4924227"/>
                  <a:pt x="3151693" y="4922291"/>
                </a:cubicBezTo>
                <a:close/>
                <a:moveTo>
                  <a:pt x="1720458" y="4875875"/>
                </a:moveTo>
                <a:cubicBezTo>
                  <a:pt x="1718523" y="4877808"/>
                  <a:pt x="1716590" y="4877808"/>
                  <a:pt x="1714654" y="4879743"/>
                </a:cubicBezTo>
                <a:cubicBezTo>
                  <a:pt x="1716590" y="4879743"/>
                  <a:pt x="1716590" y="4881676"/>
                  <a:pt x="1716590" y="4881676"/>
                </a:cubicBezTo>
                <a:cubicBezTo>
                  <a:pt x="1720458" y="4881676"/>
                  <a:pt x="1722391" y="4879743"/>
                  <a:pt x="1722391" y="4877808"/>
                </a:cubicBezTo>
                <a:cubicBezTo>
                  <a:pt x="1720458" y="4877808"/>
                  <a:pt x="1720458" y="4875875"/>
                  <a:pt x="1720458" y="4875875"/>
                </a:cubicBezTo>
                <a:close/>
                <a:moveTo>
                  <a:pt x="1142160" y="4850730"/>
                </a:moveTo>
                <a:cubicBezTo>
                  <a:pt x="1136359" y="4852665"/>
                  <a:pt x="1130557" y="4852665"/>
                  <a:pt x="1134426" y="4860402"/>
                </a:cubicBezTo>
                <a:cubicBezTo>
                  <a:pt x="1136359" y="4860402"/>
                  <a:pt x="1138291" y="4860402"/>
                  <a:pt x="1138291" y="4858466"/>
                </a:cubicBezTo>
                <a:cubicBezTo>
                  <a:pt x="1140227" y="4856533"/>
                  <a:pt x="1140227" y="4854598"/>
                  <a:pt x="1142160" y="4852665"/>
                </a:cubicBezTo>
                <a:cubicBezTo>
                  <a:pt x="1142160" y="4852665"/>
                  <a:pt x="1142160" y="4850730"/>
                  <a:pt x="1142160" y="4850730"/>
                </a:cubicBezTo>
                <a:close/>
                <a:moveTo>
                  <a:pt x="1417287" y="4781345"/>
                </a:moveTo>
                <a:cubicBezTo>
                  <a:pt x="1414386" y="4783037"/>
                  <a:pt x="1411969" y="4785938"/>
                  <a:pt x="1409067" y="4786905"/>
                </a:cubicBezTo>
                <a:cubicBezTo>
                  <a:pt x="1403263" y="4788840"/>
                  <a:pt x="1401330" y="4792708"/>
                  <a:pt x="1405199" y="4798510"/>
                </a:cubicBezTo>
                <a:cubicBezTo>
                  <a:pt x="1412935" y="4792708"/>
                  <a:pt x="1420672" y="4788840"/>
                  <a:pt x="1428408" y="4783037"/>
                </a:cubicBezTo>
                <a:cubicBezTo>
                  <a:pt x="1423572" y="4779168"/>
                  <a:pt x="1420188" y="4779652"/>
                  <a:pt x="1417287" y="4781345"/>
                </a:cubicBezTo>
                <a:close/>
                <a:moveTo>
                  <a:pt x="1449682" y="4765631"/>
                </a:moveTo>
                <a:cubicBezTo>
                  <a:pt x="1445814" y="4767564"/>
                  <a:pt x="1441946" y="4769499"/>
                  <a:pt x="1438078" y="4771432"/>
                </a:cubicBezTo>
                <a:cubicBezTo>
                  <a:pt x="1440013" y="4771432"/>
                  <a:pt x="1440013" y="4773367"/>
                  <a:pt x="1440013" y="4773367"/>
                </a:cubicBezTo>
                <a:cubicBezTo>
                  <a:pt x="1441946" y="4771432"/>
                  <a:pt x="1443881" y="4771432"/>
                  <a:pt x="1445814" y="4769499"/>
                </a:cubicBezTo>
                <a:cubicBezTo>
                  <a:pt x="1447749" y="4767564"/>
                  <a:pt x="1447749" y="4767564"/>
                  <a:pt x="1449682" y="4765631"/>
                </a:cubicBezTo>
                <a:close/>
                <a:moveTo>
                  <a:pt x="1507706" y="4734685"/>
                </a:moveTo>
                <a:cubicBezTo>
                  <a:pt x="1498037" y="4738553"/>
                  <a:pt x="1490298" y="4742421"/>
                  <a:pt x="1480628" y="4746289"/>
                </a:cubicBezTo>
                <a:cubicBezTo>
                  <a:pt x="1482564" y="4746289"/>
                  <a:pt x="1482564" y="4746289"/>
                  <a:pt x="1482564" y="4746289"/>
                </a:cubicBezTo>
                <a:cubicBezTo>
                  <a:pt x="1480628" y="4752091"/>
                  <a:pt x="1474827" y="4752091"/>
                  <a:pt x="1470957" y="4752091"/>
                </a:cubicBezTo>
                <a:cubicBezTo>
                  <a:pt x="1470957" y="4752091"/>
                  <a:pt x="1469024" y="4754026"/>
                  <a:pt x="1467088" y="4754026"/>
                </a:cubicBezTo>
                <a:cubicBezTo>
                  <a:pt x="1469024" y="4759827"/>
                  <a:pt x="1465155" y="4763695"/>
                  <a:pt x="1461287" y="4765631"/>
                </a:cubicBezTo>
                <a:cubicBezTo>
                  <a:pt x="1455486" y="4769499"/>
                  <a:pt x="1447749" y="4775300"/>
                  <a:pt x="1441946" y="4779168"/>
                </a:cubicBezTo>
                <a:cubicBezTo>
                  <a:pt x="1420672" y="4794641"/>
                  <a:pt x="1397462" y="4808181"/>
                  <a:pt x="1378121" y="4825587"/>
                </a:cubicBezTo>
                <a:cubicBezTo>
                  <a:pt x="1383922" y="4823652"/>
                  <a:pt x="1391661" y="4821719"/>
                  <a:pt x="1397462" y="4817851"/>
                </a:cubicBezTo>
                <a:cubicBezTo>
                  <a:pt x="1409067" y="4812050"/>
                  <a:pt x="1418736" y="4798510"/>
                  <a:pt x="1432276" y="4796574"/>
                </a:cubicBezTo>
                <a:cubicBezTo>
                  <a:pt x="1434209" y="4796574"/>
                  <a:pt x="1434209" y="4794641"/>
                  <a:pt x="1436145" y="4794641"/>
                </a:cubicBezTo>
                <a:cubicBezTo>
                  <a:pt x="1440013" y="4790773"/>
                  <a:pt x="1443881" y="4786905"/>
                  <a:pt x="1449682" y="4783037"/>
                </a:cubicBezTo>
                <a:cubicBezTo>
                  <a:pt x="1465155" y="4771432"/>
                  <a:pt x="1482564" y="4757894"/>
                  <a:pt x="1499970" y="4746289"/>
                </a:cubicBezTo>
                <a:cubicBezTo>
                  <a:pt x="1505771" y="4742421"/>
                  <a:pt x="1509639" y="4738553"/>
                  <a:pt x="1511574" y="4734685"/>
                </a:cubicBezTo>
                <a:cubicBezTo>
                  <a:pt x="1509639" y="4734685"/>
                  <a:pt x="1509639" y="4734685"/>
                  <a:pt x="1507706" y="4734685"/>
                </a:cubicBezTo>
                <a:close/>
                <a:moveTo>
                  <a:pt x="1681775" y="4725015"/>
                </a:moveTo>
                <a:cubicBezTo>
                  <a:pt x="1683708" y="4725015"/>
                  <a:pt x="1683708" y="4726948"/>
                  <a:pt x="1683708" y="4732749"/>
                </a:cubicBezTo>
                <a:cubicBezTo>
                  <a:pt x="1683708" y="4728881"/>
                  <a:pt x="1683708" y="4726948"/>
                  <a:pt x="1683708" y="4725015"/>
                </a:cubicBezTo>
                <a:cubicBezTo>
                  <a:pt x="1683708" y="4725015"/>
                  <a:pt x="1681775" y="4725015"/>
                  <a:pt x="1681775" y="4725015"/>
                </a:cubicBezTo>
                <a:close/>
                <a:moveTo>
                  <a:pt x="1573464" y="4707607"/>
                </a:moveTo>
                <a:cubicBezTo>
                  <a:pt x="1569598" y="4707607"/>
                  <a:pt x="1567663" y="4709540"/>
                  <a:pt x="1565730" y="4709540"/>
                </a:cubicBezTo>
                <a:cubicBezTo>
                  <a:pt x="1565730" y="4711475"/>
                  <a:pt x="1563795" y="4711475"/>
                  <a:pt x="1563795" y="4711475"/>
                </a:cubicBezTo>
                <a:cubicBezTo>
                  <a:pt x="1561862" y="4713408"/>
                  <a:pt x="1561862" y="4713408"/>
                  <a:pt x="1559926" y="4715343"/>
                </a:cubicBezTo>
                <a:cubicBezTo>
                  <a:pt x="1559926" y="4717276"/>
                  <a:pt x="1561862" y="4717276"/>
                  <a:pt x="1561862" y="4719212"/>
                </a:cubicBezTo>
                <a:cubicBezTo>
                  <a:pt x="1567663" y="4721147"/>
                  <a:pt x="1571531" y="4715343"/>
                  <a:pt x="1573464" y="4707607"/>
                </a:cubicBezTo>
                <a:close/>
                <a:moveTo>
                  <a:pt x="1120886" y="4597363"/>
                </a:moveTo>
                <a:cubicBezTo>
                  <a:pt x="1120886" y="4599298"/>
                  <a:pt x="1120886" y="4603164"/>
                  <a:pt x="1120886" y="4605099"/>
                </a:cubicBezTo>
                <a:cubicBezTo>
                  <a:pt x="1120886" y="4608967"/>
                  <a:pt x="1122818" y="4612836"/>
                  <a:pt x="1126687" y="4610903"/>
                </a:cubicBezTo>
                <a:cubicBezTo>
                  <a:pt x="1128622" y="4608967"/>
                  <a:pt x="1130557" y="4607032"/>
                  <a:pt x="1132490" y="4605099"/>
                </a:cubicBezTo>
                <a:cubicBezTo>
                  <a:pt x="1128622" y="4601231"/>
                  <a:pt x="1124754" y="4599298"/>
                  <a:pt x="1120886" y="4597363"/>
                </a:cubicBezTo>
                <a:close/>
                <a:moveTo>
                  <a:pt x="1411002" y="4523868"/>
                </a:moveTo>
                <a:cubicBezTo>
                  <a:pt x="1409067" y="4525801"/>
                  <a:pt x="1409067" y="4527736"/>
                  <a:pt x="1407132" y="4529669"/>
                </a:cubicBezTo>
                <a:cubicBezTo>
                  <a:pt x="1409067" y="4527736"/>
                  <a:pt x="1411002" y="4525801"/>
                  <a:pt x="1411002" y="4525801"/>
                </a:cubicBezTo>
                <a:cubicBezTo>
                  <a:pt x="1411002" y="4523868"/>
                  <a:pt x="1411002" y="4523868"/>
                  <a:pt x="1411002" y="4523868"/>
                </a:cubicBezTo>
                <a:close/>
                <a:moveTo>
                  <a:pt x="1190514" y="4519997"/>
                </a:moveTo>
                <a:cubicBezTo>
                  <a:pt x="1188579" y="4518065"/>
                  <a:pt x="1184711" y="4519997"/>
                  <a:pt x="1182778" y="4523868"/>
                </a:cubicBezTo>
                <a:cubicBezTo>
                  <a:pt x="1182778" y="4523868"/>
                  <a:pt x="1180842" y="4525801"/>
                  <a:pt x="1180842" y="4527736"/>
                </a:cubicBezTo>
                <a:cubicBezTo>
                  <a:pt x="1184711" y="4523868"/>
                  <a:pt x="1188579" y="4521933"/>
                  <a:pt x="1190514" y="4519997"/>
                </a:cubicBezTo>
                <a:close/>
                <a:moveTo>
                  <a:pt x="1385857" y="4500659"/>
                </a:moveTo>
                <a:cubicBezTo>
                  <a:pt x="1385857" y="4502592"/>
                  <a:pt x="1385857" y="4502592"/>
                  <a:pt x="1385857" y="4504527"/>
                </a:cubicBezTo>
                <a:cubicBezTo>
                  <a:pt x="1387793" y="4502592"/>
                  <a:pt x="1387793" y="4502592"/>
                  <a:pt x="1389726" y="4502592"/>
                </a:cubicBezTo>
                <a:cubicBezTo>
                  <a:pt x="1389726" y="4500659"/>
                  <a:pt x="1389726" y="4500659"/>
                  <a:pt x="1387793" y="4500659"/>
                </a:cubicBezTo>
                <a:cubicBezTo>
                  <a:pt x="1387793" y="4500659"/>
                  <a:pt x="1385857" y="4500659"/>
                  <a:pt x="1385857" y="4500659"/>
                </a:cubicBezTo>
                <a:close/>
                <a:moveTo>
                  <a:pt x="1407132" y="4477449"/>
                </a:moveTo>
                <a:cubicBezTo>
                  <a:pt x="1405199" y="4479382"/>
                  <a:pt x="1403263" y="4479382"/>
                  <a:pt x="1401330" y="4481317"/>
                </a:cubicBezTo>
                <a:cubicBezTo>
                  <a:pt x="1401330" y="4483250"/>
                  <a:pt x="1401330" y="4485186"/>
                  <a:pt x="1397462" y="4485186"/>
                </a:cubicBezTo>
                <a:cubicBezTo>
                  <a:pt x="1401330" y="4490987"/>
                  <a:pt x="1405199" y="4487118"/>
                  <a:pt x="1405199" y="4485186"/>
                </a:cubicBezTo>
                <a:cubicBezTo>
                  <a:pt x="1407132" y="4483250"/>
                  <a:pt x="1407132" y="4481317"/>
                  <a:pt x="1407132" y="4477449"/>
                </a:cubicBezTo>
                <a:close/>
                <a:moveTo>
                  <a:pt x="1411002" y="4450371"/>
                </a:moveTo>
                <a:cubicBezTo>
                  <a:pt x="1387793" y="4465844"/>
                  <a:pt x="1366516" y="4483250"/>
                  <a:pt x="1345242" y="4500659"/>
                </a:cubicBezTo>
                <a:cubicBezTo>
                  <a:pt x="1351043" y="4498723"/>
                  <a:pt x="1351043" y="4502592"/>
                  <a:pt x="1351043" y="4506460"/>
                </a:cubicBezTo>
                <a:cubicBezTo>
                  <a:pt x="1351043" y="4508395"/>
                  <a:pt x="1351043" y="4508395"/>
                  <a:pt x="1351043" y="4510328"/>
                </a:cubicBezTo>
                <a:cubicBezTo>
                  <a:pt x="1351043" y="4510328"/>
                  <a:pt x="1351043" y="4510328"/>
                  <a:pt x="1352978" y="4510328"/>
                </a:cubicBezTo>
                <a:cubicBezTo>
                  <a:pt x="1360713" y="4510328"/>
                  <a:pt x="1364583" y="4506460"/>
                  <a:pt x="1368451" y="4500659"/>
                </a:cubicBezTo>
                <a:cubicBezTo>
                  <a:pt x="1372320" y="4496790"/>
                  <a:pt x="1376188" y="4494855"/>
                  <a:pt x="1381989" y="4494855"/>
                </a:cubicBezTo>
                <a:cubicBezTo>
                  <a:pt x="1387793" y="4492922"/>
                  <a:pt x="1387793" y="4485186"/>
                  <a:pt x="1391661" y="4481317"/>
                </a:cubicBezTo>
                <a:cubicBezTo>
                  <a:pt x="1393594" y="4479382"/>
                  <a:pt x="1393594" y="4479382"/>
                  <a:pt x="1395529" y="4477449"/>
                </a:cubicBezTo>
                <a:cubicBezTo>
                  <a:pt x="1397462" y="4475514"/>
                  <a:pt x="1397462" y="4471645"/>
                  <a:pt x="1399395" y="4469713"/>
                </a:cubicBezTo>
                <a:cubicBezTo>
                  <a:pt x="1401330" y="4469713"/>
                  <a:pt x="1401330" y="4471645"/>
                  <a:pt x="1401330" y="4471645"/>
                </a:cubicBezTo>
                <a:cubicBezTo>
                  <a:pt x="1401330" y="4469713"/>
                  <a:pt x="1403263" y="4465844"/>
                  <a:pt x="1403263" y="4461976"/>
                </a:cubicBezTo>
                <a:cubicBezTo>
                  <a:pt x="1409067" y="4460041"/>
                  <a:pt x="1409067" y="4454239"/>
                  <a:pt x="1411002" y="4450371"/>
                </a:cubicBezTo>
                <a:close/>
                <a:moveTo>
                  <a:pt x="1499970" y="4394283"/>
                </a:moveTo>
                <a:cubicBezTo>
                  <a:pt x="1492233" y="4398151"/>
                  <a:pt x="1486430" y="4402019"/>
                  <a:pt x="1484497" y="4411689"/>
                </a:cubicBezTo>
                <a:cubicBezTo>
                  <a:pt x="1488365" y="4405887"/>
                  <a:pt x="1499970" y="4405887"/>
                  <a:pt x="1499970" y="4394283"/>
                </a:cubicBezTo>
                <a:close/>
                <a:moveTo>
                  <a:pt x="1471440" y="4375907"/>
                </a:moveTo>
                <a:cubicBezTo>
                  <a:pt x="1470473" y="4376874"/>
                  <a:pt x="1469990" y="4378808"/>
                  <a:pt x="1469024" y="4380743"/>
                </a:cubicBezTo>
                <a:cubicBezTo>
                  <a:pt x="1470957" y="4378810"/>
                  <a:pt x="1474827" y="4378810"/>
                  <a:pt x="1476760" y="4376874"/>
                </a:cubicBezTo>
                <a:cubicBezTo>
                  <a:pt x="1473858" y="4374940"/>
                  <a:pt x="1472408" y="4374940"/>
                  <a:pt x="1471440" y="4375907"/>
                </a:cubicBezTo>
                <a:close/>
                <a:moveTo>
                  <a:pt x="1528980" y="4342062"/>
                </a:moveTo>
                <a:cubicBezTo>
                  <a:pt x="1523179" y="4343995"/>
                  <a:pt x="1517376" y="4345928"/>
                  <a:pt x="1513507" y="4351732"/>
                </a:cubicBezTo>
                <a:cubicBezTo>
                  <a:pt x="1515443" y="4349797"/>
                  <a:pt x="1519311" y="4347864"/>
                  <a:pt x="1523179" y="4345928"/>
                </a:cubicBezTo>
                <a:cubicBezTo>
                  <a:pt x="1525112" y="4345928"/>
                  <a:pt x="1527048" y="4343995"/>
                  <a:pt x="1528980" y="4342062"/>
                </a:cubicBezTo>
                <a:close/>
                <a:moveTo>
                  <a:pt x="1917736" y="4291775"/>
                </a:moveTo>
                <a:cubicBezTo>
                  <a:pt x="1917736" y="4293708"/>
                  <a:pt x="1919669" y="4293708"/>
                  <a:pt x="1919669" y="4293708"/>
                </a:cubicBezTo>
                <a:cubicBezTo>
                  <a:pt x="1921602" y="4291775"/>
                  <a:pt x="1919669" y="4291775"/>
                  <a:pt x="1921602" y="4291775"/>
                </a:cubicBezTo>
                <a:cubicBezTo>
                  <a:pt x="1919669" y="4291775"/>
                  <a:pt x="1919669" y="4291775"/>
                  <a:pt x="1917736" y="4291775"/>
                </a:cubicBezTo>
                <a:close/>
                <a:moveTo>
                  <a:pt x="1944812" y="4282103"/>
                </a:moveTo>
                <a:cubicBezTo>
                  <a:pt x="1944812" y="4284039"/>
                  <a:pt x="1942879" y="4285972"/>
                  <a:pt x="1942879" y="4287907"/>
                </a:cubicBezTo>
                <a:cubicBezTo>
                  <a:pt x="1942879" y="4285972"/>
                  <a:pt x="1944812" y="4284039"/>
                  <a:pt x="1946747" y="4282103"/>
                </a:cubicBezTo>
                <a:cubicBezTo>
                  <a:pt x="1946747" y="4282103"/>
                  <a:pt x="1944812" y="4282103"/>
                  <a:pt x="1944812" y="4282103"/>
                </a:cubicBezTo>
                <a:close/>
                <a:moveTo>
                  <a:pt x="4849836" y="4179598"/>
                </a:moveTo>
                <a:cubicBezTo>
                  <a:pt x="4847900" y="4179598"/>
                  <a:pt x="4844032" y="4179598"/>
                  <a:pt x="4836296" y="4181531"/>
                </a:cubicBezTo>
                <a:cubicBezTo>
                  <a:pt x="4840164" y="4183464"/>
                  <a:pt x="4842097" y="4183464"/>
                  <a:pt x="4844032" y="4183464"/>
                </a:cubicBezTo>
                <a:cubicBezTo>
                  <a:pt x="4844032" y="4183464"/>
                  <a:pt x="4844032" y="4185399"/>
                  <a:pt x="4844032" y="4185399"/>
                </a:cubicBezTo>
                <a:cubicBezTo>
                  <a:pt x="4847900" y="4183464"/>
                  <a:pt x="4851769" y="4181531"/>
                  <a:pt x="4855637" y="4181531"/>
                </a:cubicBezTo>
                <a:cubicBezTo>
                  <a:pt x="4853704" y="4181531"/>
                  <a:pt x="4851769" y="4179598"/>
                  <a:pt x="4849836" y="4179598"/>
                </a:cubicBezTo>
                <a:close/>
                <a:moveTo>
                  <a:pt x="4874978" y="4148652"/>
                </a:moveTo>
                <a:cubicBezTo>
                  <a:pt x="4869175" y="4152518"/>
                  <a:pt x="4863373" y="4154453"/>
                  <a:pt x="4857572" y="4156388"/>
                </a:cubicBezTo>
                <a:cubicBezTo>
                  <a:pt x="4855637" y="4156388"/>
                  <a:pt x="4855637" y="4158321"/>
                  <a:pt x="4855637" y="4158321"/>
                </a:cubicBezTo>
                <a:cubicBezTo>
                  <a:pt x="4855637" y="4162190"/>
                  <a:pt x="4855637" y="4164123"/>
                  <a:pt x="4855637" y="4169926"/>
                </a:cubicBezTo>
                <a:cubicBezTo>
                  <a:pt x="4859505" y="4167993"/>
                  <a:pt x="4865306" y="4166058"/>
                  <a:pt x="4865306" y="4164123"/>
                </a:cubicBezTo>
                <a:cubicBezTo>
                  <a:pt x="4865306" y="4158321"/>
                  <a:pt x="4869175" y="4156388"/>
                  <a:pt x="4873045" y="4156388"/>
                </a:cubicBezTo>
                <a:cubicBezTo>
                  <a:pt x="4874978" y="4156388"/>
                  <a:pt x="4876913" y="4156388"/>
                  <a:pt x="4876913" y="4156388"/>
                </a:cubicBezTo>
                <a:cubicBezTo>
                  <a:pt x="4876913" y="4156388"/>
                  <a:pt x="4878846" y="4154453"/>
                  <a:pt x="4878846" y="4154453"/>
                </a:cubicBezTo>
                <a:cubicBezTo>
                  <a:pt x="4876913" y="4154453"/>
                  <a:pt x="4873045" y="4154453"/>
                  <a:pt x="4871110" y="4152518"/>
                </a:cubicBezTo>
                <a:cubicBezTo>
                  <a:pt x="4874978" y="4150585"/>
                  <a:pt x="4876913" y="4150585"/>
                  <a:pt x="4878846" y="4148652"/>
                </a:cubicBezTo>
                <a:cubicBezTo>
                  <a:pt x="4878846" y="4148652"/>
                  <a:pt x="4876913" y="4148652"/>
                  <a:pt x="4874978" y="4148652"/>
                </a:cubicBezTo>
                <a:close/>
                <a:moveTo>
                  <a:pt x="5246050" y="4117154"/>
                </a:moveTo>
                <a:lnTo>
                  <a:pt x="5248259" y="4121574"/>
                </a:lnTo>
                <a:cubicBezTo>
                  <a:pt x="5246326" y="4123507"/>
                  <a:pt x="5242458" y="4121574"/>
                  <a:pt x="5242458" y="4119639"/>
                </a:cubicBezTo>
                <a:lnTo>
                  <a:pt x="5242458" y="4118672"/>
                </a:lnTo>
                <a:lnTo>
                  <a:pt x="5244393" y="4117706"/>
                </a:lnTo>
                <a:close/>
                <a:moveTo>
                  <a:pt x="5273404" y="4113838"/>
                </a:moveTo>
                <a:cubicBezTo>
                  <a:pt x="5271468" y="4113838"/>
                  <a:pt x="5269535" y="4113838"/>
                  <a:pt x="5269535" y="4115770"/>
                </a:cubicBezTo>
                <a:cubicBezTo>
                  <a:pt x="5271468" y="4113838"/>
                  <a:pt x="5273404" y="4113838"/>
                  <a:pt x="5275337" y="4113838"/>
                </a:cubicBezTo>
                <a:cubicBezTo>
                  <a:pt x="5275337" y="4113838"/>
                  <a:pt x="5273404" y="4113838"/>
                  <a:pt x="5273404" y="4113838"/>
                </a:cubicBezTo>
                <a:close/>
                <a:moveTo>
                  <a:pt x="5310151" y="4090628"/>
                </a:moveTo>
                <a:cubicBezTo>
                  <a:pt x="5306283" y="4092561"/>
                  <a:pt x="5300479" y="4094496"/>
                  <a:pt x="5296611" y="4096429"/>
                </a:cubicBezTo>
                <a:cubicBezTo>
                  <a:pt x="5302414" y="4100297"/>
                  <a:pt x="5306283" y="4098365"/>
                  <a:pt x="5310151" y="4090628"/>
                </a:cubicBezTo>
                <a:close/>
                <a:moveTo>
                  <a:pt x="5343030" y="4080959"/>
                </a:moveTo>
                <a:cubicBezTo>
                  <a:pt x="5339162" y="4082891"/>
                  <a:pt x="5335293" y="4082891"/>
                  <a:pt x="5331427" y="4084824"/>
                </a:cubicBezTo>
                <a:cubicBezTo>
                  <a:pt x="5331427" y="4084824"/>
                  <a:pt x="5331427" y="4086760"/>
                  <a:pt x="5331427" y="4086760"/>
                </a:cubicBezTo>
                <a:cubicBezTo>
                  <a:pt x="5331427" y="4088693"/>
                  <a:pt x="5327559" y="4088693"/>
                  <a:pt x="5329492" y="4090628"/>
                </a:cubicBezTo>
                <a:cubicBezTo>
                  <a:pt x="5335293" y="4088693"/>
                  <a:pt x="5343030" y="4086760"/>
                  <a:pt x="5348833" y="4084824"/>
                </a:cubicBezTo>
                <a:cubicBezTo>
                  <a:pt x="5348833" y="4084824"/>
                  <a:pt x="5348833" y="4084824"/>
                  <a:pt x="5348833" y="4082891"/>
                </a:cubicBezTo>
                <a:cubicBezTo>
                  <a:pt x="5346898" y="4082891"/>
                  <a:pt x="5346898" y="4082891"/>
                  <a:pt x="5346898" y="4082891"/>
                </a:cubicBezTo>
                <a:cubicBezTo>
                  <a:pt x="5344965" y="4082891"/>
                  <a:pt x="5344965" y="4080959"/>
                  <a:pt x="5344965" y="4080959"/>
                </a:cubicBezTo>
                <a:cubicBezTo>
                  <a:pt x="5344965" y="4080959"/>
                  <a:pt x="5343030" y="4080959"/>
                  <a:pt x="5343030" y="4080959"/>
                </a:cubicBezTo>
                <a:close/>
                <a:moveTo>
                  <a:pt x="5174764" y="4079023"/>
                </a:moveTo>
                <a:cubicBezTo>
                  <a:pt x="5165093" y="4079023"/>
                  <a:pt x="5155423" y="4086760"/>
                  <a:pt x="5145751" y="4082891"/>
                </a:cubicBezTo>
                <a:cubicBezTo>
                  <a:pt x="5128345" y="4084824"/>
                  <a:pt x="5109004" y="4088693"/>
                  <a:pt x="5091598" y="4092561"/>
                </a:cubicBezTo>
                <a:cubicBezTo>
                  <a:pt x="5089663" y="4094496"/>
                  <a:pt x="5089663" y="4092561"/>
                  <a:pt x="5087730" y="4090628"/>
                </a:cubicBezTo>
                <a:cubicBezTo>
                  <a:pt x="5089663" y="4090628"/>
                  <a:pt x="5089663" y="4088693"/>
                  <a:pt x="5091598" y="4088693"/>
                </a:cubicBezTo>
                <a:cubicBezTo>
                  <a:pt x="5091598" y="4086760"/>
                  <a:pt x="5091598" y="4086760"/>
                  <a:pt x="5091598" y="4086760"/>
                </a:cubicBezTo>
                <a:cubicBezTo>
                  <a:pt x="5076125" y="4088693"/>
                  <a:pt x="5064520" y="4094496"/>
                  <a:pt x="5049047" y="4094496"/>
                </a:cubicBezTo>
                <a:cubicBezTo>
                  <a:pt x="5049047" y="4096429"/>
                  <a:pt x="5049047" y="4098365"/>
                  <a:pt x="5050983" y="4100297"/>
                </a:cubicBezTo>
                <a:cubicBezTo>
                  <a:pt x="5045179" y="4102233"/>
                  <a:pt x="5037442" y="4102233"/>
                  <a:pt x="5031641" y="4104166"/>
                </a:cubicBezTo>
                <a:cubicBezTo>
                  <a:pt x="5023905" y="4106101"/>
                  <a:pt x="5018101" y="4106101"/>
                  <a:pt x="5012300" y="4108034"/>
                </a:cubicBezTo>
                <a:cubicBezTo>
                  <a:pt x="5004564" y="4109969"/>
                  <a:pt x="4998760" y="4109969"/>
                  <a:pt x="4991023" y="4111902"/>
                </a:cubicBezTo>
                <a:cubicBezTo>
                  <a:pt x="4985222" y="4111902"/>
                  <a:pt x="4977486" y="4113838"/>
                  <a:pt x="4971682" y="4115770"/>
                </a:cubicBezTo>
                <a:cubicBezTo>
                  <a:pt x="4963948" y="4115770"/>
                  <a:pt x="4958144" y="4117706"/>
                  <a:pt x="4952341" y="4119639"/>
                </a:cubicBezTo>
                <a:cubicBezTo>
                  <a:pt x="4946540" y="4121574"/>
                  <a:pt x="4936870" y="4119639"/>
                  <a:pt x="4933000" y="4127375"/>
                </a:cubicBezTo>
                <a:cubicBezTo>
                  <a:pt x="4934935" y="4127375"/>
                  <a:pt x="4936870" y="4127375"/>
                  <a:pt x="4938803" y="4127375"/>
                </a:cubicBezTo>
                <a:cubicBezTo>
                  <a:pt x="4967814" y="4121574"/>
                  <a:pt x="4996827" y="4115770"/>
                  <a:pt x="5025838" y="4109969"/>
                </a:cubicBezTo>
                <a:cubicBezTo>
                  <a:pt x="5035507" y="4108034"/>
                  <a:pt x="5045179" y="4106101"/>
                  <a:pt x="5054848" y="4104166"/>
                </a:cubicBezTo>
                <a:cubicBezTo>
                  <a:pt x="5056784" y="4104166"/>
                  <a:pt x="5058717" y="4104166"/>
                  <a:pt x="5062585" y="4106101"/>
                </a:cubicBezTo>
                <a:cubicBezTo>
                  <a:pt x="5058717" y="4108034"/>
                  <a:pt x="5056784" y="4109969"/>
                  <a:pt x="5054848" y="4109969"/>
                </a:cubicBezTo>
                <a:cubicBezTo>
                  <a:pt x="5043244" y="4111902"/>
                  <a:pt x="5033574" y="4115770"/>
                  <a:pt x="5021969" y="4117706"/>
                </a:cubicBezTo>
                <a:cubicBezTo>
                  <a:pt x="5010365" y="4119639"/>
                  <a:pt x="4998760" y="4119639"/>
                  <a:pt x="4987155" y="4123507"/>
                </a:cubicBezTo>
                <a:cubicBezTo>
                  <a:pt x="4965881" y="4129311"/>
                  <a:pt x="4942671" y="4135112"/>
                  <a:pt x="4919462" y="4137047"/>
                </a:cubicBezTo>
                <a:cubicBezTo>
                  <a:pt x="4909792" y="4138980"/>
                  <a:pt x="4902056" y="4140915"/>
                  <a:pt x="4892384" y="4142848"/>
                </a:cubicBezTo>
                <a:cubicBezTo>
                  <a:pt x="4892384" y="4144784"/>
                  <a:pt x="4892384" y="4144784"/>
                  <a:pt x="4892384" y="4144784"/>
                </a:cubicBezTo>
                <a:cubicBezTo>
                  <a:pt x="4892384" y="4146717"/>
                  <a:pt x="4890451" y="4148652"/>
                  <a:pt x="4890451" y="4148652"/>
                </a:cubicBezTo>
                <a:cubicBezTo>
                  <a:pt x="4890451" y="4148652"/>
                  <a:pt x="4890451" y="4150585"/>
                  <a:pt x="4890451" y="4150585"/>
                </a:cubicBezTo>
                <a:cubicBezTo>
                  <a:pt x="4894319" y="4150585"/>
                  <a:pt x="4898188" y="4150585"/>
                  <a:pt x="4902056" y="4150585"/>
                </a:cubicBezTo>
                <a:cubicBezTo>
                  <a:pt x="4902056" y="4150585"/>
                  <a:pt x="4902056" y="4152518"/>
                  <a:pt x="4902056" y="4152518"/>
                </a:cubicBezTo>
                <a:cubicBezTo>
                  <a:pt x="4894319" y="4156388"/>
                  <a:pt x="4886583" y="4158321"/>
                  <a:pt x="4878846" y="4160257"/>
                </a:cubicBezTo>
                <a:cubicBezTo>
                  <a:pt x="4892384" y="4158321"/>
                  <a:pt x="4907857" y="4154453"/>
                  <a:pt x="4921397" y="4152518"/>
                </a:cubicBezTo>
                <a:cubicBezTo>
                  <a:pt x="4927198" y="4150585"/>
                  <a:pt x="4934935" y="4146717"/>
                  <a:pt x="4942671" y="4148652"/>
                </a:cubicBezTo>
                <a:cubicBezTo>
                  <a:pt x="4944607" y="4148652"/>
                  <a:pt x="4944607" y="4148652"/>
                  <a:pt x="4944607" y="4148652"/>
                </a:cubicBezTo>
                <a:cubicBezTo>
                  <a:pt x="4963948" y="4135112"/>
                  <a:pt x="4987155" y="4140915"/>
                  <a:pt x="5004564" y="4129311"/>
                </a:cubicBezTo>
                <a:cubicBezTo>
                  <a:pt x="5008432" y="4125442"/>
                  <a:pt x="5014233" y="4125442"/>
                  <a:pt x="5020037" y="4127375"/>
                </a:cubicBezTo>
                <a:cubicBezTo>
                  <a:pt x="5020037" y="4129311"/>
                  <a:pt x="5020037" y="4131244"/>
                  <a:pt x="5018101" y="4133179"/>
                </a:cubicBezTo>
                <a:cubicBezTo>
                  <a:pt x="5020037" y="4133179"/>
                  <a:pt x="5021969" y="4133179"/>
                  <a:pt x="5023905" y="4133179"/>
                </a:cubicBezTo>
                <a:cubicBezTo>
                  <a:pt x="5027773" y="4131244"/>
                  <a:pt x="5033574" y="4131244"/>
                  <a:pt x="5037442" y="4131244"/>
                </a:cubicBezTo>
                <a:cubicBezTo>
                  <a:pt x="5039375" y="4131244"/>
                  <a:pt x="5041311" y="4129311"/>
                  <a:pt x="5043244" y="4127375"/>
                </a:cubicBezTo>
                <a:cubicBezTo>
                  <a:pt x="5043244" y="4125442"/>
                  <a:pt x="5041311" y="4123507"/>
                  <a:pt x="5039375" y="4121574"/>
                </a:cubicBezTo>
                <a:cubicBezTo>
                  <a:pt x="5041311" y="4121574"/>
                  <a:pt x="5041311" y="4119639"/>
                  <a:pt x="5041311" y="4119639"/>
                </a:cubicBezTo>
                <a:cubicBezTo>
                  <a:pt x="5050983" y="4115770"/>
                  <a:pt x="5060652" y="4113838"/>
                  <a:pt x="5066453" y="4104166"/>
                </a:cubicBezTo>
                <a:cubicBezTo>
                  <a:pt x="5066453" y="4102233"/>
                  <a:pt x="5070324" y="4100297"/>
                  <a:pt x="5074190" y="4100297"/>
                </a:cubicBezTo>
                <a:cubicBezTo>
                  <a:pt x="5081926" y="4098365"/>
                  <a:pt x="5087730" y="4096429"/>
                  <a:pt x="5093531" y="4096429"/>
                </a:cubicBezTo>
                <a:cubicBezTo>
                  <a:pt x="5110939" y="4092561"/>
                  <a:pt x="5130281" y="4088693"/>
                  <a:pt x="5147687" y="4086760"/>
                </a:cubicBezTo>
                <a:cubicBezTo>
                  <a:pt x="5155423" y="4086760"/>
                  <a:pt x="5165093" y="4084824"/>
                  <a:pt x="5176697" y="4079023"/>
                </a:cubicBezTo>
                <a:cubicBezTo>
                  <a:pt x="5176697" y="4079023"/>
                  <a:pt x="5174764" y="4079023"/>
                  <a:pt x="5174764" y="4079023"/>
                </a:cubicBezTo>
                <a:close/>
                <a:moveTo>
                  <a:pt x="5385581" y="4077088"/>
                </a:moveTo>
                <a:cubicBezTo>
                  <a:pt x="5377844" y="4073222"/>
                  <a:pt x="5373976" y="4080959"/>
                  <a:pt x="5368175" y="4080959"/>
                </a:cubicBezTo>
                <a:cubicBezTo>
                  <a:pt x="5372043" y="4080959"/>
                  <a:pt x="5377844" y="4082891"/>
                  <a:pt x="5385581" y="4077088"/>
                </a:cubicBezTo>
                <a:close/>
                <a:moveTo>
                  <a:pt x="5472615" y="4075155"/>
                </a:moveTo>
                <a:cubicBezTo>
                  <a:pt x="5474551" y="4075155"/>
                  <a:pt x="5476483" y="4075155"/>
                  <a:pt x="5476483" y="4075155"/>
                </a:cubicBezTo>
                <a:cubicBezTo>
                  <a:pt x="5476483" y="4075155"/>
                  <a:pt x="5476483" y="4075155"/>
                  <a:pt x="5476483" y="4077088"/>
                </a:cubicBezTo>
                <a:cubicBezTo>
                  <a:pt x="5476483" y="4077088"/>
                  <a:pt x="5474551" y="4077088"/>
                  <a:pt x="5472615" y="4077088"/>
                </a:cubicBezTo>
                <a:cubicBezTo>
                  <a:pt x="5472615" y="4077088"/>
                  <a:pt x="5472615" y="4075155"/>
                  <a:pt x="5472615" y="4075155"/>
                </a:cubicBezTo>
                <a:close/>
                <a:moveTo>
                  <a:pt x="5161224" y="4063550"/>
                </a:moveTo>
                <a:cubicBezTo>
                  <a:pt x="5161224" y="4063550"/>
                  <a:pt x="5161224" y="4065483"/>
                  <a:pt x="5161224" y="4065483"/>
                </a:cubicBezTo>
                <a:cubicBezTo>
                  <a:pt x="5157358" y="4067418"/>
                  <a:pt x="5155423" y="4069354"/>
                  <a:pt x="5151555" y="4071287"/>
                </a:cubicBezTo>
                <a:cubicBezTo>
                  <a:pt x="5147687" y="4067418"/>
                  <a:pt x="5149620" y="4065483"/>
                  <a:pt x="5151555" y="4065483"/>
                </a:cubicBezTo>
                <a:cubicBezTo>
                  <a:pt x="5153488" y="4065483"/>
                  <a:pt x="5157358" y="4063550"/>
                  <a:pt x="5161224" y="4063550"/>
                </a:cubicBezTo>
                <a:close/>
                <a:moveTo>
                  <a:pt x="5217315" y="4061617"/>
                </a:moveTo>
                <a:cubicBezTo>
                  <a:pt x="5215380" y="4061617"/>
                  <a:pt x="5211512" y="4061617"/>
                  <a:pt x="5207643" y="4063550"/>
                </a:cubicBezTo>
                <a:cubicBezTo>
                  <a:pt x="5197974" y="4063550"/>
                  <a:pt x="5188302" y="4065483"/>
                  <a:pt x="5180566" y="4071287"/>
                </a:cubicBezTo>
                <a:cubicBezTo>
                  <a:pt x="5182501" y="4071287"/>
                  <a:pt x="5186369" y="4071287"/>
                  <a:pt x="5188302" y="4071287"/>
                </a:cubicBezTo>
                <a:cubicBezTo>
                  <a:pt x="5192170" y="4071287"/>
                  <a:pt x="5194106" y="4069354"/>
                  <a:pt x="5197974" y="4069354"/>
                </a:cubicBezTo>
                <a:cubicBezTo>
                  <a:pt x="5203775" y="4065483"/>
                  <a:pt x="5211512" y="4063550"/>
                  <a:pt x="5217315" y="4061617"/>
                </a:cubicBezTo>
                <a:close/>
                <a:moveTo>
                  <a:pt x="5267600" y="4050013"/>
                </a:moveTo>
                <a:cubicBezTo>
                  <a:pt x="5259864" y="4051945"/>
                  <a:pt x="5250194" y="4051945"/>
                  <a:pt x="5242458" y="4055814"/>
                </a:cubicBezTo>
                <a:cubicBezTo>
                  <a:pt x="5236654" y="4057749"/>
                  <a:pt x="5232786" y="4059682"/>
                  <a:pt x="5226985" y="4059682"/>
                </a:cubicBezTo>
                <a:cubicBezTo>
                  <a:pt x="5228918" y="4061617"/>
                  <a:pt x="5228918" y="4061617"/>
                  <a:pt x="5226985" y="4063550"/>
                </a:cubicBezTo>
                <a:cubicBezTo>
                  <a:pt x="5236654" y="4061617"/>
                  <a:pt x="5248259" y="4059682"/>
                  <a:pt x="5257931" y="4057749"/>
                </a:cubicBezTo>
                <a:cubicBezTo>
                  <a:pt x="5257931" y="4057749"/>
                  <a:pt x="5259864" y="4057749"/>
                  <a:pt x="5261799" y="4057749"/>
                </a:cubicBezTo>
                <a:cubicBezTo>
                  <a:pt x="5265667" y="4055814"/>
                  <a:pt x="5271468" y="4055814"/>
                  <a:pt x="5275337" y="4053881"/>
                </a:cubicBezTo>
                <a:cubicBezTo>
                  <a:pt x="5279205" y="4051945"/>
                  <a:pt x="5281140" y="4051945"/>
                  <a:pt x="5285008" y="4050013"/>
                </a:cubicBezTo>
                <a:cubicBezTo>
                  <a:pt x="5277270" y="4050013"/>
                  <a:pt x="5271468" y="4048077"/>
                  <a:pt x="5267600" y="4050013"/>
                </a:cubicBezTo>
                <a:close/>
                <a:moveTo>
                  <a:pt x="5534507" y="4048077"/>
                </a:moveTo>
                <a:cubicBezTo>
                  <a:pt x="5534507" y="4048077"/>
                  <a:pt x="5534507" y="4048077"/>
                  <a:pt x="5536440" y="4048077"/>
                </a:cubicBezTo>
                <a:cubicBezTo>
                  <a:pt x="5538376" y="4050013"/>
                  <a:pt x="5540308" y="4050013"/>
                  <a:pt x="5542244" y="4051945"/>
                </a:cubicBezTo>
                <a:cubicBezTo>
                  <a:pt x="5536440" y="4051945"/>
                  <a:pt x="5532572" y="4053881"/>
                  <a:pt x="5528704" y="4053881"/>
                </a:cubicBezTo>
                <a:cubicBezTo>
                  <a:pt x="5530639" y="4051945"/>
                  <a:pt x="5530639" y="4051945"/>
                  <a:pt x="5532572" y="4050013"/>
                </a:cubicBezTo>
                <a:cubicBezTo>
                  <a:pt x="5532572" y="4050013"/>
                  <a:pt x="5534507" y="4050013"/>
                  <a:pt x="5534507" y="4048077"/>
                </a:cubicBezTo>
                <a:close/>
                <a:moveTo>
                  <a:pt x="5449406" y="4048077"/>
                </a:moveTo>
                <a:cubicBezTo>
                  <a:pt x="5441669" y="4050013"/>
                  <a:pt x="5435868" y="4050013"/>
                  <a:pt x="5428131" y="4051945"/>
                </a:cubicBezTo>
                <a:cubicBezTo>
                  <a:pt x="5426196" y="4051945"/>
                  <a:pt x="5422328" y="4053881"/>
                  <a:pt x="5420395" y="4053881"/>
                </a:cubicBezTo>
                <a:cubicBezTo>
                  <a:pt x="5418462" y="4055814"/>
                  <a:pt x="5416527" y="4055814"/>
                  <a:pt x="5414594" y="4057749"/>
                </a:cubicBezTo>
                <a:cubicBezTo>
                  <a:pt x="5426196" y="4055814"/>
                  <a:pt x="5439736" y="4051945"/>
                  <a:pt x="5449406" y="4048077"/>
                </a:cubicBezTo>
                <a:close/>
                <a:moveTo>
                  <a:pt x="5737587" y="4030671"/>
                </a:moveTo>
                <a:cubicBezTo>
                  <a:pt x="5739522" y="4030671"/>
                  <a:pt x="5739522" y="4030671"/>
                  <a:pt x="5741455" y="4032604"/>
                </a:cubicBezTo>
                <a:cubicBezTo>
                  <a:pt x="5739522" y="4034539"/>
                  <a:pt x="5739522" y="4034539"/>
                  <a:pt x="5739522" y="4034539"/>
                </a:cubicBezTo>
                <a:cubicBezTo>
                  <a:pt x="5737587" y="4034539"/>
                  <a:pt x="5737587" y="4032604"/>
                  <a:pt x="5735654" y="4032604"/>
                </a:cubicBezTo>
                <a:cubicBezTo>
                  <a:pt x="5735654" y="4032604"/>
                  <a:pt x="5735654" y="4030671"/>
                  <a:pt x="5737587" y="4030671"/>
                </a:cubicBezTo>
                <a:close/>
                <a:moveTo>
                  <a:pt x="5762732" y="4028736"/>
                </a:moveTo>
                <a:cubicBezTo>
                  <a:pt x="5760797" y="4030671"/>
                  <a:pt x="5760797" y="4032604"/>
                  <a:pt x="5758864" y="4034539"/>
                </a:cubicBezTo>
                <a:cubicBezTo>
                  <a:pt x="5758864" y="4034539"/>
                  <a:pt x="5756928" y="4034539"/>
                  <a:pt x="5756928" y="4034539"/>
                </a:cubicBezTo>
                <a:cubicBezTo>
                  <a:pt x="5753060" y="4032604"/>
                  <a:pt x="5754993" y="4030671"/>
                  <a:pt x="5754993" y="4030671"/>
                </a:cubicBezTo>
                <a:cubicBezTo>
                  <a:pt x="5756928" y="4030671"/>
                  <a:pt x="5758864" y="4028736"/>
                  <a:pt x="5762732" y="4028736"/>
                </a:cubicBezTo>
                <a:close/>
                <a:moveTo>
                  <a:pt x="5535958" y="4025110"/>
                </a:moveTo>
                <a:cubicBezTo>
                  <a:pt x="5531606" y="4025352"/>
                  <a:pt x="5527738" y="4026803"/>
                  <a:pt x="5524838" y="4030671"/>
                </a:cubicBezTo>
                <a:cubicBezTo>
                  <a:pt x="5520967" y="4034539"/>
                  <a:pt x="5513231" y="4034539"/>
                  <a:pt x="5507430" y="4036472"/>
                </a:cubicBezTo>
                <a:cubicBezTo>
                  <a:pt x="5517099" y="4036472"/>
                  <a:pt x="5524838" y="4036472"/>
                  <a:pt x="5532572" y="4036472"/>
                </a:cubicBezTo>
                <a:cubicBezTo>
                  <a:pt x="5538376" y="4034539"/>
                  <a:pt x="5544177" y="4034539"/>
                  <a:pt x="5549980" y="4032604"/>
                </a:cubicBezTo>
                <a:cubicBezTo>
                  <a:pt x="5551913" y="4032604"/>
                  <a:pt x="5551913" y="4028736"/>
                  <a:pt x="5549980" y="4026803"/>
                </a:cubicBezTo>
                <a:cubicBezTo>
                  <a:pt x="5545144" y="4025836"/>
                  <a:pt x="5540309" y="4024868"/>
                  <a:pt x="5535958" y="4025110"/>
                </a:cubicBezTo>
                <a:close/>
                <a:moveTo>
                  <a:pt x="5530639" y="4009395"/>
                </a:moveTo>
                <a:cubicBezTo>
                  <a:pt x="5522903" y="4009395"/>
                  <a:pt x="5517099" y="4011330"/>
                  <a:pt x="5509362" y="4011330"/>
                </a:cubicBezTo>
                <a:cubicBezTo>
                  <a:pt x="5501628" y="4013263"/>
                  <a:pt x="5493889" y="4015198"/>
                  <a:pt x="5486155" y="4015198"/>
                </a:cubicBezTo>
                <a:cubicBezTo>
                  <a:pt x="5486155" y="4015198"/>
                  <a:pt x="5488088" y="4013263"/>
                  <a:pt x="5488088" y="4013263"/>
                </a:cubicBezTo>
                <a:cubicBezTo>
                  <a:pt x="5484220" y="4015198"/>
                  <a:pt x="5478419" y="4015198"/>
                  <a:pt x="5474551" y="4015198"/>
                </a:cubicBezTo>
                <a:cubicBezTo>
                  <a:pt x="5468747" y="4015198"/>
                  <a:pt x="5462946" y="4013263"/>
                  <a:pt x="5457142" y="4015198"/>
                </a:cubicBezTo>
                <a:cubicBezTo>
                  <a:pt x="5453274" y="4015198"/>
                  <a:pt x="5449406" y="4019066"/>
                  <a:pt x="5443604" y="4020999"/>
                </a:cubicBezTo>
                <a:cubicBezTo>
                  <a:pt x="5439736" y="4020999"/>
                  <a:pt x="5435868" y="4022935"/>
                  <a:pt x="5432000" y="4022935"/>
                </a:cubicBezTo>
                <a:cubicBezTo>
                  <a:pt x="5422328" y="4024868"/>
                  <a:pt x="5412658" y="4024868"/>
                  <a:pt x="5402987" y="4026803"/>
                </a:cubicBezTo>
                <a:cubicBezTo>
                  <a:pt x="5401054" y="4028736"/>
                  <a:pt x="5401054" y="4028736"/>
                  <a:pt x="5401054" y="4030671"/>
                </a:cubicBezTo>
                <a:cubicBezTo>
                  <a:pt x="5414594" y="4034539"/>
                  <a:pt x="5424263" y="4026803"/>
                  <a:pt x="5433933" y="4022935"/>
                </a:cubicBezTo>
                <a:cubicBezTo>
                  <a:pt x="5435868" y="4028736"/>
                  <a:pt x="5432000" y="4030671"/>
                  <a:pt x="5430064" y="4030671"/>
                </a:cubicBezTo>
                <a:cubicBezTo>
                  <a:pt x="5418462" y="4034539"/>
                  <a:pt x="5404922" y="4036472"/>
                  <a:pt x="5393317" y="4040341"/>
                </a:cubicBezTo>
                <a:cubicBezTo>
                  <a:pt x="5385581" y="4042276"/>
                  <a:pt x="5379779" y="4044209"/>
                  <a:pt x="5372043" y="4048077"/>
                </a:cubicBezTo>
                <a:cubicBezTo>
                  <a:pt x="5377844" y="4048077"/>
                  <a:pt x="5385581" y="4046144"/>
                  <a:pt x="5391384" y="4044209"/>
                </a:cubicBezTo>
                <a:cubicBezTo>
                  <a:pt x="5406855" y="4038408"/>
                  <a:pt x="5422328" y="4034539"/>
                  <a:pt x="5437803" y="4030671"/>
                </a:cubicBezTo>
                <a:cubicBezTo>
                  <a:pt x="5451341" y="4026803"/>
                  <a:pt x="5464879" y="4024868"/>
                  <a:pt x="5476483" y="4019066"/>
                </a:cubicBezTo>
                <a:cubicBezTo>
                  <a:pt x="5484220" y="4015198"/>
                  <a:pt x="5493889" y="4015198"/>
                  <a:pt x="5503561" y="4013263"/>
                </a:cubicBezTo>
                <a:cubicBezTo>
                  <a:pt x="5511298" y="4011330"/>
                  <a:pt x="5520967" y="4009395"/>
                  <a:pt x="5530639" y="4009395"/>
                </a:cubicBezTo>
                <a:close/>
                <a:moveTo>
                  <a:pt x="5387514" y="4003593"/>
                </a:moveTo>
                <a:cubicBezTo>
                  <a:pt x="5385581" y="4003593"/>
                  <a:pt x="5385581" y="4005526"/>
                  <a:pt x="5383645" y="4005526"/>
                </a:cubicBezTo>
                <a:cubicBezTo>
                  <a:pt x="5383645" y="4005526"/>
                  <a:pt x="5385581" y="4005526"/>
                  <a:pt x="5385581" y="4005526"/>
                </a:cubicBezTo>
                <a:cubicBezTo>
                  <a:pt x="5385581" y="4005526"/>
                  <a:pt x="5387514" y="4003593"/>
                  <a:pt x="5387514" y="4003593"/>
                </a:cubicBezTo>
                <a:close/>
                <a:moveTo>
                  <a:pt x="5188302" y="4001658"/>
                </a:moveTo>
                <a:cubicBezTo>
                  <a:pt x="5188302" y="4007462"/>
                  <a:pt x="5188302" y="4009395"/>
                  <a:pt x="5188302" y="4013263"/>
                </a:cubicBezTo>
                <a:cubicBezTo>
                  <a:pt x="5188302" y="4017131"/>
                  <a:pt x="5190235" y="4019066"/>
                  <a:pt x="5194106" y="4015198"/>
                </a:cubicBezTo>
                <a:cubicBezTo>
                  <a:pt x="5192170" y="4011330"/>
                  <a:pt x="5190235" y="4007462"/>
                  <a:pt x="5188302" y="4001658"/>
                </a:cubicBezTo>
                <a:close/>
                <a:moveTo>
                  <a:pt x="5462946" y="3997790"/>
                </a:moveTo>
                <a:cubicBezTo>
                  <a:pt x="5462946" y="3997790"/>
                  <a:pt x="5461010" y="3999725"/>
                  <a:pt x="5461010" y="3999725"/>
                </a:cubicBezTo>
                <a:cubicBezTo>
                  <a:pt x="5462946" y="3999725"/>
                  <a:pt x="5464879" y="3999725"/>
                  <a:pt x="5466814" y="3999725"/>
                </a:cubicBezTo>
                <a:cubicBezTo>
                  <a:pt x="5466814" y="3997790"/>
                  <a:pt x="5466814" y="3997790"/>
                  <a:pt x="5466814" y="3997790"/>
                </a:cubicBezTo>
                <a:cubicBezTo>
                  <a:pt x="5464879" y="3997790"/>
                  <a:pt x="5464879" y="3997790"/>
                  <a:pt x="5462946" y="3997790"/>
                </a:cubicBezTo>
                <a:close/>
                <a:moveTo>
                  <a:pt x="5600265" y="3988120"/>
                </a:moveTo>
                <a:cubicBezTo>
                  <a:pt x="5598332" y="3990053"/>
                  <a:pt x="5596397" y="3991989"/>
                  <a:pt x="5592531" y="3991989"/>
                </a:cubicBezTo>
                <a:cubicBezTo>
                  <a:pt x="5594464" y="3988120"/>
                  <a:pt x="5594464" y="3988120"/>
                  <a:pt x="5600265" y="3988120"/>
                </a:cubicBezTo>
                <a:close/>
                <a:moveTo>
                  <a:pt x="5325624" y="3986187"/>
                </a:moveTo>
                <a:cubicBezTo>
                  <a:pt x="5319820" y="3988120"/>
                  <a:pt x="5315952" y="3988120"/>
                  <a:pt x="5310151" y="3988120"/>
                </a:cubicBezTo>
                <a:cubicBezTo>
                  <a:pt x="5310151" y="3990053"/>
                  <a:pt x="5310151" y="3990053"/>
                  <a:pt x="5310151" y="3990053"/>
                </a:cubicBezTo>
                <a:cubicBezTo>
                  <a:pt x="5314019" y="3990053"/>
                  <a:pt x="5319820" y="3990053"/>
                  <a:pt x="5323689" y="3990053"/>
                </a:cubicBezTo>
                <a:cubicBezTo>
                  <a:pt x="5323689" y="3990053"/>
                  <a:pt x="5325624" y="3988120"/>
                  <a:pt x="5325624" y="3986187"/>
                </a:cubicBezTo>
                <a:close/>
                <a:moveTo>
                  <a:pt x="5252127" y="3984252"/>
                </a:moveTo>
                <a:cubicBezTo>
                  <a:pt x="5248259" y="3986187"/>
                  <a:pt x="5244393" y="3988120"/>
                  <a:pt x="5240522" y="3990053"/>
                </a:cubicBezTo>
                <a:cubicBezTo>
                  <a:pt x="5240522" y="3990053"/>
                  <a:pt x="5242458" y="3991989"/>
                  <a:pt x="5242458" y="3991989"/>
                </a:cubicBezTo>
                <a:cubicBezTo>
                  <a:pt x="5248259" y="3995857"/>
                  <a:pt x="5252127" y="3993922"/>
                  <a:pt x="5255995" y="3986187"/>
                </a:cubicBezTo>
                <a:cubicBezTo>
                  <a:pt x="5255995" y="3986187"/>
                  <a:pt x="5254062" y="3984252"/>
                  <a:pt x="5252127" y="3984252"/>
                </a:cubicBezTo>
                <a:close/>
                <a:moveTo>
                  <a:pt x="5640883" y="3980384"/>
                </a:moveTo>
                <a:cubicBezTo>
                  <a:pt x="5640883" y="3980384"/>
                  <a:pt x="5640883" y="3980384"/>
                  <a:pt x="5638948" y="3982319"/>
                </a:cubicBezTo>
                <a:cubicBezTo>
                  <a:pt x="5635080" y="3982319"/>
                  <a:pt x="5631211" y="3982319"/>
                  <a:pt x="5629278" y="3982319"/>
                </a:cubicBezTo>
                <a:cubicBezTo>
                  <a:pt x="5633147" y="3982319"/>
                  <a:pt x="5637015" y="3980384"/>
                  <a:pt x="5640883" y="3980384"/>
                </a:cubicBezTo>
                <a:close/>
                <a:moveTo>
                  <a:pt x="5279205" y="3976516"/>
                </a:moveTo>
                <a:cubicBezTo>
                  <a:pt x="5277270" y="3978449"/>
                  <a:pt x="5277270" y="3980384"/>
                  <a:pt x="5277270" y="3982319"/>
                </a:cubicBezTo>
                <a:cubicBezTo>
                  <a:pt x="5277270" y="3984252"/>
                  <a:pt x="5273404" y="3984252"/>
                  <a:pt x="5275337" y="3986187"/>
                </a:cubicBezTo>
                <a:cubicBezTo>
                  <a:pt x="5281140" y="3984252"/>
                  <a:pt x="5288877" y="3982319"/>
                  <a:pt x="5294678" y="3982319"/>
                </a:cubicBezTo>
                <a:cubicBezTo>
                  <a:pt x="5294678" y="3980384"/>
                  <a:pt x="5294678" y="3980384"/>
                  <a:pt x="5294678" y="3978449"/>
                </a:cubicBezTo>
                <a:cubicBezTo>
                  <a:pt x="5290810" y="3976516"/>
                  <a:pt x="5286941" y="3976516"/>
                  <a:pt x="5283073" y="3976516"/>
                </a:cubicBezTo>
                <a:cubicBezTo>
                  <a:pt x="5281140" y="3976516"/>
                  <a:pt x="5281140" y="3976516"/>
                  <a:pt x="5279205" y="3976516"/>
                </a:cubicBezTo>
                <a:close/>
                <a:moveTo>
                  <a:pt x="5331427" y="3972647"/>
                </a:moveTo>
                <a:cubicBezTo>
                  <a:pt x="5323689" y="3968779"/>
                  <a:pt x="5319820" y="3976516"/>
                  <a:pt x="5314019" y="3976516"/>
                </a:cubicBezTo>
                <a:cubicBezTo>
                  <a:pt x="5315952" y="3976516"/>
                  <a:pt x="5317887" y="3976516"/>
                  <a:pt x="5319820" y="3976516"/>
                </a:cubicBezTo>
                <a:cubicBezTo>
                  <a:pt x="5323689" y="3976516"/>
                  <a:pt x="5327559" y="3974583"/>
                  <a:pt x="5331427" y="3972647"/>
                </a:cubicBezTo>
                <a:close/>
                <a:moveTo>
                  <a:pt x="5418462" y="3970714"/>
                </a:moveTo>
                <a:cubicBezTo>
                  <a:pt x="5418462" y="3970714"/>
                  <a:pt x="5418462" y="3972647"/>
                  <a:pt x="5420395" y="3972647"/>
                </a:cubicBezTo>
                <a:cubicBezTo>
                  <a:pt x="5420395" y="3972647"/>
                  <a:pt x="5422328" y="3970714"/>
                  <a:pt x="5422328" y="3970714"/>
                </a:cubicBezTo>
                <a:cubicBezTo>
                  <a:pt x="5420395" y="3970714"/>
                  <a:pt x="5420395" y="3970714"/>
                  <a:pt x="5418462" y="3970714"/>
                </a:cubicBezTo>
                <a:close/>
                <a:moveTo>
                  <a:pt x="5633147" y="3966846"/>
                </a:moveTo>
                <a:cubicBezTo>
                  <a:pt x="5623475" y="3968779"/>
                  <a:pt x="5615738" y="3970714"/>
                  <a:pt x="5606069" y="3972647"/>
                </a:cubicBezTo>
                <a:cubicBezTo>
                  <a:pt x="5608002" y="3972647"/>
                  <a:pt x="5608002" y="3972647"/>
                  <a:pt x="5608002" y="3972647"/>
                </a:cubicBezTo>
                <a:cubicBezTo>
                  <a:pt x="5602201" y="3974583"/>
                  <a:pt x="5596397" y="3974583"/>
                  <a:pt x="5592531" y="3974583"/>
                </a:cubicBezTo>
                <a:cubicBezTo>
                  <a:pt x="5590596" y="3974583"/>
                  <a:pt x="5590596" y="3974583"/>
                  <a:pt x="5588663" y="3974583"/>
                </a:cubicBezTo>
                <a:cubicBezTo>
                  <a:pt x="5588663" y="3974583"/>
                  <a:pt x="5586728" y="3976516"/>
                  <a:pt x="5584795" y="3978449"/>
                </a:cubicBezTo>
                <a:cubicBezTo>
                  <a:pt x="5606069" y="3974583"/>
                  <a:pt x="5627343" y="3970714"/>
                  <a:pt x="5646684" y="3966846"/>
                </a:cubicBezTo>
                <a:cubicBezTo>
                  <a:pt x="5642816" y="3966846"/>
                  <a:pt x="5637015" y="3966846"/>
                  <a:pt x="5633147" y="3966846"/>
                </a:cubicBezTo>
                <a:close/>
                <a:moveTo>
                  <a:pt x="5497758" y="3966846"/>
                </a:moveTo>
                <a:cubicBezTo>
                  <a:pt x="5493889" y="3970714"/>
                  <a:pt x="5491956" y="3972647"/>
                  <a:pt x="5490021" y="3974583"/>
                </a:cubicBezTo>
                <a:cubicBezTo>
                  <a:pt x="5491956" y="3974583"/>
                  <a:pt x="5493889" y="3974583"/>
                  <a:pt x="5495825" y="3974583"/>
                </a:cubicBezTo>
                <a:cubicBezTo>
                  <a:pt x="5493889" y="3974583"/>
                  <a:pt x="5491956" y="3976516"/>
                  <a:pt x="5490021" y="3976516"/>
                </a:cubicBezTo>
                <a:cubicBezTo>
                  <a:pt x="5490021" y="3976516"/>
                  <a:pt x="5488088" y="3978449"/>
                  <a:pt x="5486155" y="3980384"/>
                </a:cubicBezTo>
                <a:cubicBezTo>
                  <a:pt x="5490021" y="3980384"/>
                  <a:pt x="5493889" y="3980384"/>
                  <a:pt x="5497758" y="3980384"/>
                </a:cubicBezTo>
                <a:cubicBezTo>
                  <a:pt x="5497758" y="3980384"/>
                  <a:pt x="5499693" y="3980384"/>
                  <a:pt x="5499693" y="3980384"/>
                </a:cubicBezTo>
                <a:cubicBezTo>
                  <a:pt x="5501628" y="3980384"/>
                  <a:pt x="5505497" y="3980384"/>
                  <a:pt x="5507430" y="3980384"/>
                </a:cubicBezTo>
                <a:cubicBezTo>
                  <a:pt x="5515166" y="3980384"/>
                  <a:pt x="5520967" y="3980384"/>
                  <a:pt x="5528704" y="3980384"/>
                </a:cubicBezTo>
                <a:cubicBezTo>
                  <a:pt x="5532572" y="3980384"/>
                  <a:pt x="5536440" y="3978449"/>
                  <a:pt x="5540308" y="3980384"/>
                </a:cubicBezTo>
                <a:cubicBezTo>
                  <a:pt x="5546112" y="3978449"/>
                  <a:pt x="5553849" y="3976516"/>
                  <a:pt x="5559650" y="3972647"/>
                </a:cubicBezTo>
                <a:cubicBezTo>
                  <a:pt x="5553849" y="3972647"/>
                  <a:pt x="5549980" y="3972647"/>
                  <a:pt x="5544177" y="3974583"/>
                </a:cubicBezTo>
                <a:cubicBezTo>
                  <a:pt x="5544177" y="3974583"/>
                  <a:pt x="5542244" y="3974583"/>
                  <a:pt x="5542244" y="3974583"/>
                </a:cubicBezTo>
                <a:cubicBezTo>
                  <a:pt x="5526771" y="3968779"/>
                  <a:pt x="5511298" y="3970714"/>
                  <a:pt x="5497758" y="3966846"/>
                </a:cubicBezTo>
                <a:close/>
                <a:moveTo>
                  <a:pt x="5536198" y="3960318"/>
                </a:moveTo>
                <a:cubicBezTo>
                  <a:pt x="5530638" y="3960560"/>
                  <a:pt x="5524835" y="3962010"/>
                  <a:pt x="5517099" y="3964911"/>
                </a:cubicBezTo>
                <a:cubicBezTo>
                  <a:pt x="5528704" y="3962978"/>
                  <a:pt x="5540308" y="3964911"/>
                  <a:pt x="5553849" y="3962978"/>
                </a:cubicBezTo>
                <a:cubicBezTo>
                  <a:pt x="5547078" y="3961044"/>
                  <a:pt x="5541759" y="3960077"/>
                  <a:pt x="5536198" y="3960318"/>
                </a:cubicBezTo>
                <a:close/>
                <a:moveTo>
                  <a:pt x="5199907" y="3959110"/>
                </a:moveTo>
                <a:cubicBezTo>
                  <a:pt x="5197974" y="3961043"/>
                  <a:pt x="5194106" y="3962978"/>
                  <a:pt x="5192170" y="3964911"/>
                </a:cubicBezTo>
                <a:cubicBezTo>
                  <a:pt x="5196039" y="3964911"/>
                  <a:pt x="5199907" y="3962978"/>
                  <a:pt x="5201842" y="3962978"/>
                </a:cubicBezTo>
                <a:cubicBezTo>
                  <a:pt x="5201842" y="3961043"/>
                  <a:pt x="5201842" y="3961043"/>
                  <a:pt x="5201842" y="3959110"/>
                </a:cubicBezTo>
                <a:cubicBezTo>
                  <a:pt x="5201842" y="3959110"/>
                  <a:pt x="5199907" y="3959110"/>
                  <a:pt x="5199907" y="3959110"/>
                </a:cubicBezTo>
                <a:close/>
                <a:moveTo>
                  <a:pt x="5139950" y="3959110"/>
                </a:moveTo>
                <a:cubicBezTo>
                  <a:pt x="5136082" y="3961043"/>
                  <a:pt x="5130281" y="3962978"/>
                  <a:pt x="5126410" y="3964911"/>
                </a:cubicBezTo>
                <a:cubicBezTo>
                  <a:pt x="5128345" y="3964911"/>
                  <a:pt x="5132214" y="3964911"/>
                  <a:pt x="5134149" y="3964911"/>
                </a:cubicBezTo>
                <a:cubicBezTo>
                  <a:pt x="5136082" y="3962978"/>
                  <a:pt x="5139950" y="3962978"/>
                  <a:pt x="5141883" y="3962978"/>
                </a:cubicBezTo>
                <a:cubicBezTo>
                  <a:pt x="5141883" y="3961043"/>
                  <a:pt x="5139950" y="3961043"/>
                  <a:pt x="5139950" y="3959110"/>
                </a:cubicBezTo>
                <a:close/>
                <a:moveTo>
                  <a:pt x="5472615" y="3957174"/>
                </a:moveTo>
                <a:cubicBezTo>
                  <a:pt x="5468747" y="3961043"/>
                  <a:pt x="5462946" y="3961043"/>
                  <a:pt x="5457142" y="3961043"/>
                </a:cubicBezTo>
                <a:cubicBezTo>
                  <a:pt x="5462946" y="3964911"/>
                  <a:pt x="5470680" y="3961043"/>
                  <a:pt x="5476483" y="3964911"/>
                </a:cubicBezTo>
                <a:cubicBezTo>
                  <a:pt x="5474551" y="3966846"/>
                  <a:pt x="5474551" y="3968779"/>
                  <a:pt x="5472615" y="3968779"/>
                </a:cubicBezTo>
                <a:cubicBezTo>
                  <a:pt x="5462946" y="3968779"/>
                  <a:pt x="5451341" y="3970714"/>
                  <a:pt x="5441669" y="3970714"/>
                </a:cubicBezTo>
                <a:cubicBezTo>
                  <a:pt x="5435868" y="3972647"/>
                  <a:pt x="5428131" y="3974583"/>
                  <a:pt x="5422328" y="3976516"/>
                </a:cubicBezTo>
                <a:cubicBezTo>
                  <a:pt x="5414594" y="3978449"/>
                  <a:pt x="5404922" y="3980384"/>
                  <a:pt x="5397185" y="3982319"/>
                </a:cubicBezTo>
                <a:cubicBezTo>
                  <a:pt x="5389449" y="3986187"/>
                  <a:pt x="5381712" y="3988120"/>
                  <a:pt x="5372043" y="3988120"/>
                </a:cubicBezTo>
                <a:cubicBezTo>
                  <a:pt x="5364306" y="3990053"/>
                  <a:pt x="5356570" y="3991989"/>
                  <a:pt x="5348833" y="3995857"/>
                </a:cubicBezTo>
                <a:cubicBezTo>
                  <a:pt x="5343030" y="3997790"/>
                  <a:pt x="5335293" y="3999725"/>
                  <a:pt x="5327559" y="4001658"/>
                </a:cubicBezTo>
                <a:cubicBezTo>
                  <a:pt x="5319820" y="4003593"/>
                  <a:pt x="5310151" y="4005526"/>
                  <a:pt x="5300479" y="4007462"/>
                </a:cubicBezTo>
                <a:cubicBezTo>
                  <a:pt x="5300479" y="4007462"/>
                  <a:pt x="5298546" y="4009395"/>
                  <a:pt x="5298546" y="4009395"/>
                </a:cubicBezTo>
                <a:cubicBezTo>
                  <a:pt x="5296611" y="4007462"/>
                  <a:pt x="5296611" y="4007462"/>
                  <a:pt x="5296611" y="4007462"/>
                </a:cubicBezTo>
                <a:cubicBezTo>
                  <a:pt x="5292745" y="4007462"/>
                  <a:pt x="5286941" y="4009395"/>
                  <a:pt x="5283073" y="4011330"/>
                </a:cubicBezTo>
                <a:cubicBezTo>
                  <a:pt x="5275337" y="4013263"/>
                  <a:pt x="5269535" y="4013263"/>
                  <a:pt x="5261799" y="4013263"/>
                </a:cubicBezTo>
                <a:cubicBezTo>
                  <a:pt x="5259864" y="4013263"/>
                  <a:pt x="5257931" y="4011330"/>
                  <a:pt x="5255995" y="4009395"/>
                </a:cubicBezTo>
                <a:cubicBezTo>
                  <a:pt x="5259864" y="4005526"/>
                  <a:pt x="5263732" y="4003593"/>
                  <a:pt x="5269535" y="4003593"/>
                </a:cubicBezTo>
                <a:cubicBezTo>
                  <a:pt x="5273404" y="4003593"/>
                  <a:pt x="5277270" y="4001658"/>
                  <a:pt x="5281140" y="3999725"/>
                </a:cubicBezTo>
                <a:cubicBezTo>
                  <a:pt x="5281140" y="3997790"/>
                  <a:pt x="5281140" y="3995857"/>
                  <a:pt x="5283073" y="3991989"/>
                </a:cubicBezTo>
                <a:cubicBezTo>
                  <a:pt x="5273404" y="3993922"/>
                  <a:pt x="5265667" y="3993922"/>
                  <a:pt x="5259864" y="3997790"/>
                </a:cubicBezTo>
                <a:cubicBezTo>
                  <a:pt x="5250194" y="4001658"/>
                  <a:pt x="5240522" y="4005526"/>
                  <a:pt x="5228918" y="4003593"/>
                </a:cubicBezTo>
                <a:cubicBezTo>
                  <a:pt x="5225052" y="4003593"/>
                  <a:pt x="5223116" y="4003593"/>
                  <a:pt x="5221183" y="4003593"/>
                </a:cubicBezTo>
                <a:cubicBezTo>
                  <a:pt x="5217315" y="4005526"/>
                  <a:pt x="5215380" y="4007462"/>
                  <a:pt x="5219248" y="4015198"/>
                </a:cubicBezTo>
                <a:cubicBezTo>
                  <a:pt x="5207643" y="4019066"/>
                  <a:pt x="5197974" y="4022935"/>
                  <a:pt x="5184434" y="4026803"/>
                </a:cubicBezTo>
                <a:cubicBezTo>
                  <a:pt x="5188302" y="4026803"/>
                  <a:pt x="5190235" y="4026803"/>
                  <a:pt x="5190235" y="4026803"/>
                </a:cubicBezTo>
                <a:cubicBezTo>
                  <a:pt x="5194106" y="4026803"/>
                  <a:pt x="5196039" y="4026803"/>
                  <a:pt x="5197974" y="4026803"/>
                </a:cubicBezTo>
                <a:cubicBezTo>
                  <a:pt x="5199907" y="4026803"/>
                  <a:pt x="5199907" y="4026803"/>
                  <a:pt x="5199907" y="4026803"/>
                </a:cubicBezTo>
                <a:lnTo>
                  <a:pt x="5206097" y="4028350"/>
                </a:lnTo>
                <a:lnTo>
                  <a:pt x="5203775" y="4030671"/>
                </a:lnTo>
                <a:lnTo>
                  <a:pt x="5204792" y="4030875"/>
                </a:lnTo>
                <a:lnTo>
                  <a:pt x="5199907" y="4034539"/>
                </a:lnTo>
                <a:cubicBezTo>
                  <a:pt x="5197974" y="4034539"/>
                  <a:pt x="5197974" y="4034539"/>
                  <a:pt x="5197974" y="4034539"/>
                </a:cubicBezTo>
                <a:cubicBezTo>
                  <a:pt x="5190235" y="4038408"/>
                  <a:pt x="5184434" y="4040341"/>
                  <a:pt x="5178633" y="4042276"/>
                </a:cubicBezTo>
                <a:cubicBezTo>
                  <a:pt x="5168961" y="4042276"/>
                  <a:pt x="5161224" y="4044209"/>
                  <a:pt x="5153488" y="4046144"/>
                </a:cubicBezTo>
                <a:cubicBezTo>
                  <a:pt x="5147687" y="4051945"/>
                  <a:pt x="5139950" y="4053881"/>
                  <a:pt x="5134149" y="4055814"/>
                </a:cubicBezTo>
                <a:cubicBezTo>
                  <a:pt x="5124477" y="4059682"/>
                  <a:pt x="5112872" y="4061617"/>
                  <a:pt x="5101268" y="4065483"/>
                </a:cubicBezTo>
                <a:cubicBezTo>
                  <a:pt x="5101268" y="4067418"/>
                  <a:pt x="5103200" y="4067418"/>
                  <a:pt x="5103200" y="4069354"/>
                </a:cubicBezTo>
                <a:cubicBezTo>
                  <a:pt x="5101268" y="4069354"/>
                  <a:pt x="5099335" y="4071287"/>
                  <a:pt x="5097399" y="4071287"/>
                </a:cubicBezTo>
                <a:cubicBezTo>
                  <a:pt x="5097399" y="4071287"/>
                  <a:pt x="5095466" y="4069354"/>
                  <a:pt x="5095466" y="4069354"/>
                </a:cubicBezTo>
                <a:cubicBezTo>
                  <a:pt x="5095466" y="4067418"/>
                  <a:pt x="5097399" y="4067418"/>
                  <a:pt x="5097399" y="4067418"/>
                </a:cubicBezTo>
                <a:cubicBezTo>
                  <a:pt x="5079993" y="4073222"/>
                  <a:pt x="5064520" y="4077088"/>
                  <a:pt x="5047114" y="4082891"/>
                </a:cubicBezTo>
                <a:cubicBezTo>
                  <a:pt x="5041311" y="4084824"/>
                  <a:pt x="5033574" y="4086760"/>
                  <a:pt x="5025838" y="4088693"/>
                </a:cubicBezTo>
                <a:cubicBezTo>
                  <a:pt x="5023905" y="4090628"/>
                  <a:pt x="5021969" y="4090628"/>
                  <a:pt x="5020037" y="4090628"/>
                </a:cubicBezTo>
                <a:cubicBezTo>
                  <a:pt x="5020037" y="4092561"/>
                  <a:pt x="5021969" y="4092561"/>
                  <a:pt x="5021969" y="4092561"/>
                </a:cubicBezTo>
                <a:cubicBezTo>
                  <a:pt x="5047114" y="4088693"/>
                  <a:pt x="5070324" y="4084824"/>
                  <a:pt x="5095466" y="4080959"/>
                </a:cubicBezTo>
                <a:cubicBezTo>
                  <a:pt x="5109004" y="4077088"/>
                  <a:pt x="5124477" y="4075155"/>
                  <a:pt x="5138017" y="4075155"/>
                </a:cubicBezTo>
                <a:cubicBezTo>
                  <a:pt x="5138017" y="4075155"/>
                  <a:pt x="5139950" y="4075155"/>
                  <a:pt x="5139950" y="4075155"/>
                </a:cubicBezTo>
                <a:cubicBezTo>
                  <a:pt x="5141883" y="4075155"/>
                  <a:pt x="5143818" y="4073222"/>
                  <a:pt x="5145751" y="4073222"/>
                </a:cubicBezTo>
                <a:cubicBezTo>
                  <a:pt x="5147687" y="4073222"/>
                  <a:pt x="5149620" y="4071287"/>
                  <a:pt x="5151555" y="4071287"/>
                </a:cubicBezTo>
                <a:cubicBezTo>
                  <a:pt x="5163160" y="4067418"/>
                  <a:pt x="5174764" y="4067418"/>
                  <a:pt x="5186369" y="4065483"/>
                </a:cubicBezTo>
                <a:cubicBezTo>
                  <a:pt x="5190235" y="4065483"/>
                  <a:pt x="5197974" y="4063550"/>
                  <a:pt x="5199907" y="4059682"/>
                </a:cubicBezTo>
                <a:cubicBezTo>
                  <a:pt x="5203775" y="4053881"/>
                  <a:pt x="5207643" y="4051945"/>
                  <a:pt x="5211512" y="4050013"/>
                </a:cubicBezTo>
                <a:cubicBezTo>
                  <a:pt x="5217315" y="4048077"/>
                  <a:pt x="5221183" y="4044209"/>
                  <a:pt x="5226985" y="4046144"/>
                </a:cubicBezTo>
                <a:cubicBezTo>
                  <a:pt x="5228918" y="4046144"/>
                  <a:pt x="5232786" y="4046144"/>
                  <a:pt x="5234721" y="4044209"/>
                </a:cubicBezTo>
                <a:cubicBezTo>
                  <a:pt x="5240522" y="4040341"/>
                  <a:pt x="5248259" y="4040341"/>
                  <a:pt x="5255995" y="4038408"/>
                </a:cubicBezTo>
                <a:cubicBezTo>
                  <a:pt x="5265667" y="4036472"/>
                  <a:pt x="5275337" y="4032604"/>
                  <a:pt x="5285008" y="4030671"/>
                </a:cubicBezTo>
                <a:cubicBezTo>
                  <a:pt x="5271468" y="4028736"/>
                  <a:pt x="5259864" y="4032604"/>
                  <a:pt x="5246326" y="4034539"/>
                </a:cubicBezTo>
                <a:cubicBezTo>
                  <a:pt x="5234721" y="4036472"/>
                  <a:pt x="5234721" y="4036472"/>
                  <a:pt x="5223116" y="4030671"/>
                </a:cubicBezTo>
                <a:cubicBezTo>
                  <a:pt x="5219248" y="4032604"/>
                  <a:pt x="5217315" y="4032604"/>
                  <a:pt x="5213445" y="4032604"/>
                </a:cubicBezTo>
                <a:lnTo>
                  <a:pt x="5204792" y="4030875"/>
                </a:lnTo>
                <a:lnTo>
                  <a:pt x="5207643" y="4028736"/>
                </a:lnTo>
                <a:lnTo>
                  <a:pt x="5206097" y="4028350"/>
                </a:lnTo>
                <a:lnTo>
                  <a:pt x="5207643" y="4026803"/>
                </a:lnTo>
                <a:cubicBezTo>
                  <a:pt x="5215380" y="4022935"/>
                  <a:pt x="5226985" y="4022935"/>
                  <a:pt x="5232786" y="4015198"/>
                </a:cubicBezTo>
                <a:cubicBezTo>
                  <a:pt x="5234721" y="4015198"/>
                  <a:pt x="5236654" y="4015198"/>
                  <a:pt x="5238589" y="4015198"/>
                </a:cubicBezTo>
                <a:cubicBezTo>
                  <a:pt x="5242458" y="4015198"/>
                  <a:pt x="5246326" y="4015198"/>
                  <a:pt x="5250194" y="4015198"/>
                </a:cubicBezTo>
                <a:cubicBezTo>
                  <a:pt x="5246326" y="4019066"/>
                  <a:pt x="5240522" y="4020999"/>
                  <a:pt x="5236654" y="4024868"/>
                </a:cubicBezTo>
                <a:cubicBezTo>
                  <a:pt x="5240522" y="4022935"/>
                  <a:pt x="5246326" y="4022935"/>
                  <a:pt x="5252127" y="4020999"/>
                </a:cubicBezTo>
                <a:cubicBezTo>
                  <a:pt x="5254062" y="4019066"/>
                  <a:pt x="5255995" y="4020999"/>
                  <a:pt x="5257931" y="4020999"/>
                </a:cubicBezTo>
                <a:cubicBezTo>
                  <a:pt x="5265667" y="4026803"/>
                  <a:pt x="5271468" y="4024868"/>
                  <a:pt x="5279205" y="4020999"/>
                </a:cubicBezTo>
                <a:cubicBezTo>
                  <a:pt x="5286941" y="4015198"/>
                  <a:pt x="5296611" y="4015198"/>
                  <a:pt x="5306283" y="4015198"/>
                </a:cubicBezTo>
                <a:cubicBezTo>
                  <a:pt x="5310151" y="4015198"/>
                  <a:pt x="5314019" y="4017131"/>
                  <a:pt x="5317887" y="4015198"/>
                </a:cubicBezTo>
                <a:cubicBezTo>
                  <a:pt x="5333360" y="4011330"/>
                  <a:pt x="5346898" y="4007462"/>
                  <a:pt x="5362371" y="4009395"/>
                </a:cubicBezTo>
                <a:cubicBezTo>
                  <a:pt x="5368175" y="4005526"/>
                  <a:pt x="5364306" y="4003593"/>
                  <a:pt x="5368175" y="3993922"/>
                </a:cubicBezTo>
                <a:cubicBezTo>
                  <a:pt x="5368175" y="3993922"/>
                  <a:pt x="5370108" y="3991989"/>
                  <a:pt x="5370108" y="3991989"/>
                </a:cubicBezTo>
                <a:cubicBezTo>
                  <a:pt x="5387514" y="3991989"/>
                  <a:pt x="5401054" y="3991989"/>
                  <a:pt x="5416527" y="3984252"/>
                </a:cubicBezTo>
                <a:cubicBezTo>
                  <a:pt x="5422328" y="3982319"/>
                  <a:pt x="5430064" y="3980384"/>
                  <a:pt x="5437803" y="3980384"/>
                </a:cubicBezTo>
                <a:cubicBezTo>
                  <a:pt x="5453274" y="3978449"/>
                  <a:pt x="5466814" y="3978449"/>
                  <a:pt x="5482287" y="3976516"/>
                </a:cubicBezTo>
                <a:cubicBezTo>
                  <a:pt x="5482287" y="3976516"/>
                  <a:pt x="5482287" y="3974583"/>
                  <a:pt x="5482287" y="3974583"/>
                </a:cubicBezTo>
                <a:cubicBezTo>
                  <a:pt x="5470680" y="3976516"/>
                  <a:pt x="5459078" y="3978449"/>
                  <a:pt x="5445537" y="3976516"/>
                </a:cubicBezTo>
                <a:cubicBezTo>
                  <a:pt x="5457142" y="3974583"/>
                  <a:pt x="5470680" y="3972647"/>
                  <a:pt x="5484220" y="3970714"/>
                </a:cubicBezTo>
                <a:cubicBezTo>
                  <a:pt x="5486155" y="3968779"/>
                  <a:pt x="5488088" y="3968779"/>
                  <a:pt x="5490021" y="3966846"/>
                </a:cubicBezTo>
                <a:cubicBezTo>
                  <a:pt x="5488088" y="3966846"/>
                  <a:pt x="5488088" y="3966846"/>
                  <a:pt x="5486155" y="3966846"/>
                </a:cubicBezTo>
                <a:cubicBezTo>
                  <a:pt x="5488088" y="3964911"/>
                  <a:pt x="5488088" y="3962978"/>
                  <a:pt x="5490021" y="3962978"/>
                </a:cubicBezTo>
                <a:cubicBezTo>
                  <a:pt x="5490021" y="3962978"/>
                  <a:pt x="5493889" y="3961043"/>
                  <a:pt x="5495825" y="3961043"/>
                </a:cubicBezTo>
                <a:cubicBezTo>
                  <a:pt x="5497758" y="3961043"/>
                  <a:pt x="5497758" y="3961043"/>
                  <a:pt x="5499693" y="3961043"/>
                </a:cubicBezTo>
                <a:cubicBezTo>
                  <a:pt x="5499693" y="3961043"/>
                  <a:pt x="5501628" y="3961043"/>
                  <a:pt x="5501628" y="3961043"/>
                </a:cubicBezTo>
                <a:cubicBezTo>
                  <a:pt x="5507430" y="3961043"/>
                  <a:pt x="5513231" y="3961043"/>
                  <a:pt x="5519034" y="3961043"/>
                </a:cubicBezTo>
                <a:cubicBezTo>
                  <a:pt x="5517099" y="3959110"/>
                  <a:pt x="5517099" y="3959110"/>
                  <a:pt x="5517099" y="3957174"/>
                </a:cubicBezTo>
                <a:cubicBezTo>
                  <a:pt x="5511298" y="3957174"/>
                  <a:pt x="5507430" y="3957174"/>
                  <a:pt x="5501628" y="3957174"/>
                </a:cubicBezTo>
                <a:cubicBezTo>
                  <a:pt x="5495825" y="3959110"/>
                  <a:pt x="5488088" y="3959110"/>
                  <a:pt x="5482287" y="3957174"/>
                </a:cubicBezTo>
                <a:cubicBezTo>
                  <a:pt x="5478419" y="3957174"/>
                  <a:pt x="5476483" y="3957174"/>
                  <a:pt x="5472615" y="3957174"/>
                </a:cubicBezTo>
                <a:close/>
                <a:moveTo>
                  <a:pt x="5134149" y="3951373"/>
                </a:moveTo>
                <a:cubicBezTo>
                  <a:pt x="5132214" y="3953306"/>
                  <a:pt x="5130281" y="3957174"/>
                  <a:pt x="5128345" y="3959110"/>
                </a:cubicBezTo>
                <a:cubicBezTo>
                  <a:pt x="5130281" y="3959110"/>
                  <a:pt x="5130281" y="3959110"/>
                  <a:pt x="5130281" y="3957174"/>
                </a:cubicBezTo>
                <a:cubicBezTo>
                  <a:pt x="5132214" y="3957174"/>
                  <a:pt x="5136082" y="3955241"/>
                  <a:pt x="5138017" y="3955241"/>
                </a:cubicBezTo>
                <a:cubicBezTo>
                  <a:pt x="5138017" y="3953306"/>
                  <a:pt x="5136082" y="3953306"/>
                  <a:pt x="5134149" y="3951373"/>
                </a:cubicBezTo>
                <a:close/>
                <a:moveTo>
                  <a:pt x="5602201" y="3947505"/>
                </a:moveTo>
                <a:cubicBezTo>
                  <a:pt x="5598332" y="3951373"/>
                  <a:pt x="5594464" y="3955241"/>
                  <a:pt x="5590596" y="3959110"/>
                </a:cubicBezTo>
                <a:cubicBezTo>
                  <a:pt x="5600265" y="3957174"/>
                  <a:pt x="5611872" y="3955241"/>
                  <a:pt x="5621542" y="3951373"/>
                </a:cubicBezTo>
                <a:cubicBezTo>
                  <a:pt x="5617674" y="3951373"/>
                  <a:pt x="5615738" y="3949438"/>
                  <a:pt x="5611872" y="3949438"/>
                </a:cubicBezTo>
                <a:cubicBezTo>
                  <a:pt x="5609937" y="3947505"/>
                  <a:pt x="5606069" y="3947505"/>
                  <a:pt x="5602201" y="3947505"/>
                </a:cubicBezTo>
                <a:close/>
                <a:moveTo>
                  <a:pt x="5472615" y="3945570"/>
                </a:moveTo>
                <a:cubicBezTo>
                  <a:pt x="5462946" y="3945570"/>
                  <a:pt x="5453274" y="3945570"/>
                  <a:pt x="5443604" y="3947505"/>
                </a:cubicBezTo>
                <a:cubicBezTo>
                  <a:pt x="5439736" y="3947505"/>
                  <a:pt x="5437803" y="3947505"/>
                  <a:pt x="5430064" y="3949438"/>
                </a:cubicBezTo>
                <a:cubicBezTo>
                  <a:pt x="5443604" y="3951373"/>
                  <a:pt x="5455209" y="3949438"/>
                  <a:pt x="5466814" y="3949438"/>
                </a:cubicBezTo>
                <a:cubicBezTo>
                  <a:pt x="5468747" y="3949438"/>
                  <a:pt x="5470680" y="3947505"/>
                  <a:pt x="5474551" y="3947505"/>
                </a:cubicBezTo>
                <a:cubicBezTo>
                  <a:pt x="5474551" y="3947505"/>
                  <a:pt x="5472615" y="3945570"/>
                  <a:pt x="5472615" y="3945570"/>
                </a:cubicBezTo>
                <a:close/>
                <a:moveTo>
                  <a:pt x="5395252" y="3945570"/>
                </a:moveTo>
                <a:cubicBezTo>
                  <a:pt x="5393317" y="3945570"/>
                  <a:pt x="5389449" y="3945570"/>
                  <a:pt x="5385581" y="3947505"/>
                </a:cubicBezTo>
                <a:cubicBezTo>
                  <a:pt x="5387514" y="3947505"/>
                  <a:pt x="5389449" y="3947505"/>
                  <a:pt x="5391384" y="3947505"/>
                </a:cubicBezTo>
                <a:cubicBezTo>
                  <a:pt x="5393317" y="3945570"/>
                  <a:pt x="5393317" y="3945570"/>
                  <a:pt x="5395252" y="3945570"/>
                </a:cubicBezTo>
                <a:close/>
                <a:moveTo>
                  <a:pt x="5491956" y="3943637"/>
                </a:moveTo>
                <a:cubicBezTo>
                  <a:pt x="5491956" y="3943637"/>
                  <a:pt x="5491956" y="3945570"/>
                  <a:pt x="5491956" y="3945570"/>
                </a:cubicBezTo>
                <a:cubicBezTo>
                  <a:pt x="5491956" y="3945570"/>
                  <a:pt x="5493889" y="3945570"/>
                  <a:pt x="5493889" y="3945570"/>
                </a:cubicBezTo>
                <a:cubicBezTo>
                  <a:pt x="5493889" y="3945570"/>
                  <a:pt x="5495825" y="3943637"/>
                  <a:pt x="5495825" y="3943637"/>
                </a:cubicBezTo>
                <a:cubicBezTo>
                  <a:pt x="5495825" y="3943637"/>
                  <a:pt x="5493889" y="3943637"/>
                  <a:pt x="5491956" y="3943637"/>
                </a:cubicBezTo>
                <a:close/>
                <a:moveTo>
                  <a:pt x="5211512" y="3943637"/>
                </a:moveTo>
                <a:cubicBezTo>
                  <a:pt x="5207643" y="3945570"/>
                  <a:pt x="5201842" y="3945570"/>
                  <a:pt x="5197974" y="3947505"/>
                </a:cubicBezTo>
                <a:cubicBezTo>
                  <a:pt x="5197974" y="3949438"/>
                  <a:pt x="5197974" y="3951373"/>
                  <a:pt x="5199907" y="3953306"/>
                </a:cubicBezTo>
                <a:cubicBezTo>
                  <a:pt x="5199907" y="3953306"/>
                  <a:pt x="5201842" y="3953306"/>
                  <a:pt x="5201842" y="3953306"/>
                </a:cubicBezTo>
                <a:cubicBezTo>
                  <a:pt x="5211512" y="3953306"/>
                  <a:pt x="5219248" y="3951373"/>
                  <a:pt x="5228918" y="3943637"/>
                </a:cubicBezTo>
                <a:cubicBezTo>
                  <a:pt x="5221183" y="3943637"/>
                  <a:pt x="5215380" y="3941701"/>
                  <a:pt x="5211512" y="3943637"/>
                </a:cubicBezTo>
                <a:close/>
                <a:moveTo>
                  <a:pt x="5716313" y="3941701"/>
                </a:moveTo>
                <a:cubicBezTo>
                  <a:pt x="5718246" y="3941701"/>
                  <a:pt x="5718246" y="3941701"/>
                  <a:pt x="5720181" y="3941701"/>
                </a:cubicBezTo>
                <a:cubicBezTo>
                  <a:pt x="5720181" y="3941701"/>
                  <a:pt x="5720181" y="3943637"/>
                  <a:pt x="5720181" y="3943637"/>
                </a:cubicBezTo>
                <a:cubicBezTo>
                  <a:pt x="5718246" y="3943637"/>
                  <a:pt x="5718246" y="3941701"/>
                  <a:pt x="5716313" y="3941701"/>
                </a:cubicBezTo>
                <a:close/>
                <a:moveTo>
                  <a:pt x="5679566" y="3939768"/>
                </a:moveTo>
                <a:cubicBezTo>
                  <a:pt x="5679566" y="3939768"/>
                  <a:pt x="5681499" y="3941701"/>
                  <a:pt x="5681499" y="3941701"/>
                </a:cubicBezTo>
                <a:cubicBezTo>
                  <a:pt x="5685367" y="3939768"/>
                  <a:pt x="5687300" y="3939768"/>
                  <a:pt x="5691168" y="3939768"/>
                </a:cubicBezTo>
                <a:cubicBezTo>
                  <a:pt x="5687300" y="3937833"/>
                  <a:pt x="5683432" y="3937833"/>
                  <a:pt x="5679566" y="3939768"/>
                </a:cubicBezTo>
                <a:close/>
                <a:moveTo>
                  <a:pt x="5132214" y="3933965"/>
                </a:moveTo>
                <a:cubicBezTo>
                  <a:pt x="5130281" y="3933965"/>
                  <a:pt x="5126410" y="3935900"/>
                  <a:pt x="5124477" y="3935900"/>
                </a:cubicBezTo>
                <a:lnTo>
                  <a:pt x="5124475" y="3935900"/>
                </a:lnTo>
                <a:close/>
                <a:moveTo>
                  <a:pt x="5350766" y="3930097"/>
                </a:moveTo>
                <a:cubicBezTo>
                  <a:pt x="5344965" y="3932032"/>
                  <a:pt x="5339162" y="3932032"/>
                  <a:pt x="5335293" y="3935900"/>
                </a:cubicBezTo>
                <a:cubicBezTo>
                  <a:pt x="5343030" y="3937833"/>
                  <a:pt x="5350766" y="3937833"/>
                  <a:pt x="5358503" y="3935900"/>
                </a:cubicBezTo>
                <a:cubicBezTo>
                  <a:pt x="5358503" y="3935900"/>
                  <a:pt x="5360438" y="3935900"/>
                  <a:pt x="5360438" y="3935900"/>
                </a:cubicBezTo>
                <a:cubicBezTo>
                  <a:pt x="5362371" y="3935900"/>
                  <a:pt x="5364306" y="3935900"/>
                  <a:pt x="5366239" y="3935900"/>
                </a:cubicBezTo>
                <a:cubicBezTo>
                  <a:pt x="5368175" y="3933965"/>
                  <a:pt x="5372043" y="3933965"/>
                  <a:pt x="5373976" y="3933965"/>
                </a:cubicBezTo>
                <a:cubicBezTo>
                  <a:pt x="5372043" y="3932032"/>
                  <a:pt x="5372043" y="3932032"/>
                  <a:pt x="5370108" y="3932032"/>
                </a:cubicBezTo>
                <a:cubicBezTo>
                  <a:pt x="5364306" y="3928164"/>
                  <a:pt x="5358503" y="3928164"/>
                  <a:pt x="5350766" y="3930097"/>
                </a:cubicBezTo>
                <a:close/>
                <a:moveTo>
                  <a:pt x="5393317" y="3924295"/>
                </a:moveTo>
                <a:cubicBezTo>
                  <a:pt x="5389449" y="3924295"/>
                  <a:pt x="5385581" y="3926228"/>
                  <a:pt x="5381712" y="3926228"/>
                </a:cubicBezTo>
                <a:cubicBezTo>
                  <a:pt x="5383645" y="3926228"/>
                  <a:pt x="5383645" y="3928164"/>
                  <a:pt x="5385581" y="3930097"/>
                </a:cubicBezTo>
                <a:cubicBezTo>
                  <a:pt x="5389449" y="3930097"/>
                  <a:pt x="5393317" y="3928164"/>
                  <a:pt x="5399121" y="3928164"/>
                </a:cubicBezTo>
                <a:cubicBezTo>
                  <a:pt x="5397185" y="3928164"/>
                  <a:pt x="5395252" y="3926228"/>
                  <a:pt x="5393317" y="3924295"/>
                </a:cubicBezTo>
                <a:close/>
                <a:moveTo>
                  <a:pt x="5492736" y="3920206"/>
                </a:moveTo>
                <a:lnTo>
                  <a:pt x="5495825" y="3920427"/>
                </a:lnTo>
                <a:lnTo>
                  <a:pt x="5496049" y="3922450"/>
                </a:lnTo>
                <a:lnTo>
                  <a:pt x="5495825" y="3922360"/>
                </a:lnTo>
                <a:cubicBezTo>
                  <a:pt x="5495825" y="3922360"/>
                  <a:pt x="5495825" y="3922360"/>
                  <a:pt x="5493889" y="3922360"/>
                </a:cubicBezTo>
                <a:close/>
                <a:moveTo>
                  <a:pt x="5368175" y="3914624"/>
                </a:moveTo>
                <a:lnTo>
                  <a:pt x="5367745" y="3915053"/>
                </a:lnTo>
                <a:lnTo>
                  <a:pt x="5327559" y="3922360"/>
                </a:lnTo>
                <a:cubicBezTo>
                  <a:pt x="5331427" y="3924295"/>
                  <a:pt x="5335293" y="3924295"/>
                  <a:pt x="5339162" y="3920427"/>
                </a:cubicBezTo>
                <a:cubicBezTo>
                  <a:pt x="5339162" y="3920427"/>
                  <a:pt x="5341097" y="3920427"/>
                  <a:pt x="5341097" y="3920427"/>
                </a:cubicBezTo>
                <a:cubicBezTo>
                  <a:pt x="5343030" y="3920427"/>
                  <a:pt x="5343030" y="3920427"/>
                  <a:pt x="5343030" y="3920427"/>
                </a:cubicBezTo>
                <a:cubicBezTo>
                  <a:pt x="5348833" y="3920427"/>
                  <a:pt x="5356570" y="3918492"/>
                  <a:pt x="5364306" y="3918492"/>
                </a:cubicBezTo>
                <a:lnTo>
                  <a:pt x="5367745" y="3915053"/>
                </a:lnTo>
                <a:lnTo>
                  <a:pt x="5370108" y="3914624"/>
                </a:lnTo>
                <a:cubicBezTo>
                  <a:pt x="5370108" y="3914624"/>
                  <a:pt x="5370108" y="3914624"/>
                  <a:pt x="5368175" y="3914624"/>
                </a:cubicBezTo>
                <a:close/>
                <a:moveTo>
                  <a:pt x="5503561" y="3899153"/>
                </a:moveTo>
                <a:cubicBezTo>
                  <a:pt x="5503561" y="3899153"/>
                  <a:pt x="5503561" y="3901086"/>
                  <a:pt x="5503561" y="3901086"/>
                </a:cubicBezTo>
                <a:cubicBezTo>
                  <a:pt x="5503561" y="3901086"/>
                  <a:pt x="5505497" y="3899153"/>
                  <a:pt x="5507430" y="3899153"/>
                </a:cubicBezTo>
                <a:cubicBezTo>
                  <a:pt x="5507430" y="3899153"/>
                  <a:pt x="5505497" y="3899153"/>
                  <a:pt x="5505497" y="3899153"/>
                </a:cubicBezTo>
                <a:cubicBezTo>
                  <a:pt x="5505497" y="3899153"/>
                  <a:pt x="5503561" y="3899153"/>
                  <a:pt x="5503561" y="3899153"/>
                </a:cubicBezTo>
                <a:close/>
                <a:moveTo>
                  <a:pt x="5549980" y="3897218"/>
                </a:moveTo>
                <a:cubicBezTo>
                  <a:pt x="5546112" y="3897218"/>
                  <a:pt x="5542244" y="3897218"/>
                  <a:pt x="5538376" y="3899153"/>
                </a:cubicBezTo>
                <a:cubicBezTo>
                  <a:pt x="5536440" y="3901086"/>
                  <a:pt x="5532572" y="3901086"/>
                  <a:pt x="5530639" y="3903019"/>
                </a:cubicBezTo>
                <a:cubicBezTo>
                  <a:pt x="5528704" y="3903019"/>
                  <a:pt x="5528704" y="3904954"/>
                  <a:pt x="5526771" y="3906887"/>
                </a:cubicBezTo>
                <a:cubicBezTo>
                  <a:pt x="5519034" y="3906887"/>
                  <a:pt x="5511298" y="3906887"/>
                  <a:pt x="5505497" y="3901086"/>
                </a:cubicBezTo>
                <a:cubicBezTo>
                  <a:pt x="5501628" y="3908822"/>
                  <a:pt x="5493889" y="3912691"/>
                  <a:pt x="5484220" y="3910755"/>
                </a:cubicBezTo>
                <a:cubicBezTo>
                  <a:pt x="5480352" y="3910755"/>
                  <a:pt x="5478419" y="3910755"/>
                  <a:pt x="5476483" y="3910755"/>
                </a:cubicBezTo>
                <a:cubicBezTo>
                  <a:pt x="5461010" y="3914624"/>
                  <a:pt x="5445537" y="3912691"/>
                  <a:pt x="5430064" y="3910755"/>
                </a:cubicBezTo>
                <a:cubicBezTo>
                  <a:pt x="5428131" y="3912691"/>
                  <a:pt x="5428131" y="3912691"/>
                  <a:pt x="5428131" y="3912691"/>
                </a:cubicBezTo>
                <a:cubicBezTo>
                  <a:pt x="5424263" y="3918492"/>
                  <a:pt x="5416527" y="3918492"/>
                  <a:pt x="5410723" y="3920427"/>
                </a:cubicBezTo>
                <a:cubicBezTo>
                  <a:pt x="5412658" y="3920427"/>
                  <a:pt x="5414594" y="3922360"/>
                  <a:pt x="5416527" y="3924295"/>
                </a:cubicBezTo>
                <a:cubicBezTo>
                  <a:pt x="5418462" y="3924295"/>
                  <a:pt x="5422328" y="3924295"/>
                  <a:pt x="5424263" y="3924295"/>
                </a:cubicBezTo>
                <a:cubicBezTo>
                  <a:pt x="5428131" y="3922360"/>
                  <a:pt x="5433933" y="3922360"/>
                  <a:pt x="5437803" y="3920427"/>
                </a:cubicBezTo>
                <a:cubicBezTo>
                  <a:pt x="5451341" y="3916559"/>
                  <a:pt x="5466814" y="3916559"/>
                  <a:pt x="5482287" y="3914624"/>
                </a:cubicBezTo>
                <a:cubicBezTo>
                  <a:pt x="5486154" y="3913657"/>
                  <a:pt x="5488572" y="3914141"/>
                  <a:pt x="5490264" y="3915592"/>
                </a:cubicBezTo>
                <a:lnTo>
                  <a:pt x="5492736" y="3920206"/>
                </a:lnTo>
                <a:lnTo>
                  <a:pt x="5482287" y="3919460"/>
                </a:lnTo>
                <a:cubicBezTo>
                  <a:pt x="5477935" y="3919943"/>
                  <a:pt x="5473583" y="3921394"/>
                  <a:pt x="5468747" y="3924295"/>
                </a:cubicBezTo>
                <a:cubicBezTo>
                  <a:pt x="5464879" y="3928164"/>
                  <a:pt x="5457142" y="3928164"/>
                  <a:pt x="5451341" y="3930097"/>
                </a:cubicBezTo>
                <a:cubicBezTo>
                  <a:pt x="5461010" y="3930097"/>
                  <a:pt x="5468747" y="3930097"/>
                  <a:pt x="5476483" y="3930097"/>
                </a:cubicBezTo>
                <a:cubicBezTo>
                  <a:pt x="5482287" y="3928164"/>
                  <a:pt x="5488088" y="3928164"/>
                  <a:pt x="5493889" y="3926228"/>
                </a:cubicBezTo>
                <a:cubicBezTo>
                  <a:pt x="5495823" y="3926228"/>
                  <a:pt x="5496307" y="3925745"/>
                  <a:pt x="5496308" y="3924778"/>
                </a:cubicBezTo>
                <a:lnTo>
                  <a:pt x="5496049" y="3922450"/>
                </a:lnTo>
                <a:lnTo>
                  <a:pt x="5505497" y="3926228"/>
                </a:lnTo>
                <a:cubicBezTo>
                  <a:pt x="5519034" y="3910755"/>
                  <a:pt x="5536440" y="3910755"/>
                  <a:pt x="5555781" y="3916559"/>
                </a:cubicBezTo>
                <a:cubicBezTo>
                  <a:pt x="5553849" y="3918492"/>
                  <a:pt x="5551913" y="3918492"/>
                  <a:pt x="5549980" y="3920427"/>
                </a:cubicBezTo>
                <a:cubicBezTo>
                  <a:pt x="5567386" y="3920427"/>
                  <a:pt x="5582859" y="3920427"/>
                  <a:pt x="5598332" y="3918492"/>
                </a:cubicBezTo>
                <a:cubicBezTo>
                  <a:pt x="5600265" y="3916559"/>
                  <a:pt x="5604133" y="3914624"/>
                  <a:pt x="5608002" y="3912691"/>
                </a:cubicBezTo>
                <a:cubicBezTo>
                  <a:pt x="5594464" y="3903019"/>
                  <a:pt x="5582859" y="3916559"/>
                  <a:pt x="5573190" y="3912691"/>
                </a:cubicBezTo>
                <a:cubicBezTo>
                  <a:pt x="5575123" y="3908822"/>
                  <a:pt x="5577056" y="3904954"/>
                  <a:pt x="5578991" y="3903019"/>
                </a:cubicBezTo>
                <a:cubicBezTo>
                  <a:pt x="5577056" y="3904954"/>
                  <a:pt x="5575123" y="3904954"/>
                  <a:pt x="5573190" y="3904954"/>
                </a:cubicBezTo>
                <a:cubicBezTo>
                  <a:pt x="5569322" y="3904954"/>
                  <a:pt x="5567386" y="3904954"/>
                  <a:pt x="5565453" y="3901086"/>
                </a:cubicBezTo>
                <a:cubicBezTo>
                  <a:pt x="5565453" y="3899153"/>
                  <a:pt x="5563518" y="3899153"/>
                  <a:pt x="5563518" y="3897218"/>
                </a:cubicBezTo>
                <a:cubicBezTo>
                  <a:pt x="5559650" y="3897218"/>
                  <a:pt x="5555781" y="3897218"/>
                  <a:pt x="5551913" y="3897218"/>
                </a:cubicBezTo>
                <a:cubicBezTo>
                  <a:pt x="5551913" y="3897218"/>
                  <a:pt x="5549980" y="3897218"/>
                  <a:pt x="5549980" y="3897218"/>
                </a:cubicBezTo>
                <a:close/>
                <a:moveTo>
                  <a:pt x="5604133" y="3885613"/>
                </a:moveTo>
                <a:cubicBezTo>
                  <a:pt x="5600265" y="3885613"/>
                  <a:pt x="5594464" y="3887548"/>
                  <a:pt x="5590596" y="3887548"/>
                </a:cubicBezTo>
                <a:cubicBezTo>
                  <a:pt x="5582859" y="3887548"/>
                  <a:pt x="5580924" y="3891414"/>
                  <a:pt x="5577056" y="3897218"/>
                </a:cubicBezTo>
                <a:cubicBezTo>
                  <a:pt x="5578991" y="3899153"/>
                  <a:pt x="5580924" y="3899153"/>
                  <a:pt x="5582859" y="3901086"/>
                </a:cubicBezTo>
                <a:cubicBezTo>
                  <a:pt x="5586728" y="3899153"/>
                  <a:pt x="5590596" y="3897218"/>
                  <a:pt x="5602201" y="3895282"/>
                </a:cubicBezTo>
                <a:cubicBezTo>
                  <a:pt x="5613805" y="3891414"/>
                  <a:pt x="5621542" y="3895282"/>
                  <a:pt x="5629278" y="3903019"/>
                </a:cubicBezTo>
                <a:cubicBezTo>
                  <a:pt x="5633147" y="3901086"/>
                  <a:pt x="5638948" y="3897218"/>
                  <a:pt x="5642816" y="3895282"/>
                </a:cubicBezTo>
                <a:cubicBezTo>
                  <a:pt x="5638948" y="3893349"/>
                  <a:pt x="5635080" y="3893349"/>
                  <a:pt x="5631211" y="3891414"/>
                </a:cubicBezTo>
                <a:cubicBezTo>
                  <a:pt x="5629278" y="3891414"/>
                  <a:pt x="5627343" y="3889481"/>
                  <a:pt x="5625410" y="3889481"/>
                </a:cubicBezTo>
                <a:cubicBezTo>
                  <a:pt x="5621542" y="3889481"/>
                  <a:pt x="5619607" y="3889481"/>
                  <a:pt x="5617674" y="3889481"/>
                </a:cubicBezTo>
                <a:cubicBezTo>
                  <a:pt x="5617674" y="3887548"/>
                  <a:pt x="5619607" y="3887548"/>
                  <a:pt x="5619607" y="3887548"/>
                </a:cubicBezTo>
                <a:cubicBezTo>
                  <a:pt x="5615738" y="3887548"/>
                  <a:pt x="5609937" y="3887548"/>
                  <a:pt x="5604133" y="3885613"/>
                </a:cubicBezTo>
                <a:close/>
                <a:moveTo>
                  <a:pt x="5228918" y="3870140"/>
                </a:moveTo>
                <a:cubicBezTo>
                  <a:pt x="5225052" y="3870140"/>
                  <a:pt x="5223116" y="3870140"/>
                  <a:pt x="5219248" y="3872075"/>
                </a:cubicBezTo>
                <a:cubicBezTo>
                  <a:pt x="5221183" y="3872075"/>
                  <a:pt x="5221183" y="3872075"/>
                  <a:pt x="5221183" y="3872075"/>
                </a:cubicBezTo>
                <a:cubicBezTo>
                  <a:pt x="5223116" y="3872075"/>
                  <a:pt x="5226985" y="3870140"/>
                  <a:pt x="5228918" y="3870140"/>
                </a:cubicBezTo>
                <a:close/>
                <a:moveTo>
                  <a:pt x="5443604" y="3862403"/>
                </a:moveTo>
                <a:cubicBezTo>
                  <a:pt x="5441669" y="3864339"/>
                  <a:pt x="5441669" y="3864339"/>
                  <a:pt x="5441669" y="3864339"/>
                </a:cubicBezTo>
                <a:cubicBezTo>
                  <a:pt x="5443604" y="3864339"/>
                  <a:pt x="5443604" y="3864339"/>
                  <a:pt x="5445537" y="3864339"/>
                </a:cubicBezTo>
                <a:cubicBezTo>
                  <a:pt x="5445537" y="3864339"/>
                  <a:pt x="5443604" y="3864339"/>
                  <a:pt x="5443604" y="3862403"/>
                </a:cubicBezTo>
                <a:close/>
                <a:moveTo>
                  <a:pt x="5478177" y="3853701"/>
                </a:moveTo>
                <a:cubicBezTo>
                  <a:pt x="5473100" y="3854184"/>
                  <a:pt x="5467781" y="3855635"/>
                  <a:pt x="5461010" y="3858535"/>
                </a:cubicBezTo>
                <a:cubicBezTo>
                  <a:pt x="5464879" y="3858535"/>
                  <a:pt x="5470680" y="3858535"/>
                  <a:pt x="5474551" y="3858535"/>
                </a:cubicBezTo>
                <a:cubicBezTo>
                  <a:pt x="5480352" y="3856602"/>
                  <a:pt x="5488088" y="3856602"/>
                  <a:pt x="5493889" y="3854667"/>
                </a:cubicBezTo>
                <a:cubicBezTo>
                  <a:pt x="5488088" y="3853700"/>
                  <a:pt x="5483254" y="3853217"/>
                  <a:pt x="5478177" y="3853701"/>
                </a:cubicBezTo>
                <a:close/>
                <a:moveTo>
                  <a:pt x="5422328" y="3848866"/>
                </a:moveTo>
                <a:cubicBezTo>
                  <a:pt x="5422328" y="3850798"/>
                  <a:pt x="5422328" y="3848866"/>
                  <a:pt x="5424263" y="3848866"/>
                </a:cubicBezTo>
                <a:cubicBezTo>
                  <a:pt x="5424263" y="3848866"/>
                  <a:pt x="5424263" y="3850798"/>
                  <a:pt x="5424263" y="3850798"/>
                </a:cubicBezTo>
                <a:cubicBezTo>
                  <a:pt x="5424263" y="3850798"/>
                  <a:pt x="5422328" y="3850798"/>
                  <a:pt x="5422328" y="3848866"/>
                </a:cubicBezTo>
                <a:close/>
                <a:moveTo>
                  <a:pt x="5399121" y="3844997"/>
                </a:moveTo>
                <a:cubicBezTo>
                  <a:pt x="5395252" y="3844997"/>
                  <a:pt x="5389449" y="3846930"/>
                  <a:pt x="5385581" y="3846930"/>
                </a:cubicBezTo>
                <a:cubicBezTo>
                  <a:pt x="5366239" y="3850798"/>
                  <a:pt x="5344965" y="3850798"/>
                  <a:pt x="5327559" y="3860470"/>
                </a:cubicBezTo>
                <a:cubicBezTo>
                  <a:pt x="5323689" y="3862403"/>
                  <a:pt x="5321756" y="3862403"/>
                  <a:pt x="5317887" y="3862403"/>
                </a:cubicBezTo>
                <a:cubicBezTo>
                  <a:pt x="5315952" y="3862403"/>
                  <a:pt x="5312086" y="3856602"/>
                  <a:pt x="5314019" y="3852734"/>
                </a:cubicBezTo>
                <a:cubicBezTo>
                  <a:pt x="5314019" y="3850798"/>
                  <a:pt x="5315952" y="3850798"/>
                  <a:pt x="5315952" y="3848866"/>
                </a:cubicBezTo>
                <a:cubicBezTo>
                  <a:pt x="5315952" y="3848866"/>
                  <a:pt x="5314019" y="3848866"/>
                  <a:pt x="5314019" y="3848866"/>
                </a:cubicBezTo>
                <a:cubicBezTo>
                  <a:pt x="5304350" y="3848866"/>
                  <a:pt x="5292745" y="3852734"/>
                  <a:pt x="5283073" y="3854667"/>
                </a:cubicBezTo>
                <a:cubicBezTo>
                  <a:pt x="5273404" y="3856602"/>
                  <a:pt x="5265667" y="3860470"/>
                  <a:pt x="5255995" y="3862403"/>
                </a:cubicBezTo>
                <a:cubicBezTo>
                  <a:pt x="5250194" y="3870140"/>
                  <a:pt x="5250194" y="3872075"/>
                  <a:pt x="5236654" y="3872075"/>
                </a:cubicBezTo>
                <a:cubicBezTo>
                  <a:pt x="5226985" y="3875943"/>
                  <a:pt x="5211512" y="3879812"/>
                  <a:pt x="5184434" y="3885613"/>
                </a:cubicBezTo>
                <a:cubicBezTo>
                  <a:pt x="5184434" y="3885613"/>
                  <a:pt x="5182501" y="3885613"/>
                  <a:pt x="5180566" y="3885613"/>
                </a:cubicBezTo>
                <a:cubicBezTo>
                  <a:pt x="5172829" y="3889481"/>
                  <a:pt x="5163160" y="3889481"/>
                  <a:pt x="5155423" y="3891414"/>
                </a:cubicBezTo>
                <a:cubicBezTo>
                  <a:pt x="5153488" y="3891414"/>
                  <a:pt x="5149620" y="3893349"/>
                  <a:pt x="5147687" y="3893349"/>
                </a:cubicBezTo>
                <a:cubicBezTo>
                  <a:pt x="5151555" y="3895282"/>
                  <a:pt x="5153488" y="3895282"/>
                  <a:pt x="5155423" y="3897218"/>
                </a:cubicBezTo>
                <a:cubicBezTo>
                  <a:pt x="5151555" y="3899153"/>
                  <a:pt x="5149620" y="3903019"/>
                  <a:pt x="5145751" y="3904954"/>
                </a:cubicBezTo>
                <a:cubicBezTo>
                  <a:pt x="5147687" y="3908822"/>
                  <a:pt x="5151555" y="3906887"/>
                  <a:pt x="5155423" y="3906887"/>
                </a:cubicBezTo>
                <a:cubicBezTo>
                  <a:pt x="5155423" y="3906887"/>
                  <a:pt x="5153488" y="3908822"/>
                  <a:pt x="5153488" y="3908822"/>
                </a:cubicBezTo>
                <a:cubicBezTo>
                  <a:pt x="5143818" y="3912691"/>
                  <a:pt x="5134149" y="3916559"/>
                  <a:pt x="5124477" y="3918492"/>
                </a:cubicBezTo>
                <a:cubicBezTo>
                  <a:pt x="5114808" y="3920427"/>
                  <a:pt x="5105136" y="3922360"/>
                  <a:pt x="5097399" y="3926228"/>
                </a:cubicBezTo>
                <a:cubicBezTo>
                  <a:pt x="5109004" y="3932032"/>
                  <a:pt x="5120609" y="3930097"/>
                  <a:pt x="5132214" y="3926228"/>
                </a:cubicBezTo>
                <a:cubicBezTo>
                  <a:pt x="5139950" y="3924295"/>
                  <a:pt x="5139950" y="3924295"/>
                  <a:pt x="5147687" y="3928164"/>
                </a:cubicBezTo>
                <a:lnTo>
                  <a:pt x="5146929" y="3928488"/>
                </a:lnTo>
                <a:lnTo>
                  <a:pt x="5137774" y="3929131"/>
                </a:lnTo>
                <a:cubicBezTo>
                  <a:pt x="5133664" y="3930098"/>
                  <a:pt x="5129312" y="3932032"/>
                  <a:pt x="5122542" y="3935900"/>
                </a:cubicBezTo>
                <a:lnTo>
                  <a:pt x="5124475" y="3935900"/>
                </a:lnTo>
                <a:lnTo>
                  <a:pt x="5109004" y="3939768"/>
                </a:lnTo>
                <a:lnTo>
                  <a:pt x="5108290" y="3941911"/>
                </a:lnTo>
                <a:lnTo>
                  <a:pt x="5088581" y="3945339"/>
                </a:lnTo>
                <a:lnTo>
                  <a:pt x="5087730" y="3943637"/>
                </a:lnTo>
                <a:lnTo>
                  <a:pt x="5069255" y="3945483"/>
                </a:lnTo>
                <a:lnTo>
                  <a:pt x="5066453" y="3941701"/>
                </a:lnTo>
                <a:cubicBezTo>
                  <a:pt x="5066453" y="3943637"/>
                  <a:pt x="5066453" y="3943637"/>
                  <a:pt x="5066453" y="3943637"/>
                </a:cubicBezTo>
                <a:cubicBezTo>
                  <a:pt x="5066453" y="3943637"/>
                  <a:pt x="5068389" y="3945570"/>
                  <a:pt x="5068389" y="3945570"/>
                </a:cubicBezTo>
                <a:lnTo>
                  <a:pt x="5069255" y="3945483"/>
                </a:lnTo>
                <a:lnTo>
                  <a:pt x="5071290" y="3948230"/>
                </a:lnTo>
                <a:cubicBezTo>
                  <a:pt x="5072741" y="3948955"/>
                  <a:pt x="5074191" y="3948472"/>
                  <a:pt x="5076125" y="3947505"/>
                </a:cubicBezTo>
                <a:lnTo>
                  <a:pt x="5088581" y="3945339"/>
                </a:lnTo>
                <a:lnTo>
                  <a:pt x="5091598" y="3951373"/>
                </a:lnTo>
                <a:cubicBezTo>
                  <a:pt x="5097399" y="3951373"/>
                  <a:pt x="5101268" y="3949438"/>
                  <a:pt x="5107071" y="3947505"/>
                </a:cubicBezTo>
                <a:cubicBezTo>
                  <a:pt x="5110939" y="3945570"/>
                  <a:pt x="5116741" y="3945570"/>
                  <a:pt x="5120609" y="3947505"/>
                </a:cubicBezTo>
                <a:cubicBezTo>
                  <a:pt x="5120609" y="3947505"/>
                  <a:pt x="5120609" y="3945570"/>
                  <a:pt x="5120609" y="3945570"/>
                </a:cubicBezTo>
                <a:cubicBezTo>
                  <a:pt x="5116741" y="3945570"/>
                  <a:pt x="5110939" y="3945570"/>
                  <a:pt x="5107071" y="3945570"/>
                </a:cubicBezTo>
                <a:lnTo>
                  <a:pt x="5108290" y="3941911"/>
                </a:lnTo>
                <a:lnTo>
                  <a:pt x="5120609" y="3939768"/>
                </a:lnTo>
                <a:lnTo>
                  <a:pt x="5146929" y="3928488"/>
                </a:lnTo>
                <a:lnTo>
                  <a:pt x="5151555" y="3928164"/>
                </a:lnTo>
                <a:cubicBezTo>
                  <a:pt x="5161224" y="3926228"/>
                  <a:pt x="5168961" y="3924295"/>
                  <a:pt x="5176697" y="3922360"/>
                </a:cubicBezTo>
                <a:cubicBezTo>
                  <a:pt x="5174764" y="3922360"/>
                  <a:pt x="5170896" y="3920427"/>
                  <a:pt x="5167028" y="3918492"/>
                </a:cubicBezTo>
                <a:cubicBezTo>
                  <a:pt x="5178633" y="3912691"/>
                  <a:pt x="5188302" y="3910755"/>
                  <a:pt x="5197974" y="3908822"/>
                </a:cubicBezTo>
                <a:cubicBezTo>
                  <a:pt x="5199907" y="3906887"/>
                  <a:pt x="5201842" y="3908822"/>
                  <a:pt x="5203775" y="3908822"/>
                </a:cubicBezTo>
                <a:cubicBezTo>
                  <a:pt x="5211512" y="3914624"/>
                  <a:pt x="5217315" y="3912691"/>
                  <a:pt x="5225052" y="3908822"/>
                </a:cubicBezTo>
                <a:cubicBezTo>
                  <a:pt x="5232786" y="3903019"/>
                  <a:pt x="5242458" y="3903019"/>
                  <a:pt x="5252127" y="3903019"/>
                </a:cubicBezTo>
                <a:cubicBezTo>
                  <a:pt x="5254062" y="3903019"/>
                  <a:pt x="5254062" y="3903019"/>
                  <a:pt x="5255995" y="3903019"/>
                </a:cubicBezTo>
                <a:cubicBezTo>
                  <a:pt x="5257931" y="3901086"/>
                  <a:pt x="5259864" y="3901086"/>
                  <a:pt x="5261799" y="3901086"/>
                </a:cubicBezTo>
                <a:cubicBezTo>
                  <a:pt x="5277270" y="3897218"/>
                  <a:pt x="5294678" y="3893349"/>
                  <a:pt x="5310151" y="3889481"/>
                </a:cubicBezTo>
                <a:cubicBezTo>
                  <a:pt x="5310151" y="3889481"/>
                  <a:pt x="5310151" y="3887548"/>
                  <a:pt x="5310151" y="3887548"/>
                </a:cubicBezTo>
                <a:cubicBezTo>
                  <a:pt x="5310151" y="3887548"/>
                  <a:pt x="5312086" y="3885613"/>
                  <a:pt x="5312086" y="3885613"/>
                </a:cubicBezTo>
                <a:cubicBezTo>
                  <a:pt x="5315952" y="3885613"/>
                  <a:pt x="5321756" y="3885613"/>
                  <a:pt x="5327559" y="3885613"/>
                </a:cubicBezTo>
                <a:cubicBezTo>
                  <a:pt x="5335293" y="3883677"/>
                  <a:pt x="5344965" y="3881745"/>
                  <a:pt x="5352702" y="3879812"/>
                </a:cubicBezTo>
                <a:cubicBezTo>
                  <a:pt x="5354635" y="3879812"/>
                  <a:pt x="5354635" y="3877876"/>
                  <a:pt x="5356570" y="3877876"/>
                </a:cubicBezTo>
                <a:cubicBezTo>
                  <a:pt x="5362371" y="3875943"/>
                  <a:pt x="5370108" y="3874008"/>
                  <a:pt x="5377844" y="3874008"/>
                </a:cubicBezTo>
                <a:cubicBezTo>
                  <a:pt x="5383645" y="3872075"/>
                  <a:pt x="5389449" y="3872075"/>
                  <a:pt x="5395252" y="3872075"/>
                </a:cubicBezTo>
                <a:cubicBezTo>
                  <a:pt x="5402987" y="3868207"/>
                  <a:pt x="5410723" y="3864339"/>
                  <a:pt x="5418462" y="3862403"/>
                </a:cubicBezTo>
                <a:cubicBezTo>
                  <a:pt x="5424263" y="3862403"/>
                  <a:pt x="5428131" y="3860470"/>
                  <a:pt x="5432000" y="3860470"/>
                </a:cubicBezTo>
                <a:cubicBezTo>
                  <a:pt x="5432000" y="3860470"/>
                  <a:pt x="5432000" y="3858535"/>
                  <a:pt x="5432000" y="3856602"/>
                </a:cubicBezTo>
                <a:cubicBezTo>
                  <a:pt x="5432000" y="3856602"/>
                  <a:pt x="5435868" y="3854667"/>
                  <a:pt x="5437803" y="3854667"/>
                </a:cubicBezTo>
                <a:cubicBezTo>
                  <a:pt x="5445537" y="3852734"/>
                  <a:pt x="5453274" y="3852734"/>
                  <a:pt x="5461010" y="3852734"/>
                </a:cubicBezTo>
                <a:cubicBezTo>
                  <a:pt x="5461010" y="3850798"/>
                  <a:pt x="5459078" y="3848866"/>
                  <a:pt x="5459078" y="3844997"/>
                </a:cubicBezTo>
                <a:cubicBezTo>
                  <a:pt x="5455209" y="3844997"/>
                  <a:pt x="5453274" y="3846930"/>
                  <a:pt x="5451341" y="3846930"/>
                </a:cubicBezTo>
                <a:cubicBezTo>
                  <a:pt x="5439736" y="3850798"/>
                  <a:pt x="5428131" y="3852734"/>
                  <a:pt x="5416527" y="3846930"/>
                </a:cubicBezTo>
                <a:cubicBezTo>
                  <a:pt x="5414594" y="3846930"/>
                  <a:pt x="5410723" y="3844997"/>
                  <a:pt x="5408790" y="3844997"/>
                </a:cubicBezTo>
                <a:cubicBezTo>
                  <a:pt x="5402987" y="3844997"/>
                  <a:pt x="5401054" y="3846930"/>
                  <a:pt x="5399121" y="3854667"/>
                </a:cubicBezTo>
                <a:cubicBezTo>
                  <a:pt x="5404922" y="3858535"/>
                  <a:pt x="5412658" y="3854667"/>
                  <a:pt x="5418462" y="3858535"/>
                </a:cubicBezTo>
                <a:cubicBezTo>
                  <a:pt x="5416527" y="3860470"/>
                  <a:pt x="5416527" y="3862403"/>
                  <a:pt x="5414594" y="3862403"/>
                </a:cubicBezTo>
                <a:cubicBezTo>
                  <a:pt x="5399121" y="3864339"/>
                  <a:pt x="5383645" y="3866272"/>
                  <a:pt x="5368175" y="3866272"/>
                </a:cubicBezTo>
                <a:cubicBezTo>
                  <a:pt x="5368175" y="3866272"/>
                  <a:pt x="5366239" y="3866272"/>
                  <a:pt x="5366239" y="3864339"/>
                </a:cubicBezTo>
                <a:cubicBezTo>
                  <a:pt x="5368175" y="3858535"/>
                  <a:pt x="5372043" y="3862403"/>
                  <a:pt x="5375911" y="3862403"/>
                </a:cubicBezTo>
                <a:cubicBezTo>
                  <a:pt x="5379779" y="3860470"/>
                  <a:pt x="5383645" y="3860470"/>
                  <a:pt x="5387514" y="3860470"/>
                </a:cubicBezTo>
                <a:cubicBezTo>
                  <a:pt x="5391384" y="3856602"/>
                  <a:pt x="5395252" y="3852734"/>
                  <a:pt x="5397185" y="3848866"/>
                </a:cubicBezTo>
                <a:cubicBezTo>
                  <a:pt x="5397185" y="3846930"/>
                  <a:pt x="5397185" y="3844997"/>
                  <a:pt x="5399121" y="3844997"/>
                </a:cubicBezTo>
                <a:close/>
                <a:moveTo>
                  <a:pt x="5491956" y="3843062"/>
                </a:moveTo>
                <a:cubicBezTo>
                  <a:pt x="5491956" y="3843062"/>
                  <a:pt x="5490021" y="3844997"/>
                  <a:pt x="5490021" y="3844997"/>
                </a:cubicBezTo>
                <a:cubicBezTo>
                  <a:pt x="5490021" y="3846930"/>
                  <a:pt x="5491956" y="3846930"/>
                  <a:pt x="5493889" y="3846930"/>
                </a:cubicBezTo>
                <a:cubicBezTo>
                  <a:pt x="5493889" y="3846930"/>
                  <a:pt x="5493889" y="3844997"/>
                  <a:pt x="5493889" y="3844997"/>
                </a:cubicBezTo>
                <a:cubicBezTo>
                  <a:pt x="5493889" y="3844997"/>
                  <a:pt x="5491956" y="3843062"/>
                  <a:pt x="5491956" y="3843062"/>
                </a:cubicBezTo>
                <a:close/>
                <a:moveTo>
                  <a:pt x="5531847" y="3842579"/>
                </a:moveTo>
                <a:cubicBezTo>
                  <a:pt x="5530639" y="3842579"/>
                  <a:pt x="5529672" y="3843063"/>
                  <a:pt x="5528704" y="3844997"/>
                </a:cubicBezTo>
                <a:cubicBezTo>
                  <a:pt x="5530639" y="3843062"/>
                  <a:pt x="5534507" y="3843062"/>
                  <a:pt x="5536440" y="3843062"/>
                </a:cubicBezTo>
                <a:cubicBezTo>
                  <a:pt x="5534506" y="3843062"/>
                  <a:pt x="5533056" y="3842579"/>
                  <a:pt x="5531847" y="3842579"/>
                </a:cubicBezTo>
                <a:close/>
                <a:moveTo>
                  <a:pt x="5281140" y="3839194"/>
                </a:moveTo>
                <a:cubicBezTo>
                  <a:pt x="5277270" y="3841129"/>
                  <a:pt x="5273404" y="3841129"/>
                  <a:pt x="5269535" y="3843062"/>
                </a:cubicBezTo>
                <a:cubicBezTo>
                  <a:pt x="5271468" y="3843062"/>
                  <a:pt x="5273404" y="3843062"/>
                  <a:pt x="5275337" y="3843062"/>
                </a:cubicBezTo>
                <a:cubicBezTo>
                  <a:pt x="5277270" y="3843062"/>
                  <a:pt x="5279205" y="3841129"/>
                  <a:pt x="5281140" y="3839194"/>
                </a:cubicBezTo>
                <a:close/>
                <a:moveTo>
                  <a:pt x="5582859" y="3837261"/>
                </a:moveTo>
                <a:cubicBezTo>
                  <a:pt x="5575123" y="3839194"/>
                  <a:pt x="5565453" y="3839194"/>
                  <a:pt x="5553849" y="3843062"/>
                </a:cubicBezTo>
                <a:cubicBezTo>
                  <a:pt x="5549980" y="3843062"/>
                  <a:pt x="5548045" y="3844997"/>
                  <a:pt x="5544177" y="3846930"/>
                </a:cubicBezTo>
                <a:cubicBezTo>
                  <a:pt x="5542244" y="3848866"/>
                  <a:pt x="5540308" y="3850798"/>
                  <a:pt x="5538376" y="3852734"/>
                </a:cubicBezTo>
                <a:cubicBezTo>
                  <a:pt x="5549980" y="3852734"/>
                  <a:pt x="5561585" y="3852734"/>
                  <a:pt x="5571255" y="3850798"/>
                </a:cubicBezTo>
                <a:cubicBezTo>
                  <a:pt x="5571255" y="3848866"/>
                  <a:pt x="5573190" y="3848866"/>
                  <a:pt x="5573190" y="3848866"/>
                </a:cubicBezTo>
                <a:cubicBezTo>
                  <a:pt x="5575123" y="3848866"/>
                  <a:pt x="5575123" y="3848866"/>
                  <a:pt x="5577056" y="3848866"/>
                </a:cubicBezTo>
                <a:cubicBezTo>
                  <a:pt x="5578991" y="3846930"/>
                  <a:pt x="5578991" y="3846930"/>
                  <a:pt x="5580924" y="3846930"/>
                </a:cubicBezTo>
                <a:cubicBezTo>
                  <a:pt x="5584795" y="3844997"/>
                  <a:pt x="5590596" y="3843062"/>
                  <a:pt x="5596397" y="3841129"/>
                </a:cubicBezTo>
                <a:cubicBezTo>
                  <a:pt x="5596397" y="3839194"/>
                  <a:pt x="5598332" y="3839194"/>
                  <a:pt x="5598332" y="3839194"/>
                </a:cubicBezTo>
                <a:cubicBezTo>
                  <a:pt x="5594464" y="3837261"/>
                  <a:pt x="5588663" y="3835325"/>
                  <a:pt x="5582859" y="3837261"/>
                </a:cubicBezTo>
                <a:close/>
                <a:moveTo>
                  <a:pt x="5480352" y="3829524"/>
                </a:moveTo>
                <a:cubicBezTo>
                  <a:pt x="5474551" y="3829524"/>
                  <a:pt x="5468747" y="3831457"/>
                  <a:pt x="5462946" y="3833393"/>
                </a:cubicBezTo>
                <a:cubicBezTo>
                  <a:pt x="5457142" y="3835325"/>
                  <a:pt x="5449406" y="3837261"/>
                  <a:pt x="5443604" y="3839194"/>
                </a:cubicBezTo>
                <a:cubicBezTo>
                  <a:pt x="5439736" y="3839194"/>
                  <a:pt x="5439736" y="3839194"/>
                  <a:pt x="5437803" y="3839194"/>
                </a:cubicBezTo>
                <a:cubicBezTo>
                  <a:pt x="5437803" y="3839194"/>
                  <a:pt x="5437803" y="3841129"/>
                  <a:pt x="5437803" y="3841129"/>
                </a:cubicBezTo>
                <a:cubicBezTo>
                  <a:pt x="5437803" y="3841129"/>
                  <a:pt x="5439736" y="3841129"/>
                  <a:pt x="5439736" y="3841129"/>
                </a:cubicBezTo>
                <a:cubicBezTo>
                  <a:pt x="5441669" y="3841129"/>
                  <a:pt x="5441669" y="3839194"/>
                  <a:pt x="5443604" y="3839194"/>
                </a:cubicBezTo>
                <a:cubicBezTo>
                  <a:pt x="5445537" y="3839194"/>
                  <a:pt x="5449406" y="3841129"/>
                  <a:pt x="5451341" y="3841129"/>
                </a:cubicBezTo>
                <a:cubicBezTo>
                  <a:pt x="5453274" y="3841129"/>
                  <a:pt x="5457142" y="3843062"/>
                  <a:pt x="5459078" y="3843062"/>
                </a:cubicBezTo>
                <a:cubicBezTo>
                  <a:pt x="5462946" y="3843062"/>
                  <a:pt x="5464879" y="3841129"/>
                  <a:pt x="5464879" y="3837261"/>
                </a:cubicBezTo>
                <a:cubicBezTo>
                  <a:pt x="5466814" y="3837261"/>
                  <a:pt x="5468747" y="3837261"/>
                  <a:pt x="5470680" y="3837261"/>
                </a:cubicBezTo>
                <a:cubicBezTo>
                  <a:pt x="5470680" y="3837261"/>
                  <a:pt x="5472615" y="3835325"/>
                  <a:pt x="5472615" y="3835325"/>
                </a:cubicBezTo>
                <a:cubicBezTo>
                  <a:pt x="5474551" y="3833393"/>
                  <a:pt x="5478419" y="3831457"/>
                  <a:pt x="5480352" y="3829524"/>
                </a:cubicBezTo>
                <a:close/>
                <a:moveTo>
                  <a:pt x="5517099" y="3827589"/>
                </a:moveTo>
                <a:cubicBezTo>
                  <a:pt x="5507430" y="3829524"/>
                  <a:pt x="5497758" y="3829524"/>
                  <a:pt x="5488088" y="3829524"/>
                </a:cubicBezTo>
                <a:cubicBezTo>
                  <a:pt x="5490021" y="3831457"/>
                  <a:pt x="5490021" y="3833393"/>
                  <a:pt x="5491956" y="3835325"/>
                </a:cubicBezTo>
                <a:cubicBezTo>
                  <a:pt x="5513231" y="3835325"/>
                  <a:pt x="5534507" y="3833393"/>
                  <a:pt x="5555781" y="3833393"/>
                </a:cubicBezTo>
                <a:cubicBezTo>
                  <a:pt x="5549980" y="3829524"/>
                  <a:pt x="5542244" y="3829524"/>
                  <a:pt x="5534507" y="3829524"/>
                </a:cubicBezTo>
                <a:cubicBezTo>
                  <a:pt x="5528704" y="3829524"/>
                  <a:pt x="5522903" y="3831457"/>
                  <a:pt x="5517099" y="3827589"/>
                </a:cubicBezTo>
                <a:close/>
                <a:moveTo>
                  <a:pt x="5613805" y="3825656"/>
                </a:moveTo>
                <a:cubicBezTo>
                  <a:pt x="5611872" y="3825656"/>
                  <a:pt x="5611872" y="3827589"/>
                  <a:pt x="5606069" y="3829524"/>
                </a:cubicBezTo>
                <a:cubicBezTo>
                  <a:pt x="5609937" y="3829524"/>
                  <a:pt x="5609937" y="3831457"/>
                  <a:pt x="5611872" y="3831457"/>
                </a:cubicBezTo>
                <a:cubicBezTo>
                  <a:pt x="5613805" y="3831457"/>
                  <a:pt x="5613805" y="3831457"/>
                  <a:pt x="5613805" y="3831457"/>
                </a:cubicBezTo>
                <a:cubicBezTo>
                  <a:pt x="5617674" y="3829524"/>
                  <a:pt x="5621542" y="3827589"/>
                  <a:pt x="5625410" y="3825656"/>
                </a:cubicBezTo>
                <a:cubicBezTo>
                  <a:pt x="5621542" y="3825656"/>
                  <a:pt x="5617674" y="3825656"/>
                  <a:pt x="5613805" y="3825656"/>
                </a:cubicBezTo>
                <a:close/>
                <a:moveTo>
                  <a:pt x="5756928" y="3815984"/>
                </a:moveTo>
                <a:cubicBezTo>
                  <a:pt x="5756928" y="3815984"/>
                  <a:pt x="5756928" y="3817919"/>
                  <a:pt x="5756928" y="3817919"/>
                </a:cubicBezTo>
                <a:cubicBezTo>
                  <a:pt x="5758864" y="3815984"/>
                  <a:pt x="5760797" y="3815984"/>
                  <a:pt x="5762732" y="3815984"/>
                </a:cubicBezTo>
                <a:cubicBezTo>
                  <a:pt x="5760797" y="3815984"/>
                  <a:pt x="5758864" y="3815984"/>
                  <a:pt x="5756928" y="3815984"/>
                </a:cubicBezTo>
                <a:close/>
                <a:moveTo>
                  <a:pt x="5548045" y="3812118"/>
                </a:moveTo>
                <a:cubicBezTo>
                  <a:pt x="5548045" y="3812118"/>
                  <a:pt x="5549980" y="3814051"/>
                  <a:pt x="5549980" y="3814051"/>
                </a:cubicBezTo>
                <a:cubicBezTo>
                  <a:pt x="5549980" y="3814051"/>
                  <a:pt x="5551913" y="3812118"/>
                  <a:pt x="5551913" y="3812118"/>
                </a:cubicBezTo>
                <a:cubicBezTo>
                  <a:pt x="5551913" y="3812118"/>
                  <a:pt x="5549980" y="3812118"/>
                  <a:pt x="5549980" y="3812118"/>
                </a:cubicBezTo>
                <a:cubicBezTo>
                  <a:pt x="5549980" y="3812118"/>
                  <a:pt x="5548045" y="3812118"/>
                  <a:pt x="5548045" y="3812118"/>
                </a:cubicBezTo>
                <a:close/>
                <a:moveTo>
                  <a:pt x="5503561" y="3798578"/>
                </a:moveTo>
                <a:cubicBezTo>
                  <a:pt x="5501628" y="3800514"/>
                  <a:pt x="5497758" y="3800514"/>
                  <a:pt x="5495825" y="3800514"/>
                </a:cubicBezTo>
                <a:cubicBezTo>
                  <a:pt x="5470680" y="3796643"/>
                  <a:pt x="5445537" y="3806315"/>
                  <a:pt x="5422328" y="3812118"/>
                </a:cubicBezTo>
                <a:cubicBezTo>
                  <a:pt x="5406855" y="3815984"/>
                  <a:pt x="5393317" y="3819852"/>
                  <a:pt x="5377844" y="3821788"/>
                </a:cubicBezTo>
                <a:cubicBezTo>
                  <a:pt x="5377844" y="3821788"/>
                  <a:pt x="5375911" y="3823721"/>
                  <a:pt x="5375911" y="3823721"/>
                </a:cubicBezTo>
                <a:cubicBezTo>
                  <a:pt x="5368175" y="3825656"/>
                  <a:pt x="5362371" y="3825656"/>
                  <a:pt x="5354635" y="3825656"/>
                </a:cubicBezTo>
                <a:cubicBezTo>
                  <a:pt x="5350766" y="3825656"/>
                  <a:pt x="5346898" y="3827589"/>
                  <a:pt x="5343030" y="3825656"/>
                </a:cubicBezTo>
                <a:cubicBezTo>
                  <a:pt x="5339162" y="3823721"/>
                  <a:pt x="5335293" y="3823721"/>
                  <a:pt x="5331427" y="3823721"/>
                </a:cubicBezTo>
                <a:cubicBezTo>
                  <a:pt x="5331427" y="3825656"/>
                  <a:pt x="5331427" y="3825656"/>
                  <a:pt x="5331427" y="3827589"/>
                </a:cubicBezTo>
                <a:cubicBezTo>
                  <a:pt x="5325624" y="3829524"/>
                  <a:pt x="5321756" y="3827589"/>
                  <a:pt x="5317887" y="3825656"/>
                </a:cubicBezTo>
                <a:cubicBezTo>
                  <a:pt x="5314019" y="3827589"/>
                  <a:pt x="5310151" y="3827589"/>
                  <a:pt x="5306283" y="3829524"/>
                </a:cubicBezTo>
                <a:cubicBezTo>
                  <a:pt x="5308218" y="3831457"/>
                  <a:pt x="5308218" y="3831457"/>
                  <a:pt x="5308218" y="3833393"/>
                </a:cubicBezTo>
                <a:cubicBezTo>
                  <a:pt x="5304350" y="3835325"/>
                  <a:pt x="5298546" y="3835325"/>
                  <a:pt x="5296611" y="3835325"/>
                </a:cubicBezTo>
                <a:cubicBezTo>
                  <a:pt x="5292745" y="3837261"/>
                  <a:pt x="5290810" y="3841129"/>
                  <a:pt x="5288877" y="3843062"/>
                </a:cubicBezTo>
                <a:cubicBezTo>
                  <a:pt x="5306283" y="3843062"/>
                  <a:pt x="5323689" y="3841129"/>
                  <a:pt x="5341097" y="3839194"/>
                </a:cubicBezTo>
                <a:cubicBezTo>
                  <a:pt x="5343030" y="3839194"/>
                  <a:pt x="5343030" y="3839194"/>
                  <a:pt x="5344965" y="3839194"/>
                </a:cubicBezTo>
                <a:cubicBezTo>
                  <a:pt x="5350766" y="3837261"/>
                  <a:pt x="5356570" y="3835325"/>
                  <a:pt x="5362371" y="3831457"/>
                </a:cubicBezTo>
                <a:cubicBezTo>
                  <a:pt x="5364306" y="3831457"/>
                  <a:pt x="5366239" y="3831457"/>
                  <a:pt x="5368175" y="3831457"/>
                </a:cubicBezTo>
                <a:cubicBezTo>
                  <a:pt x="5385581" y="3833393"/>
                  <a:pt x="5404922" y="3827589"/>
                  <a:pt x="5422328" y="3823721"/>
                </a:cubicBezTo>
                <a:cubicBezTo>
                  <a:pt x="5437803" y="3819852"/>
                  <a:pt x="5453274" y="3817919"/>
                  <a:pt x="5468747" y="3815984"/>
                </a:cubicBezTo>
                <a:cubicBezTo>
                  <a:pt x="5482287" y="3814051"/>
                  <a:pt x="5495825" y="3810183"/>
                  <a:pt x="5503561" y="3798578"/>
                </a:cubicBezTo>
                <a:close/>
                <a:moveTo>
                  <a:pt x="5410723" y="3794710"/>
                </a:moveTo>
                <a:cubicBezTo>
                  <a:pt x="5406855" y="3796643"/>
                  <a:pt x="5401054" y="3796643"/>
                  <a:pt x="5395252" y="3796643"/>
                </a:cubicBezTo>
                <a:cubicBezTo>
                  <a:pt x="5395252" y="3796643"/>
                  <a:pt x="5397185" y="3796643"/>
                  <a:pt x="5399121" y="3796643"/>
                </a:cubicBezTo>
                <a:cubicBezTo>
                  <a:pt x="5399121" y="3796643"/>
                  <a:pt x="5401054" y="3796643"/>
                  <a:pt x="5401054" y="3796643"/>
                </a:cubicBezTo>
                <a:cubicBezTo>
                  <a:pt x="5404922" y="3796643"/>
                  <a:pt x="5406855" y="3794710"/>
                  <a:pt x="5410723" y="3794710"/>
                </a:cubicBezTo>
                <a:close/>
                <a:moveTo>
                  <a:pt x="5420395" y="3786973"/>
                </a:moveTo>
                <a:cubicBezTo>
                  <a:pt x="5416527" y="3788909"/>
                  <a:pt x="5412658" y="3788909"/>
                  <a:pt x="5408790" y="3790842"/>
                </a:cubicBezTo>
                <a:cubicBezTo>
                  <a:pt x="5410723" y="3790842"/>
                  <a:pt x="5412658" y="3792777"/>
                  <a:pt x="5414594" y="3794710"/>
                </a:cubicBezTo>
                <a:cubicBezTo>
                  <a:pt x="5416527" y="3792777"/>
                  <a:pt x="5418462" y="3788909"/>
                  <a:pt x="5420395" y="3786973"/>
                </a:cubicBezTo>
                <a:close/>
                <a:moveTo>
                  <a:pt x="5542244" y="3752159"/>
                </a:moveTo>
                <a:cubicBezTo>
                  <a:pt x="5522903" y="3756027"/>
                  <a:pt x="5503561" y="3754094"/>
                  <a:pt x="5484220" y="3761831"/>
                </a:cubicBezTo>
                <a:cubicBezTo>
                  <a:pt x="5482287" y="3763764"/>
                  <a:pt x="5476483" y="3763764"/>
                  <a:pt x="5472615" y="3763764"/>
                </a:cubicBezTo>
                <a:cubicBezTo>
                  <a:pt x="5445537" y="3761831"/>
                  <a:pt x="5420395" y="3767632"/>
                  <a:pt x="5395252" y="3775369"/>
                </a:cubicBezTo>
                <a:cubicBezTo>
                  <a:pt x="5391384" y="3777304"/>
                  <a:pt x="5385581" y="3781172"/>
                  <a:pt x="5379779" y="3783105"/>
                </a:cubicBezTo>
                <a:cubicBezTo>
                  <a:pt x="5395252" y="3783105"/>
                  <a:pt x="5410723" y="3781172"/>
                  <a:pt x="5424263" y="3779237"/>
                </a:cubicBezTo>
                <a:cubicBezTo>
                  <a:pt x="5430064" y="3775369"/>
                  <a:pt x="5439736" y="3775369"/>
                  <a:pt x="5447473" y="3773436"/>
                </a:cubicBezTo>
                <a:cubicBezTo>
                  <a:pt x="5468747" y="3769567"/>
                  <a:pt x="5488088" y="3767632"/>
                  <a:pt x="5509362" y="3769567"/>
                </a:cubicBezTo>
                <a:cubicBezTo>
                  <a:pt x="5509362" y="3769567"/>
                  <a:pt x="5511298" y="3769567"/>
                  <a:pt x="5511298" y="3769567"/>
                </a:cubicBezTo>
                <a:cubicBezTo>
                  <a:pt x="5526771" y="3767632"/>
                  <a:pt x="5540308" y="3767632"/>
                  <a:pt x="5555781" y="3765699"/>
                </a:cubicBezTo>
                <a:cubicBezTo>
                  <a:pt x="5557714" y="3765699"/>
                  <a:pt x="5557714" y="3765699"/>
                  <a:pt x="5557714" y="3765699"/>
                </a:cubicBezTo>
                <a:cubicBezTo>
                  <a:pt x="5565453" y="3763764"/>
                  <a:pt x="5573190" y="3761831"/>
                  <a:pt x="5580924" y="3757963"/>
                </a:cubicBezTo>
                <a:cubicBezTo>
                  <a:pt x="5582859" y="3756027"/>
                  <a:pt x="5582859" y="3756027"/>
                  <a:pt x="5584795" y="3756027"/>
                </a:cubicBezTo>
                <a:cubicBezTo>
                  <a:pt x="5571255" y="3754094"/>
                  <a:pt x="5557714" y="3754094"/>
                  <a:pt x="5542244" y="3752159"/>
                </a:cubicBezTo>
                <a:close/>
                <a:moveTo>
                  <a:pt x="5453274" y="3744423"/>
                </a:moveTo>
                <a:cubicBezTo>
                  <a:pt x="5447473" y="3742490"/>
                  <a:pt x="5441669" y="3746358"/>
                  <a:pt x="5435868" y="3748291"/>
                </a:cubicBezTo>
                <a:cubicBezTo>
                  <a:pt x="5437803" y="3748291"/>
                  <a:pt x="5441669" y="3746358"/>
                  <a:pt x="5443604" y="3746358"/>
                </a:cubicBezTo>
                <a:cubicBezTo>
                  <a:pt x="5447473" y="3746358"/>
                  <a:pt x="5449406" y="3748291"/>
                  <a:pt x="5453274" y="3748291"/>
                </a:cubicBezTo>
                <a:cubicBezTo>
                  <a:pt x="5453274" y="3746358"/>
                  <a:pt x="5453274" y="3746358"/>
                  <a:pt x="5453274" y="3744423"/>
                </a:cubicBezTo>
                <a:close/>
                <a:moveTo>
                  <a:pt x="5457142" y="3727017"/>
                </a:moveTo>
                <a:cubicBezTo>
                  <a:pt x="5451341" y="3728950"/>
                  <a:pt x="5443604" y="3730885"/>
                  <a:pt x="5435868" y="3732818"/>
                </a:cubicBezTo>
                <a:cubicBezTo>
                  <a:pt x="5430064" y="3734753"/>
                  <a:pt x="5424263" y="3734753"/>
                  <a:pt x="5418462" y="3736686"/>
                </a:cubicBezTo>
                <a:cubicBezTo>
                  <a:pt x="5410723" y="3738621"/>
                  <a:pt x="5401054" y="3740554"/>
                  <a:pt x="5393317" y="3744423"/>
                </a:cubicBezTo>
                <a:cubicBezTo>
                  <a:pt x="5397185" y="3744423"/>
                  <a:pt x="5402987" y="3744423"/>
                  <a:pt x="5406855" y="3744423"/>
                </a:cubicBezTo>
                <a:cubicBezTo>
                  <a:pt x="5416527" y="3742490"/>
                  <a:pt x="5424263" y="3740554"/>
                  <a:pt x="5433933" y="3742490"/>
                </a:cubicBezTo>
                <a:cubicBezTo>
                  <a:pt x="5433933" y="3742490"/>
                  <a:pt x="5435868" y="3742490"/>
                  <a:pt x="5435868" y="3742490"/>
                </a:cubicBezTo>
                <a:cubicBezTo>
                  <a:pt x="5435868" y="3738621"/>
                  <a:pt x="5437803" y="3738621"/>
                  <a:pt x="5439736" y="3738621"/>
                </a:cubicBezTo>
                <a:cubicBezTo>
                  <a:pt x="5449406" y="3734753"/>
                  <a:pt x="5461010" y="3732818"/>
                  <a:pt x="5470680" y="3730885"/>
                </a:cubicBezTo>
                <a:cubicBezTo>
                  <a:pt x="5470680" y="3728950"/>
                  <a:pt x="5470680" y="3728950"/>
                  <a:pt x="5470680" y="3728950"/>
                </a:cubicBezTo>
                <a:cubicBezTo>
                  <a:pt x="5470680" y="3728950"/>
                  <a:pt x="5468747" y="3727017"/>
                  <a:pt x="5466814" y="3727017"/>
                </a:cubicBezTo>
                <a:cubicBezTo>
                  <a:pt x="5462946" y="3728950"/>
                  <a:pt x="5461010" y="3727017"/>
                  <a:pt x="5457142" y="3727017"/>
                </a:cubicBezTo>
                <a:close/>
                <a:moveTo>
                  <a:pt x="5511298" y="3651587"/>
                </a:moveTo>
                <a:cubicBezTo>
                  <a:pt x="5511298" y="3653520"/>
                  <a:pt x="5511298" y="3653520"/>
                  <a:pt x="5511298" y="3655455"/>
                </a:cubicBezTo>
                <a:cubicBezTo>
                  <a:pt x="5511298" y="3655455"/>
                  <a:pt x="5513231" y="3655455"/>
                  <a:pt x="5513231" y="3655455"/>
                </a:cubicBezTo>
                <a:cubicBezTo>
                  <a:pt x="5515166" y="3653520"/>
                  <a:pt x="5515166" y="3653520"/>
                  <a:pt x="5515166" y="3651587"/>
                </a:cubicBezTo>
                <a:cubicBezTo>
                  <a:pt x="5513231" y="3651587"/>
                  <a:pt x="5511298" y="3651587"/>
                  <a:pt x="5511298" y="3651587"/>
                </a:cubicBezTo>
                <a:close/>
                <a:moveTo>
                  <a:pt x="5627343" y="3614840"/>
                </a:moveTo>
                <a:cubicBezTo>
                  <a:pt x="5633147" y="3618708"/>
                  <a:pt x="5637015" y="3616773"/>
                  <a:pt x="5642816" y="3614840"/>
                </a:cubicBezTo>
                <a:cubicBezTo>
                  <a:pt x="5638948" y="3614840"/>
                  <a:pt x="5637015" y="3614840"/>
                  <a:pt x="5633147" y="3614840"/>
                </a:cubicBezTo>
                <a:cubicBezTo>
                  <a:pt x="5633147" y="3614840"/>
                  <a:pt x="5631211" y="3614840"/>
                  <a:pt x="5631211" y="3614840"/>
                </a:cubicBezTo>
                <a:cubicBezTo>
                  <a:pt x="5629278" y="3614840"/>
                  <a:pt x="5627343" y="3614840"/>
                  <a:pt x="5627343" y="3614840"/>
                </a:cubicBezTo>
                <a:close/>
                <a:moveTo>
                  <a:pt x="5967745" y="3345999"/>
                </a:moveTo>
                <a:cubicBezTo>
                  <a:pt x="5967745" y="3345999"/>
                  <a:pt x="5967745" y="3347932"/>
                  <a:pt x="5967745" y="3347932"/>
                </a:cubicBezTo>
                <a:cubicBezTo>
                  <a:pt x="5967745" y="3349865"/>
                  <a:pt x="5967745" y="3349865"/>
                  <a:pt x="5965812" y="3353733"/>
                </a:cubicBezTo>
                <a:cubicBezTo>
                  <a:pt x="5963876" y="3349865"/>
                  <a:pt x="5963876" y="3347932"/>
                  <a:pt x="5963876" y="3347932"/>
                </a:cubicBezTo>
                <a:cubicBezTo>
                  <a:pt x="5965812" y="3345999"/>
                  <a:pt x="5967745" y="3345999"/>
                  <a:pt x="5967745" y="3345999"/>
                </a:cubicBezTo>
                <a:close/>
                <a:moveTo>
                  <a:pt x="5910690" y="3319888"/>
                </a:moveTo>
                <a:cubicBezTo>
                  <a:pt x="5909239" y="3320372"/>
                  <a:pt x="5907789" y="3321822"/>
                  <a:pt x="5905855" y="3324723"/>
                </a:cubicBezTo>
                <a:cubicBezTo>
                  <a:pt x="5909723" y="3326658"/>
                  <a:pt x="5913591" y="3326658"/>
                  <a:pt x="5915524" y="3320855"/>
                </a:cubicBezTo>
                <a:cubicBezTo>
                  <a:pt x="5913590" y="3319888"/>
                  <a:pt x="5912140" y="3319405"/>
                  <a:pt x="5910690" y="3319888"/>
                </a:cubicBezTo>
                <a:close/>
                <a:moveTo>
                  <a:pt x="5942844" y="3319163"/>
                </a:moveTo>
                <a:cubicBezTo>
                  <a:pt x="5934866" y="3319888"/>
                  <a:pt x="5926163" y="3321822"/>
                  <a:pt x="5919393" y="3324723"/>
                </a:cubicBezTo>
                <a:cubicBezTo>
                  <a:pt x="5923261" y="3332459"/>
                  <a:pt x="5929065" y="3326658"/>
                  <a:pt x="5932933" y="3326658"/>
                </a:cubicBezTo>
                <a:cubicBezTo>
                  <a:pt x="5938734" y="3326658"/>
                  <a:pt x="5942602" y="3326658"/>
                  <a:pt x="5948403" y="3326658"/>
                </a:cubicBezTo>
                <a:cubicBezTo>
                  <a:pt x="5954207" y="3326658"/>
                  <a:pt x="5958075" y="3326658"/>
                  <a:pt x="5961943" y="3320855"/>
                </a:cubicBezTo>
                <a:cubicBezTo>
                  <a:pt x="5958075" y="3318920"/>
                  <a:pt x="5950822" y="3318437"/>
                  <a:pt x="5942844" y="3319163"/>
                </a:cubicBezTo>
                <a:close/>
                <a:moveTo>
                  <a:pt x="5938734" y="3305381"/>
                </a:moveTo>
                <a:cubicBezTo>
                  <a:pt x="5936801" y="3307317"/>
                  <a:pt x="5936801" y="3309250"/>
                  <a:pt x="5936801" y="3309250"/>
                </a:cubicBezTo>
                <a:cubicBezTo>
                  <a:pt x="5936801" y="3309250"/>
                  <a:pt x="5938734" y="3311185"/>
                  <a:pt x="5938734" y="3313118"/>
                </a:cubicBezTo>
                <a:cubicBezTo>
                  <a:pt x="5940669" y="3309250"/>
                  <a:pt x="5940669" y="3307317"/>
                  <a:pt x="5940669" y="3307317"/>
                </a:cubicBezTo>
                <a:cubicBezTo>
                  <a:pt x="5940669" y="3307317"/>
                  <a:pt x="5938734" y="3305381"/>
                  <a:pt x="5938734" y="3305381"/>
                </a:cubicBezTo>
                <a:close/>
                <a:moveTo>
                  <a:pt x="5718246" y="3301513"/>
                </a:moveTo>
                <a:cubicBezTo>
                  <a:pt x="5716313" y="3303448"/>
                  <a:pt x="5714378" y="3305381"/>
                  <a:pt x="5710509" y="3305381"/>
                </a:cubicBezTo>
                <a:cubicBezTo>
                  <a:pt x="5714378" y="3305381"/>
                  <a:pt x="5716313" y="3305381"/>
                  <a:pt x="5720181" y="3305381"/>
                </a:cubicBezTo>
                <a:cubicBezTo>
                  <a:pt x="5720181" y="3303448"/>
                  <a:pt x="5720181" y="3303448"/>
                  <a:pt x="5718246" y="3301513"/>
                </a:cubicBezTo>
                <a:close/>
                <a:moveTo>
                  <a:pt x="5954207" y="3299580"/>
                </a:moveTo>
                <a:cubicBezTo>
                  <a:pt x="5952272" y="3299580"/>
                  <a:pt x="5950339" y="3299580"/>
                  <a:pt x="5946470" y="3301513"/>
                </a:cubicBezTo>
                <a:cubicBezTo>
                  <a:pt x="5946470" y="3301513"/>
                  <a:pt x="5946470" y="3303448"/>
                  <a:pt x="5946470" y="3303448"/>
                </a:cubicBezTo>
                <a:cubicBezTo>
                  <a:pt x="5950339" y="3303448"/>
                  <a:pt x="5952272" y="3303448"/>
                  <a:pt x="5954207" y="3303448"/>
                </a:cubicBezTo>
                <a:cubicBezTo>
                  <a:pt x="5954207" y="3301513"/>
                  <a:pt x="5954207" y="3301513"/>
                  <a:pt x="5954207" y="3299580"/>
                </a:cubicBezTo>
                <a:close/>
                <a:moveTo>
                  <a:pt x="5830425" y="3295712"/>
                </a:moveTo>
                <a:cubicBezTo>
                  <a:pt x="5828490" y="3295712"/>
                  <a:pt x="5828490" y="3297645"/>
                  <a:pt x="5826557" y="3299580"/>
                </a:cubicBezTo>
                <a:cubicBezTo>
                  <a:pt x="5826557" y="3299580"/>
                  <a:pt x="5828490" y="3301513"/>
                  <a:pt x="5828490" y="3301513"/>
                </a:cubicBezTo>
                <a:cubicBezTo>
                  <a:pt x="5828490" y="3299580"/>
                  <a:pt x="5830425" y="3297645"/>
                  <a:pt x="5832358" y="3297645"/>
                </a:cubicBezTo>
                <a:cubicBezTo>
                  <a:pt x="5830425" y="3297645"/>
                  <a:pt x="5830425" y="3295712"/>
                  <a:pt x="5830425" y="3295712"/>
                </a:cubicBezTo>
                <a:close/>
                <a:moveTo>
                  <a:pt x="5911656" y="3266699"/>
                </a:moveTo>
                <a:cubicBezTo>
                  <a:pt x="5911656" y="3268634"/>
                  <a:pt x="5911656" y="3268634"/>
                  <a:pt x="5911656" y="3270570"/>
                </a:cubicBezTo>
                <a:cubicBezTo>
                  <a:pt x="5915524" y="3268634"/>
                  <a:pt x="5917460" y="3268634"/>
                  <a:pt x="5919393" y="3266699"/>
                </a:cubicBezTo>
                <a:cubicBezTo>
                  <a:pt x="5915524" y="3264766"/>
                  <a:pt x="5913591" y="3266699"/>
                  <a:pt x="5911656" y="3266699"/>
                </a:cubicBezTo>
                <a:close/>
                <a:moveTo>
                  <a:pt x="5822689" y="3266699"/>
                </a:moveTo>
                <a:cubicBezTo>
                  <a:pt x="5822689" y="3266699"/>
                  <a:pt x="5822689" y="3268634"/>
                  <a:pt x="5822689" y="3270570"/>
                </a:cubicBezTo>
                <a:cubicBezTo>
                  <a:pt x="5824622" y="3270570"/>
                  <a:pt x="5826557" y="3270570"/>
                  <a:pt x="5828490" y="3270570"/>
                </a:cubicBezTo>
                <a:cubicBezTo>
                  <a:pt x="5828490" y="3268634"/>
                  <a:pt x="5828490" y="3268634"/>
                  <a:pt x="5828490" y="3266699"/>
                </a:cubicBezTo>
                <a:cubicBezTo>
                  <a:pt x="5826557" y="3266699"/>
                  <a:pt x="5824622" y="3266699"/>
                  <a:pt x="5822689" y="3266699"/>
                </a:cubicBezTo>
                <a:close/>
                <a:moveTo>
                  <a:pt x="5843963" y="3255094"/>
                </a:moveTo>
                <a:cubicBezTo>
                  <a:pt x="5838159" y="3255094"/>
                  <a:pt x="5834293" y="3257029"/>
                  <a:pt x="5830425" y="3260898"/>
                </a:cubicBezTo>
                <a:cubicBezTo>
                  <a:pt x="5830425" y="3260898"/>
                  <a:pt x="5830425" y="3262831"/>
                  <a:pt x="5830425" y="3264766"/>
                </a:cubicBezTo>
                <a:cubicBezTo>
                  <a:pt x="5834293" y="3264766"/>
                  <a:pt x="5840095" y="3264766"/>
                  <a:pt x="5843963" y="3264766"/>
                </a:cubicBezTo>
                <a:cubicBezTo>
                  <a:pt x="5845898" y="3264766"/>
                  <a:pt x="5845898" y="3260898"/>
                  <a:pt x="5847831" y="3258965"/>
                </a:cubicBezTo>
                <a:cubicBezTo>
                  <a:pt x="5845898" y="3257029"/>
                  <a:pt x="5845898" y="3255094"/>
                  <a:pt x="5843963" y="3255094"/>
                </a:cubicBezTo>
                <a:close/>
                <a:moveTo>
                  <a:pt x="5780138" y="3255094"/>
                </a:moveTo>
                <a:cubicBezTo>
                  <a:pt x="5776270" y="3264766"/>
                  <a:pt x="5766600" y="3253161"/>
                  <a:pt x="5762732" y="3266699"/>
                </a:cubicBezTo>
                <a:cubicBezTo>
                  <a:pt x="5772401" y="3266699"/>
                  <a:pt x="5778203" y="3264766"/>
                  <a:pt x="5780138" y="3255094"/>
                </a:cubicBezTo>
                <a:close/>
                <a:moveTo>
                  <a:pt x="5896183" y="3251228"/>
                </a:moveTo>
                <a:cubicBezTo>
                  <a:pt x="5898118" y="3253161"/>
                  <a:pt x="5900051" y="3255094"/>
                  <a:pt x="5900051" y="3255094"/>
                </a:cubicBezTo>
                <a:cubicBezTo>
                  <a:pt x="5894250" y="3264766"/>
                  <a:pt x="5888447" y="3268634"/>
                  <a:pt x="5880710" y="3262831"/>
                </a:cubicBezTo>
                <a:cubicBezTo>
                  <a:pt x="5880710" y="3262831"/>
                  <a:pt x="5878777" y="3262831"/>
                  <a:pt x="5876842" y="3262831"/>
                </a:cubicBezTo>
                <a:cubicBezTo>
                  <a:pt x="5872976" y="3262831"/>
                  <a:pt x="5872976" y="3266699"/>
                  <a:pt x="5874909" y="3270570"/>
                </a:cubicBezTo>
                <a:cubicBezTo>
                  <a:pt x="5882645" y="3272503"/>
                  <a:pt x="5888447" y="3274436"/>
                  <a:pt x="5896183" y="3268634"/>
                </a:cubicBezTo>
                <a:cubicBezTo>
                  <a:pt x="5901987" y="3262831"/>
                  <a:pt x="5909723" y="3257029"/>
                  <a:pt x="5917460" y="3251228"/>
                </a:cubicBezTo>
                <a:cubicBezTo>
                  <a:pt x="5909723" y="3251228"/>
                  <a:pt x="5903920" y="3251228"/>
                  <a:pt x="5896183" y="3251228"/>
                </a:cubicBezTo>
                <a:close/>
                <a:moveTo>
                  <a:pt x="5930997" y="3249293"/>
                </a:moveTo>
                <a:lnTo>
                  <a:pt x="5926416" y="3253872"/>
                </a:lnTo>
                <a:lnTo>
                  <a:pt x="5927996" y="3249793"/>
                </a:lnTo>
                <a:close/>
                <a:moveTo>
                  <a:pt x="5778203" y="3243489"/>
                </a:moveTo>
                <a:cubicBezTo>
                  <a:pt x="5772401" y="3245425"/>
                  <a:pt x="5766600" y="3247360"/>
                  <a:pt x="5762732" y="3247360"/>
                </a:cubicBezTo>
                <a:cubicBezTo>
                  <a:pt x="5754993" y="3245425"/>
                  <a:pt x="5747259" y="3245425"/>
                  <a:pt x="5741455" y="3249293"/>
                </a:cubicBezTo>
                <a:cubicBezTo>
                  <a:pt x="5741455" y="3249293"/>
                  <a:pt x="5741455" y="3251228"/>
                  <a:pt x="5741455" y="3253161"/>
                </a:cubicBezTo>
                <a:cubicBezTo>
                  <a:pt x="5743391" y="3253161"/>
                  <a:pt x="5745324" y="3251228"/>
                  <a:pt x="5749192" y="3251228"/>
                </a:cubicBezTo>
                <a:cubicBezTo>
                  <a:pt x="5747259" y="3251228"/>
                  <a:pt x="5745324" y="3253161"/>
                  <a:pt x="5743391" y="3253161"/>
                </a:cubicBezTo>
                <a:cubicBezTo>
                  <a:pt x="5749192" y="3253161"/>
                  <a:pt x="5753060" y="3253161"/>
                  <a:pt x="5756928" y="3253161"/>
                </a:cubicBezTo>
                <a:cubicBezTo>
                  <a:pt x="5760797" y="3253161"/>
                  <a:pt x="5762732" y="3251228"/>
                  <a:pt x="5766600" y="3251228"/>
                </a:cubicBezTo>
                <a:cubicBezTo>
                  <a:pt x="5784006" y="3251228"/>
                  <a:pt x="5803347" y="3251228"/>
                  <a:pt x="5822689" y="3251228"/>
                </a:cubicBezTo>
                <a:cubicBezTo>
                  <a:pt x="5824622" y="3251228"/>
                  <a:pt x="5826557" y="3249293"/>
                  <a:pt x="5828490" y="3249293"/>
                </a:cubicBezTo>
                <a:cubicBezTo>
                  <a:pt x="5822689" y="3247360"/>
                  <a:pt x="5816885" y="3245425"/>
                  <a:pt x="5813017" y="3245425"/>
                </a:cubicBezTo>
                <a:cubicBezTo>
                  <a:pt x="5805280" y="3243489"/>
                  <a:pt x="5797544" y="3243489"/>
                  <a:pt x="5789807" y="3243489"/>
                </a:cubicBezTo>
                <a:cubicBezTo>
                  <a:pt x="5785941" y="3243489"/>
                  <a:pt x="5782073" y="3243489"/>
                  <a:pt x="5778203" y="3243489"/>
                </a:cubicBezTo>
                <a:close/>
                <a:moveTo>
                  <a:pt x="5768533" y="3231887"/>
                </a:moveTo>
                <a:cubicBezTo>
                  <a:pt x="5766600" y="3231887"/>
                  <a:pt x="5766600" y="3233820"/>
                  <a:pt x="5766600" y="3235755"/>
                </a:cubicBezTo>
                <a:cubicBezTo>
                  <a:pt x="5770466" y="3235755"/>
                  <a:pt x="5774334" y="3237688"/>
                  <a:pt x="5776270" y="3237688"/>
                </a:cubicBezTo>
                <a:cubicBezTo>
                  <a:pt x="5787874" y="3237688"/>
                  <a:pt x="5799479" y="3239623"/>
                  <a:pt x="5811084" y="3235755"/>
                </a:cubicBezTo>
                <a:cubicBezTo>
                  <a:pt x="5811084" y="3235755"/>
                  <a:pt x="5813017" y="3235755"/>
                  <a:pt x="5813017" y="3235755"/>
                </a:cubicBezTo>
                <a:cubicBezTo>
                  <a:pt x="5822689" y="3241556"/>
                  <a:pt x="5832358" y="3237688"/>
                  <a:pt x="5840095" y="3235755"/>
                </a:cubicBezTo>
                <a:cubicBezTo>
                  <a:pt x="5842028" y="3235755"/>
                  <a:pt x="5843963" y="3235755"/>
                  <a:pt x="5845898" y="3235755"/>
                </a:cubicBezTo>
                <a:cubicBezTo>
                  <a:pt x="5826557" y="3235755"/>
                  <a:pt x="5805280" y="3233820"/>
                  <a:pt x="5785941" y="3231887"/>
                </a:cubicBezTo>
                <a:cubicBezTo>
                  <a:pt x="5780138" y="3231887"/>
                  <a:pt x="5774334" y="3231887"/>
                  <a:pt x="5768533" y="3231887"/>
                </a:cubicBezTo>
                <a:close/>
                <a:moveTo>
                  <a:pt x="5861369" y="3164194"/>
                </a:moveTo>
                <a:cubicBezTo>
                  <a:pt x="5861369" y="3164194"/>
                  <a:pt x="5863304" y="3164194"/>
                  <a:pt x="5863304" y="3164194"/>
                </a:cubicBezTo>
                <a:cubicBezTo>
                  <a:pt x="5863304" y="3166127"/>
                  <a:pt x="5863304" y="3166127"/>
                  <a:pt x="5863304" y="3168060"/>
                </a:cubicBezTo>
                <a:cubicBezTo>
                  <a:pt x="5863304" y="3166127"/>
                  <a:pt x="5861369" y="3166127"/>
                  <a:pt x="5861369" y="3164194"/>
                </a:cubicBezTo>
                <a:close/>
                <a:moveTo>
                  <a:pt x="5664090" y="3150654"/>
                </a:moveTo>
                <a:cubicBezTo>
                  <a:pt x="5660224" y="3152589"/>
                  <a:pt x="5662157" y="3156455"/>
                  <a:pt x="5662157" y="3158390"/>
                </a:cubicBezTo>
                <a:cubicBezTo>
                  <a:pt x="5664090" y="3156455"/>
                  <a:pt x="5666026" y="3154522"/>
                  <a:pt x="5664090" y="3150654"/>
                </a:cubicBezTo>
                <a:close/>
                <a:moveTo>
                  <a:pt x="5567386" y="3111971"/>
                </a:moveTo>
                <a:cubicBezTo>
                  <a:pt x="5567386" y="3111971"/>
                  <a:pt x="5569322" y="3113907"/>
                  <a:pt x="5569322" y="3113907"/>
                </a:cubicBezTo>
                <a:cubicBezTo>
                  <a:pt x="5573190" y="3115839"/>
                  <a:pt x="5577056" y="3115839"/>
                  <a:pt x="5580924" y="3115839"/>
                </a:cubicBezTo>
                <a:cubicBezTo>
                  <a:pt x="5582859" y="3115839"/>
                  <a:pt x="5584795" y="3115839"/>
                  <a:pt x="5586728" y="3113907"/>
                </a:cubicBezTo>
                <a:cubicBezTo>
                  <a:pt x="5580924" y="3111971"/>
                  <a:pt x="5575123" y="3111971"/>
                  <a:pt x="5567386" y="3111971"/>
                </a:cubicBezTo>
                <a:close/>
                <a:moveTo>
                  <a:pt x="5370108" y="3071355"/>
                </a:moveTo>
                <a:cubicBezTo>
                  <a:pt x="5368175" y="3071355"/>
                  <a:pt x="5366239" y="3073291"/>
                  <a:pt x="5364306" y="3075224"/>
                </a:cubicBezTo>
                <a:cubicBezTo>
                  <a:pt x="5364306" y="3075224"/>
                  <a:pt x="5364306" y="3077159"/>
                  <a:pt x="5364306" y="3077159"/>
                </a:cubicBezTo>
                <a:cubicBezTo>
                  <a:pt x="5372043" y="3075224"/>
                  <a:pt x="5379779" y="3075224"/>
                  <a:pt x="5387514" y="3073291"/>
                </a:cubicBezTo>
                <a:cubicBezTo>
                  <a:pt x="5381712" y="3073291"/>
                  <a:pt x="5375911" y="3071355"/>
                  <a:pt x="5370108" y="3071355"/>
                </a:cubicBezTo>
                <a:close/>
                <a:moveTo>
                  <a:pt x="5416527" y="3063619"/>
                </a:moveTo>
                <a:cubicBezTo>
                  <a:pt x="5412658" y="3065555"/>
                  <a:pt x="5406855" y="3067487"/>
                  <a:pt x="5402987" y="3071355"/>
                </a:cubicBezTo>
                <a:cubicBezTo>
                  <a:pt x="5402987" y="3071355"/>
                  <a:pt x="5402987" y="3073291"/>
                  <a:pt x="5402987" y="3073291"/>
                </a:cubicBezTo>
                <a:cubicBezTo>
                  <a:pt x="5414594" y="3073291"/>
                  <a:pt x="5416527" y="3071355"/>
                  <a:pt x="5416527" y="3063619"/>
                </a:cubicBezTo>
                <a:close/>
                <a:moveTo>
                  <a:pt x="5470680" y="3059751"/>
                </a:moveTo>
                <a:cubicBezTo>
                  <a:pt x="5466814" y="3061686"/>
                  <a:pt x="5462946" y="3061686"/>
                  <a:pt x="5459078" y="3065555"/>
                </a:cubicBezTo>
                <a:cubicBezTo>
                  <a:pt x="5462946" y="3065555"/>
                  <a:pt x="5464879" y="3065555"/>
                  <a:pt x="5468747" y="3065555"/>
                </a:cubicBezTo>
                <a:cubicBezTo>
                  <a:pt x="5468747" y="3065555"/>
                  <a:pt x="5470680" y="3063619"/>
                  <a:pt x="5470680" y="3059751"/>
                </a:cubicBezTo>
                <a:close/>
                <a:moveTo>
                  <a:pt x="5556265" y="3057817"/>
                </a:moveTo>
                <a:cubicBezTo>
                  <a:pt x="5554815" y="3058301"/>
                  <a:pt x="5553849" y="3059751"/>
                  <a:pt x="5553849" y="3063619"/>
                </a:cubicBezTo>
                <a:cubicBezTo>
                  <a:pt x="5555781" y="3063619"/>
                  <a:pt x="5557714" y="3063619"/>
                  <a:pt x="5557714" y="3063619"/>
                </a:cubicBezTo>
                <a:cubicBezTo>
                  <a:pt x="5559650" y="3061686"/>
                  <a:pt x="5559650" y="3061686"/>
                  <a:pt x="5561585" y="3061686"/>
                </a:cubicBezTo>
                <a:cubicBezTo>
                  <a:pt x="5561585" y="3059751"/>
                  <a:pt x="5561585" y="3059751"/>
                  <a:pt x="5561585" y="3057818"/>
                </a:cubicBezTo>
                <a:cubicBezTo>
                  <a:pt x="5559650" y="3057818"/>
                  <a:pt x="5557716" y="3057334"/>
                  <a:pt x="5556265" y="3057817"/>
                </a:cubicBezTo>
                <a:close/>
                <a:moveTo>
                  <a:pt x="5681499" y="2937902"/>
                </a:moveTo>
                <a:cubicBezTo>
                  <a:pt x="5681499" y="2937902"/>
                  <a:pt x="5683432" y="2937902"/>
                  <a:pt x="5685367" y="2937902"/>
                </a:cubicBezTo>
                <a:cubicBezTo>
                  <a:pt x="5685367" y="2945639"/>
                  <a:pt x="5683432" y="2941770"/>
                  <a:pt x="5681499" y="2941770"/>
                </a:cubicBezTo>
                <a:cubicBezTo>
                  <a:pt x="5681499" y="2939837"/>
                  <a:pt x="5681499" y="2939837"/>
                  <a:pt x="5681499" y="2937902"/>
                </a:cubicBezTo>
                <a:close/>
                <a:moveTo>
                  <a:pt x="128691" y="2382815"/>
                </a:moveTo>
                <a:cubicBezTo>
                  <a:pt x="122890" y="2386684"/>
                  <a:pt x="119019" y="2390552"/>
                  <a:pt x="113218" y="2396353"/>
                </a:cubicBezTo>
                <a:cubicBezTo>
                  <a:pt x="115154" y="2392485"/>
                  <a:pt x="119019" y="2390552"/>
                  <a:pt x="122890" y="2388616"/>
                </a:cubicBezTo>
                <a:cubicBezTo>
                  <a:pt x="122890" y="2388616"/>
                  <a:pt x="122890" y="2390552"/>
                  <a:pt x="122890" y="2390552"/>
                </a:cubicBezTo>
                <a:cubicBezTo>
                  <a:pt x="124823" y="2386684"/>
                  <a:pt x="126756" y="2384748"/>
                  <a:pt x="128691" y="2382815"/>
                </a:cubicBezTo>
                <a:close/>
                <a:moveTo>
                  <a:pt x="5683432" y="1839331"/>
                </a:moveTo>
                <a:cubicBezTo>
                  <a:pt x="5685367" y="1839331"/>
                  <a:pt x="5685367" y="1841267"/>
                  <a:pt x="5685367" y="1841267"/>
                </a:cubicBezTo>
                <a:cubicBezTo>
                  <a:pt x="5683432" y="1843200"/>
                  <a:pt x="5681499" y="1843200"/>
                  <a:pt x="5679566" y="1845135"/>
                </a:cubicBezTo>
                <a:cubicBezTo>
                  <a:pt x="5677630" y="1845135"/>
                  <a:pt x="5677630" y="1843200"/>
                  <a:pt x="5677630" y="1843200"/>
                </a:cubicBezTo>
                <a:cubicBezTo>
                  <a:pt x="5679566" y="1841267"/>
                  <a:pt x="5681499" y="1841267"/>
                  <a:pt x="5683432" y="1839331"/>
                </a:cubicBezTo>
                <a:close/>
                <a:moveTo>
                  <a:pt x="5644749" y="1810321"/>
                </a:moveTo>
                <a:cubicBezTo>
                  <a:pt x="5648620" y="1819992"/>
                  <a:pt x="5648620" y="1819992"/>
                  <a:pt x="5638948" y="1823858"/>
                </a:cubicBezTo>
                <a:lnTo>
                  <a:pt x="5632854" y="1825383"/>
                </a:lnTo>
                <a:lnTo>
                  <a:pt x="5631521" y="1814730"/>
                </a:lnTo>
                <a:close/>
                <a:moveTo>
                  <a:pt x="5584795" y="1796783"/>
                </a:moveTo>
                <a:cubicBezTo>
                  <a:pt x="5584795" y="1796783"/>
                  <a:pt x="5582859" y="1798716"/>
                  <a:pt x="5582859" y="1798716"/>
                </a:cubicBezTo>
                <a:cubicBezTo>
                  <a:pt x="5582859" y="1800651"/>
                  <a:pt x="5584795" y="1800651"/>
                  <a:pt x="5586728" y="1800651"/>
                </a:cubicBezTo>
                <a:cubicBezTo>
                  <a:pt x="5586728" y="1800651"/>
                  <a:pt x="5584795" y="1798716"/>
                  <a:pt x="5584795" y="1796783"/>
                </a:cubicBezTo>
                <a:close/>
                <a:moveTo>
                  <a:pt x="5663912" y="1792035"/>
                </a:moveTo>
                <a:lnTo>
                  <a:pt x="5659256" y="1799925"/>
                </a:lnTo>
                <a:cubicBezTo>
                  <a:pt x="5655871" y="1804034"/>
                  <a:pt x="5651519" y="1807419"/>
                  <a:pt x="5644749" y="1810321"/>
                </a:cubicBezTo>
                <a:cubicBezTo>
                  <a:pt x="5646684" y="1806452"/>
                  <a:pt x="5650553" y="1800651"/>
                  <a:pt x="5652488" y="1796783"/>
                </a:cubicBezTo>
                <a:lnTo>
                  <a:pt x="5653777" y="1795492"/>
                </a:lnTo>
                <a:lnTo>
                  <a:pt x="5656356" y="1800651"/>
                </a:lnTo>
                <a:cubicBezTo>
                  <a:pt x="5658289" y="1798716"/>
                  <a:pt x="5660224" y="1796783"/>
                  <a:pt x="5662157" y="1794848"/>
                </a:cubicBezTo>
                <a:cubicBezTo>
                  <a:pt x="5662157" y="1794848"/>
                  <a:pt x="5662157" y="1792912"/>
                  <a:pt x="5662157" y="1792912"/>
                </a:cubicBezTo>
                <a:close/>
                <a:moveTo>
                  <a:pt x="5667959" y="1785178"/>
                </a:moveTo>
                <a:lnTo>
                  <a:pt x="5673762" y="1785178"/>
                </a:lnTo>
                <a:cubicBezTo>
                  <a:pt x="5673762" y="1785178"/>
                  <a:pt x="5673762" y="1787111"/>
                  <a:pt x="5673762" y="1787111"/>
                </a:cubicBezTo>
                <a:lnTo>
                  <a:pt x="5663912" y="1792035"/>
                </a:lnTo>
                <a:close/>
                <a:moveTo>
                  <a:pt x="5638948" y="1783243"/>
                </a:moveTo>
                <a:cubicBezTo>
                  <a:pt x="5635080" y="1781310"/>
                  <a:pt x="5633147" y="1783243"/>
                  <a:pt x="5631211" y="1785178"/>
                </a:cubicBezTo>
                <a:cubicBezTo>
                  <a:pt x="5633147" y="1785178"/>
                  <a:pt x="5633147" y="1787111"/>
                  <a:pt x="5633147" y="1787111"/>
                </a:cubicBezTo>
                <a:cubicBezTo>
                  <a:pt x="5629278" y="1789046"/>
                  <a:pt x="5625410" y="1792912"/>
                  <a:pt x="5621542" y="1794848"/>
                </a:cubicBezTo>
                <a:cubicBezTo>
                  <a:pt x="5615738" y="1798716"/>
                  <a:pt x="5608002" y="1802584"/>
                  <a:pt x="5602201" y="1808388"/>
                </a:cubicBezTo>
                <a:cubicBezTo>
                  <a:pt x="5602201" y="1808388"/>
                  <a:pt x="5600265" y="1810321"/>
                  <a:pt x="5600265" y="1810321"/>
                </a:cubicBezTo>
                <a:cubicBezTo>
                  <a:pt x="5602201" y="1812254"/>
                  <a:pt x="5602201" y="1812254"/>
                  <a:pt x="5604133" y="1812254"/>
                </a:cubicBezTo>
                <a:cubicBezTo>
                  <a:pt x="5609937" y="1806452"/>
                  <a:pt x="5617674" y="1804517"/>
                  <a:pt x="5621542" y="1796783"/>
                </a:cubicBezTo>
                <a:cubicBezTo>
                  <a:pt x="5623475" y="1798716"/>
                  <a:pt x="5623475" y="1800651"/>
                  <a:pt x="5625410" y="1802584"/>
                </a:cubicBezTo>
                <a:cubicBezTo>
                  <a:pt x="5627343" y="1802584"/>
                  <a:pt x="5629278" y="1800651"/>
                  <a:pt x="5633147" y="1800651"/>
                </a:cubicBezTo>
                <a:cubicBezTo>
                  <a:pt x="5633147" y="1798716"/>
                  <a:pt x="5633147" y="1794848"/>
                  <a:pt x="5635080" y="1790979"/>
                </a:cubicBezTo>
                <a:cubicBezTo>
                  <a:pt x="5637015" y="1789046"/>
                  <a:pt x="5637015" y="1785178"/>
                  <a:pt x="5638948" y="1783243"/>
                </a:cubicBezTo>
                <a:close/>
                <a:moveTo>
                  <a:pt x="5646684" y="1761969"/>
                </a:moveTo>
                <a:cubicBezTo>
                  <a:pt x="5646684" y="1761969"/>
                  <a:pt x="5646684" y="1763902"/>
                  <a:pt x="5646684" y="1763902"/>
                </a:cubicBezTo>
                <a:cubicBezTo>
                  <a:pt x="5650553" y="1763902"/>
                  <a:pt x="5652488" y="1763902"/>
                  <a:pt x="5652488" y="1761969"/>
                </a:cubicBezTo>
                <a:cubicBezTo>
                  <a:pt x="5650553" y="1761969"/>
                  <a:pt x="5648620" y="1761969"/>
                  <a:pt x="5646684" y="1761969"/>
                </a:cubicBezTo>
                <a:close/>
                <a:moveTo>
                  <a:pt x="5573190" y="1742627"/>
                </a:moveTo>
                <a:cubicBezTo>
                  <a:pt x="5563518" y="1738759"/>
                  <a:pt x="5559650" y="1746496"/>
                  <a:pt x="5551913" y="1748429"/>
                </a:cubicBezTo>
                <a:cubicBezTo>
                  <a:pt x="5551913" y="1748429"/>
                  <a:pt x="5551913" y="1750364"/>
                  <a:pt x="5551913" y="1752297"/>
                </a:cubicBezTo>
                <a:cubicBezTo>
                  <a:pt x="5561585" y="1754232"/>
                  <a:pt x="5567386" y="1750364"/>
                  <a:pt x="5573190" y="1742627"/>
                </a:cubicBezTo>
                <a:close/>
                <a:moveTo>
                  <a:pt x="5524838" y="1742627"/>
                </a:moveTo>
                <a:cubicBezTo>
                  <a:pt x="5522903" y="1744560"/>
                  <a:pt x="5522903" y="1744560"/>
                  <a:pt x="5522903" y="1744560"/>
                </a:cubicBezTo>
                <a:cubicBezTo>
                  <a:pt x="5522903" y="1744560"/>
                  <a:pt x="5522903" y="1744560"/>
                  <a:pt x="5524838" y="1744560"/>
                </a:cubicBezTo>
                <a:cubicBezTo>
                  <a:pt x="5524838" y="1744560"/>
                  <a:pt x="5522903" y="1742627"/>
                  <a:pt x="5524838" y="1742627"/>
                </a:cubicBezTo>
                <a:close/>
                <a:moveTo>
                  <a:pt x="5731784" y="1711681"/>
                </a:moveTo>
                <a:cubicBezTo>
                  <a:pt x="5731784" y="1711681"/>
                  <a:pt x="5733719" y="1713616"/>
                  <a:pt x="5733719" y="1713616"/>
                </a:cubicBezTo>
                <a:cubicBezTo>
                  <a:pt x="5729851" y="1717482"/>
                  <a:pt x="5727918" y="1719418"/>
                  <a:pt x="5725982" y="1721353"/>
                </a:cubicBezTo>
                <a:cubicBezTo>
                  <a:pt x="5725982" y="1719418"/>
                  <a:pt x="5724049" y="1719418"/>
                  <a:pt x="5724049" y="1717482"/>
                </a:cubicBezTo>
                <a:cubicBezTo>
                  <a:pt x="5725982" y="1715549"/>
                  <a:pt x="5729851" y="1713616"/>
                  <a:pt x="5731784" y="1711681"/>
                </a:cubicBezTo>
                <a:close/>
                <a:moveTo>
                  <a:pt x="5588663" y="1698144"/>
                </a:moveTo>
                <a:cubicBezTo>
                  <a:pt x="5578991" y="1703945"/>
                  <a:pt x="5567386" y="1709748"/>
                  <a:pt x="5557714" y="1715549"/>
                </a:cubicBezTo>
                <a:cubicBezTo>
                  <a:pt x="5557714" y="1717482"/>
                  <a:pt x="5555781" y="1721353"/>
                  <a:pt x="5553849" y="1723286"/>
                </a:cubicBezTo>
                <a:cubicBezTo>
                  <a:pt x="5553849" y="1725219"/>
                  <a:pt x="5553849" y="1727154"/>
                  <a:pt x="5555781" y="1729087"/>
                </a:cubicBezTo>
                <a:cubicBezTo>
                  <a:pt x="5555781" y="1727154"/>
                  <a:pt x="5557714" y="1725219"/>
                  <a:pt x="5557714" y="1723286"/>
                </a:cubicBezTo>
                <a:cubicBezTo>
                  <a:pt x="5559650" y="1723286"/>
                  <a:pt x="5561585" y="1725219"/>
                  <a:pt x="5563518" y="1725219"/>
                </a:cubicBezTo>
                <a:cubicBezTo>
                  <a:pt x="5565453" y="1723286"/>
                  <a:pt x="5565453" y="1721353"/>
                  <a:pt x="5567386" y="1719418"/>
                </a:cubicBezTo>
                <a:cubicBezTo>
                  <a:pt x="5571255" y="1719418"/>
                  <a:pt x="5573190" y="1721353"/>
                  <a:pt x="5577056" y="1721353"/>
                </a:cubicBezTo>
                <a:cubicBezTo>
                  <a:pt x="5578991" y="1719418"/>
                  <a:pt x="5580924" y="1717482"/>
                  <a:pt x="5582859" y="1713616"/>
                </a:cubicBezTo>
                <a:cubicBezTo>
                  <a:pt x="5582859" y="1719418"/>
                  <a:pt x="5580924" y="1721353"/>
                  <a:pt x="5578991" y="1723286"/>
                </a:cubicBezTo>
                <a:cubicBezTo>
                  <a:pt x="5580924" y="1725219"/>
                  <a:pt x="5584795" y="1727154"/>
                  <a:pt x="5586728" y="1729087"/>
                </a:cubicBezTo>
                <a:cubicBezTo>
                  <a:pt x="5582859" y="1732958"/>
                  <a:pt x="5578991" y="1736824"/>
                  <a:pt x="5575123" y="1740692"/>
                </a:cubicBezTo>
                <a:cubicBezTo>
                  <a:pt x="5578991" y="1740692"/>
                  <a:pt x="5584795" y="1740692"/>
                  <a:pt x="5590596" y="1740692"/>
                </a:cubicBezTo>
                <a:cubicBezTo>
                  <a:pt x="5578991" y="1744560"/>
                  <a:pt x="5569322" y="1752297"/>
                  <a:pt x="5563518" y="1763902"/>
                </a:cubicBezTo>
                <a:cubicBezTo>
                  <a:pt x="5567386" y="1767770"/>
                  <a:pt x="5569322" y="1769705"/>
                  <a:pt x="5571255" y="1773573"/>
                </a:cubicBezTo>
                <a:cubicBezTo>
                  <a:pt x="5573190" y="1771638"/>
                  <a:pt x="5575123" y="1769705"/>
                  <a:pt x="5577056" y="1767770"/>
                </a:cubicBezTo>
                <a:cubicBezTo>
                  <a:pt x="5578991" y="1773573"/>
                  <a:pt x="5577056" y="1777442"/>
                  <a:pt x="5575123" y="1779374"/>
                </a:cubicBezTo>
                <a:cubicBezTo>
                  <a:pt x="5575123" y="1781310"/>
                  <a:pt x="5577056" y="1783243"/>
                  <a:pt x="5577056" y="1785178"/>
                </a:cubicBezTo>
                <a:cubicBezTo>
                  <a:pt x="5580924" y="1783243"/>
                  <a:pt x="5582859" y="1781310"/>
                  <a:pt x="5584795" y="1777442"/>
                </a:cubicBezTo>
                <a:cubicBezTo>
                  <a:pt x="5586728" y="1773573"/>
                  <a:pt x="5592531" y="1769705"/>
                  <a:pt x="5598332" y="1765837"/>
                </a:cubicBezTo>
                <a:cubicBezTo>
                  <a:pt x="5594464" y="1763902"/>
                  <a:pt x="5592531" y="1763902"/>
                  <a:pt x="5592531" y="1760033"/>
                </a:cubicBezTo>
                <a:cubicBezTo>
                  <a:pt x="5596397" y="1754232"/>
                  <a:pt x="5600265" y="1748429"/>
                  <a:pt x="5604133" y="1742627"/>
                </a:cubicBezTo>
                <a:cubicBezTo>
                  <a:pt x="5609937" y="1744560"/>
                  <a:pt x="5613805" y="1740692"/>
                  <a:pt x="5617674" y="1736824"/>
                </a:cubicBezTo>
                <a:cubicBezTo>
                  <a:pt x="5609937" y="1736824"/>
                  <a:pt x="5602201" y="1736824"/>
                  <a:pt x="5594464" y="1738759"/>
                </a:cubicBezTo>
                <a:cubicBezTo>
                  <a:pt x="5596397" y="1732958"/>
                  <a:pt x="5596397" y="1727154"/>
                  <a:pt x="5598332" y="1721353"/>
                </a:cubicBezTo>
                <a:cubicBezTo>
                  <a:pt x="5594464" y="1719418"/>
                  <a:pt x="5592531" y="1717482"/>
                  <a:pt x="5590596" y="1715549"/>
                </a:cubicBezTo>
                <a:cubicBezTo>
                  <a:pt x="5588663" y="1713616"/>
                  <a:pt x="5586728" y="1709748"/>
                  <a:pt x="5588663" y="1707813"/>
                </a:cubicBezTo>
                <a:cubicBezTo>
                  <a:pt x="5590596" y="1703945"/>
                  <a:pt x="5590596" y="1702012"/>
                  <a:pt x="5588663" y="1698144"/>
                </a:cubicBezTo>
                <a:close/>
                <a:moveTo>
                  <a:pt x="5684596" y="1686440"/>
                </a:moveTo>
                <a:lnTo>
                  <a:pt x="5679566" y="1702012"/>
                </a:lnTo>
                <a:cubicBezTo>
                  <a:pt x="5679566" y="1711681"/>
                  <a:pt x="5671829" y="1713616"/>
                  <a:pt x="5662157" y="1719418"/>
                </a:cubicBezTo>
                <a:cubicBezTo>
                  <a:pt x="5664090" y="1715549"/>
                  <a:pt x="5664090" y="1715549"/>
                  <a:pt x="5664090" y="1713616"/>
                </a:cubicBezTo>
                <a:cubicBezTo>
                  <a:pt x="5664090" y="1713616"/>
                  <a:pt x="5664090" y="1711681"/>
                  <a:pt x="5664090" y="1711681"/>
                </a:cubicBezTo>
                <a:cubicBezTo>
                  <a:pt x="5664090" y="1711681"/>
                  <a:pt x="5662157" y="1711681"/>
                  <a:pt x="5662157" y="1709748"/>
                </a:cubicBezTo>
                <a:lnTo>
                  <a:pt x="5661103" y="1711066"/>
                </a:lnTo>
                <a:lnTo>
                  <a:pt x="5667959" y="1696208"/>
                </a:lnTo>
                <a:cubicBezTo>
                  <a:pt x="5669894" y="1696208"/>
                  <a:pt x="5671829" y="1696208"/>
                  <a:pt x="5673762" y="1698144"/>
                </a:cubicBezTo>
                <a:cubicBezTo>
                  <a:pt x="5674730" y="1693308"/>
                  <a:pt x="5678114" y="1690890"/>
                  <a:pt x="5681499" y="1688956"/>
                </a:cubicBezTo>
                <a:close/>
                <a:moveTo>
                  <a:pt x="5747259" y="1680735"/>
                </a:moveTo>
                <a:lnTo>
                  <a:pt x="5740888" y="1691885"/>
                </a:lnTo>
                <a:lnTo>
                  <a:pt x="5739522" y="1692340"/>
                </a:lnTo>
                <a:lnTo>
                  <a:pt x="5734407" y="1687225"/>
                </a:lnTo>
                <a:lnTo>
                  <a:pt x="5736620" y="1682911"/>
                </a:lnTo>
                <a:cubicBezTo>
                  <a:pt x="5739038" y="1680736"/>
                  <a:pt x="5742423" y="1679769"/>
                  <a:pt x="5747259" y="1680735"/>
                </a:cubicBezTo>
                <a:close/>
                <a:moveTo>
                  <a:pt x="5739522" y="1620778"/>
                </a:moveTo>
                <a:cubicBezTo>
                  <a:pt x="5749192" y="1622714"/>
                  <a:pt x="5743391" y="1628515"/>
                  <a:pt x="5743391" y="1632383"/>
                </a:cubicBezTo>
                <a:lnTo>
                  <a:pt x="5748547" y="1632383"/>
                </a:lnTo>
                <a:lnTo>
                  <a:pt x="5741455" y="1640120"/>
                </a:lnTo>
                <a:cubicBezTo>
                  <a:pt x="5745324" y="1642053"/>
                  <a:pt x="5747259" y="1642053"/>
                  <a:pt x="5747259" y="1642053"/>
                </a:cubicBezTo>
                <a:cubicBezTo>
                  <a:pt x="5745324" y="1651724"/>
                  <a:pt x="5743391" y="1661394"/>
                  <a:pt x="5741455" y="1671066"/>
                </a:cubicBezTo>
                <a:cubicBezTo>
                  <a:pt x="5737587" y="1672999"/>
                  <a:pt x="5733719" y="1674934"/>
                  <a:pt x="5731784" y="1678802"/>
                </a:cubicBezTo>
                <a:cubicBezTo>
                  <a:pt x="5730817" y="1681703"/>
                  <a:pt x="5731785" y="1684120"/>
                  <a:pt x="5733478" y="1686296"/>
                </a:cubicBezTo>
                <a:lnTo>
                  <a:pt x="5734407" y="1687225"/>
                </a:lnTo>
                <a:lnTo>
                  <a:pt x="5731784" y="1692340"/>
                </a:lnTo>
                <a:cubicBezTo>
                  <a:pt x="5735654" y="1692340"/>
                  <a:pt x="5737587" y="1694275"/>
                  <a:pt x="5739522" y="1694275"/>
                </a:cubicBezTo>
                <a:lnTo>
                  <a:pt x="5740888" y="1691885"/>
                </a:lnTo>
                <a:lnTo>
                  <a:pt x="5756928" y="1686539"/>
                </a:lnTo>
                <a:cubicBezTo>
                  <a:pt x="5756928" y="1690407"/>
                  <a:pt x="5756928" y="1690407"/>
                  <a:pt x="5756928" y="1692340"/>
                </a:cubicBezTo>
                <a:cubicBezTo>
                  <a:pt x="5753060" y="1698144"/>
                  <a:pt x="5735654" y="1707813"/>
                  <a:pt x="5725982" y="1709748"/>
                </a:cubicBezTo>
                <a:cubicBezTo>
                  <a:pt x="5724049" y="1711681"/>
                  <a:pt x="5722114" y="1711681"/>
                  <a:pt x="5720181" y="1713616"/>
                </a:cubicBezTo>
                <a:cubicBezTo>
                  <a:pt x="5714378" y="1715549"/>
                  <a:pt x="5710509" y="1717482"/>
                  <a:pt x="5704708" y="1721353"/>
                </a:cubicBezTo>
                <a:cubicBezTo>
                  <a:pt x="5704708" y="1711681"/>
                  <a:pt x="5706641" y="1702012"/>
                  <a:pt x="5706641" y="1692340"/>
                </a:cubicBezTo>
                <a:cubicBezTo>
                  <a:pt x="5706641" y="1690407"/>
                  <a:pt x="5708576" y="1690407"/>
                  <a:pt x="5710509" y="1688472"/>
                </a:cubicBezTo>
                <a:cubicBezTo>
                  <a:pt x="5710509" y="1688472"/>
                  <a:pt x="5710509" y="1686539"/>
                  <a:pt x="5710509" y="1684603"/>
                </a:cubicBezTo>
                <a:cubicBezTo>
                  <a:pt x="5704708" y="1684603"/>
                  <a:pt x="5696972" y="1682670"/>
                  <a:pt x="5689235" y="1682670"/>
                </a:cubicBezTo>
                <a:lnTo>
                  <a:pt x="5684596" y="1686440"/>
                </a:lnTo>
                <a:lnTo>
                  <a:pt x="5684642" y="1686297"/>
                </a:lnTo>
                <a:cubicBezTo>
                  <a:pt x="5688268" y="1682187"/>
                  <a:pt x="5693103" y="1678802"/>
                  <a:pt x="5696972" y="1674934"/>
                </a:cubicBezTo>
                <a:cubicBezTo>
                  <a:pt x="5696972" y="1674934"/>
                  <a:pt x="5698907" y="1674934"/>
                  <a:pt x="5698907" y="1674934"/>
                </a:cubicBezTo>
                <a:cubicBezTo>
                  <a:pt x="5708576" y="1661394"/>
                  <a:pt x="5720181" y="1649789"/>
                  <a:pt x="5729851" y="1636251"/>
                </a:cubicBezTo>
                <a:cubicBezTo>
                  <a:pt x="5733719" y="1630448"/>
                  <a:pt x="5735654" y="1626582"/>
                  <a:pt x="5739522" y="1620778"/>
                </a:cubicBezTo>
                <a:close/>
                <a:moveTo>
                  <a:pt x="5784006" y="1613042"/>
                </a:moveTo>
                <a:lnTo>
                  <a:pt x="5790991" y="1616035"/>
                </a:lnTo>
                <a:lnTo>
                  <a:pt x="5789807" y="1616910"/>
                </a:lnTo>
                <a:cubicBezTo>
                  <a:pt x="5782073" y="1622714"/>
                  <a:pt x="5774334" y="1628515"/>
                  <a:pt x="5766600" y="1632383"/>
                </a:cubicBezTo>
                <a:lnTo>
                  <a:pt x="5761693" y="1631401"/>
                </a:lnTo>
                <a:lnTo>
                  <a:pt x="5770951" y="1621262"/>
                </a:lnTo>
                <a:cubicBezTo>
                  <a:pt x="5775303" y="1618360"/>
                  <a:pt x="5780138" y="1615942"/>
                  <a:pt x="5784006" y="1613042"/>
                </a:cubicBezTo>
                <a:close/>
                <a:moveTo>
                  <a:pt x="5770466" y="1603834"/>
                </a:moveTo>
                <a:lnTo>
                  <a:pt x="5770466" y="1618843"/>
                </a:lnTo>
                <a:cubicBezTo>
                  <a:pt x="5768533" y="1624647"/>
                  <a:pt x="5760797" y="1626582"/>
                  <a:pt x="5756928" y="1630448"/>
                </a:cubicBezTo>
                <a:lnTo>
                  <a:pt x="5761693" y="1631401"/>
                </a:lnTo>
                <a:lnTo>
                  <a:pt x="5760797" y="1632383"/>
                </a:lnTo>
                <a:lnTo>
                  <a:pt x="5748547" y="1632383"/>
                </a:lnTo>
                <a:lnTo>
                  <a:pt x="5762732" y="1616910"/>
                </a:lnTo>
                <a:cubicBezTo>
                  <a:pt x="5762732" y="1614977"/>
                  <a:pt x="5762732" y="1614977"/>
                  <a:pt x="5762732" y="1613042"/>
                </a:cubicBezTo>
                <a:cubicBezTo>
                  <a:pt x="5760797" y="1614977"/>
                  <a:pt x="5756928" y="1614977"/>
                  <a:pt x="5754993" y="1616910"/>
                </a:cubicBezTo>
                <a:cubicBezTo>
                  <a:pt x="5754993" y="1614977"/>
                  <a:pt x="5754993" y="1614977"/>
                  <a:pt x="5754993" y="1613042"/>
                </a:cubicBezTo>
                <a:lnTo>
                  <a:pt x="5757403" y="1610934"/>
                </a:lnTo>
                <a:close/>
                <a:moveTo>
                  <a:pt x="5814235" y="1598856"/>
                </a:moveTo>
                <a:lnTo>
                  <a:pt x="5824622" y="1603372"/>
                </a:lnTo>
                <a:cubicBezTo>
                  <a:pt x="5811084" y="1607241"/>
                  <a:pt x="5803347" y="1614977"/>
                  <a:pt x="5797544" y="1618843"/>
                </a:cubicBezTo>
                <a:lnTo>
                  <a:pt x="5790991" y="1616035"/>
                </a:lnTo>
                <a:close/>
                <a:moveTo>
                  <a:pt x="5834293" y="1584031"/>
                </a:moveTo>
                <a:cubicBezTo>
                  <a:pt x="5834293" y="1584031"/>
                  <a:pt x="5834293" y="1585964"/>
                  <a:pt x="5834293" y="1585964"/>
                </a:cubicBezTo>
                <a:lnTo>
                  <a:pt x="5831678" y="1585964"/>
                </a:lnTo>
                <a:close/>
                <a:moveTo>
                  <a:pt x="5846918" y="1573903"/>
                </a:moveTo>
                <a:lnTo>
                  <a:pt x="5847831" y="1574359"/>
                </a:lnTo>
                <a:cubicBezTo>
                  <a:pt x="5845898" y="1576295"/>
                  <a:pt x="5843963" y="1578227"/>
                  <a:pt x="5842028" y="1580163"/>
                </a:cubicBezTo>
                <a:lnTo>
                  <a:pt x="5840732" y="1578866"/>
                </a:lnTo>
                <a:close/>
                <a:moveTo>
                  <a:pt x="5818820" y="1572426"/>
                </a:moveTo>
                <a:cubicBezTo>
                  <a:pt x="5814952" y="1576295"/>
                  <a:pt x="5811084" y="1578227"/>
                  <a:pt x="5807216" y="1578227"/>
                </a:cubicBezTo>
                <a:cubicBezTo>
                  <a:pt x="5809149" y="1580163"/>
                  <a:pt x="5809149" y="1582096"/>
                  <a:pt x="5809149" y="1585964"/>
                </a:cubicBezTo>
                <a:cubicBezTo>
                  <a:pt x="5813017" y="1582096"/>
                  <a:pt x="5816885" y="1576295"/>
                  <a:pt x="5818820" y="1572426"/>
                </a:cubicBezTo>
                <a:close/>
                <a:moveTo>
                  <a:pt x="5843963" y="1560822"/>
                </a:moveTo>
                <a:cubicBezTo>
                  <a:pt x="5840095" y="1562754"/>
                  <a:pt x="5836226" y="1564690"/>
                  <a:pt x="5832358" y="1566623"/>
                </a:cubicBezTo>
                <a:cubicBezTo>
                  <a:pt x="5830425" y="1570491"/>
                  <a:pt x="5828490" y="1572426"/>
                  <a:pt x="5830425" y="1578227"/>
                </a:cubicBezTo>
                <a:cubicBezTo>
                  <a:pt x="5832358" y="1578227"/>
                  <a:pt x="5832358" y="1578227"/>
                  <a:pt x="5834293" y="1578227"/>
                </a:cubicBezTo>
                <a:cubicBezTo>
                  <a:pt x="5838159" y="1572426"/>
                  <a:pt x="5840095" y="1566623"/>
                  <a:pt x="5843963" y="1560822"/>
                </a:cubicBezTo>
                <a:close/>
                <a:moveTo>
                  <a:pt x="5876842" y="1555018"/>
                </a:moveTo>
                <a:cubicBezTo>
                  <a:pt x="5876842" y="1555018"/>
                  <a:pt x="5876842" y="1555018"/>
                  <a:pt x="5878777" y="1556953"/>
                </a:cubicBezTo>
                <a:cubicBezTo>
                  <a:pt x="5876842" y="1558886"/>
                  <a:pt x="5874909" y="1558886"/>
                  <a:pt x="5872976" y="1560822"/>
                </a:cubicBezTo>
                <a:cubicBezTo>
                  <a:pt x="5872976" y="1556953"/>
                  <a:pt x="5874909" y="1556953"/>
                  <a:pt x="5876842" y="1555018"/>
                </a:cubicBezTo>
                <a:close/>
                <a:moveTo>
                  <a:pt x="5890595" y="1530009"/>
                </a:moveTo>
                <a:lnTo>
                  <a:pt x="5882645" y="1539547"/>
                </a:lnTo>
                <a:cubicBezTo>
                  <a:pt x="5878777" y="1545349"/>
                  <a:pt x="5872976" y="1545349"/>
                  <a:pt x="5869108" y="1545349"/>
                </a:cubicBezTo>
                <a:lnTo>
                  <a:pt x="5875713" y="1538142"/>
                </a:lnTo>
                <a:lnTo>
                  <a:pt x="5884578" y="1531809"/>
                </a:lnTo>
                <a:close/>
                <a:moveTo>
                  <a:pt x="5987086" y="1481524"/>
                </a:moveTo>
                <a:cubicBezTo>
                  <a:pt x="5981285" y="1485392"/>
                  <a:pt x="5979352" y="1487325"/>
                  <a:pt x="5977417" y="1489260"/>
                </a:cubicBezTo>
                <a:cubicBezTo>
                  <a:pt x="5973548" y="1485392"/>
                  <a:pt x="5975481" y="1483457"/>
                  <a:pt x="5987086" y="1481524"/>
                </a:cubicBezTo>
                <a:close/>
                <a:moveTo>
                  <a:pt x="5468747" y="1429303"/>
                </a:moveTo>
                <a:cubicBezTo>
                  <a:pt x="5466814" y="1431236"/>
                  <a:pt x="5464879" y="1431236"/>
                  <a:pt x="5464879" y="1431236"/>
                </a:cubicBezTo>
                <a:cubicBezTo>
                  <a:pt x="5464879" y="1433172"/>
                  <a:pt x="5462946" y="1433172"/>
                  <a:pt x="5462946" y="1435104"/>
                </a:cubicBezTo>
                <a:cubicBezTo>
                  <a:pt x="5464879" y="1435104"/>
                  <a:pt x="5466814" y="1435104"/>
                  <a:pt x="5468747" y="1435104"/>
                </a:cubicBezTo>
                <a:cubicBezTo>
                  <a:pt x="5468747" y="1433172"/>
                  <a:pt x="5468747" y="1431236"/>
                  <a:pt x="5468747" y="1429303"/>
                </a:cubicBezTo>
                <a:close/>
                <a:moveTo>
                  <a:pt x="5488088" y="1419631"/>
                </a:moveTo>
                <a:cubicBezTo>
                  <a:pt x="5486155" y="1419631"/>
                  <a:pt x="5484220" y="1421567"/>
                  <a:pt x="5482287" y="1421567"/>
                </a:cubicBezTo>
                <a:cubicBezTo>
                  <a:pt x="5480352" y="1427368"/>
                  <a:pt x="5476483" y="1429303"/>
                  <a:pt x="5472615" y="1433172"/>
                </a:cubicBezTo>
                <a:cubicBezTo>
                  <a:pt x="5474551" y="1433172"/>
                  <a:pt x="5478419" y="1435104"/>
                  <a:pt x="5482287" y="1435104"/>
                </a:cubicBezTo>
                <a:cubicBezTo>
                  <a:pt x="5482287" y="1435104"/>
                  <a:pt x="5484220" y="1435104"/>
                  <a:pt x="5484220" y="1435104"/>
                </a:cubicBezTo>
                <a:cubicBezTo>
                  <a:pt x="5486155" y="1433172"/>
                  <a:pt x="5488088" y="1433172"/>
                  <a:pt x="5490021" y="1431236"/>
                </a:cubicBezTo>
                <a:cubicBezTo>
                  <a:pt x="5493889" y="1429303"/>
                  <a:pt x="5495825" y="1425435"/>
                  <a:pt x="5495825" y="1419631"/>
                </a:cubicBezTo>
                <a:cubicBezTo>
                  <a:pt x="5491956" y="1419631"/>
                  <a:pt x="5490021" y="1421567"/>
                  <a:pt x="5488088" y="1419631"/>
                </a:cubicBezTo>
                <a:close/>
                <a:moveTo>
                  <a:pt x="5476483" y="1408027"/>
                </a:moveTo>
                <a:cubicBezTo>
                  <a:pt x="5474551" y="1409962"/>
                  <a:pt x="5472615" y="1411895"/>
                  <a:pt x="5472615" y="1411895"/>
                </a:cubicBezTo>
                <a:cubicBezTo>
                  <a:pt x="5472615" y="1413830"/>
                  <a:pt x="5474551" y="1413830"/>
                  <a:pt x="5474551" y="1413830"/>
                </a:cubicBezTo>
                <a:cubicBezTo>
                  <a:pt x="5474551" y="1411895"/>
                  <a:pt x="5476483" y="1409962"/>
                  <a:pt x="5476483" y="1408027"/>
                </a:cubicBezTo>
                <a:close/>
                <a:moveTo>
                  <a:pt x="5975481" y="1390621"/>
                </a:moveTo>
                <a:cubicBezTo>
                  <a:pt x="5973548" y="1392554"/>
                  <a:pt x="5973548" y="1396422"/>
                  <a:pt x="5971613" y="1398357"/>
                </a:cubicBezTo>
                <a:cubicBezTo>
                  <a:pt x="5971613" y="1400290"/>
                  <a:pt x="5973548" y="1400290"/>
                  <a:pt x="5973548" y="1400290"/>
                </a:cubicBezTo>
                <a:cubicBezTo>
                  <a:pt x="5975481" y="1398357"/>
                  <a:pt x="5975481" y="1396422"/>
                  <a:pt x="5979352" y="1392554"/>
                </a:cubicBezTo>
                <a:cubicBezTo>
                  <a:pt x="5977417" y="1392554"/>
                  <a:pt x="5977417" y="1390621"/>
                  <a:pt x="5975481" y="1390621"/>
                </a:cubicBezTo>
                <a:close/>
                <a:moveTo>
                  <a:pt x="5987086" y="1385301"/>
                </a:moveTo>
                <a:lnTo>
                  <a:pt x="5987086" y="1390621"/>
                </a:lnTo>
                <a:lnTo>
                  <a:pt x="5982327" y="1387795"/>
                </a:lnTo>
                <a:lnTo>
                  <a:pt x="5981285" y="1386752"/>
                </a:lnTo>
                <a:close/>
                <a:moveTo>
                  <a:pt x="6021900" y="1379338"/>
                </a:moveTo>
                <a:lnTo>
                  <a:pt x="6021900" y="1380949"/>
                </a:lnTo>
                <a:lnTo>
                  <a:pt x="6020519" y="1380489"/>
                </a:lnTo>
                <a:close/>
                <a:moveTo>
                  <a:pt x="5529913" y="1372488"/>
                </a:moveTo>
                <a:cubicBezTo>
                  <a:pt x="5526770" y="1373213"/>
                  <a:pt x="5523869" y="1375148"/>
                  <a:pt x="5520967" y="1379016"/>
                </a:cubicBezTo>
                <a:cubicBezTo>
                  <a:pt x="5519034" y="1379016"/>
                  <a:pt x="5515166" y="1379016"/>
                  <a:pt x="5513231" y="1380949"/>
                </a:cubicBezTo>
                <a:cubicBezTo>
                  <a:pt x="5511298" y="1382884"/>
                  <a:pt x="5509362" y="1384817"/>
                  <a:pt x="5507430" y="1386752"/>
                </a:cubicBezTo>
                <a:cubicBezTo>
                  <a:pt x="5505497" y="1386752"/>
                  <a:pt x="5503561" y="1384817"/>
                  <a:pt x="5501628" y="1382884"/>
                </a:cubicBezTo>
                <a:cubicBezTo>
                  <a:pt x="5499693" y="1384817"/>
                  <a:pt x="5497758" y="1386752"/>
                  <a:pt x="5495825" y="1388685"/>
                </a:cubicBezTo>
                <a:cubicBezTo>
                  <a:pt x="5493889" y="1386752"/>
                  <a:pt x="5493889" y="1386752"/>
                  <a:pt x="5493889" y="1386752"/>
                </a:cubicBezTo>
                <a:cubicBezTo>
                  <a:pt x="5488088" y="1392554"/>
                  <a:pt x="5484220" y="1400290"/>
                  <a:pt x="5478419" y="1406094"/>
                </a:cubicBezTo>
                <a:cubicBezTo>
                  <a:pt x="5480352" y="1408027"/>
                  <a:pt x="5482287" y="1408027"/>
                  <a:pt x="5484220" y="1409962"/>
                </a:cubicBezTo>
                <a:cubicBezTo>
                  <a:pt x="5484220" y="1411895"/>
                  <a:pt x="5484220" y="1415763"/>
                  <a:pt x="5484220" y="1417699"/>
                </a:cubicBezTo>
                <a:cubicBezTo>
                  <a:pt x="5490021" y="1413830"/>
                  <a:pt x="5493889" y="1409962"/>
                  <a:pt x="5499693" y="1404158"/>
                </a:cubicBezTo>
                <a:cubicBezTo>
                  <a:pt x="5501628" y="1404158"/>
                  <a:pt x="5503561" y="1402225"/>
                  <a:pt x="5505497" y="1400290"/>
                </a:cubicBezTo>
                <a:cubicBezTo>
                  <a:pt x="5505497" y="1402225"/>
                  <a:pt x="5505497" y="1402225"/>
                  <a:pt x="5505497" y="1402225"/>
                </a:cubicBezTo>
                <a:cubicBezTo>
                  <a:pt x="5511298" y="1398357"/>
                  <a:pt x="5517099" y="1396422"/>
                  <a:pt x="5522903" y="1392554"/>
                </a:cubicBezTo>
                <a:cubicBezTo>
                  <a:pt x="5528704" y="1390621"/>
                  <a:pt x="5536440" y="1384817"/>
                  <a:pt x="5538376" y="1377081"/>
                </a:cubicBezTo>
                <a:cubicBezTo>
                  <a:pt x="5538376" y="1375148"/>
                  <a:pt x="5540308" y="1375148"/>
                  <a:pt x="5540308" y="1373212"/>
                </a:cubicBezTo>
                <a:cubicBezTo>
                  <a:pt x="5536440" y="1372246"/>
                  <a:pt x="5533056" y="1371763"/>
                  <a:pt x="5529913" y="1372488"/>
                </a:cubicBezTo>
                <a:close/>
                <a:moveTo>
                  <a:pt x="5546112" y="1369344"/>
                </a:moveTo>
                <a:cubicBezTo>
                  <a:pt x="5544177" y="1369344"/>
                  <a:pt x="5544177" y="1371279"/>
                  <a:pt x="5540308" y="1375148"/>
                </a:cubicBezTo>
                <a:cubicBezTo>
                  <a:pt x="5542244" y="1375148"/>
                  <a:pt x="5544177" y="1375148"/>
                  <a:pt x="5546112" y="1375148"/>
                </a:cubicBezTo>
                <a:cubicBezTo>
                  <a:pt x="5546112" y="1375148"/>
                  <a:pt x="5548045" y="1373212"/>
                  <a:pt x="5548045" y="1371279"/>
                </a:cubicBezTo>
                <a:cubicBezTo>
                  <a:pt x="5548045" y="1369344"/>
                  <a:pt x="5546112" y="1369344"/>
                  <a:pt x="5546112" y="1369344"/>
                </a:cubicBezTo>
                <a:close/>
                <a:moveTo>
                  <a:pt x="5971613" y="1361607"/>
                </a:moveTo>
                <a:cubicBezTo>
                  <a:pt x="5961943" y="1363543"/>
                  <a:pt x="5961943" y="1363543"/>
                  <a:pt x="5960011" y="1371279"/>
                </a:cubicBezTo>
                <a:cubicBezTo>
                  <a:pt x="5963876" y="1367411"/>
                  <a:pt x="5967745" y="1365478"/>
                  <a:pt x="5971613" y="1361607"/>
                </a:cubicBezTo>
                <a:close/>
                <a:moveTo>
                  <a:pt x="6023836" y="1351938"/>
                </a:moveTo>
                <a:lnTo>
                  <a:pt x="6024801" y="1351938"/>
                </a:lnTo>
                <a:lnTo>
                  <a:pt x="6025769" y="1353873"/>
                </a:lnTo>
                <a:lnTo>
                  <a:pt x="6027853" y="1352236"/>
                </a:lnTo>
                <a:lnTo>
                  <a:pt x="6029637" y="1355806"/>
                </a:lnTo>
                <a:cubicBezTo>
                  <a:pt x="6029637" y="1357739"/>
                  <a:pt x="6025769" y="1359675"/>
                  <a:pt x="6023836" y="1363543"/>
                </a:cubicBezTo>
                <a:cubicBezTo>
                  <a:pt x="6021900" y="1363543"/>
                  <a:pt x="6021900" y="1361607"/>
                  <a:pt x="6019967" y="1361607"/>
                </a:cubicBezTo>
                <a:cubicBezTo>
                  <a:pt x="6021900" y="1357739"/>
                  <a:pt x="6021900" y="1355806"/>
                  <a:pt x="6023836" y="1351938"/>
                </a:cubicBezTo>
                <a:close/>
                <a:moveTo>
                  <a:pt x="6019967" y="1342269"/>
                </a:moveTo>
                <a:lnTo>
                  <a:pt x="6020353" y="1343041"/>
                </a:lnTo>
                <a:lnTo>
                  <a:pt x="6012406" y="1347015"/>
                </a:lnTo>
                <a:lnTo>
                  <a:pt x="6010295" y="1344202"/>
                </a:lnTo>
                <a:cubicBezTo>
                  <a:pt x="6014164" y="1344202"/>
                  <a:pt x="6018032" y="1342269"/>
                  <a:pt x="6019967" y="1342269"/>
                </a:cubicBezTo>
                <a:close/>
                <a:moveTo>
                  <a:pt x="6033505" y="1336465"/>
                </a:moveTo>
                <a:lnTo>
                  <a:pt x="6036149" y="1345717"/>
                </a:lnTo>
                <a:lnTo>
                  <a:pt x="6027853" y="1352236"/>
                </a:lnTo>
                <a:lnTo>
                  <a:pt x="6027704" y="1351938"/>
                </a:lnTo>
                <a:lnTo>
                  <a:pt x="6024801" y="1351938"/>
                </a:lnTo>
                <a:lnTo>
                  <a:pt x="6020353" y="1343041"/>
                </a:lnTo>
                <a:close/>
                <a:moveTo>
                  <a:pt x="5608002" y="1324860"/>
                </a:moveTo>
                <a:cubicBezTo>
                  <a:pt x="5606069" y="1324860"/>
                  <a:pt x="5606069" y="1326796"/>
                  <a:pt x="5604133" y="1326796"/>
                </a:cubicBezTo>
                <a:cubicBezTo>
                  <a:pt x="5604133" y="1328729"/>
                  <a:pt x="5606069" y="1328729"/>
                  <a:pt x="5606069" y="1328729"/>
                </a:cubicBezTo>
                <a:cubicBezTo>
                  <a:pt x="5606069" y="1326796"/>
                  <a:pt x="5608002" y="1326796"/>
                  <a:pt x="5608002" y="1324860"/>
                </a:cubicBezTo>
                <a:close/>
                <a:moveTo>
                  <a:pt x="6095397" y="1307454"/>
                </a:moveTo>
                <a:cubicBezTo>
                  <a:pt x="6096364" y="1310355"/>
                  <a:pt x="6096364" y="1312289"/>
                  <a:pt x="6093946" y="1310597"/>
                </a:cubicBezTo>
                <a:lnTo>
                  <a:pt x="6092743" y="1309401"/>
                </a:lnTo>
                <a:close/>
                <a:moveTo>
                  <a:pt x="5642816" y="1303586"/>
                </a:moveTo>
                <a:cubicBezTo>
                  <a:pt x="5635080" y="1305519"/>
                  <a:pt x="5627343" y="1307454"/>
                  <a:pt x="5623475" y="1315191"/>
                </a:cubicBezTo>
                <a:cubicBezTo>
                  <a:pt x="5621542" y="1317124"/>
                  <a:pt x="5617674" y="1319059"/>
                  <a:pt x="5613805" y="1320992"/>
                </a:cubicBezTo>
                <a:cubicBezTo>
                  <a:pt x="5615738" y="1324860"/>
                  <a:pt x="5611872" y="1326796"/>
                  <a:pt x="5609937" y="1330664"/>
                </a:cubicBezTo>
                <a:cubicBezTo>
                  <a:pt x="5615738" y="1334532"/>
                  <a:pt x="5621542" y="1332597"/>
                  <a:pt x="5627343" y="1328729"/>
                </a:cubicBezTo>
                <a:cubicBezTo>
                  <a:pt x="5635080" y="1322927"/>
                  <a:pt x="5642816" y="1315191"/>
                  <a:pt x="5642816" y="1303586"/>
                </a:cubicBezTo>
                <a:close/>
                <a:moveTo>
                  <a:pt x="6077989" y="1291981"/>
                </a:moveTo>
                <a:cubicBezTo>
                  <a:pt x="6082341" y="1297784"/>
                  <a:pt x="6085726" y="1302014"/>
                  <a:pt x="6088325" y="1305006"/>
                </a:cubicBezTo>
                <a:lnTo>
                  <a:pt x="6092743" y="1309401"/>
                </a:lnTo>
                <a:lnTo>
                  <a:pt x="6066386" y="1328729"/>
                </a:lnTo>
                <a:cubicBezTo>
                  <a:pt x="6056715" y="1334532"/>
                  <a:pt x="6050911" y="1348070"/>
                  <a:pt x="6037373" y="1350003"/>
                </a:cubicBezTo>
                <a:lnTo>
                  <a:pt x="6036149" y="1345717"/>
                </a:lnTo>
                <a:lnTo>
                  <a:pt x="6052846" y="1332597"/>
                </a:lnTo>
                <a:cubicBezTo>
                  <a:pt x="6052846" y="1332597"/>
                  <a:pt x="6052846" y="1330664"/>
                  <a:pt x="6050911" y="1330664"/>
                </a:cubicBezTo>
                <a:cubicBezTo>
                  <a:pt x="6045110" y="1332597"/>
                  <a:pt x="6037373" y="1334532"/>
                  <a:pt x="6031570" y="1334532"/>
                </a:cubicBezTo>
                <a:cubicBezTo>
                  <a:pt x="6031570" y="1332597"/>
                  <a:pt x="6031570" y="1330664"/>
                  <a:pt x="6033505" y="1330664"/>
                </a:cubicBezTo>
                <a:cubicBezTo>
                  <a:pt x="6048978" y="1317124"/>
                  <a:pt x="6062516" y="1303586"/>
                  <a:pt x="6077989" y="1291981"/>
                </a:cubicBezTo>
                <a:close/>
                <a:moveTo>
                  <a:pt x="5644749" y="1251363"/>
                </a:moveTo>
                <a:cubicBezTo>
                  <a:pt x="5640883" y="1255234"/>
                  <a:pt x="5638948" y="1259102"/>
                  <a:pt x="5635080" y="1262968"/>
                </a:cubicBezTo>
                <a:cubicBezTo>
                  <a:pt x="5640883" y="1268772"/>
                  <a:pt x="5642816" y="1272640"/>
                  <a:pt x="5638948" y="1276508"/>
                </a:cubicBezTo>
                <a:cubicBezTo>
                  <a:pt x="5637015" y="1280376"/>
                  <a:pt x="5633147" y="1282309"/>
                  <a:pt x="5629278" y="1286178"/>
                </a:cubicBezTo>
                <a:cubicBezTo>
                  <a:pt x="5627343" y="1288113"/>
                  <a:pt x="5625410" y="1291981"/>
                  <a:pt x="5623475" y="1295850"/>
                </a:cubicBezTo>
                <a:cubicBezTo>
                  <a:pt x="5631211" y="1297782"/>
                  <a:pt x="5638948" y="1299718"/>
                  <a:pt x="5644749" y="1301651"/>
                </a:cubicBezTo>
                <a:cubicBezTo>
                  <a:pt x="5652488" y="1297782"/>
                  <a:pt x="5652488" y="1297782"/>
                  <a:pt x="5660224" y="1305519"/>
                </a:cubicBezTo>
                <a:cubicBezTo>
                  <a:pt x="5652488" y="1324860"/>
                  <a:pt x="5637015" y="1340333"/>
                  <a:pt x="5615738" y="1346137"/>
                </a:cubicBezTo>
                <a:cubicBezTo>
                  <a:pt x="5592531" y="1353873"/>
                  <a:pt x="5575123" y="1367411"/>
                  <a:pt x="5557714" y="1382884"/>
                </a:cubicBezTo>
                <a:cubicBezTo>
                  <a:pt x="5557714" y="1384817"/>
                  <a:pt x="5557714" y="1386752"/>
                  <a:pt x="5559650" y="1390621"/>
                </a:cubicBezTo>
                <a:cubicBezTo>
                  <a:pt x="5555781" y="1392554"/>
                  <a:pt x="5553849" y="1394489"/>
                  <a:pt x="5551913" y="1396422"/>
                </a:cubicBezTo>
                <a:cubicBezTo>
                  <a:pt x="5542244" y="1400290"/>
                  <a:pt x="5532572" y="1404158"/>
                  <a:pt x="5522903" y="1409962"/>
                </a:cubicBezTo>
                <a:cubicBezTo>
                  <a:pt x="5520967" y="1408027"/>
                  <a:pt x="5519034" y="1406094"/>
                  <a:pt x="5517099" y="1402225"/>
                </a:cubicBezTo>
                <a:cubicBezTo>
                  <a:pt x="5513231" y="1404158"/>
                  <a:pt x="5507430" y="1408027"/>
                  <a:pt x="5503561" y="1409962"/>
                </a:cubicBezTo>
                <a:cubicBezTo>
                  <a:pt x="5501628" y="1413830"/>
                  <a:pt x="5501628" y="1415763"/>
                  <a:pt x="5501628" y="1417699"/>
                </a:cubicBezTo>
                <a:cubicBezTo>
                  <a:pt x="5501628" y="1417699"/>
                  <a:pt x="5503561" y="1417699"/>
                  <a:pt x="5503561" y="1417699"/>
                </a:cubicBezTo>
                <a:cubicBezTo>
                  <a:pt x="5503561" y="1419631"/>
                  <a:pt x="5503561" y="1419631"/>
                  <a:pt x="5503561" y="1419631"/>
                </a:cubicBezTo>
                <a:lnTo>
                  <a:pt x="5502112" y="1421083"/>
                </a:lnTo>
                <a:lnTo>
                  <a:pt x="5501628" y="1419631"/>
                </a:lnTo>
                <a:cubicBezTo>
                  <a:pt x="5501628" y="1419631"/>
                  <a:pt x="5501628" y="1419631"/>
                  <a:pt x="5501628" y="1421567"/>
                </a:cubicBezTo>
                <a:lnTo>
                  <a:pt x="5502112" y="1421083"/>
                </a:lnTo>
                <a:lnTo>
                  <a:pt x="5503561" y="1425435"/>
                </a:lnTo>
                <a:cubicBezTo>
                  <a:pt x="5524838" y="1413830"/>
                  <a:pt x="5548045" y="1402225"/>
                  <a:pt x="5573190" y="1388685"/>
                </a:cubicBezTo>
                <a:cubicBezTo>
                  <a:pt x="5602201" y="1373212"/>
                  <a:pt x="5627343" y="1380949"/>
                  <a:pt x="5644749" y="1396422"/>
                </a:cubicBezTo>
                <a:cubicBezTo>
                  <a:pt x="5646684" y="1392554"/>
                  <a:pt x="5648620" y="1390621"/>
                  <a:pt x="5650553" y="1386752"/>
                </a:cubicBezTo>
                <a:cubicBezTo>
                  <a:pt x="5642816" y="1384817"/>
                  <a:pt x="5637015" y="1384817"/>
                  <a:pt x="5631211" y="1382884"/>
                </a:cubicBezTo>
                <a:cubicBezTo>
                  <a:pt x="5629278" y="1379016"/>
                  <a:pt x="5633147" y="1377081"/>
                  <a:pt x="5635080" y="1375148"/>
                </a:cubicBezTo>
                <a:cubicBezTo>
                  <a:pt x="5638948" y="1373212"/>
                  <a:pt x="5642816" y="1371279"/>
                  <a:pt x="5646684" y="1367411"/>
                </a:cubicBezTo>
                <a:cubicBezTo>
                  <a:pt x="5642816" y="1361607"/>
                  <a:pt x="5640883" y="1355806"/>
                  <a:pt x="5637015" y="1350003"/>
                </a:cubicBezTo>
                <a:cubicBezTo>
                  <a:pt x="5648620" y="1346137"/>
                  <a:pt x="5656356" y="1336465"/>
                  <a:pt x="5664090" y="1328729"/>
                </a:cubicBezTo>
                <a:cubicBezTo>
                  <a:pt x="5666026" y="1322927"/>
                  <a:pt x="5660224" y="1319059"/>
                  <a:pt x="5664090" y="1313255"/>
                </a:cubicBezTo>
                <a:cubicBezTo>
                  <a:pt x="5664090" y="1313255"/>
                  <a:pt x="5664090" y="1311323"/>
                  <a:pt x="5664090" y="1311323"/>
                </a:cubicBezTo>
                <a:cubicBezTo>
                  <a:pt x="5673762" y="1293914"/>
                  <a:pt x="5673762" y="1278444"/>
                  <a:pt x="5662157" y="1261035"/>
                </a:cubicBezTo>
                <a:cubicBezTo>
                  <a:pt x="5660224" y="1262968"/>
                  <a:pt x="5656356" y="1262968"/>
                  <a:pt x="5654421" y="1262968"/>
                </a:cubicBezTo>
                <a:cubicBezTo>
                  <a:pt x="5652488" y="1259102"/>
                  <a:pt x="5648620" y="1255234"/>
                  <a:pt x="5644749" y="1251363"/>
                </a:cubicBezTo>
                <a:close/>
                <a:moveTo>
                  <a:pt x="5635080" y="1241694"/>
                </a:moveTo>
                <a:cubicBezTo>
                  <a:pt x="5633147" y="1241694"/>
                  <a:pt x="5631211" y="1243629"/>
                  <a:pt x="5629278" y="1247497"/>
                </a:cubicBezTo>
                <a:cubicBezTo>
                  <a:pt x="5633147" y="1251363"/>
                  <a:pt x="5637015" y="1253299"/>
                  <a:pt x="5640883" y="1255234"/>
                </a:cubicBezTo>
                <a:cubicBezTo>
                  <a:pt x="5640883" y="1253299"/>
                  <a:pt x="5640883" y="1249430"/>
                  <a:pt x="5640883" y="1247497"/>
                </a:cubicBezTo>
                <a:cubicBezTo>
                  <a:pt x="5640883" y="1243629"/>
                  <a:pt x="5638948" y="1239761"/>
                  <a:pt x="5635080" y="1241694"/>
                </a:cubicBezTo>
                <a:close/>
                <a:moveTo>
                  <a:pt x="5573190" y="1013469"/>
                </a:moveTo>
                <a:cubicBezTo>
                  <a:pt x="5571255" y="1013469"/>
                  <a:pt x="5569322" y="1013469"/>
                  <a:pt x="5569322" y="1015404"/>
                </a:cubicBezTo>
                <a:cubicBezTo>
                  <a:pt x="5569322" y="1017337"/>
                  <a:pt x="5567386" y="1019273"/>
                  <a:pt x="5565453" y="1021206"/>
                </a:cubicBezTo>
                <a:cubicBezTo>
                  <a:pt x="5565453" y="1021206"/>
                  <a:pt x="5565453" y="1023141"/>
                  <a:pt x="5565453" y="1023141"/>
                </a:cubicBezTo>
                <a:cubicBezTo>
                  <a:pt x="5571255" y="1021206"/>
                  <a:pt x="5577056" y="1021206"/>
                  <a:pt x="5573190" y="1013469"/>
                </a:cubicBezTo>
                <a:close/>
                <a:moveTo>
                  <a:pt x="4991023" y="986394"/>
                </a:moveTo>
                <a:cubicBezTo>
                  <a:pt x="4989090" y="988327"/>
                  <a:pt x="4987155" y="990260"/>
                  <a:pt x="4985222" y="990260"/>
                </a:cubicBezTo>
                <a:cubicBezTo>
                  <a:pt x="4987155" y="990260"/>
                  <a:pt x="4987155" y="992195"/>
                  <a:pt x="4987155" y="992195"/>
                </a:cubicBezTo>
                <a:cubicBezTo>
                  <a:pt x="4989090" y="990260"/>
                  <a:pt x="4991023" y="990260"/>
                  <a:pt x="4992959" y="988327"/>
                </a:cubicBezTo>
                <a:cubicBezTo>
                  <a:pt x="4991023" y="988327"/>
                  <a:pt x="4991023" y="986394"/>
                  <a:pt x="4991023" y="986394"/>
                </a:cubicBezTo>
                <a:close/>
                <a:moveTo>
                  <a:pt x="5462946" y="965117"/>
                </a:moveTo>
                <a:cubicBezTo>
                  <a:pt x="5457142" y="965117"/>
                  <a:pt x="5453274" y="967052"/>
                  <a:pt x="5451341" y="967052"/>
                </a:cubicBezTo>
                <a:cubicBezTo>
                  <a:pt x="5441669" y="970921"/>
                  <a:pt x="5428131" y="970921"/>
                  <a:pt x="5428131" y="986394"/>
                </a:cubicBezTo>
                <a:cubicBezTo>
                  <a:pt x="5428131" y="988327"/>
                  <a:pt x="5426196" y="988327"/>
                  <a:pt x="5424263" y="990260"/>
                </a:cubicBezTo>
                <a:cubicBezTo>
                  <a:pt x="5418462" y="997998"/>
                  <a:pt x="5418462" y="999931"/>
                  <a:pt x="5426196" y="1009601"/>
                </a:cubicBezTo>
                <a:cubicBezTo>
                  <a:pt x="5433933" y="1005733"/>
                  <a:pt x="5439736" y="1001864"/>
                  <a:pt x="5445537" y="996063"/>
                </a:cubicBezTo>
                <a:cubicBezTo>
                  <a:pt x="5451341" y="990260"/>
                  <a:pt x="5457142" y="984458"/>
                  <a:pt x="5461010" y="978657"/>
                </a:cubicBezTo>
                <a:cubicBezTo>
                  <a:pt x="5462946" y="976722"/>
                  <a:pt x="5462946" y="970921"/>
                  <a:pt x="5462946" y="965117"/>
                </a:cubicBezTo>
                <a:close/>
                <a:moveTo>
                  <a:pt x="5468747" y="943843"/>
                </a:moveTo>
                <a:cubicBezTo>
                  <a:pt x="5466814" y="945776"/>
                  <a:pt x="5466814" y="947711"/>
                  <a:pt x="5466814" y="949644"/>
                </a:cubicBezTo>
                <a:cubicBezTo>
                  <a:pt x="5466814" y="951579"/>
                  <a:pt x="5468747" y="953512"/>
                  <a:pt x="5468747" y="955448"/>
                </a:cubicBezTo>
                <a:cubicBezTo>
                  <a:pt x="5470680" y="953512"/>
                  <a:pt x="5472615" y="953512"/>
                  <a:pt x="5472615" y="951579"/>
                </a:cubicBezTo>
                <a:cubicBezTo>
                  <a:pt x="5472615" y="949644"/>
                  <a:pt x="5472615" y="947711"/>
                  <a:pt x="5472615" y="945776"/>
                </a:cubicBezTo>
                <a:cubicBezTo>
                  <a:pt x="5472615" y="945776"/>
                  <a:pt x="5472615" y="943843"/>
                  <a:pt x="5470680" y="943843"/>
                </a:cubicBezTo>
                <a:cubicBezTo>
                  <a:pt x="5470680" y="941908"/>
                  <a:pt x="5470680" y="943843"/>
                  <a:pt x="5468747" y="943843"/>
                </a:cubicBezTo>
                <a:close/>
                <a:moveTo>
                  <a:pt x="5298546" y="878083"/>
                </a:moveTo>
                <a:cubicBezTo>
                  <a:pt x="5288877" y="880018"/>
                  <a:pt x="5281140" y="883884"/>
                  <a:pt x="5281140" y="893556"/>
                </a:cubicBezTo>
                <a:cubicBezTo>
                  <a:pt x="5281140" y="893556"/>
                  <a:pt x="5283073" y="895488"/>
                  <a:pt x="5283073" y="895488"/>
                </a:cubicBezTo>
                <a:cubicBezTo>
                  <a:pt x="5285008" y="891623"/>
                  <a:pt x="5288877" y="887754"/>
                  <a:pt x="5290810" y="883884"/>
                </a:cubicBezTo>
                <a:cubicBezTo>
                  <a:pt x="5290810" y="881951"/>
                  <a:pt x="5294678" y="880018"/>
                  <a:pt x="5298546" y="878083"/>
                </a:cubicBezTo>
                <a:close/>
                <a:moveTo>
                  <a:pt x="999037" y="876150"/>
                </a:moveTo>
                <a:cubicBezTo>
                  <a:pt x="999037" y="876150"/>
                  <a:pt x="999037" y="878083"/>
                  <a:pt x="999037" y="878083"/>
                </a:cubicBezTo>
                <a:cubicBezTo>
                  <a:pt x="999037" y="876150"/>
                  <a:pt x="1000972" y="876150"/>
                  <a:pt x="1000972" y="876150"/>
                </a:cubicBezTo>
                <a:cubicBezTo>
                  <a:pt x="999037" y="876150"/>
                  <a:pt x="999037" y="876150"/>
                  <a:pt x="999037" y="876150"/>
                </a:cubicBezTo>
                <a:close/>
                <a:moveTo>
                  <a:pt x="886860" y="860677"/>
                </a:moveTo>
                <a:cubicBezTo>
                  <a:pt x="886860" y="862609"/>
                  <a:pt x="886860" y="864545"/>
                  <a:pt x="886860" y="864545"/>
                </a:cubicBezTo>
                <a:cubicBezTo>
                  <a:pt x="886860" y="864545"/>
                  <a:pt x="888793" y="864545"/>
                  <a:pt x="890728" y="864545"/>
                </a:cubicBezTo>
                <a:cubicBezTo>
                  <a:pt x="890728" y="862609"/>
                  <a:pt x="892661" y="862609"/>
                  <a:pt x="892661" y="860677"/>
                </a:cubicBezTo>
                <a:cubicBezTo>
                  <a:pt x="890728" y="860677"/>
                  <a:pt x="888793" y="860677"/>
                  <a:pt x="886860" y="860677"/>
                </a:cubicBezTo>
                <a:close/>
                <a:moveTo>
                  <a:pt x="5321756" y="854873"/>
                </a:moveTo>
                <a:cubicBezTo>
                  <a:pt x="5314019" y="854873"/>
                  <a:pt x="5306283" y="858741"/>
                  <a:pt x="5304350" y="866478"/>
                </a:cubicBezTo>
                <a:cubicBezTo>
                  <a:pt x="5306283" y="868413"/>
                  <a:pt x="5308218" y="870346"/>
                  <a:pt x="5310151" y="872281"/>
                </a:cubicBezTo>
                <a:cubicBezTo>
                  <a:pt x="5315952" y="868413"/>
                  <a:pt x="5319820" y="862609"/>
                  <a:pt x="5321756" y="854873"/>
                </a:cubicBezTo>
                <a:close/>
                <a:moveTo>
                  <a:pt x="1873250" y="835532"/>
                </a:moveTo>
                <a:cubicBezTo>
                  <a:pt x="1871317" y="837467"/>
                  <a:pt x="1867449" y="839400"/>
                  <a:pt x="1865516" y="841335"/>
                </a:cubicBezTo>
                <a:cubicBezTo>
                  <a:pt x="1865516" y="841335"/>
                  <a:pt x="1865516" y="843268"/>
                  <a:pt x="1865516" y="843268"/>
                </a:cubicBezTo>
                <a:cubicBezTo>
                  <a:pt x="1869384" y="841335"/>
                  <a:pt x="1875186" y="839400"/>
                  <a:pt x="1879054" y="837467"/>
                </a:cubicBezTo>
                <a:cubicBezTo>
                  <a:pt x="1877119" y="837467"/>
                  <a:pt x="1875186" y="835532"/>
                  <a:pt x="1873250" y="835532"/>
                </a:cubicBezTo>
                <a:close/>
                <a:moveTo>
                  <a:pt x="1902263" y="827795"/>
                </a:moveTo>
                <a:cubicBezTo>
                  <a:pt x="1892592" y="825862"/>
                  <a:pt x="1888726" y="829731"/>
                  <a:pt x="1882922" y="835532"/>
                </a:cubicBezTo>
                <a:cubicBezTo>
                  <a:pt x="1882922" y="835532"/>
                  <a:pt x="1882922" y="835532"/>
                  <a:pt x="1884855" y="835532"/>
                </a:cubicBezTo>
                <a:cubicBezTo>
                  <a:pt x="1888726" y="839400"/>
                  <a:pt x="1884855" y="841335"/>
                  <a:pt x="1882922" y="843268"/>
                </a:cubicBezTo>
                <a:cubicBezTo>
                  <a:pt x="1882922" y="843268"/>
                  <a:pt x="1880987" y="845204"/>
                  <a:pt x="1880987" y="845204"/>
                </a:cubicBezTo>
                <a:cubicBezTo>
                  <a:pt x="1888726" y="841335"/>
                  <a:pt x="1896460" y="837467"/>
                  <a:pt x="1902263" y="827795"/>
                </a:cubicBezTo>
                <a:close/>
                <a:moveTo>
                  <a:pt x="1718523" y="816190"/>
                </a:moveTo>
                <a:cubicBezTo>
                  <a:pt x="1689512" y="821994"/>
                  <a:pt x="1689512" y="821994"/>
                  <a:pt x="1677907" y="835532"/>
                </a:cubicBezTo>
                <a:cubicBezTo>
                  <a:pt x="1691447" y="829731"/>
                  <a:pt x="1703050" y="823929"/>
                  <a:pt x="1718523" y="816190"/>
                </a:cubicBezTo>
                <a:close/>
                <a:moveTo>
                  <a:pt x="1991231" y="792983"/>
                </a:moveTo>
                <a:cubicBezTo>
                  <a:pt x="1987363" y="796849"/>
                  <a:pt x="1983494" y="798784"/>
                  <a:pt x="1979626" y="802653"/>
                </a:cubicBezTo>
                <a:cubicBezTo>
                  <a:pt x="1981562" y="802653"/>
                  <a:pt x="1985430" y="800720"/>
                  <a:pt x="1989298" y="800720"/>
                </a:cubicBezTo>
                <a:cubicBezTo>
                  <a:pt x="1991231" y="800720"/>
                  <a:pt x="1991231" y="798784"/>
                  <a:pt x="1993166" y="792983"/>
                </a:cubicBezTo>
                <a:cubicBezTo>
                  <a:pt x="1993166" y="792983"/>
                  <a:pt x="1991231" y="792983"/>
                  <a:pt x="1991231" y="792983"/>
                </a:cubicBezTo>
                <a:close/>
                <a:moveTo>
                  <a:pt x="1037719" y="781378"/>
                </a:moveTo>
                <a:cubicBezTo>
                  <a:pt x="1035784" y="781378"/>
                  <a:pt x="1033851" y="781378"/>
                  <a:pt x="1033851" y="783311"/>
                </a:cubicBezTo>
                <a:cubicBezTo>
                  <a:pt x="1033851" y="783311"/>
                  <a:pt x="1035784" y="785247"/>
                  <a:pt x="1035784" y="785247"/>
                </a:cubicBezTo>
                <a:cubicBezTo>
                  <a:pt x="1037719" y="785247"/>
                  <a:pt x="1037719" y="783311"/>
                  <a:pt x="1037719" y="781378"/>
                </a:cubicBezTo>
                <a:close/>
                <a:moveTo>
                  <a:pt x="1782350" y="777510"/>
                </a:moveTo>
                <a:cubicBezTo>
                  <a:pt x="1772678" y="783311"/>
                  <a:pt x="1763009" y="789115"/>
                  <a:pt x="1753337" y="794916"/>
                </a:cubicBezTo>
                <a:cubicBezTo>
                  <a:pt x="1753337" y="796849"/>
                  <a:pt x="1755272" y="798784"/>
                  <a:pt x="1755272" y="798784"/>
                </a:cubicBezTo>
                <a:cubicBezTo>
                  <a:pt x="1764942" y="792983"/>
                  <a:pt x="1774611" y="785247"/>
                  <a:pt x="1784283" y="779443"/>
                </a:cubicBezTo>
                <a:cubicBezTo>
                  <a:pt x="1782350" y="779443"/>
                  <a:pt x="1782350" y="777510"/>
                  <a:pt x="1782350" y="777510"/>
                </a:cubicBezTo>
                <a:close/>
                <a:moveTo>
                  <a:pt x="4911725" y="767838"/>
                </a:moveTo>
                <a:cubicBezTo>
                  <a:pt x="4907857" y="771707"/>
                  <a:pt x="4903989" y="773642"/>
                  <a:pt x="4900121" y="777510"/>
                </a:cubicBezTo>
                <a:cubicBezTo>
                  <a:pt x="4898188" y="779443"/>
                  <a:pt x="4896252" y="781378"/>
                  <a:pt x="4894319" y="781378"/>
                </a:cubicBezTo>
                <a:cubicBezTo>
                  <a:pt x="4886583" y="781378"/>
                  <a:pt x="4882715" y="783311"/>
                  <a:pt x="4878846" y="787180"/>
                </a:cubicBezTo>
                <a:cubicBezTo>
                  <a:pt x="4865306" y="798784"/>
                  <a:pt x="4849836" y="808454"/>
                  <a:pt x="4834363" y="820059"/>
                </a:cubicBezTo>
                <a:cubicBezTo>
                  <a:pt x="4830494" y="821994"/>
                  <a:pt x="4828559" y="825862"/>
                  <a:pt x="4826626" y="827795"/>
                </a:cubicBezTo>
                <a:cubicBezTo>
                  <a:pt x="4834363" y="827795"/>
                  <a:pt x="4838231" y="823929"/>
                  <a:pt x="4844032" y="820059"/>
                </a:cubicBezTo>
                <a:cubicBezTo>
                  <a:pt x="4845965" y="821994"/>
                  <a:pt x="4845965" y="823929"/>
                  <a:pt x="4847900" y="825862"/>
                </a:cubicBezTo>
                <a:cubicBezTo>
                  <a:pt x="4851769" y="823929"/>
                  <a:pt x="4857572" y="821994"/>
                  <a:pt x="4855637" y="816190"/>
                </a:cubicBezTo>
                <a:cubicBezTo>
                  <a:pt x="4853704" y="814257"/>
                  <a:pt x="4855637" y="810389"/>
                  <a:pt x="4857572" y="810389"/>
                </a:cubicBezTo>
                <a:cubicBezTo>
                  <a:pt x="4867242" y="804588"/>
                  <a:pt x="4876913" y="798784"/>
                  <a:pt x="4886583" y="792983"/>
                </a:cubicBezTo>
                <a:cubicBezTo>
                  <a:pt x="4896252" y="789115"/>
                  <a:pt x="4903989" y="785247"/>
                  <a:pt x="4911725" y="779443"/>
                </a:cubicBezTo>
                <a:cubicBezTo>
                  <a:pt x="4917529" y="777510"/>
                  <a:pt x="4917529" y="773642"/>
                  <a:pt x="4911725" y="767838"/>
                </a:cubicBezTo>
                <a:close/>
                <a:moveTo>
                  <a:pt x="5325624" y="762037"/>
                </a:moveTo>
                <a:cubicBezTo>
                  <a:pt x="5323689" y="763970"/>
                  <a:pt x="5323689" y="763970"/>
                  <a:pt x="5321756" y="765905"/>
                </a:cubicBezTo>
                <a:cubicBezTo>
                  <a:pt x="5323689" y="765905"/>
                  <a:pt x="5325624" y="767838"/>
                  <a:pt x="5325624" y="765905"/>
                </a:cubicBezTo>
                <a:cubicBezTo>
                  <a:pt x="5325624" y="765905"/>
                  <a:pt x="5327559" y="765905"/>
                  <a:pt x="5327559" y="763970"/>
                </a:cubicBezTo>
                <a:cubicBezTo>
                  <a:pt x="5327559" y="763970"/>
                  <a:pt x="5325624" y="762037"/>
                  <a:pt x="5325624" y="762037"/>
                </a:cubicBezTo>
                <a:close/>
                <a:moveTo>
                  <a:pt x="4902056" y="762037"/>
                </a:moveTo>
                <a:cubicBezTo>
                  <a:pt x="4900121" y="763970"/>
                  <a:pt x="4898188" y="763970"/>
                  <a:pt x="4898188" y="765905"/>
                </a:cubicBezTo>
                <a:cubicBezTo>
                  <a:pt x="4898188" y="767838"/>
                  <a:pt x="4898188" y="767838"/>
                  <a:pt x="4898188" y="767838"/>
                </a:cubicBezTo>
                <a:cubicBezTo>
                  <a:pt x="4900121" y="765905"/>
                  <a:pt x="4900121" y="763970"/>
                  <a:pt x="4902056" y="762037"/>
                </a:cubicBezTo>
                <a:close/>
                <a:moveTo>
                  <a:pt x="5401054" y="756234"/>
                </a:moveTo>
                <a:cubicBezTo>
                  <a:pt x="5395252" y="760102"/>
                  <a:pt x="5391384" y="763970"/>
                  <a:pt x="5385581" y="767838"/>
                </a:cubicBezTo>
                <a:cubicBezTo>
                  <a:pt x="5387514" y="767838"/>
                  <a:pt x="5389449" y="767838"/>
                  <a:pt x="5389449" y="767838"/>
                </a:cubicBezTo>
                <a:cubicBezTo>
                  <a:pt x="5391384" y="765905"/>
                  <a:pt x="5395252" y="763970"/>
                  <a:pt x="5397185" y="762037"/>
                </a:cubicBezTo>
                <a:cubicBezTo>
                  <a:pt x="5399121" y="760102"/>
                  <a:pt x="5401054" y="758169"/>
                  <a:pt x="5401054" y="756234"/>
                </a:cubicBezTo>
                <a:close/>
                <a:moveTo>
                  <a:pt x="1834568" y="756234"/>
                </a:moveTo>
                <a:cubicBezTo>
                  <a:pt x="1834568" y="756234"/>
                  <a:pt x="1832635" y="758169"/>
                  <a:pt x="1832635" y="758169"/>
                </a:cubicBezTo>
                <a:cubicBezTo>
                  <a:pt x="1834568" y="758169"/>
                  <a:pt x="1834568" y="758169"/>
                  <a:pt x="1836503" y="756234"/>
                </a:cubicBezTo>
                <a:cubicBezTo>
                  <a:pt x="1836503" y="756234"/>
                  <a:pt x="1834568" y="756234"/>
                  <a:pt x="1834568" y="756234"/>
                </a:cubicBezTo>
                <a:close/>
                <a:moveTo>
                  <a:pt x="1828767" y="748497"/>
                </a:moveTo>
                <a:cubicBezTo>
                  <a:pt x="1826834" y="748497"/>
                  <a:pt x="1824898" y="750432"/>
                  <a:pt x="1822965" y="750432"/>
                </a:cubicBezTo>
                <a:lnTo>
                  <a:pt x="1824898" y="750432"/>
                </a:lnTo>
                <a:cubicBezTo>
                  <a:pt x="1819097" y="754301"/>
                  <a:pt x="1813294" y="758169"/>
                  <a:pt x="1809425" y="763970"/>
                </a:cubicBezTo>
                <a:cubicBezTo>
                  <a:pt x="1813294" y="765905"/>
                  <a:pt x="1817162" y="767838"/>
                  <a:pt x="1819097" y="767838"/>
                </a:cubicBezTo>
                <a:cubicBezTo>
                  <a:pt x="1821030" y="763970"/>
                  <a:pt x="1822965" y="760102"/>
                  <a:pt x="1822965" y="756234"/>
                </a:cubicBezTo>
                <a:cubicBezTo>
                  <a:pt x="1824898" y="754301"/>
                  <a:pt x="1824898" y="752365"/>
                  <a:pt x="1826834" y="750432"/>
                </a:cubicBezTo>
                <a:cubicBezTo>
                  <a:pt x="1826834" y="750432"/>
                  <a:pt x="1828767" y="750432"/>
                  <a:pt x="1828767" y="748497"/>
                </a:cubicBezTo>
                <a:close/>
                <a:moveTo>
                  <a:pt x="5397185" y="742696"/>
                </a:moveTo>
                <a:cubicBezTo>
                  <a:pt x="5397185" y="744629"/>
                  <a:pt x="5395252" y="746564"/>
                  <a:pt x="5393317" y="748497"/>
                </a:cubicBezTo>
                <a:cubicBezTo>
                  <a:pt x="5395252" y="746564"/>
                  <a:pt x="5397185" y="746564"/>
                  <a:pt x="5399121" y="744629"/>
                </a:cubicBezTo>
                <a:cubicBezTo>
                  <a:pt x="5399121" y="742696"/>
                  <a:pt x="5399121" y="742696"/>
                  <a:pt x="5397185" y="742696"/>
                </a:cubicBezTo>
                <a:close/>
                <a:moveTo>
                  <a:pt x="2122235" y="705949"/>
                </a:moveTo>
                <a:lnTo>
                  <a:pt x="2122752" y="705949"/>
                </a:lnTo>
                <a:cubicBezTo>
                  <a:pt x="2122752" y="707882"/>
                  <a:pt x="2122752" y="707882"/>
                  <a:pt x="2122752" y="709815"/>
                </a:cubicBezTo>
                <a:lnTo>
                  <a:pt x="2121769" y="707852"/>
                </a:lnTo>
                <a:close/>
                <a:moveTo>
                  <a:pt x="5445537" y="702080"/>
                </a:moveTo>
                <a:cubicBezTo>
                  <a:pt x="5443604" y="704013"/>
                  <a:pt x="5443604" y="704013"/>
                  <a:pt x="5441669" y="705949"/>
                </a:cubicBezTo>
                <a:cubicBezTo>
                  <a:pt x="5443604" y="707882"/>
                  <a:pt x="5445537" y="707882"/>
                  <a:pt x="5445537" y="707882"/>
                </a:cubicBezTo>
                <a:cubicBezTo>
                  <a:pt x="5445537" y="707882"/>
                  <a:pt x="5447473" y="705949"/>
                  <a:pt x="5447473" y="704013"/>
                </a:cubicBezTo>
                <a:cubicBezTo>
                  <a:pt x="5447473" y="702080"/>
                  <a:pt x="5445537" y="702080"/>
                  <a:pt x="5445537" y="702080"/>
                </a:cubicBezTo>
                <a:close/>
                <a:moveTo>
                  <a:pt x="1832635" y="700145"/>
                </a:moveTo>
                <a:cubicBezTo>
                  <a:pt x="1822965" y="700145"/>
                  <a:pt x="1815229" y="702080"/>
                  <a:pt x="1805557" y="707882"/>
                </a:cubicBezTo>
                <a:cubicBezTo>
                  <a:pt x="1809425" y="709815"/>
                  <a:pt x="1811361" y="709815"/>
                  <a:pt x="1813294" y="711750"/>
                </a:cubicBezTo>
                <a:cubicBezTo>
                  <a:pt x="1811361" y="711750"/>
                  <a:pt x="1811361" y="713685"/>
                  <a:pt x="1811361" y="713685"/>
                </a:cubicBezTo>
                <a:cubicBezTo>
                  <a:pt x="1776546" y="727223"/>
                  <a:pt x="1741732" y="742696"/>
                  <a:pt x="1706918" y="756234"/>
                </a:cubicBezTo>
                <a:cubicBezTo>
                  <a:pt x="1704985" y="756234"/>
                  <a:pt x="1704985" y="758169"/>
                  <a:pt x="1703050" y="758169"/>
                </a:cubicBezTo>
                <a:cubicBezTo>
                  <a:pt x="1703050" y="762037"/>
                  <a:pt x="1699181" y="765905"/>
                  <a:pt x="1697248" y="769774"/>
                </a:cubicBezTo>
                <a:cubicBezTo>
                  <a:pt x="1693380" y="775575"/>
                  <a:pt x="1689512" y="783311"/>
                  <a:pt x="1689512" y="789115"/>
                </a:cubicBezTo>
                <a:cubicBezTo>
                  <a:pt x="1693380" y="787180"/>
                  <a:pt x="1697248" y="785247"/>
                  <a:pt x="1701117" y="783311"/>
                </a:cubicBezTo>
                <a:cubicBezTo>
                  <a:pt x="1703050" y="781378"/>
                  <a:pt x="1706918" y="779443"/>
                  <a:pt x="1710786" y="777510"/>
                </a:cubicBezTo>
                <a:cubicBezTo>
                  <a:pt x="1712721" y="777510"/>
                  <a:pt x="1712721" y="775575"/>
                  <a:pt x="1714654" y="775575"/>
                </a:cubicBezTo>
                <a:cubicBezTo>
                  <a:pt x="1718523" y="773642"/>
                  <a:pt x="1722391" y="771707"/>
                  <a:pt x="1726259" y="769774"/>
                </a:cubicBezTo>
                <a:cubicBezTo>
                  <a:pt x="1728194" y="769774"/>
                  <a:pt x="1728194" y="767838"/>
                  <a:pt x="1730127" y="767838"/>
                </a:cubicBezTo>
                <a:cubicBezTo>
                  <a:pt x="1733996" y="765905"/>
                  <a:pt x="1737864" y="763970"/>
                  <a:pt x="1741732" y="762037"/>
                </a:cubicBezTo>
                <a:cubicBezTo>
                  <a:pt x="1768810" y="740761"/>
                  <a:pt x="1801689" y="734959"/>
                  <a:pt x="1830702" y="719486"/>
                </a:cubicBezTo>
                <a:cubicBezTo>
                  <a:pt x="1832635" y="717553"/>
                  <a:pt x="1834568" y="717553"/>
                  <a:pt x="1836503" y="715618"/>
                </a:cubicBezTo>
                <a:cubicBezTo>
                  <a:pt x="1842307" y="711750"/>
                  <a:pt x="1848108" y="709815"/>
                  <a:pt x="1853909" y="705949"/>
                </a:cubicBezTo>
                <a:cubicBezTo>
                  <a:pt x="1850043" y="707882"/>
                  <a:pt x="1848108" y="707882"/>
                  <a:pt x="1844240" y="707882"/>
                </a:cubicBezTo>
                <a:cubicBezTo>
                  <a:pt x="1840371" y="707882"/>
                  <a:pt x="1838436" y="711750"/>
                  <a:pt x="1836503" y="713685"/>
                </a:cubicBezTo>
                <a:cubicBezTo>
                  <a:pt x="1836503" y="709815"/>
                  <a:pt x="1834568" y="705949"/>
                  <a:pt x="1832635" y="700145"/>
                </a:cubicBezTo>
                <a:close/>
                <a:moveTo>
                  <a:pt x="5372043" y="694344"/>
                </a:moveTo>
                <a:cubicBezTo>
                  <a:pt x="5370108" y="698212"/>
                  <a:pt x="5366239" y="700145"/>
                  <a:pt x="5364306" y="700145"/>
                </a:cubicBezTo>
                <a:cubicBezTo>
                  <a:pt x="5366239" y="700145"/>
                  <a:pt x="5366239" y="702080"/>
                  <a:pt x="5366239" y="702080"/>
                </a:cubicBezTo>
                <a:cubicBezTo>
                  <a:pt x="5368175" y="700145"/>
                  <a:pt x="5370108" y="698212"/>
                  <a:pt x="5372043" y="694344"/>
                </a:cubicBezTo>
                <a:close/>
                <a:moveTo>
                  <a:pt x="1981562" y="690476"/>
                </a:moveTo>
                <a:cubicBezTo>
                  <a:pt x="1971890" y="694344"/>
                  <a:pt x="1962220" y="696277"/>
                  <a:pt x="1952551" y="698212"/>
                </a:cubicBezTo>
                <a:cubicBezTo>
                  <a:pt x="1950615" y="698212"/>
                  <a:pt x="1948680" y="702080"/>
                  <a:pt x="1948680" y="707882"/>
                </a:cubicBezTo>
                <a:cubicBezTo>
                  <a:pt x="1956419" y="704013"/>
                  <a:pt x="1966088" y="702080"/>
                  <a:pt x="1973825" y="698212"/>
                </a:cubicBezTo>
                <a:cubicBezTo>
                  <a:pt x="1977693" y="696277"/>
                  <a:pt x="1979626" y="692409"/>
                  <a:pt x="1981562" y="690476"/>
                </a:cubicBezTo>
                <a:close/>
                <a:moveTo>
                  <a:pt x="1860437" y="685157"/>
                </a:moveTo>
                <a:cubicBezTo>
                  <a:pt x="1858745" y="685640"/>
                  <a:pt x="1855844" y="688542"/>
                  <a:pt x="1850043" y="694344"/>
                </a:cubicBezTo>
                <a:cubicBezTo>
                  <a:pt x="1855844" y="692409"/>
                  <a:pt x="1859713" y="690476"/>
                  <a:pt x="1863581" y="690476"/>
                </a:cubicBezTo>
                <a:cubicBezTo>
                  <a:pt x="1862613" y="686607"/>
                  <a:pt x="1862129" y="684673"/>
                  <a:pt x="1860437" y="685157"/>
                </a:cubicBezTo>
                <a:close/>
                <a:moveTo>
                  <a:pt x="1735931" y="684672"/>
                </a:moveTo>
                <a:cubicBezTo>
                  <a:pt x="1728194" y="684672"/>
                  <a:pt x="1720458" y="684672"/>
                  <a:pt x="1714654" y="686607"/>
                </a:cubicBezTo>
                <a:cubicBezTo>
                  <a:pt x="1716590" y="688540"/>
                  <a:pt x="1716590" y="690476"/>
                  <a:pt x="1718523" y="692409"/>
                </a:cubicBezTo>
                <a:cubicBezTo>
                  <a:pt x="1724326" y="690476"/>
                  <a:pt x="1730127" y="690476"/>
                  <a:pt x="1735931" y="688540"/>
                </a:cubicBezTo>
                <a:cubicBezTo>
                  <a:pt x="1735931" y="688540"/>
                  <a:pt x="1735931" y="688540"/>
                  <a:pt x="1735931" y="684672"/>
                </a:cubicBezTo>
                <a:close/>
                <a:moveTo>
                  <a:pt x="5414594" y="663398"/>
                </a:moveTo>
                <a:cubicBezTo>
                  <a:pt x="5410723" y="665331"/>
                  <a:pt x="5404922" y="667266"/>
                  <a:pt x="5399121" y="671134"/>
                </a:cubicBezTo>
                <a:cubicBezTo>
                  <a:pt x="5404922" y="663398"/>
                  <a:pt x="5404922" y="663398"/>
                  <a:pt x="5414594" y="663398"/>
                </a:cubicBezTo>
                <a:close/>
                <a:moveTo>
                  <a:pt x="1726259" y="663398"/>
                </a:moveTo>
                <a:cubicBezTo>
                  <a:pt x="1722391" y="665331"/>
                  <a:pt x="1720458" y="667266"/>
                  <a:pt x="1716590" y="669199"/>
                </a:cubicBezTo>
                <a:cubicBezTo>
                  <a:pt x="1712721" y="671134"/>
                  <a:pt x="1710786" y="675003"/>
                  <a:pt x="1708853" y="678871"/>
                </a:cubicBezTo>
                <a:cubicBezTo>
                  <a:pt x="1708853" y="680804"/>
                  <a:pt x="1710786" y="680804"/>
                  <a:pt x="1710786" y="682739"/>
                </a:cubicBezTo>
                <a:cubicBezTo>
                  <a:pt x="1710786" y="680804"/>
                  <a:pt x="1712721" y="680804"/>
                  <a:pt x="1712721" y="678871"/>
                </a:cubicBezTo>
                <a:cubicBezTo>
                  <a:pt x="1712721" y="676936"/>
                  <a:pt x="1714654" y="676936"/>
                  <a:pt x="1714654" y="676936"/>
                </a:cubicBezTo>
                <a:cubicBezTo>
                  <a:pt x="1722391" y="675003"/>
                  <a:pt x="1726259" y="669199"/>
                  <a:pt x="1726259" y="663398"/>
                </a:cubicBezTo>
                <a:close/>
                <a:moveTo>
                  <a:pt x="1163436" y="653726"/>
                </a:moveTo>
                <a:cubicBezTo>
                  <a:pt x="1147963" y="653726"/>
                  <a:pt x="1147963" y="653726"/>
                  <a:pt x="1118950" y="669199"/>
                </a:cubicBezTo>
                <a:cubicBezTo>
                  <a:pt x="1136359" y="669199"/>
                  <a:pt x="1149896" y="665331"/>
                  <a:pt x="1163436" y="653726"/>
                </a:cubicBezTo>
                <a:close/>
                <a:moveTo>
                  <a:pt x="3539475" y="647925"/>
                </a:moveTo>
                <a:lnTo>
                  <a:pt x="3542382" y="647925"/>
                </a:lnTo>
                <a:cubicBezTo>
                  <a:pt x="3538514" y="651793"/>
                  <a:pt x="3534646" y="653726"/>
                  <a:pt x="3530777" y="655661"/>
                </a:cubicBezTo>
                <a:lnTo>
                  <a:pt x="3526574" y="654461"/>
                </a:lnTo>
                <a:lnTo>
                  <a:pt x="3532710" y="649858"/>
                </a:lnTo>
                <a:close/>
                <a:moveTo>
                  <a:pt x="3563656" y="634385"/>
                </a:moveTo>
                <a:cubicBezTo>
                  <a:pt x="3563656" y="636320"/>
                  <a:pt x="3563656" y="638253"/>
                  <a:pt x="3563656" y="638253"/>
                </a:cubicBezTo>
                <a:cubicBezTo>
                  <a:pt x="3561723" y="640188"/>
                  <a:pt x="3559788" y="640188"/>
                  <a:pt x="3557855" y="642121"/>
                </a:cubicBezTo>
                <a:cubicBezTo>
                  <a:pt x="3557855" y="642121"/>
                  <a:pt x="3557855" y="640188"/>
                  <a:pt x="3557855" y="640188"/>
                </a:cubicBezTo>
                <a:cubicBezTo>
                  <a:pt x="3557855" y="638253"/>
                  <a:pt x="3559788" y="636320"/>
                  <a:pt x="3563656" y="634385"/>
                </a:cubicBezTo>
                <a:close/>
                <a:moveTo>
                  <a:pt x="3534646" y="632452"/>
                </a:moveTo>
                <a:cubicBezTo>
                  <a:pt x="3534646" y="632452"/>
                  <a:pt x="3532710" y="636320"/>
                  <a:pt x="3534646" y="636320"/>
                </a:cubicBezTo>
                <a:cubicBezTo>
                  <a:pt x="3534646" y="638253"/>
                  <a:pt x="3536579" y="640188"/>
                  <a:pt x="3538514" y="642121"/>
                </a:cubicBezTo>
                <a:cubicBezTo>
                  <a:pt x="3538514" y="640188"/>
                  <a:pt x="3540447" y="638253"/>
                  <a:pt x="3540447" y="636320"/>
                </a:cubicBezTo>
                <a:cubicBezTo>
                  <a:pt x="3538514" y="634385"/>
                  <a:pt x="3536579" y="632452"/>
                  <a:pt x="3534646" y="632452"/>
                </a:cubicBezTo>
                <a:close/>
                <a:moveTo>
                  <a:pt x="5248259" y="624715"/>
                </a:moveTo>
                <a:cubicBezTo>
                  <a:pt x="5248259" y="624715"/>
                  <a:pt x="5250194" y="626651"/>
                  <a:pt x="5250194" y="626651"/>
                </a:cubicBezTo>
                <a:cubicBezTo>
                  <a:pt x="5248259" y="628584"/>
                  <a:pt x="5246326" y="628584"/>
                  <a:pt x="5244393" y="630519"/>
                </a:cubicBezTo>
                <a:cubicBezTo>
                  <a:pt x="5244393" y="630519"/>
                  <a:pt x="5244393" y="630519"/>
                  <a:pt x="5242458" y="628584"/>
                </a:cubicBezTo>
                <a:cubicBezTo>
                  <a:pt x="5244393" y="628584"/>
                  <a:pt x="5246326" y="626651"/>
                  <a:pt x="5248259" y="624715"/>
                </a:cubicBezTo>
                <a:close/>
                <a:moveTo>
                  <a:pt x="2076333" y="616979"/>
                </a:moveTo>
                <a:cubicBezTo>
                  <a:pt x="2074397" y="620847"/>
                  <a:pt x="2076333" y="622780"/>
                  <a:pt x="2076333" y="624715"/>
                </a:cubicBezTo>
                <a:cubicBezTo>
                  <a:pt x="2078265" y="622780"/>
                  <a:pt x="2080201" y="618914"/>
                  <a:pt x="2076333" y="616979"/>
                </a:cubicBezTo>
                <a:close/>
                <a:moveTo>
                  <a:pt x="1991231" y="611178"/>
                </a:moveTo>
                <a:cubicBezTo>
                  <a:pt x="1983494" y="609242"/>
                  <a:pt x="1977693" y="613111"/>
                  <a:pt x="1969957" y="616979"/>
                </a:cubicBezTo>
                <a:cubicBezTo>
                  <a:pt x="1969957" y="616979"/>
                  <a:pt x="1971890" y="616979"/>
                  <a:pt x="1971890" y="616979"/>
                </a:cubicBezTo>
                <a:cubicBezTo>
                  <a:pt x="1975760" y="616979"/>
                  <a:pt x="1981562" y="616979"/>
                  <a:pt x="1985430" y="615046"/>
                </a:cubicBezTo>
                <a:cubicBezTo>
                  <a:pt x="1987363" y="613111"/>
                  <a:pt x="1989298" y="613111"/>
                  <a:pt x="1991231" y="611178"/>
                </a:cubicBezTo>
                <a:close/>
                <a:moveTo>
                  <a:pt x="1821030" y="603441"/>
                </a:moveTo>
                <a:lnTo>
                  <a:pt x="1820451" y="607623"/>
                </a:lnTo>
                <a:lnTo>
                  <a:pt x="1817162" y="609242"/>
                </a:lnTo>
                <a:lnTo>
                  <a:pt x="1816673" y="606553"/>
                </a:lnTo>
                <a:close/>
                <a:moveTo>
                  <a:pt x="3523041" y="601506"/>
                </a:moveTo>
                <a:cubicBezTo>
                  <a:pt x="3521106" y="601506"/>
                  <a:pt x="3519173" y="603441"/>
                  <a:pt x="3519173" y="603441"/>
                </a:cubicBezTo>
                <a:cubicBezTo>
                  <a:pt x="3519173" y="605374"/>
                  <a:pt x="3521106" y="605374"/>
                  <a:pt x="3521106" y="607309"/>
                </a:cubicBezTo>
                <a:cubicBezTo>
                  <a:pt x="3521106" y="607309"/>
                  <a:pt x="3523041" y="605374"/>
                  <a:pt x="3524974" y="603441"/>
                </a:cubicBezTo>
                <a:cubicBezTo>
                  <a:pt x="3524974" y="603441"/>
                  <a:pt x="3523041" y="601506"/>
                  <a:pt x="3523041" y="601506"/>
                </a:cubicBezTo>
                <a:close/>
                <a:moveTo>
                  <a:pt x="1478696" y="599573"/>
                </a:moveTo>
                <a:cubicBezTo>
                  <a:pt x="1474827" y="601506"/>
                  <a:pt x="1470957" y="601506"/>
                  <a:pt x="1467088" y="603441"/>
                </a:cubicBezTo>
                <a:cubicBezTo>
                  <a:pt x="1469024" y="605374"/>
                  <a:pt x="1472892" y="605374"/>
                  <a:pt x="1474827" y="605374"/>
                </a:cubicBezTo>
                <a:cubicBezTo>
                  <a:pt x="1474827" y="605374"/>
                  <a:pt x="1476760" y="605374"/>
                  <a:pt x="1476760" y="605374"/>
                </a:cubicBezTo>
                <a:cubicBezTo>
                  <a:pt x="1478696" y="605374"/>
                  <a:pt x="1480628" y="603441"/>
                  <a:pt x="1480628" y="601506"/>
                </a:cubicBezTo>
                <a:cubicBezTo>
                  <a:pt x="1478696" y="601506"/>
                  <a:pt x="1478696" y="599573"/>
                  <a:pt x="1478696" y="599573"/>
                </a:cubicBezTo>
                <a:close/>
                <a:moveTo>
                  <a:pt x="3473721" y="589901"/>
                </a:moveTo>
                <a:lnTo>
                  <a:pt x="3478555" y="589901"/>
                </a:lnTo>
                <a:cubicBezTo>
                  <a:pt x="3478555" y="589901"/>
                  <a:pt x="3478555" y="591836"/>
                  <a:pt x="3478555" y="591836"/>
                </a:cubicBezTo>
                <a:lnTo>
                  <a:pt x="3473778" y="590243"/>
                </a:lnTo>
                <a:close/>
                <a:moveTo>
                  <a:pt x="1420672" y="580232"/>
                </a:moveTo>
                <a:cubicBezTo>
                  <a:pt x="1412935" y="584100"/>
                  <a:pt x="1405199" y="587968"/>
                  <a:pt x="1391661" y="595705"/>
                </a:cubicBezTo>
                <a:cubicBezTo>
                  <a:pt x="1407132" y="593769"/>
                  <a:pt x="1416803" y="591836"/>
                  <a:pt x="1428408" y="589901"/>
                </a:cubicBezTo>
                <a:cubicBezTo>
                  <a:pt x="1428408" y="584100"/>
                  <a:pt x="1428408" y="580232"/>
                  <a:pt x="1420672" y="580232"/>
                </a:cubicBezTo>
                <a:close/>
                <a:moveTo>
                  <a:pt x="3492895" y="576352"/>
                </a:moveTo>
                <a:lnTo>
                  <a:pt x="3491611" y="580714"/>
                </a:lnTo>
                <a:cubicBezTo>
                  <a:pt x="3490644" y="581681"/>
                  <a:pt x="3489194" y="581198"/>
                  <a:pt x="3486294" y="580232"/>
                </a:cubicBezTo>
                <a:lnTo>
                  <a:pt x="3488472" y="578053"/>
                </a:lnTo>
                <a:close/>
                <a:moveTo>
                  <a:pt x="4145820" y="562823"/>
                </a:moveTo>
                <a:cubicBezTo>
                  <a:pt x="4141955" y="564758"/>
                  <a:pt x="4140019" y="564758"/>
                  <a:pt x="4138086" y="566691"/>
                </a:cubicBezTo>
                <a:cubicBezTo>
                  <a:pt x="4132283" y="570560"/>
                  <a:pt x="4124546" y="572495"/>
                  <a:pt x="4118745" y="576363"/>
                </a:cubicBezTo>
                <a:cubicBezTo>
                  <a:pt x="4126479" y="576363"/>
                  <a:pt x="4134216" y="576363"/>
                  <a:pt x="4141955" y="574428"/>
                </a:cubicBezTo>
                <a:cubicBezTo>
                  <a:pt x="4143888" y="572495"/>
                  <a:pt x="4147756" y="572495"/>
                  <a:pt x="4149689" y="570560"/>
                </a:cubicBezTo>
                <a:cubicBezTo>
                  <a:pt x="4151624" y="570560"/>
                  <a:pt x="4151624" y="568627"/>
                  <a:pt x="4151624" y="568627"/>
                </a:cubicBezTo>
                <a:cubicBezTo>
                  <a:pt x="4149689" y="566691"/>
                  <a:pt x="4147756" y="564758"/>
                  <a:pt x="4145820" y="562823"/>
                </a:cubicBezTo>
                <a:close/>
                <a:moveTo>
                  <a:pt x="1494166" y="562823"/>
                </a:moveTo>
                <a:cubicBezTo>
                  <a:pt x="1470957" y="566691"/>
                  <a:pt x="1470957" y="566691"/>
                  <a:pt x="1463222" y="572495"/>
                </a:cubicBezTo>
                <a:cubicBezTo>
                  <a:pt x="1486430" y="570560"/>
                  <a:pt x="1486430" y="570560"/>
                  <a:pt x="1494166" y="562823"/>
                </a:cubicBezTo>
                <a:close/>
                <a:moveTo>
                  <a:pt x="4027842" y="560890"/>
                </a:moveTo>
                <a:cubicBezTo>
                  <a:pt x="4023974" y="562823"/>
                  <a:pt x="4018170" y="564758"/>
                  <a:pt x="4014302" y="566691"/>
                </a:cubicBezTo>
                <a:cubicBezTo>
                  <a:pt x="4012369" y="568627"/>
                  <a:pt x="4010434" y="568627"/>
                  <a:pt x="4008501" y="570560"/>
                </a:cubicBezTo>
                <a:cubicBezTo>
                  <a:pt x="4008501" y="572495"/>
                  <a:pt x="4008501" y="572495"/>
                  <a:pt x="4008501" y="574428"/>
                </a:cubicBezTo>
                <a:cubicBezTo>
                  <a:pt x="4010434" y="574428"/>
                  <a:pt x="4012369" y="572495"/>
                  <a:pt x="4014302" y="572495"/>
                </a:cubicBezTo>
                <a:cubicBezTo>
                  <a:pt x="4020103" y="570560"/>
                  <a:pt x="4025907" y="570560"/>
                  <a:pt x="4027842" y="560890"/>
                </a:cubicBezTo>
                <a:close/>
                <a:moveTo>
                  <a:pt x="2269743" y="560890"/>
                </a:moveTo>
                <a:cubicBezTo>
                  <a:pt x="2267808" y="562823"/>
                  <a:pt x="2267808" y="562823"/>
                  <a:pt x="2267808" y="562823"/>
                </a:cubicBezTo>
                <a:cubicBezTo>
                  <a:pt x="2267808" y="562823"/>
                  <a:pt x="2267808" y="564758"/>
                  <a:pt x="2267808" y="564758"/>
                </a:cubicBezTo>
                <a:cubicBezTo>
                  <a:pt x="2267808" y="564758"/>
                  <a:pt x="2269743" y="564758"/>
                  <a:pt x="2269743" y="564758"/>
                </a:cubicBezTo>
                <a:cubicBezTo>
                  <a:pt x="2269743" y="562823"/>
                  <a:pt x="2269743" y="562823"/>
                  <a:pt x="2269743" y="560890"/>
                </a:cubicBezTo>
                <a:close/>
                <a:moveTo>
                  <a:pt x="4167097" y="551218"/>
                </a:moveTo>
                <a:cubicBezTo>
                  <a:pt x="4165162" y="551218"/>
                  <a:pt x="4165162" y="551218"/>
                  <a:pt x="4163229" y="555087"/>
                </a:cubicBezTo>
                <a:cubicBezTo>
                  <a:pt x="4163229" y="555087"/>
                  <a:pt x="4161296" y="557022"/>
                  <a:pt x="4161296" y="557022"/>
                </a:cubicBezTo>
                <a:cubicBezTo>
                  <a:pt x="4167097" y="558955"/>
                  <a:pt x="4165162" y="549285"/>
                  <a:pt x="4167097" y="551218"/>
                </a:cubicBezTo>
                <a:close/>
                <a:moveTo>
                  <a:pt x="4029775" y="551218"/>
                </a:moveTo>
                <a:cubicBezTo>
                  <a:pt x="4027842" y="553154"/>
                  <a:pt x="4027842" y="553154"/>
                  <a:pt x="4029775" y="555087"/>
                </a:cubicBezTo>
                <a:lnTo>
                  <a:pt x="4028324" y="553636"/>
                </a:lnTo>
                <a:lnTo>
                  <a:pt x="4028163" y="552832"/>
                </a:lnTo>
                <a:close/>
                <a:moveTo>
                  <a:pt x="4027840" y="551216"/>
                </a:moveTo>
                <a:lnTo>
                  <a:pt x="4027842" y="551218"/>
                </a:lnTo>
                <a:lnTo>
                  <a:pt x="4027841" y="551219"/>
                </a:lnTo>
                <a:close/>
                <a:moveTo>
                  <a:pt x="3540447" y="547350"/>
                </a:moveTo>
                <a:cubicBezTo>
                  <a:pt x="3540447" y="549285"/>
                  <a:pt x="3540447" y="549285"/>
                  <a:pt x="3542382" y="551218"/>
                </a:cubicBezTo>
                <a:cubicBezTo>
                  <a:pt x="3540447" y="553154"/>
                  <a:pt x="3536579" y="553154"/>
                  <a:pt x="3534646" y="555087"/>
                </a:cubicBezTo>
                <a:cubicBezTo>
                  <a:pt x="3534646" y="555087"/>
                  <a:pt x="3534646" y="553154"/>
                  <a:pt x="3532710" y="553154"/>
                </a:cubicBezTo>
                <a:cubicBezTo>
                  <a:pt x="3534646" y="549285"/>
                  <a:pt x="3538514" y="547350"/>
                  <a:pt x="3540447" y="547350"/>
                </a:cubicBezTo>
                <a:close/>
                <a:moveTo>
                  <a:pt x="3548183" y="541549"/>
                </a:moveTo>
                <a:cubicBezTo>
                  <a:pt x="3548183" y="541549"/>
                  <a:pt x="3550119" y="543484"/>
                  <a:pt x="3550119" y="543484"/>
                </a:cubicBezTo>
                <a:cubicBezTo>
                  <a:pt x="3548183" y="545417"/>
                  <a:pt x="3548183" y="547350"/>
                  <a:pt x="3546248" y="547350"/>
                </a:cubicBezTo>
                <a:cubicBezTo>
                  <a:pt x="3546248" y="547350"/>
                  <a:pt x="3544315" y="545417"/>
                  <a:pt x="3544315" y="545417"/>
                </a:cubicBezTo>
                <a:cubicBezTo>
                  <a:pt x="3546248" y="543484"/>
                  <a:pt x="3548183" y="543484"/>
                  <a:pt x="3548183" y="541549"/>
                </a:cubicBezTo>
                <a:close/>
                <a:moveTo>
                  <a:pt x="1641157" y="539614"/>
                </a:moveTo>
                <a:cubicBezTo>
                  <a:pt x="1639225" y="539614"/>
                  <a:pt x="1637292" y="541549"/>
                  <a:pt x="1637292" y="541549"/>
                </a:cubicBezTo>
                <a:cubicBezTo>
                  <a:pt x="1635356" y="541549"/>
                  <a:pt x="1637292" y="543484"/>
                  <a:pt x="1637292" y="547350"/>
                </a:cubicBezTo>
                <a:cubicBezTo>
                  <a:pt x="1639225" y="545417"/>
                  <a:pt x="1641157" y="545417"/>
                  <a:pt x="1643093" y="543484"/>
                </a:cubicBezTo>
                <a:cubicBezTo>
                  <a:pt x="1643093" y="543484"/>
                  <a:pt x="1641157" y="539614"/>
                  <a:pt x="1641157" y="539614"/>
                </a:cubicBezTo>
                <a:close/>
                <a:moveTo>
                  <a:pt x="1604410" y="537681"/>
                </a:moveTo>
                <a:cubicBezTo>
                  <a:pt x="1602477" y="539614"/>
                  <a:pt x="1602477" y="543484"/>
                  <a:pt x="1602477" y="547350"/>
                </a:cubicBezTo>
                <a:cubicBezTo>
                  <a:pt x="1606346" y="547350"/>
                  <a:pt x="1610214" y="547350"/>
                  <a:pt x="1612147" y="545417"/>
                </a:cubicBezTo>
                <a:cubicBezTo>
                  <a:pt x="1614082" y="543484"/>
                  <a:pt x="1614082" y="539614"/>
                  <a:pt x="1614082" y="537681"/>
                </a:cubicBezTo>
                <a:cubicBezTo>
                  <a:pt x="1610214" y="537681"/>
                  <a:pt x="1606346" y="535745"/>
                  <a:pt x="1604410" y="537681"/>
                </a:cubicBezTo>
                <a:close/>
                <a:moveTo>
                  <a:pt x="4130347" y="528009"/>
                </a:moveTo>
                <a:cubicBezTo>
                  <a:pt x="4124546" y="526076"/>
                  <a:pt x="4122613" y="528009"/>
                  <a:pt x="4118745" y="535745"/>
                </a:cubicBezTo>
                <a:cubicBezTo>
                  <a:pt x="4124546" y="533812"/>
                  <a:pt x="4128415" y="531879"/>
                  <a:pt x="4130347" y="528009"/>
                </a:cubicBezTo>
                <a:close/>
                <a:moveTo>
                  <a:pt x="4199976" y="520275"/>
                </a:moveTo>
                <a:cubicBezTo>
                  <a:pt x="4190307" y="524143"/>
                  <a:pt x="4184503" y="528009"/>
                  <a:pt x="4176767" y="531879"/>
                </a:cubicBezTo>
                <a:cubicBezTo>
                  <a:pt x="4176767" y="535745"/>
                  <a:pt x="4176767" y="537681"/>
                  <a:pt x="4176767" y="541549"/>
                </a:cubicBezTo>
                <a:cubicBezTo>
                  <a:pt x="4176767" y="541549"/>
                  <a:pt x="4178702" y="541549"/>
                  <a:pt x="4178702" y="541549"/>
                </a:cubicBezTo>
                <a:cubicBezTo>
                  <a:pt x="4178702" y="541549"/>
                  <a:pt x="4176767" y="543484"/>
                  <a:pt x="4176767" y="543484"/>
                </a:cubicBezTo>
                <a:cubicBezTo>
                  <a:pt x="4176767" y="545417"/>
                  <a:pt x="4176767" y="545417"/>
                  <a:pt x="4176767" y="547350"/>
                </a:cubicBezTo>
                <a:cubicBezTo>
                  <a:pt x="4178702" y="549285"/>
                  <a:pt x="4178702" y="549285"/>
                  <a:pt x="4180635" y="549285"/>
                </a:cubicBezTo>
                <a:cubicBezTo>
                  <a:pt x="4182570" y="537681"/>
                  <a:pt x="4201911" y="537681"/>
                  <a:pt x="4199976" y="520275"/>
                </a:cubicBezTo>
                <a:close/>
                <a:moveTo>
                  <a:pt x="4112941" y="518339"/>
                </a:moveTo>
                <a:cubicBezTo>
                  <a:pt x="4111009" y="518339"/>
                  <a:pt x="4109073" y="520275"/>
                  <a:pt x="4105205" y="520275"/>
                </a:cubicBezTo>
                <a:cubicBezTo>
                  <a:pt x="4107138" y="520275"/>
                  <a:pt x="4107138" y="522208"/>
                  <a:pt x="4107138" y="522208"/>
                </a:cubicBezTo>
                <a:cubicBezTo>
                  <a:pt x="4109073" y="522208"/>
                  <a:pt x="4111009" y="520275"/>
                  <a:pt x="4112941" y="518339"/>
                </a:cubicBezTo>
                <a:close/>
                <a:moveTo>
                  <a:pt x="4234790" y="504802"/>
                </a:moveTo>
                <a:cubicBezTo>
                  <a:pt x="4232855" y="506735"/>
                  <a:pt x="4228989" y="510603"/>
                  <a:pt x="4225121" y="512538"/>
                </a:cubicBezTo>
                <a:cubicBezTo>
                  <a:pt x="4232855" y="514471"/>
                  <a:pt x="4232855" y="514471"/>
                  <a:pt x="4234790" y="504802"/>
                </a:cubicBezTo>
                <a:close/>
                <a:moveTo>
                  <a:pt x="4917188" y="495811"/>
                </a:moveTo>
                <a:lnTo>
                  <a:pt x="4913661" y="502866"/>
                </a:lnTo>
                <a:cubicBezTo>
                  <a:pt x="4913661" y="502866"/>
                  <a:pt x="4911725" y="500933"/>
                  <a:pt x="4911725" y="500933"/>
                </a:cubicBezTo>
                <a:lnTo>
                  <a:pt x="4914633" y="498025"/>
                </a:lnTo>
                <a:close/>
                <a:moveTo>
                  <a:pt x="4252196" y="495130"/>
                </a:moveTo>
                <a:cubicBezTo>
                  <a:pt x="4242527" y="495130"/>
                  <a:pt x="4238659" y="502866"/>
                  <a:pt x="4234790" y="506735"/>
                </a:cubicBezTo>
                <a:cubicBezTo>
                  <a:pt x="4236723" y="506735"/>
                  <a:pt x="4238659" y="508670"/>
                  <a:pt x="4242527" y="508670"/>
                </a:cubicBezTo>
                <a:cubicBezTo>
                  <a:pt x="4246395" y="504802"/>
                  <a:pt x="4248330" y="500933"/>
                  <a:pt x="4252196" y="495130"/>
                </a:cubicBezTo>
                <a:close/>
                <a:moveTo>
                  <a:pt x="4184503" y="495130"/>
                </a:moveTo>
                <a:cubicBezTo>
                  <a:pt x="4182570" y="495130"/>
                  <a:pt x="4180635" y="498998"/>
                  <a:pt x="4178702" y="498998"/>
                </a:cubicBezTo>
                <a:cubicBezTo>
                  <a:pt x="4165162" y="497065"/>
                  <a:pt x="4159361" y="506735"/>
                  <a:pt x="4149689" y="512538"/>
                </a:cubicBezTo>
                <a:cubicBezTo>
                  <a:pt x="4145820" y="514471"/>
                  <a:pt x="4143888" y="518339"/>
                  <a:pt x="4140019" y="524143"/>
                </a:cubicBezTo>
                <a:cubicBezTo>
                  <a:pt x="4141955" y="526076"/>
                  <a:pt x="4141955" y="528009"/>
                  <a:pt x="4143888" y="529944"/>
                </a:cubicBezTo>
                <a:cubicBezTo>
                  <a:pt x="4147756" y="528009"/>
                  <a:pt x="4153557" y="526076"/>
                  <a:pt x="4157425" y="526076"/>
                </a:cubicBezTo>
                <a:cubicBezTo>
                  <a:pt x="4157425" y="526076"/>
                  <a:pt x="4159361" y="526076"/>
                  <a:pt x="4159361" y="526076"/>
                </a:cubicBezTo>
                <a:cubicBezTo>
                  <a:pt x="4159361" y="528009"/>
                  <a:pt x="4159361" y="528009"/>
                  <a:pt x="4159361" y="528009"/>
                </a:cubicBezTo>
                <a:cubicBezTo>
                  <a:pt x="4161296" y="528009"/>
                  <a:pt x="4161296" y="528009"/>
                  <a:pt x="4163229" y="529944"/>
                </a:cubicBezTo>
                <a:cubicBezTo>
                  <a:pt x="4163229" y="528009"/>
                  <a:pt x="4163229" y="526076"/>
                  <a:pt x="4163229" y="526076"/>
                </a:cubicBezTo>
                <a:cubicBezTo>
                  <a:pt x="4163229" y="520275"/>
                  <a:pt x="4165162" y="518339"/>
                  <a:pt x="4169030" y="516406"/>
                </a:cubicBezTo>
                <a:cubicBezTo>
                  <a:pt x="4176767" y="510603"/>
                  <a:pt x="4184503" y="504802"/>
                  <a:pt x="4192240" y="498998"/>
                </a:cubicBezTo>
                <a:cubicBezTo>
                  <a:pt x="4190307" y="497065"/>
                  <a:pt x="4190307" y="497065"/>
                  <a:pt x="4190307" y="495130"/>
                </a:cubicBezTo>
                <a:cubicBezTo>
                  <a:pt x="4188371" y="495130"/>
                  <a:pt x="4186438" y="495130"/>
                  <a:pt x="4184503" y="495130"/>
                </a:cubicBezTo>
                <a:close/>
                <a:moveTo>
                  <a:pt x="4143888" y="489329"/>
                </a:moveTo>
                <a:cubicBezTo>
                  <a:pt x="4141955" y="489329"/>
                  <a:pt x="4138086" y="491262"/>
                  <a:pt x="4136151" y="491262"/>
                </a:cubicBezTo>
                <a:cubicBezTo>
                  <a:pt x="4136151" y="491262"/>
                  <a:pt x="4136151" y="493197"/>
                  <a:pt x="4136151" y="493197"/>
                </a:cubicBezTo>
                <a:cubicBezTo>
                  <a:pt x="4138086" y="491262"/>
                  <a:pt x="4141955" y="491262"/>
                  <a:pt x="4143888" y="491262"/>
                </a:cubicBezTo>
                <a:cubicBezTo>
                  <a:pt x="4143888" y="489329"/>
                  <a:pt x="4143888" y="489329"/>
                  <a:pt x="4143888" y="489329"/>
                </a:cubicBezTo>
                <a:close/>
                <a:moveTo>
                  <a:pt x="4128415" y="489329"/>
                </a:moveTo>
                <a:cubicBezTo>
                  <a:pt x="4122613" y="493197"/>
                  <a:pt x="4118745" y="495130"/>
                  <a:pt x="4114877" y="497065"/>
                </a:cubicBezTo>
                <a:cubicBezTo>
                  <a:pt x="4114877" y="497065"/>
                  <a:pt x="4116810" y="498998"/>
                  <a:pt x="4116810" y="498998"/>
                </a:cubicBezTo>
                <a:cubicBezTo>
                  <a:pt x="4120678" y="497065"/>
                  <a:pt x="4126479" y="498998"/>
                  <a:pt x="4128415" y="489329"/>
                </a:cubicBezTo>
                <a:close/>
                <a:moveTo>
                  <a:pt x="3488227" y="485460"/>
                </a:moveTo>
                <a:cubicBezTo>
                  <a:pt x="3488227" y="485460"/>
                  <a:pt x="3486294" y="485460"/>
                  <a:pt x="3486294" y="487393"/>
                </a:cubicBezTo>
                <a:cubicBezTo>
                  <a:pt x="3484358" y="489329"/>
                  <a:pt x="3482423" y="489329"/>
                  <a:pt x="3480490" y="491262"/>
                </a:cubicBezTo>
                <a:cubicBezTo>
                  <a:pt x="3480490" y="489329"/>
                  <a:pt x="3482423" y="487393"/>
                  <a:pt x="3482423" y="487393"/>
                </a:cubicBezTo>
                <a:cubicBezTo>
                  <a:pt x="3484358" y="485460"/>
                  <a:pt x="3486294" y="485460"/>
                  <a:pt x="3488227" y="485460"/>
                </a:cubicBezTo>
                <a:close/>
                <a:moveTo>
                  <a:pt x="4136151" y="471920"/>
                </a:moveTo>
                <a:cubicBezTo>
                  <a:pt x="4132283" y="473856"/>
                  <a:pt x="4130347" y="475789"/>
                  <a:pt x="4128415" y="477724"/>
                </a:cubicBezTo>
                <a:cubicBezTo>
                  <a:pt x="4134216" y="481592"/>
                  <a:pt x="4136151" y="477724"/>
                  <a:pt x="4138086" y="473856"/>
                </a:cubicBezTo>
                <a:cubicBezTo>
                  <a:pt x="4138086" y="473856"/>
                  <a:pt x="4136151" y="473856"/>
                  <a:pt x="4136151" y="471920"/>
                </a:cubicBezTo>
                <a:close/>
                <a:moveTo>
                  <a:pt x="4247120" y="469019"/>
                </a:moveTo>
                <a:cubicBezTo>
                  <a:pt x="4245911" y="468536"/>
                  <a:pt x="4245427" y="469020"/>
                  <a:pt x="4244460" y="469987"/>
                </a:cubicBezTo>
                <a:cubicBezTo>
                  <a:pt x="4236723" y="475789"/>
                  <a:pt x="4230922" y="481592"/>
                  <a:pt x="4223186" y="487393"/>
                </a:cubicBezTo>
                <a:cubicBezTo>
                  <a:pt x="4213514" y="495130"/>
                  <a:pt x="4205780" y="504802"/>
                  <a:pt x="4190307" y="504802"/>
                </a:cubicBezTo>
                <a:cubicBezTo>
                  <a:pt x="4188371" y="504802"/>
                  <a:pt x="4186438" y="506735"/>
                  <a:pt x="4186438" y="508670"/>
                </a:cubicBezTo>
                <a:cubicBezTo>
                  <a:pt x="4186438" y="510603"/>
                  <a:pt x="4188371" y="512538"/>
                  <a:pt x="4190307" y="512538"/>
                </a:cubicBezTo>
                <a:cubicBezTo>
                  <a:pt x="4194172" y="512538"/>
                  <a:pt x="4198043" y="512538"/>
                  <a:pt x="4199976" y="510603"/>
                </a:cubicBezTo>
                <a:cubicBezTo>
                  <a:pt x="4211581" y="502866"/>
                  <a:pt x="4221253" y="495130"/>
                  <a:pt x="4232855" y="489329"/>
                </a:cubicBezTo>
                <a:cubicBezTo>
                  <a:pt x="4240592" y="483525"/>
                  <a:pt x="4246395" y="479657"/>
                  <a:pt x="4254132" y="473856"/>
                </a:cubicBezTo>
                <a:cubicBezTo>
                  <a:pt x="4250264" y="470954"/>
                  <a:pt x="4248329" y="469503"/>
                  <a:pt x="4247120" y="469019"/>
                </a:cubicBezTo>
                <a:close/>
                <a:moveTo>
                  <a:pt x="4238659" y="458383"/>
                </a:moveTo>
                <a:cubicBezTo>
                  <a:pt x="4236723" y="458383"/>
                  <a:pt x="4234790" y="458383"/>
                  <a:pt x="4232855" y="460316"/>
                </a:cubicBezTo>
                <a:cubicBezTo>
                  <a:pt x="4223186" y="468052"/>
                  <a:pt x="4211581" y="475789"/>
                  <a:pt x="4201911" y="483525"/>
                </a:cubicBezTo>
                <a:cubicBezTo>
                  <a:pt x="4201911" y="483525"/>
                  <a:pt x="4201911" y="483525"/>
                  <a:pt x="4201911" y="485460"/>
                </a:cubicBezTo>
                <a:cubicBezTo>
                  <a:pt x="4201911" y="485460"/>
                  <a:pt x="4201911" y="489329"/>
                  <a:pt x="4199976" y="495130"/>
                </a:cubicBezTo>
                <a:cubicBezTo>
                  <a:pt x="4205780" y="491262"/>
                  <a:pt x="4209648" y="487393"/>
                  <a:pt x="4215449" y="483525"/>
                </a:cubicBezTo>
                <a:cubicBezTo>
                  <a:pt x="4213514" y="483525"/>
                  <a:pt x="4213514" y="485460"/>
                  <a:pt x="4211581" y="485460"/>
                </a:cubicBezTo>
                <a:cubicBezTo>
                  <a:pt x="4209648" y="483525"/>
                  <a:pt x="4209648" y="483525"/>
                  <a:pt x="4209648" y="481592"/>
                </a:cubicBezTo>
                <a:cubicBezTo>
                  <a:pt x="4213514" y="475789"/>
                  <a:pt x="4217382" y="475789"/>
                  <a:pt x="4223186" y="475789"/>
                </a:cubicBezTo>
                <a:cubicBezTo>
                  <a:pt x="4228989" y="471920"/>
                  <a:pt x="4234790" y="466119"/>
                  <a:pt x="4240592" y="462251"/>
                </a:cubicBezTo>
                <a:cubicBezTo>
                  <a:pt x="4240592" y="460316"/>
                  <a:pt x="4238659" y="460316"/>
                  <a:pt x="4238659" y="458383"/>
                </a:cubicBezTo>
                <a:close/>
                <a:moveTo>
                  <a:pt x="2836434" y="448711"/>
                </a:moveTo>
                <a:cubicBezTo>
                  <a:pt x="2834501" y="448711"/>
                  <a:pt x="2832566" y="448711"/>
                  <a:pt x="2832566" y="450646"/>
                </a:cubicBezTo>
                <a:cubicBezTo>
                  <a:pt x="2832566" y="452579"/>
                  <a:pt x="2832566" y="454514"/>
                  <a:pt x="2828697" y="454514"/>
                </a:cubicBezTo>
                <a:cubicBezTo>
                  <a:pt x="2822896" y="452579"/>
                  <a:pt x="2820961" y="456450"/>
                  <a:pt x="2817093" y="458383"/>
                </a:cubicBezTo>
                <a:cubicBezTo>
                  <a:pt x="2815160" y="460316"/>
                  <a:pt x="2815160" y="464184"/>
                  <a:pt x="2819028" y="464184"/>
                </a:cubicBezTo>
                <a:cubicBezTo>
                  <a:pt x="2819028" y="466119"/>
                  <a:pt x="2820961" y="466119"/>
                  <a:pt x="2822896" y="466119"/>
                </a:cubicBezTo>
                <a:cubicBezTo>
                  <a:pt x="2824829" y="464184"/>
                  <a:pt x="2826764" y="464184"/>
                  <a:pt x="2828697" y="462251"/>
                </a:cubicBezTo>
                <a:cubicBezTo>
                  <a:pt x="2830630" y="460316"/>
                  <a:pt x="2834501" y="458383"/>
                  <a:pt x="2836434" y="456450"/>
                </a:cubicBezTo>
                <a:cubicBezTo>
                  <a:pt x="2836434" y="456450"/>
                  <a:pt x="2838369" y="454514"/>
                  <a:pt x="2838369" y="454514"/>
                </a:cubicBezTo>
                <a:cubicBezTo>
                  <a:pt x="2840302" y="452579"/>
                  <a:pt x="2840302" y="452579"/>
                  <a:pt x="2838369" y="450646"/>
                </a:cubicBezTo>
                <a:cubicBezTo>
                  <a:pt x="2836434" y="450646"/>
                  <a:pt x="2836434" y="448711"/>
                  <a:pt x="2836434" y="448711"/>
                </a:cubicBezTo>
                <a:close/>
                <a:moveTo>
                  <a:pt x="4221253" y="435173"/>
                </a:moveTo>
                <a:cubicBezTo>
                  <a:pt x="4215449" y="435173"/>
                  <a:pt x="4211581" y="433240"/>
                  <a:pt x="4211581" y="442910"/>
                </a:cubicBezTo>
                <a:cubicBezTo>
                  <a:pt x="4215449" y="439041"/>
                  <a:pt x="4217382" y="437108"/>
                  <a:pt x="4221253" y="435173"/>
                </a:cubicBezTo>
                <a:close/>
                <a:moveTo>
                  <a:pt x="4316024" y="415832"/>
                </a:moveTo>
                <a:cubicBezTo>
                  <a:pt x="4308287" y="413899"/>
                  <a:pt x="4302484" y="419700"/>
                  <a:pt x="4296682" y="423568"/>
                </a:cubicBezTo>
                <a:cubicBezTo>
                  <a:pt x="4296682" y="423568"/>
                  <a:pt x="4298615" y="425504"/>
                  <a:pt x="4298615" y="425504"/>
                </a:cubicBezTo>
                <a:cubicBezTo>
                  <a:pt x="4304417" y="421635"/>
                  <a:pt x="4310220" y="417767"/>
                  <a:pt x="4316024" y="415832"/>
                </a:cubicBezTo>
                <a:close/>
                <a:moveTo>
                  <a:pt x="4263560" y="406645"/>
                </a:moveTo>
                <a:cubicBezTo>
                  <a:pt x="4261867" y="406645"/>
                  <a:pt x="4259933" y="409063"/>
                  <a:pt x="4256065" y="413899"/>
                </a:cubicBezTo>
                <a:cubicBezTo>
                  <a:pt x="4259933" y="413899"/>
                  <a:pt x="4263801" y="413899"/>
                  <a:pt x="4269605" y="413899"/>
                </a:cubicBezTo>
                <a:cubicBezTo>
                  <a:pt x="4266703" y="409063"/>
                  <a:pt x="4265252" y="406645"/>
                  <a:pt x="4263560" y="406645"/>
                </a:cubicBezTo>
                <a:close/>
                <a:moveTo>
                  <a:pt x="4319890" y="406162"/>
                </a:moveTo>
                <a:cubicBezTo>
                  <a:pt x="4319890" y="408095"/>
                  <a:pt x="4319890" y="410031"/>
                  <a:pt x="4319890" y="411964"/>
                </a:cubicBezTo>
                <a:cubicBezTo>
                  <a:pt x="4321825" y="413899"/>
                  <a:pt x="4323758" y="413899"/>
                  <a:pt x="4327626" y="413899"/>
                </a:cubicBezTo>
                <a:cubicBezTo>
                  <a:pt x="4327626" y="410031"/>
                  <a:pt x="4329561" y="408095"/>
                  <a:pt x="4325693" y="406162"/>
                </a:cubicBezTo>
                <a:cubicBezTo>
                  <a:pt x="4323758" y="406162"/>
                  <a:pt x="4321825" y="406162"/>
                  <a:pt x="4319890" y="406162"/>
                </a:cubicBezTo>
                <a:close/>
                <a:moveTo>
                  <a:pt x="4304417" y="381018"/>
                </a:moveTo>
                <a:cubicBezTo>
                  <a:pt x="4302484" y="382953"/>
                  <a:pt x="4300548" y="382953"/>
                  <a:pt x="4300548" y="382953"/>
                </a:cubicBezTo>
                <a:cubicBezTo>
                  <a:pt x="4298615" y="384886"/>
                  <a:pt x="4300548" y="386821"/>
                  <a:pt x="4298615" y="388754"/>
                </a:cubicBezTo>
                <a:cubicBezTo>
                  <a:pt x="4302484" y="386821"/>
                  <a:pt x="4304417" y="386821"/>
                  <a:pt x="4304417" y="384886"/>
                </a:cubicBezTo>
                <a:cubicBezTo>
                  <a:pt x="4306352" y="384886"/>
                  <a:pt x="4304417" y="382953"/>
                  <a:pt x="4304417" y="381018"/>
                </a:cubicBezTo>
                <a:close/>
                <a:moveTo>
                  <a:pt x="4316024" y="373281"/>
                </a:moveTo>
                <a:cubicBezTo>
                  <a:pt x="4316024" y="373281"/>
                  <a:pt x="4314088" y="375216"/>
                  <a:pt x="4314088" y="379085"/>
                </a:cubicBezTo>
                <a:cubicBezTo>
                  <a:pt x="4316024" y="377149"/>
                  <a:pt x="4317957" y="375216"/>
                  <a:pt x="4317957" y="375216"/>
                </a:cubicBezTo>
                <a:cubicBezTo>
                  <a:pt x="4317957" y="375216"/>
                  <a:pt x="4316024" y="373281"/>
                  <a:pt x="4316024" y="373281"/>
                </a:cubicBezTo>
                <a:close/>
                <a:moveTo>
                  <a:pt x="4366309" y="350074"/>
                </a:moveTo>
                <a:cubicBezTo>
                  <a:pt x="4343099" y="353940"/>
                  <a:pt x="4337298" y="359743"/>
                  <a:pt x="4337298" y="369415"/>
                </a:cubicBezTo>
                <a:cubicBezTo>
                  <a:pt x="4346967" y="363612"/>
                  <a:pt x="4356639" y="355875"/>
                  <a:pt x="4366309" y="350074"/>
                </a:cubicBezTo>
                <a:close/>
                <a:moveTo>
                  <a:pt x="4780207" y="321061"/>
                </a:moveTo>
                <a:cubicBezTo>
                  <a:pt x="4780207" y="322996"/>
                  <a:pt x="4778272" y="322996"/>
                  <a:pt x="4778272" y="322996"/>
                </a:cubicBezTo>
                <a:cubicBezTo>
                  <a:pt x="4780207" y="324929"/>
                  <a:pt x="4780207" y="326864"/>
                  <a:pt x="4782140" y="328797"/>
                </a:cubicBezTo>
                <a:cubicBezTo>
                  <a:pt x="4782140" y="328797"/>
                  <a:pt x="4782140" y="328797"/>
                  <a:pt x="4784075" y="326864"/>
                </a:cubicBezTo>
                <a:cubicBezTo>
                  <a:pt x="4784075" y="324929"/>
                  <a:pt x="4782140" y="322996"/>
                  <a:pt x="4780207" y="321061"/>
                </a:cubicBezTo>
                <a:close/>
                <a:moveTo>
                  <a:pt x="4795680" y="317192"/>
                </a:moveTo>
                <a:cubicBezTo>
                  <a:pt x="4795680" y="317192"/>
                  <a:pt x="4795680" y="319128"/>
                  <a:pt x="4795680" y="319128"/>
                </a:cubicBezTo>
                <a:cubicBezTo>
                  <a:pt x="4795680" y="321061"/>
                  <a:pt x="4791812" y="322996"/>
                  <a:pt x="4787944" y="324929"/>
                </a:cubicBezTo>
                <a:lnTo>
                  <a:pt x="4787138" y="323317"/>
                </a:lnTo>
                <a:lnTo>
                  <a:pt x="4787420" y="320497"/>
                </a:lnTo>
                <a:close/>
                <a:moveTo>
                  <a:pt x="4420464" y="313324"/>
                </a:moveTo>
                <a:cubicBezTo>
                  <a:pt x="4406924" y="317192"/>
                  <a:pt x="4397255" y="322996"/>
                  <a:pt x="4385650" y="326864"/>
                </a:cubicBezTo>
                <a:cubicBezTo>
                  <a:pt x="4381782" y="330733"/>
                  <a:pt x="4375980" y="334601"/>
                  <a:pt x="4370177" y="340402"/>
                </a:cubicBezTo>
                <a:cubicBezTo>
                  <a:pt x="4374045" y="342335"/>
                  <a:pt x="4375980" y="342335"/>
                  <a:pt x="4375980" y="342335"/>
                </a:cubicBezTo>
                <a:cubicBezTo>
                  <a:pt x="4387583" y="336534"/>
                  <a:pt x="4399190" y="330733"/>
                  <a:pt x="4408859" y="324929"/>
                </a:cubicBezTo>
                <a:cubicBezTo>
                  <a:pt x="4412728" y="322996"/>
                  <a:pt x="4416596" y="319128"/>
                  <a:pt x="4420464" y="313324"/>
                </a:cubicBezTo>
                <a:close/>
                <a:moveTo>
                  <a:pt x="4453343" y="299786"/>
                </a:moveTo>
                <a:cubicBezTo>
                  <a:pt x="4441741" y="299786"/>
                  <a:pt x="4435937" y="305588"/>
                  <a:pt x="4428201" y="313324"/>
                </a:cubicBezTo>
                <a:cubicBezTo>
                  <a:pt x="4428201" y="313324"/>
                  <a:pt x="4430134" y="315260"/>
                  <a:pt x="4430134" y="315260"/>
                </a:cubicBezTo>
                <a:cubicBezTo>
                  <a:pt x="4437870" y="309456"/>
                  <a:pt x="4445607" y="303655"/>
                  <a:pt x="4453343" y="299786"/>
                </a:cubicBezTo>
                <a:close/>
                <a:moveTo>
                  <a:pt x="4787944" y="295918"/>
                </a:moveTo>
                <a:cubicBezTo>
                  <a:pt x="4787944" y="301719"/>
                  <a:pt x="4787944" y="305588"/>
                  <a:pt x="4787944" y="311391"/>
                </a:cubicBezTo>
                <a:cubicBezTo>
                  <a:pt x="4795680" y="303655"/>
                  <a:pt x="4795680" y="303655"/>
                  <a:pt x="4787944" y="295918"/>
                </a:cubicBezTo>
                <a:close/>
                <a:moveTo>
                  <a:pt x="4517168" y="282378"/>
                </a:moveTo>
                <a:cubicBezTo>
                  <a:pt x="4515235" y="282378"/>
                  <a:pt x="4515235" y="284313"/>
                  <a:pt x="4515235" y="286246"/>
                </a:cubicBezTo>
                <a:cubicBezTo>
                  <a:pt x="4517168" y="288182"/>
                  <a:pt x="4519103" y="288182"/>
                  <a:pt x="4521036" y="288182"/>
                </a:cubicBezTo>
                <a:cubicBezTo>
                  <a:pt x="4521036" y="286246"/>
                  <a:pt x="4521036" y="284313"/>
                  <a:pt x="4521036" y="282378"/>
                </a:cubicBezTo>
                <a:cubicBezTo>
                  <a:pt x="4521036" y="282378"/>
                  <a:pt x="4517168" y="282378"/>
                  <a:pt x="4517168" y="282378"/>
                </a:cubicBezTo>
                <a:close/>
                <a:moveTo>
                  <a:pt x="4764734" y="276577"/>
                </a:moveTo>
                <a:lnTo>
                  <a:pt x="4765701" y="277543"/>
                </a:lnTo>
                <a:lnTo>
                  <a:pt x="4764734" y="278510"/>
                </a:lnTo>
                <a:lnTo>
                  <a:pt x="4764033" y="277208"/>
                </a:lnTo>
                <a:close/>
                <a:moveTo>
                  <a:pt x="4567455" y="268840"/>
                </a:moveTo>
                <a:cubicBezTo>
                  <a:pt x="4559719" y="272709"/>
                  <a:pt x="4555851" y="274642"/>
                  <a:pt x="4548114" y="278510"/>
                </a:cubicBezTo>
                <a:cubicBezTo>
                  <a:pt x="4559719" y="282378"/>
                  <a:pt x="4559719" y="282378"/>
                  <a:pt x="4567455" y="268840"/>
                </a:cubicBezTo>
                <a:close/>
                <a:moveTo>
                  <a:pt x="4572774" y="254576"/>
                </a:moveTo>
                <a:cubicBezTo>
                  <a:pt x="4571324" y="255301"/>
                  <a:pt x="4571324" y="257236"/>
                  <a:pt x="4571324" y="261104"/>
                </a:cubicBezTo>
                <a:cubicBezTo>
                  <a:pt x="4575192" y="259171"/>
                  <a:pt x="4577127" y="257236"/>
                  <a:pt x="4582928" y="255300"/>
                </a:cubicBezTo>
                <a:cubicBezTo>
                  <a:pt x="4577126" y="254334"/>
                  <a:pt x="4574225" y="253851"/>
                  <a:pt x="4572774" y="254576"/>
                </a:cubicBezTo>
                <a:close/>
                <a:moveTo>
                  <a:pt x="4727987" y="253367"/>
                </a:moveTo>
                <a:cubicBezTo>
                  <a:pt x="4718315" y="253367"/>
                  <a:pt x="4714447" y="259171"/>
                  <a:pt x="4710579" y="266905"/>
                </a:cubicBezTo>
                <a:cubicBezTo>
                  <a:pt x="4726052" y="264972"/>
                  <a:pt x="4726052" y="264972"/>
                  <a:pt x="4727987" y="253367"/>
                </a:cubicBezTo>
                <a:close/>
                <a:moveTo>
                  <a:pt x="4596469" y="243698"/>
                </a:moveTo>
                <a:cubicBezTo>
                  <a:pt x="4592600" y="245631"/>
                  <a:pt x="4586797" y="247566"/>
                  <a:pt x="4582928" y="249499"/>
                </a:cubicBezTo>
                <a:cubicBezTo>
                  <a:pt x="4590665" y="253367"/>
                  <a:pt x="4596469" y="255300"/>
                  <a:pt x="4596469" y="243698"/>
                </a:cubicBezTo>
                <a:close/>
                <a:moveTo>
                  <a:pt x="4563587" y="230158"/>
                </a:moveTo>
                <a:lnTo>
                  <a:pt x="4557367" y="234824"/>
                </a:lnTo>
                <a:lnTo>
                  <a:pt x="4555372" y="235482"/>
                </a:lnTo>
                <a:lnTo>
                  <a:pt x="4555078" y="235188"/>
                </a:lnTo>
                <a:lnTo>
                  <a:pt x="4561177" y="231122"/>
                </a:lnTo>
                <a:close/>
                <a:moveTo>
                  <a:pt x="4712514" y="228225"/>
                </a:moveTo>
                <a:cubicBezTo>
                  <a:pt x="4706710" y="228225"/>
                  <a:pt x="4704777" y="232093"/>
                  <a:pt x="4704777" y="237894"/>
                </a:cubicBezTo>
                <a:cubicBezTo>
                  <a:pt x="4712514" y="235961"/>
                  <a:pt x="4712514" y="235961"/>
                  <a:pt x="4712514" y="228225"/>
                </a:cubicBezTo>
                <a:close/>
                <a:moveTo>
                  <a:pt x="3863443" y="0"/>
                </a:moveTo>
                <a:cubicBezTo>
                  <a:pt x="3865376" y="0"/>
                  <a:pt x="3869244" y="1935"/>
                  <a:pt x="3869244" y="3868"/>
                </a:cubicBezTo>
                <a:cubicBezTo>
                  <a:pt x="3869244" y="5801"/>
                  <a:pt x="3867311" y="5801"/>
                  <a:pt x="3867311" y="7737"/>
                </a:cubicBezTo>
                <a:cubicBezTo>
                  <a:pt x="3867311" y="9670"/>
                  <a:pt x="3865376" y="9670"/>
                  <a:pt x="3865376" y="9670"/>
                </a:cubicBezTo>
                <a:cubicBezTo>
                  <a:pt x="3859574" y="11605"/>
                  <a:pt x="3859574" y="17406"/>
                  <a:pt x="3859574" y="21274"/>
                </a:cubicBezTo>
                <a:cubicBezTo>
                  <a:pt x="3859574" y="27078"/>
                  <a:pt x="3859574" y="29011"/>
                  <a:pt x="3853771" y="32879"/>
                </a:cubicBezTo>
                <a:cubicBezTo>
                  <a:pt x="3846034" y="38683"/>
                  <a:pt x="3836365" y="44484"/>
                  <a:pt x="3826693" y="50288"/>
                </a:cubicBezTo>
                <a:cubicBezTo>
                  <a:pt x="3817024" y="58024"/>
                  <a:pt x="3805419" y="63825"/>
                  <a:pt x="3795749" y="71562"/>
                </a:cubicBezTo>
                <a:cubicBezTo>
                  <a:pt x="3793816" y="73495"/>
                  <a:pt x="3791881" y="75430"/>
                  <a:pt x="3791881" y="79298"/>
                </a:cubicBezTo>
                <a:cubicBezTo>
                  <a:pt x="3789946" y="83166"/>
                  <a:pt x="3791881" y="85099"/>
                  <a:pt x="3795749" y="87035"/>
                </a:cubicBezTo>
                <a:cubicBezTo>
                  <a:pt x="3797682" y="87035"/>
                  <a:pt x="3797682" y="87035"/>
                  <a:pt x="3799618" y="88970"/>
                </a:cubicBezTo>
                <a:cubicBezTo>
                  <a:pt x="3801551" y="88970"/>
                  <a:pt x="3801551" y="90903"/>
                  <a:pt x="3801551" y="92836"/>
                </a:cubicBezTo>
                <a:cubicBezTo>
                  <a:pt x="3801551" y="92836"/>
                  <a:pt x="3799618" y="94771"/>
                  <a:pt x="3799618" y="94771"/>
                </a:cubicBezTo>
                <a:cubicBezTo>
                  <a:pt x="3795749" y="94771"/>
                  <a:pt x="3793816" y="94771"/>
                  <a:pt x="3789946" y="96704"/>
                </a:cubicBezTo>
                <a:cubicBezTo>
                  <a:pt x="3784145" y="98639"/>
                  <a:pt x="3780276" y="100572"/>
                  <a:pt x="3774475" y="104441"/>
                </a:cubicBezTo>
                <a:cubicBezTo>
                  <a:pt x="3770607" y="106376"/>
                  <a:pt x="3766736" y="104441"/>
                  <a:pt x="3764803" y="106376"/>
                </a:cubicBezTo>
                <a:cubicBezTo>
                  <a:pt x="3762868" y="108309"/>
                  <a:pt x="3762868" y="110244"/>
                  <a:pt x="3760935" y="112177"/>
                </a:cubicBezTo>
                <a:cubicBezTo>
                  <a:pt x="3759000" y="116045"/>
                  <a:pt x="3755134" y="117981"/>
                  <a:pt x="3751266" y="119914"/>
                </a:cubicBezTo>
                <a:cubicBezTo>
                  <a:pt x="3747397" y="121849"/>
                  <a:pt x="3745462" y="123782"/>
                  <a:pt x="3745462" y="125717"/>
                </a:cubicBezTo>
                <a:cubicBezTo>
                  <a:pt x="3745462" y="129586"/>
                  <a:pt x="3743527" y="131519"/>
                  <a:pt x="3739658" y="133454"/>
                </a:cubicBezTo>
                <a:cubicBezTo>
                  <a:pt x="3733857" y="135387"/>
                  <a:pt x="3729989" y="139255"/>
                  <a:pt x="3726121" y="141190"/>
                </a:cubicBezTo>
                <a:cubicBezTo>
                  <a:pt x="3722253" y="145059"/>
                  <a:pt x="3722253" y="148927"/>
                  <a:pt x="3722253" y="154728"/>
                </a:cubicBezTo>
                <a:cubicBezTo>
                  <a:pt x="3722253" y="156663"/>
                  <a:pt x="3726121" y="158596"/>
                  <a:pt x="3728056" y="158596"/>
                </a:cubicBezTo>
                <a:cubicBezTo>
                  <a:pt x="3728056" y="160532"/>
                  <a:pt x="3729989" y="160532"/>
                  <a:pt x="3729989" y="160532"/>
                </a:cubicBezTo>
                <a:cubicBezTo>
                  <a:pt x="3729989" y="162465"/>
                  <a:pt x="3729989" y="164400"/>
                  <a:pt x="3728056" y="164400"/>
                </a:cubicBezTo>
                <a:cubicBezTo>
                  <a:pt x="3728056" y="166333"/>
                  <a:pt x="3726121" y="166333"/>
                  <a:pt x="3724188" y="166333"/>
                </a:cubicBezTo>
                <a:cubicBezTo>
                  <a:pt x="3722253" y="166333"/>
                  <a:pt x="3720320" y="166333"/>
                  <a:pt x="3720320" y="168266"/>
                </a:cubicBezTo>
                <a:cubicBezTo>
                  <a:pt x="3720320" y="172136"/>
                  <a:pt x="3718384" y="174069"/>
                  <a:pt x="3714516" y="176005"/>
                </a:cubicBezTo>
                <a:cubicBezTo>
                  <a:pt x="3708715" y="177938"/>
                  <a:pt x="3702911" y="181806"/>
                  <a:pt x="3697110" y="185674"/>
                </a:cubicBezTo>
                <a:cubicBezTo>
                  <a:pt x="3693242" y="187607"/>
                  <a:pt x="3689374" y="191475"/>
                  <a:pt x="3687441" y="195343"/>
                </a:cubicBezTo>
                <a:cubicBezTo>
                  <a:pt x="3685505" y="199212"/>
                  <a:pt x="3683572" y="199212"/>
                  <a:pt x="3679702" y="201147"/>
                </a:cubicBezTo>
                <a:cubicBezTo>
                  <a:pt x="3673901" y="199212"/>
                  <a:pt x="3668099" y="203080"/>
                  <a:pt x="3662296" y="206948"/>
                </a:cubicBezTo>
                <a:cubicBezTo>
                  <a:pt x="3658427" y="210817"/>
                  <a:pt x="3652624" y="212752"/>
                  <a:pt x="3648758" y="214685"/>
                </a:cubicBezTo>
                <a:cubicBezTo>
                  <a:pt x="3641022" y="218553"/>
                  <a:pt x="3637153" y="224357"/>
                  <a:pt x="3635218" y="232093"/>
                </a:cubicBezTo>
                <a:cubicBezTo>
                  <a:pt x="3635218" y="235961"/>
                  <a:pt x="3633283" y="235961"/>
                  <a:pt x="3631350" y="237894"/>
                </a:cubicBezTo>
                <a:cubicBezTo>
                  <a:pt x="3623613" y="243698"/>
                  <a:pt x="3615877" y="247566"/>
                  <a:pt x="3608140" y="253367"/>
                </a:cubicBezTo>
                <a:cubicBezTo>
                  <a:pt x="3606207" y="253367"/>
                  <a:pt x="3606207" y="257236"/>
                  <a:pt x="3606207" y="259171"/>
                </a:cubicBezTo>
                <a:cubicBezTo>
                  <a:pt x="3606207" y="259171"/>
                  <a:pt x="3606207" y="263039"/>
                  <a:pt x="3606207" y="263039"/>
                </a:cubicBezTo>
                <a:cubicBezTo>
                  <a:pt x="3602339" y="266905"/>
                  <a:pt x="3598471" y="270776"/>
                  <a:pt x="3594602" y="276577"/>
                </a:cubicBezTo>
                <a:cubicBezTo>
                  <a:pt x="3592667" y="278510"/>
                  <a:pt x="3590734" y="280445"/>
                  <a:pt x="3586866" y="282378"/>
                </a:cubicBezTo>
                <a:cubicBezTo>
                  <a:pt x="3584931" y="284313"/>
                  <a:pt x="3582998" y="286246"/>
                  <a:pt x="3582998" y="288182"/>
                </a:cubicBezTo>
                <a:cubicBezTo>
                  <a:pt x="3582998" y="295918"/>
                  <a:pt x="3584931" y="305588"/>
                  <a:pt x="3586866" y="311391"/>
                </a:cubicBezTo>
                <a:cubicBezTo>
                  <a:pt x="3588799" y="315260"/>
                  <a:pt x="3592667" y="319128"/>
                  <a:pt x="3594602" y="322996"/>
                </a:cubicBezTo>
                <a:cubicBezTo>
                  <a:pt x="3594602" y="322996"/>
                  <a:pt x="3594602" y="326864"/>
                  <a:pt x="3594602" y="326864"/>
                </a:cubicBezTo>
                <a:cubicBezTo>
                  <a:pt x="3586866" y="332665"/>
                  <a:pt x="3579129" y="338469"/>
                  <a:pt x="3569458" y="342335"/>
                </a:cubicBezTo>
                <a:cubicBezTo>
                  <a:pt x="3567525" y="342335"/>
                  <a:pt x="3565589" y="342335"/>
                  <a:pt x="3563656" y="342335"/>
                </a:cubicBezTo>
                <a:cubicBezTo>
                  <a:pt x="3561723" y="342335"/>
                  <a:pt x="3559788" y="344270"/>
                  <a:pt x="3559788" y="350074"/>
                </a:cubicBezTo>
                <a:cubicBezTo>
                  <a:pt x="3557855" y="350074"/>
                  <a:pt x="3559788" y="352007"/>
                  <a:pt x="3561723" y="352007"/>
                </a:cubicBezTo>
                <a:cubicBezTo>
                  <a:pt x="3561723" y="352007"/>
                  <a:pt x="3563656" y="352007"/>
                  <a:pt x="3563656" y="352007"/>
                </a:cubicBezTo>
                <a:cubicBezTo>
                  <a:pt x="3563656" y="355875"/>
                  <a:pt x="3563656" y="359743"/>
                  <a:pt x="3561723" y="361676"/>
                </a:cubicBezTo>
                <a:cubicBezTo>
                  <a:pt x="3561723" y="363612"/>
                  <a:pt x="3557855" y="363612"/>
                  <a:pt x="3555920" y="363612"/>
                </a:cubicBezTo>
                <a:cubicBezTo>
                  <a:pt x="3553987" y="363612"/>
                  <a:pt x="3552052" y="363612"/>
                  <a:pt x="3552052" y="365544"/>
                </a:cubicBezTo>
                <a:cubicBezTo>
                  <a:pt x="3552052" y="367480"/>
                  <a:pt x="3550119" y="369415"/>
                  <a:pt x="3548183" y="371348"/>
                </a:cubicBezTo>
                <a:cubicBezTo>
                  <a:pt x="3546248" y="375216"/>
                  <a:pt x="3542382" y="377149"/>
                  <a:pt x="3538514" y="379085"/>
                </a:cubicBezTo>
                <a:cubicBezTo>
                  <a:pt x="3534646" y="381018"/>
                  <a:pt x="3532710" y="382953"/>
                  <a:pt x="3532710" y="386821"/>
                </a:cubicBezTo>
                <a:cubicBezTo>
                  <a:pt x="3532710" y="392622"/>
                  <a:pt x="3530777" y="396491"/>
                  <a:pt x="3524974" y="398426"/>
                </a:cubicBezTo>
                <a:cubicBezTo>
                  <a:pt x="3519173" y="402294"/>
                  <a:pt x="3513372" y="406162"/>
                  <a:pt x="3511436" y="411964"/>
                </a:cubicBezTo>
                <a:cubicBezTo>
                  <a:pt x="3509501" y="413899"/>
                  <a:pt x="3505633" y="415832"/>
                  <a:pt x="3503700" y="417767"/>
                </a:cubicBezTo>
                <a:cubicBezTo>
                  <a:pt x="3501764" y="421635"/>
                  <a:pt x="3497896" y="423568"/>
                  <a:pt x="3494030" y="425504"/>
                </a:cubicBezTo>
                <a:cubicBezTo>
                  <a:pt x="3490162" y="427437"/>
                  <a:pt x="3490162" y="433240"/>
                  <a:pt x="3486294" y="435173"/>
                </a:cubicBezTo>
                <a:cubicBezTo>
                  <a:pt x="3484358" y="437108"/>
                  <a:pt x="3484358" y="439041"/>
                  <a:pt x="3488227" y="439041"/>
                </a:cubicBezTo>
                <a:cubicBezTo>
                  <a:pt x="3492095" y="439041"/>
                  <a:pt x="3494030" y="439041"/>
                  <a:pt x="3495963" y="435173"/>
                </a:cubicBezTo>
                <a:cubicBezTo>
                  <a:pt x="3497896" y="433240"/>
                  <a:pt x="3497896" y="431305"/>
                  <a:pt x="3499831" y="431305"/>
                </a:cubicBezTo>
                <a:cubicBezTo>
                  <a:pt x="3501764" y="429370"/>
                  <a:pt x="3505633" y="431305"/>
                  <a:pt x="3505633" y="433240"/>
                </a:cubicBezTo>
                <a:cubicBezTo>
                  <a:pt x="3505633" y="437108"/>
                  <a:pt x="3505633" y="439041"/>
                  <a:pt x="3505633" y="440974"/>
                </a:cubicBezTo>
                <a:cubicBezTo>
                  <a:pt x="3505633" y="442910"/>
                  <a:pt x="3505633" y="442910"/>
                  <a:pt x="3503700" y="444845"/>
                </a:cubicBezTo>
                <a:cubicBezTo>
                  <a:pt x="3499831" y="450646"/>
                  <a:pt x="3495963" y="456450"/>
                  <a:pt x="3492095" y="462251"/>
                </a:cubicBezTo>
                <a:cubicBezTo>
                  <a:pt x="3486294" y="468052"/>
                  <a:pt x="3478555" y="471920"/>
                  <a:pt x="3470821" y="475789"/>
                </a:cubicBezTo>
                <a:cubicBezTo>
                  <a:pt x="3470821" y="475789"/>
                  <a:pt x="3470821" y="475789"/>
                  <a:pt x="3472754" y="475789"/>
                </a:cubicBezTo>
                <a:cubicBezTo>
                  <a:pt x="3476622" y="475789"/>
                  <a:pt x="3480490" y="475789"/>
                  <a:pt x="3484358" y="473856"/>
                </a:cubicBezTo>
                <a:cubicBezTo>
                  <a:pt x="3497896" y="469987"/>
                  <a:pt x="3511436" y="466119"/>
                  <a:pt x="3524974" y="460316"/>
                </a:cubicBezTo>
                <a:cubicBezTo>
                  <a:pt x="3524974" y="462251"/>
                  <a:pt x="3524974" y="464184"/>
                  <a:pt x="3524974" y="466119"/>
                </a:cubicBezTo>
                <a:cubicBezTo>
                  <a:pt x="3517237" y="469987"/>
                  <a:pt x="3511436" y="475789"/>
                  <a:pt x="3501764" y="473856"/>
                </a:cubicBezTo>
                <a:cubicBezTo>
                  <a:pt x="3499831" y="471920"/>
                  <a:pt x="3495963" y="473856"/>
                  <a:pt x="3494030" y="475789"/>
                </a:cubicBezTo>
                <a:cubicBezTo>
                  <a:pt x="3488227" y="477724"/>
                  <a:pt x="3486294" y="481592"/>
                  <a:pt x="3480490" y="479657"/>
                </a:cubicBezTo>
                <a:cubicBezTo>
                  <a:pt x="3478555" y="477724"/>
                  <a:pt x="3476622" y="479657"/>
                  <a:pt x="3474689" y="481592"/>
                </a:cubicBezTo>
                <a:cubicBezTo>
                  <a:pt x="3466952" y="485460"/>
                  <a:pt x="3459214" y="491262"/>
                  <a:pt x="3449544" y="493197"/>
                </a:cubicBezTo>
                <a:cubicBezTo>
                  <a:pt x="3449544" y="493197"/>
                  <a:pt x="3447611" y="493197"/>
                  <a:pt x="3447611" y="493197"/>
                </a:cubicBezTo>
                <a:cubicBezTo>
                  <a:pt x="3445676" y="495130"/>
                  <a:pt x="3445676" y="497065"/>
                  <a:pt x="3443743" y="498998"/>
                </a:cubicBezTo>
                <a:cubicBezTo>
                  <a:pt x="3441808" y="500933"/>
                  <a:pt x="3439875" y="500933"/>
                  <a:pt x="3437939" y="502866"/>
                </a:cubicBezTo>
                <a:cubicBezTo>
                  <a:pt x="3437939" y="502866"/>
                  <a:pt x="3437939" y="504802"/>
                  <a:pt x="3437939" y="504802"/>
                </a:cubicBezTo>
                <a:cubicBezTo>
                  <a:pt x="3439875" y="506735"/>
                  <a:pt x="3441808" y="506735"/>
                  <a:pt x="3443743" y="508670"/>
                </a:cubicBezTo>
                <a:cubicBezTo>
                  <a:pt x="3441808" y="512538"/>
                  <a:pt x="3437939" y="514471"/>
                  <a:pt x="3434071" y="516406"/>
                </a:cubicBezTo>
                <a:cubicBezTo>
                  <a:pt x="3453412" y="510603"/>
                  <a:pt x="3499831" y="498998"/>
                  <a:pt x="3497896" y="502866"/>
                </a:cubicBezTo>
                <a:cubicBezTo>
                  <a:pt x="3495963" y="508670"/>
                  <a:pt x="3490162" y="510603"/>
                  <a:pt x="3488227" y="514471"/>
                </a:cubicBezTo>
                <a:cubicBezTo>
                  <a:pt x="3492095" y="512538"/>
                  <a:pt x="3497896" y="510603"/>
                  <a:pt x="3501764" y="508670"/>
                </a:cubicBezTo>
                <a:cubicBezTo>
                  <a:pt x="3524974" y="500933"/>
                  <a:pt x="3546248" y="493197"/>
                  <a:pt x="3569458" y="487393"/>
                </a:cubicBezTo>
                <a:cubicBezTo>
                  <a:pt x="3567525" y="491262"/>
                  <a:pt x="3565589" y="493197"/>
                  <a:pt x="3563656" y="495130"/>
                </a:cubicBezTo>
                <a:cubicBezTo>
                  <a:pt x="3565589" y="495130"/>
                  <a:pt x="3567525" y="497065"/>
                  <a:pt x="3571393" y="498998"/>
                </a:cubicBezTo>
                <a:cubicBezTo>
                  <a:pt x="3559788" y="502866"/>
                  <a:pt x="3550119" y="506735"/>
                  <a:pt x="3538514" y="510603"/>
                </a:cubicBezTo>
                <a:cubicBezTo>
                  <a:pt x="3536579" y="510603"/>
                  <a:pt x="3536579" y="510603"/>
                  <a:pt x="3534646" y="510603"/>
                </a:cubicBezTo>
                <a:cubicBezTo>
                  <a:pt x="3526909" y="510603"/>
                  <a:pt x="3519173" y="510603"/>
                  <a:pt x="3515304" y="518339"/>
                </a:cubicBezTo>
                <a:cubicBezTo>
                  <a:pt x="3513372" y="522208"/>
                  <a:pt x="3509501" y="526076"/>
                  <a:pt x="3503700" y="524143"/>
                </a:cubicBezTo>
                <a:cubicBezTo>
                  <a:pt x="3505633" y="522208"/>
                  <a:pt x="3505633" y="520275"/>
                  <a:pt x="3509501" y="516406"/>
                </a:cubicBezTo>
                <a:cubicBezTo>
                  <a:pt x="3499831" y="520275"/>
                  <a:pt x="3494030" y="520275"/>
                  <a:pt x="3488227" y="528009"/>
                </a:cubicBezTo>
                <a:cubicBezTo>
                  <a:pt x="3486294" y="531879"/>
                  <a:pt x="3480490" y="533812"/>
                  <a:pt x="3476622" y="535745"/>
                </a:cubicBezTo>
                <a:cubicBezTo>
                  <a:pt x="3476622" y="537681"/>
                  <a:pt x="3474689" y="537681"/>
                  <a:pt x="3472754" y="539614"/>
                </a:cubicBezTo>
                <a:cubicBezTo>
                  <a:pt x="3470821" y="539614"/>
                  <a:pt x="3470821" y="541549"/>
                  <a:pt x="3470821" y="541549"/>
                </a:cubicBezTo>
                <a:cubicBezTo>
                  <a:pt x="3470821" y="543484"/>
                  <a:pt x="3470821" y="545417"/>
                  <a:pt x="3472754" y="547350"/>
                </a:cubicBezTo>
                <a:cubicBezTo>
                  <a:pt x="3484358" y="543484"/>
                  <a:pt x="3495963" y="537681"/>
                  <a:pt x="3505633" y="533812"/>
                </a:cubicBezTo>
                <a:cubicBezTo>
                  <a:pt x="3517237" y="528009"/>
                  <a:pt x="3528842" y="524143"/>
                  <a:pt x="3540447" y="520275"/>
                </a:cubicBezTo>
                <a:cubicBezTo>
                  <a:pt x="3552052" y="516406"/>
                  <a:pt x="3563656" y="514471"/>
                  <a:pt x="3575261" y="510603"/>
                </a:cubicBezTo>
                <a:cubicBezTo>
                  <a:pt x="3575261" y="512538"/>
                  <a:pt x="3575261" y="514471"/>
                  <a:pt x="3577197" y="518339"/>
                </a:cubicBezTo>
                <a:cubicBezTo>
                  <a:pt x="3575261" y="520275"/>
                  <a:pt x="3573328" y="522208"/>
                  <a:pt x="3571393" y="522208"/>
                </a:cubicBezTo>
                <a:cubicBezTo>
                  <a:pt x="3561723" y="526076"/>
                  <a:pt x="3550119" y="529944"/>
                  <a:pt x="3540447" y="533812"/>
                </a:cubicBezTo>
                <a:cubicBezTo>
                  <a:pt x="3536579" y="535745"/>
                  <a:pt x="3534646" y="537681"/>
                  <a:pt x="3532710" y="543484"/>
                </a:cubicBezTo>
                <a:cubicBezTo>
                  <a:pt x="3532710" y="551218"/>
                  <a:pt x="3526909" y="553154"/>
                  <a:pt x="3524974" y="560890"/>
                </a:cubicBezTo>
                <a:cubicBezTo>
                  <a:pt x="3524974" y="562823"/>
                  <a:pt x="3524974" y="564758"/>
                  <a:pt x="3524974" y="566691"/>
                </a:cubicBezTo>
                <a:cubicBezTo>
                  <a:pt x="3519173" y="560890"/>
                  <a:pt x="3511436" y="574428"/>
                  <a:pt x="3505633" y="562823"/>
                </a:cubicBezTo>
                <a:cubicBezTo>
                  <a:pt x="3501764" y="564758"/>
                  <a:pt x="3499831" y="566691"/>
                  <a:pt x="3495963" y="568627"/>
                </a:cubicBezTo>
                <a:cubicBezTo>
                  <a:pt x="3495963" y="568627"/>
                  <a:pt x="3495963" y="570560"/>
                  <a:pt x="3497896" y="574428"/>
                </a:cubicBezTo>
                <a:lnTo>
                  <a:pt x="3492895" y="576352"/>
                </a:lnTo>
                <a:lnTo>
                  <a:pt x="3494030" y="572495"/>
                </a:lnTo>
                <a:lnTo>
                  <a:pt x="3488472" y="578053"/>
                </a:lnTo>
                <a:lnTo>
                  <a:pt x="3472754" y="584100"/>
                </a:lnTo>
                <a:lnTo>
                  <a:pt x="3473721" y="589901"/>
                </a:lnTo>
                <a:lnTo>
                  <a:pt x="3472754" y="589901"/>
                </a:lnTo>
                <a:lnTo>
                  <a:pt x="3473778" y="590243"/>
                </a:lnTo>
                <a:lnTo>
                  <a:pt x="3474689" y="595705"/>
                </a:lnTo>
                <a:cubicBezTo>
                  <a:pt x="3474689" y="601506"/>
                  <a:pt x="3472754" y="605374"/>
                  <a:pt x="3470821" y="609242"/>
                </a:cubicBezTo>
                <a:cubicBezTo>
                  <a:pt x="3468885" y="613111"/>
                  <a:pt x="3466952" y="615046"/>
                  <a:pt x="3463084" y="615046"/>
                </a:cubicBezTo>
                <a:cubicBezTo>
                  <a:pt x="3459214" y="615046"/>
                  <a:pt x="3455348" y="615046"/>
                  <a:pt x="3451479" y="616979"/>
                </a:cubicBezTo>
                <a:cubicBezTo>
                  <a:pt x="3447611" y="618914"/>
                  <a:pt x="3443743" y="618914"/>
                  <a:pt x="3441808" y="622780"/>
                </a:cubicBezTo>
                <a:cubicBezTo>
                  <a:pt x="3439875" y="630519"/>
                  <a:pt x="3434071" y="628584"/>
                  <a:pt x="3428270" y="628584"/>
                </a:cubicBezTo>
                <a:cubicBezTo>
                  <a:pt x="3420533" y="628584"/>
                  <a:pt x="3414730" y="632452"/>
                  <a:pt x="3410862" y="638253"/>
                </a:cubicBezTo>
                <a:cubicBezTo>
                  <a:pt x="3408929" y="638253"/>
                  <a:pt x="3408929" y="640188"/>
                  <a:pt x="3408929" y="644057"/>
                </a:cubicBezTo>
                <a:cubicBezTo>
                  <a:pt x="3414730" y="642121"/>
                  <a:pt x="3418598" y="640188"/>
                  <a:pt x="3422466" y="638253"/>
                </a:cubicBezTo>
                <a:cubicBezTo>
                  <a:pt x="3424402" y="640188"/>
                  <a:pt x="3424402" y="647925"/>
                  <a:pt x="3428270" y="644057"/>
                </a:cubicBezTo>
                <a:cubicBezTo>
                  <a:pt x="3432138" y="638253"/>
                  <a:pt x="3437939" y="638253"/>
                  <a:pt x="3441808" y="636320"/>
                </a:cubicBezTo>
                <a:cubicBezTo>
                  <a:pt x="3451479" y="632452"/>
                  <a:pt x="3461149" y="628584"/>
                  <a:pt x="3470821" y="622780"/>
                </a:cubicBezTo>
                <a:cubicBezTo>
                  <a:pt x="3476622" y="618914"/>
                  <a:pt x="3482423" y="615046"/>
                  <a:pt x="3486294" y="607309"/>
                </a:cubicBezTo>
                <a:cubicBezTo>
                  <a:pt x="3484358" y="605374"/>
                  <a:pt x="3482423" y="605374"/>
                  <a:pt x="3482423" y="603441"/>
                </a:cubicBezTo>
                <a:cubicBezTo>
                  <a:pt x="3480490" y="601506"/>
                  <a:pt x="3480490" y="597637"/>
                  <a:pt x="3480490" y="595705"/>
                </a:cubicBezTo>
                <a:cubicBezTo>
                  <a:pt x="3480490" y="595705"/>
                  <a:pt x="3484358" y="593769"/>
                  <a:pt x="3486294" y="593769"/>
                </a:cubicBezTo>
                <a:cubicBezTo>
                  <a:pt x="3495963" y="593769"/>
                  <a:pt x="3497896" y="591836"/>
                  <a:pt x="3497896" y="580232"/>
                </a:cubicBezTo>
                <a:cubicBezTo>
                  <a:pt x="3501764" y="576363"/>
                  <a:pt x="3505633" y="574428"/>
                  <a:pt x="3509501" y="570560"/>
                </a:cubicBezTo>
                <a:cubicBezTo>
                  <a:pt x="3515304" y="572495"/>
                  <a:pt x="3519173" y="574428"/>
                  <a:pt x="3523041" y="576363"/>
                </a:cubicBezTo>
                <a:cubicBezTo>
                  <a:pt x="3524974" y="587968"/>
                  <a:pt x="3509501" y="584100"/>
                  <a:pt x="3509501" y="597637"/>
                </a:cubicBezTo>
                <a:cubicBezTo>
                  <a:pt x="3517237" y="591836"/>
                  <a:pt x="3524974" y="587968"/>
                  <a:pt x="3532710" y="582164"/>
                </a:cubicBezTo>
                <a:cubicBezTo>
                  <a:pt x="3538514" y="568627"/>
                  <a:pt x="3548183" y="558955"/>
                  <a:pt x="3557855" y="560890"/>
                </a:cubicBezTo>
                <a:cubicBezTo>
                  <a:pt x="3557855" y="553154"/>
                  <a:pt x="3557855" y="553154"/>
                  <a:pt x="3559788" y="549285"/>
                </a:cubicBezTo>
                <a:cubicBezTo>
                  <a:pt x="3563656" y="555087"/>
                  <a:pt x="3567525" y="558955"/>
                  <a:pt x="3573328" y="566691"/>
                </a:cubicBezTo>
                <a:cubicBezTo>
                  <a:pt x="3569458" y="570560"/>
                  <a:pt x="3563656" y="572495"/>
                  <a:pt x="3559788" y="576363"/>
                </a:cubicBezTo>
                <a:cubicBezTo>
                  <a:pt x="3561723" y="578296"/>
                  <a:pt x="3561723" y="578296"/>
                  <a:pt x="3561723" y="580232"/>
                </a:cubicBezTo>
                <a:cubicBezTo>
                  <a:pt x="3573328" y="582164"/>
                  <a:pt x="3582998" y="578296"/>
                  <a:pt x="3592667" y="570560"/>
                </a:cubicBezTo>
                <a:cubicBezTo>
                  <a:pt x="3592667" y="570560"/>
                  <a:pt x="3592667" y="570560"/>
                  <a:pt x="3592667" y="568627"/>
                </a:cubicBezTo>
                <a:cubicBezTo>
                  <a:pt x="3590734" y="566691"/>
                  <a:pt x="3586866" y="566691"/>
                  <a:pt x="3582998" y="564758"/>
                </a:cubicBezTo>
                <a:cubicBezTo>
                  <a:pt x="3586866" y="558955"/>
                  <a:pt x="3586866" y="558955"/>
                  <a:pt x="3606207" y="558955"/>
                </a:cubicBezTo>
                <a:cubicBezTo>
                  <a:pt x="3608140" y="562823"/>
                  <a:pt x="3610075" y="568627"/>
                  <a:pt x="3612008" y="572495"/>
                </a:cubicBezTo>
                <a:cubicBezTo>
                  <a:pt x="3612008" y="574428"/>
                  <a:pt x="3610075" y="574428"/>
                  <a:pt x="3608140" y="576363"/>
                </a:cubicBezTo>
                <a:cubicBezTo>
                  <a:pt x="3606207" y="572495"/>
                  <a:pt x="3604272" y="568627"/>
                  <a:pt x="3602339" y="564758"/>
                </a:cubicBezTo>
                <a:cubicBezTo>
                  <a:pt x="3600406" y="566691"/>
                  <a:pt x="3598471" y="570560"/>
                  <a:pt x="3598471" y="570560"/>
                </a:cubicBezTo>
                <a:cubicBezTo>
                  <a:pt x="3602339" y="578296"/>
                  <a:pt x="3596535" y="578296"/>
                  <a:pt x="3592667" y="580232"/>
                </a:cubicBezTo>
                <a:cubicBezTo>
                  <a:pt x="3588799" y="582164"/>
                  <a:pt x="3581065" y="580232"/>
                  <a:pt x="3577197" y="587968"/>
                </a:cubicBezTo>
                <a:cubicBezTo>
                  <a:pt x="3577197" y="587968"/>
                  <a:pt x="3575261" y="587968"/>
                  <a:pt x="3575261" y="587968"/>
                </a:cubicBezTo>
                <a:cubicBezTo>
                  <a:pt x="3571393" y="584100"/>
                  <a:pt x="3567525" y="587968"/>
                  <a:pt x="3565589" y="589901"/>
                </a:cubicBezTo>
                <a:cubicBezTo>
                  <a:pt x="3557855" y="595705"/>
                  <a:pt x="3548183" y="599573"/>
                  <a:pt x="3540447" y="605374"/>
                </a:cubicBezTo>
                <a:cubicBezTo>
                  <a:pt x="3538514" y="601506"/>
                  <a:pt x="3536579" y="597637"/>
                  <a:pt x="3534646" y="595705"/>
                </a:cubicBezTo>
                <a:cubicBezTo>
                  <a:pt x="3528842" y="597637"/>
                  <a:pt x="3530777" y="605374"/>
                  <a:pt x="3528842" y="609242"/>
                </a:cubicBezTo>
                <a:cubicBezTo>
                  <a:pt x="3524974" y="611178"/>
                  <a:pt x="3519173" y="611178"/>
                  <a:pt x="3513372" y="613111"/>
                </a:cubicBezTo>
                <a:cubicBezTo>
                  <a:pt x="3513372" y="609242"/>
                  <a:pt x="3513372" y="609242"/>
                  <a:pt x="3515304" y="605374"/>
                </a:cubicBezTo>
                <a:cubicBezTo>
                  <a:pt x="3513372" y="605374"/>
                  <a:pt x="3511436" y="605374"/>
                  <a:pt x="3511436" y="605374"/>
                </a:cubicBezTo>
                <a:cubicBezTo>
                  <a:pt x="3509501" y="616979"/>
                  <a:pt x="3497896" y="615046"/>
                  <a:pt x="3492095" y="622780"/>
                </a:cubicBezTo>
                <a:cubicBezTo>
                  <a:pt x="3490162" y="624715"/>
                  <a:pt x="3488227" y="626651"/>
                  <a:pt x="3486294" y="630519"/>
                </a:cubicBezTo>
                <a:cubicBezTo>
                  <a:pt x="3488227" y="630519"/>
                  <a:pt x="3490162" y="630519"/>
                  <a:pt x="3492095" y="630519"/>
                </a:cubicBezTo>
                <a:cubicBezTo>
                  <a:pt x="3505633" y="624715"/>
                  <a:pt x="3519173" y="618914"/>
                  <a:pt x="3532710" y="613111"/>
                </a:cubicBezTo>
                <a:cubicBezTo>
                  <a:pt x="3536579" y="611178"/>
                  <a:pt x="3538514" y="611178"/>
                  <a:pt x="3542382" y="611178"/>
                </a:cubicBezTo>
                <a:cubicBezTo>
                  <a:pt x="3552052" y="607309"/>
                  <a:pt x="3563656" y="603441"/>
                  <a:pt x="3573328" y="599573"/>
                </a:cubicBezTo>
                <a:cubicBezTo>
                  <a:pt x="3575261" y="597637"/>
                  <a:pt x="3577197" y="597637"/>
                  <a:pt x="3579129" y="597637"/>
                </a:cubicBezTo>
                <a:cubicBezTo>
                  <a:pt x="3581065" y="601506"/>
                  <a:pt x="3582998" y="603441"/>
                  <a:pt x="3584931" y="605374"/>
                </a:cubicBezTo>
                <a:cubicBezTo>
                  <a:pt x="3584931" y="611178"/>
                  <a:pt x="3579129" y="611178"/>
                  <a:pt x="3569458" y="605374"/>
                </a:cubicBezTo>
                <a:cubicBezTo>
                  <a:pt x="3569458" y="616979"/>
                  <a:pt x="3567525" y="624715"/>
                  <a:pt x="3555920" y="624715"/>
                </a:cubicBezTo>
                <a:cubicBezTo>
                  <a:pt x="3557855" y="636320"/>
                  <a:pt x="3553987" y="642121"/>
                  <a:pt x="3546248" y="645990"/>
                </a:cubicBezTo>
                <a:lnTo>
                  <a:pt x="3539475" y="647925"/>
                </a:lnTo>
                <a:lnTo>
                  <a:pt x="3524974" y="647925"/>
                </a:lnTo>
                <a:cubicBezTo>
                  <a:pt x="3523041" y="638253"/>
                  <a:pt x="3523041" y="638253"/>
                  <a:pt x="3517237" y="640188"/>
                </a:cubicBezTo>
                <a:cubicBezTo>
                  <a:pt x="3513372" y="642121"/>
                  <a:pt x="3507568" y="644057"/>
                  <a:pt x="3503700" y="645990"/>
                </a:cubicBezTo>
                <a:cubicBezTo>
                  <a:pt x="3503700" y="645990"/>
                  <a:pt x="3503700" y="647925"/>
                  <a:pt x="3503700" y="647925"/>
                </a:cubicBezTo>
                <a:lnTo>
                  <a:pt x="3526574" y="654461"/>
                </a:lnTo>
                <a:lnTo>
                  <a:pt x="3524974" y="655661"/>
                </a:lnTo>
                <a:cubicBezTo>
                  <a:pt x="3528842" y="657594"/>
                  <a:pt x="3530777" y="659530"/>
                  <a:pt x="3532710" y="663398"/>
                </a:cubicBezTo>
                <a:cubicBezTo>
                  <a:pt x="3534646" y="661463"/>
                  <a:pt x="3534646" y="661463"/>
                  <a:pt x="3536579" y="661463"/>
                </a:cubicBezTo>
                <a:cubicBezTo>
                  <a:pt x="3536579" y="663398"/>
                  <a:pt x="3534646" y="665331"/>
                  <a:pt x="3534646" y="665331"/>
                </a:cubicBezTo>
                <a:cubicBezTo>
                  <a:pt x="3536579" y="667266"/>
                  <a:pt x="3536579" y="669199"/>
                  <a:pt x="3538514" y="671134"/>
                </a:cubicBezTo>
                <a:cubicBezTo>
                  <a:pt x="3658427" y="605374"/>
                  <a:pt x="3786078" y="551218"/>
                  <a:pt x="3917598" y="508670"/>
                </a:cubicBezTo>
                <a:cubicBezTo>
                  <a:pt x="3946609" y="500933"/>
                  <a:pt x="3971751" y="514471"/>
                  <a:pt x="3985291" y="537681"/>
                </a:cubicBezTo>
                <a:cubicBezTo>
                  <a:pt x="3985291" y="537681"/>
                  <a:pt x="3987224" y="537681"/>
                  <a:pt x="3987224" y="537681"/>
                </a:cubicBezTo>
                <a:cubicBezTo>
                  <a:pt x="3987224" y="537681"/>
                  <a:pt x="3987224" y="539614"/>
                  <a:pt x="3987224" y="539614"/>
                </a:cubicBezTo>
                <a:cubicBezTo>
                  <a:pt x="3987224" y="541549"/>
                  <a:pt x="3989160" y="543484"/>
                  <a:pt x="3989160" y="545417"/>
                </a:cubicBezTo>
                <a:cubicBezTo>
                  <a:pt x="3991093" y="543484"/>
                  <a:pt x="3993028" y="543484"/>
                  <a:pt x="3994961" y="541549"/>
                </a:cubicBezTo>
                <a:cubicBezTo>
                  <a:pt x="3996896" y="539614"/>
                  <a:pt x="3996896" y="539614"/>
                  <a:pt x="3998829" y="539614"/>
                </a:cubicBezTo>
                <a:cubicBezTo>
                  <a:pt x="3998829" y="539614"/>
                  <a:pt x="4000764" y="537681"/>
                  <a:pt x="4002697" y="537681"/>
                </a:cubicBezTo>
                <a:cubicBezTo>
                  <a:pt x="3998829" y="535745"/>
                  <a:pt x="3996896" y="535745"/>
                  <a:pt x="3994961" y="535745"/>
                </a:cubicBezTo>
                <a:cubicBezTo>
                  <a:pt x="4000764" y="529944"/>
                  <a:pt x="4008501" y="526076"/>
                  <a:pt x="4016237" y="529944"/>
                </a:cubicBezTo>
                <a:cubicBezTo>
                  <a:pt x="4018170" y="529944"/>
                  <a:pt x="4020103" y="528009"/>
                  <a:pt x="4022039" y="528009"/>
                </a:cubicBezTo>
                <a:cubicBezTo>
                  <a:pt x="4025907" y="526076"/>
                  <a:pt x="4027842" y="524143"/>
                  <a:pt x="4031711" y="522208"/>
                </a:cubicBezTo>
                <a:cubicBezTo>
                  <a:pt x="4029775" y="533812"/>
                  <a:pt x="4023974" y="535745"/>
                  <a:pt x="4018170" y="539614"/>
                </a:cubicBezTo>
                <a:cubicBezTo>
                  <a:pt x="4020103" y="539614"/>
                  <a:pt x="4023974" y="541549"/>
                  <a:pt x="4025907" y="541549"/>
                </a:cubicBezTo>
                <a:lnTo>
                  <a:pt x="4027840" y="551216"/>
                </a:lnTo>
                <a:lnTo>
                  <a:pt x="4025423" y="548559"/>
                </a:lnTo>
                <a:cubicBezTo>
                  <a:pt x="4024456" y="548801"/>
                  <a:pt x="4023005" y="550252"/>
                  <a:pt x="4020103" y="553154"/>
                </a:cubicBezTo>
                <a:cubicBezTo>
                  <a:pt x="4022039" y="553154"/>
                  <a:pt x="4022039" y="553154"/>
                  <a:pt x="4022039" y="553154"/>
                </a:cubicBezTo>
                <a:lnTo>
                  <a:pt x="4027841" y="551219"/>
                </a:lnTo>
                <a:lnTo>
                  <a:pt x="4028163" y="552832"/>
                </a:lnTo>
                <a:lnTo>
                  <a:pt x="4027842" y="553154"/>
                </a:lnTo>
                <a:lnTo>
                  <a:pt x="4028324" y="553636"/>
                </a:lnTo>
                <a:lnTo>
                  <a:pt x="4029775" y="560890"/>
                </a:lnTo>
                <a:cubicBezTo>
                  <a:pt x="4037512" y="555087"/>
                  <a:pt x="4043313" y="549285"/>
                  <a:pt x="4051052" y="545417"/>
                </a:cubicBezTo>
                <a:cubicBezTo>
                  <a:pt x="4051052" y="545417"/>
                  <a:pt x="4052985" y="543484"/>
                  <a:pt x="4052985" y="543484"/>
                </a:cubicBezTo>
                <a:cubicBezTo>
                  <a:pt x="4060721" y="537681"/>
                  <a:pt x="4068458" y="529944"/>
                  <a:pt x="4076194" y="524143"/>
                </a:cubicBezTo>
                <a:cubicBezTo>
                  <a:pt x="4076194" y="524143"/>
                  <a:pt x="4078127" y="522208"/>
                  <a:pt x="4078127" y="520275"/>
                </a:cubicBezTo>
                <a:cubicBezTo>
                  <a:pt x="4078127" y="522208"/>
                  <a:pt x="4080063" y="522208"/>
                  <a:pt x="4080063" y="522208"/>
                </a:cubicBezTo>
                <a:cubicBezTo>
                  <a:pt x="4083931" y="520275"/>
                  <a:pt x="4085864" y="520275"/>
                  <a:pt x="4085864" y="514471"/>
                </a:cubicBezTo>
                <a:cubicBezTo>
                  <a:pt x="4085864" y="512538"/>
                  <a:pt x="4091667" y="508670"/>
                  <a:pt x="4095536" y="504802"/>
                </a:cubicBezTo>
                <a:cubicBezTo>
                  <a:pt x="4097468" y="502866"/>
                  <a:pt x="4097468" y="500933"/>
                  <a:pt x="4099404" y="498998"/>
                </a:cubicBezTo>
                <a:cubicBezTo>
                  <a:pt x="4099404" y="498998"/>
                  <a:pt x="4097468" y="497065"/>
                  <a:pt x="4095536" y="497065"/>
                </a:cubicBezTo>
                <a:cubicBezTo>
                  <a:pt x="4087799" y="500933"/>
                  <a:pt x="4080063" y="504802"/>
                  <a:pt x="4072326" y="510603"/>
                </a:cubicBezTo>
                <a:cubicBezTo>
                  <a:pt x="4070391" y="514471"/>
                  <a:pt x="4066522" y="516406"/>
                  <a:pt x="4062654" y="520275"/>
                </a:cubicBezTo>
                <a:cubicBezTo>
                  <a:pt x="4062654" y="520275"/>
                  <a:pt x="4064589" y="522208"/>
                  <a:pt x="4066522" y="524143"/>
                </a:cubicBezTo>
                <a:cubicBezTo>
                  <a:pt x="4064589" y="529944"/>
                  <a:pt x="4060721" y="537681"/>
                  <a:pt x="4052985" y="537681"/>
                </a:cubicBezTo>
                <a:cubicBezTo>
                  <a:pt x="4047181" y="537681"/>
                  <a:pt x="4043313" y="541549"/>
                  <a:pt x="4039445" y="545417"/>
                </a:cubicBezTo>
                <a:cubicBezTo>
                  <a:pt x="4037512" y="545417"/>
                  <a:pt x="4037512" y="543484"/>
                  <a:pt x="4037512" y="543484"/>
                </a:cubicBezTo>
                <a:cubicBezTo>
                  <a:pt x="4043313" y="539614"/>
                  <a:pt x="4049116" y="535745"/>
                  <a:pt x="4054920" y="529944"/>
                </a:cubicBezTo>
                <a:cubicBezTo>
                  <a:pt x="4049116" y="528009"/>
                  <a:pt x="4045248" y="526076"/>
                  <a:pt x="4037512" y="522208"/>
                </a:cubicBezTo>
                <a:cubicBezTo>
                  <a:pt x="4041380" y="520275"/>
                  <a:pt x="4045248" y="518339"/>
                  <a:pt x="4049116" y="516406"/>
                </a:cubicBezTo>
                <a:cubicBezTo>
                  <a:pt x="4051052" y="516406"/>
                  <a:pt x="4051052" y="514471"/>
                  <a:pt x="4052985" y="514471"/>
                </a:cubicBezTo>
                <a:cubicBezTo>
                  <a:pt x="4062654" y="510603"/>
                  <a:pt x="4064589" y="510603"/>
                  <a:pt x="4056853" y="500933"/>
                </a:cubicBezTo>
                <a:cubicBezTo>
                  <a:pt x="4064589" y="495130"/>
                  <a:pt x="4072326" y="489329"/>
                  <a:pt x="4081995" y="483525"/>
                </a:cubicBezTo>
                <a:cubicBezTo>
                  <a:pt x="4089732" y="479657"/>
                  <a:pt x="4093600" y="468052"/>
                  <a:pt x="4105205" y="471920"/>
                </a:cubicBezTo>
                <a:cubicBezTo>
                  <a:pt x="4109073" y="468052"/>
                  <a:pt x="4114877" y="462251"/>
                  <a:pt x="4118745" y="458383"/>
                </a:cubicBezTo>
                <a:cubicBezTo>
                  <a:pt x="4124546" y="454514"/>
                  <a:pt x="4128415" y="448711"/>
                  <a:pt x="4134216" y="442910"/>
                </a:cubicBezTo>
                <a:cubicBezTo>
                  <a:pt x="4140019" y="439041"/>
                  <a:pt x="4143888" y="437108"/>
                  <a:pt x="4149689" y="433240"/>
                </a:cubicBezTo>
                <a:cubicBezTo>
                  <a:pt x="4149689" y="433240"/>
                  <a:pt x="4151624" y="435173"/>
                  <a:pt x="4151624" y="435173"/>
                </a:cubicBezTo>
                <a:cubicBezTo>
                  <a:pt x="4149689" y="439041"/>
                  <a:pt x="4149689" y="444845"/>
                  <a:pt x="4147756" y="448711"/>
                </a:cubicBezTo>
                <a:cubicBezTo>
                  <a:pt x="4155492" y="442910"/>
                  <a:pt x="4163229" y="440974"/>
                  <a:pt x="4167097" y="433240"/>
                </a:cubicBezTo>
                <a:cubicBezTo>
                  <a:pt x="4169030" y="425504"/>
                  <a:pt x="4174834" y="419700"/>
                  <a:pt x="4178702" y="411964"/>
                </a:cubicBezTo>
                <a:cubicBezTo>
                  <a:pt x="4186438" y="425504"/>
                  <a:pt x="4190307" y="427437"/>
                  <a:pt x="4201911" y="417767"/>
                </a:cubicBezTo>
                <a:cubicBezTo>
                  <a:pt x="4205780" y="415832"/>
                  <a:pt x="4209648" y="411964"/>
                  <a:pt x="4213514" y="410031"/>
                </a:cubicBezTo>
                <a:cubicBezTo>
                  <a:pt x="4219317" y="415832"/>
                  <a:pt x="4223186" y="419700"/>
                  <a:pt x="4227054" y="425504"/>
                </a:cubicBezTo>
                <a:cubicBezTo>
                  <a:pt x="4230922" y="419700"/>
                  <a:pt x="4234790" y="413899"/>
                  <a:pt x="4238659" y="408095"/>
                </a:cubicBezTo>
                <a:cubicBezTo>
                  <a:pt x="4238659" y="406162"/>
                  <a:pt x="4238659" y="404227"/>
                  <a:pt x="4236723" y="402294"/>
                </a:cubicBezTo>
                <a:cubicBezTo>
                  <a:pt x="4236723" y="402294"/>
                  <a:pt x="4238659" y="402294"/>
                  <a:pt x="4238659" y="402294"/>
                </a:cubicBezTo>
                <a:cubicBezTo>
                  <a:pt x="4254132" y="390689"/>
                  <a:pt x="4269605" y="381018"/>
                  <a:pt x="4285078" y="369415"/>
                </a:cubicBezTo>
                <a:cubicBezTo>
                  <a:pt x="4285078" y="369415"/>
                  <a:pt x="4287011" y="367480"/>
                  <a:pt x="4287011" y="367480"/>
                </a:cubicBezTo>
                <a:cubicBezTo>
                  <a:pt x="4290879" y="363612"/>
                  <a:pt x="4292814" y="357810"/>
                  <a:pt x="4296682" y="357810"/>
                </a:cubicBezTo>
                <a:cubicBezTo>
                  <a:pt x="4302484" y="357810"/>
                  <a:pt x="4310220" y="359743"/>
                  <a:pt x="4316024" y="361676"/>
                </a:cubicBezTo>
                <a:cubicBezTo>
                  <a:pt x="4316024" y="357810"/>
                  <a:pt x="4314088" y="353940"/>
                  <a:pt x="4314088" y="348139"/>
                </a:cubicBezTo>
                <a:cubicBezTo>
                  <a:pt x="4323758" y="340402"/>
                  <a:pt x="4335365" y="334601"/>
                  <a:pt x="4346967" y="326864"/>
                </a:cubicBezTo>
                <a:cubicBezTo>
                  <a:pt x="4348903" y="326864"/>
                  <a:pt x="4348903" y="328797"/>
                  <a:pt x="4348903" y="328797"/>
                </a:cubicBezTo>
                <a:cubicBezTo>
                  <a:pt x="4346967" y="332665"/>
                  <a:pt x="4343099" y="334601"/>
                  <a:pt x="4341166" y="338469"/>
                </a:cubicBezTo>
                <a:cubicBezTo>
                  <a:pt x="4343099" y="338469"/>
                  <a:pt x="4343099" y="340402"/>
                  <a:pt x="4343099" y="340402"/>
                </a:cubicBezTo>
                <a:cubicBezTo>
                  <a:pt x="4352771" y="334601"/>
                  <a:pt x="4362440" y="328797"/>
                  <a:pt x="4372112" y="322996"/>
                </a:cubicBezTo>
                <a:cubicBezTo>
                  <a:pt x="4372112" y="322996"/>
                  <a:pt x="4370177" y="319128"/>
                  <a:pt x="4370177" y="317192"/>
                </a:cubicBezTo>
                <a:cubicBezTo>
                  <a:pt x="4370177" y="315260"/>
                  <a:pt x="4372112" y="315260"/>
                  <a:pt x="4372112" y="315260"/>
                </a:cubicBezTo>
                <a:cubicBezTo>
                  <a:pt x="4372112" y="317192"/>
                  <a:pt x="4374045" y="321061"/>
                  <a:pt x="4375980" y="322996"/>
                </a:cubicBezTo>
                <a:cubicBezTo>
                  <a:pt x="4379849" y="317192"/>
                  <a:pt x="4389518" y="315260"/>
                  <a:pt x="4391451" y="307523"/>
                </a:cubicBezTo>
                <a:cubicBezTo>
                  <a:pt x="4391451" y="307523"/>
                  <a:pt x="4395322" y="305588"/>
                  <a:pt x="4395322" y="305588"/>
                </a:cubicBezTo>
                <a:cubicBezTo>
                  <a:pt x="4403058" y="307523"/>
                  <a:pt x="4406924" y="303655"/>
                  <a:pt x="4412728" y="299786"/>
                </a:cubicBezTo>
                <a:cubicBezTo>
                  <a:pt x="4418531" y="297851"/>
                  <a:pt x="4422399" y="295918"/>
                  <a:pt x="4426265" y="288182"/>
                </a:cubicBezTo>
                <a:cubicBezTo>
                  <a:pt x="4430134" y="280445"/>
                  <a:pt x="4439805" y="276577"/>
                  <a:pt x="4447542" y="274642"/>
                </a:cubicBezTo>
                <a:cubicBezTo>
                  <a:pt x="4445607" y="278510"/>
                  <a:pt x="4443674" y="280445"/>
                  <a:pt x="4439805" y="284313"/>
                </a:cubicBezTo>
                <a:cubicBezTo>
                  <a:pt x="4443674" y="284313"/>
                  <a:pt x="4449475" y="282378"/>
                  <a:pt x="4453343" y="282378"/>
                </a:cubicBezTo>
                <a:cubicBezTo>
                  <a:pt x="4453343" y="286246"/>
                  <a:pt x="4455278" y="288182"/>
                  <a:pt x="4455278" y="290115"/>
                </a:cubicBezTo>
                <a:cubicBezTo>
                  <a:pt x="4463015" y="286246"/>
                  <a:pt x="4470751" y="282378"/>
                  <a:pt x="4478488" y="278510"/>
                </a:cubicBezTo>
                <a:cubicBezTo>
                  <a:pt x="4480421" y="280445"/>
                  <a:pt x="4480421" y="282378"/>
                  <a:pt x="4482356" y="284313"/>
                </a:cubicBezTo>
                <a:cubicBezTo>
                  <a:pt x="4482356" y="282378"/>
                  <a:pt x="4484289" y="282378"/>
                  <a:pt x="4484289" y="282378"/>
                </a:cubicBezTo>
                <a:cubicBezTo>
                  <a:pt x="4486225" y="268840"/>
                  <a:pt x="4499762" y="268840"/>
                  <a:pt x="4507499" y="264972"/>
                </a:cubicBezTo>
                <a:cubicBezTo>
                  <a:pt x="4517168" y="261104"/>
                  <a:pt x="4526840" y="257236"/>
                  <a:pt x="4534577" y="251434"/>
                </a:cubicBezTo>
                <a:cubicBezTo>
                  <a:pt x="4538445" y="247566"/>
                  <a:pt x="4538445" y="245631"/>
                  <a:pt x="4534577" y="241763"/>
                </a:cubicBezTo>
                <a:cubicBezTo>
                  <a:pt x="4532641" y="239830"/>
                  <a:pt x="4530708" y="235961"/>
                  <a:pt x="4536509" y="234026"/>
                </a:cubicBezTo>
                <a:cubicBezTo>
                  <a:pt x="4540378" y="234026"/>
                  <a:pt x="4542313" y="228225"/>
                  <a:pt x="4546181" y="226290"/>
                </a:cubicBezTo>
                <a:cubicBezTo>
                  <a:pt x="4559719" y="218553"/>
                  <a:pt x="4573259" y="212752"/>
                  <a:pt x="4586797" y="208884"/>
                </a:cubicBezTo>
                <a:cubicBezTo>
                  <a:pt x="4580993" y="210817"/>
                  <a:pt x="4577127" y="214685"/>
                  <a:pt x="4573259" y="216620"/>
                </a:cubicBezTo>
                <a:cubicBezTo>
                  <a:pt x="4567455" y="218553"/>
                  <a:pt x="4571324" y="226290"/>
                  <a:pt x="4565523" y="228225"/>
                </a:cubicBezTo>
                <a:lnTo>
                  <a:pt x="4561177" y="231122"/>
                </a:lnTo>
                <a:lnTo>
                  <a:pt x="4553918" y="234026"/>
                </a:lnTo>
                <a:lnTo>
                  <a:pt x="4555078" y="235188"/>
                </a:lnTo>
                <a:lnTo>
                  <a:pt x="4553918" y="235961"/>
                </a:lnTo>
                <a:lnTo>
                  <a:pt x="4555372" y="235482"/>
                </a:lnTo>
                <a:lnTo>
                  <a:pt x="4555851" y="235961"/>
                </a:lnTo>
                <a:lnTo>
                  <a:pt x="4557367" y="234824"/>
                </a:lnTo>
                <a:lnTo>
                  <a:pt x="4575918" y="228708"/>
                </a:lnTo>
                <a:cubicBezTo>
                  <a:pt x="4582929" y="225323"/>
                  <a:pt x="4589698" y="221455"/>
                  <a:pt x="4596469" y="218553"/>
                </a:cubicBezTo>
                <a:cubicBezTo>
                  <a:pt x="4611939" y="210817"/>
                  <a:pt x="4625479" y="201147"/>
                  <a:pt x="4640952" y="197279"/>
                </a:cubicBezTo>
                <a:cubicBezTo>
                  <a:pt x="4656425" y="193411"/>
                  <a:pt x="4668028" y="179871"/>
                  <a:pt x="4685436" y="181806"/>
                </a:cubicBezTo>
                <a:cubicBezTo>
                  <a:pt x="4675767" y="187607"/>
                  <a:pt x="4666095" y="193411"/>
                  <a:pt x="4658358" y="197279"/>
                </a:cubicBezTo>
                <a:cubicBezTo>
                  <a:pt x="4648686" y="203080"/>
                  <a:pt x="4637084" y="208884"/>
                  <a:pt x="4629348" y="220488"/>
                </a:cubicBezTo>
                <a:cubicBezTo>
                  <a:pt x="4642885" y="214685"/>
                  <a:pt x="4656425" y="206948"/>
                  <a:pt x="4669963" y="201147"/>
                </a:cubicBezTo>
                <a:cubicBezTo>
                  <a:pt x="4671896" y="203080"/>
                  <a:pt x="4671896" y="205015"/>
                  <a:pt x="4673831" y="206948"/>
                </a:cubicBezTo>
                <a:cubicBezTo>
                  <a:pt x="4677700" y="206948"/>
                  <a:pt x="4683503" y="205015"/>
                  <a:pt x="4689304" y="203080"/>
                </a:cubicBezTo>
                <a:cubicBezTo>
                  <a:pt x="4689304" y="205015"/>
                  <a:pt x="4691237" y="208884"/>
                  <a:pt x="4691237" y="210817"/>
                </a:cubicBezTo>
                <a:cubicBezTo>
                  <a:pt x="4706710" y="208884"/>
                  <a:pt x="4720250" y="205015"/>
                  <a:pt x="4733788" y="197279"/>
                </a:cubicBezTo>
                <a:cubicBezTo>
                  <a:pt x="4731855" y="208884"/>
                  <a:pt x="4722183" y="208884"/>
                  <a:pt x="4712514" y="214685"/>
                </a:cubicBezTo>
                <a:cubicBezTo>
                  <a:pt x="4722183" y="220488"/>
                  <a:pt x="4729920" y="224357"/>
                  <a:pt x="4739592" y="228225"/>
                </a:cubicBezTo>
                <a:cubicBezTo>
                  <a:pt x="4737656" y="234026"/>
                  <a:pt x="4727987" y="226290"/>
                  <a:pt x="4726052" y="232093"/>
                </a:cubicBezTo>
                <a:cubicBezTo>
                  <a:pt x="4733788" y="241763"/>
                  <a:pt x="4739592" y="241763"/>
                  <a:pt x="4749261" y="235961"/>
                </a:cubicBezTo>
                <a:cubicBezTo>
                  <a:pt x="4755062" y="230158"/>
                  <a:pt x="4762801" y="226290"/>
                  <a:pt x="4770538" y="220488"/>
                </a:cubicBezTo>
                <a:cubicBezTo>
                  <a:pt x="4772471" y="234026"/>
                  <a:pt x="4758931" y="234026"/>
                  <a:pt x="4756998" y="243698"/>
                </a:cubicBezTo>
                <a:cubicBezTo>
                  <a:pt x="4762801" y="239830"/>
                  <a:pt x="4766669" y="235961"/>
                  <a:pt x="4774404" y="232093"/>
                </a:cubicBezTo>
                <a:cubicBezTo>
                  <a:pt x="4768602" y="237894"/>
                  <a:pt x="4766669" y="241763"/>
                  <a:pt x="4762801" y="245631"/>
                </a:cubicBezTo>
                <a:cubicBezTo>
                  <a:pt x="4766669" y="247566"/>
                  <a:pt x="4770538" y="247566"/>
                  <a:pt x="4774404" y="249499"/>
                </a:cubicBezTo>
                <a:cubicBezTo>
                  <a:pt x="4772471" y="261104"/>
                  <a:pt x="4751196" y="253367"/>
                  <a:pt x="4755062" y="268840"/>
                </a:cubicBezTo>
                <a:cubicBezTo>
                  <a:pt x="4760866" y="266906"/>
                  <a:pt x="4761350" y="269324"/>
                  <a:pt x="4761350" y="272225"/>
                </a:cubicBezTo>
                <a:lnTo>
                  <a:pt x="4764033" y="277208"/>
                </a:lnTo>
                <a:lnTo>
                  <a:pt x="4745393" y="293983"/>
                </a:lnTo>
                <a:cubicBezTo>
                  <a:pt x="4745393" y="293983"/>
                  <a:pt x="4745393" y="295918"/>
                  <a:pt x="4745393" y="295918"/>
                </a:cubicBezTo>
                <a:cubicBezTo>
                  <a:pt x="4749261" y="295918"/>
                  <a:pt x="4753129" y="295918"/>
                  <a:pt x="4756998" y="293983"/>
                </a:cubicBezTo>
                <a:cubicBezTo>
                  <a:pt x="4758931" y="297851"/>
                  <a:pt x="4760866" y="299786"/>
                  <a:pt x="4762801" y="301719"/>
                </a:cubicBezTo>
                <a:cubicBezTo>
                  <a:pt x="4766669" y="295918"/>
                  <a:pt x="4768602" y="290115"/>
                  <a:pt x="4772471" y="284313"/>
                </a:cubicBezTo>
                <a:cubicBezTo>
                  <a:pt x="4770538" y="286246"/>
                  <a:pt x="4766669" y="288182"/>
                  <a:pt x="4762801" y="290115"/>
                </a:cubicBezTo>
                <a:cubicBezTo>
                  <a:pt x="4762801" y="290115"/>
                  <a:pt x="4760866" y="288182"/>
                  <a:pt x="4760866" y="288182"/>
                </a:cubicBezTo>
                <a:cubicBezTo>
                  <a:pt x="4762801" y="284313"/>
                  <a:pt x="4764734" y="282378"/>
                  <a:pt x="4766669" y="278510"/>
                </a:cubicBezTo>
                <a:lnTo>
                  <a:pt x="4765701" y="277543"/>
                </a:lnTo>
                <a:lnTo>
                  <a:pt x="4784075" y="259171"/>
                </a:lnTo>
                <a:cubicBezTo>
                  <a:pt x="4791812" y="263039"/>
                  <a:pt x="4786011" y="268840"/>
                  <a:pt x="4787944" y="272709"/>
                </a:cubicBezTo>
                <a:cubicBezTo>
                  <a:pt x="4789879" y="280445"/>
                  <a:pt x="4778272" y="276577"/>
                  <a:pt x="4780207" y="284313"/>
                </a:cubicBezTo>
                <a:cubicBezTo>
                  <a:pt x="4787944" y="292050"/>
                  <a:pt x="4791812" y="280445"/>
                  <a:pt x="4799548" y="282378"/>
                </a:cubicBezTo>
                <a:cubicBezTo>
                  <a:pt x="4799548" y="286246"/>
                  <a:pt x="4799548" y="288182"/>
                  <a:pt x="4797613" y="292050"/>
                </a:cubicBezTo>
                <a:cubicBezTo>
                  <a:pt x="4799548" y="293983"/>
                  <a:pt x="4803417" y="293983"/>
                  <a:pt x="4805350" y="293983"/>
                </a:cubicBezTo>
                <a:cubicBezTo>
                  <a:pt x="4799548" y="301719"/>
                  <a:pt x="4791812" y="309456"/>
                  <a:pt x="4787944" y="315260"/>
                </a:cubicBezTo>
                <a:lnTo>
                  <a:pt x="4787420" y="320497"/>
                </a:lnTo>
                <a:lnTo>
                  <a:pt x="4786011" y="321061"/>
                </a:lnTo>
                <a:lnTo>
                  <a:pt x="4787138" y="323317"/>
                </a:lnTo>
                <a:lnTo>
                  <a:pt x="4786011" y="334601"/>
                </a:lnTo>
                <a:cubicBezTo>
                  <a:pt x="4795680" y="326864"/>
                  <a:pt x="4805350" y="319128"/>
                  <a:pt x="4815021" y="313324"/>
                </a:cubicBezTo>
                <a:cubicBezTo>
                  <a:pt x="4824691" y="307523"/>
                  <a:pt x="4834363" y="299786"/>
                  <a:pt x="4844032" y="293983"/>
                </a:cubicBezTo>
                <a:cubicBezTo>
                  <a:pt x="4845965" y="292050"/>
                  <a:pt x="4849836" y="292050"/>
                  <a:pt x="4851769" y="292050"/>
                </a:cubicBezTo>
                <a:cubicBezTo>
                  <a:pt x="4847900" y="293983"/>
                  <a:pt x="4845965" y="297851"/>
                  <a:pt x="4842097" y="299786"/>
                </a:cubicBezTo>
                <a:cubicBezTo>
                  <a:pt x="4842097" y="301719"/>
                  <a:pt x="4844032" y="301719"/>
                  <a:pt x="4844032" y="303655"/>
                </a:cubicBezTo>
                <a:cubicBezTo>
                  <a:pt x="4849836" y="301719"/>
                  <a:pt x="4853704" y="297851"/>
                  <a:pt x="4859505" y="295918"/>
                </a:cubicBezTo>
                <a:cubicBezTo>
                  <a:pt x="4847900" y="313324"/>
                  <a:pt x="4828559" y="321061"/>
                  <a:pt x="4816954" y="332665"/>
                </a:cubicBezTo>
                <a:cubicBezTo>
                  <a:pt x="4815021" y="340402"/>
                  <a:pt x="4813086" y="348139"/>
                  <a:pt x="4811153" y="355875"/>
                </a:cubicBezTo>
                <a:cubicBezTo>
                  <a:pt x="4815021" y="359743"/>
                  <a:pt x="4816954" y="365544"/>
                  <a:pt x="4818890" y="369415"/>
                </a:cubicBezTo>
                <a:cubicBezTo>
                  <a:pt x="4820823" y="375216"/>
                  <a:pt x="4832427" y="369415"/>
                  <a:pt x="4828559" y="379085"/>
                </a:cubicBezTo>
                <a:cubicBezTo>
                  <a:pt x="4840164" y="384886"/>
                  <a:pt x="4849836" y="375216"/>
                  <a:pt x="4861438" y="373281"/>
                </a:cubicBezTo>
                <a:cubicBezTo>
                  <a:pt x="4857572" y="377149"/>
                  <a:pt x="4855637" y="379085"/>
                  <a:pt x="4853704" y="382953"/>
                </a:cubicBezTo>
                <a:cubicBezTo>
                  <a:pt x="4869175" y="377149"/>
                  <a:pt x="4880779" y="363612"/>
                  <a:pt x="4900121" y="357810"/>
                </a:cubicBezTo>
                <a:cubicBezTo>
                  <a:pt x="4898188" y="369415"/>
                  <a:pt x="4886583" y="369415"/>
                  <a:pt x="4880779" y="375216"/>
                </a:cubicBezTo>
                <a:cubicBezTo>
                  <a:pt x="4873045" y="381018"/>
                  <a:pt x="4867242" y="388754"/>
                  <a:pt x="4859505" y="396491"/>
                </a:cubicBezTo>
                <a:cubicBezTo>
                  <a:pt x="4874978" y="396491"/>
                  <a:pt x="4878846" y="388754"/>
                  <a:pt x="4886583" y="382953"/>
                </a:cubicBezTo>
                <a:cubicBezTo>
                  <a:pt x="4894319" y="379085"/>
                  <a:pt x="4902056" y="375216"/>
                  <a:pt x="4911725" y="369415"/>
                </a:cubicBezTo>
                <a:cubicBezTo>
                  <a:pt x="4903989" y="388754"/>
                  <a:pt x="4888516" y="398426"/>
                  <a:pt x="4874978" y="410031"/>
                </a:cubicBezTo>
                <a:cubicBezTo>
                  <a:pt x="4874978" y="415832"/>
                  <a:pt x="4876913" y="419700"/>
                  <a:pt x="4876913" y="425504"/>
                </a:cubicBezTo>
                <a:cubicBezTo>
                  <a:pt x="4878846" y="425504"/>
                  <a:pt x="4882715" y="423568"/>
                  <a:pt x="4886583" y="421635"/>
                </a:cubicBezTo>
                <a:cubicBezTo>
                  <a:pt x="4886583" y="425504"/>
                  <a:pt x="4884648" y="429370"/>
                  <a:pt x="4884648" y="435173"/>
                </a:cubicBezTo>
                <a:cubicBezTo>
                  <a:pt x="4898188" y="427437"/>
                  <a:pt x="4907857" y="419700"/>
                  <a:pt x="4919462" y="411964"/>
                </a:cubicBezTo>
                <a:cubicBezTo>
                  <a:pt x="4921397" y="411964"/>
                  <a:pt x="4921397" y="413899"/>
                  <a:pt x="4921397" y="413899"/>
                </a:cubicBezTo>
                <a:cubicBezTo>
                  <a:pt x="4917529" y="419700"/>
                  <a:pt x="4913661" y="423568"/>
                  <a:pt x="4907857" y="431305"/>
                </a:cubicBezTo>
                <a:cubicBezTo>
                  <a:pt x="4911725" y="431305"/>
                  <a:pt x="4913661" y="431305"/>
                  <a:pt x="4919462" y="431305"/>
                </a:cubicBezTo>
                <a:cubicBezTo>
                  <a:pt x="4911725" y="439041"/>
                  <a:pt x="4903989" y="446778"/>
                  <a:pt x="4894319" y="456450"/>
                </a:cubicBezTo>
                <a:cubicBezTo>
                  <a:pt x="4900121" y="456450"/>
                  <a:pt x="4903989" y="456450"/>
                  <a:pt x="4907857" y="456450"/>
                </a:cubicBezTo>
                <a:cubicBezTo>
                  <a:pt x="4905924" y="460316"/>
                  <a:pt x="4903989" y="462251"/>
                  <a:pt x="4902056" y="466119"/>
                </a:cubicBezTo>
                <a:cubicBezTo>
                  <a:pt x="4913661" y="464184"/>
                  <a:pt x="4909792" y="479657"/>
                  <a:pt x="4921397" y="481592"/>
                </a:cubicBezTo>
                <a:cubicBezTo>
                  <a:pt x="4917529" y="483525"/>
                  <a:pt x="4913661" y="487393"/>
                  <a:pt x="4911725" y="489329"/>
                </a:cubicBezTo>
                <a:cubicBezTo>
                  <a:pt x="4913661" y="491262"/>
                  <a:pt x="4913661" y="491262"/>
                  <a:pt x="4913661" y="491262"/>
                </a:cubicBezTo>
                <a:cubicBezTo>
                  <a:pt x="4917529" y="487393"/>
                  <a:pt x="4923330" y="485460"/>
                  <a:pt x="4927198" y="483525"/>
                </a:cubicBezTo>
                <a:cubicBezTo>
                  <a:pt x="4927198" y="483525"/>
                  <a:pt x="4929131" y="485460"/>
                  <a:pt x="4929131" y="485460"/>
                </a:cubicBezTo>
                <a:lnTo>
                  <a:pt x="4917188" y="495811"/>
                </a:lnTo>
                <a:lnTo>
                  <a:pt x="4917529" y="495130"/>
                </a:lnTo>
                <a:lnTo>
                  <a:pt x="4914633" y="498025"/>
                </a:lnTo>
                <a:lnTo>
                  <a:pt x="4900121" y="510603"/>
                </a:lnTo>
                <a:cubicBezTo>
                  <a:pt x="4898188" y="508670"/>
                  <a:pt x="4894319" y="506735"/>
                  <a:pt x="4892384" y="504802"/>
                </a:cubicBezTo>
                <a:cubicBezTo>
                  <a:pt x="4882715" y="510603"/>
                  <a:pt x="4892384" y="514471"/>
                  <a:pt x="4890451" y="520275"/>
                </a:cubicBezTo>
                <a:cubicBezTo>
                  <a:pt x="4878846" y="526076"/>
                  <a:pt x="4882715" y="535745"/>
                  <a:pt x="4882715" y="547350"/>
                </a:cubicBezTo>
                <a:cubicBezTo>
                  <a:pt x="4888516" y="551218"/>
                  <a:pt x="4894319" y="555087"/>
                  <a:pt x="4902056" y="558955"/>
                </a:cubicBezTo>
                <a:cubicBezTo>
                  <a:pt x="4894319" y="568627"/>
                  <a:pt x="4886583" y="576363"/>
                  <a:pt x="4880779" y="584100"/>
                </a:cubicBezTo>
                <a:cubicBezTo>
                  <a:pt x="4880779" y="584100"/>
                  <a:pt x="4880779" y="586033"/>
                  <a:pt x="4880779" y="586033"/>
                </a:cubicBezTo>
                <a:cubicBezTo>
                  <a:pt x="4884648" y="586033"/>
                  <a:pt x="4888516" y="586033"/>
                  <a:pt x="4890451" y="584100"/>
                </a:cubicBezTo>
                <a:cubicBezTo>
                  <a:pt x="4905924" y="574428"/>
                  <a:pt x="4919462" y="562823"/>
                  <a:pt x="4934935" y="553154"/>
                </a:cubicBezTo>
                <a:cubicBezTo>
                  <a:pt x="4938803" y="551218"/>
                  <a:pt x="4940738" y="549285"/>
                  <a:pt x="4944607" y="549285"/>
                </a:cubicBezTo>
                <a:cubicBezTo>
                  <a:pt x="4946540" y="547350"/>
                  <a:pt x="4950408" y="549285"/>
                  <a:pt x="4950408" y="547350"/>
                </a:cubicBezTo>
                <a:cubicBezTo>
                  <a:pt x="4958144" y="535745"/>
                  <a:pt x="4971682" y="535745"/>
                  <a:pt x="4983289" y="529944"/>
                </a:cubicBezTo>
                <a:cubicBezTo>
                  <a:pt x="5006496" y="520275"/>
                  <a:pt x="4770538" y="818126"/>
                  <a:pt x="4789879" y="804588"/>
                </a:cubicBezTo>
                <a:cubicBezTo>
                  <a:pt x="4795680" y="800720"/>
                  <a:pt x="4803417" y="792983"/>
                  <a:pt x="4815021" y="796849"/>
                </a:cubicBezTo>
                <a:cubicBezTo>
                  <a:pt x="4816954" y="796849"/>
                  <a:pt x="4822758" y="794916"/>
                  <a:pt x="4824691" y="792983"/>
                </a:cubicBezTo>
                <a:cubicBezTo>
                  <a:pt x="4830494" y="785247"/>
                  <a:pt x="4836296" y="787180"/>
                  <a:pt x="4842097" y="789115"/>
                </a:cubicBezTo>
                <a:cubicBezTo>
                  <a:pt x="4847900" y="785247"/>
                  <a:pt x="4851769" y="781378"/>
                  <a:pt x="4857572" y="779443"/>
                </a:cubicBezTo>
                <a:cubicBezTo>
                  <a:pt x="4863373" y="775575"/>
                  <a:pt x="4871110" y="775575"/>
                  <a:pt x="4869175" y="763970"/>
                </a:cubicBezTo>
                <a:cubicBezTo>
                  <a:pt x="4869175" y="762037"/>
                  <a:pt x="4873045" y="758169"/>
                  <a:pt x="4874978" y="756234"/>
                </a:cubicBezTo>
                <a:cubicBezTo>
                  <a:pt x="4880779" y="752365"/>
                  <a:pt x="4888516" y="748497"/>
                  <a:pt x="4894319" y="744629"/>
                </a:cubicBezTo>
                <a:cubicBezTo>
                  <a:pt x="4896252" y="748497"/>
                  <a:pt x="4898188" y="750432"/>
                  <a:pt x="4900121" y="752365"/>
                </a:cubicBezTo>
                <a:cubicBezTo>
                  <a:pt x="4903989" y="744629"/>
                  <a:pt x="4913661" y="742696"/>
                  <a:pt x="4915594" y="733024"/>
                </a:cubicBezTo>
                <a:cubicBezTo>
                  <a:pt x="4915594" y="729156"/>
                  <a:pt x="4925265" y="723355"/>
                  <a:pt x="4929131" y="725290"/>
                </a:cubicBezTo>
                <a:cubicBezTo>
                  <a:pt x="4940738" y="729156"/>
                  <a:pt x="4946540" y="723355"/>
                  <a:pt x="4950408" y="715618"/>
                </a:cubicBezTo>
                <a:cubicBezTo>
                  <a:pt x="4958144" y="715618"/>
                  <a:pt x="4963948" y="715618"/>
                  <a:pt x="4971682" y="715618"/>
                </a:cubicBezTo>
                <a:cubicBezTo>
                  <a:pt x="4969749" y="711750"/>
                  <a:pt x="4967814" y="709815"/>
                  <a:pt x="4965881" y="707882"/>
                </a:cubicBezTo>
                <a:cubicBezTo>
                  <a:pt x="4983289" y="700145"/>
                  <a:pt x="4998760" y="690476"/>
                  <a:pt x="5016166" y="680804"/>
                </a:cubicBezTo>
                <a:cubicBezTo>
                  <a:pt x="5014233" y="682739"/>
                  <a:pt x="5012300" y="684672"/>
                  <a:pt x="5008432" y="688540"/>
                </a:cubicBezTo>
                <a:cubicBezTo>
                  <a:pt x="5020037" y="684672"/>
                  <a:pt x="5031641" y="684672"/>
                  <a:pt x="5039375" y="673067"/>
                </a:cubicBezTo>
                <a:cubicBezTo>
                  <a:pt x="5039375" y="673067"/>
                  <a:pt x="5041311" y="671134"/>
                  <a:pt x="5041311" y="671134"/>
                </a:cubicBezTo>
                <a:cubicBezTo>
                  <a:pt x="5052916" y="673067"/>
                  <a:pt x="5054848" y="663398"/>
                  <a:pt x="5060652" y="657594"/>
                </a:cubicBezTo>
                <a:cubicBezTo>
                  <a:pt x="5064520" y="651793"/>
                  <a:pt x="5070324" y="647925"/>
                  <a:pt x="5078058" y="647925"/>
                </a:cubicBezTo>
                <a:cubicBezTo>
                  <a:pt x="5078058" y="651793"/>
                  <a:pt x="5079993" y="653726"/>
                  <a:pt x="5079993" y="655661"/>
                </a:cubicBezTo>
                <a:cubicBezTo>
                  <a:pt x="5087730" y="653726"/>
                  <a:pt x="5091598" y="649858"/>
                  <a:pt x="5095466" y="642121"/>
                </a:cubicBezTo>
                <a:cubicBezTo>
                  <a:pt x="5097399" y="636320"/>
                  <a:pt x="5105136" y="632452"/>
                  <a:pt x="5114808" y="632452"/>
                </a:cubicBezTo>
                <a:cubicBezTo>
                  <a:pt x="5112872" y="636320"/>
                  <a:pt x="5110939" y="638253"/>
                  <a:pt x="5105136" y="644057"/>
                </a:cubicBezTo>
                <a:cubicBezTo>
                  <a:pt x="5120609" y="640188"/>
                  <a:pt x="5132214" y="636320"/>
                  <a:pt x="5147687" y="630519"/>
                </a:cubicBezTo>
                <a:cubicBezTo>
                  <a:pt x="5141883" y="634385"/>
                  <a:pt x="5139950" y="638253"/>
                  <a:pt x="5136082" y="640188"/>
                </a:cubicBezTo>
                <a:cubicBezTo>
                  <a:pt x="5138017" y="642121"/>
                  <a:pt x="5139950" y="642121"/>
                  <a:pt x="5139950" y="642121"/>
                </a:cubicBezTo>
                <a:cubicBezTo>
                  <a:pt x="5153488" y="634385"/>
                  <a:pt x="5168961" y="628584"/>
                  <a:pt x="5184434" y="620847"/>
                </a:cubicBezTo>
                <a:cubicBezTo>
                  <a:pt x="5203775" y="611178"/>
                  <a:pt x="5223116" y="603441"/>
                  <a:pt x="5242458" y="593769"/>
                </a:cubicBezTo>
                <a:cubicBezTo>
                  <a:pt x="5242458" y="591836"/>
                  <a:pt x="5244393" y="593769"/>
                  <a:pt x="5244393" y="593769"/>
                </a:cubicBezTo>
                <a:cubicBezTo>
                  <a:pt x="5232786" y="601506"/>
                  <a:pt x="5219248" y="609242"/>
                  <a:pt x="5207643" y="616979"/>
                </a:cubicBezTo>
                <a:cubicBezTo>
                  <a:pt x="5211512" y="620847"/>
                  <a:pt x="5215380" y="622780"/>
                  <a:pt x="5221183" y="620847"/>
                </a:cubicBezTo>
                <a:cubicBezTo>
                  <a:pt x="5234721" y="615046"/>
                  <a:pt x="5246326" y="611178"/>
                  <a:pt x="5259864" y="605374"/>
                </a:cubicBezTo>
                <a:cubicBezTo>
                  <a:pt x="5263732" y="603441"/>
                  <a:pt x="5267600" y="603441"/>
                  <a:pt x="5271468" y="603441"/>
                </a:cubicBezTo>
                <a:cubicBezTo>
                  <a:pt x="5267600" y="616979"/>
                  <a:pt x="5254062" y="620847"/>
                  <a:pt x="5244393" y="626651"/>
                </a:cubicBezTo>
                <a:cubicBezTo>
                  <a:pt x="5242458" y="628584"/>
                  <a:pt x="5240522" y="628584"/>
                  <a:pt x="5238589" y="630519"/>
                </a:cubicBezTo>
                <a:cubicBezTo>
                  <a:pt x="5240522" y="630519"/>
                  <a:pt x="5240522" y="632452"/>
                  <a:pt x="5240522" y="632452"/>
                </a:cubicBezTo>
                <a:cubicBezTo>
                  <a:pt x="5257931" y="624715"/>
                  <a:pt x="5273404" y="616979"/>
                  <a:pt x="5290810" y="609242"/>
                </a:cubicBezTo>
                <a:cubicBezTo>
                  <a:pt x="5294678" y="613111"/>
                  <a:pt x="5298546" y="620847"/>
                  <a:pt x="5308218" y="618914"/>
                </a:cubicBezTo>
                <a:cubicBezTo>
                  <a:pt x="5306283" y="615046"/>
                  <a:pt x="5304350" y="615046"/>
                  <a:pt x="5304350" y="613111"/>
                </a:cubicBezTo>
                <a:cubicBezTo>
                  <a:pt x="5302414" y="611178"/>
                  <a:pt x="5300479" y="607309"/>
                  <a:pt x="5300479" y="605374"/>
                </a:cubicBezTo>
                <a:cubicBezTo>
                  <a:pt x="5302414" y="601506"/>
                  <a:pt x="5306283" y="599573"/>
                  <a:pt x="5308218" y="599573"/>
                </a:cubicBezTo>
                <a:cubicBezTo>
                  <a:pt x="5317887" y="601506"/>
                  <a:pt x="5321756" y="595705"/>
                  <a:pt x="5329492" y="593769"/>
                </a:cubicBezTo>
                <a:cubicBezTo>
                  <a:pt x="5337229" y="591836"/>
                  <a:pt x="5343030" y="587968"/>
                  <a:pt x="5350766" y="584100"/>
                </a:cubicBezTo>
                <a:cubicBezTo>
                  <a:pt x="5356570" y="580232"/>
                  <a:pt x="5362371" y="578296"/>
                  <a:pt x="5370108" y="576363"/>
                </a:cubicBezTo>
                <a:cubicBezTo>
                  <a:pt x="5368175" y="578296"/>
                  <a:pt x="5366239" y="582164"/>
                  <a:pt x="5364306" y="586033"/>
                </a:cubicBezTo>
                <a:cubicBezTo>
                  <a:pt x="5393317" y="580232"/>
                  <a:pt x="5412658" y="558955"/>
                  <a:pt x="5439736" y="549285"/>
                </a:cubicBezTo>
                <a:cubicBezTo>
                  <a:pt x="5439736" y="553154"/>
                  <a:pt x="5441669" y="557022"/>
                  <a:pt x="5441669" y="560890"/>
                </a:cubicBezTo>
                <a:cubicBezTo>
                  <a:pt x="5441669" y="562823"/>
                  <a:pt x="5439736" y="562823"/>
                  <a:pt x="5439736" y="562823"/>
                </a:cubicBezTo>
                <a:cubicBezTo>
                  <a:pt x="5435868" y="558955"/>
                  <a:pt x="5432000" y="560890"/>
                  <a:pt x="5428131" y="562823"/>
                </a:cubicBezTo>
                <a:cubicBezTo>
                  <a:pt x="5414594" y="568627"/>
                  <a:pt x="5402987" y="576363"/>
                  <a:pt x="5389449" y="582164"/>
                </a:cubicBezTo>
                <a:cubicBezTo>
                  <a:pt x="5387514" y="584100"/>
                  <a:pt x="5383645" y="586033"/>
                  <a:pt x="5381712" y="586033"/>
                </a:cubicBezTo>
                <a:cubicBezTo>
                  <a:pt x="5370108" y="587968"/>
                  <a:pt x="5362371" y="595705"/>
                  <a:pt x="5352702" y="605374"/>
                </a:cubicBezTo>
                <a:cubicBezTo>
                  <a:pt x="5358503" y="605374"/>
                  <a:pt x="5360438" y="605374"/>
                  <a:pt x="5362371" y="605374"/>
                </a:cubicBezTo>
                <a:cubicBezTo>
                  <a:pt x="5370108" y="603441"/>
                  <a:pt x="5379779" y="597637"/>
                  <a:pt x="5387514" y="595705"/>
                </a:cubicBezTo>
                <a:cubicBezTo>
                  <a:pt x="5391384" y="595705"/>
                  <a:pt x="5395252" y="595705"/>
                  <a:pt x="5397185" y="597637"/>
                </a:cubicBezTo>
                <a:cubicBezTo>
                  <a:pt x="5401054" y="601506"/>
                  <a:pt x="5402987" y="603441"/>
                  <a:pt x="5406855" y="607309"/>
                </a:cubicBezTo>
                <a:cubicBezTo>
                  <a:pt x="5399121" y="611178"/>
                  <a:pt x="5387514" y="611178"/>
                  <a:pt x="5391384" y="626651"/>
                </a:cubicBezTo>
                <a:cubicBezTo>
                  <a:pt x="5385581" y="622780"/>
                  <a:pt x="5381712" y="618914"/>
                  <a:pt x="5377844" y="616979"/>
                </a:cubicBezTo>
                <a:cubicBezTo>
                  <a:pt x="5372043" y="620847"/>
                  <a:pt x="5370108" y="628584"/>
                  <a:pt x="5362371" y="630519"/>
                </a:cubicBezTo>
                <a:cubicBezTo>
                  <a:pt x="5360438" y="630519"/>
                  <a:pt x="5358503" y="638253"/>
                  <a:pt x="5356570" y="642121"/>
                </a:cubicBezTo>
                <a:cubicBezTo>
                  <a:pt x="5354635" y="642121"/>
                  <a:pt x="5350766" y="642121"/>
                  <a:pt x="5346898" y="642121"/>
                </a:cubicBezTo>
                <a:cubicBezTo>
                  <a:pt x="5346898" y="645990"/>
                  <a:pt x="5348833" y="649858"/>
                  <a:pt x="5350766" y="655661"/>
                </a:cubicBezTo>
                <a:cubicBezTo>
                  <a:pt x="5358503" y="644057"/>
                  <a:pt x="5366239" y="649858"/>
                  <a:pt x="5375911" y="649858"/>
                </a:cubicBezTo>
                <a:cubicBezTo>
                  <a:pt x="5372043" y="653726"/>
                  <a:pt x="5372043" y="655661"/>
                  <a:pt x="5370108" y="657594"/>
                </a:cubicBezTo>
                <a:cubicBezTo>
                  <a:pt x="5360438" y="663398"/>
                  <a:pt x="5354635" y="669199"/>
                  <a:pt x="5350766" y="678871"/>
                </a:cubicBezTo>
                <a:cubicBezTo>
                  <a:pt x="5348833" y="682739"/>
                  <a:pt x="5343030" y="686607"/>
                  <a:pt x="5339162" y="688540"/>
                </a:cubicBezTo>
                <a:cubicBezTo>
                  <a:pt x="5325624" y="698212"/>
                  <a:pt x="5315952" y="709815"/>
                  <a:pt x="5308218" y="727223"/>
                </a:cubicBezTo>
                <a:cubicBezTo>
                  <a:pt x="5314019" y="723355"/>
                  <a:pt x="5319820" y="719486"/>
                  <a:pt x="5325624" y="717553"/>
                </a:cubicBezTo>
                <a:cubicBezTo>
                  <a:pt x="5333360" y="715618"/>
                  <a:pt x="5339162" y="713685"/>
                  <a:pt x="5339162" y="702080"/>
                </a:cubicBezTo>
                <a:cubicBezTo>
                  <a:pt x="5341097" y="704013"/>
                  <a:pt x="5341097" y="704013"/>
                  <a:pt x="5343030" y="704013"/>
                </a:cubicBezTo>
                <a:cubicBezTo>
                  <a:pt x="5343030" y="702080"/>
                  <a:pt x="5341097" y="700145"/>
                  <a:pt x="5341097" y="698212"/>
                </a:cubicBezTo>
                <a:cubicBezTo>
                  <a:pt x="5344965" y="692409"/>
                  <a:pt x="5346898" y="688540"/>
                  <a:pt x="5350766" y="684672"/>
                </a:cubicBezTo>
                <a:cubicBezTo>
                  <a:pt x="5352702" y="682739"/>
                  <a:pt x="5354635" y="678871"/>
                  <a:pt x="5358503" y="678871"/>
                </a:cubicBezTo>
                <a:cubicBezTo>
                  <a:pt x="5368175" y="676936"/>
                  <a:pt x="5375911" y="673067"/>
                  <a:pt x="5385581" y="671134"/>
                </a:cubicBezTo>
                <a:cubicBezTo>
                  <a:pt x="5385581" y="669199"/>
                  <a:pt x="5383645" y="669199"/>
                  <a:pt x="5381712" y="667266"/>
                </a:cubicBezTo>
                <a:cubicBezTo>
                  <a:pt x="5385581" y="661463"/>
                  <a:pt x="5389449" y="665331"/>
                  <a:pt x="5391384" y="669199"/>
                </a:cubicBezTo>
                <a:cubicBezTo>
                  <a:pt x="5391384" y="671134"/>
                  <a:pt x="5391384" y="671134"/>
                  <a:pt x="5391384" y="671134"/>
                </a:cubicBezTo>
                <a:cubicBezTo>
                  <a:pt x="5393317" y="671134"/>
                  <a:pt x="5397185" y="671134"/>
                  <a:pt x="5399121" y="671134"/>
                </a:cubicBezTo>
                <a:cubicBezTo>
                  <a:pt x="5401054" y="671134"/>
                  <a:pt x="5402987" y="671134"/>
                  <a:pt x="5404922" y="671134"/>
                </a:cubicBezTo>
                <a:cubicBezTo>
                  <a:pt x="5404922" y="671134"/>
                  <a:pt x="5406855" y="671134"/>
                  <a:pt x="5406855" y="671134"/>
                </a:cubicBezTo>
                <a:cubicBezTo>
                  <a:pt x="5414594" y="667266"/>
                  <a:pt x="5422328" y="665331"/>
                  <a:pt x="5430064" y="665331"/>
                </a:cubicBezTo>
                <a:cubicBezTo>
                  <a:pt x="5428131" y="665331"/>
                  <a:pt x="5426196" y="667266"/>
                  <a:pt x="5424263" y="669199"/>
                </a:cubicBezTo>
                <a:cubicBezTo>
                  <a:pt x="5422328" y="669199"/>
                  <a:pt x="5420395" y="671134"/>
                  <a:pt x="5418462" y="671134"/>
                </a:cubicBezTo>
                <a:cubicBezTo>
                  <a:pt x="5424263" y="671134"/>
                  <a:pt x="5428131" y="671134"/>
                  <a:pt x="5433933" y="671134"/>
                </a:cubicBezTo>
                <a:cubicBezTo>
                  <a:pt x="5449406" y="669199"/>
                  <a:pt x="5464879" y="667266"/>
                  <a:pt x="5480352" y="665331"/>
                </a:cubicBezTo>
                <a:cubicBezTo>
                  <a:pt x="5484220" y="665331"/>
                  <a:pt x="5488088" y="663398"/>
                  <a:pt x="5490021" y="661463"/>
                </a:cubicBezTo>
                <a:cubicBezTo>
                  <a:pt x="5493889" y="657594"/>
                  <a:pt x="5497758" y="653726"/>
                  <a:pt x="5503561" y="651793"/>
                </a:cubicBezTo>
                <a:cubicBezTo>
                  <a:pt x="5515166" y="649858"/>
                  <a:pt x="5528704" y="649858"/>
                  <a:pt x="5540308" y="647925"/>
                </a:cubicBezTo>
                <a:cubicBezTo>
                  <a:pt x="5540308" y="653726"/>
                  <a:pt x="5542244" y="657594"/>
                  <a:pt x="5542244" y="663398"/>
                </a:cubicBezTo>
                <a:cubicBezTo>
                  <a:pt x="5548045" y="665331"/>
                  <a:pt x="5553849" y="665331"/>
                  <a:pt x="5561585" y="667266"/>
                </a:cubicBezTo>
                <a:cubicBezTo>
                  <a:pt x="5559650" y="673067"/>
                  <a:pt x="5555781" y="676936"/>
                  <a:pt x="5555781" y="680804"/>
                </a:cubicBezTo>
                <a:cubicBezTo>
                  <a:pt x="5555781" y="684672"/>
                  <a:pt x="5559650" y="690476"/>
                  <a:pt x="5559650" y="694344"/>
                </a:cubicBezTo>
                <a:cubicBezTo>
                  <a:pt x="5559650" y="698212"/>
                  <a:pt x="5561585" y="704013"/>
                  <a:pt x="5559650" y="707882"/>
                </a:cubicBezTo>
                <a:cubicBezTo>
                  <a:pt x="5557714" y="717553"/>
                  <a:pt x="5553849" y="729156"/>
                  <a:pt x="5548045" y="738828"/>
                </a:cubicBezTo>
                <a:cubicBezTo>
                  <a:pt x="5548045" y="738828"/>
                  <a:pt x="5549980" y="738828"/>
                  <a:pt x="5549980" y="738828"/>
                </a:cubicBezTo>
                <a:cubicBezTo>
                  <a:pt x="5549980" y="738828"/>
                  <a:pt x="5548045" y="740761"/>
                  <a:pt x="5548045" y="740761"/>
                </a:cubicBezTo>
                <a:cubicBezTo>
                  <a:pt x="5546112" y="744629"/>
                  <a:pt x="5542244" y="748497"/>
                  <a:pt x="5540308" y="752365"/>
                </a:cubicBezTo>
                <a:cubicBezTo>
                  <a:pt x="5530639" y="765905"/>
                  <a:pt x="5526771" y="779443"/>
                  <a:pt x="5528704" y="794916"/>
                </a:cubicBezTo>
                <a:cubicBezTo>
                  <a:pt x="5530639" y="808454"/>
                  <a:pt x="5528704" y="821994"/>
                  <a:pt x="5522903" y="835532"/>
                </a:cubicBezTo>
                <a:cubicBezTo>
                  <a:pt x="5517099" y="851005"/>
                  <a:pt x="5513231" y="868413"/>
                  <a:pt x="5511298" y="885819"/>
                </a:cubicBezTo>
                <a:cubicBezTo>
                  <a:pt x="5509362" y="891623"/>
                  <a:pt x="5509362" y="895488"/>
                  <a:pt x="5507430" y="901292"/>
                </a:cubicBezTo>
                <a:cubicBezTo>
                  <a:pt x="5519034" y="899359"/>
                  <a:pt x="5530639" y="897424"/>
                  <a:pt x="5544177" y="893556"/>
                </a:cubicBezTo>
                <a:cubicBezTo>
                  <a:pt x="5530639" y="903225"/>
                  <a:pt x="5528704" y="905160"/>
                  <a:pt x="5519034" y="907093"/>
                </a:cubicBezTo>
                <a:cubicBezTo>
                  <a:pt x="5513231" y="909029"/>
                  <a:pt x="5509362" y="909029"/>
                  <a:pt x="5503561" y="910964"/>
                </a:cubicBezTo>
                <a:cubicBezTo>
                  <a:pt x="5501628" y="914830"/>
                  <a:pt x="5499693" y="920633"/>
                  <a:pt x="5497758" y="926435"/>
                </a:cubicBezTo>
                <a:cubicBezTo>
                  <a:pt x="5497758" y="930303"/>
                  <a:pt x="5493889" y="932238"/>
                  <a:pt x="5493889" y="934171"/>
                </a:cubicBezTo>
                <a:cubicBezTo>
                  <a:pt x="5490021" y="959316"/>
                  <a:pt x="5476483" y="982523"/>
                  <a:pt x="5468747" y="1005733"/>
                </a:cubicBezTo>
                <a:cubicBezTo>
                  <a:pt x="5470680" y="1005733"/>
                  <a:pt x="5474551" y="1003800"/>
                  <a:pt x="5476483" y="1003800"/>
                </a:cubicBezTo>
                <a:cubicBezTo>
                  <a:pt x="5478419" y="1003800"/>
                  <a:pt x="5482287" y="1003800"/>
                  <a:pt x="5484220" y="1001864"/>
                </a:cubicBezTo>
                <a:cubicBezTo>
                  <a:pt x="5501628" y="990260"/>
                  <a:pt x="5520967" y="988327"/>
                  <a:pt x="5538376" y="982523"/>
                </a:cubicBezTo>
                <a:cubicBezTo>
                  <a:pt x="5542244" y="980590"/>
                  <a:pt x="5548045" y="980590"/>
                  <a:pt x="5553849" y="980590"/>
                </a:cubicBezTo>
                <a:cubicBezTo>
                  <a:pt x="5567386" y="982523"/>
                  <a:pt x="5580924" y="986394"/>
                  <a:pt x="5594464" y="990260"/>
                </a:cubicBezTo>
                <a:cubicBezTo>
                  <a:pt x="5594464" y="990260"/>
                  <a:pt x="5594464" y="992195"/>
                  <a:pt x="5594464" y="992195"/>
                </a:cubicBezTo>
                <a:cubicBezTo>
                  <a:pt x="5594464" y="994128"/>
                  <a:pt x="5592531" y="996063"/>
                  <a:pt x="5592531" y="996063"/>
                </a:cubicBezTo>
                <a:cubicBezTo>
                  <a:pt x="5584795" y="999931"/>
                  <a:pt x="5577056" y="1005733"/>
                  <a:pt x="5567386" y="1009601"/>
                </a:cubicBezTo>
                <a:cubicBezTo>
                  <a:pt x="5577056" y="1013469"/>
                  <a:pt x="5582859" y="1011536"/>
                  <a:pt x="5588663" y="1003800"/>
                </a:cubicBezTo>
                <a:cubicBezTo>
                  <a:pt x="5590596" y="1001864"/>
                  <a:pt x="5594464" y="999931"/>
                  <a:pt x="5596397" y="999931"/>
                </a:cubicBezTo>
                <a:cubicBezTo>
                  <a:pt x="5606069" y="1003800"/>
                  <a:pt x="5611872" y="997998"/>
                  <a:pt x="5617674" y="992195"/>
                </a:cubicBezTo>
                <a:cubicBezTo>
                  <a:pt x="5623475" y="984458"/>
                  <a:pt x="5631211" y="984458"/>
                  <a:pt x="5638948" y="984458"/>
                </a:cubicBezTo>
                <a:cubicBezTo>
                  <a:pt x="5638948" y="992195"/>
                  <a:pt x="5629278" y="994128"/>
                  <a:pt x="5625410" y="997998"/>
                </a:cubicBezTo>
                <a:cubicBezTo>
                  <a:pt x="5619607" y="1003800"/>
                  <a:pt x="5609937" y="1003800"/>
                  <a:pt x="5608002" y="1013469"/>
                </a:cubicBezTo>
                <a:cubicBezTo>
                  <a:pt x="5615738" y="1011536"/>
                  <a:pt x="5623475" y="1011536"/>
                  <a:pt x="5633147" y="1011536"/>
                </a:cubicBezTo>
                <a:cubicBezTo>
                  <a:pt x="5629278" y="1015404"/>
                  <a:pt x="5627343" y="1019273"/>
                  <a:pt x="5623475" y="1021206"/>
                </a:cubicBezTo>
                <a:cubicBezTo>
                  <a:pt x="5615738" y="1025074"/>
                  <a:pt x="5609937" y="1028942"/>
                  <a:pt x="5611872" y="1040547"/>
                </a:cubicBezTo>
                <a:cubicBezTo>
                  <a:pt x="5602201" y="1034746"/>
                  <a:pt x="5602201" y="1034746"/>
                  <a:pt x="5578991" y="1057955"/>
                </a:cubicBezTo>
                <a:cubicBezTo>
                  <a:pt x="5582859" y="1059888"/>
                  <a:pt x="5584795" y="1059888"/>
                  <a:pt x="5588663" y="1059888"/>
                </a:cubicBezTo>
                <a:cubicBezTo>
                  <a:pt x="5578991" y="1069560"/>
                  <a:pt x="5567386" y="1077294"/>
                  <a:pt x="5557714" y="1086966"/>
                </a:cubicBezTo>
                <a:cubicBezTo>
                  <a:pt x="5559650" y="1086966"/>
                  <a:pt x="5561585" y="1088899"/>
                  <a:pt x="5563518" y="1088899"/>
                </a:cubicBezTo>
                <a:cubicBezTo>
                  <a:pt x="5565453" y="1086966"/>
                  <a:pt x="5569322" y="1085033"/>
                  <a:pt x="5571255" y="1083098"/>
                </a:cubicBezTo>
                <a:cubicBezTo>
                  <a:pt x="5578991" y="1079230"/>
                  <a:pt x="5584795" y="1073428"/>
                  <a:pt x="5594464" y="1067625"/>
                </a:cubicBezTo>
                <a:cubicBezTo>
                  <a:pt x="5586728" y="1075361"/>
                  <a:pt x="5580924" y="1081162"/>
                  <a:pt x="5573190" y="1086966"/>
                </a:cubicBezTo>
                <a:cubicBezTo>
                  <a:pt x="5573190" y="1086966"/>
                  <a:pt x="5575123" y="1086966"/>
                  <a:pt x="5577056" y="1086966"/>
                </a:cubicBezTo>
                <a:cubicBezTo>
                  <a:pt x="5577056" y="1088899"/>
                  <a:pt x="5577056" y="1092767"/>
                  <a:pt x="5577056" y="1094703"/>
                </a:cubicBezTo>
                <a:cubicBezTo>
                  <a:pt x="5580924" y="1090834"/>
                  <a:pt x="5584795" y="1088899"/>
                  <a:pt x="5586728" y="1085033"/>
                </a:cubicBezTo>
                <a:cubicBezTo>
                  <a:pt x="5590596" y="1079230"/>
                  <a:pt x="5598332" y="1075361"/>
                  <a:pt x="5604133" y="1071493"/>
                </a:cubicBezTo>
                <a:cubicBezTo>
                  <a:pt x="5611872" y="1065692"/>
                  <a:pt x="5621542" y="1059888"/>
                  <a:pt x="5629278" y="1054087"/>
                </a:cubicBezTo>
                <a:cubicBezTo>
                  <a:pt x="5631211" y="1052152"/>
                  <a:pt x="5635080" y="1052152"/>
                  <a:pt x="5638948" y="1054087"/>
                </a:cubicBezTo>
                <a:cubicBezTo>
                  <a:pt x="5633147" y="1057955"/>
                  <a:pt x="5627343" y="1061824"/>
                  <a:pt x="5621542" y="1065692"/>
                </a:cubicBezTo>
                <a:cubicBezTo>
                  <a:pt x="5613805" y="1071493"/>
                  <a:pt x="5608002" y="1075361"/>
                  <a:pt x="5602201" y="1081162"/>
                </a:cubicBezTo>
                <a:cubicBezTo>
                  <a:pt x="5600265" y="1083098"/>
                  <a:pt x="5596397" y="1086966"/>
                  <a:pt x="5594464" y="1086966"/>
                </a:cubicBezTo>
                <a:cubicBezTo>
                  <a:pt x="5582859" y="1086966"/>
                  <a:pt x="5580924" y="1092767"/>
                  <a:pt x="5578991" y="1100504"/>
                </a:cubicBezTo>
                <a:cubicBezTo>
                  <a:pt x="5580924" y="1102439"/>
                  <a:pt x="5582859" y="1106307"/>
                  <a:pt x="5584795" y="1108240"/>
                </a:cubicBezTo>
                <a:cubicBezTo>
                  <a:pt x="5584795" y="1114044"/>
                  <a:pt x="5584795" y="1117912"/>
                  <a:pt x="5582859" y="1123713"/>
                </a:cubicBezTo>
                <a:cubicBezTo>
                  <a:pt x="5582859" y="1125649"/>
                  <a:pt x="5580924" y="1129517"/>
                  <a:pt x="5578991" y="1129517"/>
                </a:cubicBezTo>
                <a:cubicBezTo>
                  <a:pt x="5575123" y="1131450"/>
                  <a:pt x="5575123" y="1127582"/>
                  <a:pt x="5573190" y="1123713"/>
                </a:cubicBezTo>
                <a:cubicBezTo>
                  <a:pt x="5569322" y="1123713"/>
                  <a:pt x="5563518" y="1125649"/>
                  <a:pt x="5557714" y="1125649"/>
                </a:cubicBezTo>
                <a:cubicBezTo>
                  <a:pt x="5559650" y="1119845"/>
                  <a:pt x="5563518" y="1115977"/>
                  <a:pt x="5565453" y="1112109"/>
                </a:cubicBezTo>
                <a:cubicBezTo>
                  <a:pt x="5563518" y="1110176"/>
                  <a:pt x="5561585" y="1110176"/>
                  <a:pt x="5559650" y="1110176"/>
                </a:cubicBezTo>
                <a:cubicBezTo>
                  <a:pt x="5553849" y="1114044"/>
                  <a:pt x="5548045" y="1115977"/>
                  <a:pt x="5546112" y="1121780"/>
                </a:cubicBezTo>
                <a:cubicBezTo>
                  <a:pt x="5549980" y="1125649"/>
                  <a:pt x="5553849" y="1127582"/>
                  <a:pt x="5549980" y="1133385"/>
                </a:cubicBezTo>
                <a:cubicBezTo>
                  <a:pt x="5548045" y="1133385"/>
                  <a:pt x="5546112" y="1133385"/>
                  <a:pt x="5544177" y="1133385"/>
                </a:cubicBezTo>
                <a:cubicBezTo>
                  <a:pt x="5542244" y="1135318"/>
                  <a:pt x="5542244" y="1135318"/>
                  <a:pt x="5540308" y="1137253"/>
                </a:cubicBezTo>
                <a:cubicBezTo>
                  <a:pt x="5542244" y="1137253"/>
                  <a:pt x="5546112" y="1139186"/>
                  <a:pt x="5548045" y="1139186"/>
                </a:cubicBezTo>
                <a:cubicBezTo>
                  <a:pt x="5549980" y="1139186"/>
                  <a:pt x="5553849" y="1137253"/>
                  <a:pt x="5557714" y="1135318"/>
                </a:cubicBezTo>
                <a:cubicBezTo>
                  <a:pt x="5559650" y="1146923"/>
                  <a:pt x="5553849" y="1156595"/>
                  <a:pt x="5553849" y="1168199"/>
                </a:cubicBezTo>
                <a:cubicBezTo>
                  <a:pt x="5555781" y="1168199"/>
                  <a:pt x="5555781" y="1168199"/>
                  <a:pt x="5555781" y="1168199"/>
                </a:cubicBezTo>
                <a:cubicBezTo>
                  <a:pt x="5559650" y="1168199"/>
                  <a:pt x="5561585" y="1162396"/>
                  <a:pt x="5563518" y="1158528"/>
                </a:cubicBezTo>
                <a:cubicBezTo>
                  <a:pt x="5563518" y="1160463"/>
                  <a:pt x="5565453" y="1160463"/>
                  <a:pt x="5565453" y="1162396"/>
                </a:cubicBezTo>
                <a:cubicBezTo>
                  <a:pt x="5565453" y="1166264"/>
                  <a:pt x="5565453" y="1170132"/>
                  <a:pt x="5563518" y="1174001"/>
                </a:cubicBezTo>
                <a:cubicBezTo>
                  <a:pt x="5565453" y="1174001"/>
                  <a:pt x="5569322" y="1174001"/>
                  <a:pt x="5571255" y="1175934"/>
                </a:cubicBezTo>
                <a:cubicBezTo>
                  <a:pt x="5577056" y="1177869"/>
                  <a:pt x="5582859" y="1183670"/>
                  <a:pt x="5588663" y="1187538"/>
                </a:cubicBezTo>
                <a:cubicBezTo>
                  <a:pt x="5590596" y="1189474"/>
                  <a:pt x="5588663" y="1191407"/>
                  <a:pt x="5588663" y="1195275"/>
                </a:cubicBezTo>
                <a:cubicBezTo>
                  <a:pt x="5594464" y="1197210"/>
                  <a:pt x="5598332" y="1197210"/>
                  <a:pt x="5602201" y="1199143"/>
                </a:cubicBezTo>
                <a:cubicBezTo>
                  <a:pt x="5604133" y="1201078"/>
                  <a:pt x="5608002" y="1203011"/>
                  <a:pt x="5608002" y="1204947"/>
                </a:cubicBezTo>
                <a:cubicBezTo>
                  <a:pt x="5608002" y="1214616"/>
                  <a:pt x="5615738" y="1216551"/>
                  <a:pt x="5621542" y="1218484"/>
                </a:cubicBezTo>
                <a:cubicBezTo>
                  <a:pt x="5623475" y="1220420"/>
                  <a:pt x="5627343" y="1220420"/>
                  <a:pt x="5629278" y="1220420"/>
                </a:cubicBezTo>
                <a:cubicBezTo>
                  <a:pt x="5637015" y="1222353"/>
                  <a:pt x="5640883" y="1226221"/>
                  <a:pt x="5642816" y="1233957"/>
                </a:cubicBezTo>
                <a:cubicBezTo>
                  <a:pt x="5644749" y="1239761"/>
                  <a:pt x="5644749" y="1245562"/>
                  <a:pt x="5646684" y="1251363"/>
                </a:cubicBezTo>
                <a:cubicBezTo>
                  <a:pt x="5654421" y="1255234"/>
                  <a:pt x="5660224" y="1255234"/>
                  <a:pt x="5669894" y="1249430"/>
                </a:cubicBezTo>
                <a:cubicBezTo>
                  <a:pt x="5669894" y="1257167"/>
                  <a:pt x="5669894" y="1262968"/>
                  <a:pt x="5669894" y="1268772"/>
                </a:cubicBezTo>
                <a:cubicBezTo>
                  <a:pt x="5677630" y="1272640"/>
                  <a:pt x="5681499" y="1278444"/>
                  <a:pt x="5683432" y="1286178"/>
                </a:cubicBezTo>
                <a:cubicBezTo>
                  <a:pt x="5683432" y="1290046"/>
                  <a:pt x="5685367" y="1295850"/>
                  <a:pt x="5685367" y="1299718"/>
                </a:cubicBezTo>
                <a:cubicBezTo>
                  <a:pt x="5683432" y="1301651"/>
                  <a:pt x="5681499" y="1305519"/>
                  <a:pt x="5679566" y="1307454"/>
                </a:cubicBezTo>
                <a:cubicBezTo>
                  <a:pt x="5685367" y="1313255"/>
                  <a:pt x="5689235" y="1315191"/>
                  <a:pt x="5696972" y="1313255"/>
                </a:cubicBezTo>
                <a:cubicBezTo>
                  <a:pt x="5700840" y="1311323"/>
                  <a:pt x="5706641" y="1313255"/>
                  <a:pt x="5710509" y="1313255"/>
                </a:cubicBezTo>
                <a:lnTo>
                  <a:pt x="5699632" y="1331389"/>
                </a:lnTo>
                <a:lnTo>
                  <a:pt x="5698907" y="1332597"/>
                </a:lnTo>
                <a:cubicBezTo>
                  <a:pt x="5693103" y="1342269"/>
                  <a:pt x="5689235" y="1350003"/>
                  <a:pt x="5695036" y="1359675"/>
                </a:cubicBezTo>
                <a:cubicBezTo>
                  <a:pt x="5693103" y="1361607"/>
                  <a:pt x="5691168" y="1361607"/>
                  <a:pt x="5691168" y="1363543"/>
                </a:cubicBezTo>
                <a:cubicBezTo>
                  <a:pt x="5683432" y="1382884"/>
                  <a:pt x="5666026" y="1390621"/>
                  <a:pt x="5650553" y="1400290"/>
                </a:cubicBezTo>
                <a:cubicBezTo>
                  <a:pt x="5648620" y="1402225"/>
                  <a:pt x="5646684" y="1404158"/>
                  <a:pt x="5642816" y="1406094"/>
                </a:cubicBezTo>
                <a:cubicBezTo>
                  <a:pt x="5648620" y="1409962"/>
                  <a:pt x="5650553" y="1406094"/>
                  <a:pt x="5654421" y="1404158"/>
                </a:cubicBezTo>
                <a:cubicBezTo>
                  <a:pt x="5656356" y="1404158"/>
                  <a:pt x="5658289" y="1402225"/>
                  <a:pt x="5662157" y="1400290"/>
                </a:cubicBezTo>
                <a:cubicBezTo>
                  <a:pt x="5666026" y="1398357"/>
                  <a:pt x="5669894" y="1400290"/>
                  <a:pt x="5669894" y="1400290"/>
                </a:cubicBezTo>
                <a:cubicBezTo>
                  <a:pt x="5669894" y="1404158"/>
                  <a:pt x="5671829" y="1408027"/>
                  <a:pt x="5669894" y="1409962"/>
                </a:cubicBezTo>
                <a:cubicBezTo>
                  <a:pt x="5667959" y="1413830"/>
                  <a:pt x="5664090" y="1415763"/>
                  <a:pt x="5660224" y="1417699"/>
                </a:cubicBezTo>
                <a:cubicBezTo>
                  <a:pt x="5656356" y="1421567"/>
                  <a:pt x="5652488" y="1423500"/>
                  <a:pt x="5648620" y="1427368"/>
                </a:cubicBezTo>
                <a:cubicBezTo>
                  <a:pt x="5648620" y="1431236"/>
                  <a:pt x="5650553" y="1435104"/>
                  <a:pt x="5650553" y="1438973"/>
                </a:cubicBezTo>
                <a:cubicBezTo>
                  <a:pt x="5720181" y="1408027"/>
                  <a:pt x="5787874" y="1375148"/>
                  <a:pt x="5855568" y="1342269"/>
                </a:cubicBezTo>
                <a:cubicBezTo>
                  <a:pt x="5872976" y="1332597"/>
                  <a:pt x="5890382" y="1332597"/>
                  <a:pt x="5905855" y="1338398"/>
                </a:cubicBezTo>
                <a:cubicBezTo>
                  <a:pt x="5907788" y="1336465"/>
                  <a:pt x="5909723" y="1332597"/>
                  <a:pt x="5909723" y="1330664"/>
                </a:cubicBezTo>
                <a:cubicBezTo>
                  <a:pt x="5909723" y="1328729"/>
                  <a:pt x="5915524" y="1328729"/>
                  <a:pt x="5921328" y="1326796"/>
                </a:cubicBezTo>
                <a:cubicBezTo>
                  <a:pt x="5917460" y="1332597"/>
                  <a:pt x="5917460" y="1334532"/>
                  <a:pt x="5915524" y="1338398"/>
                </a:cubicBezTo>
                <a:cubicBezTo>
                  <a:pt x="5919393" y="1340333"/>
                  <a:pt x="5921328" y="1340333"/>
                  <a:pt x="5925194" y="1342269"/>
                </a:cubicBezTo>
                <a:cubicBezTo>
                  <a:pt x="5923261" y="1344202"/>
                  <a:pt x="5923261" y="1344202"/>
                  <a:pt x="5921328" y="1346137"/>
                </a:cubicBezTo>
                <a:cubicBezTo>
                  <a:pt x="5923261" y="1348070"/>
                  <a:pt x="5925194" y="1348070"/>
                  <a:pt x="5927129" y="1350003"/>
                </a:cubicBezTo>
                <a:cubicBezTo>
                  <a:pt x="5929065" y="1348070"/>
                  <a:pt x="5930997" y="1346137"/>
                  <a:pt x="5930997" y="1344202"/>
                </a:cubicBezTo>
                <a:cubicBezTo>
                  <a:pt x="5934866" y="1334532"/>
                  <a:pt x="5940669" y="1334532"/>
                  <a:pt x="5946470" y="1332597"/>
                </a:cubicBezTo>
                <a:cubicBezTo>
                  <a:pt x="5946470" y="1332597"/>
                  <a:pt x="5948403" y="1332597"/>
                  <a:pt x="5950339" y="1332597"/>
                </a:cubicBezTo>
                <a:cubicBezTo>
                  <a:pt x="5956142" y="1332597"/>
                  <a:pt x="5963876" y="1324860"/>
                  <a:pt x="5967745" y="1336465"/>
                </a:cubicBezTo>
                <a:cubicBezTo>
                  <a:pt x="5969680" y="1342269"/>
                  <a:pt x="5973548" y="1348070"/>
                  <a:pt x="5971613" y="1355806"/>
                </a:cubicBezTo>
                <a:cubicBezTo>
                  <a:pt x="5969680" y="1361607"/>
                  <a:pt x="5971613" y="1367411"/>
                  <a:pt x="5973548" y="1371279"/>
                </a:cubicBezTo>
                <a:cubicBezTo>
                  <a:pt x="5973548" y="1373212"/>
                  <a:pt x="5977417" y="1373212"/>
                  <a:pt x="5981285" y="1375148"/>
                </a:cubicBezTo>
                <a:cubicBezTo>
                  <a:pt x="5979352" y="1369344"/>
                  <a:pt x="5979352" y="1363543"/>
                  <a:pt x="5977417" y="1359675"/>
                </a:cubicBezTo>
                <a:cubicBezTo>
                  <a:pt x="5977417" y="1357739"/>
                  <a:pt x="5979352" y="1357739"/>
                  <a:pt x="5979352" y="1357739"/>
                </a:cubicBezTo>
                <a:cubicBezTo>
                  <a:pt x="5981285" y="1359675"/>
                  <a:pt x="5983218" y="1361607"/>
                  <a:pt x="5985153" y="1365478"/>
                </a:cubicBezTo>
                <a:cubicBezTo>
                  <a:pt x="5990954" y="1361607"/>
                  <a:pt x="5994822" y="1357739"/>
                  <a:pt x="5998691" y="1353873"/>
                </a:cubicBezTo>
                <a:cubicBezTo>
                  <a:pt x="5998691" y="1348070"/>
                  <a:pt x="5996758" y="1342269"/>
                  <a:pt x="5990954" y="1338398"/>
                </a:cubicBezTo>
                <a:cubicBezTo>
                  <a:pt x="5985153" y="1336465"/>
                  <a:pt x="5979352" y="1334532"/>
                  <a:pt x="5969680" y="1332597"/>
                </a:cubicBezTo>
                <a:cubicBezTo>
                  <a:pt x="5985153" y="1315191"/>
                  <a:pt x="6004494" y="1305519"/>
                  <a:pt x="6021900" y="1290046"/>
                </a:cubicBezTo>
                <a:cubicBezTo>
                  <a:pt x="6019967" y="1297782"/>
                  <a:pt x="6019967" y="1303586"/>
                  <a:pt x="6018032" y="1313255"/>
                </a:cubicBezTo>
                <a:cubicBezTo>
                  <a:pt x="6014164" y="1309387"/>
                  <a:pt x="6014164" y="1307454"/>
                  <a:pt x="6012228" y="1305519"/>
                </a:cubicBezTo>
                <a:cubicBezTo>
                  <a:pt x="6002559" y="1307454"/>
                  <a:pt x="6010295" y="1315191"/>
                  <a:pt x="6008363" y="1320992"/>
                </a:cubicBezTo>
                <a:cubicBezTo>
                  <a:pt x="6006427" y="1322927"/>
                  <a:pt x="6004494" y="1324860"/>
                  <a:pt x="6000626" y="1328729"/>
                </a:cubicBezTo>
                <a:cubicBezTo>
                  <a:pt x="6004494" y="1330664"/>
                  <a:pt x="6006427" y="1332597"/>
                  <a:pt x="6008363" y="1336465"/>
                </a:cubicBezTo>
                <a:cubicBezTo>
                  <a:pt x="6010295" y="1338398"/>
                  <a:pt x="6010295" y="1342269"/>
                  <a:pt x="6010295" y="1348070"/>
                </a:cubicBezTo>
                <a:lnTo>
                  <a:pt x="6012406" y="1347015"/>
                </a:lnTo>
                <a:lnTo>
                  <a:pt x="6016099" y="1351938"/>
                </a:lnTo>
                <a:cubicBezTo>
                  <a:pt x="6012228" y="1359675"/>
                  <a:pt x="6008363" y="1367411"/>
                  <a:pt x="6002559" y="1377081"/>
                </a:cubicBezTo>
                <a:cubicBezTo>
                  <a:pt x="6014164" y="1375148"/>
                  <a:pt x="6019967" y="1369344"/>
                  <a:pt x="6025769" y="1363543"/>
                </a:cubicBezTo>
                <a:cubicBezTo>
                  <a:pt x="6031570" y="1359675"/>
                  <a:pt x="6037373" y="1353873"/>
                  <a:pt x="6045110" y="1350003"/>
                </a:cubicBezTo>
                <a:cubicBezTo>
                  <a:pt x="6045110" y="1351938"/>
                  <a:pt x="6045110" y="1353873"/>
                  <a:pt x="6043177" y="1355806"/>
                </a:cubicBezTo>
                <a:cubicBezTo>
                  <a:pt x="6039306" y="1361607"/>
                  <a:pt x="6035438" y="1367411"/>
                  <a:pt x="6031570" y="1371279"/>
                </a:cubicBezTo>
                <a:lnTo>
                  <a:pt x="6021900" y="1379338"/>
                </a:lnTo>
                <a:lnTo>
                  <a:pt x="6021900" y="1375148"/>
                </a:lnTo>
                <a:cubicBezTo>
                  <a:pt x="6019967" y="1375148"/>
                  <a:pt x="6018032" y="1375148"/>
                  <a:pt x="6016099" y="1375148"/>
                </a:cubicBezTo>
                <a:cubicBezTo>
                  <a:pt x="6016099" y="1375148"/>
                  <a:pt x="6016099" y="1379016"/>
                  <a:pt x="6016099" y="1379016"/>
                </a:cubicBezTo>
                <a:lnTo>
                  <a:pt x="6020519" y="1380489"/>
                </a:lnTo>
                <a:lnTo>
                  <a:pt x="6019967" y="1380949"/>
                </a:lnTo>
                <a:cubicBezTo>
                  <a:pt x="6018032" y="1382884"/>
                  <a:pt x="6016099" y="1380949"/>
                  <a:pt x="6014164" y="1382884"/>
                </a:cubicBezTo>
                <a:cubicBezTo>
                  <a:pt x="6002559" y="1390621"/>
                  <a:pt x="6000626" y="1390621"/>
                  <a:pt x="5989021" y="1384817"/>
                </a:cubicBezTo>
                <a:lnTo>
                  <a:pt x="5987086" y="1385301"/>
                </a:lnTo>
                <a:lnTo>
                  <a:pt x="5987086" y="1377081"/>
                </a:lnTo>
                <a:cubicBezTo>
                  <a:pt x="5985153" y="1377081"/>
                  <a:pt x="5985153" y="1377081"/>
                  <a:pt x="5983218" y="1377081"/>
                </a:cubicBezTo>
                <a:cubicBezTo>
                  <a:pt x="5980317" y="1381916"/>
                  <a:pt x="5978867" y="1384334"/>
                  <a:pt x="5979350" y="1386027"/>
                </a:cubicBezTo>
                <a:lnTo>
                  <a:pt x="5982327" y="1387795"/>
                </a:lnTo>
                <a:lnTo>
                  <a:pt x="5987086" y="1392554"/>
                </a:lnTo>
                <a:cubicBezTo>
                  <a:pt x="5992890" y="1396422"/>
                  <a:pt x="5992890" y="1400290"/>
                  <a:pt x="5989021" y="1406094"/>
                </a:cubicBezTo>
                <a:cubicBezTo>
                  <a:pt x="5983218" y="1411895"/>
                  <a:pt x="5977417" y="1417699"/>
                  <a:pt x="5971613" y="1421567"/>
                </a:cubicBezTo>
                <a:cubicBezTo>
                  <a:pt x="5967745" y="1425435"/>
                  <a:pt x="5961943" y="1427368"/>
                  <a:pt x="5958075" y="1431236"/>
                </a:cubicBezTo>
                <a:cubicBezTo>
                  <a:pt x="5954207" y="1435104"/>
                  <a:pt x="5950339" y="1438973"/>
                  <a:pt x="5946470" y="1442841"/>
                </a:cubicBezTo>
                <a:cubicBezTo>
                  <a:pt x="5944535" y="1446709"/>
                  <a:pt x="5942602" y="1450577"/>
                  <a:pt x="5940669" y="1454446"/>
                </a:cubicBezTo>
                <a:cubicBezTo>
                  <a:pt x="5940669" y="1454446"/>
                  <a:pt x="5942602" y="1456379"/>
                  <a:pt x="5942602" y="1456379"/>
                </a:cubicBezTo>
                <a:cubicBezTo>
                  <a:pt x="5958075" y="1446709"/>
                  <a:pt x="5971613" y="1435104"/>
                  <a:pt x="5987086" y="1423500"/>
                </a:cubicBezTo>
                <a:cubicBezTo>
                  <a:pt x="5989021" y="1425435"/>
                  <a:pt x="5989021" y="1427368"/>
                  <a:pt x="5992890" y="1429303"/>
                </a:cubicBezTo>
                <a:cubicBezTo>
                  <a:pt x="5996758" y="1425435"/>
                  <a:pt x="5998691" y="1421567"/>
                  <a:pt x="6002559" y="1417699"/>
                </a:cubicBezTo>
                <a:cubicBezTo>
                  <a:pt x="6006427" y="1423500"/>
                  <a:pt x="6010295" y="1427368"/>
                  <a:pt x="6016099" y="1423500"/>
                </a:cubicBezTo>
                <a:cubicBezTo>
                  <a:pt x="6004494" y="1435104"/>
                  <a:pt x="5994822" y="1446709"/>
                  <a:pt x="5983218" y="1458314"/>
                </a:cubicBezTo>
                <a:cubicBezTo>
                  <a:pt x="5967745" y="1473787"/>
                  <a:pt x="5954207" y="1491193"/>
                  <a:pt x="5936801" y="1504733"/>
                </a:cubicBezTo>
                <a:cubicBezTo>
                  <a:pt x="5929065" y="1511502"/>
                  <a:pt x="5921328" y="1518271"/>
                  <a:pt x="5912866" y="1523347"/>
                </a:cubicBezTo>
                <a:lnTo>
                  <a:pt x="5890595" y="1530009"/>
                </a:lnTo>
                <a:lnTo>
                  <a:pt x="5892317" y="1527943"/>
                </a:lnTo>
                <a:cubicBezTo>
                  <a:pt x="5894250" y="1526007"/>
                  <a:pt x="5894250" y="1524074"/>
                  <a:pt x="5898118" y="1522139"/>
                </a:cubicBezTo>
                <a:cubicBezTo>
                  <a:pt x="5894250" y="1522139"/>
                  <a:pt x="5892317" y="1522139"/>
                  <a:pt x="5890382" y="1522139"/>
                </a:cubicBezTo>
                <a:lnTo>
                  <a:pt x="5875713" y="1538142"/>
                </a:lnTo>
                <a:lnTo>
                  <a:pt x="5871041" y="1541480"/>
                </a:lnTo>
                <a:cubicBezTo>
                  <a:pt x="5867172" y="1551151"/>
                  <a:pt x="5862337" y="1559371"/>
                  <a:pt x="5856293" y="1566382"/>
                </a:cubicBezTo>
                <a:lnTo>
                  <a:pt x="5846918" y="1573903"/>
                </a:lnTo>
                <a:lnTo>
                  <a:pt x="5843963" y="1572426"/>
                </a:lnTo>
                <a:cubicBezTo>
                  <a:pt x="5842028" y="1574359"/>
                  <a:pt x="5842028" y="1576295"/>
                  <a:pt x="5840095" y="1578227"/>
                </a:cubicBezTo>
                <a:lnTo>
                  <a:pt x="5840732" y="1578866"/>
                </a:lnTo>
                <a:lnTo>
                  <a:pt x="5834293" y="1584031"/>
                </a:lnTo>
                <a:cubicBezTo>
                  <a:pt x="5832358" y="1582096"/>
                  <a:pt x="5830425" y="1580163"/>
                  <a:pt x="5828490" y="1580163"/>
                </a:cubicBezTo>
                <a:cubicBezTo>
                  <a:pt x="5828490" y="1582096"/>
                  <a:pt x="5828490" y="1584031"/>
                  <a:pt x="5828490" y="1585964"/>
                </a:cubicBezTo>
                <a:lnTo>
                  <a:pt x="5831678" y="1585964"/>
                </a:lnTo>
                <a:lnTo>
                  <a:pt x="5814235" y="1598856"/>
                </a:lnTo>
                <a:lnTo>
                  <a:pt x="5813501" y="1598537"/>
                </a:lnTo>
                <a:cubicBezTo>
                  <a:pt x="5810600" y="1599987"/>
                  <a:pt x="5808182" y="1603371"/>
                  <a:pt x="5805280" y="1605305"/>
                </a:cubicBezTo>
                <a:cubicBezTo>
                  <a:pt x="5805280" y="1599504"/>
                  <a:pt x="5803347" y="1591768"/>
                  <a:pt x="5803347" y="1585964"/>
                </a:cubicBezTo>
                <a:lnTo>
                  <a:pt x="5770466" y="1603834"/>
                </a:lnTo>
                <a:lnTo>
                  <a:pt x="5770466" y="1599504"/>
                </a:lnTo>
                <a:lnTo>
                  <a:pt x="5757403" y="1610934"/>
                </a:lnTo>
                <a:lnTo>
                  <a:pt x="5714378" y="1634316"/>
                </a:lnTo>
                <a:cubicBezTo>
                  <a:pt x="5708576" y="1638184"/>
                  <a:pt x="5700840" y="1643988"/>
                  <a:pt x="5695036" y="1647856"/>
                </a:cubicBezTo>
                <a:cubicBezTo>
                  <a:pt x="5683432" y="1655593"/>
                  <a:pt x="5671829" y="1663329"/>
                  <a:pt x="5660224" y="1671066"/>
                </a:cubicBezTo>
                <a:cubicBezTo>
                  <a:pt x="5658289" y="1672999"/>
                  <a:pt x="5654421" y="1672999"/>
                  <a:pt x="5650553" y="1672999"/>
                </a:cubicBezTo>
                <a:cubicBezTo>
                  <a:pt x="5646684" y="1672999"/>
                  <a:pt x="5644749" y="1672999"/>
                  <a:pt x="5642816" y="1672999"/>
                </a:cubicBezTo>
                <a:cubicBezTo>
                  <a:pt x="5642816" y="1674934"/>
                  <a:pt x="5640883" y="1674934"/>
                  <a:pt x="5640883" y="1674934"/>
                </a:cubicBezTo>
                <a:cubicBezTo>
                  <a:pt x="5640883" y="1676867"/>
                  <a:pt x="5638948" y="1678802"/>
                  <a:pt x="5638948" y="1682670"/>
                </a:cubicBezTo>
                <a:cubicBezTo>
                  <a:pt x="5638948" y="1686539"/>
                  <a:pt x="5637015" y="1688472"/>
                  <a:pt x="5635080" y="1690407"/>
                </a:cubicBezTo>
                <a:cubicBezTo>
                  <a:pt x="5633147" y="1692340"/>
                  <a:pt x="5633147" y="1692340"/>
                  <a:pt x="5631211" y="1694275"/>
                </a:cubicBezTo>
                <a:cubicBezTo>
                  <a:pt x="5637015" y="1694275"/>
                  <a:pt x="5640883" y="1694275"/>
                  <a:pt x="5644749" y="1698144"/>
                </a:cubicBezTo>
                <a:cubicBezTo>
                  <a:pt x="5637015" y="1703945"/>
                  <a:pt x="5637015" y="1703945"/>
                  <a:pt x="5625410" y="1700077"/>
                </a:cubicBezTo>
                <a:cubicBezTo>
                  <a:pt x="5623475" y="1702012"/>
                  <a:pt x="5621542" y="1703945"/>
                  <a:pt x="5619607" y="1705878"/>
                </a:cubicBezTo>
                <a:cubicBezTo>
                  <a:pt x="5617674" y="1698144"/>
                  <a:pt x="5615738" y="1694275"/>
                  <a:pt x="5617674" y="1690407"/>
                </a:cubicBezTo>
                <a:cubicBezTo>
                  <a:pt x="5617674" y="1688472"/>
                  <a:pt x="5617674" y="1688472"/>
                  <a:pt x="5617674" y="1688472"/>
                </a:cubicBezTo>
                <a:cubicBezTo>
                  <a:pt x="5613805" y="1690407"/>
                  <a:pt x="5608002" y="1694275"/>
                  <a:pt x="5604133" y="1696208"/>
                </a:cubicBezTo>
                <a:cubicBezTo>
                  <a:pt x="5606069" y="1709748"/>
                  <a:pt x="5613805" y="1721353"/>
                  <a:pt x="5623475" y="1731022"/>
                </a:cubicBezTo>
                <a:cubicBezTo>
                  <a:pt x="5625410" y="1731022"/>
                  <a:pt x="5625410" y="1732958"/>
                  <a:pt x="5625410" y="1732958"/>
                </a:cubicBezTo>
                <a:cubicBezTo>
                  <a:pt x="5627343" y="1731022"/>
                  <a:pt x="5629278" y="1729087"/>
                  <a:pt x="5631211" y="1727154"/>
                </a:cubicBezTo>
                <a:cubicBezTo>
                  <a:pt x="5635080" y="1727154"/>
                  <a:pt x="5638948" y="1729087"/>
                  <a:pt x="5644749" y="1731022"/>
                </a:cubicBezTo>
                <a:cubicBezTo>
                  <a:pt x="5646684" y="1729087"/>
                  <a:pt x="5646684" y="1729087"/>
                  <a:pt x="5648620" y="1727154"/>
                </a:cubicBezTo>
                <a:cubicBezTo>
                  <a:pt x="5646684" y="1727154"/>
                  <a:pt x="5644749" y="1727154"/>
                  <a:pt x="5640883" y="1725219"/>
                </a:cubicBezTo>
                <a:cubicBezTo>
                  <a:pt x="5640883" y="1719418"/>
                  <a:pt x="5646684" y="1719418"/>
                  <a:pt x="5650553" y="1717482"/>
                </a:cubicBezTo>
                <a:cubicBezTo>
                  <a:pt x="5650553" y="1717482"/>
                  <a:pt x="5652488" y="1717482"/>
                  <a:pt x="5654421" y="1719418"/>
                </a:cubicBezTo>
                <a:lnTo>
                  <a:pt x="5661103" y="1711066"/>
                </a:lnTo>
                <a:lnTo>
                  <a:pt x="5656356" y="1721353"/>
                </a:lnTo>
                <a:cubicBezTo>
                  <a:pt x="5658289" y="1725219"/>
                  <a:pt x="5660224" y="1729087"/>
                  <a:pt x="5664090" y="1734891"/>
                </a:cubicBezTo>
                <a:cubicBezTo>
                  <a:pt x="5664090" y="1734891"/>
                  <a:pt x="5662157" y="1736824"/>
                  <a:pt x="5660224" y="1740692"/>
                </a:cubicBezTo>
                <a:cubicBezTo>
                  <a:pt x="5662157" y="1740692"/>
                  <a:pt x="5662157" y="1742627"/>
                  <a:pt x="5664090" y="1744560"/>
                </a:cubicBezTo>
                <a:cubicBezTo>
                  <a:pt x="5666026" y="1744560"/>
                  <a:pt x="5666026" y="1746496"/>
                  <a:pt x="5667959" y="1748429"/>
                </a:cubicBezTo>
                <a:cubicBezTo>
                  <a:pt x="5667959" y="1750364"/>
                  <a:pt x="5666026" y="1752297"/>
                  <a:pt x="5666026" y="1752297"/>
                </a:cubicBezTo>
                <a:cubicBezTo>
                  <a:pt x="5666026" y="1752297"/>
                  <a:pt x="5664090" y="1754232"/>
                  <a:pt x="5664090" y="1754232"/>
                </a:cubicBezTo>
                <a:cubicBezTo>
                  <a:pt x="5664090" y="1761969"/>
                  <a:pt x="5664090" y="1771638"/>
                  <a:pt x="5664090" y="1779374"/>
                </a:cubicBezTo>
                <a:cubicBezTo>
                  <a:pt x="5664090" y="1779374"/>
                  <a:pt x="5666026" y="1779374"/>
                  <a:pt x="5666026" y="1779374"/>
                </a:cubicBezTo>
                <a:cubicBezTo>
                  <a:pt x="5666026" y="1779374"/>
                  <a:pt x="5666026" y="1781310"/>
                  <a:pt x="5666026" y="1781310"/>
                </a:cubicBezTo>
                <a:cubicBezTo>
                  <a:pt x="5666026" y="1781310"/>
                  <a:pt x="5664090" y="1783243"/>
                  <a:pt x="5664090" y="1785178"/>
                </a:cubicBezTo>
                <a:lnTo>
                  <a:pt x="5667959" y="1785178"/>
                </a:lnTo>
                <a:cubicBezTo>
                  <a:pt x="5660224" y="1785178"/>
                  <a:pt x="5662157" y="1790979"/>
                  <a:pt x="5658289" y="1792912"/>
                </a:cubicBezTo>
                <a:cubicBezTo>
                  <a:pt x="5656356" y="1794848"/>
                  <a:pt x="5656356" y="1794848"/>
                  <a:pt x="5654421" y="1794848"/>
                </a:cubicBezTo>
                <a:lnTo>
                  <a:pt x="5653777" y="1795492"/>
                </a:lnTo>
                <a:lnTo>
                  <a:pt x="5652488" y="1792912"/>
                </a:lnTo>
                <a:cubicBezTo>
                  <a:pt x="5650553" y="1792912"/>
                  <a:pt x="5648620" y="1792912"/>
                  <a:pt x="5648620" y="1792912"/>
                </a:cubicBezTo>
                <a:cubicBezTo>
                  <a:pt x="5642816" y="1798716"/>
                  <a:pt x="5637015" y="1806452"/>
                  <a:pt x="5631211" y="1812254"/>
                </a:cubicBezTo>
                <a:lnTo>
                  <a:pt x="5631521" y="1814730"/>
                </a:lnTo>
                <a:lnTo>
                  <a:pt x="5621542" y="1818057"/>
                </a:lnTo>
                <a:cubicBezTo>
                  <a:pt x="5625410" y="1819992"/>
                  <a:pt x="5627343" y="1821925"/>
                  <a:pt x="5631211" y="1825794"/>
                </a:cubicBezTo>
                <a:lnTo>
                  <a:pt x="5632854" y="1825383"/>
                </a:lnTo>
                <a:lnTo>
                  <a:pt x="5633147" y="1827726"/>
                </a:lnTo>
                <a:cubicBezTo>
                  <a:pt x="5633147" y="1831595"/>
                  <a:pt x="5633147" y="1835463"/>
                  <a:pt x="5633147" y="1839331"/>
                </a:cubicBezTo>
                <a:cubicBezTo>
                  <a:pt x="5638948" y="1835463"/>
                  <a:pt x="5642816" y="1831595"/>
                  <a:pt x="5646684" y="1829662"/>
                </a:cubicBezTo>
                <a:cubicBezTo>
                  <a:pt x="5648620" y="1829662"/>
                  <a:pt x="5652488" y="1829662"/>
                  <a:pt x="5654421" y="1829662"/>
                </a:cubicBezTo>
                <a:cubicBezTo>
                  <a:pt x="5652488" y="1833530"/>
                  <a:pt x="5650553" y="1837398"/>
                  <a:pt x="5648620" y="1841267"/>
                </a:cubicBezTo>
                <a:cubicBezTo>
                  <a:pt x="5654421" y="1837398"/>
                  <a:pt x="5660224" y="1833530"/>
                  <a:pt x="5667959" y="1831595"/>
                </a:cubicBezTo>
                <a:cubicBezTo>
                  <a:pt x="5669894" y="1831595"/>
                  <a:pt x="5669894" y="1829662"/>
                  <a:pt x="5671829" y="1829662"/>
                </a:cubicBezTo>
                <a:cubicBezTo>
                  <a:pt x="5671829" y="1827726"/>
                  <a:pt x="5673762" y="1827726"/>
                  <a:pt x="5673762" y="1825794"/>
                </a:cubicBezTo>
                <a:cubicBezTo>
                  <a:pt x="5675697" y="1816122"/>
                  <a:pt x="5683432" y="1816122"/>
                  <a:pt x="5689235" y="1814189"/>
                </a:cubicBezTo>
                <a:cubicBezTo>
                  <a:pt x="5687300" y="1816122"/>
                  <a:pt x="5685367" y="1819992"/>
                  <a:pt x="5683432" y="1821925"/>
                </a:cubicBezTo>
                <a:cubicBezTo>
                  <a:pt x="5689235" y="1821925"/>
                  <a:pt x="5695036" y="1823858"/>
                  <a:pt x="5700840" y="1823858"/>
                </a:cubicBezTo>
                <a:cubicBezTo>
                  <a:pt x="5706641" y="1823858"/>
                  <a:pt x="5708576" y="1829662"/>
                  <a:pt x="5704708" y="1833530"/>
                </a:cubicBezTo>
                <a:cubicBezTo>
                  <a:pt x="5700840" y="1839331"/>
                  <a:pt x="5695036" y="1841267"/>
                  <a:pt x="5691168" y="1845135"/>
                </a:cubicBezTo>
                <a:cubicBezTo>
                  <a:pt x="5687300" y="1843200"/>
                  <a:pt x="5685367" y="1841267"/>
                  <a:pt x="5683432" y="1839331"/>
                </a:cubicBezTo>
                <a:cubicBezTo>
                  <a:pt x="5681499" y="1839331"/>
                  <a:pt x="5675697" y="1835463"/>
                  <a:pt x="5671829" y="1833530"/>
                </a:cubicBezTo>
                <a:cubicBezTo>
                  <a:pt x="5666026" y="1837398"/>
                  <a:pt x="5660224" y="1843200"/>
                  <a:pt x="5658289" y="1850936"/>
                </a:cubicBezTo>
                <a:cubicBezTo>
                  <a:pt x="5662157" y="1850936"/>
                  <a:pt x="5664090" y="1852871"/>
                  <a:pt x="5666026" y="1852871"/>
                </a:cubicBezTo>
                <a:cubicBezTo>
                  <a:pt x="5664090" y="1862541"/>
                  <a:pt x="5660224" y="1870277"/>
                  <a:pt x="5646684" y="1870277"/>
                </a:cubicBezTo>
                <a:cubicBezTo>
                  <a:pt x="5646684" y="1866409"/>
                  <a:pt x="5648620" y="1862541"/>
                  <a:pt x="5650553" y="1856740"/>
                </a:cubicBezTo>
                <a:cubicBezTo>
                  <a:pt x="5640883" y="1854804"/>
                  <a:pt x="5637015" y="1860608"/>
                  <a:pt x="5631211" y="1864476"/>
                </a:cubicBezTo>
                <a:cubicBezTo>
                  <a:pt x="5629278" y="1866409"/>
                  <a:pt x="5627343" y="1868344"/>
                  <a:pt x="5623475" y="1870277"/>
                </a:cubicBezTo>
                <a:cubicBezTo>
                  <a:pt x="5617674" y="1887686"/>
                  <a:pt x="5613805" y="1907027"/>
                  <a:pt x="5604133" y="1924433"/>
                </a:cubicBezTo>
                <a:cubicBezTo>
                  <a:pt x="5596397" y="1937971"/>
                  <a:pt x="5594464" y="1951511"/>
                  <a:pt x="5588663" y="1965049"/>
                </a:cubicBezTo>
                <a:cubicBezTo>
                  <a:pt x="5580924" y="1982457"/>
                  <a:pt x="5573190" y="1999863"/>
                  <a:pt x="5565453" y="2015336"/>
                </a:cubicBezTo>
                <a:cubicBezTo>
                  <a:pt x="5571255" y="2013400"/>
                  <a:pt x="5577056" y="2011468"/>
                  <a:pt x="5582859" y="2011468"/>
                </a:cubicBezTo>
                <a:cubicBezTo>
                  <a:pt x="5584795" y="2011468"/>
                  <a:pt x="5586728" y="2013400"/>
                  <a:pt x="5588663" y="2013400"/>
                </a:cubicBezTo>
                <a:cubicBezTo>
                  <a:pt x="5580924" y="2019204"/>
                  <a:pt x="5571255" y="2023072"/>
                  <a:pt x="5561585" y="2025005"/>
                </a:cubicBezTo>
                <a:cubicBezTo>
                  <a:pt x="5555781" y="2038545"/>
                  <a:pt x="5549980" y="2052083"/>
                  <a:pt x="5544177" y="2065623"/>
                </a:cubicBezTo>
                <a:cubicBezTo>
                  <a:pt x="5544177" y="2065623"/>
                  <a:pt x="5542244" y="2067556"/>
                  <a:pt x="5542244" y="2069491"/>
                </a:cubicBezTo>
                <a:cubicBezTo>
                  <a:pt x="5546112" y="2065623"/>
                  <a:pt x="5551913" y="2061755"/>
                  <a:pt x="5559650" y="2063688"/>
                </a:cubicBezTo>
                <a:cubicBezTo>
                  <a:pt x="5551913" y="2067556"/>
                  <a:pt x="5549980" y="2075293"/>
                  <a:pt x="5546112" y="2081096"/>
                </a:cubicBezTo>
                <a:cubicBezTo>
                  <a:pt x="5544177" y="2084962"/>
                  <a:pt x="5540308" y="2086897"/>
                  <a:pt x="5536440" y="2088830"/>
                </a:cubicBezTo>
                <a:cubicBezTo>
                  <a:pt x="5534507" y="2088830"/>
                  <a:pt x="5532572" y="2090766"/>
                  <a:pt x="5530639" y="2092698"/>
                </a:cubicBezTo>
                <a:cubicBezTo>
                  <a:pt x="5519034" y="2119776"/>
                  <a:pt x="5509362" y="2144921"/>
                  <a:pt x="5497758" y="2170064"/>
                </a:cubicBezTo>
                <a:cubicBezTo>
                  <a:pt x="5495825" y="2177800"/>
                  <a:pt x="5491956" y="2185537"/>
                  <a:pt x="5490021" y="2193273"/>
                </a:cubicBezTo>
                <a:cubicBezTo>
                  <a:pt x="5488088" y="2197142"/>
                  <a:pt x="5488088" y="2201010"/>
                  <a:pt x="5488088" y="2206811"/>
                </a:cubicBezTo>
                <a:cubicBezTo>
                  <a:pt x="5495825" y="2202943"/>
                  <a:pt x="5499693" y="2202943"/>
                  <a:pt x="5503561" y="2201010"/>
                </a:cubicBezTo>
                <a:cubicBezTo>
                  <a:pt x="5517099" y="2195206"/>
                  <a:pt x="5530639" y="2187470"/>
                  <a:pt x="5546112" y="2183602"/>
                </a:cubicBezTo>
                <a:cubicBezTo>
                  <a:pt x="5567386" y="2177800"/>
                  <a:pt x="5658289" y="2129448"/>
                  <a:pt x="5679566" y="2123645"/>
                </a:cubicBezTo>
                <a:cubicBezTo>
                  <a:pt x="5693103" y="2121712"/>
                  <a:pt x="5706641" y="2115908"/>
                  <a:pt x="5720181" y="2113975"/>
                </a:cubicBezTo>
                <a:cubicBezTo>
                  <a:pt x="5731784" y="2112040"/>
                  <a:pt x="5745324" y="2113975"/>
                  <a:pt x="5756928" y="2113975"/>
                </a:cubicBezTo>
                <a:cubicBezTo>
                  <a:pt x="5766600" y="2113975"/>
                  <a:pt x="5774334" y="2115908"/>
                  <a:pt x="5782073" y="2121712"/>
                </a:cubicBezTo>
                <a:cubicBezTo>
                  <a:pt x="5789807" y="2127513"/>
                  <a:pt x="5799479" y="2131381"/>
                  <a:pt x="5811084" y="2129448"/>
                </a:cubicBezTo>
                <a:cubicBezTo>
                  <a:pt x="5822689" y="2127513"/>
                  <a:pt x="5828490" y="2135250"/>
                  <a:pt x="5836226" y="2141053"/>
                </a:cubicBezTo>
                <a:cubicBezTo>
                  <a:pt x="5838159" y="2144921"/>
                  <a:pt x="5842028" y="2146854"/>
                  <a:pt x="5845898" y="2148789"/>
                </a:cubicBezTo>
                <a:cubicBezTo>
                  <a:pt x="5859436" y="2154591"/>
                  <a:pt x="5872976" y="2164262"/>
                  <a:pt x="5882645" y="2175867"/>
                </a:cubicBezTo>
                <a:cubicBezTo>
                  <a:pt x="5888447" y="2181669"/>
                  <a:pt x="5896183" y="2185537"/>
                  <a:pt x="5898118" y="2195206"/>
                </a:cubicBezTo>
                <a:cubicBezTo>
                  <a:pt x="5898118" y="2197142"/>
                  <a:pt x="5900051" y="2199075"/>
                  <a:pt x="5901987" y="2199075"/>
                </a:cubicBezTo>
                <a:cubicBezTo>
                  <a:pt x="5917460" y="2202943"/>
                  <a:pt x="5921328" y="2218416"/>
                  <a:pt x="5929065" y="2230020"/>
                </a:cubicBezTo>
                <a:cubicBezTo>
                  <a:pt x="5932933" y="2237757"/>
                  <a:pt x="5936801" y="2245494"/>
                  <a:pt x="5942602" y="2251297"/>
                </a:cubicBezTo>
                <a:cubicBezTo>
                  <a:pt x="5954207" y="2260966"/>
                  <a:pt x="5960011" y="2276439"/>
                  <a:pt x="5967745" y="2289977"/>
                </a:cubicBezTo>
                <a:cubicBezTo>
                  <a:pt x="5971613" y="2295781"/>
                  <a:pt x="5975481" y="2299649"/>
                  <a:pt x="5979352" y="2305450"/>
                </a:cubicBezTo>
                <a:cubicBezTo>
                  <a:pt x="5985153" y="2313187"/>
                  <a:pt x="5990954" y="2318990"/>
                  <a:pt x="5992890" y="2326727"/>
                </a:cubicBezTo>
                <a:cubicBezTo>
                  <a:pt x="5994822" y="2334461"/>
                  <a:pt x="5998691" y="2342200"/>
                  <a:pt x="6000626" y="2349937"/>
                </a:cubicBezTo>
                <a:cubicBezTo>
                  <a:pt x="6002559" y="2355738"/>
                  <a:pt x="6000626" y="2363474"/>
                  <a:pt x="6000626" y="2371211"/>
                </a:cubicBezTo>
                <a:cubicBezTo>
                  <a:pt x="6000626" y="2373143"/>
                  <a:pt x="5998691" y="2375079"/>
                  <a:pt x="6000626" y="2377012"/>
                </a:cubicBezTo>
                <a:cubicBezTo>
                  <a:pt x="6014164" y="2400222"/>
                  <a:pt x="6010295" y="2423431"/>
                  <a:pt x="6008363" y="2446640"/>
                </a:cubicBezTo>
                <a:cubicBezTo>
                  <a:pt x="6008363" y="2462114"/>
                  <a:pt x="6000626" y="2475651"/>
                  <a:pt x="5990954" y="2489191"/>
                </a:cubicBezTo>
                <a:cubicBezTo>
                  <a:pt x="5987086" y="2493059"/>
                  <a:pt x="5985153" y="2500796"/>
                  <a:pt x="5981285" y="2508533"/>
                </a:cubicBezTo>
                <a:cubicBezTo>
                  <a:pt x="5981285" y="2510466"/>
                  <a:pt x="5981285" y="2512401"/>
                  <a:pt x="5979352" y="2514334"/>
                </a:cubicBezTo>
                <a:cubicBezTo>
                  <a:pt x="5971613" y="2525938"/>
                  <a:pt x="5963876" y="2537543"/>
                  <a:pt x="5956142" y="2547213"/>
                </a:cubicBezTo>
                <a:cubicBezTo>
                  <a:pt x="5942602" y="2564621"/>
                  <a:pt x="5929065" y="2583962"/>
                  <a:pt x="5913591" y="2599435"/>
                </a:cubicBezTo>
                <a:cubicBezTo>
                  <a:pt x="5892317" y="2620710"/>
                  <a:pt x="5869108" y="2638115"/>
                  <a:pt x="5847831" y="2655524"/>
                </a:cubicBezTo>
                <a:cubicBezTo>
                  <a:pt x="5845898" y="2657457"/>
                  <a:pt x="5843963" y="2657457"/>
                  <a:pt x="5842028" y="2659392"/>
                </a:cubicBezTo>
                <a:cubicBezTo>
                  <a:pt x="5820753" y="2684535"/>
                  <a:pt x="5716313" y="2736755"/>
                  <a:pt x="5693103" y="2759964"/>
                </a:cubicBezTo>
                <a:cubicBezTo>
                  <a:pt x="5677630" y="2775438"/>
                  <a:pt x="5660224" y="2788978"/>
                  <a:pt x="5642816" y="2804451"/>
                </a:cubicBezTo>
                <a:cubicBezTo>
                  <a:pt x="5621542" y="2823789"/>
                  <a:pt x="5598332" y="2843131"/>
                  <a:pt x="5577056" y="2862472"/>
                </a:cubicBezTo>
                <a:cubicBezTo>
                  <a:pt x="5578991" y="2862472"/>
                  <a:pt x="5578991" y="2864407"/>
                  <a:pt x="5580924" y="2866340"/>
                </a:cubicBezTo>
                <a:cubicBezTo>
                  <a:pt x="5586728" y="2862472"/>
                  <a:pt x="5592531" y="2858604"/>
                  <a:pt x="5598332" y="2854735"/>
                </a:cubicBezTo>
                <a:cubicBezTo>
                  <a:pt x="5598332" y="2862472"/>
                  <a:pt x="5596397" y="2866340"/>
                  <a:pt x="5592531" y="2868276"/>
                </a:cubicBezTo>
                <a:cubicBezTo>
                  <a:pt x="5590596" y="2868276"/>
                  <a:pt x="5586728" y="2870208"/>
                  <a:pt x="5582859" y="2870208"/>
                </a:cubicBezTo>
                <a:cubicBezTo>
                  <a:pt x="5577056" y="2872144"/>
                  <a:pt x="5571255" y="2872144"/>
                  <a:pt x="5569322" y="2881813"/>
                </a:cubicBezTo>
                <a:cubicBezTo>
                  <a:pt x="5567386" y="2883749"/>
                  <a:pt x="5563518" y="2885682"/>
                  <a:pt x="5561585" y="2887617"/>
                </a:cubicBezTo>
                <a:cubicBezTo>
                  <a:pt x="5561585" y="2887617"/>
                  <a:pt x="5559650" y="2889550"/>
                  <a:pt x="5559650" y="2889550"/>
                </a:cubicBezTo>
                <a:cubicBezTo>
                  <a:pt x="5561585" y="2891485"/>
                  <a:pt x="5563518" y="2891485"/>
                  <a:pt x="5563518" y="2893418"/>
                </a:cubicBezTo>
                <a:cubicBezTo>
                  <a:pt x="5571255" y="2889550"/>
                  <a:pt x="5577056" y="2885682"/>
                  <a:pt x="5584795" y="2883749"/>
                </a:cubicBezTo>
                <a:cubicBezTo>
                  <a:pt x="5586728" y="2881813"/>
                  <a:pt x="5588663" y="2883749"/>
                  <a:pt x="5592531" y="2885682"/>
                </a:cubicBezTo>
                <a:cubicBezTo>
                  <a:pt x="5586728" y="2887617"/>
                  <a:pt x="5582859" y="2889550"/>
                  <a:pt x="5580924" y="2889550"/>
                </a:cubicBezTo>
                <a:cubicBezTo>
                  <a:pt x="5577056" y="2889550"/>
                  <a:pt x="5575123" y="2889550"/>
                  <a:pt x="5573190" y="2893418"/>
                </a:cubicBezTo>
                <a:cubicBezTo>
                  <a:pt x="5571255" y="2895351"/>
                  <a:pt x="5567386" y="2897287"/>
                  <a:pt x="5563518" y="2897287"/>
                </a:cubicBezTo>
                <a:cubicBezTo>
                  <a:pt x="5563518" y="2897287"/>
                  <a:pt x="5561585" y="2897287"/>
                  <a:pt x="5561585" y="2897287"/>
                </a:cubicBezTo>
                <a:cubicBezTo>
                  <a:pt x="5561585" y="2899219"/>
                  <a:pt x="5561585" y="2899219"/>
                  <a:pt x="5561585" y="2899219"/>
                </a:cubicBezTo>
                <a:cubicBezTo>
                  <a:pt x="5555781" y="2899219"/>
                  <a:pt x="5548045" y="2901155"/>
                  <a:pt x="5542244" y="2901155"/>
                </a:cubicBezTo>
                <a:cubicBezTo>
                  <a:pt x="5538376" y="2901155"/>
                  <a:pt x="5534507" y="2903090"/>
                  <a:pt x="5530639" y="2903090"/>
                </a:cubicBezTo>
                <a:cubicBezTo>
                  <a:pt x="5530639" y="2905023"/>
                  <a:pt x="5528704" y="2905023"/>
                  <a:pt x="5526771" y="2906956"/>
                </a:cubicBezTo>
                <a:cubicBezTo>
                  <a:pt x="5546112" y="2910824"/>
                  <a:pt x="5565453" y="2912759"/>
                  <a:pt x="5584795" y="2910824"/>
                </a:cubicBezTo>
                <a:cubicBezTo>
                  <a:pt x="5580924" y="2910824"/>
                  <a:pt x="5578991" y="2912759"/>
                  <a:pt x="5577056" y="2912759"/>
                </a:cubicBezTo>
                <a:cubicBezTo>
                  <a:pt x="5590596" y="2912759"/>
                  <a:pt x="5604133" y="2914692"/>
                  <a:pt x="5617674" y="2916628"/>
                </a:cubicBezTo>
                <a:cubicBezTo>
                  <a:pt x="5619607" y="2916628"/>
                  <a:pt x="5621542" y="2916628"/>
                  <a:pt x="5623475" y="2916628"/>
                </a:cubicBezTo>
                <a:cubicBezTo>
                  <a:pt x="5625410" y="2916628"/>
                  <a:pt x="5625410" y="2916628"/>
                  <a:pt x="5627343" y="2916628"/>
                </a:cubicBezTo>
                <a:cubicBezTo>
                  <a:pt x="5637015" y="2914692"/>
                  <a:pt x="5642816" y="2914692"/>
                  <a:pt x="5648620" y="2905023"/>
                </a:cubicBezTo>
                <a:cubicBezTo>
                  <a:pt x="5650553" y="2901155"/>
                  <a:pt x="5656356" y="2899219"/>
                  <a:pt x="5662157" y="2899219"/>
                </a:cubicBezTo>
                <a:cubicBezTo>
                  <a:pt x="5660224" y="2901155"/>
                  <a:pt x="5658289" y="2903090"/>
                  <a:pt x="5656356" y="2905023"/>
                </a:cubicBezTo>
                <a:cubicBezTo>
                  <a:pt x="5658289" y="2905023"/>
                  <a:pt x="5658289" y="2906956"/>
                  <a:pt x="5658289" y="2906956"/>
                </a:cubicBezTo>
                <a:cubicBezTo>
                  <a:pt x="5667959" y="2908891"/>
                  <a:pt x="5675697" y="2910824"/>
                  <a:pt x="5685367" y="2910824"/>
                </a:cubicBezTo>
                <a:cubicBezTo>
                  <a:pt x="5698907" y="2910824"/>
                  <a:pt x="5700840" y="2908891"/>
                  <a:pt x="5696972" y="2891485"/>
                </a:cubicBezTo>
                <a:cubicBezTo>
                  <a:pt x="5700840" y="2883749"/>
                  <a:pt x="5706641" y="2889550"/>
                  <a:pt x="5712445" y="2891485"/>
                </a:cubicBezTo>
                <a:cubicBezTo>
                  <a:pt x="5708576" y="2893418"/>
                  <a:pt x="5706641" y="2893418"/>
                  <a:pt x="5702773" y="2895351"/>
                </a:cubicBezTo>
                <a:cubicBezTo>
                  <a:pt x="5704708" y="2897287"/>
                  <a:pt x="5706641" y="2899219"/>
                  <a:pt x="5708576" y="2901155"/>
                </a:cubicBezTo>
                <a:cubicBezTo>
                  <a:pt x="5708576" y="2903090"/>
                  <a:pt x="5706641" y="2905023"/>
                  <a:pt x="5704708" y="2908891"/>
                </a:cubicBezTo>
                <a:cubicBezTo>
                  <a:pt x="5714378" y="2910824"/>
                  <a:pt x="5724049" y="2908891"/>
                  <a:pt x="5733719" y="2908891"/>
                </a:cubicBezTo>
                <a:cubicBezTo>
                  <a:pt x="5733719" y="2910824"/>
                  <a:pt x="5733719" y="2912759"/>
                  <a:pt x="5733719" y="2916628"/>
                </a:cubicBezTo>
                <a:cubicBezTo>
                  <a:pt x="5720181" y="2918561"/>
                  <a:pt x="5706641" y="2920496"/>
                  <a:pt x="5693103" y="2922429"/>
                </a:cubicBezTo>
                <a:cubicBezTo>
                  <a:pt x="5677630" y="2924364"/>
                  <a:pt x="5662157" y="2924364"/>
                  <a:pt x="5646684" y="2926297"/>
                </a:cubicBezTo>
                <a:cubicBezTo>
                  <a:pt x="5648620" y="2928232"/>
                  <a:pt x="5650553" y="2928232"/>
                  <a:pt x="5650553" y="2930165"/>
                </a:cubicBezTo>
                <a:cubicBezTo>
                  <a:pt x="5652488" y="2932101"/>
                  <a:pt x="5652488" y="2932101"/>
                  <a:pt x="5654421" y="2934034"/>
                </a:cubicBezTo>
                <a:cubicBezTo>
                  <a:pt x="5662157" y="2934034"/>
                  <a:pt x="5667959" y="2932101"/>
                  <a:pt x="5673762" y="2932101"/>
                </a:cubicBezTo>
                <a:cubicBezTo>
                  <a:pt x="5669894" y="2934034"/>
                  <a:pt x="5664090" y="2937902"/>
                  <a:pt x="5658289" y="2939837"/>
                </a:cubicBezTo>
                <a:cubicBezTo>
                  <a:pt x="5658289" y="2941770"/>
                  <a:pt x="5658289" y="2945639"/>
                  <a:pt x="5658289" y="2947574"/>
                </a:cubicBezTo>
                <a:cubicBezTo>
                  <a:pt x="5656356" y="2951442"/>
                  <a:pt x="5654421" y="2955310"/>
                  <a:pt x="5652488" y="2959178"/>
                </a:cubicBezTo>
                <a:cubicBezTo>
                  <a:pt x="5654421" y="2959178"/>
                  <a:pt x="5658289" y="2959178"/>
                  <a:pt x="5660224" y="2959178"/>
                </a:cubicBezTo>
                <a:cubicBezTo>
                  <a:pt x="5660224" y="2961111"/>
                  <a:pt x="5658289" y="2963047"/>
                  <a:pt x="5658289" y="2963047"/>
                </a:cubicBezTo>
                <a:cubicBezTo>
                  <a:pt x="5667959" y="2963047"/>
                  <a:pt x="5675697" y="2959178"/>
                  <a:pt x="5687300" y="2963047"/>
                </a:cubicBezTo>
                <a:cubicBezTo>
                  <a:pt x="5650553" y="2976584"/>
                  <a:pt x="5617674" y="2978520"/>
                  <a:pt x="5582859" y="2988189"/>
                </a:cubicBezTo>
                <a:cubicBezTo>
                  <a:pt x="5586728" y="2993991"/>
                  <a:pt x="5588663" y="2999794"/>
                  <a:pt x="5590596" y="3003662"/>
                </a:cubicBezTo>
                <a:cubicBezTo>
                  <a:pt x="5590596" y="3005595"/>
                  <a:pt x="5592531" y="3007531"/>
                  <a:pt x="5594464" y="3007531"/>
                </a:cubicBezTo>
                <a:cubicBezTo>
                  <a:pt x="5600265" y="3007531"/>
                  <a:pt x="5608002" y="3009464"/>
                  <a:pt x="5613805" y="3009464"/>
                </a:cubicBezTo>
                <a:cubicBezTo>
                  <a:pt x="5646684" y="3011399"/>
                  <a:pt x="5681499" y="3013332"/>
                  <a:pt x="5714378" y="3017200"/>
                </a:cubicBezTo>
                <a:cubicBezTo>
                  <a:pt x="5716313" y="3015267"/>
                  <a:pt x="5718246" y="3011399"/>
                  <a:pt x="5722114" y="3009464"/>
                </a:cubicBezTo>
                <a:cubicBezTo>
                  <a:pt x="5722114" y="3013332"/>
                  <a:pt x="5720181" y="3017200"/>
                  <a:pt x="5720181" y="3019135"/>
                </a:cubicBezTo>
                <a:cubicBezTo>
                  <a:pt x="5729851" y="3021068"/>
                  <a:pt x="5737587" y="3023003"/>
                  <a:pt x="5747259" y="3024936"/>
                </a:cubicBezTo>
                <a:cubicBezTo>
                  <a:pt x="5753060" y="3024936"/>
                  <a:pt x="5756928" y="3024936"/>
                  <a:pt x="5762732" y="3024936"/>
                </a:cubicBezTo>
                <a:cubicBezTo>
                  <a:pt x="5758864" y="3026872"/>
                  <a:pt x="5756928" y="3028805"/>
                  <a:pt x="5754993" y="3028805"/>
                </a:cubicBezTo>
                <a:cubicBezTo>
                  <a:pt x="5756928" y="3028805"/>
                  <a:pt x="5758864" y="3032673"/>
                  <a:pt x="5764665" y="3036541"/>
                </a:cubicBezTo>
                <a:cubicBezTo>
                  <a:pt x="5754993" y="3036541"/>
                  <a:pt x="5749192" y="3036541"/>
                  <a:pt x="5745324" y="3036541"/>
                </a:cubicBezTo>
                <a:cubicBezTo>
                  <a:pt x="5689235" y="3030740"/>
                  <a:pt x="5635080" y="3026872"/>
                  <a:pt x="5578991" y="3021068"/>
                </a:cubicBezTo>
                <a:cubicBezTo>
                  <a:pt x="5577056" y="3021068"/>
                  <a:pt x="5577056" y="3021068"/>
                  <a:pt x="5575123" y="3021068"/>
                </a:cubicBezTo>
                <a:cubicBezTo>
                  <a:pt x="5577056" y="3021068"/>
                  <a:pt x="5578991" y="3023003"/>
                  <a:pt x="5577056" y="3026872"/>
                </a:cubicBezTo>
                <a:cubicBezTo>
                  <a:pt x="5567386" y="3026872"/>
                  <a:pt x="5555781" y="3024936"/>
                  <a:pt x="5544177" y="3024936"/>
                </a:cubicBezTo>
                <a:cubicBezTo>
                  <a:pt x="5548045" y="3026872"/>
                  <a:pt x="5549980" y="3028805"/>
                  <a:pt x="5551913" y="3032673"/>
                </a:cubicBezTo>
                <a:cubicBezTo>
                  <a:pt x="5530639" y="3032673"/>
                  <a:pt x="5509362" y="3036541"/>
                  <a:pt x="5490021" y="3034608"/>
                </a:cubicBezTo>
                <a:cubicBezTo>
                  <a:pt x="5488088" y="3036541"/>
                  <a:pt x="5484220" y="3038476"/>
                  <a:pt x="5480352" y="3038476"/>
                </a:cubicBezTo>
                <a:cubicBezTo>
                  <a:pt x="5478419" y="3038476"/>
                  <a:pt x="5480352" y="3036541"/>
                  <a:pt x="5480352" y="3034608"/>
                </a:cubicBezTo>
                <a:cubicBezTo>
                  <a:pt x="5478419" y="3034608"/>
                  <a:pt x="5478419" y="3034608"/>
                  <a:pt x="5476483" y="3034608"/>
                </a:cubicBezTo>
                <a:cubicBezTo>
                  <a:pt x="5474551" y="3038476"/>
                  <a:pt x="5474551" y="3044278"/>
                  <a:pt x="5474551" y="3048146"/>
                </a:cubicBezTo>
                <a:cubicBezTo>
                  <a:pt x="5482287" y="3048146"/>
                  <a:pt x="5490021" y="3048146"/>
                  <a:pt x="5497758" y="3048146"/>
                </a:cubicBezTo>
                <a:cubicBezTo>
                  <a:pt x="5507430" y="3044278"/>
                  <a:pt x="5515166" y="3042345"/>
                  <a:pt x="5524838" y="3044278"/>
                </a:cubicBezTo>
                <a:cubicBezTo>
                  <a:pt x="5526771" y="3044278"/>
                  <a:pt x="5528704" y="3042345"/>
                  <a:pt x="5530639" y="3040409"/>
                </a:cubicBezTo>
                <a:cubicBezTo>
                  <a:pt x="5536440" y="3034608"/>
                  <a:pt x="5542244" y="3038476"/>
                  <a:pt x="5548045" y="3036541"/>
                </a:cubicBezTo>
                <a:cubicBezTo>
                  <a:pt x="5548045" y="3038476"/>
                  <a:pt x="5548045" y="3038476"/>
                  <a:pt x="5548045" y="3040409"/>
                </a:cubicBezTo>
                <a:cubicBezTo>
                  <a:pt x="5549980" y="3040409"/>
                  <a:pt x="5549980" y="3042345"/>
                  <a:pt x="5551913" y="3042345"/>
                </a:cubicBezTo>
                <a:cubicBezTo>
                  <a:pt x="5555781" y="3040409"/>
                  <a:pt x="5559650" y="3040409"/>
                  <a:pt x="5563518" y="3040409"/>
                </a:cubicBezTo>
                <a:cubicBezTo>
                  <a:pt x="5565453" y="3040409"/>
                  <a:pt x="5567386" y="3040409"/>
                  <a:pt x="5569322" y="3040409"/>
                </a:cubicBezTo>
                <a:cubicBezTo>
                  <a:pt x="5578991" y="3040409"/>
                  <a:pt x="5590596" y="3040409"/>
                  <a:pt x="5600265" y="3042345"/>
                </a:cubicBezTo>
                <a:cubicBezTo>
                  <a:pt x="5600265" y="3042345"/>
                  <a:pt x="5600265" y="3040409"/>
                  <a:pt x="5600265" y="3040409"/>
                </a:cubicBezTo>
                <a:cubicBezTo>
                  <a:pt x="5600265" y="3042345"/>
                  <a:pt x="5602201" y="3042345"/>
                  <a:pt x="5602201" y="3042345"/>
                </a:cubicBezTo>
                <a:cubicBezTo>
                  <a:pt x="5602201" y="3042345"/>
                  <a:pt x="5602201" y="3044278"/>
                  <a:pt x="5602201" y="3044278"/>
                </a:cubicBezTo>
                <a:cubicBezTo>
                  <a:pt x="5606069" y="3044278"/>
                  <a:pt x="5611872" y="3046213"/>
                  <a:pt x="5617674" y="3046213"/>
                </a:cubicBezTo>
                <a:cubicBezTo>
                  <a:pt x="5615738" y="3046213"/>
                  <a:pt x="5615738" y="3044278"/>
                  <a:pt x="5613805" y="3044278"/>
                </a:cubicBezTo>
                <a:cubicBezTo>
                  <a:pt x="5619607" y="3040409"/>
                  <a:pt x="5625410" y="3038476"/>
                  <a:pt x="5633147" y="3036541"/>
                </a:cubicBezTo>
                <a:cubicBezTo>
                  <a:pt x="5631211" y="3040409"/>
                  <a:pt x="5629278" y="3044278"/>
                  <a:pt x="5627343" y="3046213"/>
                </a:cubicBezTo>
                <a:cubicBezTo>
                  <a:pt x="5637015" y="3048146"/>
                  <a:pt x="5648620" y="3050081"/>
                  <a:pt x="5658289" y="3050081"/>
                </a:cubicBezTo>
                <a:cubicBezTo>
                  <a:pt x="5669894" y="3052014"/>
                  <a:pt x="5683432" y="3052014"/>
                  <a:pt x="5696972" y="3052014"/>
                </a:cubicBezTo>
                <a:cubicBezTo>
                  <a:pt x="5710509" y="3052014"/>
                  <a:pt x="5724049" y="3053950"/>
                  <a:pt x="5735654" y="3057818"/>
                </a:cubicBezTo>
                <a:cubicBezTo>
                  <a:pt x="5735654" y="3057818"/>
                  <a:pt x="5735654" y="3055883"/>
                  <a:pt x="5735654" y="3055883"/>
                </a:cubicBezTo>
                <a:cubicBezTo>
                  <a:pt x="5735654" y="3055883"/>
                  <a:pt x="5737587" y="3057818"/>
                  <a:pt x="5737587" y="3057818"/>
                </a:cubicBezTo>
                <a:cubicBezTo>
                  <a:pt x="5739522" y="3061686"/>
                  <a:pt x="5741455" y="3057818"/>
                  <a:pt x="5743391" y="3057818"/>
                </a:cubicBezTo>
                <a:cubicBezTo>
                  <a:pt x="5745324" y="3055883"/>
                  <a:pt x="5749192" y="3053950"/>
                  <a:pt x="5751125" y="3061686"/>
                </a:cubicBezTo>
                <a:cubicBezTo>
                  <a:pt x="5745324" y="3063619"/>
                  <a:pt x="5741455" y="3063619"/>
                  <a:pt x="5735654" y="3065555"/>
                </a:cubicBezTo>
                <a:cubicBezTo>
                  <a:pt x="5735654" y="3065555"/>
                  <a:pt x="5733719" y="3067487"/>
                  <a:pt x="5731784" y="3067487"/>
                </a:cubicBezTo>
                <a:cubicBezTo>
                  <a:pt x="5735654" y="3071355"/>
                  <a:pt x="5739522" y="3075224"/>
                  <a:pt x="5745324" y="3077159"/>
                </a:cubicBezTo>
                <a:cubicBezTo>
                  <a:pt x="5753060" y="3079092"/>
                  <a:pt x="5760797" y="3079092"/>
                  <a:pt x="5768533" y="3079092"/>
                </a:cubicBezTo>
                <a:cubicBezTo>
                  <a:pt x="5772401" y="3082960"/>
                  <a:pt x="5776270" y="3086828"/>
                  <a:pt x="5782073" y="3092630"/>
                </a:cubicBezTo>
                <a:cubicBezTo>
                  <a:pt x="5776270" y="3096498"/>
                  <a:pt x="5774334" y="3098433"/>
                  <a:pt x="5770466" y="3098433"/>
                </a:cubicBezTo>
                <a:cubicBezTo>
                  <a:pt x="5733719" y="3100366"/>
                  <a:pt x="5698907" y="3102302"/>
                  <a:pt x="5662157" y="3106170"/>
                </a:cubicBezTo>
                <a:cubicBezTo>
                  <a:pt x="5652488" y="3108103"/>
                  <a:pt x="5642816" y="3111971"/>
                  <a:pt x="5633147" y="3111971"/>
                </a:cubicBezTo>
                <a:cubicBezTo>
                  <a:pt x="5629278" y="3111971"/>
                  <a:pt x="5627343" y="3111971"/>
                  <a:pt x="5623475" y="3111971"/>
                </a:cubicBezTo>
                <a:cubicBezTo>
                  <a:pt x="5627343" y="3113907"/>
                  <a:pt x="5631211" y="3115839"/>
                  <a:pt x="5635080" y="3115839"/>
                </a:cubicBezTo>
                <a:cubicBezTo>
                  <a:pt x="5638948" y="3113907"/>
                  <a:pt x="5642816" y="3113907"/>
                  <a:pt x="5648620" y="3113907"/>
                </a:cubicBezTo>
                <a:cubicBezTo>
                  <a:pt x="5646684" y="3115839"/>
                  <a:pt x="5646684" y="3117775"/>
                  <a:pt x="5644749" y="3117775"/>
                </a:cubicBezTo>
                <a:cubicBezTo>
                  <a:pt x="5646684" y="3119708"/>
                  <a:pt x="5646684" y="3119708"/>
                  <a:pt x="5648620" y="3119708"/>
                </a:cubicBezTo>
                <a:cubicBezTo>
                  <a:pt x="5656356" y="3121643"/>
                  <a:pt x="5658289" y="3129379"/>
                  <a:pt x="5652488" y="3137116"/>
                </a:cubicBezTo>
                <a:cubicBezTo>
                  <a:pt x="5650553" y="3139049"/>
                  <a:pt x="5646684" y="3139049"/>
                  <a:pt x="5644749" y="3140984"/>
                </a:cubicBezTo>
                <a:cubicBezTo>
                  <a:pt x="5644749" y="3142917"/>
                  <a:pt x="5642816" y="3142917"/>
                  <a:pt x="5642816" y="3144852"/>
                </a:cubicBezTo>
                <a:cubicBezTo>
                  <a:pt x="5646684" y="3144852"/>
                  <a:pt x="5648620" y="3144852"/>
                  <a:pt x="5652488" y="3144852"/>
                </a:cubicBezTo>
                <a:cubicBezTo>
                  <a:pt x="5654421" y="3142917"/>
                  <a:pt x="5656356" y="3140984"/>
                  <a:pt x="5658289" y="3139049"/>
                </a:cubicBezTo>
                <a:cubicBezTo>
                  <a:pt x="5662157" y="3135181"/>
                  <a:pt x="5667959" y="3137116"/>
                  <a:pt x="5669894" y="3139049"/>
                </a:cubicBezTo>
                <a:cubicBezTo>
                  <a:pt x="5669894" y="3137116"/>
                  <a:pt x="5669894" y="3137116"/>
                  <a:pt x="5669894" y="3137116"/>
                </a:cubicBezTo>
                <a:cubicBezTo>
                  <a:pt x="5673762" y="3135181"/>
                  <a:pt x="5675697" y="3135181"/>
                  <a:pt x="5677630" y="3135181"/>
                </a:cubicBezTo>
                <a:cubicBezTo>
                  <a:pt x="5677630" y="3135181"/>
                  <a:pt x="5677630" y="3137116"/>
                  <a:pt x="5677630" y="3137116"/>
                </a:cubicBezTo>
                <a:lnTo>
                  <a:pt x="5681499" y="3137116"/>
                </a:lnTo>
                <a:cubicBezTo>
                  <a:pt x="5691168" y="3139049"/>
                  <a:pt x="5698907" y="3139049"/>
                  <a:pt x="5708576" y="3139049"/>
                </a:cubicBezTo>
                <a:cubicBezTo>
                  <a:pt x="5743391" y="3135181"/>
                  <a:pt x="5776270" y="3133248"/>
                  <a:pt x="5809149" y="3135181"/>
                </a:cubicBezTo>
                <a:cubicBezTo>
                  <a:pt x="5816885" y="3135181"/>
                  <a:pt x="5822689" y="3133248"/>
                  <a:pt x="5830425" y="3131312"/>
                </a:cubicBezTo>
                <a:cubicBezTo>
                  <a:pt x="5845898" y="3127444"/>
                  <a:pt x="5861369" y="3123576"/>
                  <a:pt x="5876842" y="3119708"/>
                </a:cubicBezTo>
                <a:cubicBezTo>
                  <a:pt x="5882645" y="3119708"/>
                  <a:pt x="5888447" y="3121643"/>
                  <a:pt x="5894250" y="3123576"/>
                </a:cubicBezTo>
                <a:cubicBezTo>
                  <a:pt x="5894250" y="3125511"/>
                  <a:pt x="5896183" y="3127444"/>
                  <a:pt x="5896183" y="3129379"/>
                </a:cubicBezTo>
                <a:cubicBezTo>
                  <a:pt x="5894250" y="3131312"/>
                  <a:pt x="5894250" y="3133248"/>
                  <a:pt x="5892317" y="3135181"/>
                </a:cubicBezTo>
                <a:cubicBezTo>
                  <a:pt x="5886514" y="3139049"/>
                  <a:pt x="5874909" y="3133248"/>
                  <a:pt x="5871041" y="3144852"/>
                </a:cubicBezTo>
                <a:cubicBezTo>
                  <a:pt x="5872976" y="3152589"/>
                  <a:pt x="5876842" y="3152589"/>
                  <a:pt x="5882645" y="3152589"/>
                </a:cubicBezTo>
                <a:cubicBezTo>
                  <a:pt x="5907788" y="3152589"/>
                  <a:pt x="5930997" y="3154522"/>
                  <a:pt x="5956142" y="3162259"/>
                </a:cubicBezTo>
                <a:cubicBezTo>
                  <a:pt x="5932933" y="3160326"/>
                  <a:pt x="5907788" y="3160326"/>
                  <a:pt x="5884578" y="3160326"/>
                </a:cubicBezTo>
                <a:cubicBezTo>
                  <a:pt x="5872976" y="3160326"/>
                  <a:pt x="5863304" y="3160326"/>
                  <a:pt x="5853635" y="3162259"/>
                </a:cubicBezTo>
                <a:cubicBezTo>
                  <a:pt x="5842028" y="3164194"/>
                  <a:pt x="5832358" y="3166127"/>
                  <a:pt x="5820753" y="3164194"/>
                </a:cubicBezTo>
                <a:cubicBezTo>
                  <a:pt x="5814952" y="3164194"/>
                  <a:pt x="5809149" y="3168060"/>
                  <a:pt x="5797544" y="3169995"/>
                </a:cubicBezTo>
                <a:cubicBezTo>
                  <a:pt x="5805280" y="3173863"/>
                  <a:pt x="5807216" y="3175796"/>
                  <a:pt x="5809149" y="3175796"/>
                </a:cubicBezTo>
                <a:cubicBezTo>
                  <a:pt x="5824622" y="3181600"/>
                  <a:pt x="5843963" y="3171930"/>
                  <a:pt x="5855568" y="3189336"/>
                </a:cubicBezTo>
                <a:cubicBezTo>
                  <a:pt x="5869108" y="3189336"/>
                  <a:pt x="5884578" y="3189336"/>
                  <a:pt x="5898118" y="3189336"/>
                </a:cubicBezTo>
                <a:cubicBezTo>
                  <a:pt x="5938734" y="3191269"/>
                  <a:pt x="5977417" y="3193204"/>
                  <a:pt x="6018032" y="3195137"/>
                </a:cubicBezTo>
                <a:cubicBezTo>
                  <a:pt x="6025769" y="3195137"/>
                  <a:pt x="6033505" y="3197073"/>
                  <a:pt x="6043177" y="3199006"/>
                </a:cubicBezTo>
                <a:cubicBezTo>
                  <a:pt x="6039306" y="3202874"/>
                  <a:pt x="6039306" y="3204809"/>
                  <a:pt x="6037373" y="3204809"/>
                </a:cubicBezTo>
                <a:cubicBezTo>
                  <a:pt x="6010295" y="3208678"/>
                  <a:pt x="5983218" y="3218347"/>
                  <a:pt x="5956142" y="3218347"/>
                </a:cubicBezTo>
                <a:cubicBezTo>
                  <a:pt x="5938734" y="3218347"/>
                  <a:pt x="5919393" y="3218347"/>
                  <a:pt x="5901987" y="3218347"/>
                </a:cubicBezTo>
                <a:cubicBezTo>
                  <a:pt x="5900051" y="3218347"/>
                  <a:pt x="5900051" y="3218347"/>
                  <a:pt x="5898118" y="3218347"/>
                </a:cubicBezTo>
                <a:cubicBezTo>
                  <a:pt x="5896183" y="3220282"/>
                  <a:pt x="5892317" y="3220282"/>
                  <a:pt x="5890382" y="3222215"/>
                </a:cubicBezTo>
                <a:cubicBezTo>
                  <a:pt x="5890382" y="3220282"/>
                  <a:pt x="5890382" y="3220282"/>
                  <a:pt x="5890382" y="3218347"/>
                </a:cubicBezTo>
                <a:lnTo>
                  <a:pt x="5853635" y="3218347"/>
                </a:lnTo>
                <a:cubicBezTo>
                  <a:pt x="5849766" y="3226084"/>
                  <a:pt x="5845898" y="3228019"/>
                  <a:pt x="5838159" y="3228019"/>
                </a:cubicBezTo>
                <a:cubicBezTo>
                  <a:pt x="5832358" y="3228019"/>
                  <a:pt x="5828490" y="3228019"/>
                  <a:pt x="5822689" y="3228019"/>
                </a:cubicBezTo>
                <a:cubicBezTo>
                  <a:pt x="5822689" y="3229952"/>
                  <a:pt x="5822689" y="3231887"/>
                  <a:pt x="5822689" y="3231887"/>
                </a:cubicBezTo>
                <a:cubicBezTo>
                  <a:pt x="5832358" y="3231887"/>
                  <a:pt x="5842028" y="3233820"/>
                  <a:pt x="5851699" y="3233820"/>
                </a:cubicBezTo>
                <a:cubicBezTo>
                  <a:pt x="5857501" y="3235755"/>
                  <a:pt x="5863304" y="3235755"/>
                  <a:pt x="5869108" y="3235755"/>
                </a:cubicBezTo>
                <a:cubicBezTo>
                  <a:pt x="5871041" y="3235755"/>
                  <a:pt x="5874909" y="3237688"/>
                  <a:pt x="5874909" y="3235755"/>
                </a:cubicBezTo>
                <a:cubicBezTo>
                  <a:pt x="5882645" y="3226084"/>
                  <a:pt x="5890382" y="3229952"/>
                  <a:pt x="5898118" y="3229952"/>
                </a:cubicBezTo>
                <a:cubicBezTo>
                  <a:pt x="5903920" y="3229952"/>
                  <a:pt x="5909723" y="3228019"/>
                  <a:pt x="5915524" y="3228019"/>
                </a:cubicBezTo>
                <a:cubicBezTo>
                  <a:pt x="5923261" y="3228019"/>
                  <a:pt x="5932933" y="3228019"/>
                  <a:pt x="5942602" y="3229952"/>
                </a:cubicBezTo>
                <a:cubicBezTo>
                  <a:pt x="5938734" y="3229952"/>
                  <a:pt x="5936801" y="3231887"/>
                  <a:pt x="5930997" y="3233820"/>
                </a:cubicBezTo>
                <a:cubicBezTo>
                  <a:pt x="5934866" y="3233820"/>
                  <a:pt x="5936801" y="3235755"/>
                  <a:pt x="5942602" y="3235755"/>
                </a:cubicBezTo>
                <a:cubicBezTo>
                  <a:pt x="5937768" y="3236722"/>
                  <a:pt x="5933899" y="3238655"/>
                  <a:pt x="5930998" y="3242040"/>
                </a:cubicBezTo>
                <a:lnTo>
                  <a:pt x="5927996" y="3249793"/>
                </a:lnTo>
                <a:lnTo>
                  <a:pt x="5926645" y="3250018"/>
                </a:lnTo>
                <a:cubicBezTo>
                  <a:pt x="5925678" y="3250743"/>
                  <a:pt x="5925194" y="3252194"/>
                  <a:pt x="5925194" y="3255094"/>
                </a:cubicBezTo>
                <a:lnTo>
                  <a:pt x="5926416" y="3253872"/>
                </a:lnTo>
                <a:lnTo>
                  <a:pt x="5925194" y="3257029"/>
                </a:lnTo>
                <a:cubicBezTo>
                  <a:pt x="5946470" y="3258965"/>
                  <a:pt x="5967745" y="3260898"/>
                  <a:pt x="5989021" y="3262831"/>
                </a:cubicBezTo>
                <a:cubicBezTo>
                  <a:pt x="5989021" y="3266699"/>
                  <a:pt x="5987086" y="3268634"/>
                  <a:pt x="5987086" y="3270570"/>
                </a:cubicBezTo>
                <a:cubicBezTo>
                  <a:pt x="5987086" y="3272503"/>
                  <a:pt x="5985153" y="3274436"/>
                  <a:pt x="5983218" y="3276371"/>
                </a:cubicBezTo>
                <a:cubicBezTo>
                  <a:pt x="5981285" y="3280239"/>
                  <a:pt x="5977417" y="3284107"/>
                  <a:pt x="5973548" y="3280239"/>
                </a:cubicBezTo>
                <a:cubicBezTo>
                  <a:pt x="5965812" y="3272503"/>
                  <a:pt x="5960011" y="3280239"/>
                  <a:pt x="5952272" y="3282172"/>
                </a:cubicBezTo>
                <a:cubicBezTo>
                  <a:pt x="5954207" y="3287975"/>
                  <a:pt x="5956142" y="3291844"/>
                  <a:pt x="5958075" y="3297645"/>
                </a:cubicBezTo>
                <a:cubicBezTo>
                  <a:pt x="5960011" y="3301513"/>
                  <a:pt x="5969680" y="3303448"/>
                  <a:pt x="5973548" y="3301513"/>
                </a:cubicBezTo>
                <a:cubicBezTo>
                  <a:pt x="5979352" y="3299580"/>
                  <a:pt x="5979352" y="3299580"/>
                  <a:pt x="5985153" y="3301513"/>
                </a:cubicBezTo>
                <a:cubicBezTo>
                  <a:pt x="5981285" y="3305381"/>
                  <a:pt x="5977417" y="3307317"/>
                  <a:pt x="5973548" y="3309250"/>
                </a:cubicBezTo>
                <a:cubicBezTo>
                  <a:pt x="5975481" y="3313118"/>
                  <a:pt x="5975481" y="3316986"/>
                  <a:pt x="5977417" y="3320855"/>
                </a:cubicBezTo>
                <a:cubicBezTo>
                  <a:pt x="5983218" y="3318922"/>
                  <a:pt x="5989021" y="3316986"/>
                  <a:pt x="5994822" y="3316986"/>
                </a:cubicBezTo>
                <a:cubicBezTo>
                  <a:pt x="6006427" y="3316986"/>
                  <a:pt x="6018032" y="3315053"/>
                  <a:pt x="6027704" y="3322790"/>
                </a:cubicBezTo>
                <a:cubicBezTo>
                  <a:pt x="6023836" y="3322790"/>
                  <a:pt x="6019967" y="3322790"/>
                  <a:pt x="6016099" y="3322790"/>
                </a:cubicBezTo>
                <a:cubicBezTo>
                  <a:pt x="6012228" y="3322790"/>
                  <a:pt x="6008363" y="3324723"/>
                  <a:pt x="6004494" y="3324723"/>
                </a:cubicBezTo>
                <a:cubicBezTo>
                  <a:pt x="6002559" y="3326658"/>
                  <a:pt x="5998691" y="3326658"/>
                  <a:pt x="5996758" y="3326658"/>
                </a:cubicBezTo>
                <a:cubicBezTo>
                  <a:pt x="5989021" y="3326658"/>
                  <a:pt x="5987086" y="3328591"/>
                  <a:pt x="5985153" y="3340196"/>
                </a:cubicBezTo>
                <a:cubicBezTo>
                  <a:pt x="5979352" y="3338263"/>
                  <a:pt x="5975481" y="3334395"/>
                  <a:pt x="5971613" y="3330527"/>
                </a:cubicBezTo>
                <a:cubicBezTo>
                  <a:pt x="5971613" y="3332459"/>
                  <a:pt x="5969680" y="3336328"/>
                  <a:pt x="5967745" y="3338263"/>
                </a:cubicBezTo>
                <a:cubicBezTo>
                  <a:pt x="5954207" y="3340196"/>
                  <a:pt x="5938734" y="3340196"/>
                  <a:pt x="5925194" y="3342129"/>
                </a:cubicBezTo>
                <a:cubicBezTo>
                  <a:pt x="5923261" y="3342129"/>
                  <a:pt x="5923261" y="3342129"/>
                  <a:pt x="5921328" y="3344064"/>
                </a:cubicBezTo>
                <a:cubicBezTo>
                  <a:pt x="5929065" y="3351801"/>
                  <a:pt x="5940669" y="3344064"/>
                  <a:pt x="5948403" y="3349865"/>
                </a:cubicBezTo>
                <a:cubicBezTo>
                  <a:pt x="5934866" y="3349865"/>
                  <a:pt x="5923261" y="3351801"/>
                  <a:pt x="5909723" y="3351801"/>
                </a:cubicBezTo>
                <a:cubicBezTo>
                  <a:pt x="5909723" y="3359537"/>
                  <a:pt x="5909723" y="3365338"/>
                  <a:pt x="5907788" y="3373075"/>
                </a:cubicBezTo>
                <a:cubicBezTo>
                  <a:pt x="5929065" y="3375010"/>
                  <a:pt x="5948403" y="3375010"/>
                  <a:pt x="5969680" y="3376943"/>
                </a:cubicBezTo>
                <a:cubicBezTo>
                  <a:pt x="6048978" y="3382747"/>
                  <a:pt x="6021900" y="3473649"/>
                  <a:pt x="5942602" y="3477518"/>
                </a:cubicBezTo>
                <a:cubicBezTo>
                  <a:pt x="5907788" y="3479451"/>
                  <a:pt x="5900051" y="3502660"/>
                  <a:pt x="5867172" y="3504595"/>
                </a:cubicBezTo>
                <a:cubicBezTo>
                  <a:pt x="5861369" y="3520068"/>
                  <a:pt x="5847831" y="3535539"/>
                  <a:pt x="5824622" y="3541343"/>
                </a:cubicBezTo>
                <a:cubicBezTo>
                  <a:pt x="5789807" y="3551012"/>
                  <a:pt x="5754993" y="3558749"/>
                  <a:pt x="5720181" y="3568420"/>
                </a:cubicBezTo>
                <a:cubicBezTo>
                  <a:pt x="5720181" y="3568420"/>
                  <a:pt x="5722114" y="3568420"/>
                  <a:pt x="5722114" y="3568420"/>
                </a:cubicBezTo>
                <a:cubicBezTo>
                  <a:pt x="5735654" y="3568420"/>
                  <a:pt x="5749192" y="3568420"/>
                  <a:pt x="5762732" y="3568420"/>
                </a:cubicBezTo>
                <a:cubicBezTo>
                  <a:pt x="5784006" y="3568420"/>
                  <a:pt x="5803347" y="3566485"/>
                  <a:pt x="5824622" y="3564552"/>
                </a:cubicBezTo>
                <a:cubicBezTo>
                  <a:pt x="5828490" y="3564552"/>
                  <a:pt x="5830425" y="3562617"/>
                  <a:pt x="5834293" y="3562617"/>
                </a:cubicBezTo>
                <a:cubicBezTo>
                  <a:pt x="5845898" y="3562617"/>
                  <a:pt x="5857501" y="3570353"/>
                  <a:pt x="5855568" y="3576157"/>
                </a:cubicBezTo>
                <a:cubicBezTo>
                  <a:pt x="5851699" y="3585826"/>
                  <a:pt x="5843963" y="3583894"/>
                  <a:pt x="5836226" y="3583894"/>
                </a:cubicBezTo>
                <a:cubicBezTo>
                  <a:pt x="5811084" y="3585826"/>
                  <a:pt x="5787874" y="3587762"/>
                  <a:pt x="5762732" y="3589695"/>
                </a:cubicBezTo>
                <a:cubicBezTo>
                  <a:pt x="5754993" y="3589695"/>
                  <a:pt x="5749192" y="3589695"/>
                  <a:pt x="5741455" y="3589695"/>
                </a:cubicBezTo>
                <a:cubicBezTo>
                  <a:pt x="5727918" y="3587762"/>
                  <a:pt x="5716313" y="3589695"/>
                  <a:pt x="5702773" y="3593563"/>
                </a:cubicBezTo>
                <a:cubicBezTo>
                  <a:pt x="5708576" y="3593563"/>
                  <a:pt x="5712445" y="3595498"/>
                  <a:pt x="5716313" y="3597431"/>
                </a:cubicBezTo>
                <a:cubicBezTo>
                  <a:pt x="5716313" y="3597431"/>
                  <a:pt x="5718246" y="3597431"/>
                  <a:pt x="5718246" y="3597431"/>
                </a:cubicBezTo>
                <a:cubicBezTo>
                  <a:pt x="5733719" y="3595498"/>
                  <a:pt x="5749192" y="3593563"/>
                  <a:pt x="5762732" y="3589695"/>
                </a:cubicBezTo>
                <a:cubicBezTo>
                  <a:pt x="5758864" y="3593563"/>
                  <a:pt x="5753060" y="3597431"/>
                  <a:pt x="5749192" y="3599367"/>
                </a:cubicBezTo>
                <a:cubicBezTo>
                  <a:pt x="5754993" y="3601299"/>
                  <a:pt x="5762732" y="3603235"/>
                  <a:pt x="5768533" y="3605168"/>
                </a:cubicBezTo>
                <a:cubicBezTo>
                  <a:pt x="5770466" y="3607103"/>
                  <a:pt x="5772401" y="3607103"/>
                  <a:pt x="5774334" y="3607103"/>
                </a:cubicBezTo>
                <a:cubicBezTo>
                  <a:pt x="5776270" y="3610969"/>
                  <a:pt x="5782073" y="3610969"/>
                  <a:pt x="5785941" y="3610969"/>
                </a:cubicBezTo>
                <a:cubicBezTo>
                  <a:pt x="5789807" y="3614840"/>
                  <a:pt x="5793676" y="3616773"/>
                  <a:pt x="5797544" y="3620641"/>
                </a:cubicBezTo>
                <a:cubicBezTo>
                  <a:pt x="5803347" y="3626444"/>
                  <a:pt x="5803347" y="3632246"/>
                  <a:pt x="5799479" y="3639982"/>
                </a:cubicBezTo>
                <a:cubicBezTo>
                  <a:pt x="5795611" y="3641915"/>
                  <a:pt x="5793676" y="3641915"/>
                  <a:pt x="5789807" y="3641915"/>
                </a:cubicBezTo>
                <a:cubicBezTo>
                  <a:pt x="5789807" y="3638049"/>
                  <a:pt x="5791743" y="3634178"/>
                  <a:pt x="5793676" y="3630310"/>
                </a:cubicBezTo>
                <a:cubicBezTo>
                  <a:pt x="5787874" y="3622574"/>
                  <a:pt x="5782073" y="3616773"/>
                  <a:pt x="5772401" y="3616773"/>
                </a:cubicBezTo>
                <a:cubicBezTo>
                  <a:pt x="5768533" y="3616773"/>
                  <a:pt x="5766600" y="3614840"/>
                  <a:pt x="5762732" y="3612904"/>
                </a:cubicBezTo>
                <a:cubicBezTo>
                  <a:pt x="5758864" y="3610969"/>
                  <a:pt x="5754993" y="3607103"/>
                  <a:pt x="5749192" y="3607103"/>
                </a:cubicBezTo>
                <a:cubicBezTo>
                  <a:pt x="5739522" y="3607103"/>
                  <a:pt x="5731784" y="3605168"/>
                  <a:pt x="5722114" y="3605168"/>
                </a:cubicBezTo>
                <a:cubicBezTo>
                  <a:pt x="5710509" y="3605168"/>
                  <a:pt x="5696972" y="3607103"/>
                  <a:pt x="5687300" y="3616773"/>
                </a:cubicBezTo>
                <a:cubicBezTo>
                  <a:pt x="5681499" y="3612904"/>
                  <a:pt x="5677630" y="3610969"/>
                  <a:pt x="5671829" y="3610969"/>
                </a:cubicBezTo>
                <a:cubicBezTo>
                  <a:pt x="5669894" y="3612904"/>
                  <a:pt x="5667959" y="3612904"/>
                  <a:pt x="5667959" y="3614840"/>
                </a:cubicBezTo>
                <a:cubicBezTo>
                  <a:pt x="5666026" y="3618708"/>
                  <a:pt x="5666026" y="3622574"/>
                  <a:pt x="5666026" y="3624509"/>
                </a:cubicBezTo>
                <a:cubicBezTo>
                  <a:pt x="5671829" y="3624509"/>
                  <a:pt x="5675697" y="3626444"/>
                  <a:pt x="5681499" y="3628377"/>
                </a:cubicBezTo>
                <a:cubicBezTo>
                  <a:pt x="5677630" y="3630310"/>
                  <a:pt x="5673762" y="3630310"/>
                  <a:pt x="5669894" y="3632246"/>
                </a:cubicBezTo>
                <a:cubicBezTo>
                  <a:pt x="5671829" y="3634178"/>
                  <a:pt x="5673762" y="3634178"/>
                  <a:pt x="5675697" y="3636114"/>
                </a:cubicBezTo>
                <a:cubicBezTo>
                  <a:pt x="5679566" y="3641915"/>
                  <a:pt x="5685367" y="3647719"/>
                  <a:pt x="5689235" y="3653520"/>
                </a:cubicBezTo>
                <a:cubicBezTo>
                  <a:pt x="5687300" y="3661256"/>
                  <a:pt x="5679566" y="3653520"/>
                  <a:pt x="5675697" y="3659323"/>
                </a:cubicBezTo>
                <a:cubicBezTo>
                  <a:pt x="5677630" y="3661256"/>
                  <a:pt x="5679566" y="3663192"/>
                  <a:pt x="5681499" y="3665125"/>
                </a:cubicBezTo>
                <a:cubicBezTo>
                  <a:pt x="5693103" y="3663192"/>
                  <a:pt x="5704708" y="3659323"/>
                  <a:pt x="5716313" y="3657388"/>
                </a:cubicBezTo>
                <a:cubicBezTo>
                  <a:pt x="5725982" y="3655455"/>
                  <a:pt x="5737587" y="3653520"/>
                  <a:pt x="5747259" y="3653520"/>
                </a:cubicBezTo>
                <a:cubicBezTo>
                  <a:pt x="5747259" y="3657388"/>
                  <a:pt x="5747259" y="3659323"/>
                  <a:pt x="5747259" y="3663192"/>
                </a:cubicBezTo>
                <a:cubicBezTo>
                  <a:pt x="5727918" y="3670928"/>
                  <a:pt x="5708576" y="3670928"/>
                  <a:pt x="5689235" y="3670928"/>
                </a:cubicBezTo>
                <a:cubicBezTo>
                  <a:pt x="5691168" y="3672861"/>
                  <a:pt x="5693103" y="3674796"/>
                  <a:pt x="5695036" y="3676729"/>
                </a:cubicBezTo>
                <a:cubicBezTo>
                  <a:pt x="5696972" y="3676729"/>
                  <a:pt x="5696972" y="3678665"/>
                  <a:pt x="5696972" y="3678665"/>
                </a:cubicBezTo>
                <a:cubicBezTo>
                  <a:pt x="5698907" y="3678665"/>
                  <a:pt x="5700840" y="3678665"/>
                  <a:pt x="5702773" y="3678665"/>
                </a:cubicBezTo>
                <a:cubicBezTo>
                  <a:pt x="5702773" y="3680598"/>
                  <a:pt x="5702773" y="3682533"/>
                  <a:pt x="5704708" y="3684466"/>
                </a:cubicBezTo>
                <a:cubicBezTo>
                  <a:pt x="5708576" y="3684466"/>
                  <a:pt x="5710509" y="3684466"/>
                  <a:pt x="5712445" y="3684466"/>
                </a:cubicBezTo>
                <a:cubicBezTo>
                  <a:pt x="5710509" y="3688334"/>
                  <a:pt x="5712445" y="3692202"/>
                  <a:pt x="5716313" y="3692202"/>
                </a:cubicBezTo>
                <a:cubicBezTo>
                  <a:pt x="5716313" y="3692202"/>
                  <a:pt x="5718246" y="3692202"/>
                  <a:pt x="5718246" y="3692202"/>
                </a:cubicBezTo>
                <a:cubicBezTo>
                  <a:pt x="5722114" y="3688334"/>
                  <a:pt x="5727918" y="3686401"/>
                  <a:pt x="5731784" y="3686401"/>
                </a:cubicBezTo>
                <a:cubicBezTo>
                  <a:pt x="5739522" y="3686401"/>
                  <a:pt x="5745324" y="3688334"/>
                  <a:pt x="5753060" y="3686401"/>
                </a:cubicBezTo>
                <a:cubicBezTo>
                  <a:pt x="5785941" y="3678665"/>
                  <a:pt x="5820753" y="3672861"/>
                  <a:pt x="5853635" y="3668993"/>
                </a:cubicBezTo>
                <a:cubicBezTo>
                  <a:pt x="5890382" y="3665125"/>
                  <a:pt x="5927129" y="3667060"/>
                  <a:pt x="5963876" y="3670928"/>
                </a:cubicBezTo>
                <a:cubicBezTo>
                  <a:pt x="5965812" y="3678665"/>
                  <a:pt x="5960011" y="3678665"/>
                  <a:pt x="5956142" y="3678665"/>
                </a:cubicBezTo>
                <a:cubicBezTo>
                  <a:pt x="5942602" y="3680598"/>
                  <a:pt x="5930997" y="3682533"/>
                  <a:pt x="5919393" y="3686401"/>
                </a:cubicBezTo>
                <a:cubicBezTo>
                  <a:pt x="5911656" y="3690269"/>
                  <a:pt x="5905855" y="3682533"/>
                  <a:pt x="5900051" y="3682533"/>
                </a:cubicBezTo>
                <a:cubicBezTo>
                  <a:pt x="5896183" y="3682533"/>
                  <a:pt x="5892317" y="3694138"/>
                  <a:pt x="5884578" y="3686401"/>
                </a:cubicBezTo>
                <a:cubicBezTo>
                  <a:pt x="5882645" y="3684466"/>
                  <a:pt x="5876842" y="3682533"/>
                  <a:pt x="5872976" y="3684466"/>
                </a:cubicBezTo>
                <a:cubicBezTo>
                  <a:pt x="5865237" y="3688334"/>
                  <a:pt x="5859436" y="3688334"/>
                  <a:pt x="5851699" y="3684466"/>
                </a:cubicBezTo>
                <a:cubicBezTo>
                  <a:pt x="5842028" y="3678665"/>
                  <a:pt x="5830425" y="3678665"/>
                  <a:pt x="5822689" y="3686401"/>
                </a:cubicBezTo>
                <a:cubicBezTo>
                  <a:pt x="5813017" y="3696071"/>
                  <a:pt x="5799479" y="3694138"/>
                  <a:pt x="5787874" y="3696071"/>
                </a:cubicBezTo>
                <a:cubicBezTo>
                  <a:pt x="5776270" y="3698004"/>
                  <a:pt x="5762732" y="3698004"/>
                  <a:pt x="5751125" y="3699939"/>
                </a:cubicBezTo>
                <a:cubicBezTo>
                  <a:pt x="5756928" y="3699939"/>
                  <a:pt x="5762732" y="3701874"/>
                  <a:pt x="5768533" y="3703807"/>
                </a:cubicBezTo>
                <a:cubicBezTo>
                  <a:pt x="5774334" y="3705742"/>
                  <a:pt x="5778203" y="3705742"/>
                  <a:pt x="5784006" y="3705742"/>
                </a:cubicBezTo>
                <a:cubicBezTo>
                  <a:pt x="5797544" y="3703807"/>
                  <a:pt x="5811084" y="3709608"/>
                  <a:pt x="5822689" y="3713479"/>
                </a:cubicBezTo>
                <a:cubicBezTo>
                  <a:pt x="5824622" y="3715412"/>
                  <a:pt x="5826557" y="3715412"/>
                  <a:pt x="5828490" y="3715412"/>
                </a:cubicBezTo>
                <a:cubicBezTo>
                  <a:pt x="5830425" y="3719280"/>
                  <a:pt x="5836226" y="3719280"/>
                  <a:pt x="5840095" y="3719280"/>
                </a:cubicBezTo>
                <a:cubicBezTo>
                  <a:pt x="5843963" y="3723148"/>
                  <a:pt x="5847831" y="3725084"/>
                  <a:pt x="5851699" y="3728950"/>
                </a:cubicBezTo>
                <a:cubicBezTo>
                  <a:pt x="5857501" y="3734753"/>
                  <a:pt x="5857501" y="3740554"/>
                  <a:pt x="5853635" y="3748291"/>
                </a:cubicBezTo>
                <a:cubicBezTo>
                  <a:pt x="5849766" y="3750226"/>
                  <a:pt x="5847831" y="3750226"/>
                  <a:pt x="5843963" y="3750226"/>
                </a:cubicBezTo>
                <a:cubicBezTo>
                  <a:pt x="5843963" y="3746358"/>
                  <a:pt x="5845898" y="3742490"/>
                  <a:pt x="5847831" y="3738621"/>
                </a:cubicBezTo>
                <a:cubicBezTo>
                  <a:pt x="5842028" y="3730885"/>
                  <a:pt x="5836226" y="3725084"/>
                  <a:pt x="5826557" y="3725084"/>
                </a:cubicBezTo>
                <a:cubicBezTo>
                  <a:pt x="5822689" y="3725084"/>
                  <a:pt x="5820753" y="3723148"/>
                  <a:pt x="5816885" y="3721213"/>
                </a:cubicBezTo>
                <a:cubicBezTo>
                  <a:pt x="5813017" y="3719280"/>
                  <a:pt x="5809149" y="3715412"/>
                  <a:pt x="5803347" y="3715412"/>
                </a:cubicBezTo>
                <a:cubicBezTo>
                  <a:pt x="5785941" y="3715412"/>
                  <a:pt x="5770466" y="3711544"/>
                  <a:pt x="5754993" y="3713479"/>
                </a:cubicBezTo>
                <a:cubicBezTo>
                  <a:pt x="5749192" y="3713479"/>
                  <a:pt x="5743391" y="3715412"/>
                  <a:pt x="5737587" y="3711544"/>
                </a:cubicBezTo>
                <a:cubicBezTo>
                  <a:pt x="5739522" y="3711544"/>
                  <a:pt x="5741455" y="3709608"/>
                  <a:pt x="5743391" y="3709608"/>
                </a:cubicBezTo>
                <a:cubicBezTo>
                  <a:pt x="5743391" y="3709608"/>
                  <a:pt x="5743391" y="3707675"/>
                  <a:pt x="5743391" y="3707675"/>
                </a:cubicBezTo>
                <a:cubicBezTo>
                  <a:pt x="5739522" y="3707675"/>
                  <a:pt x="5733719" y="3707675"/>
                  <a:pt x="5729851" y="3707675"/>
                </a:cubicBezTo>
                <a:cubicBezTo>
                  <a:pt x="5716313" y="3711544"/>
                  <a:pt x="5702773" y="3715412"/>
                  <a:pt x="5689235" y="3717345"/>
                </a:cubicBezTo>
                <a:cubicBezTo>
                  <a:pt x="5687300" y="3719280"/>
                  <a:pt x="5685367" y="3721213"/>
                  <a:pt x="5685367" y="3723148"/>
                </a:cubicBezTo>
                <a:cubicBezTo>
                  <a:pt x="5685367" y="3725084"/>
                  <a:pt x="5683432" y="3728950"/>
                  <a:pt x="5683432" y="3730885"/>
                </a:cubicBezTo>
                <a:cubicBezTo>
                  <a:pt x="5673762" y="3728950"/>
                  <a:pt x="5667959" y="3727017"/>
                  <a:pt x="5660224" y="3725084"/>
                </a:cubicBezTo>
                <a:cubicBezTo>
                  <a:pt x="5658289" y="3725084"/>
                  <a:pt x="5656356" y="3727017"/>
                  <a:pt x="5654421" y="3728950"/>
                </a:cubicBezTo>
                <a:cubicBezTo>
                  <a:pt x="5652488" y="3734753"/>
                  <a:pt x="5650553" y="3736686"/>
                  <a:pt x="5644749" y="3736686"/>
                </a:cubicBezTo>
                <a:cubicBezTo>
                  <a:pt x="5640883" y="3738621"/>
                  <a:pt x="5635080" y="3738621"/>
                  <a:pt x="5631211" y="3738621"/>
                </a:cubicBezTo>
                <a:cubicBezTo>
                  <a:pt x="5621542" y="3736686"/>
                  <a:pt x="5613805" y="3738621"/>
                  <a:pt x="5606069" y="3742490"/>
                </a:cubicBezTo>
                <a:cubicBezTo>
                  <a:pt x="5625410" y="3742490"/>
                  <a:pt x="5646684" y="3740554"/>
                  <a:pt x="5666026" y="3736686"/>
                </a:cubicBezTo>
                <a:cubicBezTo>
                  <a:pt x="5675697" y="3734753"/>
                  <a:pt x="5685367" y="3732818"/>
                  <a:pt x="5695036" y="3736686"/>
                </a:cubicBezTo>
                <a:cubicBezTo>
                  <a:pt x="5695036" y="3738621"/>
                  <a:pt x="5695036" y="3740554"/>
                  <a:pt x="5695036" y="3740554"/>
                </a:cubicBezTo>
                <a:cubicBezTo>
                  <a:pt x="5671829" y="3756027"/>
                  <a:pt x="5650553" y="3769567"/>
                  <a:pt x="5621542" y="3769567"/>
                </a:cubicBezTo>
                <a:cubicBezTo>
                  <a:pt x="5598332" y="3769567"/>
                  <a:pt x="5577056" y="3775369"/>
                  <a:pt x="5553849" y="3781172"/>
                </a:cubicBezTo>
                <a:cubicBezTo>
                  <a:pt x="5567386" y="3781172"/>
                  <a:pt x="5580924" y="3781172"/>
                  <a:pt x="5598332" y="3779237"/>
                </a:cubicBezTo>
                <a:cubicBezTo>
                  <a:pt x="5590596" y="3790842"/>
                  <a:pt x="5577056" y="3785038"/>
                  <a:pt x="5573190" y="3792777"/>
                </a:cubicBezTo>
                <a:cubicBezTo>
                  <a:pt x="5569322" y="3800514"/>
                  <a:pt x="5563518" y="3804379"/>
                  <a:pt x="5557714" y="3806315"/>
                </a:cubicBezTo>
                <a:cubicBezTo>
                  <a:pt x="5580924" y="3806315"/>
                  <a:pt x="5606069" y="3806315"/>
                  <a:pt x="5629278" y="3806315"/>
                </a:cubicBezTo>
                <a:cubicBezTo>
                  <a:pt x="5637015" y="3806315"/>
                  <a:pt x="5642816" y="3804379"/>
                  <a:pt x="5650553" y="3804379"/>
                </a:cubicBezTo>
                <a:cubicBezTo>
                  <a:pt x="5652488" y="3808248"/>
                  <a:pt x="5650553" y="3812118"/>
                  <a:pt x="5646684" y="3812118"/>
                </a:cubicBezTo>
                <a:cubicBezTo>
                  <a:pt x="5650553" y="3812118"/>
                  <a:pt x="5652488" y="3812118"/>
                  <a:pt x="5656356" y="3814051"/>
                </a:cubicBezTo>
                <a:cubicBezTo>
                  <a:pt x="5660224" y="3815984"/>
                  <a:pt x="5664090" y="3817919"/>
                  <a:pt x="5669894" y="3819852"/>
                </a:cubicBezTo>
                <a:cubicBezTo>
                  <a:pt x="5671829" y="3815984"/>
                  <a:pt x="5673762" y="3808248"/>
                  <a:pt x="5675697" y="3808248"/>
                </a:cubicBezTo>
                <a:cubicBezTo>
                  <a:pt x="5679566" y="3806315"/>
                  <a:pt x="5685367" y="3806315"/>
                  <a:pt x="5691168" y="3804379"/>
                </a:cubicBezTo>
                <a:cubicBezTo>
                  <a:pt x="5691168" y="3804379"/>
                  <a:pt x="5689235" y="3804379"/>
                  <a:pt x="5687300" y="3804379"/>
                </a:cubicBezTo>
                <a:cubicBezTo>
                  <a:pt x="5681499" y="3804379"/>
                  <a:pt x="5675697" y="3804379"/>
                  <a:pt x="5669894" y="3802446"/>
                </a:cubicBezTo>
                <a:cubicBezTo>
                  <a:pt x="5687300" y="3800514"/>
                  <a:pt x="5702773" y="3798578"/>
                  <a:pt x="5718246" y="3796643"/>
                </a:cubicBezTo>
                <a:cubicBezTo>
                  <a:pt x="5731784" y="3790842"/>
                  <a:pt x="5747259" y="3786973"/>
                  <a:pt x="5762732" y="3786973"/>
                </a:cubicBezTo>
                <a:cubicBezTo>
                  <a:pt x="5782073" y="3786973"/>
                  <a:pt x="5801412" y="3786973"/>
                  <a:pt x="5820753" y="3781172"/>
                </a:cubicBezTo>
                <a:cubicBezTo>
                  <a:pt x="5822689" y="3781172"/>
                  <a:pt x="5826557" y="3781172"/>
                  <a:pt x="5828490" y="3783105"/>
                </a:cubicBezTo>
                <a:cubicBezTo>
                  <a:pt x="5830425" y="3785038"/>
                  <a:pt x="5830425" y="3790842"/>
                  <a:pt x="5832358" y="3796643"/>
                </a:cubicBezTo>
                <a:cubicBezTo>
                  <a:pt x="5840095" y="3798578"/>
                  <a:pt x="5853635" y="3792777"/>
                  <a:pt x="5867172" y="3796643"/>
                </a:cubicBezTo>
                <a:cubicBezTo>
                  <a:pt x="5861369" y="3804379"/>
                  <a:pt x="5853635" y="3802446"/>
                  <a:pt x="5847831" y="3804379"/>
                </a:cubicBezTo>
                <a:cubicBezTo>
                  <a:pt x="5840095" y="3806315"/>
                  <a:pt x="5834293" y="3806315"/>
                  <a:pt x="5826557" y="3808248"/>
                </a:cubicBezTo>
                <a:cubicBezTo>
                  <a:pt x="5818820" y="3810183"/>
                  <a:pt x="5813017" y="3812118"/>
                  <a:pt x="5805280" y="3814051"/>
                </a:cubicBezTo>
                <a:cubicBezTo>
                  <a:pt x="5797544" y="3815984"/>
                  <a:pt x="5791743" y="3815984"/>
                  <a:pt x="5784006" y="3817919"/>
                </a:cubicBezTo>
                <a:cubicBezTo>
                  <a:pt x="5776270" y="3819852"/>
                  <a:pt x="5770466" y="3823721"/>
                  <a:pt x="5762732" y="3823721"/>
                </a:cubicBezTo>
                <a:cubicBezTo>
                  <a:pt x="5756928" y="3823721"/>
                  <a:pt x="5749192" y="3823721"/>
                  <a:pt x="5739522" y="3823721"/>
                </a:cubicBezTo>
                <a:cubicBezTo>
                  <a:pt x="5749192" y="3835325"/>
                  <a:pt x="5760797" y="3825656"/>
                  <a:pt x="5768533" y="3831457"/>
                </a:cubicBezTo>
                <a:cubicBezTo>
                  <a:pt x="5766600" y="3831457"/>
                  <a:pt x="5766600" y="3833393"/>
                  <a:pt x="5764665" y="3833393"/>
                </a:cubicBezTo>
                <a:cubicBezTo>
                  <a:pt x="5768533" y="3833393"/>
                  <a:pt x="5770466" y="3833393"/>
                  <a:pt x="5774334" y="3833393"/>
                </a:cubicBezTo>
                <a:cubicBezTo>
                  <a:pt x="5766600" y="3837261"/>
                  <a:pt x="5756928" y="3839194"/>
                  <a:pt x="5747259" y="3839194"/>
                </a:cubicBezTo>
                <a:cubicBezTo>
                  <a:pt x="5727918" y="3843062"/>
                  <a:pt x="5708576" y="3852734"/>
                  <a:pt x="5689235" y="3848866"/>
                </a:cubicBezTo>
                <a:cubicBezTo>
                  <a:pt x="5683432" y="3848866"/>
                  <a:pt x="5677630" y="3850798"/>
                  <a:pt x="5671829" y="3852734"/>
                </a:cubicBezTo>
                <a:cubicBezTo>
                  <a:pt x="5662157" y="3856602"/>
                  <a:pt x="5654421" y="3854667"/>
                  <a:pt x="5646684" y="3854667"/>
                </a:cubicBezTo>
                <a:cubicBezTo>
                  <a:pt x="5644749" y="3856602"/>
                  <a:pt x="5644749" y="3858535"/>
                  <a:pt x="5642816" y="3860470"/>
                </a:cubicBezTo>
                <a:cubicBezTo>
                  <a:pt x="5642816" y="3860470"/>
                  <a:pt x="5644749" y="3862403"/>
                  <a:pt x="5644749" y="3862403"/>
                </a:cubicBezTo>
                <a:cubicBezTo>
                  <a:pt x="5656356" y="3860470"/>
                  <a:pt x="5666026" y="3858535"/>
                  <a:pt x="5679566" y="3856602"/>
                </a:cubicBezTo>
                <a:cubicBezTo>
                  <a:pt x="5671829" y="3864339"/>
                  <a:pt x="5666026" y="3864339"/>
                  <a:pt x="5660224" y="3866272"/>
                </a:cubicBezTo>
                <a:cubicBezTo>
                  <a:pt x="5656356" y="3866272"/>
                  <a:pt x="5654421" y="3868207"/>
                  <a:pt x="5650553" y="3868207"/>
                </a:cubicBezTo>
                <a:cubicBezTo>
                  <a:pt x="5652488" y="3868207"/>
                  <a:pt x="5652488" y="3870140"/>
                  <a:pt x="5654421" y="3870140"/>
                </a:cubicBezTo>
                <a:cubicBezTo>
                  <a:pt x="5658289" y="3872075"/>
                  <a:pt x="5662157" y="3872075"/>
                  <a:pt x="5666026" y="3874008"/>
                </a:cubicBezTo>
                <a:cubicBezTo>
                  <a:pt x="5671829" y="3874008"/>
                  <a:pt x="5675697" y="3872075"/>
                  <a:pt x="5679566" y="3872075"/>
                </a:cubicBezTo>
                <a:cubicBezTo>
                  <a:pt x="5714378" y="3866272"/>
                  <a:pt x="5751125" y="3860470"/>
                  <a:pt x="5785941" y="3854667"/>
                </a:cubicBezTo>
                <a:cubicBezTo>
                  <a:pt x="5793676" y="3852734"/>
                  <a:pt x="5803347" y="3852734"/>
                  <a:pt x="5811084" y="3852734"/>
                </a:cubicBezTo>
                <a:cubicBezTo>
                  <a:pt x="5813017" y="3852734"/>
                  <a:pt x="5816885" y="3854667"/>
                  <a:pt x="5820753" y="3856602"/>
                </a:cubicBezTo>
                <a:cubicBezTo>
                  <a:pt x="5818820" y="3856602"/>
                  <a:pt x="5814952" y="3856602"/>
                  <a:pt x="5811084" y="3858535"/>
                </a:cubicBezTo>
                <a:cubicBezTo>
                  <a:pt x="5830425" y="3856602"/>
                  <a:pt x="5849766" y="3852734"/>
                  <a:pt x="5869108" y="3850798"/>
                </a:cubicBezTo>
                <a:cubicBezTo>
                  <a:pt x="5882645" y="3848866"/>
                  <a:pt x="5898118" y="3848866"/>
                  <a:pt x="5913591" y="3846930"/>
                </a:cubicBezTo>
                <a:cubicBezTo>
                  <a:pt x="5913591" y="3852734"/>
                  <a:pt x="5909723" y="3854667"/>
                  <a:pt x="5907788" y="3854667"/>
                </a:cubicBezTo>
                <a:cubicBezTo>
                  <a:pt x="5884578" y="3858535"/>
                  <a:pt x="5859436" y="3862403"/>
                  <a:pt x="5836226" y="3866272"/>
                </a:cubicBezTo>
                <a:cubicBezTo>
                  <a:pt x="5816885" y="3870140"/>
                  <a:pt x="5797544" y="3870140"/>
                  <a:pt x="5778203" y="3872075"/>
                </a:cubicBezTo>
                <a:cubicBezTo>
                  <a:pt x="5758864" y="3874008"/>
                  <a:pt x="5741455" y="3877876"/>
                  <a:pt x="5722114" y="3881745"/>
                </a:cubicBezTo>
                <a:cubicBezTo>
                  <a:pt x="5708576" y="3885613"/>
                  <a:pt x="5693103" y="3885613"/>
                  <a:pt x="5679566" y="3883677"/>
                </a:cubicBezTo>
                <a:cubicBezTo>
                  <a:pt x="5675697" y="3885613"/>
                  <a:pt x="5673762" y="3885613"/>
                  <a:pt x="5669894" y="3887548"/>
                </a:cubicBezTo>
                <a:cubicBezTo>
                  <a:pt x="5662157" y="3889481"/>
                  <a:pt x="5654421" y="3889481"/>
                  <a:pt x="5646684" y="3895282"/>
                </a:cubicBezTo>
                <a:cubicBezTo>
                  <a:pt x="5666026" y="3893349"/>
                  <a:pt x="5687300" y="3891414"/>
                  <a:pt x="5708576" y="3889481"/>
                </a:cubicBezTo>
                <a:cubicBezTo>
                  <a:pt x="5714378" y="3885613"/>
                  <a:pt x="5720181" y="3883677"/>
                  <a:pt x="5727918" y="3883677"/>
                </a:cubicBezTo>
                <a:cubicBezTo>
                  <a:pt x="5737587" y="3883677"/>
                  <a:pt x="5747259" y="3881745"/>
                  <a:pt x="5756928" y="3881745"/>
                </a:cubicBezTo>
                <a:cubicBezTo>
                  <a:pt x="5772401" y="3879812"/>
                  <a:pt x="5787874" y="3877876"/>
                  <a:pt x="5803347" y="3874008"/>
                </a:cubicBezTo>
                <a:cubicBezTo>
                  <a:pt x="5809149" y="3872075"/>
                  <a:pt x="5816885" y="3870140"/>
                  <a:pt x="5826557" y="3872075"/>
                </a:cubicBezTo>
                <a:cubicBezTo>
                  <a:pt x="5822689" y="3874008"/>
                  <a:pt x="5822689" y="3875943"/>
                  <a:pt x="5820753" y="3875943"/>
                </a:cubicBezTo>
                <a:cubicBezTo>
                  <a:pt x="5805280" y="3879812"/>
                  <a:pt x="5791743" y="3883677"/>
                  <a:pt x="5776270" y="3885613"/>
                </a:cubicBezTo>
                <a:cubicBezTo>
                  <a:pt x="5758864" y="3887548"/>
                  <a:pt x="5743391" y="3891414"/>
                  <a:pt x="5725982" y="3895282"/>
                </a:cubicBezTo>
                <a:cubicBezTo>
                  <a:pt x="5718246" y="3895282"/>
                  <a:pt x="5708576" y="3897218"/>
                  <a:pt x="5698907" y="3899153"/>
                </a:cubicBezTo>
                <a:cubicBezTo>
                  <a:pt x="5698907" y="3897218"/>
                  <a:pt x="5700840" y="3897218"/>
                  <a:pt x="5700840" y="3895282"/>
                </a:cubicBezTo>
                <a:cubicBezTo>
                  <a:pt x="5685367" y="3897218"/>
                  <a:pt x="5669894" y="3901086"/>
                  <a:pt x="5654421" y="3904954"/>
                </a:cubicBezTo>
                <a:cubicBezTo>
                  <a:pt x="5656356" y="3904954"/>
                  <a:pt x="5656356" y="3904954"/>
                  <a:pt x="5656356" y="3904954"/>
                </a:cubicBezTo>
                <a:cubicBezTo>
                  <a:pt x="5667959" y="3906887"/>
                  <a:pt x="5681499" y="3908822"/>
                  <a:pt x="5693103" y="3910755"/>
                </a:cubicBezTo>
                <a:cubicBezTo>
                  <a:pt x="5696972" y="3910755"/>
                  <a:pt x="5700840" y="3910755"/>
                  <a:pt x="5704708" y="3910755"/>
                </a:cubicBezTo>
                <a:cubicBezTo>
                  <a:pt x="5704708" y="3912691"/>
                  <a:pt x="5704708" y="3912691"/>
                  <a:pt x="5704708" y="3914624"/>
                </a:cubicBezTo>
                <a:cubicBezTo>
                  <a:pt x="5704708" y="3916559"/>
                  <a:pt x="5706641" y="3918492"/>
                  <a:pt x="5706641" y="3920427"/>
                </a:cubicBezTo>
                <a:cubicBezTo>
                  <a:pt x="5702773" y="3924295"/>
                  <a:pt x="5698907" y="3926228"/>
                  <a:pt x="5695036" y="3928164"/>
                </a:cubicBezTo>
                <a:cubicBezTo>
                  <a:pt x="5704708" y="3926228"/>
                  <a:pt x="5716313" y="3924295"/>
                  <a:pt x="5727918" y="3922360"/>
                </a:cubicBezTo>
                <a:cubicBezTo>
                  <a:pt x="5727918" y="3922360"/>
                  <a:pt x="5725982" y="3920427"/>
                  <a:pt x="5725982" y="3920427"/>
                </a:cubicBezTo>
                <a:cubicBezTo>
                  <a:pt x="5741455" y="3912691"/>
                  <a:pt x="5758864" y="3908822"/>
                  <a:pt x="5778203" y="3906887"/>
                </a:cubicBezTo>
                <a:cubicBezTo>
                  <a:pt x="5776270" y="3908822"/>
                  <a:pt x="5774334" y="3910755"/>
                  <a:pt x="5774334" y="3910755"/>
                </a:cubicBezTo>
                <a:cubicBezTo>
                  <a:pt x="5770466" y="3910755"/>
                  <a:pt x="5768533" y="3912691"/>
                  <a:pt x="5764665" y="3912691"/>
                </a:cubicBezTo>
                <a:cubicBezTo>
                  <a:pt x="5762732" y="3914624"/>
                  <a:pt x="5760797" y="3914624"/>
                  <a:pt x="5756928" y="3914624"/>
                </a:cubicBezTo>
                <a:cubicBezTo>
                  <a:pt x="5753060" y="3914624"/>
                  <a:pt x="5749192" y="3916559"/>
                  <a:pt x="5745324" y="3918492"/>
                </a:cubicBezTo>
                <a:cubicBezTo>
                  <a:pt x="5745324" y="3918492"/>
                  <a:pt x="5743391" y="3918492"/>
                  <a:pt x="5743391" y="3918492"/>
                </a:cubicBezTo>
                <a:cubicBezTo>
                  <a:pt x="5737587" y="3928164"/>
                  <a:pt x="5729851" y="3930097"/>
                  <a:pt x="5720181" y="3932032"/>
                </a:cubicBezTo>
                <a:cubicBezTo>
                  <a:pt x="5708576" y="3933965"/>
                  <a:pt x="5698907" y="3935900"/>
                  <a:pt x="5687300" y="3941701"/>
                </a:cubicBezTo>
                <a:cubicBezTo>
                  <a:pt x="5696972" y="3945570"/>
                  <a:pt x="5704708" y="3933965"/>
                  <a:pt x="5712445" y="3943637"/>
                </a:cubicBezTo>
                <a:cubicBezTo>
                  <a:pt x="5712445" y="3947505"/>
                  <a:pt x="5708576" y="3947505"/>
                  <a:pt x="5706641" y="3947505"/>
                </a:cubicBezTo>
                <a:cubicBezTo>
                  <a:pt x="5700840" y="3947505"/>
                  <a:pt x="5696972" y="3949438"/>
                  <a:pt x="5693103" y="3949438"/>
                </a:cubicBezTo>
                <a:cubicBezTo>
                  <a:pt x="5693103" y="3953306"/>
                  <a:pt x="5691168" y="3957174"/>
                  <a:pt x="5687300" y="3961043"/>
                </a:cubicBezTo>
                <a:cubicBezTo>
                  <a:pt x="5691168" y="3962978"/>
                  <a:pt x="5695036" y="3966846"/>
                  <a:pt x="5698907" y="3968779"/>
                </a:cubicBezTo>
                <a:cubicBezTo>
                  <a:pt x="5702773" y="3970714"/>
                  <a:pt x="5708576" y="3972647"/>
                  <a:pt x="5712445" y="3974583"/>
                </a:cubicBezTo>
                <a:cubicBezTo>
                  <a:pt x="5710509" y="3980384"/>
                  <a:pt x="5700840" y="3976516"/>
                  <a:pt x="5702773" y="3984252"/>
                </a:cubicBezTo>
                <a:cubicBezTo>
                  <a:pt x="5698907" y="3986187"/>
                  <a:pt x="5696972" y="3988120"/>
                  <a:pt x="5693103" y="3988120"/>
                </a:cubicBezTo>
                <a:cubicBezTo>
                  <a:pt x="5685367" y="3986187"/>
                  <a:pt x="5679566" y="3984252"/>
                  <a:pt x="5671829" y="3982319"/>
                </a:cubicBezTo>
                <a:cubicBezTo>
                  <a:pt x="5660224" y="3976516"/>
                  <a:pt x="5648620" y="3976516"/>
                  <a:pt x="5635080" y="3978449"/>
                </a:cubicBezTo>
                <a:cubicBezTo>
                  <a:pt x="5631211" y="3978449"/>
                  <a:pt x="5627343" y="3978449"/>
                  <a:pt x="5623475" y="3978449"/>
                </a:cubicBezTo>
                <a:cubicBezTo>
                  <a:pt x="5621542" y="3980384"/>
                  <a:pt x="5617674" y="3978449"/>
                  <a:pt x="5617674" y="3980384"/>
                </a:cubicBezTo>
                <a:cubicBezTo>
                  <a:pt x="5613805" y="3988120"/>
                  <a:pt x="5606069" y="3986187"/>
                  <a:pt x="5598332" y="3986187"/>
                </a:cubicBezTo>
                <a:cubicBezTo>
                  <a:pt x="5592531" y="3986187"/>
                  <a:pt x="5586728" y="3986187"/>
                  <a:pt x="5580924" y="3986187"/>
                </a:cubicBezTo>
                <a:cubicBezTo>
                  <a:pt x="5580924" y="3986187"/>
                  <a:pt x="5578991" y="3986187"/>
                  <a:pt x="5578991" y="3986187"/>
                </a:cubicBezTo>
                <a:cubicBezTo>
                  <a:pt x="5575123" y="3988120"/>
                  <a:pt x="5569322" y="3988120"/>
                  <a:pt x="5563518" y="3990053"/>
                </a:cubicBezTo>
                <a:cubicBezTo>
                  <a:pt x="5548045" y="3993922"/>
                  <a:pt x="5532572" y="3997790"/>
                  <a:pt x="5519034" y="4001658"/>
                </a:cubicBezTo>
                <a:cubicBezTo>
                  <a:pt x="5519034" y="4001658"/>
                  <a:pt x="5517099" y="4003593"/>
                  <a:pt x="5515166" y="4003593"/>
                </a:cubicBezTo>
                <a:cubicBezTo>
                  <a:pt x="5519034" y="4003593"/>
                  <a:pt x="5522903" y="4001658"/>
                  <a:pt x="5526771" y="4001658"/>
                </a:cubicBezTo>
                <a:cubicBezTo>
                  <a:pt x="5534507" y="3999725"/>
                  <a:pt x="5536440" y="4003593"/>
                  <a:pt x="5538376" y="4009395"/>
                </a:cubicBezTo>
                <a:cubicBezTo>
                  <a:pt x="5540308" y="4009395"/>
                  <a:pt x="5540308" y="4009395"/>
                  <a:pt x="5540308" y="4009395"/>
                </a:cubicBezTo>
                <a:cubicBezTo>
                  <a:pt x="5553849" y="4013263"/>
                  <a:pt x="5565453" y="4015198"/>
                  <a:pt x="5577056" y="4007462"/>
                </a:cubicBezTo>
                <a:cubicBezTo>
                  <a:pt x="5578991" y="4005526"/>
                  <a:pt x="5582859" y="4005526"/>
                  <a:pt x="5586728" y="4005526"/>
                </a:cubicBezTo>
                <a:cubicBezTo>
                  <a:pt x="5592531" y="4007462"/>
                  <a:pt x="5600265" y="4007462"/>
                  <a:pt x="5606069" y="4007462"/>
                </a:cubicBezTo>
                <a:cubicBezTo>
                  <a:pt x="5613805" y="4005526"/>
                  <a:pt x="5619607" y="4003593"/>
                  <a:pt x="5627343" y="4001658"/>
                </a:cubicBezTo>
                <a:cubicBezTo>
                  <a:pt x="5652488" y="3995857"/>
                  <a:pt x="5675697" y="3991989"/>
                  <a:pt x="5700840" y="3988120"/>
                </a:cubicBezTo>
                <a:cubicBezTo>
                  <a:pt x="5702773" y="3988120"/>
                  <a:pt x="5706641" y="3986187"/>
                  <a:pt x="5712445" y="3986187"/>
                </a:cubicBezTo>
                <a:cubicBezTo>
                  <a:pt x="5706641" y="3993922"/>
                  <a:pt x="5702773" y="3995857"/>
                  <a:pt x="5696972" y="3997790"/>
                </a:cubicBezTo>
                <a:cubicBezTo>
                  <a:pt x="5696972" y="3999725"/>
                  <a:pt x="5695036" y="3999725"/>
                  <a:pt x="5693103" y="3999725"/>
                </a:cubicBezTo>
                <a:cubicBezTo>
                  <a:pt x="5698907" y="3999725"/>
                  <a:pt x="5704708" y="4001658"/>
                  <a:pt x="5710509" y="4001658"/>
                </a:cubicBezTo>
                <a:cubicBezTo>
                  <a:pt x="5725982" y="4003593"/>
                  <a:pt x="5739522" y="4005526"/>
                  <a:pt x="5753060" y="4007462"/>
                </a:cubicBezTo>
                <a:cubicBezTo>
                  <a:pt x="5754993" y="4007462"/>
                  <a:pt x="5756928" y="4009395"/>
                  <a:pt x="5758864" y="4011330"/>
                </a:cubicBezTo>
                <a:cubicBezTo>
                  <a:pt x="5758864" y="4013263"/>
                  <a:pt x="5760797" y="4015198"/>
                  <a:pt x="5760797" y="4017131"/>
                </a:cubicBezTo>
                <a:cubicBezTo>
                  <a:pt x="5754993" y="4020999"/>
                  <a:pt x="5749192" y="4024868"/>
                  <a:pt x="5743391" y="4028736"/>
                </a:cubicBezTo>
                <a:cubicBezTo>
                  <a:pt x="5729851" y="4024868"/>
                  <a:pt x="5714378" y="4024868"/>
                  <a:pt x="5698907" y="4028736"/>
                </a:cubicBezTo>
                <a:cubicBezTo>
                  <a:pt x="5704708" y="4032604"/>
                  <a:pt x="5710509" y="4030671"/>
                  <a:pt x="5716313" y="4030671"/>
                </a:cubicBezTo>
                <a:cubicBezTo>
                  <a:pt x="5722114" y="4030671"/>
                  <a:pt x="5725982" y="4032604"/>
                  <a:pt x="5733719" y="4034539"/>
                </a:cubicBezTo>
                <a:cubicBezTo>
                  <a:pt x="5729851" y="4036472"/>
                  <a:pt x="5729851" y="4038408"/>
                  <a:pt x="5727918" y="4038408"/>
                </a:cubicBezTo>
                <a:cubicBezTo>
                  <a:pt x="5712445" y="4038408"/>
                  <a:pt x="5695036" y="4040341"/>
                  <a:pt x="5679566" y="4040341"/>
                </a:cubicBezTo>
                <a:cubicBezTo>
                  <a:pt x="5673762" y="4040341"/>
                  <a:pt x="5666026" y="4038408"/>
                  <a:pt x="5658289" y="4036472"/>
                </a:cubicBezTo>
                <a:cubicBezTo>
                  <a:pt x="5650553" y="4034539"/>
                  <a:pt x="5642816" y="4034539"/>
                  <a:pt x="5635080" y="4038408"/>
                </a:cubicBezTo>
                <a:cubicBezTo>
                  <a:pt x="5625410" y="4044209"/>
                  <a:pt x="5613805" y="4044209"/>
                  <a:pt x="5604133" y="4044209"/>
                </a:cubicBezTo>
                <a:cubicBezTo>
                  <a:pt x="5575123" y="4046144"/>
                  <a:pt x="5544177" y="4046144"/>
                  <a:pt x="5515166" y="4048077"/>
                </a:cubicBezTo>
                <a:cubicBezTo>
                  <a:pt x="5505497" y="4051945"/>
                  <a:pt x="5491956" y="4048077"/>
                  <a:pt x="5484220" y="4059682"/>
                </a:cubicBezTo>
                <a:cubicBezTo>
                  <a:pt x="5476483" y="4061617"/>
                  <a:pt x="5470680" y="4063550"/>
                  <a:pt x="5462946" y="4065483"/>
                </a:cubicBezTo>
                <a:cubicBezTo>
                  <a:pt x="5455209" y="4067418"/>
                  <a:pt x="5445537" y="4069354"/>
                  <a:pt x="5437803" y="4071287"/>
                </a:cubicBezTo>
                <a:cubicBezTo>
                  <a:pt x="5430064" y="4075155"/>
                  <a:pt x="5422328" y="4077088"/>
                  <a:pt x="5412658" y="4077088"/>
                </a:cubicBezTo>
                <a:cubicBezTo>
                  <a:pt x="5404922" y="4079023"/>
                  <a:pt x="5397185" y="4080959"/>
                  <a:pt x="5389449" y="4084824"/>
                </a:cubicBezTo>
                <a:cubicBezTo>
                  <a:pt x="5383645" y="4086760"/>
                  <a:pt x="5375911" y="4088693"/>
                  <a:pt x="5368175" y="4090628"/>
                </a:cubicBezTo>
                <a:cubicBezTo>
                  <a:pt x="5354635" y="4094496"/>
                  <a:pt x="5339162" y="4096429"/>
                  <a:pt x="5323689" y="4102233"/>
                </a:cubicBezTo>
                <a:cubicBezTo>
                  <a:pt x="5315952" y="4104166"/>
                  <a:pt x="5310151" y="4104166"/>
                  <a:pt x="5302414" y="4104166"/>
                </a:cubicBezTo>
                <a:cubicBezTo>
                  <a:pt x="5300479" y="4104166"/>
                  <a:pt x="5300479" y="4104166"/>
                  <a:pt x="5298546" y="4102233"/>
                </a:cubicBezTo>
                <a:cubicBezTo>
                  <a:pt x="5296611" y="4102233"/>
                  <a:pt x="5294678" y="4104166"/>
                  <a:pt x="5292745" y="4104166"/>
                </a:cubicBezTo>
                <a:cubicBezTo>
                  <a:pt x="5283073" y="4111902"/>
                  <a:pt x="5273404" y="4119639"/>
                  <a:pt x="5259864" y="4119639"/>
                </a:cubicBezTo>
                <a:cubicBezTo>
                  <a:pt x="5255995" y="4119639"/>
                  <a:pt x="5254062" y="4117706"/>
                  <a:pt x="5250194" y="4117706"/>
                </a:cubicBezTo>
                <a:lnTo>
                  <a:pt x="5253096" y="4114805"/>
                </a:lnTo>
                <a:lnTo>
                  <a:pt x="5255995" y="4113838"/>
                </a:lnTo>
                <a:cubicBezTo>
                  <a:pt x="5255995" y="4113838"/>
                  <a:pt x="5254062" y="4113838"/>
                  <a:pt x="5254062" y="4113838"/>
                </a:cubicBezTo>
                <a:lnTo>
                  <a:pt x="5253096" y="4114805"/>
                </a:lnTo>
                <a:lnTo>
                  <a:pt x="5246050" y="4117154"/>
                </a:lnTo>
                <a:lnTo>
                  <a:pt x="5244393" y="4113838"/>
                </a:lnTo>
                <a:cubicBezTo>
                  <a:pt x="5244393" y="4113838"/>
                  <a:pt x="5242458" y="4113838"/>
                  <a:pt x="5242458" y="4113838"/>
                </a:cubicBezTo>
                <a:lnTo>
                  <a:pt x="5242458" y="4118672"/>
                </a:lnTo>
                <a:lnTo>
                  <a:pt x="5240522" y="4119639"/>
                </a:lnTo>
                <a:cubicBezTo>
                  <a:pt x="5242458" y="4119639"/>
                  <a:pt x="5242458" y="4119639"/>
                  <a:pt x="5242458" y="4119639"/>
                </a:cubicBezTo>
                <a:cubicBezTo>
                  <a:pt x="5244393" y="4121574"/>
                  <a:pt x="5244393" y="4121574"/>
                  <a:pt x="5246326" y="4123507"/>
                </a:cubicBezTo>
                <a:cubicBezTo>
                  <a:pt x="5244393" y="4127375"/>
                  <a:pt x="5242458" y="4129311"/>
                  <a:pt x="5238589" y="4129311"/>
                </a:cubicBezTo>
                <a:cubicBezTo>
                  <a:pt x="5232786" y="4129311"/>
                  <a:pt x="5226985" y="4129311"/>
                  <a:pt x="5223116" y="4133179"/>
                </a:cubicBezTo>
                <a:cubicBezTo>
                  <a:pt x="5221183" y="4135112"/>
                  <a:pt x="5221183" y="4135112"/>
                  <a:pt x="5219248" y="4135112"/>
                </a:cubicBezTo>
                <a:cubicBezTo>
                  <a:pt x="5213445" y="4137047"/>
                  <a:pt x="5203775" y="4133179"/>
                  <a:pt x="5197974" y="4138980"/>
                </a:cubicBezTo>
                <a:cubicBezTo>
                  <a:pt x="5192170" y="4144784"/>
                  <a:pt x="5186369" y="4146717"/>
                  <a:pt x="5180566" y="4148652"/>
                </a:cubicBezTo>
                <a:cubicBezTo>
                  <a:pt x="5178633" y="4150585"/>
                  <a:pt x="5176697" y="4152518"/>
                  <a:pt x="5174764" y="4156388"/>
                </a:cubicBezTo>
                <a:cubicBezTo>
                  <a:pt x="5151555" y="4166058"/>
                  <a:pt x="5126410" y="4177663"/>
                  <a:pt x="5101268" y="4189267"/>
                </a:cubicBezTo>
                <a:cubicBezTo>
                  <a:pt x="5099335" y="4189267"/>
                  <a:pt x="5097399" y="4189267"/>
                  <a:pt x="5095466" y="4191200"/>
                </a:cubicBezTo>
                <a:cubicBezTo>
                  <a:pt x="5081926" y="4204741"/>
                  <a:pt x="5064520" y="4208609"/>
                  <a:pt x="5049047" y="4214410"/>
                </a:cubicBezTo>
                <a:cubicBezTo>
                  <a:pt x="5043244" y="4216345"/>
                  <a:pt x="5039375" y="4220214"/>
                  <a:pt x="5035507" y="4224082"/>
                </a:cubicBezTo>
                <a:cubicBezTo>
                  <a:pt x="5031641" y="4231818"/>
                  <a:pt x="5023905" y="4235687"/>
                  <a:pt x="5014233" y="4241488"/>
                </a:cubicBezTo>
                <a:cubicBezTo>
                  <a:pt x="5031641" y="4241488"/>
                  <a:pt x="5045179" y="4237620"/>
                  <a:pt x="5058717" y="4229883"/>
                </a:cubicBezTo>
                <a:cubicBezTo>
                  <a:pt x="5068389" y="4224082"/>
                  <a:pt x="5076125" y="4222146"/>
                  <a:pt x="5085794" y="4220214"/>
                </a:cubicBezTo>
                <a:cubicBezTo>
                  <a:pt x="5087730" y="4220214"/>
                  <a:pt x="5091598" y="4218278"/>
                  <a:pt x="5093531" y="4218278"/>
                </a:cubicBezTo>
                <a:cubicBezTo>
                  <a:pt x="5116741" y="4210542"/>
                  <a:pt x="5138017" y="4204741"/>
                  <a:pt x="5161224" y="4197004"/>
                </a:cubicBezTo>
                <a:cubicBezTo>
                  <a:pt x="5167028" y="4195069"/>
                  <a:pt x="5172829" y="4195069"/>
                  <a:pt x="5180566" y="4195069"/>
                </a:cubicBezTo>
                <a:cubicBezTo>
                  <a:pt x="5188302" y="4189267"/>
                  <a:pt x="5199907" y="4185399"/>
                  <a:pt x="5211512" y="4181531"/>
                </a:cubicBezTo>
                <a:cubicBezTo>
                  <a:pt x="5230853" y="4175727"/>
                  <a:pt x="5248259" y="4167993"/>
                  <a:pt x="5267600" y="4162190"/>
                </a:cubicBezTo>
                <a:cubicBezTo>
                  <a:pt x="5277270" y="4158321"/>
                  <a:pt x="5286941" y="4154453"/>
                  <a:pt x="5300479" y="4154453"/>
                </a:cubicBezTo>
                <a:cubicBezTo>
                  <a:pt x="5296611" y="4158321"/>
                  <a:pt x="5292745" y="4162190"/>
                  <a:pt x="5288877" y="4166058"/>
                </a:cubicBezTo>
                <a:cubicBezTo>
                  <a:pt x="5294678" y="4166058"/>
                  <a:pt x="5298546" y="4166058"/>
                  <a:pt x="5304350" y="4166058"/>
                </a:cubicBezTo>
                <a:cubicBezTo>
                  <a:pt x="5304350" y="4169926"/>
                  <a:pt x="5302414" y="4171859"/>
                  <a:pt x="5302414" y="4177663"/>
                </a:cubicBezTo>
                <a:cubicBezTo>
                  <a:pt x="5298546" y="4175727"/>
                  <a:pt x="5294678" y="4175727"/>
                  <a:pt x="5292745" y="4173794"/>
                </a:cubicBezTo>
                <a:cubicBezTo>
                  <a:pt x="5290810" y="4175727"/>
                  <a:pt x="5288877" y="4175727"/>
                  <a:pt x="5288877" y="4175727"/>
                </a:cubicBezTo>
                <a:cubicBezTo>
                  <a:pt x="5283073" y="4185399"/>
                  <a:pt x="5273404" y="4193136"/>
                  <a:pt x="5261799" y="4197004"/>
                </a:cubicBezTo>
                <a:cubicBezTo>
                  <a:pt x="5238589" y="4204741"/>
                  <a:pt x="5215380" y="4210542"/>
                  <a:pt x="5192170" y="4218278"/>
                </a:cubicBezTo>
                <a:cubicBezTo>
                  <a:pt x="5188302" y="4218278"/>
                  <a:pt x="5182501" y="4220214"/>
                  <a:pt x="5182501" y="4214410"/>
                </a:cubicBezTo>
                <a:cubicBezTo>
                  <a:pt x="5170896" y="4216345"/>
                  <a:pt x="5159291" y="4218278"/>
                  <a:pt x="5149620" y="4222146"/>
                </a:cubicBezTo>
                <a:cubicBezTo>
                  <a:pt x="5143818" y="4224082"/>
                  <a:pt x="5136082" y="4226015"/>
                  <a:pt x="5132214" y="4231818"/>
                </a:cubicBezTo>
                <a:cubicBezTo>
                  <a:pt x="5126410" y="4237620"/>
                  <a:pt x="5120609" y="4241488"/>
                  <a:pt x="5112872" y="4243423"/>
                </a:cubicBezTo>
                <a:cubicBezTo>
                  <a:pt x="5118676" y="4241488"/>
                  <a:pt x="5124477" y="4241488"/>
                  <a:pt x="5130281" y="4239552"/>
                </a:cubicBezTo>
                <a:cubicBezTo>
                  <a:pt x="5122542" y="4249224"/>
                  <a:pt x="5118676" y="4251157"/>
                  <a:pt x="5109004" y="4251157"/>
                </a:cubicBezTo>
                <a:cubicBezTo>
                  <a:pt x="5107071" y="4253093"/>
                  <a:pt x="5105136" y="4251157"/>
                  <a:pt x="5101268" y="4249224"/>
                </a:cubicBezTo>
                <a:cubicBezTo>
                  <a:pt x="5097399" y="4251157"/>
                  <a:pt x="5091598" y="4253093"/>
                  <a:pt x="5085794" y="4255028"/>
                </a:cubicBezTo>
                <a:cubicBezTo>
                  <a:pt x="5085794" y="4255028"/>
                  <a:pt x="5085794" y="4256961"/>
                  <a:pt x="5085794" y="4256961"/>
                </a:cubicBezTo>
                <a:cubicBezTo>
                  <a:pt x="5079993" y="4258894"/>
                  <a:pt x="5074190" y="4264697"/>
                  <a:pt x="5066453" y="4262762"/>
                </a:cubicBezTo>
                <a:cubicBezTo>
                  <a:pt x="5066453" y="4262762"/>
                  <a:pt x="5068389" y="4260829"/>
                  <a:pt x="5068389" y="4260829"/>
                </a:cubicBezTo>
                <a:cubicBezTo>
                  <a:pt x="5054848" y="4266633"/>
                  <a:pt x="5039375" y="4270499"/>
                  <a:pt x="5025838" y="4276302"/>
                </a:cubicBezTo>
                <a:cubicBezTo>
                  <a:pt x="4998760" y="4285972"/>
                  <a:pt x="4971682" y="4297576"/>
                  <a:pt x="4944607" y="4307248"/>
                </a:cubicBezTo>
                <a:cubicBezTo>
                  <a:pt x="4905924" y="4322721"/>
                  <a:pt x="4867242" y="4336259"/>
                  <a:pt x="4828559" y="4351732"/>
                </a:cubicBezTo>
                <a:cubicBezTo>
                  <a:pt x="4820823" y="4355600"/>
                  <a:pt x="4811153" y="4359468"/>
                  <a:pt x="4805350" y="4365270"/>
                </a:cubicBezTo>
                <a:cubicBezTo>
                  <a:pt x="4803417" y="4367205"/>
                  <a:pt x="4799548" y="4369138"/>
                  <a:pt x="4795680" y="4371073"/>
                </a:cubicBezTo>
                <a:cubicBezTo>
                  <a:pt x="4787944" y="4374941"/>
                  <a:pt x="4778272" y="4378810"/>
                  <a:pt x="4772471" y="4384611"/>
                </a:cubicBezTo>
                <a:cubicBezTo>
                  <a:pt x="4768602" y="4388479"/>
                  <a:pt x="4760866" y="4390414"/>
                  <a:pt x="4753129" y="4394283"/>
                </a:cubicBezTo>
                <a:cubicBezTo>
                  <a:pt x="4718315" y="4407820"/>
                  <a:pt x="4683503" y="4423293"/>
                  <a:pt x="4648686" y="4438766"/>
                </a:cubicBezTo>
                <a:cubicBezTo>
                  <a:pt x="4637084" y="4442635"/>
                  <a:pt x="4627412" y="4448436"/>
                  <a:pt x="4617743" y="4454239"/>
                </a:cubicBezTo>
                <a:cubicBezTo>
                  <a:pt x="4598402" y="4463909"/>
                  <a:pt x="4577127" y="4473581"/>
                  <a:pt x="4557786" y="4483250"/>
                </a:cubicBezTo>
                <a:cubicBezTo>
                  <a:pt x="4553918" y="4485186"/>
                  <a:pt x="4550050" y="4487118"/>
                  <a:pt x="4548114" y="4490987"/>
                </a:cubicBezTo>
                <a:cubicBezTo>
                  <a:pt x="4550050" y="4492922"/>
                  <a:pt x="4551982" y="4492922"/>
                  <a:pt x="4553918" y="4494855"/>
                </a:cubicBezTo>
                <a:cubicBezTo>
                  <a:pt x="4550050" y="4496790"/>
                  <a:pt x="4546181" y="4500659"/>
                  <a:pt x="4540378" y="4498723"/>
                </a:cubicBezTo>
                <a:cubicBezTo>
                  <a:pt x="4530708" y="4494855"/>
                  <a:pt x="4521036" y="4500659"/>
                  <a:pt x="4517168" y="4506460"/>
                </a:cubicBezTo>
                <a:cubicBezTo>
                  <a:pt x="4509434" y="4518065"/>
                  <a:pt x="4497827" y="4523868"/>
                  <a:pt x="4486225" y="4529669"/>
                </a:cubicBezTo>
                <a:cubicBezTo>
                  <a:pt x="4470751" y="4539339"/>
                  <a:pt x="4453343" y="4547075"/>
                  <a:pt x="4435937" y="4556747"/>
                </a:cubicBezTo>
                <a:cubicBezTo>
                  <a:pt x="4418531" y="4568352"/>
                  <a:pt x="4399190" y="4578021"/>
                  <a:pt x="4381782" y="4587693"/>
                </a:cubicBezTo>
                <a:cubicBezTo>
                  <a:pt x="4379849" y="4589626"/>
                  <a:pt x="4375980" y="4591561"/>
                  <a:pt x="4374045" y="4593494"/>
                </a:cubicBezTo>
                <a:cubicBezTo>
                  <a:pt x="4366309" y="4599298"/>
                  <a:pt x="4356639" y="4607032"/>
                  <a:pt x="4346967" y="4610903"/>
                </a:cubicBezTo>
                <a:cubicBezTo>
                  <a:pt x="4319890" y="4622505"/>
                  <a:pt x="4261868" y="4748222"/>
                  <a:pt x="4234790" y="4763695"/>
                </a:cubicBezTo>
                <a:cubicBezTo>
                  <a:pt x="4225121" y="4767564"/>
                  <a:pt x="4213514" y="4773367"/>
                  <a:pt x="4203844" y="4777233"/>
                </a:cubicBezTo>
                <a:cubicBezTo>
                  <a:pt x="4201911" y="4779168"/>
                  <a:pt x="4198043" y="4779168"/>
                  <a:pt x="4196108" y="4779168"/>
                </a:cubicBezTo>
                <a:cubicBezTo>
                  <a:pt x="4190307" y="4777233"/>
                  <a:pt x="4186438" y="4777233"/>
                  <a:pt x="4182570" y="4779168"/>
                </a:cubicBezTo>
                <a:cubicBezTo>
                  <a:pt x="4180635" y="4779168"/>
                  <a:pt x="4180635" y="4781101"/>
                  <a:pt x="4178702" y="4781101"/>
                </a:cubicBezTo>
                <a:cubicBezTo>
                  <a:pt x="4178702" y="4783037"/>
                  <a:pt x="4176767" y="4783037"/>
                  <a:pt x="4176767" y="4783037"/>
                </a:cubicBezTo>
                <a:cubicBezTo>
                  <a:pt x="4151624" y="4798510"/>
                  <a:pt x="4124546" y="4812050"/>
                  <a:pt x="4099404" y="4827520"/>
                </a:cubicBezTo>
                <a:cubicBezTo>
                  <a:pt x="4083931" y="4835257"/>
                  <a:pt x="4068458" y="4844929"/>
                  <a:pt x="4052985" y="4852665"/>
                </a:cubicBezTo>
                <a:cubicBezTo>
                  <a:pt x="4033643" y="4862335"/>
                  <a:pt x="4018170" y="4873939"/>
                  <a:pt x="4002697" y="4887477"/>
                </a:cubicBezTo>
                <a:cubicBezTo>
                  <a:pt x="3991093" y="4899084"/>
                  <a:pt x="3977555" y="4908754"/>
                  <a:pt x="3964015" y="4918426"/>
                </a:cubicBezTo>
                <a:cubicBezTo>
                  <a:pt x="3944676" y="4933896"/>
                  <a:pt x="3923399" y="4949369"/>
                  <a:pt x="3904058" y="4964842"/>
                </a:cubicBezTo>
                <a:cubicBezTo>
                  <a:pt x="3884717" y="4980315"/>
                  <a:pt x="3865376" y="4993853"/>
                  <a:pt x="3844101" y="5005460"/>
                </a:cubicBezTo>
                <a:cubicBezTo>
                  <a:pt x="3832497" y="5011261"/>
                  <a:pt x="3820892" y="5018998"/>
                  <a:pt x="3809287" y="5026734"/>
                </a:cubicBezTo>
                <a:cubicBezTo>
                  <a:pt x="3786078" y="5042207"/>
                  <a:pt x="3760935" y="5053812"/>
                  <a:pt x="3733857" y="5063482"/>
                </a:cubicBezTo>
                <a:cubicBezTo>
                  <a:pt x="3729989" y="5063482"/>
                  <a:pt x="3728056" y="5065417"/>
                  <a:pt x="3724188" y="5065417"/>
                </a:cubicBezTo>
                <a:cubicBezTo>
                  <a:pt x="3704847" y="5065417"/>
                  <a:pt x="3687441" y="5077019"/>
                  <a:pt x="3670032" y="5082823"/>
                </a:cubicBezTo>
                <a:cubicBezTo>
                  <a:pt x="3650691" y="5088626"/>
                  <a:pt x="3633283" y="5094428"/>
                  <a:pt x="3615877" y="5096361"/>
                </a:cubicBezTo>
                <a:cubicBezTo>
                  <a:pt x="3608140" y="5098296"/>
                  <a:pt x="3598471" y="5098296"/>
                  <a:pt x="3590734" y="5096361"/>
                </a:cubicBezTo>
                <a:cubicBezTo>
                  <a:pt x="3590734" y="5096361"/>
                  <a:pt x="3588799" y="5098296"/>
                  <a:pt x="3586866" y="5100229"/>
                </a:cubicBezTo>
                <a:cubicBezTo>
                  <a:pt x="3579129" y="5106032"/>
                  <a:pt x="3573328" y="5113769"/>
                  <a:pt x="3567525" y="5123438"/>
                </a:cubicBezTo>
                <a:cubicBezTo>
                  <a:pt x="3555920" y="5133110"/>
                  <a:pt x="3550119" y="5146648"/>
                  <a:pt x="3540447" y="5156320"/>
                </a:cubicBezTo>
                <a:cubicBezTo>
                  <a:pt x="3538514" y="5156320"/>
                  <a:pt x="3538514" y="5158253"/>
                  <a:pt x="3536579" y="5160188"/>
                </a:cubicBezTo>
                <a:cubicBezTo>
                  <a:pt x="3517237" y="5177594"/>
                  <a:pt x="3501764" y="5198871"/>
                  <a:pt x="3484358" y="5218209"/>
                </a:cubicBezTo>
                <a:cubicBezTo>
                  <a:pt x="3482423" y="5220145"/>
                  <a:pt x="3480490" y="5220145"/>
                  <a:pt x="3478555" y="5222078"/>
                </a:cubicBezTo>
                <a:cubicBezTo>
                  <a:pt x="3478555" y="5218209"/>
                  <a:pt x="3482423" y="5216277"/>
                  <a:pt x="3484358" y="5212408"/>
                </a:cubicBezTo>
                <a:cubicBezTo>
                  <a:pt x="3505633" y="5185330"/>
                  <a:pt x="3524974" y="5160188"/>
                  <a:pt x="3546248" y="5135043"/>
                </a:cubicBezTo>
                <a:cubicBezTo>
                  <a:pt x="3557855" y="5119570"/>
                  <a:pt x="3569458" y="5106032"/>
                  <a:pt x="3581065" y="5092495"/>
                </a:cubicBezTo>
                <a:cubicBezTo>
                  <a:pt x="3577197" y="5092495"/>
                  <a:pt x="3571393" y="5092495"/>
                  <a:pt x="3567525" y="5092495"/>
                </a:cubicBezTo>
                <a:cubicBezTo>
                  <a:pt x="3565589" y="5098296"/>
                  <a:pt x="3561723" y="5102164"/>
                  <a:pt x="3555920" y="5102164"/>
                </a:cubicBezTo>
                <a:cubicBezTo>
                  <a:pt x="3557855" y="5098296"/>
                  <a:pt x="3559788" y="5096361"/>
                  <a:pt x="3561723" y="5092495"/>
                </a:cubicBezTo>
                <a:cubicBezTo>
                  <a:pt x="3559788" y="5092495"/>
                  <a:pt x="3559788" y="5092495"/>
                  <a:pt x="3557855" y="5092495"/>
                </a:cubicBezTo>
                <a:cubicBezTo>
                  <a:pt x="3553987" y="5096361"/>
                  <a:pt x="3550119" y="5100229"/>
                  <a:pt x="3548183" y="5106032"/>
                </a:cubicBezTo>
                <a:cubicBezTo>
                  <a:pt x="3548183" y="5111836"/>
                  <a:pt x="3546248" y="5113769"/>
                  <a:pt x="3542382" y="5115702"/>
                </a:cubicBezTo>
                <a:cubicBezTo>
                  <a:pt x="3534646" y="5117637"/>
                  <a:pt x="3530777" y="5123438"/>
                  <a:pt x="3526909" y="5129242"/>
                </a:cubicBezTo>
                <a:cubicBezTo>
                  <a:pt x="3513372" y="5144713"/>
                  <a:pt x="3503700" y="5162121"/>
                  <a:pt x="3490162" y="5175661"/>
                </a:cubicBezTo>
                <a:cubicBezTo>
                  <a:pt x="3486294" y="5181462"/>
                  <a:pt x="3478555" y="5185330"/>
                  <a:pt x="3478555" y="5195000"/>
                </a:cubicBezTo>
                <a:cubicBezTo>
                  <a:pt x="3472754" y="5195000"/>
                  <a:pt x="3470821" y="5200804"/>
                  <a:pt x="3468885" y="5204672"/>
                </a:cubicBezTo>
                <a:cubicBezTo>
                  <a:pt x="3463084" y="5208540"/>
                  <a:pt x="3459214" y="5212408"/>
                  <a:pt x="3455348" y="5218209"/>
                </a:cubicBezTo>
                <a:cubicBezTo>
                  <a:pt x="3449544" y="5224013"/>
                  <a:pt x="3445676" y="5229814"/>
                  <a:pt x="3439875" y="5235618"/>
                </a:cubicBezTo>
                <a:lnTo>
                  <a:pt x="3430203" y="5234005"/>
                </a:lnTo>
                <a:lnTo>
                  <a:pt x="3432138" y="5231747"/>
                </a:lnTo>
                <a:lnTo>
                  <a:pt x="3429777" y="5233934"/>
                </a:lnTo>
                <a:lnTo>
                  <a:pt x="3428270" y="5233683"/>
                </a:lnTo>
                <a:cubicBezTo>
                  <a:pt x="3434071" y="5218209"/>
                  <a:pt x="3443743" y="5206605"/>
                  <a:pt x="3453412" y="5195000"/>
                </a:cubicBezTo>
                <a:cubicBezTo>
                  <a:pt x="3466952" y="5173726"/>
                  <a:pt x="3482423" y="5154384"/>
                  <a:pt x="3497896" y="5135043"/>
                </a:cubicBezTo>
                <a:cubicBezTo>
                  <a:pt x="3497896" y="5135043"/>
                  <a:pt x="3497896" y="5133110"/>
                  <a:pt x="3499831" y="5129242"/>
                </a:cubicBezTo>
                <a:cubicBezTo>
                  <a:pt x="3492095" y="5133110"/>
                  <a:pt x="3490162" y="5138911"/>
                  <a:pt x="3486294" y="5142780"/>
                </a:cubicBezTo>
                <a:cubicBezTo>
                  <a:pt x="3488227" y="5138911"/>
                  <a:pt x="3488227" y="5133110"/>
                  <a:pt x="3488227" y="5129242"/>
                </a:cubicBezTo>
                <a:cubicBezTo>
                  <a:pt x="3486294" y="5129242"/>
                  <a:pt x="3484358" y="5129242"/>
                  <a:pt x="3484358" y="5129242"/>
                </a:cubicBezTo>
                <a:cubicBezTo>
                  <a:pt x="3474689" y="5125374"/>
                  <a:pt x="3468885" y="5129242"/>
                  <a:pt x="3463084" y="5136978"/>
                </a:cubicBezTo>
                <a:cubicBezTo>
                  <a:pt x="3451479" y="5152451"/>
                  <a:pt x="3439875" y="5167922"/>
                  <a:pt x="3428270" y="5183395"/>
                </a:cubicBezTo>
                <a:cubicBezTo>
                  <a:pt x="3426337" y="5185330"/>
                  <a:pt x="3426337" y="5185330"/>
                  <a:pt x="3426337" y="5189199"/>
                </a:cubicBezTo>
                <a:cubicBezTo>
                  <a:pt x="3434071" y="5185330"/>
                  <a:pt x="3436006" y="5175661"/>
                  <a:pt x="3443743" y="5173726"/>
                </a:cubicBezTo>
                <a:cubicBezTo>
                  <a:pt x="3443743" y="5183395"/>
                  <a:pt x="3443743" y="5183395"/>
                  <a:pt x="3439875" y="5191132"/>
                </a:cubicBezTo>
                <a:cubicBezTo>
                  <a:pt x="3443743" y="5187263"/>
                  <a:pt x="3447611" y="5185330"/>
                  <a:pt x="3449544" y="5181462"/>
                </a:cubicBezTo>
                <a:cubicBezTo>
                  <a:pt x="3455348" y="5171790"/>
                  <a:pt x="3463084" y="5162121"/>
                  <a:pt x="3470821" y="5152451"/>
                </a:cubicBezTo>
                <a:cubicBezTo>
                  <a:pt x="3474689" y="5148583"/>
                  <a:pt x="3478555" y="5142780"/>
                  <a:pt x="3484358" y="5142780"/>
                </a:cubicBezTo>
                <a:cubicBezTo>
                  <a:pt x="3470821" y="5162121"/>
                  <a:pt x="3455348" y="5181462"/>
                  <a:pt x="3441808" y="5200804"/>
                </a:cubicBezTo>
                <a:cubicBezTo>
                  <a:pt x="3439875" y="5202736"/>
                  <a:pt x="3436006" y="5204672"/>
                  <a:pt x="3434071" y="5206605"/>
                </a:cubicBezTo>
                <a:cubicBezTo>
                  <a:pt x="3434071" y="5204672"/>
                  <a:pt x="3434071" y="5204672"/>
                  <a:pt x="3434071" y="5202736"/>
                </a:cubicBezTo>
                <a:cubicBezTo>
                  <a:pt x="3436006" y="5200804"/>
                  <a:pt x="3437939" y="5196935"/>
                  <a:pt x="3437939" y="5193067"/>
                </a:cubicBezTo>
                <a:cubicBezTo>
                  <a:pt x="3434071" y="5195000"/>
                  <a:pt x="3432138" y="5198871"/>
                  <a:pt x="3432138" y="5202736"/>
                </a:cubicBezTo>
                <a:cubicBezTo>
                  <a:pt x="3426337" y="5204672"/>
                  <a:pt x="3420533" y="5210473"/>
                  <a:pt x="3422466" y="5218209"/>
                </a:cubicBezTo>
                <a:cubicBezTo>
                  <a:pt x="3424402" y="5216277"/>
                  <a:pt x="3426337" y="5216277"/>
                  <a:pt x="3428270" y="5214341"/>
                </a:cubicBezTo>
                <a:cubicBezTo>
                  <a:pt x="3422466" y="5229814"/>
                  <a:pt x="3412797" y="5243354"/>
                  <a:pt x="3399257" y="5253024"/>
                </a:cubicBezTo>
                <a:cubicBezTo>
                  <a:pt x="3401192" y="5251088"/>
                  <a:pt x="3401192" y="5251088"/>
                  <a:pt x="3401192" y="5249156"/>
                </a:cubicBezTo>
                <a:cubicBezTo>
                  <a:pt x="3399257" y="5251088"/>
                  <a:pt x="3395389" y="5253024"/>
                  <a:pt x="3393456" y="5254957"/>
                </a:cubicBezTo>
                <a:cubicBezTo>
                  <a:pt x="3389587" y="5260760"/>
                  <a:pt x="3385719" y="5266564"/>
                  <a:pt x="3381851" y="5272365"/>
                </a:cubicBezTo>
                <a:cubicBezTo>
                  <a:pt x="3376050" y="5280102"/>
                  <a:pt x="3370246" y="5287838"/>
                  <a:pt x="3364445" y="5295575"/>
                </a:cubicBezTo>
                <a:cubicBezTo>
                  <a:pt x="3366378" y="5293639"/>
                  <a:pt x="3368313" y="5293639"/>
                  <a:pt x="3372179" y="5291706"/>
                </a:cubicBezTo>
                <a:cubicBezTo>
                  <a:pt x="3372179" y="5301376"/>
                  <a:pt x="3366378" y="5305244"/>
                  <a:pt x="3362510" y="5311048"/>
                </a:cubicBezTo>
                <a:cubicBezTo>
                  <a:pt x="3362510" y="5307179"/>
                  <a:pt x="3360577" y="5305244"/>
                  <a:pt x="3360577" y="5303311"/>
                </a:cubicBezTo>
                <a:cubicBezTo>
                  <a:pt x="3358641" y="5307179"/>
                  <a:pt x="3356708" y="5309112"/>
                  <a:pt x="3354773" y="5312981"/>
                </a:cubicBezTo>
                <a:cubicBezTo>
                  <a:pt x="3347037" y="5316849"/>
                  <a:pt x="3347037" y="5316849"/>
                  <a:pt x="3348972" y="5324585"/>
                </a:cubicBezTo>
                <a:cubicBezTo>
                  <a:pt x="3345104" y="5326521"/>
                  <a:pt x="3343168" y="5328454"/>
                  <a:pt x="3339302" y="5328454"/>
                </a:cubicBezTo>
                <a:cubicBezTo>
                  <a:pt x="3335432" y="5328454"/>
                  <a:pt x="3331564" y="5326521"/>
                  <a:pt x="3331564" y="5322652"/>
                </a:cubicBezTo>
                <a:cubicBezTo>
                  <a:pt x="3331564" y="5318782"/>
                  <a:pt x="3331564" y="5316849"/>
                  <a:pt x="3331564" y="5314916"/>
                </a:cubicBezTo>
                <a:cubicBezTo>
                  <a:pt x="3331564" y="5312981"/>
                  <a:pt x="3329631" y="5309112"/>
                  <a:pt x="3329631" y="5309112"/>
                </a:cubicBezTo>
                <a:cubicBezTo>
                  <a:pt x="3319961" y="5307179"/>
                  <a:pt x="3327695" y="5301376"/>
                  <a:pt x="3323827" y="5297508"/>
                </a:cubicBezTo>
                <a:cubicBezTo>
                  <a:pt x="3319961" y="5299443"/>
                  <a:pt x="3316093" y="5303311"/>
                  <a:pt x="3310289" y="5309112"/>
                </a:cubicBezTo>
                <a:cubicBezTo>
                  <a:pt x="3310289" y="5305244"/>
                  <a:pt x="3310289" y="5303311"/>
                  <a:pt x="3310289" y="5301376"/>
                </a:cubicBezTo>
                <a:cubicBezTo>
                  <a:pt x="3310289" y="5299443"/>
                  <a:pt x="3312222" y="5295575"/>
                  <a:pt x="3314158" y="5293639"/>
                </a:cubicBezTo>
                <a:cubicBezTo>
                  <a:pt x="3312222" y="5289771"/>
                  <a:pt x="3308354" y="5293639"/>
                  <a:pt x="3306421" y="5293639"/>
                </a:cubicBezTo>
                <a:cubicBezTo>
                  <a:pt x="3304486" y="5293639"/>
                  <a:pt x="3302553" y="5291706"/>
                  <a:pt x="3302553" y="5289771"/>
                </a:cubicBezTo>
                <a:cubicBezTo>
                  <a:pt x="3302553" y="5291706"/>
                  <a:pt x="3300620" y="5291706"/>
                  <a:pt x="3300620" y="5293639"/>
                </a:cubicBezTo>
                <a:cubicBezTo>
                  <a:pt x="3296752" y="5297508"/>
                  <a:pt x="3292883" y="5297508"/>
                  <a:pt x="3290948" y="5293639"/>
                </a:cubicBezTo>
                <a:cubicBezTo>
                  <a:pt x="3290948" y="5291706"/>
                  <a:pt x="3290948" y="5287838"/>
                  <a:pt x="3290948" y="5285905"/>
                </a:cubicBezTo>
                <a:cubicBezTo>
                  <a:pt x="3292883" y="5278166"/>
                  <a:pt x="3296752" y="5272365"/>
                  <a:pt x="3298685" y="5264629"/>
                </a:cubicBezTo>
                <a:cubicBezTo>
                  <a:pt x="3296752" y="5262696"/>
                  <a:pt x="3296752" y="5262696"/>
                  <a:pt x="3294816" y="5260760"/>
                </a:cubicBezTo>
                <a:cubicBezTo>
                  <a:pt x="3294816" y="5260760"/>
                  <a:pt x="3294816" y="5262696"/>
                  <a:pt x="3294816" y="5262696"/>
                </a:cubicBezTo>
                <a:cubicBezTo>
                  <a:pt x="3292883" y="5262696"/>
                  <a:pt x="3290948" y="5262696"/>
                  <a:pt x="3290948" y="5260760"/>
                </a:cubicBezTo>
                <a:cubicBezTo>
                  <a:pt x="3289013" y="5258827"/>
                  <a:pt x="3290948" y="5256892"/>
                  <a:pt x="3290948" y="5256892"/>
                </a:cubicBezTo>
                <a:cubicBezTo>
                  <a:pt x="3283212" y="5247223"/>
                  <a:pt x="3279343" y="5235618"/>
                  <a:pt x="3277410" y="5224013"/>
                </a:cubicBezTo>
                <a:cubicBezTo>
                  <a:pt x="3275475" y="5222078"/>
                  <a:pt x="3275475" y="5222078"/>
                  <a:pt x="3275475" y="5220145"/>
                </a:cubicBezTo>
                <a:cubicBezTo>
                  <a:pt x="3275475" y="5218209"/>
                  <a:pt x="3275475" y="5218209"/>
                  <a:pt x="3275475" y="5216277"/>
                </a:cubicBezTo>
                <a:cubicBezTo>
                  <a:pt x="3275475" y="5214341"/>
                  <a:pt x="3275475" y="5212408"/>
                  <a:pt x="3275475" y="5210473"/>
                </a:cubicBezTo>
                <a:cubicBezTo>
                  <a:pt x="3273542" y="5210473"/>
                  <a:pt x="3273542" y="5208540"/>
                  <a:pt x="3273542" y="5208540"/>
                </a:cubicBezTo>
                <a:cubicBezTo>
                  <a:pt x="3263870" y="5206605"/>
                  <a:pt x="3271607" y="5200804"/>
                  <a:pt x="3267739" y="5196935"/>
                </a:cubicBezTo>
                <a:cubicBezTo>
                  <a:pt x="3263870" y="5198871"/>
                  <a:pt x="3260002" y="5202736"/>
                  <a:pt x="3254201" y="5208540"/>
                </a:cubicBezTo>
                <a:cubicBezTo>
                  <a:pt x="3254201" y="5204672"/>
                  <a:pt x="3254201" y="5202736"/>
                  <a:pt x="3254201" y="5200804"/>
                </a:cubicBezTo>
                <a:cubicBezTo>
                  <a:pt x="3254201" y="5198871"/>
                  <a:pt x="3254201" y="5198871"/>
                  <a:pt x="3254201" y="5198871"/>
                </a:cubicBezTo>
                <a:cubicBezTo>
                  <a:pt x="3254201" y="5200804"/>
                  <a:pt x="3252265" y="5200804"/>
                  <a:pt x="3252265" y="5200804"/>
                </a:cubicBezTo>
                <a:cubicBezTo>
                  <a:pt x="3250333" y="5198871"/>
                  <a:pt x="3250333" y="5198871"/>
                  <a:pt x="3250333" y="5196935"/>
                </a:cubicBezTo>
                <a:cubicBezTo>
                  <a:pt x="3252265" y="5195000"/>
                  <a:pt x="3252265" y="5195000"/>
                  <a:pt x="3254201" y="5193067"/>
                </a:cubicBezTo>
                <a:cubicBezTo>
                  <a:pt x="3254201" y="5193067"/>
                  <a:pt x="3256134" y="5195000"/>
                  <a:pt x="3256134" y="5195000"/>
                </a:cubicBezTo>
                <a:cubicBezTo>
                  <a:pt x="3256134" y="5196935"/>
                  <a:pt x="3256134" y="5196935"/>
                  <a:pt x="3256134" y="5196935"/>
                </a:cubicBezTo>
                <a:cubicBezTo>
                  <a:pt x="3256134" y="5195000"/>
                  <a:pt x="3258069" y="5193067"/>
                  <a:pt x="3258069" y="5191132"/>
                </a:cubicBezTo>
                <a:cubicBezTo>
                  <a:pt x="3256134" y="5187263"/>
                  <a:pt x="3252265" y="5191132"/>
                  <a:pt x="3250333" y="5191132"/>
                </a:cubicBezTo>
                <a:cubicBezTo>
                  <a:pt x="3248397" y="5191132"/>
                  <a:pt x="3246464" y="5189199"/>
                  <a:pt x="3246464" y="5187263"/>
                </a:cubicBezTo>
                <a:cubicBezTo>
                  <a:pt x="3246464" y="5189199"/>
                  <a:pt x="3244529" y="5189199"/>
                  <a:pt x="3244529" y="5191132"/>
                </a:cubicBezTo>
                <a:cubicBezTo>
                  <a:pt x="3240661" y="5195000"/>
                  <a:pt x="3236792" y="5195000"/>
                  <a:pt x="3234860" y="5191132"/>
                </a:cubicBezTo>
                <a:cubicBezTo>
                  <a:pt x="3234860" y="5189199"/>
                  <a:pt x="3234860" y="5185330"/>
                  <a:pt x="3234860" y="5183395"/>
                </a:cubicBezTo>
                <a:cubicBezTo>
                  <a:pt x="3236792" y="5175661"/>
                  <a:pt x="3240661" y="5169857"/>
                  <a:pt x="3242596" y="5162121"/>
                </a:cubicBezTo>
                <a:cubicBezTo>
                  <a:pt x="3232927" y="5148583"/>
                  <a:pt x="3225188" y="5133110"/>
                  <a:pt x="3223255" y="5117637"/>
                </a:cubicBezTo>
                <a:cubicBezTo>
                  <a:pt x="3221319" y="5115702"/>
                  <a:pt x="3221319" y="5111836"/>
                  <a:pt x="3221319" y="5107965"/>
                </a:cubicBezTo>
                <a:cubicBezTo>
                  <a:pt x="3215518" y="5113769"/>
                  <a:pt x="3207782" y="5117637"/>
                  <a:pt x="3201978" y="5121505"/>
                </a:cubicBezTo>
                <a:cubicBezTo>
                  <a:pt x="3201978" y="5117637"/>
                  <a:pt x="3201978" y="5115702"/>
                  <a:pt x="3203913" y="5113769"/>
                </a:cubicBezTo>
                <a:cubicBezTo>
                  <a:pt x="3209717" y="5107965"/>
                  <a:pt x="3215518" y="5102164"/>
                  <a:pt x="3221319" y="5098296"/>
                </a:cubicBezTo>
                <a:cubicBezTo>
                  <a:pt x="3221319" y="5094428"/>
                  <a:pt x="3223255" y="5088626"/>
                  <a:pt x="3225188" y="5082823"/>
                </a:cubicBezTo>
                <a:cubicBezTo>
                  <a:pt x="3227123" y="5080888"/>
                  <a:pt x="3227123" y="5078955"/>
                  <a:pt x="3227123" y="5077019"/>
                </a:cubicBezTo>
                <a:cubicBezTo>
                  <a:pt x="3225188" y="5077019"/>
                  <a:pt x="3225188" y="5077019"/>
                  <a:pt x="3225188" y="5077019"/>
                </a:cubicBezTo>
                <a:cubicBezTo>
                  <a:pt x="3213585" y="5077019"/>
                  <a:pt x="3203913" y="5073153"/>
                  <a:pt x="3198110" y="5063482"/>
                </a:cubicBezTo>
                <a:cubicBezTo>
                  <a:pt x="3201978" y="5055745"/>
                  <a:pt x="3209717" y="5049944"/>
                  <a:pt x="3215518" y="5042207"/>
                </a:cubicBezTo>
                <a:cubicBezTo>
                  <a:pt x="3215518" y="5040272"/>
                  <a:pt x="3217451" y="5038339"/>
                  <a:pt x="3217451" y="5036404"/>
                </a:cubicBezTo>
                <a:cubicBezTo>
                  <a:pt x="3215518" y="5034471"/>
                  <a:pt x="3213585" y="5032536"/>
                  <a:pt x="3211650" y="5028667"/>
                </a:cubicBezTo>
                <a:cubicBezTo>
                  <a:pt x="3213585" y="5026734"/>
                  <a:pt x="3217451" y="5024801"/>
                  <a:pt x="3219387" y="5024801"/>
                </a:cubicBezTo>
                <a:cubicBezTo>
                  <a:pt x="3219387" y="5024801"/>
                  <a:pt x="3219387" y="5022866"/>
                  <a:pt x="3219387" y="5022866"/>
                </a:cubicBezTo>
                <a:cubicBezTo>
                  <a:pt x="3219387" y="5020931"/>
                  <a:pt x="3217451" y="5018998"/>
                  <a:pt x="3215518" y="5018998"/>
                </a:cubicBezTo>
                <a:cubicBezTo>
                  <a:pt x="3211650" y="5017063"/>
                  <a:pt x="3205849" y="5015130"/>
                  <a:pt x="3203913" y="5009326"/>
                </a:cubicBezTo>
                <a:cubicBezTo>
                  <a:pt x="3201978" y="5005460"/>
                  <a:pt x="3200045" y="5003525"/>
                  <a:pt x="3196177" y="4999657"/>
                </a:cubicBezTo>
                <a:cubicBezTo>
                  <a:pt x="3188440" y="5005460"/>
                  <a:pt x="3178771" y="5013194"/>
                  <a:pt x="3167166" y="5015130"/>
                </a:cubicBezTo>
                <a:cubicBezTo>
                  <a:pt x="3172967" y="5009326"/>
                  <a:pt x="3178771" y="5003525"/>
                  <a:pt x="3184572" y="4999657"/>
                </a:cubicBezTo>
                <a:cubicBezTo>
                  <a:pt x="3184572" y="4997721"/>
                  <a:pt x="3184572" y="4995788"/>
                  <a:pt x="3184572" y="4995788"/>
                </a:cubicBezTo>
                <a:cubicBezTo>
                  <a:pt x="3190376" y="4989985"/>
                  <a:pt x="3198110" y="4982251"/>
                  <a:pt x="3203913" y="4974512"/>
                </a:cubicBezTo>
                <a:cubicBezTo>
                  <a:pt x="3209717" y="4968710"/>
                  <a:pt x="3213585" y="4962909"/>
                  <a:pt x="3219387" y="4959041"/>
                </a:cubicBezTo>
                <a:cubicBezTo>
                  <a:pt x="3217451" y="4957106"/>
                  <a:pt x="3215518" y="4955173"/>
                  <a:pt x="3213585" y="4953237"/>
                </a:cubicBezTo>
                <a:cubicBezTo>
                  <a:pt x="3213585" y="4953237"/>
                  <a:pt x="3211650" y="4955173"/>
                  <a:pt x="3211650" y="4955173"/>
                </a:cubicBezTo>
                <a:cubicBezTo>
                  <a:pt x="3200045" y="4966778"/>
                  <a:pt x="3188440" y="4976447"/>
                  <a:pt x="3176836" y="4988052"/>
                </a:cubicBezTo>
                <a:lnTo>
                  <a:pt x="3173291" y="4990416"/>
                </a:lnTo>
                <a:lnTo>
                  <a:pt x="3172967" y="4989985"/>
                </a:lnTo>
                <a:cubicBezTo>
                  <a:pt x="3172967" y="4989985"/>
                  <a:pt x="3171034" y="4989985"/>
                  <a:pt x="3171034" y="4991920"/>
                </a:cubicBezTo>
                <a:lnTo>
                  <a:pt x="3173291" y="4990416"/>
                </a:lnTo>
                <a:lnTo>
                  <a:pt x="3175144" y="4992887"/>
                </a:lnTo>
                <a:cubicBezTo>
                  <a:pt x="3174902" y="4993854"/>
                  <a:pt x="3173935" y="4994821"/>
                  <a:pt x="3172967" y="4995788"/>
                </a:cubicBezTo>
                <a:cubicBezTo>
                  <a:pt x="3165231" y="5005460"/>
                  <a:pt x="3155561" y="5011261"/>
                  <a:pt x="3145892" y="5017063"/>
                </a:cubicBezTo>
                <a:cubicBezTo>
                  <a:pt x="3145892" y="5013194"/>
                  <a:pt x="3145892" y="5011261"/>
                  <a:pt x="3147825" y="5009326"/>
                </a:cubicBezTo>
                <a:cubicBezTo>
                  <a:pt x="3153626" y="5005460"/>
                  <a:pt x="3157494" y="4997721"/>
                  <a:pt x="3165231" y="4993853"/>
                </a:cubicBezTo>
                <a:cubicBezTo>
                  <a:pt x="3167166" y="4989985"/>
                  <a:pt x="3167166" y="4988052"/>
                  <a:pt x="3169099" y="4986119"/>
                </a:cubicBezTo>
                <a:cubicBezTo>
                  <a:pt x="3176836" y="4978380"/>
                  <a:pt x="3182639" y="4968710"/>
                  <a:pt x="3192309" y="4962909"/>
                </a:cubicBezTo>
                <a:cubicBezTo>
                  <a:pt x="3196177" y="4960974"/>
                  <a:pt x="3200045" y="4955173"/>
                  <a:pt x="3203913" y="4951302"/>
                </a:cubicBezTo>
                <a:cubicBezTo>
                  <a:pt x="3205849" y="4949369"/>
                  <a:pt x="3205849" y="4949369"/>
                  <a:pt x="3205849" y="4949369"/>
                </a:cubicBezTo>
                <a:cubicBezTo>
                  <a:pt x="3201978" y="4947436"/>
                  <a:pt x="3200045" y="4943568"/>
                  <a:pt x="3196177" y="4941633"/>
                </a:cubicBezTo>
                <a:cubicBezTo>
                  <a:pt x="3190376" y="4945501"/>
                  <a:pt x="3186507" y="4945501"/>
                  <a:pt x="3180704" y="4947436"/>
                </a:cubicBezTo>
                <a:cubicBezTo>
                  <a:pt x="3178771" y="4949369"/>
                  <a:pt x="3176836" y="4951302"/>
                  <a:pt x="3174903" y="4953237"/>
                </a:cubicBezTo>
                <a:cubicBezTo>
                  <a:pt x="3172967" y="4957106"/>
                  <a:pt x="3174903" y="4959041"/>
                  <a:pt x="3176836" y="4960974"/>
                </a:cubicBezTo>
                <a:lnTo>
                  <a:pt x="3178771" y="4960974"/>
                </a:lnTo>
                <a:cubicBezTo>
                  <a:pt x="3182639" y="4966778"/>
                  <a:pt x="3180704" y="4972579"/>
                  <a:pt x="3171034" y="4972579"/>
                </a:cubicBezTo>
                <a:cubicBezTo>
                  <a:pt x="3171034" y="4972579"/>
                  <a:pt x="3169099" y="4972579"/>
                  <a:pt x="3167166" y="4972579"/>
                </a:cubicBezTo>
                <a:cubicBezTo>
                  <a:pt x="3165231" y="4974512"/>
                  <a:pt x="3163298" y="4976447"/>
                  <a:pt x="3161363" y="4978380"/>
                </a:cubicBezTo>
                <a:cubicBezTo>
                  <a:pt x="3151693" y="4984184"/>
                  <a:pt x="3142024" y="4991920"/>
                  <a:pt x="3134285" y="5001592"/>
                </a:cubicBezTo>
                <a:cubicBezTo>
                  <a:pt x="3130417" y="5007393"/>
                  <a:pt x="3124615" y="5011261"/>
                  <a:pt x="3114944" y="5013194"/>
                </a:cubicBezTo>
                <a:cubicBezTo>
                  <a:pt x="3114944" y="5001592"/>
                  <a:pt x="3122682" y="4993853"/>
                  <a:pt x="3130417" y="4988052"/>
                </a:cubicBezTo>
                <a:cubicBezTo>
                  <a:pt x="3136220" y="4984184"/>
                  <a:pt x="3142024" y="4976447"/>
                  <a:pt x="3149758" y="4976447"/>
                </a:cubicBezTo>
                <a:cubicBezTo>
                  <a:pt x="3151693" y="4974512"/>
                  <a:pt x="3153626" y="4972579"/>
                  <a:pt x="3155561" y="4970643"/>
                </a:cubicBezTo>
                <a:cubicBezTo>
                  <a:pt x="3157494" y="4970643"/>
                  <a:pt x="3157494" y="4968710"/>
                  <a:pt x="3157494" y="4968710"/>
                </a:cubicBezTo>
                <a:cubicBezTo>
                  <a:pt x="3153626" y="4966778"/>
                  <a:pt x="3149758" y="4962909"/>
                  <a:pt x="3145892" y="4957106"/>
                </a:cubicBezTo>
                <a:cubicBezTo>
                  <a:pt x="3147825" y="4949369"/>
                  <a:pt x="3151693" y="4945501"/>
                  <a:pt x="3157494" y="4939700"/>
                </a:cubicBezTo>
                <a:cubicBezTo>
                  <a:pt x="3153626" y="4939700"/>
                  <a:pt x="3151693" y="4937764"/>
                  <a:pt x="3147825" y="4937764"/>
                </a:cubicBezTo>
                <a:cubicBezTo>
                  <a:pt x="3142024" y="4941633"/>
                  <a:pt x="3138153" y="4947436"/>
                  <a:pt x="3132352" y="4953237"/>
                </a:cubicBezTo>
                <a:cubicBezTo>
                  <a:pt x="3128484" y="4947436"/>
                  <a:pt x="3124615" y="4941633"/>
                  <a:pt x="3116879" y="4951302"/>
                </a:cubicBezTo>
                <a:cubicBezTo>
                  <a:pt x="3116879" y="4949369"/>
                  <a:pt x="3116879" y="4947436"/>
                  <a:pt x="3116879" y="4945501"/>
                </a:cubicBezTo>
                <a:cubicBezTo>
                  <a:pt x="3118814" y="4941633"/>
                  <a:pt x="3122682" y="4937764"/>
                  <a:pt x="3126551" y="4931963"/>
                </a:cubicBezTo>
                <a:cubicBezTo>
                  <a:pt x="3120747" y="4935832"/>
                  <a:pt x="3114944" y="4939700"/>
                  <a:pt x="3109142" y="4941633"/>
                </a:cubicBezTo>
                <a:cubicBezTo>
                  <a:pt x="3103341" y="4933896"/>
                  <a:pt x="3111075" y="4931963"/>
                  <a:pt x="3113011" y="4926160"/>
                </a:cubicBezTo>
                <a:cubicBezTo>
                  <a:pt x="3109142" y="4928095"/>
                  <a:pt x="3107209" y="4930028"/>
                  <a:pt x="3103341" y="4931963"/>
                </a:cubicBezTo>
                <a:cubicBezTo>
                  <a:pt x="3103341" y="4930028"/>
                  <a:pt x="3105274" y="4928095"/>
                  <a:pt x="3105274" y="4926160"/>
                </a:cubicBezTo>
                <a:cubicBezTo>
                  <a:pt x="3097538" y="4930028"/>
                  <a:pt x="3091734" y="4933896"/>
                  <a:pt x="3087868" y="4941633"/>
                </a:cubicBezTo>
                <a:lnTo>
                  <a:pt x="3085933" y="4943567"/>
                </a:lnTo>
                <a:lnTo>
                  <a:pt x="3087384" y="4941150"/>
                </a:lnTo>
                <a:cubicBezTo>
                  <a:pt x="3088351" y="4940182"/>
                  <a:pt x="3089801" y="4938732"/>
                  <a:pt x="3091734" y="4935832"/>
                </a:cubicBezTo>
                <a:cubicBezTo>
                  <a:pt x="3089801" y="4935832"/>
                  <a:pt x="3089801" y="4937764"/>
                  <a:pt x="3087868" y="4937764"/>
                </a:cubicBezTo>
                <a:cubicBezTo>
                  <a:pt x="3084000" y="4935832"/>
                  <a:pt x="3080132" y="4933896"/>
                  <a:pt x="3076263" y="4930028"/>
                </a:cubicBezTo>
                <a:cubicBezTo>
                  <a:pt x="3076263" y="4930028"/>
                  <a:pt x="3074328" y="4930028"/>
                  <a:pt x="3074328" y="4930028"/>
                </a:cubicBezTo>
                <a:cubicBezTo>
                  <a:pt x="3070460" y="4931963"/>
                  <a:pt x="3068527" y="4933896"/>
                  <a:pt x="3064659" y="4935832"/>
                </a:cubicBezTo>
                <a:cubicBezTo>
                  <a:pt x="3064659" y="4933896"/>
                  <a:pt x="3064659" y="4933896"/>
                  <a:pt x="3064659" y="4933896"/>
                </a:cubicBezTo>
                <a:cubicBezTo>
                  <a:pt x="3045317" y="4949369"/>
                  <a:pt x="3024041" y="4960974"/>
                  <a:pt x="3006635" y="4976447"/>
                </a:cubicBezTo>
                <a:cubicBezTo>
                  <a:pt x="3004699" y="4978380"/>
                  <a:pt x="3002767" y="4980315"/>
                  <a:pt x="2998898" y="4984184"/>
                </a:cubicBezTo>
                <a:cubicBezTo>
                  <a:pt x="3006635" y="4982251"/>
                  <a:pt x="3010503" y="4982251"/>
                  <a:pt x="3012438" y="4986119"/>
                </a:cubicBezTo>
                <a:cubicBezTo>
                  <a:pt x="3018240" y="4978380"/>
                  <a:pt x="3025976" y="4974512"/>
                  <a:pt x="3033713" y="4970643"/>
                </a:cubicBezTo>
                <a:cubicBezTo>
                  <a:pt x="3031780" y="4976447"/>
                  <a:pt x="3029844" y="4980315"/>
                  <a:pt x="3027909" y="4986119"/>
                </a:cubicBezTo>
                <a:cubicBezTo>
                  <a:pt x="3029844" y="4988052"/>
                  <a:pt x="3031780" y="4988052"/>
                  <a:pt x="3033713" y="4986119"/>
                </a:cubicBezTo>
                <a:cubicBezTo>
                  <a:pt x="3035648" y="4984184"/>
                  <a:pt x="3039516" y="4980315"/>
                  <a:pt x="3041449" y="4976447"/>
                </a:cubicBezTo>
                <a:cubicBezTo>
                  <a:pt x="3041449" y="4976447"/>
                  <a:pt x="3041449" y="4974512"/>
                  <a:pt x="3041449" y="4974512"/>
                </a:cubicBezTo>
                <a:cubicBezTo>
                  <a:pt x="3043382" y="4972579"/>
                  <a:pt x="3043382" y="4972579"/>
                  <a:pt x="3045317" y="4972579"/>
                </a:cubicBezTo>
                <a:cubicBezTo>
                  <a:pt x="3047250" y="4970643"/>
                  <a:pt x="3051118" y="4968710"/>
                  <a:pt x="3053054" y="4966778"/>
                </a:cubicBezTo>
                <a:cubicBezTo>
                  <a:pt x="3054987" y="4964842"/>
                  <a:pt x="3056922" y="4962909"/>
                  <a:pt x="3060790" y="4962909"/>
                </a:cubicBezTo>
                <a:cubicBezTo>
                  <a:pt x="3064659" y="4960974"/>
                  <a:pt x="3066592" y="4959041"/>
                  <a:pt x="3068527" y="4959041"/>
                </a:cubicBezTo>
                <a:cubicBezTo>
                  <a:pt x="3066592" y="4968710"/>
                  <a:pt x="3058857" y="4972579"/>
                  <a:pt x="3053054" y="4978380"/>
                </a:cubicBezTo>
                <a:cubicBezTo>
                  <a:pt x="3051118" y="4978380"/>
                  <a:pt x="3051118" y="4978380"/>
                  <a:pt x="3049186" y="4978380"/>
                </a:cubicBezTo>
                <a:cubicBezTo>
                  <a:pt x="3049186" y="4978380"/>
                  <a:pt x="3049186" y="4978380"/>
                  <a:pt x="3047250" y="4978380"/>
                </a:cubicBezTo>
                <a:cubicBezTo>
                  <a:pt x="3045317" y="4984184"/>
                  <a:pt x="3043382" y="4988052"/>
                  <a:pt x="3043382" y="4995788"/>
                </a:cubicBezTo>
                <a:cubicBezTo>
                  <a:pt x="3049186" y="4989985"/>
                  <a:pt x="3054987" y="4984184"/>
                  <a:pt x="3058857" y="4980315"/>
                </a:cubicBezTo>
                <a:cubicBezTo>
                  <a:pt x="3064659" y="4976447"/>
                  <a:pt x="3068527" y="4972579"/>
                  <a:pt x="3074328" y="4966778"/>
                </a:cubicBezTo>
                <a:cubicBezTo>
                  <a:pt x="3076263" y="4968710"/>
                  <a:pt x="3076263" y="4970643"/>
                  <a:pt x="3078196" y="4972579"/>
                </a:cubicBezTo>
                <a:cubicBezTo>
                  <a:pt x="3066592" y="4988052"/>
                  <a:pt x="3053054" y="4999657"/>
                  <a:pt x="3051118" y="5018998"/>
                </a:cubicBezTo>
                <a:cubicBezTo>
                  <a:pt x="3047250" y="5018998"/>
                  <a:pt x="3045317" y="5018998"/>
                  <a:pt x="3043382" y="5018998"/>
                </a:cubicBezTo>
                <a:cubicBezTo>
                  <a:pt x="3039516" y="5024801"/>
                  <a:pt x="3035648" y="5028667"/>
                  <a:pt x="3031780" y="5034471"/>
                </a:cubicBezTo>
                <a:cubicBezTo>
                  <a:pt x="3031780" y="5036404"/>
                  <a:pt x="3031780" y="5038339"/>
                  <a:pt x="3033713" y="5040272"/>
                </a:cubicBezTo>
                <a:cubicBezTo>
                  <a:pt x="3035648" y="5036404"/>
                  <a:pt x="3037581" y="5032536"/>
                  <a:pt x="3039516" y="5028667"/>
                </a:cubicBezTo>
                <a:cubicBezTo>
                  <a:pt x="3039516" y="5028667"/>
                  <a:pt x="3041449" y="5026734"/>
                  <a:pt x="3043382" y="5026734"/>
                </a:cubicBezTo>
                <a:cubicBezTo>
                  <a:pt x="3045317" y="5028667"/>
                  <a:pt x="3047250" y="5032536"/>
                  <a:pt x="3049186" y="5034471"/>
                </a:cubicBezTo>
                <a:cubicBezTo>
                  <a:pt x="3047250" y="5044140"/>
                  <a:pt x="3039516" y="5049944"/>
                  <a:pt x="3041449" y="5059613"/>
                </a:cubicBezTo>
                <a:cubicBezTo>
                  <a:pt x="3043382" y="5067350"/>
                  <a:pt x="3043382" y="5075086"/>
                  <a:pt x="3043382" y="5084756"/>
                </a:cubicBezTo>
                <a:cubicBezTo>
                  <a:pt x="3045317" y="5084756"/>
                  <a:pt x="3047250" y="5086691"/>
                  <a:pt x="3049186" y="5088626"/>
                </a:cubicBezTo>
                <a:cubicBezTo>
                  <a:pt x="3050152" y="5089593"/>
                  <a:pt x="3048701" y="5092493"/>
                  <a:pt x="3045800" y="5096119"/>
                </a:cubicBezTo>
                <a:lnTo>
                  <a:pt x="3034689" y="5107009"/>
                </a:lnTo>
                <a:lnTo>
                  <a:pt x="3033713" y="5106032"/>
                </a:lnTo>
                <a:cubicBezTo>
                  <a:pt x="3033713" y="5106032"/>
                  <a:pt x="3033713" y="5104097"/>
                  <a:pt x="3033713" y="5104097"/>
                </a:cubicBezTo>
                <a:cubicBezTo>
                  <a:pt x="3031780" y="5106032"/>
                  <a:pt x="3031780" y="5106032"/>
                  <a:pt x="3029844" y="5107965"/>
                </a:cubicBezTo>
                <a:lnTo>
                  <a:pt x="3033713" y="5108933"/>
                </a:lnTo>
                <a:lnTo>
                  <a:pt x="3033713" y="5109901"/>
                </a:lnTo>
                <a:lnTo>
                  <a:pt x="3037581" y="5109901"/>
                </a:lnTo>
                <a:lnTo>
                  <a:pt x="3043382" y="5109901"/>
                </a:lnTo>
                <a:cubicBezTo>
                  <a:pt x="3043382" y="5111836"/>
                  <a:pt x="3043382" y="5113769"/>
                  <a:pt x="3043382" y="5113769"/>
                </a:cubicBezTo>
                <a:lnTo>
                  <a:pt x="3042975" y="5114379"/>
                </a:lnTo>
                <a:lnTo>
                  <a:pt x="3041449" y="5111836"/>
                </a:lnTo>
                <a:lnTo>
                  <a:pt x="3041449" y="5116669"/>
                </a:lnTo>
                <a:lnTo>
                  <a:pt x="3039516" y="5119570"/>
                </a:lnTo>
                <a:lnTo>
                  <a:pt x="3041449" y="5120538"/>
                </a:lnTo>
                <a:lnTo>
                  <a:pt x="3041449" y="5122665"/>
                </a:lnTo>
                <a:lnTo>
                  <a:pt x="3033713" y="5127307"/>
                </a:lnTo>
                <a:cubicBezTo>
                  <a:pt x="3033713" y="5125374"/>
                  <a:pt x="3031780" y="5125374"/>
                  <a:pt x="3031780" y="5125374"/>
                </a:cubicBezTo>
                <a:cubicBezTo>
                  <a:pt x="3016307" y="5135043"/>
                  <a:pt x="3004699" y="5148583"/>
                  <a:pt x="2991162" y="5160188"/>
                </a:cubicBezTo>
                <a:cubicBezTo>
                  <a:pt x="2983425" y="5165989"/>
                  <a:pt x="2977624" y="5169857"/>
                  <a:pt x="2969888" y="5171790"/>
                </a:cubicBezTo>
                <a:cubicBezTo>
                  <a:pt x="2966019" y="5171790"/>
                  <a:pt x="2960216" y="5175661"/>
                  <a:pt x="2956347" y="5177594"/>
                </a:cubicBezTo>
                <a:cubicBezTo>
                  <a:pt x="2946678" y="5177594"/>
                  <a:pt x="2942810" y="5169857"/>
                  <a:pt x="2938941" y="5164054"/>
                </a:cubicBezTo>
                <a:cubicBezTo>
                  <a:pt x="2935073" y="5156320"/>
                  <a:pt x="2927337" y="5148583"/>
                  <a:pt x="2929272" y="5138911"/>
                </a:cubicBezTo>
                <a:cubicBezTo>
                  <a:pt x="2931205" y="5135043"/>
                  <a:pt x="2927337" y="5129242"/>
                  <a:pt x="2925404" y="5123438"/>
                </a:cubicBezTo>
                <a:cubicBezTo>
                  <a:pt x="2917665" y="5123438"/>
                  <a:pt x="2909931" y="5127307"/>
                  <a:pt x="2900259" y="5127307"/>
                </a:cubicBezTo>
                <a:cubicBezTo>
                  <a:pt x="2900259" y="5125374"/>
                  <a:pt x="2898326" y="5123438"/>
                  <a:pt x="2898326" y="5121505"/>
                </a:cubicBezTo>
                <a:cubicBezTo>
                  <a:pt x="2898326" y="5121505"/>
                  <a:pt x="2898326" y="5119570"/>
                  <a:pt x="2898326" y="5117637"/>
                </a:cubicBezTo>
                <a:cubicBezTo>
                  <a:pt x="2894458" y="5121505"/>
                  <a:pt x="2892522" y="5123438"/>
                  <a:pt x="2888654" y="5127307"/>
                </a:cubicBezTo>
                <a:cubicBezTo>
                  <a:pt x="2882853" y="5131175"/>
                  <a:pt x="2878985" y="5133110"/>
                  <a:pt x="2873181" y="5136978"/>
                </a:cubicBezTo>
                <a:cubicBezTo>
                  <a:pt x="2873181" y="5136978"/>
                  <a:pt x="2871248" y="5135043"/>
                  <a:pt x="2871248" y="5135043"/>
                </a:cubicBezTo>
                <a:cubicBezTo>
                  <a:pt x="2873181" y="5131175"/>
                  <a:pt x="2873181" y="5125374"/>
                  <a:pt x="2875116" y="5121505"/>
                </a:cubicBezTo>
                <a:cubicBezTo>
                  <a:pt x="2867380" y="5127307"/>
                  <a:pt x="2859643" y="5127307"/>
                  <a:pt x="2855775" y="5136978"/>
                </a:cubicBezTo>
                <a:cubicBezTo>
                  <a:pt x="2853840" y="5144713"/>
                  <a:pt x="2848039" y="5150516"/>
                  <a:pt x="2844170" y="5158253"/>
                </a:cubicBezTo>
                <a:lnTo>
                  <a:pt x="2840101" y="5153312"/>
                </a:lnTo>
                <a:lnTo>
                  <a:pt x="2842237" y="5148583"/>
                </a:lnTo>
                <a:lnTo>
                  <a:pt x="2838602" y="5151491"/>
                </a:lnTo>
                <a:lnTo>
                  <a:pt x="2834016" y="5145923"/>
                </a:lnTo>
                <a:cubicBezTo>
                  <a:pt x="2830632" y="5145198"/>
                  <a:pt x="2826763" y="5147615"/>
                  <a:pt x="2820961" y="5152451"/>
                </a:cubicBezTo>
                <a:cubicBezTo>
                  <a:pt x="2819028" y="5154384"/>
                  <a:pt x="2815160" y="5158253"/>
                  <a:pt x="2811291" y="5160188"/>
                </a:cubicBezTo>
                <a:cubicBezTo>
                  <a:pt x="2805488" y="5156320"/>
                  <a:pt x="2801620" y="5152451"/>
                  <a:pt x="2797754" y="5146648"/>
                </a:cubicBezTo>
                <a:cubicBezTo>
                  <a:pt x="2793883" y="5152451"/>
                  <a:pt x="2790015" y="5158253"/>
                  <a:pt x="2786147" y="5164054"/>
                </a:cubicBezTo>
                <a:cubicBezTo>
                  <a:pt x="2788082" y="5165989"/>
                  <a:pt x="2788082" y="5167922"/>
                  <a:pt x="2790015" y="5169857"/>
                </a:cubicBezTo>
                <a:cubicBezTo>
                  <a:pt x="2790015" y="5169857"/>
                  <a:pt x="2788082" y="5169857"/>
                  <a:pt x="2788082" y="5169857"/>
                </a:cubicBezTo>
                <a:cubicBezTo>
                  <a:pt x="2772609" y="5181462"/>
                  <a:pt x="2757136" y="5191132"/>
                  <a:pt x="2741663" y="5202736"/>
                </a:cubicBezTo>
                <a:cubicBezTo>
                  <a:pt x="2741663" y="5202736"/>
                  <a:pt x="2739730" y="5204672"/>
                  <a:pt x="2739730" y="5204672"/>
                </a:cubicBezTo>
                <a:cubicBezTo>
                  <a:pt x="2735862" y="5208540"/>
                  <a:pt x="2733926" y="5214341"/>
                  <a:pt x="2730058" y="5214341"/>
                </a:cubicBezTo>
                <a:cubicBezTo>
                  <a:pt x="2724257" y="5214341"/>
                  <a:pt x="2716520" y="5212408"/>
                  <a:pt x="2710717" y="5210473"/>
                </a:cubicBezTo>
                <a:cubicBezTo>
                  <a:pt x="2710717" y="5214341"/>
                  <a:pt x="2712652" y="5218209"/>
                  <a:pt x="2712652" y="5224013"/>
                </a:cubicBezTo>
                <a:cubicBezTo>
                  <a:pt x="2702980" y="5231747"/>
                  <a:pt x="2691378" y="5237551"/>
                  <a:pt x="2679771" y="5245287"/>
                </a:cubicBezTo>
                <a:cubicBezTo>
                  <a:pt x="2677838" y="5245287"/>
                  <a:pt x="2677838" y="5243354"/>
                  <a:pt x="2677838" y="5243354"/>
                </a:cubicBezTo>
                <a:cubicBezTo>
                  <a:pt x="2679771" y="5239486"/>
                  <a:pt x="2683639" y="5237551"/>
                  <a:pt x="2685574" y="5233683"/>
                </a:cubicBezTo>
                <a:cubicBezTo>
                  <a:pt x="2683639" y="5233683"/>
                  <a:pt x="2683639" y="5231747"/>
                  <a:pt x="2683639" y="5231747"/>
                </a:cubicBezTo>
                <a:cubicBezTo>
                  <a:pt x="2673970" y="5237551"/>
                  <a:pt x="2664300" y="5243354"/>
                  <a:pt x="2654628" y="5249156"/>
                </a:cubicBezTo>
                <a:cubicBezTo>
                  <a:pt x="2654628" y="5249156"/>
                  <a:pt x="2656561" y="5253024"/>
                  <a:pt x="2656561" y="5254957"/>
                </a:cubicBezTo>
                <a:cubicBezTo>
                  <a:pt x="2656561" y="5256892"/>
                  <a:pt x="2654628" y="5256892"/>
                  <a:pt x="2654628" y="5256892"/>
                </a:cubicBezTo>
                <a:cubicBezTo>
                  <a:pt x="2654628" y="5254957"/>
                  <a:pt x="2652695" y="5251088"/>
                  <a:pt x="2650760" y="5249156"/>
                </a:cubicBezTo>
                <a:cubicBezTo>
                  <a:pt x="2646892" y="5254957"/>
                  <a:pt x="2637220" y="5256892"/>
                  <a:pt x="2635287" y="5264629"/>
                </a:cubicBezTo>
                <a:cubicBezTo>
                  <a:pt x="2635287" y="5264629"/>
                  <a:pt x="2631419" y="5266564"/>
                  <a:pt x="2631419" y="5266564"/>
                </a:cubicBezTo>
                <a:cubicBezTo>
                  <a:pt x="2623682" y="5264629"/>
                  <a:pt x="2619814" y="5268497"/>
                  <a:pt x="2614013" y="5272365"/>
                </a:cubicBezTo>
                <a:cubicBezTo>
                  <a:pt x="2608209" y="5276233"/>
                  <a:pt x="2604343" y="5278166"/>
                  <a:pt x="2600473" y="5285905"/>
                </a:cubicBezTo>
                <a:cubicBezTo>
                  <a:pt x="2596605" y="5293639"/>
                  <a:pt x="2586935" y="5295575"/>
                  <a:pt x="2579199" y="5299443"/>
                </a:cubicBezTo>
                <a:cubicBezTo>
                  <a:pt x="2581134" y="5297508"/>
                  <a:pt x="2583067" y="5293639"/>
                  <a:pt x="2586935" y="5289771"/>
                </a:cubicBezTo>
                <a:cubicBezTo>
                  <a:pt x="2583067" y="5289771"/>
                  <a:pt x="2577266" y="5291706"/>
                  <a:pt x="2573395" y="5291706"/>
                </a:cubicBezTo>
                <a:cubicBezTo>
                  <a:pt x="2573395" y="5287838"/>
                  <a:pt x="2571462" y="5285905"/>
                  <a:pt x="2571462" y="5283970"/>
                </a:cubicBezTo>
                <a:cubicBezTo>
                  <a:pt x="2563726" y="5287838"/>
                  <a:pt x="2555989" y="5291706"/>
                  <a:pt x="2548253" y="5295575"/>
                </a:cubicBezTo>
                <a:cubicBezTo>
                  <a:pt x="2546320" y="5293639"/>
                  <a:pt x="2546320" y="5291706"/>
                  <a:pt x="2544384" y="5289771"/>
                </a:cubicBezTo>
                <a:cubicBezTo>
                  <a:pt x="2544384" y="5291706"/>
                  <a:pt x="2542451" y="5291706"/>
                  <a:pt x="2542451" y="5291706"/>
                </a:cubicBezTo>
                <a:cubicBezTo>
                  <a:pt x="2540516" y="5305244"/>
                  <a:pt x="2526978" y="5303311"/>
                  <a:pt x="2519242" y="5309112"/>
                </a:cubicBezTo>
                <a:lnTo>
                  <a:pt x="2507636" y="5314916"/>
                </a:lnTo>
                <a:lnTo>
                  <a:pt x="2495066" y="5313223"/>
                </a:lnTo>
                <a:cubicBezTo>
                  <a:pt x="2492648" y="5314432"/>
                  <a:pt x="2491197" y="5317816"/>
                  <a:pt x="2488296" y="5324585"/>
                </a:cubicBezTo>
                <a:lnTo>
                  <a:pt x="2501533" y="5317968"/>
                </a:lnTo>
                <a:lnTo>
                  <a:pt x="2492164" y="5322652"/>
                </a:lnTo>
                <a:cubicBezTo>
                  <a:pt x="2488296" y="5326521"/>
                  <a:pt x="2490229" y="5328454"/>
                  <a:pt x="2494099" y="5332322"/>
                </a:cubicBezTo>
                <a:cubicBezTo>
                  <a:pt x="2496032" y="5334257"/>
                  <a:pt x="2497968" y="5338123"/>
                  <a:pt x="2492164" y="5340058"/>
                </a:cubicBezTo>
                <a:cubicBezTo>
                  <a:pt x="2488296" y="5340058"/>
                  <a:pt x="2486360" y="5345862"/>
                  <a:pt x="2482492" y="5347795"/>
                </a:cubicBezTo>
                <a:cubicBezTo>
                  <a:pt x="2468954" y="5355531"/>
                  <a:pt x="2455417" y="5361333"/>
                  <a:pt x="2441877" y="5365201"/>
                </a:cubicBezTo>
                <a:cubicBezTo>
                  <a:pt x="2447680" y="5363268"/>
                  <a:pt x="2451549" y="5359400"/>
                  <a:pt x="2455417" y="5357464"/>
                </a:cubicBezTo>
                <a:cubicBezTo>
                  <a:pt x="2457351" y="5356498"/>
                  <a:pt x="2457351" y="5354080"/>
                  <a:pt x="2457593" y="5351663"/>
                </a:cubicBezTo>
                <a:lnTo>
                  <a:pt x="2459331" y="5348881"/>
                </a:lnTo>
                <a:lnTo>
                  <a:pt x="2470890" y="5343927"/>
                </a:lnTo>
                <a:lnTo>
                  <a:pt x="2466220" y="5342526"/>
                </a:lnTo>
                <a:lnTo>
                  <a:pt x="2472823" y="5338123"/>
                </a:lnTo>
                <a:lnTo>
                  <a:pt x="2462686" y="5341466"/>
                </a:lnTo>
                <a:lnTo>
                  <a:pt x="2461218" y="5341025"/>
                </a:lnTo>
                <a:lnTo>
                  <a:pt x="2460736" y="5342109"/>
                </a:lnTo>
                <a:lnTo>
                  <a:pt x="2450823" y="5345378"/>
                </a:lnTo>
                <a:cubicBezTo>
                  <a:pt x="2443812" y="5348762"/>
                  <a:pt x="2437043" y="5352631"/>
                  <a:pt x="2430274" y="5355531"/>
                </a:cubicBezTo>
                <a:cubicBezTo>
                  <a:pt x="2414799" y="5363268"/>
                  <a:pt x="2401261" y="5372940"/>
                  <a:pt x="2385788" y="5376806"/>
                </a:cubicBezTo>
                <a:cubicBezTo>
                  <a:pt x="2370315" y="5380674"/>
                  <a:pt x="2358710" y="5394214"/>
                  <a:pt x="2341304" y="5392279"/>
                </a:cubicBezTo>
                <a:cubicBezTo>
                  <a:pt x="2349041" y="5386477"/>
                  <a:pt x="2358710" y="5380674"/>
                  <a:pt x="2366447" y="5376806"/>
                </a:cubicBezTo>
                <a:cubicBezTo>
                  <a:pt x="2376117" y="5371004"/>
                  <a:pt x="2387723" y="5365201"/>
                  <a:pt x="2395458" y="5353598"/>
                </a:cubicBezTo>
                <a:cubicBezTo>
                  <a:pt x="2381920" y="5359400"/>
                  <a:pt x="2368382" y="5367136"/>
                  <a:pt x="2354842" y="5372940"/>
                </a:cubicBezTo>
                <a:cubicBezTo>
                  <a:pt x="2352909" y="5371004"/>
                  <a:pt x="2352909" y="5369071"/>
                  <a:pt x="2350974" y="5367136"/>
                </a:cubicBezTo>
                <a:cubicBezTo>
                  <a:pt x="2347106" y="5367136"/>
                  <a:pt x="2341304" y="5369071"/>
                  <a:pt x="2335501" y="5371004"/>
                </a:cubicBezTo>
                <a:cubicBezTo>
                  <a:pt x="2335501" y="5369071"/>
                  <a:pt x="2333568" y="5365201"/>
                  <a:pt x="2333568" y="5363268"/>
                </a:cubicBezTo>
                <a:cubicBezTo>
                  <a:pt x="2318095" y="5363268"/>
                  <a:pt x="2304557" y="5369071"/>
                  <a:pt x="2291017" y="5376806"/>
                </a:cubicBezTo>
                <a:cubicBezTo>
                  <a:pt x="2292950" y="5365201"/>
                  <a:pt x="2302622" y="5365201"/>
                  <a:pt x="2312291" y="5359400"/>
                </a:cubicBezTo>
                <a:cubicBezTo>
                  <a:pt x="2302622" y="5353598"/>
                  <a:pt x="2294885" y="5349730"/>
                  <a:pt x="2285216" y="5345862"/>
                </a:cubicBezTo>
                <a:cubicBezTo>
                  <a:pt x="2287149" y="5340058"/>
                  <a:pt x="2296821" y="5347795"/>
                  <a:pt x="2298754" y="5341991"/>
                </a:cubicBezTo>
                <a:cubicBezTo>
                  <a:pt x="2291017" y="5334257"/>
                  <a:pt x="2285216" y="5334257"/>
                  <a:pt x="2275544" y="5340058"/>
                </a:cubicBezTo>
                <a:cubicBezTo>
                  <a:pt x="2269743" y="5343927"/>
                  <a:pt x="2262007" y="5349730"/>
                  <a:pt x="2254270" y="5355531"/>
                </a:cubicBezTo>
                <a:cubicBezTo>
                  <a:pt x="2252335" y="5341991"/>
                  <a:pt x="2265875" y="5341991"/>
                  <a:pt x="2267808" y="5332322"/>
                </a:cubicBezTo>
                <a:cubicBezTo>
                  <a:pt x="2262007" y="5336190"/>
                  <a:pt x="2258138" y="5340058"/>
                  <a:pt x="2250402" y="5343927"/>
                </a:cubicBezTo>
                <a:cubicBezTo>
                  <a:pt x="2254270" y="5338123"/>
                  <a:pt x="2256203" y="5334257"/>
                  <a:pt x="2260071" y="5330389"/>
                </a:cubicBezTo>
                <a:cubicBezTo>
                  <a:pt x="2256203" y="5328454"/>
                  <a:pt x="2252335" y="5328454"/>
                  <a:pt x="2248466" y="5326521"/>
                </a:cubicBezTo>
                <a:cubicBezTo>
                  <a:pt x="2250402" y="5314916"/>
                  <a:pt x="2271676" y="5322652"/>
                  <a:pt x="2267808" y="5307179"/>
                </a:cubicBezTo>
                <a:cubicBezTo>
                  <a:pt x="2256203" y="5311048"/>
                  <a:pt x="2265875" y="5297508"/>
                  <a:pt x="2258138" y="5297508"/>
                </a:cubicBezTo>
                <a:cubicBezTo>
                  <a:pt x="2250402" y="5303311"/>
                  <a:pt x="2244598" y="5311048"/>
                  <a:pt x="2238797" y="5316849"/>
                </a:cubicBezTo>
                <a:cubicBezTo>
                  <a:pt x="2231061" y="5312981"/>
                  <a:pt x="2236864" y="5307179"/>
                  <a:pt x="2234929" y="5303311"/>
                </a:cubicBezTo>
                <a:cubicBezTo>
                  <a:pt x="2232996" y="5295575"/>
                  <a:pt x="2244598" y="5299443"/>
                  <a:pt x="2242665" y="5291706"/>
                </a:cubicBezTo>
                <a:cubicBezTo>
                  <a:pt x="2234929" y="5283970"/>
                  <a:pt x="2231061" y="5295575"/>
                  <a:pt x="2223324" y="5293639"/>
                </a:cubicBezTo>
                <a:cubicBezTo>
                  <a:pt x="2223324" y="5291706"/>
                  <a:pt x="2223324" y="5287838"/>
                  <a:pt x="2225257" y="5283970"/>
                </a:cubicBezTo>
                <a:cubicBezTo>
                  <a:pt x="2223324" y="5282035"/>
                  <a:pt x="2219456" y="5282035"/>
                  <a:pt x="2217523" y="5282035"/>
                </a:cubicBezTo>
                <a:cubicBezTo>
                  <a:pt x="2223324" y="5274298"/>
                  <a:pt x="2231061" y="5266564"/>
                  <a:pt x="2234929" y="5260760"/>
                </a:cubicBezTo>
                <a:cubicBezTo>
                  <a:pt x="2234929" y="5253024"/>
                  <a:pt x="2236864" y="5247223"/>
                  <a:pt x="2236864" y="5241419"/>
                </a:cubicBezTo>
                <a:cubicBezTo>
                  <a:pt x="2227192" y="5249156"/>
                  <a:pt x="2217523" y="5254957"/>
                  <a:pt x="2207851" y="5262696"/>
                </a:cubicBezTo>
                <a:cubicBezTo>
                  <a:pt x="2200114" y="5268497"/>
                  <a:pt x="2190445" y="5276233"/>
                  <a:pt x="2180773" y="5282035"/>
                </a:cubicBezTo>
                <a:cubicBezTo>
                  <a:pt x="2178840" y="5283970"/>
                  <a:pt x="2174972" y="5283970"/>
                  <a:pt x="2173037" y="5283970"/>
                </a:cubicBezTo>
                <a:cubicBezTo>
                  <a:pt x="2176905" y="5282035"/>
                  <a:pt x="2178840" y="5278166"/>
                  <a:pt x="2182706" y="5276233"/>
                </a:cubicBezTo>
                <a:cubicBezTo>
                  <a:pt x="2182706" y="5276233"/>
                  <a:pt x="2180773" y="5274298"/>
                  <a:pt x="2180773" y="5274298"/>
                </a:cubicBezTo>
                <a:cubicBezTo>
                  <a:pt x="2174972" y="5276233"/>
                  <a:pt x="2171104" y="5280102"/>
                  <a:pt x="2165300" y="5282035"/>
                </a:cubicBezTo>
                <a:cubicBezTo>
                  <a:pt x="2176905" y="5266564"/>
                  <a:pt x="2196246" y="5256892"/>
                  <a:pt x="2207851" y="5245287"/>
                </a:cubicBezTo>
                <a:cubicBezTo>
                  <a:pt x="2209786" y="5237551"/>
                  <a:pt x="2211719" y="5229814"/>
                  <a:pt x="2213655" y="5222078"/>
                </a:cubicBezTo>
                <a:cubicBezTo>
                  <a:pt x="2209786" y="5218209"/>
                  <a:pt x="2207851" y="5212408"/>
                  <a:pt x="2205916" y="5208540"/>
                </a:cubicBezTo>
                <a:cubicBezTo>
                  <a:pt x="2203983" y="5202736"/>
                  <a:pt x="2192378" y="5208540"/>
                  <a:pt x="2196246" y="5198871"/>
                </a:cubicBezTo>
                <a:cubicBezTo>
                  <a:pt x="2182706" y="5193067"/>
                  <a:pt x="2174972" y="5202736"/>
                  <a:pt x="2163367" y="5204672"/>
                </a:cubicBezTo>
                <a:cubicBezTo>
                  <a:pt x="2167236" y="5200804"/>
                  <a:pt x="2169168" y="5198871"/>
                  <a:pt x="2171104" y="5195000"/>
                </a:cubicBezTo>
                <a:cubicBezTo>
                  <a:pt x="2153695" y="5200804"/>
                  <a:pt x="2142091" y="5214341"/>
                  <a:pt x="2124685" y="5220145"/>
                </a:cubicBezTo>
                <a:cubicBezTo>
                  <a:pt x="2126620" y="5208540"/>
                  <a:pt x="2138223" y="5208540"/>
                  <a:pt x="2144026" y="5202736"/>
                </a:cubicBezTo>
                <a:cubicBezTo>
                  <a:pt x="2151762" y="5196935"/>
                  <a:pt x="2157564" y="5189199"/>
                  <a:pt x="2165300" y="5181462"/>
                </a:cubicBezTo>
                <a:cubicBezTo>
                  <a:pt x="2149829" y="5181462"/>
                  <a:pt x="2145959" y="5189199"/>
                  <a:pt x="2138223" y="5195000"/>
                </a:cubicBezTo>
                <a:cubicBezTo>
                  <a:pt x="2130488" y="5200804"/>
                  <a:pt x="2122752" y="5204672"/>
                  <a:pt x="2113080" y="5210473"/>
                </a:cubicBezTo>
                <a:cubicBezTo>
                  <a:pt x="2120816" y="5191132"/>
                  <a:pt x="2136290" y="5181462"/>
                  <a:pt x="2149829" y="5169857"/>
                </a:cubicBezTo>
                <a:cubicBezTo>
                  <a:pt x="2149829" y="5164054"/>
                  <a:pt x="2147894" y="5160188"/>
                  <a:pt x="2147894" y="5154384"/>
                </a:cubicBezTo>
                <a:cubicBezTo>
                  <a:pt x="2145959" y="5154384"/>
                  <a:pt x="2142091" y="5156320"/>
                  <a:pt x="2138223" y="5158253"/>
                </a:cubicBezTo>
                <a:cubicBezTo>
                  <a:pt x="2138223" y="5154384"/>
                  <a:pt x="2140158" y="5150516"/>
                  <a:pt x="2140158" y="5144713"/>
                </a:cubicBezTo>
                <a:cubicBezTo>
                  <a:pt x="2128553" y="5152451"/>
                  <a:pt x="2118881" y="5160188"/>
                  <a:pt x="2107279" y="5167922"/>
                </a:cubicBezTo>
                <a:cubicBezTo>
                  <a:pt x="2105343" y="5167922"/>
                  <a:pt x="2105343" y="5165989"/>
                  <a:pt x="2105343" y="5165989"/>
                </a:cubicBezTo>
                <a:cubicBezTo>
                  <a:pt x="2109212" y="5160188"/>
                  <a:pt x="2113080" y="5156320"/>
                  <a:pt x="2118881" y="5148583"/>
                </a:cubicBezTo>
                <a:cubicBezTo>
                  <a:pt x="2115013" y="5148583"/>
                  <a:pt x="2113080" y="5148583"/>
                  <a:pt x="2107279" y="5148583"/>
                </a:cubicBezTo>
                <a:cubicBezTo>
                  <a:pt x="2115013" y="5138911"/>
                  <a:pt x="2122752" y="5131175"/>
                  <a:pt x="2132421" y="5121505"/>
                </a:cubicBezTo>
                <a:cubicBezTo>
                  <a:pt x="2126620" y="5121505"/>
                  <a:pt x="2122752" y="5121505"/>
                  <a:pt x="2118881" y="5121505"/>
                </a:cubicBezTo>
                <a:cubicBezTo>
                  <a:pt x="2120816" y="5117637"/>
                  <a:pt x="2122752" y="5115702"/>
                  <a:pt x="2124685" y="5111836"/>
                </a:cubicBezTo>
                <a:cubicBezTo>
                  <a:pt x="2113080" y="5113769"/>
                  <a:pt x="2116948" y="5098296"/>
                  <a:pt x="2105343" y="5096361"/>
                </a:cubicBezTo>
                <a:cubicBezTo>
                  <a:pt x="2109212" y="5094428"/>
                  <a:pt x="2113080" y="5090559"/>
                  <a:pt x="2115013" y="5088626"/>
                </a:cubicBezTo>
                <a:cubicBezTo>
                  <a:pt x="2113080" y="5086691"/>
                  <a:pt x="2113080" y="5086691"/>
                  <a:pt x="2113080" y="5086691"/>
                </a:cubicBezTo>
                <a:cubicBezTo>
                  <a:pt x="2109212" y="5090559"/>
                  <a:pt x="2103410" y="5092495"/>
                  <a:pt x="2099542" y="5094428"/>
                </a:cubicBezTo>
                <a:cubicBezTo>
                  <a:pt x="2099542" y="5094428"/>
                  <a:pt x="2097607" y="5092495"/>
                  <a:pt x="2097607" y="5092495"/>
                </a:cubicBezTo>
                <a:cubicBezTo>
                  <a:pt x="2107279" y="5084756"/>
                  <a:pt x="2116948" y="5077019"/>
                  <a:pt x="2126620" y="5067350"/>
                </a:cubicBezTo>
                <a:cubicBezTo>
                  <a:pt x="2128553" y="5069285"/>
                  <a:pt x="2132421" y="5071218"/>
                  <a:pt x="2134354" y="5073153"/>
                </a:cubicBezTo>
                <a:cubicBezTo>
                  <a:pt x="2144026" y="5067350"/>
                  <a:pt x="2134354" y="5063482"/>
                  <a:pt x="2136290" y="5057678"/>
                </a:cubicBezTo>
                <a:cubicBezTo>
                  <a:pt x="2147894" y="5051877"/>
                  <a:pt x="2144026" y="5042207"/>
                  <a:pt x="2144026" y="5030603"/>
                </a:cubicBezTo>
                <a:cubicBezTo>
                  <a:pt x="2138223" y="5026734"/>
                  <a:pt x="2132421" y="5022866"/>
                  <a:pt x="2124685" y="5018998"/>
                </a:cubicBezTo>
                <a:cubicBezTo>
                  <a:pt x="2130488" y="5009326"/>
                  <a:pt x="2138223" y="5001592"/>
                  <a:pt x="2144026" y="4993853"/>
                </a:cubicBezTo>
                <a:cubicBezTo>
                  <a:pt x="2144026" y="4993853"/>
                  <a:pt x="2144026" y="4991920"/>
                  <a:pt x="2144026" y="4991920"/>
                </a:cubicBezTo>
                <a:cubicBezTo>
                  <a:pt x="2140158" y="4991920"/>
                  <a:pt x="2136290" y="4991920"/>
                  <a:pt x="2134354" y="4993853"/>
                </a:cubicBezTo>
                <a:cubicBezTo>
                  <a:pt x="2118881" y="5003525"/>
                  <a:pt x="2105343" y="5015130"/>
                  <a:pt x="2089870" y="5024801"/>
                </a:cubicBezTo>
                <a:cubicBezTo>
                  <a:pt x="2086002" y="5026734"/>
                  <a:pt x="2084069" y="5028667"/>
                  <a:pt x="2080201" y="5028667"/>
                </a:cubicBezTo>
                <a:cubicBezTo>
                  <a:pt x="2078265" y="5030603"/>
                  <a:pt x="2074397" y="5028667"/>
                  <a:pt x="2074397" y="5030603"/>
                </a:cubicBezTo>
                <a:cubicBezTo>
                  <a:pt x="2066661" y="5042207"/>
                  <a:pt x="2053123" y="5042207"/>
                  <a:pt x="2041518" y="5048009"/>
                </a:cubicBezTo>
                <a:cubicBezTo>
                  <a:pt x="2020244" y="5057678"/>
                  <a:pt x="1911933" y="5030603"/>
                  <a:pt x="1892592" y="5044140"/>
                </a:cubicBezTo>
                <a:cubicBezTo>
                  <a:pt x="1889691" y="5046074"/>
                  <a:pt x="1886307" y="5048976"/>
                  <a:pt x="1882197" y="5050910"/>
                </a:cubicBezTo>
                <a:lnTo>
                  <a:pt x="1870196" y="5051697"/>
                </a:lnTo>
                <a:lnTo>
                  <a:pt x="1875186" y="5048009"/>
                </a:lnTo>
                <a:cubicBezTo>
                  <a:pt x="1879054" y="5046076"/>
                  <a:pt x="1880987" y="5042207"/>
                  <a:pt x="1882922" y="5042207"/>
                </a:cubicBezTo>
                <a:cubicBezTo>
                  <a:pt x="1882922" y="5042207"/>
                  <a:pt x="1880987" y="5040272"/>
                  <a:pt x="1880987" y="5040272"/>
                </a:cubicBezTo>
                <a:cubicBezTo>
                  <a:pt x="1875186" y="5042207"/>
                  <a:pt x="1871317" y="5046076"/>
                  <a:pt x="1865516" y="5048009"/>
                </a:cubicBezTo>
                <a:cubicBezTo>
                  <a:pt x="1863581" y="5046076"/>
                  <a:pt x="1863581" y="5044140"/>
                  <a:pt x="1861646" y="5042207"/>
                </a:cubicBezTo>
                <a:cubicBezTo>
                  <a:pt x="1857777" y="5044140"/>
                  <a:pt x="1851976" y="5046076"/>
                  <a:pt x="1853909" y="5051877"/>
                </a:cubicBezTo>
                <a:cubicBezTo>
                  <a:pt x="1855844" y="5053812"/>
                  <a:pt x="1853909" y="5057678"/>
                  <a:pt x="1851976" y="5057678"/>
                </a:cubicBezTo>
                <a:lnTo>
                  <a:pt x="1846700" y="5060844"/>
                </a:lnTo>
                <a:lnTo>
                  <a:pt x="1840371" y="5059613"/>
                </a:lnTo>
                <a:cubicBezTo>
                  <a:pt x="1834568" y="5063482"/>
                  <a:pt x="1830702" y="5067350"/>
                  <a:pt x="1824898" y="5069285"/>
                </a:cubicBezTo>
                <a:cubicBezTo>
                  <a:pt x="1821998" y="5071219"/>
                  <a:pt x="1818613" y="5072186"/>
                  <a:pt x="1816196" y="5074120"/>
                </a:cubicBezTo>
                <a:lnTo>
                  <a:pt x="1814721" y="5079526"/>
                </a:lnTo>
                <a:lnTo>
                  <a:pt x="1797821" y="5088626"/>
                </a:lnTo>
                <a:cubicBezTo>
                  <a:pt x="1794920" y="5090560"/>
                  <a:pt x="1793470" y="5092011"/>
                  <a:pt x="1793470" y="5093703"/>
                </a:cubicBezTo>
                <a:lnTo>
                  <a:pt x="1796901" y="5098849"/>
                </a:lnTo>
                <a:lnTo>
                  <a:pt x="1788151" y="5104097"/>
                </a:lnTo>
                <a:cubicBezTo>
                  <a:pt x="1786216" y="5100229"/>
                  <a:pt x="1784283" y="5098296"/>
                  <a:pt x="1782350" y="5096361"/>
                </a:cubicBezTo>
                <a:cubicBezTo>
                  <a:pt x="1780415" y="5104097"/>
                  <a:pt x="1770743" y="5106032"/>
                  <a:pt x="1768810" y="5115702"/>
                </a:cubicBezTo>
                <a:cubicBezTo>
                  <a:pt x="1768810" y="5119570"/>
                  <a:pt x="1759140" y="5125374"/>
                  <a:pt x="1755272" y="5123438"/>
                </a:cubicBezTo>
                <a:cubicBezTo>
                  <a:pt x="1743667" y="5119570"/>
                  <a:pt x="1737864" y="5125374"/>
                  <a:pt x="1733996" y="5133110"/>
                </a:cubicBezTo>
                <a:cubicBezTo>
                  <a:pt x="1726259" y="5135043"/>
                  <a:pt x="1720458" y="5135043"/>
                  <a:pt x="1712721" y="5135043"/>
                </a:cubicBezTo>
                <a:cubicBezTo>
                  <a:pt x="1714654" y="5138911"/>
                  <a:pt x="1716590" y="5140847"/>
                  <a:pt x="1718523" y="5142780"/>
                </a:cubicBezTo>
                <a:cubicBezTo>
                  <a:pt x="1701117" y="5152451"/>
                  <a:pt x="1685644" y="5162121"/>
                  <a:pt x="1668238" y="5171790"/>
                </a:cubicBezTo>
                <a:cubicBezTo>
                  <a:pt x="1670171" y="5169857"/>
                  <a:pt x="1672106" y="5167922"/>
                  <a:pt x="1675974" y="5164054"/>
                </a:cubicBezTo>
                <a:cubicBezTo>
                  <a:pt x="1664367" y="5167922"/>
                  <a:pt x="1652765" y="5167922"/>
                  <a:pt x="1645028" y="5179529"/>
                </a:cubicBezTo>
                <a:cubicBezTo>
                  <a:pt x="1645028" y="5179529"/>
                  <a:pt x="1643093" y="5181462"/>
                  <a:pt x="1643093" y="5181462"/>
                </a:cubicBezTo>
                <a:cubicBezTo>
                  <a:pt x="1631488" y="5179529"/>
                  <a:pt x="1629555" y="5189199"/>
                  <a:pt x="1623752" y="5195000"/>
                </a:cubicBezTo>
                <a:cubicBezTo>
                  <a:pt x="1619883" y="5200804"/>
                  <a:pt x="1614082" y="5204672"/>
                  <a:pt x="1606346" y="5204672"/>
                </a:cubicBezTo>
                <a:cubicBezTo>
                  <a:pt x="1606346" y="5200804"/>
                  <a:pt x="1604410" y="5198871"/>
                  <a:pt x="1604410" y="5196935"/>
                </a:cubicBezTo>
                <a:cubicBezTo>
                  <a:pt x="1596674" y="5198871"/>
                  <a:pt x="1592805" y="5202736"/>
                  <a:pt x="1588940" y="5210473"/>
                </a:cubicBezTo>
                <a:cubicBezTo>
                  <a:pt x="1587004" y="5216277"/>
                  <a:pt x="1579268" y="5220145"/>
                  <a:pt x="1569598" y="5220145"/>
                </a:cubicBezTo>
                <a:cubicBezTo>
                  <a:pt x="1571531" y="5216277"/>
                  <a:pt x="1575400" y="5214341"/>
                  <a:pt x="1579268" y="5208540"/>
                </a:cubicBezTo>
                <a:cubicBezTo>
                  <a:pt x="1563795" y="5212408"/>
                  <a:pt x="1552190" y="5216277"/>
                  <a:pt x="1536717" y="5222078"/>
                </a:cubicBezTo>
                <a:cubicBezTo>
                  <a:pt x="1540585" y="5218209"/>
                  <a:pt x="1542521" y="5214341"/>
                  <a:pt x="1546389" y="5212408"/>
                </a:cubicBezTo>
                <a:cubicBezTo>
                  <a:pt x="1544453" y="5210473"/>
                  <a:pt x="1542521" y="5210473"/>
                  <a:pt x="1542521" y="5210473"/>
                </a:cubicBezTo>
                <a:cubicBezTo>
                  <a:pt x="1527048" y="5218209"/>
                  <a:pt x="1513507" y="5224013"/>
                  <a:pt x="1498037" y="5231747"/>
                </a:cubicBezTo>
                <a:cubicBezTo>
                  <a:pt x="1478696" y="5241419"/>
                  <a:pt x="1459354" y="5249156"/>
                  <a:pt x="1440013" y="5258827"/>
                </a:cubicBezTo>
                <a:cubicBezTo>
                  <a:pt x="1440013" y="5258827"/>
                  <a:pt x="1438078" y="5258827"/>
                  <a:pt x="1438078" y="5258827"/>
                </a:cubicBezTo>
                <a:lnTo>
                  <a:pt x="1461787" y="5243853"/>
                </a:lnTo>
                <a:lnTo>
                  <a:pt x="1463222" y="5245287"/>
                </a:lnTo>
                <a:cubicBezTo>
                  <a:pt x="1465155" y="5243354"/>
                  <a:pt x="1467088" y="5243354"/>
                  <a:pt x="1469024" y="5241419"/>
                </a:cubicBezTo>
                <a:lnTo>
                  <a:pt x="1467713" y="5240111"/>
                </a:lnTo>
                <a:lnTo>
                  <a:pt x="1474827" y="5235618"/>
                </a:lnTo>
                <a:cubicBezTo>
                  <a:pt x="1470957" y="5231747"/>
                  <a:pt x="1467088" y="5229814"/>
                  <a:pt x="1461287" y="5231747"/>
                </a:cubicBezTo>
                <a:cubicBezTo>
                  <a:pt x="1447749" y="5237551"/>
                  <a:pt x="1436145" y="5241419"/>
                  <a:pt x="1422605" y="5247223"/>
                </a:cubicBezTo>
                <a:cubicBezTo>
                  <a:pt x="1418736" y="5249156"/>
                  <a:pt x="1414870" y="5249156"/>
                  <a:pt x="1411002" y="5249156"/>
                </a:cubicBezTo>
                <a:cubicBezTo>
                  <a:pt x="1416803" y="5235618"/>
                  <a:pt x="1428408" y="5231747"/>
                  <a:pt x="1438078" y="5225946"/>
                </a:cubicBezTo>
                <a:cubicBezTo>
                  <a:pt x="1440013" y="5224013"/>
                  <a:pt x="1441946" y="5224013"/>
                  <a:pt x="1443881" y="5222078"/>
                </a:cubicBezTo>
                <a:cubicBezTo>
                  <a:pt x="1441946" y="5222078"/>
                  <a:pt x="1441946" y="5220145"/>
                  <a:pt x="1441946" y="5220145"/>
                </a:cubicBezTo>
                <a:cubicBezTo>
                  <a:pt x="1424540" y="5227881"/>
                  <a:pt x="1409067" y="5235618"/>
                  <a:pt x="1391661" y="5243354"/>
                </a:cubicBezTo>
                <a:cubicBezTo>
                  <a:pt x="1387793" y="5239486"/>
                  <a:pt x="1383922" y="5231747"/>
                  <a:pt x="1374253" y="5233683"/>
                </a:cubicBezTo>
                <a:cubicBezTo>
                  <a:pt x="1376188" y="5237551"/>
                  <a:pt x="1378121" y="5237551"/>
                  <a:pt x="1378121" y="5239486"/>
                </a:cubicBezTo>
                <a:cubicBezTo>
                  <a:pt x="1380054" y="5241419"/>
                  <a:pt x="1381989" y="5245287"/>
                  <a:pt x="1381989" y="5247223"/>
                </a:cubicBezTo>
                <a:cubicBezTo>
                  <a:pt x="1380054" y="5251088"/>
                  <a:pt x="1376188" y="5253024"/>
                  <a:pt x="1374253" y="5253024"/>
                </a:cubicBezTo>
                <a:cubicBezTo>
                  <a:pt x="1364583" y="5251088"/>
                  <a:pt x="1360713" y="5256892"/>
                  <a:pt x="1352978" y="5258827"/>
                </a:cubicBezTo>
                <a:cubicBezTo>
                  <a:pt x="1345242" y="5260760"/>
                  <a:pt x="1337505" y="5264629"/>
                  <a:pt x="1331702" y="5268497"/>
                </a:cubicBezTo>
                <a:cubicBezTo>
                  <a:pt x="1325901" y="5272365"/>
                  <a:pt x="1320097" y="5274298"/>
                  <a:pt x="1312361" y="5276233"/>
                </a:cubicBezTo>
                <a:cubicBezTo>
                  <a:pt x="1314296" y="5274298"/>
                  <a:pt x="1316229" y="5270430"/>
                  <a:pt x="1318164" y="5266564"/>
                </a:cubicBezTo>
                <a:cubicBezTo>
                  <a:pt x="1289153" y="5272365"/>
                  <a:pt x="1269812" y="5293639"/>
                  <a:pt x="1242734" y="5303311"/>
                </a:cubicBezTo>
                <a:cubicBezTo>
                  <a:pt x="1242734" y="5299443"/>
                  <a:pt x="1240801" y="5295575"/>
                  <a:pt x="1240801" y="5291706"/>
                </a:cubicBezTo>
                <a:cubicBezTo>
                  <a:pt x="1240801" y="5289771"/>
                  <a:pt x="1242734" y="5289771"/>
                  <a:pt x="1242734" y="5289771"/>
                </a:cubicBezTo>
                <a:cubicBezTo>
                  <a:pt x="1246603" y="5293639"/>
                  <a:pt x="1250471" y="5291706"/>
                  <a:pt x="1254339" y="5289771"/>
                </a:cubicBezTo>
                <a:cubicBezTo>
                  <a:pt x="1267877" y="5283970"/>
                  <a:pt x="1279482" y="5276233"/>
                  <a:pt x="1293019" y="5270430"/>
                </a:cubicBezTo>
                <a:cubicBezTo>
                  <a:pt x="1294955" y="5268497"/>
                  <a:pt x="1298823" y="5266564"/>
                  <a:pt x="1300758" y="5266564"/>
                </a:cubicBezTo>
                <a:cubicBezTo>
                  <a:pt x="1312361" y="5264629"/>
                  <a:pt x="1320097" y="5256892"/>
                  <a:pt x="1329769" y="5247223"/>
                </a:cubicBezTo>
                <a:cubicBezTo>
                  <a:pt x="1323965" y="5247223"/>
                  <a:pt x="1322032" y="5247223"/>
                  <a:pt x="1320097" y="5247223"/>
                </a:cubicBezTo>
                <a:cubicBezTo>
                  <a:pt x="1312361" y="5249156"/>
                  <a:pt x="1302691" y="5253024"/>
                  <a:pt x="1294955" y="5256892"/>
                </a:cubicBezTo>
                <a:cubicBezTo>
                  <a:pt x="1291086" y="5256892"/>
                  <a:pt x="1287218" y="5256892"/>
                  <a:pt x="1285285" y="5254957"/>
                </a:cubicBezTo>
                <a:cubicBezTo>
                  <a:pt x="1281417" y="5253024"/>
                  <a:pt x="1279482" y="5251088"/>
                  <a:pt x="1275613" y="5247223"/>
                </a:cubicBezTo>
                <a:cubicBezTo>
                  <a:pt x="1283350" y="5243354"/>
                  <a:pt x="1294955" y="5243354"/>
                  <a:pt x="1291086" y="5227881"/>
                </a:cubicBezTo>
                <a:cubicBezTo>
                  <a:pt x="1296888" y="5231747"/>
                  <a:pt x="1300758" y="5235618"/>
                  <a:pt x="1304626" y="5237551"/>
                </a:cubicBezTo>
                <a:cubicBezTo>
                  <a:pt x="1310428" y="5233683"/>
                  <a:pt x="1312361" y="5225946"/>
                  <a:pt x="1320097" y="5224013"/>
                </a:cubicBezTo>
                <a:cubicBezTo>
                  <a:pt x="1322032" y="5224013"/>
                  <a:pt x="1323965" y="5216277"/>
                  <a:pt x="1325901" y="5212408"/>
                </a:cubicBezTo>
                <a:cubicBezTo>
                  <a:pt x="1327836" y="5212408"/>
                  <a:pt x="1331702" y="5212408"/>
                  <a:pt x="1335570" y="5212408"/>
                </a:cubicBezTo>
                <a:cubicBezTo>
                  <a:pt x="1335570" y="5208540"/>
                  <a:pt x="1333637" y="5204672"/>
                  <a:pt x="1331702" y="5198871"/>
                </a:cubicBezTo>
                <a:cubicBezTo>
                  <a:pt x="1323965" y="5210473"/>
                  <a:pt x="1316229" y="5204672"/>
                  <a:pt x="1306559" y="5204672"/>
                </a:cubicBezTo>
                <a:cubicBezTo>
                  <a:pt x="1310428" y="5200804"/>
                  <a:pt x="1310428" y="5198871"/>
                  <a:pt x="1312361" y="5196935"/>
                </a:cubicBezTo>
                <a:cubicBezTo>
                  <a:pt x="1322032" y="5191132"/>
                  <a:pt x="1327836" y="5185330"/>
                  <a:pt x="1331702" y="5175661"/>
                </a:cubicBezTo>
                <a:cubicBezTo>
                  <a:pt x="1333637" y="5171790"/>
                  <a:pt x="1339438" y="5169857"/>
                  <a:pt x="1343307" y="5165989"/>
                </a:cubicBezTo>
                <a:cubicBezTo>
                  <a:pt x="1356847" y="5156320"/>
                  <a:pt x="1366516" y="5144713"/>
                  <a:pt x="1374253" y="5127307"/>
                </a:cubicBezTo>
                <a:cubicBezTo>
                  <a:pt x="1368451" y="5131175"/>
                  <a:pt x="1362648" y="5135043"/>
                  <a:pt x="1356847" y="5136978"/>
                </a:cubicBezTo>
                <a:cubicBezTo>
                  <a:pt x="1349110" y="5138911"/>
                  <a:pt x="1341374" y="5140847"/>
                  <a:pt x="1343307" y="5152451"/>
                </a:cubicBezTo>
                <a:cubicBezTo>
                  <a:pt x="1337505" y="5148583"/>
                  <a:pt x="1331702" y="5152451"/>
                  <a:pt x="1325901" y="5156320"/>
                </a:cubicBezTo>
                <a:cubicBezTo>
                  <a:pt x="1316229" y="5164054"/>
                  <a:pt x="1306559" y="5171790"/>
                  <a:pt x="1294955" y="5181462"/>
                </a:cubicBezTo>
                <a:cubicBezTo>
                  <a:pt x="1298823" y="5183395"/>
                  <a:pt x="1300758" y="5185330"/>
                  <a:pt x="1302691" y="5187263"/>
                </a:cubicBezTo>
                <a:cubicBezTo>
                  <a:pt x="1298823" y="5193067"/>
                  <a:pt x="1294955" y="5189199"/>
                  <a:pt x="1293019" y="5185330"/>
                </a:cubicBezTo>
                <a:cubicBezTo>
                  <a:pt x="1291086" y="5183395"/>
                  <a:pt x="1291086" y="5179529"/>
                  <a:pt x="1291086" y="5175661"/>
                </a:cubicBezTo>
                <a:cubicBezTo>
                  <a:pt x="1279482" y="5183395"/>
                  <a:pt x="1267877" y="5191132"/>
                  <a:pt x="1252404" y="5191132"/>
                </a:cubicBezTo>
                <a:cubicBezTo>
                  <a:pt x="1254339" y="5191132"/>
                  <a:pt x="1256272" y="5189199"/>
                  <a:pt x="1258207" y="5187263"/>
                </a:cubicBezTo>
                <a:cubicBezTo>
                  <a:pt x="1264009" y="5183395"/>
                  <a:pt x="1269812" y="5181462"/>
                  <a:pt x="1275613" y="5177594"/>
                </a:cubicBezTo>
                <a:cubicBezTo>
                  <a:pt x="1283350" y="5173726"/>
                  <a:pt x="1289153" y="5165989"/>
                  <a:pt x="1293019" y="5156320"/>
                </a:cubicBezTo>
                <a:cubicBezTo>
                  <a:pt x="1296888" y="5150516"/>
                  <a:pt x="1300758" y="5148583"/>
                  <a:pt x="1306559" y="5142780"/>
                </a:cubicBezTo>
                <a:cubicBezTo>
                  <a:pt x="1310428" y="5146648"/>
                  <a:pt x="1310428" y="5148583"/>
                  <a:pt x="1312361" y="5150516"/>
                </a:cubicBezTo>
                <a:cubicBezTo>
                  <a:pt x="1320097" y="5148583"/>
                  <a:pt x="1320097" y="5142780"/>
                  <a:pt x="1318164" y="5138911"/>
                </a:cubicBezTo>
                <a:cubicBezTo>
                  <a:pt x="1325901" y="5131175"/>
                  <a:pt x="1331702" y="5125374"/>
                  <a:pt x="1337505" y="5117637"/>
                </a:cubicBezTo>
                <a:cubicBezTo>
                  <a:pt x="1339438" y="5115702"/>
                  <a:pt x="1343307" y="5111836"/>
                  <a:pt x="1345242" y="5111836"/>
                </a:cubicBezTo>
                <a:cubicBezTo>
                  <a:pt x="1352978" y="5111836"/>
                  <a:pt x="1358780" y="5107965"/>
                  <a:pt x="1364583" y="5102164"/>
                </a:cubicBezTo>
                <a:lnTo>
                  <a:pt x="1369543" y="5095551"/>
                </a:lnTo>
                <a:lnTo>
                  <a:pt x="1376429" y="5094427"/>
                </a:lnTo>
                <a:cubicBezTo>
                  <a:pt x="1379088" y="5092010"/>
                  <a:pt x="1381022" y="5088625"/>
                  <a:pt x="1383922" y="5086691"/>
                </a:cubicBezTo>
                <a:lnTo>
                  <a:pt x="1375502" y="5087606"/>
                </a:lnTo>
                <a:lnTo>
                  <a:pt x="1376188" y="5086691"/>
                </a:lnTo>
                <a:cubicBezTo>
                  <a:pt x="1376188" y="5086691"/>
                  <a:pt x="1374253" y="5084756"/>
                  <a:pt x="1374253" y="5084756"/>
                </a:cubicBezTo>
                <a:cubicBezTo>
                  <a:pt x="1368451" y="5088626"/>
                  <a:pt x="1360713" y="5092495"/>
                  <a:pt x="1354911" y="5096361"/>
                </a:cubicBezTo>
                <a:cubicBezTo>
                  <a:pt x="1352978" y="5096361"/>
                  <a:pt x="1351043" y="5098296"/>
                  <a:pt x="1349110" y="5100229"/>
                </a:cubicBezTo>
                <a:cubicBezTo>
                  <a:pt x="1339438" y="5107965"/>
                  <a:pt x="1327836" y="5113769"/>
                  <a:pt x="1316229" y="5107965"/>
                </a:cubicBezTo>
                <a:cubicBezTo>
                  <a:pt x="1308495" y="5113769"/>
                  <a:pt x="1318164" y="5119570"/>
                  <a:pt x="1310428" y="5123438"/>
                </a:cubicBezTo>
                <a:cubicBezTo>
                  <a:pt x="1304626" y="5125374"/>
                  <a:pt x="1298823" y="5125374"/>
                  <a:pt x="1293019" y="5127307"/>
                </a:cubicBezTo>
                <a:cubicBezTo>
                  <a:pt x="1294955" y="5121505"/>
                  <a:pt x="1296888" y="5117637"/>
                  <a:pt x="1298823" y="5111836"/>
                </a:cubicBezTo>
                <a:cubicBezTo>
                  <a:pt x="1281417" y="5119570"/>
                  <a:pt x="1265944" y="5127307"/>
                  <a:pt x="1252404" y="5135043"/>
                </a:cubicBezTo>
                <a:cubicBezTo>
                  <a:pt x="1252404" y="5135043"/>
                  <a:pt x="1250471" y="5133110"/>
                  <a:pt x="1250471" y="5133110"/>
                </a:cubicBezTo>
                <a:cubicBezTo>
                  <a:pt x="1258207" y="5123438"/>
                  <a:pt x="1269812" y="5119570"/>
                  <a:pt x="1279482" y="5111836"/>
                </a:cubicBezTo>
                <a:cubicBezTo>
                  <a:pt x="1287218" y="5104097"/>
                  <a:pt x="1298823" y="5098296"/>
                  <a:pt x="1306559" y="5088626"/>
                </a:cubicBezTo>
                <a:cubicBezTo>
                  <a:pt x="1296888" y="5094428"/>
                  <a:pt x="1285285" y="5102164"/>
                  <a:pt x="1275613" y="5107965"/>
                </a:cubicBezTo>
                <a:cubicBezTo>
                  <a:pt x="1275613" y="5106032"/>
                  <a:pt x="1275613" y="5106032"/>
                  <a:pt x="1275613" y="5106032"/>
                </a:cubicBezTo>
                <a:cubicBezTo>
                  <a:pt x="1279482" y="5102164"/>
                  <a:pt x="1285285" y="5098296"/>
                  <a:pt x="1289153" y="5094428"/>
                </a:cubicBezTo>
                <a:cubicBezTo>
                  <a:pt x="1293019" y="5090559"/>
                  <a:pt x="1298823" y="5088626"/>
                  <a:pt x="1302691" y="5082823"/>
                </a:cubicBezTo>
                <a:cubicBezTo>
                  <a:pt x="1283350" y="5094428"/>
                  <a:pt x="1264009" y="5104097"/>
                  <a:pt x="1244667" y="5115702"/>
                </a:cubicBezTo>
                <a:cubicBezTo>
                  <a:pt x="1242734" y="5115702"/>
                  <a:pt x="1242734" y="5115702"/>
                  <a:pt x="1240801" y="5113769"/>
                </a:cubicBezTo>
                <a:cubicBezTo>
                  <a:pt x="1242734" y="5111836"/>
                  <a:pt x="1244667" y="5109901"/>
                  <a:pt x="1246603" y="5107965"/>
                </a:cubicBezTo>
                <a:cubicBezTo>
                  <a:pt x="1256272" y="5100229"/>
                  <a:pt x="1267877" y="5092495"/>
                  <a:pt x="1277549" y="5084756"/>
                </a:cubicBezTo>
                <a:cubicBezTo>
                  <a:pt x="1279482" y="5082823"/>
                  <a:pt x="1283350" y="5082823"/>
                  <a:pt x="1283350" y="5080888"/>
                </a:cubicBezTo>
                <a:cubicBezTo>
                  <a:pt x="1283350" y="5067350"/>
                  <a:pt x="1296888" y="5071218"/>
                  <a:pt x="1302691" y="5067350"/>
                </a:cubicBezTo>
                <a:cubicBezTo>
                  <a:pt x="1304626" y="5065417"/>
                  <a:pt x="1306559" y="5075086"/>
                  <a:pt x="1310428" y="5069285"/>
                </a:cubicBezTo>
                <a:cubicBezTo>
                  <a:pt x="1312361" y="5065417"/>
                  <a:pt x="1314296" y="5061549"/>
                  <a:pt x="1316229" y="5059613"/>
                </a:cubicBezTo>
                <a:cubicBezTo>
                  <a:pt x="1325901" y="5055745"/>
                  <a:pt x="1325901" y="5044140"/>
                  <a:pt x="1331702" y="5038339"/>
                </a:cubicBezTo>
                <a:cubicBezTo>
                  <a:pt x="1337505" y="5034471"/>
                  <a:pt x="1341374" y="5036404"/>
                  <a:pt x="1345242" y="5036404"/>
                </a:cubicBezTo>
                <a:cubicBezTo>
                  <a:pt x="1349110" y="5026734"/>
                  <a:pt x="1352978" y="5018998"/>
                  <a:pt x="1358780" y="5011261"/>
                </a:cubicBezTo>
                <a:cubicBezTo>
                  <a:pt x="1362648" y="5007393"/>
                  <a:pt x="1364583" y="5003525"/>
                  <a:pt x="1370384" y="5003525"/>
                </a:cubicBezTo>
                <a:cubicBezTo>
                  <a:pt x="1378121" y="5003525"/>
                  <a:pt x="1383922" y="4999657"/>
                  <a:pt x="1387793" y="4991920"/>
                </a:cubicBezTo>
                <a:cubicBezTo>
                  <a:pt x="1385857" y="4989985"/>
                  <a:pt x="1383922" y="4988052"/>
                  <a:pt x="1381989" y="4986119"/>
                </a:cubicBezTo>
                <a:cubicBezTo>
                  <a:pt x="1393594" y="4978380"/>
                  <a:pt x="1409067" y="4978380"/>
                  <a:pt x="1412935" y="4964842"/>
                </a:cubicBezTo>
                <a:cubicBezTo>
                  <a:pt x="1409067" y="4962909"/>
                  <a:pt x="1407132" y="4959041"/>
                  <a:pt x="1403263" y="4957106"/>
                </a:cubicBezTo>
                <a:cubicBezTo>
                  <a:pt x="1397462" y="4957106"/>
                  <a:pt x="1407132" y="4970643"/>
                  <a:pt x="1395529" y="4970643"/>
                </a:cubicBezTo>
                <a:cubicBezTo>
                  <a:pt x="1395529" y="4966778"/>
                  <a:pt x="1393594" y="4964842"/>
                  <a:pt x="1393594" y="4960974"/>
                </a:cubicBezTo>
                <a:cubicBezTo>
                  <a:pt x="1389726" y="4964842"/>
                  <a:pt x="1385857" y="4966778"/>
                  <a:pt x="1381989" y="4968710"/>
                </a:cubicBezTo>
                <a:cubicBezTo>
                  <a:pt x="1380054" y="4970643"/>
                  <a:pt x="1376188" y="4972579"/>
                  <a:pt x="1372320" y="4972579"/>
                </a:cubicBezTo>
                <a:cubicBezTo>
                  <a:pt x="1360713" y="4976447"/>
                  <a:pt x="1351043" y="4980315"/>
                  <a:pt x="1343307" y="4989985"/>
                </a:cubicBezTo>
                <a:cubicBezTo>
                  <a:pt x="1339438" y="4993853"/>
                  <a:pt x="1333637" y="4995788"/>
                  <a:pt x="1327836" y="4995788"/>
                </a:cubicBezTo>
                <a:cubicBezTo>
                  <a:pt x="1312361" y="4993853"/>
                  <a:pt x="1304626" y="4995788"/>
                  <a:pt x="1291086" y="5005460"/>
                </a:cubicBezTo>
                <a:cubicBezTo>
                  <a:pt x="1291086" y="5005460"/>
                  <a:pt x="1289153" y="5005460"/>
                  <a:pt x="1287218" y="5005460"/>
                </a:cubicBezTo>
                <a:cubicBezTo>
                  <a:pt x="1291086" y="4999657"/>
                  <a:pt x="1291086" y="4991920"/>
                  <a:pt x="1298823" y="4993853"/>
                </a:cubicBezTo>
                <a:cubicBezTo>
                  <a:pt x="1298823" y="4993853"/>
                  <a:pt x="1300758" y="4991920"/>
                  <a:pt x="1300758" y="4989985"/>
                </a:cubicBezTo>
                <a:cubicBezTo>
                  <a:pt x="1300758" y="4980315"/>
                  <a:pt x="1306559" y="4976447"/>
                  <a:pt x="1312361" y="4972579"/>
                </a:cubicBezTo>
                <a:cubicBezTo>
                  <a:pt x="1318164" y="4968710"/>
                  <a:pt x="1325901" y="4964842"/>
                  <a:pt x="1331702" y="4960974"/>
                </a:cubicBezTo>
                <a:cubicBezTo>
                  <a:pt x="1339438" y="4955173"/>
                  <a:pt x="1345242" y="4949369"/>
                  <a:pt x="1351043" y="4943568"/>
                </a:cubicBezTo>
                <a:cubicBezTo>
                  <a:pt x="1337505" y="4947436"/>
                  <a:pt x="1325901" y="4951302"/>
                  <a:pt x="1312361" y="4955173"/>
                </a:cubicBezTo>
                <a:cubicBezTo>
                  <a:pt x="1308495" y="4957106"/>
                  <a:pt x="1306559" y="4959041"/>
                  <a:pt x="1304626" y="4960974"/>
                </a:cubicBezTo>
                <a:cubicBezTo>
                  <a:pt x="1294955" y="4968710"/>
                  <a:pt x="1283350" y="4976447"/>
                  <a:pt x="1273678" y="4984184"/>
                </a:cubicBezTo>
                <a:cubicBezTo>
                  <a:pt x="1271745" y="4986119"/>
                  <a:pt x="1271745" y="4991920"/>
                  <a:pt x="1269812" y="4995788"/>
                </a:cubicBezTo>
                <a:cubicBezTo>
                  <a:pt x="1269812" y="4995788"/>
                  <a:pt x="1265944" y="4995788"/>
                  <a:pt x="1264009" y="4997721"/>
                </a:cubicBezTo>
                <a:cubicBezTo>
                  <a:pt x="1262076" y="4993853"/>
                  <a:pt x="1260140" y="4991920"/>
                  <a:pt x="1258207" y="4989985"/>
                </a:cubicBezTo>
                <a:cubicBezTo>
                  <a:pt x="1265944" y="4984184"/>
                  <a:pt x="1271745" y="4976447"/>
                  <a:pt x="1279482" y="4970643"/>
                </a:cubicBezTo>
                <a:cubicBezTo>
                  <a:pt x="1281417" y="4970643"/>
                  <a:pt x="1283350" y="4968710"/>
                  <a:pt x="1285285" y="4968710"/>
                </a:cubicBezTo>
                <a:cubicBezTo>
                  <a:pt x="1293019" y="4966778"/>
                  <a:pt x="1294955" y="4964842"/>
                  <a:pt x="1294955" y="4959041"/>
                </a:cubicBezTo>
                <a:cubicBezTo>
                  <a:pt x="1289153" y="4960974"/>
                  <a:pt x="1283350" y="4962909"/>
                  <a:pt x="1277549" y="4964842"/>
                </a:cubicBezTo>
                <a:cubicBezTo>
                  <a:pt x="1275613" y="4966778"/>
                  <a:pt x="1273678" y="4968710"/>
                  <a:pt x="1271745" y="4970643"/>
                </a:cubicBezTo>
                <a:cubicBezTo>
                  <a:pt x="1269812" y="4968710"/>
                  <a:pt x="1269812" y="4968710"/>
                  <a:pt x="1267877" y="4966778"/>
                </a:cubicBezTo>
                <a:cubicBezTo>
                  <a:pt x="1264009" y="4966778"/>
                  <a:pt x="1258207" y="4968710"/>
                  <a:pt x="1254339" y="4962909"/>
                </a:cubicBezTo>
                <a:cubicBezTo>
                  <a:pt x="1258207" y="4959041"/>
                  <a:pt x="1264009" y="4957106"/>
                  <a:pt x="1267877" y="4955173"/>
                </a:cubicBezTo>
                <a:cubicBezTo>
                  <a:pt x="1267877" y="4953237"/>
                  <a:pt x="1267877" y="4953237"/>
                  <a:pt x="1267877" y="4953237"/>
                </a:cubicBezTo>
                <a:cubicBezTo>
                  <a:pt x="1267877" y="4953237"/>
                  <a:pt x="1269812" y="4953237"/>
                  <a:pt x="1269812" y="4953237"/>
                </a:cubicBezTo>
                <a:cubicBezTo>
                  <a:pt x="1273678" y="4951302"/>
                  <a:pt x="1277549" y="4949369"/>
                  <a:pt x="1281417" y="4945501"/>
                </a:cubicBezTo>
                <a:cubicBezTo>
                  <a:pt x="1283350" y="4943568"/>
                  <a:pt x="1289153" y="4945501"/>
                  <a:pt x="1293019" y="4945501"/>
                </a:cubicBezTo>
                <a:cubicBezTo>
                  <a:pt x="1293019" y="4937764"/>
                  <a:pt x="1294955" y="4931963"/>
                  <a:pt x="1302691" y="4926160"/>
                </a:cubicBezTo>
                <a:cubicBezTo>
                  <a:pt x="1300758" y="4926160"/>
                  <a:pt x="1300758" y="4924227"/>
                  <a:pt x="1298823" y="4924227"/>
                </a:cubicBezTo>
                <a:cubicBezTo>
                  <a:pt x="1285285" y="4931963"/>
                  <a:pt x="1273678" y="4941633"/>
                  <a:pt x="1260140" y="4951302"/>
                </a:cubicBezTo>
                <a:cubicBezTo>
                  <a:pt x="1256272" y="4943568"/>
                  <a:pt x="1262076" y="4941633"/>
                  <a:pt x="1265944" y="4939700"/>
                </a:cubicBezTo>
                <a:cubicBezTo>
                  <a:pt x="1273678" y="4935832"/>
                  <a:pt x="1279482" y="4930028"/>
                  <a:pt x="1279482" y="4922291"/>
                </a:cubicBezTo>
                <a:cubicBezTo>
                  <a:pt x="1269812" y="4926160"/>
                  <a:pt x="1260140" y="4928095"/>
                  <a:pt x="1250471" y="4931963"/>
                </a:cubicBezTo>
                <a:cubicBezTo>
                  <a:pt x="1234998" y="4937764"/>
                  <a:pt x="1219525" y="4939700"/>
                  <a:pt x="1204052" y="4943568"/>
                </a:cubicBezTo>
                <a:cubicBezTo>
                  <a:pt x="1196315" y="4945501"/>
                  <a:pt x="1190514" y="4947436"/>
                  <a:pt x="1184711" y="4949369"/>
                </a:cubicBezTo>
                <a:cubicBezTo>
                  <a:pt x="1169238" y="4953237"/>
                  <a:pt x="1155700" y="4957106"/>
                  <a:pt x="1138291" y="4960974"/>
                </a:cubicBezTo>
                <a:cubicBezTo>
                  <a:pt x="1151832" y="4951302"/>
                  <a:pt x="1153767" y="4949369"/>
                  <a:pt x="1163436" y="4947436"/>
                </a:cubicBezTo>
                <a:cubicBezTo>
                  <a:pt x="1180842" y="4943568"/>
                  <a:pt x="1198251" y="4937764"/>
                  <a:pt x="1215657" y="4930028"/>
                </a:cubicBezTo>
                <a:cubicBezTo>
                  <a:pt x="1223393" y="4926160"/>
                  <a:pt x="1229194" y="4924227"/>
                  <a:pt x="1236931" y="4922291"/>
                </a:cubicBezTo>
                <a:cubicBezTo>
                  <a:pt x="1248536" y="4920358"/>
                  <a:pt x="1258207" y="4918426"/>
                  <a:pt x="1269812" y="4914555"/>
                </a:cubicBezTo>
                <a:cubicBezTo>
                  <a:pt x="1271745" y="4912622"/>
                  <a:pt x="1273678" y="4910687"/>
                  <a:pt x="1277549" y="4908754"/>
                </a:cubicBezTo>
                <a:cubicBezTo>
                  <a:pt x="1283350" y="4904885"/>
                  <a:pt x="1289153" y="4901017"/>
                  <a:pt x="1294955" y="4901017"/>
                </a:cubicBezTo>
                <a:cubicBezTo>
                  <a:pt x="1298823" y="4899084"/>
                  <a:pt x="1300758" y="4897149"/>
                  <a:pt x="1302691" y="4895216"/>
                </a:cubicBezTo>
                <a:cubicBezTo>
                  <a:pt x="1308495" y="4891345"/>
                  <a:pt x="1312361" y="4887477"/>
                  <a:pt x="1320097" y="4879743"/>
                </a:cubicBezTo>
                <a:cubicBezTo>
                  <a:pt x="1312361" y="4881676"/>
                  <a:pt x="1308495" y="4883609"/>
                  <a:pt x="1300758" y="4885544"/>
                </a:cubicBezTo>
                <a:cubicBezTo>
                  <a:pt x="1323965" y="4870071"/>
                  <a:pt x="1343307" y="4854598"/>
                  <a:pt x="1362648" y="4839125"/>
                </a:cubicBezTo>
                <a:cubicBezTo>
                  <a:pt x="1362648" y="4839125"/>
                  <a:pt x="1360713" y="4837192"/>
                  <a:pt x="1360713" y="4837192"/>
                </a:cubicBezTo>
                <a:cubicBezTo>
                  <a:pt x="1339438" y="4850730"/>
                  <a:pt x="1318164" y="4866203"/>
                  <a:pt x="1294955" y="4881676"/>
                </a:cubicBezTo>
                <a:cubicBezTo>
                  <a:pt x="1296888" y="4872006"/>
                  <a:pt x="1298823" y="4866203"/>
                  <a:pt x="1304626" y="4862335"/>
                </a:cubicBezTo>
                <a:cubicBezTo>
                  <a:pt x="1322032" y="4848797"/>
                  <a:pt x="1339438" y="4835257"/>
                  <a:pt x="1356847" y="4821719"/>
                </a:cubicBezTo>
                <a:cubicBezTo>
                  <a:pt x="1358780" y="4819784"/>
                  <a:pt x="1358780" y="4815916"/>
                  <a:pt x="1360713" y="4812050"/>
                </a:cubicBezTo>
                <a:cubicBezTo>
                  <a:pt x="1349110" y="4819784"/>
                  <a:pt x="1339438" y="4827520"/>
                  <a:pt x="1325901" y="4837192"/>
                </a:cubicBezTo>
                <a:cubicBezTo>
                  <a:pt x="1325901" y="4831391"/>
                  <a:pt x="1325901" y="4827520"/>
                  <a:pt x="1325901" y="4823652"/>
                </a:cubicBezTo>
                <a:cubicBezTo>
                  <a:pt x="1316229" y="4825587"/>
                  <a:pt x="1316229" y="4831391"/>
                  <a:pt x="1316229" y="4839125"/>
                </a:cubicBezTo>
                <a:cubicBezTo>
                  <a:pt x="1310428" y="4839125"/>
                  <a:pt x="1304626" y="4839125"/>
                  <a:pt x="1294955" y="4839125"/>
                </a:cubicBezTo>
                <a:cubicBezTo>
                  <a:pt x="1308495" y="4827520"/>
                  <a:pt x="1320097" y="4817851"/>
                  <a:pt x="1333637" y="4808181"/>
                </a:cubicBezTo>
                <a:cubicBezTo>
                  <a:pt x="1337505" y="4812050"/>
                  <a:pt x="1339438" y="4815916"/>
                  <a:pt x="1343307" y="4819784"/>
                </a:cubicBezTo>
                <a:cubicBezTo>
                  <a:pt x="1345242" y="4812050"/>
                  <a:pt x="1343307" y="4808181"/>
                  <a:pt x="1339438" y="4804311"/>
                </a:cubicBezTo>
                <a:cubicBezTo>
                  <a:pt x="1349110" y="4796574"/>
                  <a:pt x="1358780" y="4790773"/>
                  <a:pt x="1368451" y="4783037"/>
                </a:cubicBezTo>
                <a:cubicBezTo>
                  <a:pt x="1368451" y="4781101"/>
                  <a:pt x="1370384" y="4781101"/>
                  <a:pt x="1372320" y="4779168"/>
                </a:cubicBezTo>
                <a:cubicBezTo>
                  <a:pt x="1378121" y="4771432"/>
                  <a:pt x="1385857" y="4765631"/>
                  <a:pt x="1393594" y="4761762"/>
                </a:cubicBezTo>
                <a:cubicBezTo>
                  <a:pt x="1387793" y="4763695"/>
                  <a:pt x="1380054" y="4767564"/>
                  <a:pt x="1374253" y="4769499"/>
                </a:cubicBezTo>
                <a:cubicBezTo>
                  <a:pt x="1370384" y="4771432"/>
                  <a:pt x="1368451" y="4773367"/>
                  <a:pt x="1364583" y="4775300"/>
                </a:cubicBezTo>
                <a:cubicBezTo>
                  <a:pt x="1362648" y="4777233"/>
                  <a:pt x="1360713" y="4777233"/>
                  <a:pt x="1358780" y="4779168"/>
                </a:cubicBezTo>
                <a:cubicBezTo>
                  <a:pt x="1358780" y="4781101"/>
                  <a:pt x="1356847" y="4781101"/>
                  <a:pt x="1356847" y="4781101"/>
                </a:cubicBezTo>
                <a:cubicBezTo>
                  <a:pt x="1345242" y="4790773"/>
                  <a:pt x="1333637" y="4798510"/>
                  <a:pt x="1322032" y="4808181"/>
                </a:cubicBezTo>
                <a:cubicBezTo>
                  <a:pt x="1318164" y="4810114"/>
                  <a:pt x="1314296" y="4812050"/>
                  <a:pt x="1310428" y="4813983"/>
                </a:cubicBezTo>
                <a:cubicBezTo>
                  <a:pt x="1312361" y="4810114"/>
                  <a:pt x="1314296" y="4806246"/>
                  <a:pt x="1316229" y="4802378"/>
                </a:cubicBezTo>
                <a:cubicBezTo>
                  <a:pt x="1314296" y="4802378"/>
                  <a:pt x="1310428" y="4804311"/>
                  <a:pt x="1308495" y="4804311"/>
                </a:cubicBezTo>
                <a:cubicBezTo>
                  <a:pt x="1294955" y="4804311"/>
                  <a:pt x="1285285" y="4810114"/>
                  <a:pt x="1275613" y="4817851"/>
                </a:cubicBezTo>
                <a:cubicBezTo>
                  <a:pt x="1273678" y="4819784"/>
                  <a:pt x="1269812" y="4821719"/>
                  <a:pt x="1267877" y="4821719"/>
                </a:cubicBezTo>
                <a:cubicBezTo>
                  <a:pt x="1256272" y="4821719"/>
                  <a:pt x="1246603" y="4829456"/>
                  <a:pt x="1236931" y="4835257"/>
                </a:cubicBezTo>
                <a:cubicBezTo>
                  <a:pt x="1225326" y="4842993"/>
                  <a:pt x="1213724" y="4846862"/>
                  <a:pt x="1202119" y="4850730"/>
                </a:cubicBezTo>
                <a:cubicBezTo>
                  <a:pt x="1200184" y="4850730"/>
                  <a:pt x="1196315" y="4850730"/>
                  <a:pt x="1194382" y="4852665"/>
                </a:cubicBezTo>
                <a:cubicBezTo>
                  <a:pt x="1176974" y="4864268"/>
                  <a:pt x="1157633" y="4866203"/>
                  <a:pt x="1140227" y="4872006"/>
                </a:cubicBezTo>
                <a:cubicBezTo>
                  <a:pt x="1136359" y="4873939"/>
                  <a:pt x="1130557" y="4873939"/>
                  <a:pt x="1124754" y="4873939"/>
                </a:cubicBezTo>
                <a:cubicBezTo>
                  <a:pt x="1111216" y="4872006"/>
                  <a:pt x="1097676" y="4868138"/>
                  <a:pt x="1084138" y="4864268"/>
                </a:cubicBezTo>
                <a:cubicBezTo>
                  <a:pt x="1084138" y="4864268"/>
                  <a:pt x="1084138" y="4862335"/>
                  <a:pt x="1084138" y="4862335"/>
                </a:cubicBezTo>
                <a:cubicBezTo>
                  <a:pt x="1084138" y="4860402"/>
                  <a:pt x="1086071" y="4858466"/>
                  <a:pt x="1086071" y="4858466"/>
                </a:cubicBezTo>
                <a:cubicBezTo>
                  <a:pt x="1093808" y="4854598"/>
                  <a:pt x="1103480" y="4848797"/>
                  <a:pt x="1111216" y="4844929"/>
                </a:cubicBezTo>
                <a:cubicBezTo>
                  <a:pt x="1101544" y="4841060"/>
                  <a:pt x="1095743" y="4842993"/>
                  <a:pt x="1089939" y="4850730"/>
                </a:cubicBezTo>
                <a:cubicBezTo>
                  <a:pt x="1088007" y="4852665"/>
                  <a:pt x="1084138" y="4854598"/>
                  <a:pt x="1082203" y="4854598"/>
                </a:cubicBezTo>
                <a:cubicBezTo>
                  <a:pt x="1072534" y="4852665"/>
                  <a:pt x="1066732" y="4858466"/>
                  <a:pt x="1060929" y="4864268"/>
                </a:cubicBezTo>
                <a:cubicBezTo>
                  <a:pt x="1055125" y="4870071"/>
                  <a:pt x="1047389" y="4872006"/>
                  <a:pt x="1039652" y="4872006"/>
                </a:cubicBezTo>
                <a:cubicBezTo>
                  <a:pt x="1039652" y="4864268"/>
                  <a:pt x="1049324" y="4862335"/>
                  <a:pt x="1053192" y="4858466"/>
                </a:cubicBezTo>
                <a:cubicBezTo>
                  <a:pt x="1058994" y="4854598"/>
                  <a:pt x="1068665" y="4852665"/>
                  <a:pt x="1070598" y="4842993"/>
                </a:cubicBezTo>
                <a:cubicBezTo>
                  <a:pt x="1062862" y="4842993"/>
                  <a:pt x="1055125" y="4844929"/>
                  <a:pt x="1045456" y="4844929"/>
                </a:cubicBezTo>
                <a:cubicBezTo>
                  <a:pt x="1049324" y="4841060"/>
                  <a:pt x="1051257" y="4837192"/>
                  <a:pt x="1055125" y="4835257"/>
                </a:cubicBezTo>
                <a:cubicBezTo>
                  <a:pt x="1062862" y="4831391"/>
                  <a:pt x="1068665" y="4827520"/>
                  <a:pt x="1066732" y="4815916"/>
                </a:cubicBezTo>
                <a:cubicBezTo>
                  <a:pt x="1076402" y="4819784"/>
                  <a:pt x="1076402" y="4819784"/>
                  <a:pt x="1099609" y="4796574"/>
                </a:cubicBezTo>
                <a:cubicBezTo>
                  <a:pt x="1095743" y="4796574"/>
                  <a:pt x="1093808" y="4796574"/>
                  <a:pt x="1089939" y="4796574"/>
                </a:cubicBezTo>
                <a:cubicBezTo>
                  <a:pt x="1099609" y="4786905"/>
                  <a:pt x="1111216" y="4779168"/>
                  <a:pt x="1120886" y="4769499"/>
                </a:cubicBezTo>
                <a:cubicBezTo>
                  <a:pt x="1118950" y="4769499"/>
                  <a:pt x="1117017" y="4767564"/>
                  <a:pt x="1115084" y="4767564"/>
                </a:cubicBezTo>
                <a:cubicBezTo>
                  <a:pt x="1113149" y="4769499"/>
                  <a:pt x="1109281" y="4771432"/>
                  <a:pt x="1107348" y="4773367"/>
                </a:cubicBezTo>
                <a:cubicBezTo>
                  <a:pt x="1099609" y="4777233"/>
                  <a:pt x="1093808" y="4783037"/>
                  <a:pt x="1084138" y="4788840"/>
                </a:cubicBezTo>
                <a:cubicBezTo>
                  <a:pt x="1091875" y="4781101"/>
                  <a:pt x="1099609" y="4775300"/>
                  <a:pt x="1105413" y="4769499"/>
                </a:cubicBezTo>
                <a:cubicBezTo>
                  <a:pt x="1105413" y="4769499"/>
                  <a:pt x="1103480" y="4769499"/>
                  <a:pt x="1101544" y="4769499"/>
                </a:cubicBezTo>
                <a:cubicBezTo>
                  <a:pt x="1101544" y="4767564"/>
                  <a:pt x="1101544" y="4763695"/>
                  <a:pt x="1101544" y="4761762"/>
                </a:cubicBezTo>
                <a:cubicBezTo>
                  <a:pt x="1097676" y="4763695"/>
                  <a:pt x="1093808" y="4767564"/>
                  <a:pt x="1091875" y="4771432"/>
                </a:cubicBezTo>
                <a:cubicBezTo>
                  <a:pt x="1088007" y="4777233"/>
                  <a:pt x="1080270" y="4781101"/>
                  <a:pt x="1074467" y="4784972"/>
                </a:cubicBezTo>
                <a:cubicBezTo>
                  <a:pt x="1066732" y="4790773"/>
                  <a:pt x="1057061" y="4796574"/>
                  <a:pt x="1049324" y="4802378"/>
                </a:cubicBezTo>
                <a:cubicBezTo>
                  <a:pt x="1047389" y="4804311"/>
                  <a:pt x="1043523" y="4804311"/>
                  <a:pt x="1039652" y="4802378"/>
                </a:cubicBezTo>
                <a:cubicBezTo>
                  <a:pt x="1045456" y="4798510"/>
                  <a:pt x="1051257" y="4794641"/>
                  <a:pt x="1057061" y="4790773"/>
                </a:cubicBezTo>
                <a:cubicBezTo>
                  <a:pt x="1064797" y="4784972"/>
                  <a:pt x="1070598" y="4781101"/>
                  <a:pt x="1076402" y="4775300"/>
                </a:cubicBezTo>
                <a:cubicBezTo>
                  <a:pt x="1078335" y="4773367"/>
                  <a:pt x="1082203" y="4769499"/>
                  <a:pt x="1084138" y="4769499"/>
                </a:cubicBezTo>
                <a:cubicBezTo>
                  <a:pt x="1095743" y="4769499"/>
                  <a:pt x="1097676" y="4763695"/>
                  <a:pt x="1099609" y="4755959"/>
                </a:cubicBezTo>
                <a:cubicBezTo>
                  <a:pt x="1097676" y="4754026"/>
                  <a:pt x="1095743" y="4750158"/>
                  <a:pt x="1093808" y="4748222"/>
                </a:cubicBezTo>
                <a:cubicBezTo>
                  <a:pt x="1093808" y="4742421"/>
                  <a:pt x="1093808" y="4738553"/>
                  <a:pt x="1095743" y="4732749"/>
                </a:cubicBezTo>
                <a:cubicBezTo>
                  <a:pt x="1095743" y="4730816"/>
                  <a:pt x="1097676" y="4726948"/>
                  <a:pt x="1099609" y="4726948"/>
                </a:cubicBezTo>
                <a:cubicBezTo>
                  <a:pt x="1103480" y="4725015"/>
                  <a:pt x="1103480" y="4728881"/>
                  <a:pt x="1105413" y="4732749"/>
                </a:cubicBezTo>
                <a:cubicBezTo>
                  <a:pt x="1109281" y="4732749"/>
                  <a:pt x="1115084" y="4730816"/>
                  <a:pt x="1120886" y="4730816"/>
                </a:cubicBezTo>
                <a:cubicBezTo>
                  <a:pt x="1118950" y="4736617"/>
                  <a:pt x="1115084" y="4740486"/>
                  <a:pt x="1113149" y="4744354"/>
                </a:cubicBezTo>
                <a:cubicBezTo>
                  <a:pt x="1115084" y="4746289"/>
                  <a:pt x="1117017" y="4746289"/>
                  <a:pt x="1118950" y="4746289"/>
                </a:cubicBezTo>
                <a:cubicBezTo>
                  <a:pt x="1124754" y="4742421"/>
                  <a:pt x="1130557" y="4740486"/>
                  <a:pt x="1132490" y="4734685"/>
                </a:cubicBezTo>
                <a:cubicBezTo>
                  <a:pt x="1128622" y="4730816"/>
                  <a:pt x="1126687" y="4728881"/>
                  <a:pt x="1128622" y="4723080"/>
                </a:cubicBezTo>
                <a:cubicBezTo>
                  <a:pt x="1130557" y="4723080"/>
                  <a:pt x="1132490" y="4723080"/>
                  <a:pt x="1134426" y="4723080"/>
                </a:cubicBezTo>
                <a:cubicBezTo>
                  <a:pt x="1136359" y="4721147"/>
                  <a:pt x="1136359" y="4721147"/>
                  <a:pt x="1138291" y="4719212"/>
                </a:cubicBezTo>
                <a:cubicBezTo>
                  <a:pt x="1136359" y="4719212"/>
                  <a:pt x="1132490" y="4717276"/>
                  <a:pt x="1130557" y="4717276"/>
                </a:cubicBezTo>
                <a:cubicBezTo>
                  <a:pt x="1128622" y="4717276"/>
                  <a:pt x="1124754" y="4719212"/>
                  <a:pt x="1120886" y="4721147"/>
                </a:cubicBezTo>
                <a:cubicBezTo>
                  <a:pt x="1118950" y="4709540"/>
                  <a:pt x="1124754" y="4699870"/>
                  <a:pt x="1124754" y="4688265"/>
                </a:cubicBezTo>
                <a:cubicBezTo>
                  <a:pt x="1122818" y="4688265"/>
                  <a:pt x="1122818" y="4688265"/>
                  <a:pt x="1122818" y="4688265"/>
                </a:cubicBezTo>
                <a:cubicBezTo>
                  <a:pt x="1118950" y="4688265"/>
                  <a:pt x="1117017" y="4694067"/>
                  <a:pt x="1115084" y="4697937"/>
                </a:cubicBezTo>
                <a:cubicBezTo>
                  <a:pt x="1115084" y="4696002"/>
                  <a:pt x="1113149" y="4696002"/>
                  <a:pt x="1113149" y="4694067"/>
                </a:cubicBezTo>
                <a:cubicBezTo>
                  <a:pt x="1113149" y="4690198"/>
                  <a:pt x="1113149" y="4686333"/>
                  <a:pt x="1115084" y="4682464"/>
                </a:cubicBezTo>
                <a:cubicBezTo>
                  <a:pt x="1113149" y="4684397"/>
                  <a:pt x="1109281" y="4684397"/>
                  <a:pt x="1107348" y="4682464"/>
                </a:cubicBezTo>
                <a:cubicBezTo>
                  <a:pt x="1101544" y="4680529"/>
                  <a:pt x="1095743" y="4674728"/>
                  <a:pt x="1089939" y="4670859"/>
                </a:cubicBezTo>
                <a:cubicBezTo>
                  <a:pt x="1089939" y="4670859"/>
                  <a:pt x="1146028" y="4645715"/>
                  <a:pt x="1146028" y="4641846"/>
                </a:cubicBezTo>
                <a:cubicBezTo>
                  <a:pt x="1140227" y="4639913"/>
                  <a:pt x="1136359" y="4639913"/>
                  <a:pt x="1132490" y="4637980"/>
                </a:cubicBezTo>
                <a:cubicBezTo>
                  <a:pt x="1130557" y="4636045"/>
                  <a:pt x="1126687" y="4634112"/>
                  <a:pt x="1126687" y="4632177"/>
                </a:cubicBezTo>
                <a:cubicBezTo>
                  <a:pt x="1126687" y="4622505"/>
                  <a:pt x="1118950" y="4620572"/>
                  <a:pt x="1113149" y="4618639"/>
                </a:cubicBezTo>
                <a:cubicBezTo>
                  <a:pt x="1111216" y="4616704"/>
                  <a:pt x="1107348" y="4616704"/>
                  <a:pt x="1105413" y="4616704"/>
                </a:cubicBezTo>
                <a:cubicBezTo>
                  <a:pt x="1097676" y="4614771"/>
                  <a:pt x="1093808" y="4610903"/>
                  <a:pt x="1091875" y="4603164"/>
                </a:cubicBezTo>
                <a:cubicBezTo>
                  <a:pt x="1089939" y="4597363"/>
                  <a:pt x="1089939" y="4591561"/>
                  <a:pt x="1088007" y="4585758"/>
                </a:cubicBezTo>
                <a:cubicBezTo>
                  <a:pt x="1080270" y="4581890"/>
                  <a:pt x="1074467" y="4581890"/>
                  <a:pt x="1064797" y="4587693"/>
                </a:cubicBezTo>
                <a:cubicBezTo>
                  <a:pt x="1064797" y="4581890"/>
                  <a:pt x="1064797" y="4576088"/>
                  <a:pt x="1064797" y="4572220"/>
                </a:cubicBezTo>
                <a:cubicBezTo>
                  <a:pt x="1058994" y="4570285"/>
                  <a:pt x="1053192" y="4568352"/>
                  <a:pt x="1049324" y="4564484"/>
                </a:cubicBezTo>
                <a:cubicBezTo>
                  <a:pt x="1045456" y="4560615"/>
                  <a:pt x="1035784" y="4558680"/>
                  <a:pt x="1029983" y="4556747"/>
                </a:cubicBezTo>
                <a:cubicBezTo>
                  <a:pt x="1028047" y="4556747"/>
                  <a:pt x="1024182" y="4554812"/>
                  <a:pt x="1024182" y="4552879"/>
                </a:cubicBezTo>
                <a:cubicBezTo>
                  <a:pt x="1020313" y="4543207"/>
                  <a:pt x="1012577" y="4541274"/>
                  <a:pt x="1004840" y="4539339"/>
                </a:cubicBezTo>
                <a:cubicBezTo>
                  <a:pt x="1000972" y="4539339"/>
                  <a:pt x="999037" y="4537406"/>
                  <a:pt x="997104" y="4537406"/>
                </a:cubicBezTo>
                <a:cubicBezTo>
                  <a:pt x="995168" y="4535471"/>
                  <a:pt x="993235" y="4535471"/>
                  <a:pt x="991300" y="4537406"/>
                </a:cubicBezTo>
                <a:cubicBezTo>
                  <a:pt x="979695" y="4545142"/>
                  <a:pt x="966158" y="4550944"/>
                  <a:pt x="954553" y="4558680"/>
                </a:cubicBezTo>
                <a:cubicBezTo>
                  <a:pt x="954553" y="4558680"/>
                  <a:pt x="952618" y="4558680"/>
                  <a:pt x="952618" y="4560615"/>
                </a:cubicBezTo>
                <a:cubicBezTo>
                  <a:pt x="950685" y="4564484"/>
                  <a:pt x="948749" y="4566417"/>
                  <a:pt x="942948" y="4566417"/>
                </a:cubicBezTo>
                <a:cubicBezTo>
                  <a:pt x="935212" y="4566417"/>
                  <a:pt x="933279" y="4570285"/>
                  <a:pt x="935212" y="4578021"/>
                </a:cubicBezTo>
                <a:cubicBezTo>
                  <a:pt x="937147" y="4579957"/>
                  <a:pt x="939080" y="4581890"/>
                  <a:pt x="939080" y="4583823"/>
                </a:cubicBezTo>
                <a:cubicBezTo>
                  <a:pt x="941013" y="4585758"/>
                  <a:pt x="941013" y="4589626"/>
                  <a:pt x="939080" y="4589626"/>
                </a:cubicBezTo>
                <a:cubicBezTo>
                  <a:pt x="927475" y="4593494"/>
                  <a:pt x="925542" y="4605099"/>
                  <a:pt x="915870" y="4610903"/>
                </a:cubicBezTo>
                <a:cubicBezTo>
                  <a:pt x="912002" y="4612836"/>
                  <a:pt x="912002" y="4616704"/>
                  <a:pt x="910069" y="4618639"/>
                </a:cubicBezTo>
                <a:cubicBezTo>
                  <a:pt x="904266" y="4626373"/>
                  <a:pt x="898464" y="4628309"/>
                  <a:pt x="888793" y="4626373"/>
                </a:cubicBezTo>
                <a:cubicBezTo>
                  <a:pt x="886860" y="4624440"/>
                  <a:pt x="882991" y="4624440"/>
                  <a:pt x="881056" y="4620572"/>
                </a:cubicBezTo>
                <a:cubicBezTo>
                  <a:pt x="879123" y="4616704"/>
                  <a:pt x="877188" y="4614771"/>
                  <a:pt x="875255" y="4610903"/>
                </a:cubicBezTo>
                <a:cubicBezTo>
                  <a:pt x="873320" y="4607032"/>
                  <a:pt x="873320" y="4603164"/>
                  <a:pt x="877188" y="4599298"/>
                </a:cubicBezTo>
                <a:cubicBezTo>
                  <a:pt x="879123" y="4597363"/>
                  <a:pt x="881056" y="4593494"/>
                  <a:pt x="879123" y="4589626"/>
                </a:cubicBezTo>
                <a:cubicBezTo>
                  <a:pt x="877188" y="4583823"/>
                  <a:pt x="875255" y="4579957"/>
                  <a:pt x="873320" y="4576088"/>
                </a:cubicBezTo>
                <a:cubicBezTo>
                  <a:pt x="871387" y="4572220"/>
                  <a:pt x="869454" y="4568352"/>
                  <a:pt x="863650" y="4566417"/>
                </a:cubicBezTo>
                <a:cubicBezTo>
                  <a:pt x="857849" y="4564484"/>
                  <a:pt x="852045" y="4562548"/>
                  <a:pt x="846244" y="4566417"/>
                </a:cubicBezTo>
                <a:cubicBezTo>
                  <a:pt x="840441" y="4570285"/>
                  <a:pt x="832704" y="4568352"/>
                  <a:pt x="826903" y="4564484"/>
                </a:cubicBezTo>
                <a:cubicBezTo>
                  <a:pt x="819166" y="4554812"/>
                  <a:pt x="807562" y="4554812"/>
                  <a:pt x="797890" y="4552879"/>
                </a:cubicBezTo>
                <a:cubicBezTo>
                  <a:pt x="795957" y="4550944"/>
                  <a:pt x="794022" y="4552879"/>
                  <a:pt x="792089" y="4554812"/>
                </a:cubicBezTo>
                <a:cubicBezTo>
                  <a:pt x="788220" y="4556747"/>
                  <a:pt x="784352" y="4556747"/>
                  <a:pt x="780484" y="4552879"/>
                </a:cubicBezTo>
                <a:cubicBezTo>
                  <a:pt x="778549" y="4550944"/>
                  <a:pt x="774680" y="4549011"/>
                  <a:pt x="770812" y="4550944"/>
                </a:cubicBezTo>
                <a:cubicBezTo>
                  <a:pt x="768879" y="4550944"/>
                  <a:pt x="766944" y="4552879"/>
                  <a:pt x="765011" y="4552879"/>
                </a:cubicBezTo>
                <a:cubicBezTo>
                  <a:pt x="763078" y="4552879"/>
                  <a:pt x="759210" y="4554812"/>
                  <a:pt x="759210" y="4552879"/>
                </a:cubicBezTo>
                <a:cubicBezTo>
                  <a:pt x="755339" y="4549011"/>
                  <a:pt x="749538" y="4547075"/>
                  <a:pt x="745670" y="4543207"/>
                </a:cubicBezTo>
                <a:cubicBezTo>
                  <a:pt x="741801" y="4539339"/>
                  <a:pt x="739868" y="4537406"/>
                  <a:pt x="734065" y="4539339"/>
                </a:cubicBezTo>
                <a:cubicBezTo>
                  <a:pt x="732132" y="4541274"/>
                  <a:pt x="728264" y="4539339"/>
                  <a:pt x="724395" y="4539339"/>
                </a:cubicBezTo>
                <a:cubicBezTo>
                  <a:pt x="718592" y="4541274"/>
                  <a:pt x="712791" y="4541274"/>
                  <a:pt x="708922" y="4535471"/>
                </a:cubicBezTo>
                <a:cubicBezTo>
                  <a:pt x="701186" y="4533538"/>
                  <a:pt x="697318" y="4529669"/>
                  <a:pt x="693449" y="4521933"/>
                </a:cubicBezTo>
                <a:cubicBezTo>
                  <a:pt x="693449" y="4519997"/>
                  <a:pt x="689581" y="4516132"/>
                  <a:pt x="687646" y="4514196"/>
                </a:cubicBezTo>
                <a:cubicBezTo>
                  <a:pt x="681845" y="4510328"/>
                  <a:pt x="676043" y="4506460"/>
                  <a:pt x="670240" y="4502592"/>
                </a:cubicBezTo>
                <a:cubicBezTo>
                  <a:pt x="664439" y="4500659"/>
                  <a:pt x="712791" y="4450371"/>
                  <a:pt x="706987" y="4448436"/>
                </a:cubicBezTo>
                <a:cubicBezTo>
                  <a:pt x="699251" y="4444568"/>
                  <a:pt x="695382" y="4438766"/>
                  <a:pt x="691514" y="4432963"/>
                </a:cubicBezTo>
                <a:cubicBezTo>
                  <a:pt x="685713" y="4431030"/>
                  <a:pt x="683778" y="4429097"/>
                  <a:pt x="679909" y="4425229"/>
                </a:cubicBezTo>
                <a:cubicBezTo>
                  <a:pt x="674108" y="4429097"/>
                  <a:pt x="666371" y="4432963"/>
                  <a:pt x="658635" y="4436831"/>
                </a:cubicBezTo>
                <a:cubicBezTo>
                  <a:pt x="654767" y="4438766"/>
                  <a:pt x="648965" y="4440702"/>
                  <a:pt x="645097" y="4442635"/>
                </a:cubicBezTo>
                <a:cubicBezTo>
                  <a:pt x="641229" y="4442635"/>
                  <a:pt x="635426" y="4442635"/>
                  <a:pt x="631557" y="4444568"/>
                </a:cubicBezTo>
                <a:cubicBezTo>
                  <a:pt x="625756" y="4444568"/>
                  <a:pt x="621888" y="4446503"/>
                  <a:pt x="618019" y="4448436"/>
                </a:cubicBezTo>
                <a:cubicBezTo>
                  <a:pt x="614151" y="4450371"/>
                  <a:pt x="610283" y="4448436"/>
                  <a:pt x="606415" y="4450371"/>
                </a:cubicBezTo>
                <a:cubicBezTo>
                  <a:pt x="600611" y="4454239"/>
                  <a:pt x="596743" y="4452304"/>
                  <a:pt x="592875" y="4448436"/>
                </a:cubicBezTo>
                <a:cubicBezTo>
                  <a:pt x="589009" y="4446503"/>
                  <a:pt x="585138" y="4444568"/>
                  <a:pt x="583205" y="4440702"/>
                </a:cubicBezTo>
                <a:cubicBezTo>
                  <a:pt x="581270" y="4438766"/>
                  <a:pt x="577404" y="4438766"/>
                  <a:pt x="575469" y="4434898"/>
                </a:cubicBezTo>
                <a:cubicBezTo>
                  <a:pt x="569667" y="4438766"/>
                  <a:pt x="563864" y="4440702"/>
                  <a:pt x="558063" y="4444568"/>
                </a:cubicBezTo>
                <a:cubicBezTo>
                  <a:pt x="554195" y="4448436"/>
                  <a:pt x="548391" y="4446503"/>
                  <a:pt x="544523" y="4446503"/>
                </a:cubicBezTo>
                <a:cubicBezTo>
                  <a:pt x="542590" y="4452304"/>
                  <a:pt x="538722" y="4458108"/>
                  <a:pt x="532918" y="4460041"/>
                </a:cubicBezTo>
                <a:cubicBezTo>
                  <a:pt x="523248" y="4465844"/>
                  <a:pt x="513577" y="4469713"/>
                  <a:pt x="503907" y="4475514"/>
                </a:cubicBezTo>
                <a:cubicBezTo>
                  <a:pt x="498104" y="4477449"/>
                  <a:pt x="494235" y="4479382"/>
                  <a:pt x="490370" y="4481317"/>
                </a:cubicBezTo>
                <a:cubicBezTo>
                  <a:pt x="480698" y="4487118"/>
                  <a:pt x="465225" y="4489054"/>
                  <a:pt x="459424" y="4502592"/>
                </a:cubicBezTo>
                <a:cubicBezTo>
                  <a:pt x="459424" y="4504527"/>
                  <a:pt x="455555" y="4506460"/>
                  <a:pt x="451687" y="4508395"/>
                </a:cubicBezTo>
                <a:cubicBezTo>
                  <a:pt x="426542" y="4519997"/>
                  <a:pt x="403335" y="4533538"/>
                  <a:pt x="378190" y="4545142"/>
                </a:cubicBezTo>
                <a:cubicBezTo>
                  <a:pt x="376257" y="4547075"/>
                  <a:pt x="372389" y="4547075"/>
                  <a:pt x="368521" y="4547075"/>
                </a:cubicBezTo>
                <a:cubicBezTo>
                  <a:pt x="362717" y="4547075"/>
                  <a:pt x="356916" y="4549011"/>
                  <a:pt x="354981" y="4554812"/>
                </a:cubicBezTo>
                <a:cubicBezTo>
                  <a:pt x="353048" y="4558680"/>
                  <a:pt x="351112" y="4560615"/>
                  <a:pt x="347244" y="4560615"/>
                </a:cubicBezTo>
                <a:cubicBezTo>
                  <a:pt x="345311" y="4560615"/>
                  <a:pt x="339507" y="4558680"/>
                  <a:pt x="337575" y="4560615"/>
                </a:cubicBezTo>
                <a:cubicBezTo>
                  <a:pt x="318233" y="4570285"/>
                  <a:pt x="296959" y="4581890"/>
                  <a:pt x="277618" y="4591561"/>
                </a:cubicBezTo>
                <a:cubicBezTo>
                  <a:pt x="275682" y="4591561"/>
                  <a:pt x="237000" y="4570285"/>
                  <a:pt x="237000" y="4572220"/>
                </a:cubicBezTo>
                <a:cubicBezTo>
                  <a:pt x="229264" y="4587693"/>
                  <a:pt x="213791" y="4589626"/>
                  <a:pt x="200253" y="4597363"/>
                </a:cubicBezTo>
                <a:cubicBezTo>
                  <a:pt x="184780" y="4605099"/>
                  <a:pt x="171242" y="4612836"/>
                  <a:pt x="155769" y="4620572"/>
                </a:cubicBezTo>
                <a:cubicBezTo>
                  <a:pt x="148032" y="4624440"/>
                  <a:pt x="140296" y="4628309"/>
                  <a:pt x="132559" y="4630242"/>
                </a:cubicBezTo>
                <a:cubicBezTo>
                  <a:pt x="124823" y="4632177"/>
                  <a:pt x="117087" y="4630242"/>
                  <a:pt x="109350" y="4634112"/>
                </a:cubicBezTo>
                <a:cubicBezTo>
                  <a:pt x="101613" y="4632177"/>
                  <a:pt x="93877" y="4636045"/>
                  <a:pt x="86140" y="4639913"/>
                </a:cubicBezTo>
                <a:cubicBezTo>
                  <a:pt x="78404" y="4643782"/>
                  <a:pt x="70667" y="4639913"/>
                  <a:pt x="64866" y="4643782"/>
                </a:cubicBezTo>
                <a:cubicBezTo>
                  <a:pt x="55194" y="4649583"/>
                  <a:pt x="47460" y="4645715"/>
                  <a:pt x="41657" y="4639913"/>
                </a:cubicBezTo>
                <a:cubicBezTo>
                  <a:pt x="37788" y="4636045"/>
                  <a:pt x="28119" y="4634112"/>
                  <a:pt x="26184" y="4626373"/>
                </a:cubicBezTo>
                <a:cubicBezTo>
                  <a:pt x="24251" y="4620572"/>
                  <a:pt x="14579" y="4620572"/>
                  <a:pt x="12646" y="4614771"/>
                </a:cubicBezTo>
                <a:cubicBezTo>
                  <a:pt x="9744" y="4609935"/>
                  <a:pt x="6359" y="4606550"/>
                  <a:pt x="2491" y="4604132"/>
                </a:cubicBezTo>
                <a:lnTo>
                  <a:pt x="0" y="4603210"/>
                </a:lnTo>
                <a:lnTo>
                  <a:pt x="0" y="1780731"/>
                </a:lnTo>
                <a:lnTo>
                  <a:pt x="12646" y="1765837"/>
                </a:lnTo>
                <a:lnTo>
                  <a:pt x="0" y="1774315"/>
                </a:lnTo>
                <a:lnTo>
                  <a:pt x="0" y="1288043"/>
                </a:lnTo>
                <a:lnTo>
                  <a:pt x="9019" y="1280134"/>
                </a:lnTo>
                <a:cubicBezTo>
                  <a:pt x="14096" y="1276024"/>
                  <a:pt x="19415" y="1272639"/>
                  <a:pt x="26184" y="1270705"/>
                </a:cubicBezTo>
                <a:cubicBezTo>
                  <a:pt x="28119" y="1270705"/>
                  <a:pt x="31985" y="1266839"/>
                  <a:pt x="33920" y="1264903"/>
                </a:cubicBezTo>
                <a:cubicBezTo>
                  <a:pt x="55194" y="1247497"/>
                  <a:pt x="68735" y="1210748"/>
                  <a:pt x="91944" y="1195275"/>
                </a:cubicBezTo>
                <a:cubicBezTo>
                  <a:pt x="113218" y="1181737"/>
                  <a:pt x="130624" y="1160463"/>
                  <a:pt x="155769" y="1150791"/>
                </a:cubicBezTo>
                <a:cubicBezTo>
                  <a:pt x="163506" y="1146923"/>
                  <a:pt x="169307" y="1139186"/>
                  <a:pt x="175110" y="1133385"/>
                </a:cubicBezTo>
                <a:cubicBezTo>
                  <a:pt x="182847" y="1125649"/>
                  <a:pt x="190583" y="1117912"/>
                  <a:pt x="202188" y="1114044"/>
                </a:cubicBezTo>
                <a:cubicBezTo>
                  <a:pt x="225395" y="1106307"/>
                  <a:pt x="244736" y="1092767"/>
                  <a:pt x="266013" y="1079230"/>
                </a:cubicBezTo>
                <a:cubicBezTo>
                  <a:pt x="283419" y="1069560"/>
                  <a:pt x="300825" y="1057955"/>
                  <a:pt x="318233" y="1046350"/>
                </a:cubicBezTo>
                <a:cubicBezTo>
                  <a:pt x="341443" y="1032810"/>
                  <a:pt x="376257" y="994128"/>
                  <a:pt x="399464" y="980590"/>
                </a:cubicBezTo>
                <a:cubicBezTo>
                  <a:pt x="424609" y="965117"/>
                  <a:pt x="449752" y="951579"/>
                  <a:pt x="474894" y="936106"/>
                </a:cubicBezTo>
                <a:cubicBezTo>
                  <a:pt x="482633" y="932238"/>
                  <a:pt x="490370" y="928370"/>
                  <a:pt x="498104" y="922566"/>
                </a:cubicBezTo>
                <a:cubicBezTo>
                  <a:pt x="532918" y="897424"/>
                  <a:pt x="571600" y="876150"/>
                  <a:pt x="610283" y="854873"/>
                </a:cubicBezTo>
                <a:cubicBezTo>
                  <a:pt x="616084" y="851005"/>
                  <a:pt x="623821" y="849072"/>
                  <a:pt x="627689" y="843268"/>
                </a:cubicBezTo>
                <a:cubicBezTo>
                  <a:pt x="641229" y="829731"/>
                  <a:pt x="656702" y="821994"/>
                  <a:pt x="674108" y="816190"/>
                </a:cubicBezTo>
                <a:cubicBezTo>
                  <a:pt x="689581" y="810389"/>
                  <a:pt x="705054" y="800720"/>
                  <a:pt x="718592" y="792983"/>
                </a:cubicBezTo>
                <a:cubicBezTo>
                  <a:pt x="788220" y="752365"/>
                  <a:pt x="855914" y="762037"/>
                  <a:pt x="927475" y="725290"/>
                </a:cubicBezTo>
                <a:cubicBezTo>
                  <a:pt x="950685" y="713685"/>
                  <a:pt x="973894" y="705949"/>
                  <a:pt x="997104" y="694344"/>
                </a:cubicBezTo>
                <a:cubicBezTo>
                  <a:pt x="1020313" y="682739"/>
                  <a:pt x="1043523" y="669199"/>
                  <a:pt x="1068665" y="657594"/>
                </a:cubicBezTo>
                <a:cubicBezTo>
                  <a:pt x="1099609" y="642121"/>
                  <a:pt x="1132490" y="630519"/>
                  <a:pt x="1167305" y="624715"/>
                </a:cubicBezTo>
                <a:cubicBezTo>
                  <a:pt x="1171173" y="624715"/>
                  <a:pt x="1175041" y="624715"/>
                  <a:pt x="1176974" y="622780"/>
                </a:cubicBezTo>
                <a:cubicBezTo>
                  <a:pt x="1188579" y="613111"/>
                  <a:pt x="1204052" y="609242"/>
                  <a:pt x="1215657" y="601506"/>
                </a:cubicBezTo>
                <a:cubicBezTo>
                  <a:pt x="1236931" y="587968"/>
                  <a:pt x="1260140" y="578296"/>
                  <a:pt x="1283350" y="572495"/>
                </a:cubicBezTo>
                <a:cubicBezTo>
                  <a:pt x="1289153" y="572495"/>
                  <a:pt x="1294955" y="570560"/>
                  <a:pt x="1300758" y="568627"/>
                </a:cubicBezTo>
                <a:cubicBezTo>
                  <a:pt x="1320097" y="562823"/>
                  <a:pt x="1341374" y="558955"/>
                  <a:pt x="1358780" y="547350"/>
                </a:cubicBezTo>
                <a:cubicBezTo>
                  <a:pt x="1362648" y="545417"/>
                  <a:pt x="1364583" y="543484"/>
                  <a:pt x="1368451" y="543484"/>
                </a:cubicBezTo>
                <a:cubicBezTo>
                  <a:pt x="1395529" y="537681"/>
                  <a:pt x="1420672" y="531879"/>
                  <a:pt x="1447749" y="526076"/>
                </a:cubicBezTo>
                <a:cubicBezTo>
                  <a:pt x="1474827" y="520275"/>
                  <a:pt x="1499970" y="514471"/>
                  <a:pt x="1525112" y="508670"/>
                </a:cubicBezTo>
                <a:cubicBezTo>
                  <a:pt x="1538652" y="504802"/>
                  <a:pt x="1550257" y="502866"/>
                  <a:pt x="1561862" y="500933"/>
                </a:cubicBezTo>
                <a:cubicBezTo>
                  <a:pt x="1567663" y="500933"/>
                  <a:pt x="1573464" y="498998"/>
                  <a:pt x="1579268" y="497065"/>
                </a:cubicBezTo>
                <a:cubicBezTo>
                  <a:pt x="1600542" y="487393"/>
                  <a:pt x="1623752" y="487393"/>
                  <a:pt x="1646961" y="495130"/>
                </a:cubicBezTo>
                <a:cubicBezTo>
                  <a:pt x="1654698" y="498998"/>
                  <a:pt x="1660499" y="495130"/>
                  <a:pt x="1666302" y="491262"/>
                </a:cubicBezTo>
                <a:cubicBezTo>
                  <a:pt x="1674039" y="493197"/>
                  <a:pt x="1681775" y="497065"/>
                  <a:pt x="1691447" y="500933"/>
                </a:cubicBezTo>
                <a:cubicBezTo>
                  <a:pt x="1691447" y="502866"/>
                  <a:pt x="1691447" y="502866"/>
                  <a:pt x="1691447" y="502866"/>
                </a:cubicBezTo>
                <a:cubicBezTo>
                  <a:pt x="1712721" y="491262"/>
                  <a:pt x="1733996" y="479657"/>
                  <a:pt x="1755272" y="469987"/>
                </a:cubicBezTo>
                <a:cubicBezTo>
                  <a:pt x="1793952" y="452579"/>
                  <a:pt x="1832635" y="435173"/>
                  <a:pt x="1871317" y="417767"/>
                </a:cubicBezTo>
                <a:cubicBezTo>
                  <a:pt x="1879054" y="413899"/>
                  <a:pt x="1886790" y="411964"/>
                  <a:pt x="1894527" y="410031"/>
                </a:cubicBezTo>
                <a:cubicBezTo>
                  <a:pt x="1898395" y="408095"/>
                  <a:pt x="1904196" y="410031"/>
                  <a:pt x="1904196" y="415832"/>
                </a:cubicBezTo>
                <a:cubicBezTo>
                  <a:pt x="1890659" y="421635"/>
                  <a:pt x="1875186" y="429370"/>
                  <a:pt x="1861646" y="437108"/>
                </a:cubicBezTo>
                <a:cubicBezTo>
                  <a:pt x="1848108" y="444845"/>
                  <a:pt x="1832635" y="452579"/>
                  <a:pt x="1819097" y="460316"/>
                </a:cubicBezTo>
                <a:cubicBezTo>
                  <a:pt x="1805557" y="468052"/>
                  <a:pt x="1790084" y="475789"/>
                  <a:pt x="1776546" y="483525"/>
                </a:cubicBezTo>
                <a:cubicBezTo>
                  <a:pt x="1782350" y="487393"/>
                  <a:pt x="1788151" y="485460"/>
                  <a:pt x="1792019" y="483525"/>
                </a:cubicBezTo>
                <a:cubicBezTo>
                  <a:pt x="1813294" y="471920"/>
                  <a:pt x="1834568" y="462251"/>
                  <a:pt x="1855844" y="450646"/>
                </a:cubicBezTo>
                <a:cubicBezTo>
                  <a:pt x="1890659" y="433240"/>
                  <a:pt x="1927406" y="419700"/>
                  <a:pt x="1964153" y="411964"/>
                </a:cubicBezTo>
                <a:cubicBezTo>
                  <a:pt x="1969957" y="410031"/>
                  <a:pt x="1975760" y="408095"/>
                  <a:pt x="1979626" y="410031"/>
                </a:cubicBezTo>
                <a:cubicBezTo>
                  <a:pt x="1983494" y="411964"/>
                  <a:pt x="1989298" y="413899"/>
                  <a:pt x="1993166" y="417767"/>
                </a:cubicBezTo>
                <a:cubicBezTo>
                  <a:pt x="1997035" y="421635"/>
                  <a:pt x="2004771" y="423568"/>
                  <a:pt x="2004771" y="431305"/>
                </a:cubicBezTo>
                <a:cubicBezTo>
                  <a:pt x="2004771" y="437108"/>
                  <a:pt x="2002836" y="440974"/>
                  <a:pt x="2002836" y="446778"/>
                </a:cubicBezTo>
                <a:cubicBezTo>
                  <a:pt x="2012508" y="442910"/>
                  <a:pt x="2020244" y="433240"/>
                  <a:pt x="2035717" y="433240"/>
                </a:cubicBezTo>
                <a:cubicBezTo>
                  <a:pt x="2004771" y="458383"/>
                  <a:pt x="1973825" y="471920"/>
                  <a:pt x="1944812" y="493197"/>
                </a:cubicBezTo>
                <a:cubicBezTo>
                  <a:pt x="1948680" y="497065"/>
                  <a:pt x="1952551" y="500933"/>
                  <a:pt x="1956419" y="504802"/>
                </a:cubicBezTo>
                <a:cubicBezTo>
                  <a:pt x="1958352" y="506735"/>
                  <a:pt x="1960285" y="506735"/>
                  <a:pt x="1962220" y="506735"/>
                </a:cubicBezTo>
                <a:cubicBezTo>
                  <a:pt x="1968021" y="506735"/>
                  <a:pt x="1975760" y="504802"/>
                  <a:pt x="1981562" y="502866"/>
                </a:cubicBezTo>
                <a:cubicBezTo>
                  <a:pt x="2014440" y="493197"/>
                  <a:pt x="2045387" y="483525"/>
                  <a:pt x="2078265" y="475789"/>
                </a:cubicBezTo>
                <a:cubicBezTo>
                  <a:pt x="2089870" y="471920"/>
                  <a:pt x="2103410" y="471920"/>
                  <a:pt x="2116948" y="469987"/>
                </a:cubicBezTo>
                <a:cubicBezTo>
                  <a:pt x="2120816" y="469987"/>
                  <a:pt x="2124685" y="471920"/>
                  <a:pt x="2132421" y="475789"/>
                </a:cubicBezTo>
                <a:cubicBezTo>
                  <a:pt x="2124685" y="479657"/>
                  <a:pt x="2118881" y="481592"/>
                  <a:pt x="2115013" y="483525"/>
                </a:cubicBezTo>
                <a:cubicBezTo>
                  <a:pt x="2062795" y="497065"/>
                  <a:pt x="2008637" y="512538"/>
                  <a:pt x="1954484" y="526076"/>
                </a:cubicBezTo>
                <a:cubicBezTo>
                  <a:pt x="1954484" y="526076"/>
                  <a:pt x="1952551" y="528009"/>
                  <a:pt x="1952551" y="528009"/>
                </a:cubicBezTo>
                <a:cubicBezTo>
                  <a:pt x="1954484" y="528009"/>
                  <a:pt x="1956419" y="528009"/>
                  <a:pt x="1956419" y="533812"/>
                </a:cubicBezTo>
                <a:cubicBezTo>
                  <a:pt x="1944812" y="537681"/>
                  <a:pt x="1935142" y="539614"/>
                  <a:pt x="1923538" y="543484"/>
                </a:cubicBezTo>
                <a:cubicBezTo>
                  <a:pt x="1927406" y="543484"/>
                  <a:pt x="1929341" y="545417"/>
                  <a:pt x="1933210" y="547350"/>
                </a:cubicBezTo>
                <a:cubicBezTo>
                  <a:pt x="1906132" y="557022"/>
                  <a:pt x="1882922" y="570560"/>
                  <a:pt x="1855844" y="574428"/>
                </a:cubicBezTo>
                <a:cubicBezTo>
                  <a:pt x="1867449" y="560890"/>
                  <a:pt x="1884855" y="555087"/>
                  <a:pt x="1900328" y="549285"/>
                </a:cubicBezTo>
                <a:cubicBezTo>
                  <a:pt x="1898395" y="551218"/>
                  <a:pt x="1894527" y="551218"/>
                  <a:pt x="1890659" y="553154"/>
                </a:cubicBezTo>
                <a:cubicBezTo>
                  <a:pt x="1875186" y="557022"/>
                  <a:pt x="1861646" y="562823"/>
                  <a:pt x="1848108" y="570560"/>
                </a:cubicBezTo>
                <a:cubicBezTo>
                  <a:pt x="1836503" y="576363"/>
                  <a:pt x="1824898" y="584100"/>
                  <a:pt x="1813294" y="587968"/>
                </a:cubicBezTo>
                <a:lnTo>
                  <a:pt x="1816673" y="606553"/>
                </a:lnTo>
                <a:lnTo>
                  <a:pt x="1807492" y="613111"/>
                </a:lnTo>
                <a:cubicBezTo>
                  <a:pt x="1799756" y="618914"/>
                  <a:pt x="1790084" y="626651"/>
                  <a:pt x="1780415" y="630519"/>
                </a:cubicBezTo>
                <a:cubicBezTo>
                  <a:pt x="1763009" y="638253"/>
                  <a:pt x="1747533" y="647925"/>
                  <a:pt x="1733996" y="655661"/>
                </a:cubicBezTo>
                <a:cubicBezTo>
                  <a:pt x="1735931" y="657594"/>
                  <a:pt x="1737864" y="661463"/>
                  <a:pt x="1737864" y="665331"/>
                </a:cubicBezTo>
                <a:cubicBezTo>
                  <a:pt x="1763009" y="653726"/>
                  <a:pt x="1786216" y="642121"/>
                  <a:pt x="1811361" y="632452"/>
                </a:cubicBezTo>
                <a:cubicBezTo>
                  <a:pt x="1813294" y="632452"/>
                  <a:pt x="1813294" y="630519"/>
                  <a:pt x="1815229" y="630519"/>
                </a:cubicBezTo>
                <a:cubicBezTo>
                  <a:pt x="1817163" y="626649"/>
                  <a:pt x="1818130" y="623264"/>
                  <a:pt x="1818855" y="619155"/>
                </a:cubicBezTo>
                <a:lnTo>
                  <a:pt x="1820451" y="607623"/>
                </a:lnTo>
                <a:lnTo>
                  <a:pt x="1864789" y="585791"/>
                </a:lnTo>
                <a:cubicBezTo>
                  <a:pt x="1880988" y="579264"/>
                  <a:pt x="1897428" y="573461"/>
                  <a:pt x="1913868" y="566691"/>
                </a:cubicBezTo>
                <a:cubicBezTo>
                  <a:pt x="1917736" y="564758"/>
                  <a:pt x="1923538" y="564758"/>
                  <a:pt x="1927406" y="560890"/>
                </a:cubicBezTo>
                <a:cubicBezTo>
                  <a:pt x="1944812" y="549285"/>
                  <a:pt x="1962220" y="543484"/>
                  <a:pt x="1981562" y="539614"/>
                </a:cubicBezTo>
                <a:cubicBezTo>
                  <a:pt x="1998967" y="535745"/>
                  <a:pt x="2018309" y="531879"/>
                  <a:pt x="2037650" y="526076"/>
                </a:cubicBezTo>
                <a:cubicBezTo>
                  <a:pt x="2051188" y="522208"/>
                  <a:pt x="2064728" y="518339"/>
                  <a:pt x="2076333" y="514471"/>
                </a:cubicBezTo>
                <a:cubicBezTo>
                  <a:pt x="2089870" y="510603"/>
                  <a:pt x="2103410" y="506735"/>
                  <a:pt x="2116948" y="506735"/>
                </a:cubicBezTo>
                <a:cubicBezTo>
                  <a:pt x="2120816" y="512538"/>
                  <a:pt x="2120816" y="516406"/>
                  <a:pt x="2116948" y="518339"/>
                </a:cubicBezTo>
                <a:cubicBezTo>
                  <a:pt x="2122752" y="520275"/>
                  <a:pt x="2126620" y="522208"/>
                  <a:pt x="2132421" y="522208"/>
                </a:cubicBezTo>
                <a:cubicBezTo>
                  <a:pt x="2138223" y="522208"/>
                  <a:pt x="2145959" y="518339"/>
                  <a:pt x="2153695" y="516406"/>
                </a:cubicBezTo>
                <a:cubicBezTo>
                  <a:pt x="2157564" y="518339"/>
                  <a:pt x="2163367" y="520275"/>
                  <a:pt x="2171104" y="524143"/>
                </a:cubicBezTo>
                <a:cubicBezTo>
                  <a:pt x="2167236" y="529944"/>
                  <a:pt x="2165300" y="531879"/>
                  <a:pt x="2161432" y="533812"/>
                </a:cubicBezTo>
                <a:cubicBezTo>
                  <a:pt x="2128553" y="549285"/>
                  <a:pt x="2095671" y="562823"/>
                  <a:pt x="2062795" y="578296"/>
                </a:cubicBezTo>
                <a:cubicBezTo>
                  <a:pt x="2055056" y="582164"/>
                  <a:pt x="2047319" y="589901"/>
                  <a:pt x="2037650" y="593769"/>
                </a:cubicBezTo>
                <a:cubicBezTo>
                  <a:pt x="2035717" y="595705"/>
                  <a:pt x="2031846" y="595705"/>
                  <a:pt x="2029913" y="597637"/>
                </a:cubicBezTo>
                <a:cubicBezTo>
                  <a:pt x="2035717" y="599573"/>
                  <a:pt x="2039585" y="599573"/>
                  <a:pt x="2045387" y="597637"/>
                </a:cubicBezTo>
                <a:cubicBezTo>
                  <a:pt x="2049255" y="595705"/>
                  <a:pt x="2053123" y="595705"/>
                  <a:pt x="2056991" y="595705"/>
                </a:cubicBezTo>
                <a:cubicBezTo>
                  <a:pt x="2066661" y="595705"/>
                  <a:pt x="2070529" y="601506"/>
                  <a:pt x="2066661" y="611178"/>
                </a:cubicBezTo>
                <a:cubicBezTo>
                  <a:pt x="2064728" y="613111"/>
                  <a:pt x="2062795" y="615046"/>
                  <a:pt x="2060860" y="616979"/>
                </a:cubicBezTo>
                <a:cubicBezTo>
                  <a:pt x="2060860" y="616979"/>
                  <a:pt x="2060860" y="618914"/>
                  <a:pt x="2060860" y="620847"/>
                </a:cubicBezTo>
                <a:cubicBezTo>
                  <a:pt x="2062795" y="618914"/>
                  <a:pt x="2066661" y="618914"/>
                  <a:pt x="2068596" y="616979"/>
                </a:cubicBezTo>
                <a:cubicBezTo>
                  <a:pt x="2068596" y="615046"/>
                  <a:pt x="2070529" y="611178"/>
                  <a:pt x="2072464" y="609242"/>
                </a:cubicBezTo>
                <a:cubicBezTo>
                  <a:pt x="2074397" y="605374"/>
                  <a:pt x="2082134" y="603441"/>
                  <a:pt x="2084069" y="607309"/>
                </a:cubicBezTo>
                <a:cubicBezTo>
                  <a:pt x="2087937" y="607309"/>
                  <a:pt x="2089870" y="605374"/>
                  <a:pt x="2093739" y="605374"/>
                </a:cubicBezTo>
                <a:cubicBezTo>
                  <a:pt x="2101475" y="603441"/>
                  <a:pt x="2111147" y="601506"/>
                  <a:pt x="2118881" y="597637"/>
                </a:cubicBezTo>
                <a:cubicBezTo>
                  <a:pt x="2149829" y="584100"/>
                  <a:pt x="2180773" y="570560"/>
                  <a:pt x="2211719" y="560890"/>
                </a:cubicBezTo>
                <a:cubicBezTo>
                  <a:pt x="2217523" y="558955"/>
                  <a:pt x="2223324" y="555087"/>
                  <a:pt x="2229125" y="551218"/>
                </a:cubicBezTo>
                <a:cubicBezTo>
                  <a:pt x="2242665" y="541549"/>
                  <a:pt x="2256203" y="531879"/>
                  <a:pt x="2269743" y="524143"/>
                </a:cubicBezTo>
                <a:cubicBezTo>
                  <a:pt x="2273611" y="520275"/>
                  <a:pt x="2281348" y="520275"/>
                  <a:pt x="2287149" y="520275"/>
                </a:cubicBezTo>
                <a:cubicBezTo>
                  <a:pt x="2289082" y="520275"/>
                  <a:pt x="2291017" y="522208"/>
                  <a:pt x="2291017" y="524143"/>
                </a:cubicBezTo>
                <a:cubicBezTo>
                  <a:pt x="2291017" y="526076"/>
                  <a:pt x="2291017" y="528009"/>
                  <a:pt x="2289082" y="529944"/>
                </a:cubicBezTo>
                <a:cubicBezTo>
                  <a:pt x="2283281" y="535745"/>
                  <a:pt x="2271676" y="533812"/>
                  <a:pt x="2271676" y="545417"/>
                </a:cubicBezTo>
                <a:cubicBezTo>
                  <a:pt x="2275544" y="553154"/>
                  <a:pt x="2281348" y="551218"/>
                  <a:pt x="2285216" y="549285"/>
                </a:cubicBezTo>
                <a:cubicBezTo>
                  <a:pt x="2308423" y="541549"/>
                  <a:pt x="2333568" y="535745"/>
                  <a:pt x="2358710" y="533812"/>
                </a:cubicBezTo>
                <a:cubicBezTo>
                  <a:pt x="2335501" y="541549"/>
                  <a:pt x="2314227" y="549285"/>
                  <a:pt x="2291017" y="557022"/>
                </a:cubicBezTo>
                <a:cubicBezTo>
                  <a:pt x="2281348" y="560890"/>
                  <a:pt x="2269743" y="562823"/>
                  <a:pt x="2262007" y="568627"/>
                </a:cubicBezTo>
                <a:cubicBezTo>
                  <a:pt x="2252335" y="574428"/>
                  <a:pt x="2242665" y="580232"/>
                  <a:pt x="2231061" y="582164"/>
                </a:cubicBezTo>
                <a:cubicBezTo>
                  <a:pt x="2223324" y="584100"/>
                  <a:pt x="2219456" y="589901"/>
                  <a:pt x="2209786" y="595705"/>
                </a:cubicBezTo>
                <a:cubicBezTo>
                  <a:pt x="2215587" y="597637"/>
                  <a:pt x="2219456" y="597637"/>
                  <a:pt x="2221389" y="597637"/>
                </a:cubicBezTo>
                <a:cubicBezTo>
                  <a:pt x="2236864" y="597637"/>
                  <a:pt x="2252335" y="584100"/>
                  <a:pt x="2269743" y="595705"/>
                </a:cubicBezTo>
                <a:cubicBezTo>
                  <a:pt x="2283281" y="591836"/>
                  <a:pt x="2296821" y="586033"/>
                  <a:pt x="2310359" y="582164"/>
                </a:cubicBezTo>
                <a:cubicBezTo>
                  <a:pt x="2349041" y="570560"/>
                  <a:pt x="2385788" y="558955"/>
                  <a:pt x="2424471" y="547350"/>
                </a:cubicBezTo>
                <a:cubicBezTo>
                  <a:pt x="2432207" y="545417"/>
                  <a:pt x="2439944" y="545417"/>
                  <a:pt x="2449613" y="543484"/>
                </a:cubicBezTo>
                <a:cubicBezTo>
                  <a:pt x="2447680" y="545417"/>
                  <a:pt x="2447680" y="549285"/>
                  <a:pt x="2445745" y="549285"/>
                </a:cubicBezTo>
                <a:cubicBezTo>
                  <a:pt x="2420602" y="562823"/>
                  <a:pt x="2399326" y="580232"/>
                  <a:pt x="2374184" y="589901"/>
                </a:cubicBezTo>
                <a:cubicBezTo>
                  <a:pt x="2356778" y="595705"/>
                  <a:pt x="2339369" y="603441"/>
                  <a:pt x="2321963" y="609242"/>
                </a:cubicBezTo>
                <a:cubicBezTo>
                  <a:pt x="2279413" y="622780"/>
                  <a:pt x="2238797" y="640188"/>
                  <a:pt x="2196246" y="649858"/>
                </a:cubicBezTo>
                <a:cubicBezTo>
                  <a:pt x="2165300" y="657594"/>
                  <a:pt x="2136290" y="675003"/>
                  <a:pt x="2107279" y="684672"/>
                </a:cubicBezTo>
                <a:cubicBezTo>
                  <a:pt x="2109212" y="686607"/>
                  <a:pt x="2109212" y="690476"/>
                  <a:pt x="2109212" y="692409"/>
                </a:cubicBezTo>
                <a:lnTo>
                  <a:pt x="2120816" y="692409"/>
                </a:lnTo>
                <a:cubicBezTo>
                  <a:pt x="2118881" y="692409"/>
                  <a:pt x="2115013" y="692409"/>
                  <a:pt x="2113080" y="696277"/>
                </a:cubicBezTo>
                <a:cubicBezTo>
                  <a:pt x="2113080" y="698212"/>
                  <a:pt x="2115013" y="698212"/>
                  <a:pt x="2115013" y="700145"/>
                </a:cubicBezTo>
                <a:cubicBezTo>
                  <a:pt x="2116948" y="698212"/>
                  <a:pt x="2120816" y="698212"/>
                  <a:pt x="2122752" y="698212"/>
                </a:cubicBezTo>
                <a:cubicBezTo>
                  <a:pt x="2122752" y="696277"/>
                  <a:pt x="2122752" y="694344"/>
                  <a:pt x="2120816" y="692409"/>
                </a:cubicBezTo>
                <a:lnTo>
                  <a:pt x="2126620" y="692409"/>
                </a:lnTo>
                <a:cubicBezTo>
                  <a:pt x="2128553" y="692409"/>
                  <a:pt x="2128553" y="692409"/>
                  <a:pt x="2130488" y="694344"/>
                </a:cubicBezTo>
                <a:cubicBezTo>
                  <a:pt x="2127587" y="696278"/>
                  <a:pt x="2125169" y="698212"/>
                  <a:pt x="2123476" y="700871"/>
                </a:cubicBezTo>
                <a:lnTo>
                  <a:pt x="2122235" y="705949"/>
                </a:lnTo>
                <a:lnTo>
                  <a:pt x="2120816" y="705949"/>
                </a:lnTo>
                <a:lnTo>
                  <a:pt x="2121769" y="707852"/>
                </a:lnTo>
                <a:lnTo>
                  <a:pt x="2120816" y="711750"/>
                </a:lnTo>
                <a:cubicBezTo>
                  <a:pt x="2116948" y="709815"/>
                  <a:pt x="2111147" y="707882"/>
                  <a:pt x="2105343" y="704013"/>
                </a:cubicBezTo>
                <a:cubicBezTo>
                  <a:pt x="2103410" y="704013"/>
                  <a:pt x="2101475" y="705949"/>
                  <a:pt x="2099542" y="705949"/>
                </a:cubicBezTo>
                <a:cubicBezTo>
                  <a:pt x="2097607" y="709815"/>
                  <a:pt x="2097607" y="713685"/>
                  <a:pt x="2095671" y="717553"/>
                </a:cubicBezTo>
                <a:cubicBezTo>
                  <a:pt x="2087937" y="717553"/>
                  <a:pt x="2082134" y="717553"/>
                  <a:pt x="2078265" y="723355"/>
                </a:cubicBezTo>
                <a:cubicBezTo>
                  <a:pt x="2076333" y="727223"/>
                  <a:pt x="2072464" y="727223"/>
                  <a:pt x="2070529" y="725290"/>
                </a:cubicBezTo>
                <a:cubicBezTo>
                  <a:pt x="2070529" y="719486"/>
                  <a:pt x="2072464" y="711750"/>
                  <a:pt x="2072464" y="704013"/>
                </a:cubicBezTo>
                <a:cubicBezTo>
                  <a:pt x="2060860" y="707882"/>
                  <a:pt x="2051188" y="711750"/>
                  <a:pt x="2045387" y="721419"/>
                </a:cubicBezTo>
                <a:cubicBezTo>
                  <a:pt x="2049255" y="719486"/>
                  <a:pt x="2055056" y="715618"/>
                  <a:pt x="2058924" y="713685"/>
                </a:cubicBezTo>
                <a:cubicBezTo>
                  <a:pt x="2056991" y="725290"/>
                  <a:pt x="2053123" y="731091"/>
                  <a:pt x="2039585" y="729156"/>
                </a:cubicBezTo>
                <a:cubicBezTo>
                  <a:pt x="2033782" y="738828"/>
                  <a:pt x="2024112" y="748497"/>
                  <a:pt x="2014440" y="758169"/>
                </a:cubicBezTo>
                <a:cubicBezTo>
                  <a:pt x="2031846" y="752365"/>
                  <a:pt x="2049255" y="746564"/>
                  <a:pt x="2066661" y="740761"/>
                </a:cubicBezTo>
                <a:cubicBezTo>
                  <a:pt x="2064728" y="742696"/>
                  <a:pt x="2062795" y="746564"/>
                  <a:pt x="2058924" y="748497"/>
                </a:cubicBezTo>
                <a:cubicBezTo>
                  <a:pt x="2043454" y="756234"/>
                  <a:pt x="2026045" y="762037"/>
                  <a:pt x="2008637" y="769774"/>
                </a:cubicBezTo>
                <a:cubicBezTo>
                  <a:pt x="2002836" y="773642"/>
                  <a:pt x="1997035" y="775575"/>
                  <a:pt x="1989298" y="779443"/>
                </a:cubicBezTo>
                <a:cubicBezTo>
                  <a:pt x="1991231" y="783311"/>
                  <a:pt x="1995099" y="785247"/>
                  <a:pt x="1997035" y="789115"/>
                </a:cubicBezTo>
                <a:cubicBezTo>
                  <a:pt x="2000903" y="787180"/>
                  <a:pt x="2006704" y="787180"/>
                  <a:pt x="2010572" y="785247"/>
                </a:cubicBezTo>
                <a:cubicBezTo>
                  <a:pt x="2012508" y="783311"/>
                  <a:pt x="2016376" y="781378"/>
                  <a:pt x="2018309" y="779443"/>
                </a:cubicBezTo>
                <a:cubicBezTo>
                  <a:pt x="2029913" y="769774"/>
                  <a:pt x="2045387" y="769774"/>
                  <a:pt x="2058924" y="771707"/>
                </a:cubicBezTo>
                <a:cubicBezTo>
                  <a:pt x="2144026" y="750432"/>
                  <a:pt x="2231061" y="733024"/>
                  <a:pt x="2314227" y="704013"/>
                </a:cubicBezTo>
                <a:cubicBezTo>
                  <a:pt x="2318095" y="702080"/>
                  <a:pt x="2323898" y="702080"/>
                  <a:pt x="2329700" y="702080"/>
                </a:cubicBezTo>
                <a:cubicBezTo>
                  <a:pt x="2331633" y="702080"/>
                  <a:pt x="2331633" y="700145"/>
                  <a:pt x="2331633" y="700145"/>
                </a:cubicBezTo>
                <a:cubicBezTo>
                  <a:pt x="2333568" y="698212"/>
                  <a:pt x="2335501" y="696277"/>
                  <a:pt x="2337436" y="696277"/>
                </a:cubicBezTo>
                <a:cubicBezTo>
                  <a:pt x="2347106" y="696277"/>
                  <a:pt x="2352909" y="690476"/>
                  <a:pt x="2360646" y="686607"/>
                </a:cubicBezTo>
                <a:cubicBezTo>
                  <a:pt x="2360646" y="686607"/>
                  <a:pt x="2362579" y="684672"/>
                  <a:pt x="2362579" y="682739"/>
                </a:cubicBezTo>
                <a:cubicBezTo>
                  <a:pt x="2364514" y="678871"/>
                  <a:pt x="2366447" y="678871"/>
                  <a:pt x="2370315" y="678871"/>
                </a:cubicBezTo>
                <a:cubicBezTo>
                  <a:pt x="2374184" y="678871"/>
                  <a:pt x="2376117" y="678871"/>
                  <a:pt x="2378052" y="675003"/>
                </a:cubicBezTo>
                <a:cubicBezTo>
                  <a:pt x="2378052" y="673067"/>
                  <a:pt x="2379987" y="671134"/>
                  <a:pt x="2381920" y="669199"/>
                </a:cubicBezTo>
                <a:cubicBezTo>
                  <a:pt x="2387723" y="665331"/>
                  <a:pt x="2393525" y="661463"/>
                  <a:pt x="2399326" y="657594"/>
                </a:cubicBezTo>
                <a:cubicBezTo>
                  <a:pt x="2403194" y="653726"/>
                  <a:pt x="2407065" y="653726"/>
                  <a:pt x="2410933" y="653726"/>
                </a:cubicBezTo>
                <a:cubicBezTo>
                  <a:pt x="2414799" y="653726"/>
                  <a:pt x="2416734" y="651793"/>
                  <a:pt x="2420602" y="651793"/>
                </a:cubicBezTo>
                <a:cubicBezTo>
                  <a:pt x="2424471" y="651793"/>
                  <a:pt x="2426404" y="647925"/>
                  <a:pt x="2428339" y="644057"/>
                </a:cubicBezTo>
                <a:cubicBezTo>
                  <a:pt x="2430274" y="644057"/>
                  <a:pt x="2430274" y="642121"/>
                  <a:pt x="2430274" y="640188"/>
                </a:cubicBezTo>
                <a:cubicBezTo>
                  <a:pt x="2432207" y="636320"/>
                  <a:pt x="2434140" y="634385"/>
                  <a:pt x="2438008" y="634385"/>
                </a:cubicBezTo>
                <a:cubicBezTo>
                  <a:pt x="2439944" y="634385"/>
                  <a:pt x="2443812" y="634385"/>
                  <a:pt x="2445745" y="630519"/>
                </a:cubicBezTo>
                <a:cubicBezTo>
                  <a:pt x="2447680" y="626651"/>
                  <a:pt x="2449613" y="622780"/>
                  <a:pt x="2453481" y="620847"/>
                </a:cubicBezTo>
                <a:cubicBezTo>
                  <a:pt x="2474758" y="609242"/>
                  <a:pt x="2496032" y="595705"/>
                  <a:pt x="2517309" y="582164"/>
                </a:cubicBezTo>
                <a:cubicBezTo>
                  <a:pt x="2521175" y="580232"/>
                  <a:pt x="2525043" y="578296"/>
                  <a:pt x="2530847" y="580232"/>
                </a:cubicBezTo>
                <a:cubicBezTo>
                  <a:pt x="2534715" y="582164"/>
                  <a:pt x="2538583" y="580232"/>
                  <a:pt x="2542451" y="578296"/>
                </a:cubicBezTo>
                <a:cubicBezTo>
                  <a:pt x="2550185" y="574428"/>
                  <a:pt x="2557924" y="568627"/>
                  <a:pt x="2565661" y="564758"/>
                </a:cubicBezTo>
                <a:cubicBezTo>
                  <a:pt x="2569527" y="562823"/>
                  <a:pt x="2571462" y="562823"/>
                  <a:pt x="2575330" y="562823"/>
                </a:cubicBezTo>
                <a:cubicBezTo>
                  <a:pt x="2583067" y="560890"/>
                  <a:pt x="2590803" y="557022"/>
                  <a:pt x="2594672" y="549285"/>
                </a:cubicBezTo>
                <a:cubicBezTo>
                  <a:pt x="2596605" y="549285"/>
                  <a:pt x="2596605" y="547350"/>
                  <a:pt x="2598540" y="547350"/>
                </a:cubicBezTo>
                <a:cubicBezTo>
                  <a:pt x="2602408" y="547350"/>
                  <a:pt x="2604343" y="547350"/>
                  <a:pt x="2606276" y="545417"/>
                </a:cubicBezTo>
                <a:cubicBezTo>
                  <a:pt x="2621749" y="535745"/>
                  <a:pt x="2637220" y="526076"/>
                  <a:pt x="2652695" y="516406"/>
                </a:cubicBezTo>
                <a:cubicBezTo>
                  <a:pt x="2666233" y="506735"/>
                  <a:pt x="2679771" y="498998"/>
                  <a:pt x="2693311" y="491262"/>
                </a:cubicBezTo>
                <a:cubicBezTo>
                  <a:pt x="2697179" y="489329"/>
                  <a:pt x="2699112" y="489329"/>
                  <a:pt x="2701047" y="489329"/>
                </a:cubicBezTo>
                <a:cubicBezTo>
                  <a:pt x="2702980" y="489329"/>
                  <a:pt x="2704916" y="489329"/>
                  <a:pt x="2704916" y="487393"/>
                </a:cubicBezTo>
                <a:cubicBezTo>
                  <a:pt x="2704916" y="483525"/>
                  <a:pt x="2706849" y="481592"/>
                  <a:pt x="2708784" y="481592"/>
                </a:cubicBezTo>
                <a:cubicBezTo>
                  <a:pt x="2714585" y="481592"/>
                  <a:pt x="2718453" y="479657"/>
                  <a:pt x="2724257" y="475789"/>
                </a:cubicBezTo>
                <a:cubicBezTo>
                  <a:pt x="2731993" y="469987"/>
                  <a:pt x="2741663" y="464184"/>
                  <a:pt x="2751335" y="458383"/>
                </a:cubicBezTo>
                <a:cubicBezTo>
                  <a:pt x="2755203" y="454514"/>
                  <a:pt x="2759071" y="454514"/>
                  <a:pt x="2762937" y="454514"/>
                </a:cubicBezTo>
                <a:cubicBezTo>
                  <a:pt x="2766805" y="454514"/>
                  <a:pt x="2770674" y="452579"/>
                  <a:pt x="2772609" y="448711"/>
                </a:cubicBezTo>
                <a:cubicBezTo>
                  <a:pt x="2774544" y="444845"/>
                  <a:pt x="2780345" y="440974"/>
                  <a:pt x="2786147" y="440974"/>
                </a:cubicBezTo>
                <a:cubicBezTo>
                  <a:pt x="2790015" y="440974"/>
                  <a:pt x="2793883" y="439041"/>
                  <a:pt x="2795818" y="435173"/>
                </a:cubicBezTo>
                <a:cubicBezTo>
                  <a:pt x="2797754" y="431305"/>
                  <a:pt x="2801620" y="427437"/>
                  <a:pt x="2805488" y="425504"/>
                </a:cubicBezTo>
                <a:cubicBezTo>
                  <a:pt x="2809356" y="423568"/>
                  <a:pt x="2811291" y="419700"/>
                  <a:pt x="2815160" y="417767"/>
                </a:cubicBezTo>
                <a:cubicBezTo>
                  <a:pt x="2822896" y="410031"/>
                  <a:pt x="2832566" y="410031"/>
                  <a:pt x="2842237" y="413899"/>
                </a:cubicBezTo>
                <a:cubicBezTo>
                  <a:pt x="2842237" y="413899"/>
                  <a:pt x="2844170" y="415832"/>
                  <a:pt x="2844170" y="417767"/>
                </a:cubicBezTo>
                <a:cubicBezTo>
                  <a:pt x="2844170" y="417767"/>
                  <a:pt x="2844170" y="421635"/>
                  <a:pt x="2842237" y="421635"/>
                </a:cubicBezTo>
                <a:cubicBezTo>
                  <a:pt x="2840302" y="423568"/>
                  <a:pt x="2838369" y="423568"/>
                  <a:pt x="2836434" y="425504"/>
                </a:cubicBezTo>
                <a:cubicBezTo>
                  <a:pt x="2830630" y="429370"/>
                  <a:pt x="2824829" y="433240"/>
                  <a:pt x="2819028" y="437108"/>
                </a:cubicBezTo>
                <a:cubicBezTo>
                  <a:pt x="2817093" y="437108"/>
                  <a:pt x="2817093" y="439041"/>
                  <a:pt x="2817093" y="439041"/>
                </a:cubicBezTo>
                <a:cubicBezTo>
                  <a:pt x="2819028" y="439041"/>
                  <a:pt x="2819028" y="440974"/>
                  <a:pt x="2820961" y="440974"/>
                </a:cubicBezTo>
                <a:cubicBezTo>
                  <a:pt x="2824829" y="442910"/>
                  <a:pt x="2826764" y="442910"/>
                  <a:pt x="2830630" y="440974"/>
                </a:cubicBezTo>
                <a:cubicBezTo>
                  <a:pt x="2838369" y="437108"/>
                  <a:pt x="2846106" y="431305"/>
                  <a:pt x="2853840" y="427437"/>
                </a:cubicBezTo>
                <a:cubicBezTo>
                  <a:pt x="2857708" y="425504"/>
                  <a:pt x="2859643" y="425504"/>
                  <a:pt x="2861579" y="425504"/>
                </a:cubicBezTo>
                <a:cubicBezTo>
                  <a:pt x="2867380" y="425504"/>
                  <a:pt x="2871248" y="421635"/>
                  <a:pt x="2873181" y="417767"/>
                </a:cubicBezTo>
                <a:cubicBezTo>
                  <a:pt x="2873181" y="415832"/>
                  <a:pt x="2875116" y="413899"/>
                  <a:pt x="2877049" y="411964"/>
                </a:cubicBezTo>
                <a:cubicBezTo>
                  <a:pt x="2880918" y="411964"/>
                  <a:pt x="2882853" y="410031"/>
                  <a:pt x="2884788" y="410031"/>
                </a:cubicBezTo>
                <a:cubicBezTo>
                  <a:pt x="2894458" y="411964"/>
                  <a:pt x="2904127" y="413899"/>
                  <a:pt x="2913799" y="415832"/>
                </a:cubicBezTo>
                <a:cubicBezTo>
                  <a:pt x="2917665" y="417767"/>
                  <a:pt x="2919600" y="415832"/>
                  <a:pt x="2921536" y="411964"/>
                </a:cubicBezTo>
                <a:cubicBezTo>
                  <a:pt x="2923468" y="410031"/>
                  <a:pt x="2923468" y="408095"/>
                  <a:pt x="2925404" y="408095"/>
                </a:cubicBezTo>
                <a:cubicBezTo>
                  <a:pt x="2929272" y="408095"/>
                  <a:pt x="2931205" y="408095"/>
                  <a:pt x="2935073" y="406162"/>
                </a:cubicBezTo>
                <a:cubicBezTo>
                  <a:pt x="2940874" y="402294"/>
                  <a:pt x="2946678" y="400359"/>
                  <a:pt x="2952482" y="396491"/>
                </a:cubicBezTo>
                <a:cubicBezTo>
                  <a:pt x="2958283" y="394558"/>
                  <a:pt x="2962151" y="388754"/>
                  <a:pt x="2969888" y="390689"/>
                </a:cubicBezTo>
                <a:cubicBezTo>
                  <a:pt x="2969888" y="390689"/>
                  <a:pt x="2971823" y="390689"/>
                  <a:pt x="2971823" y="390689"/>
                </a:cubicBezTo>
                <a:cubicBezTo>
                  <a:pt x="2977624" y="386821"/>
                  <a:pt x="2985361" y="384886"/>
                  <a:pt x="2989229" y="377149"/>
                </a:cubicBezTo>
                <a:cubicBezTo>
                  <a:pt x="2989229" y="375216"/>
                  <a:pt x="2991162" y="375216"/>
                  <a:pt x="2993097" y="375216"/>
                </a:cubicBezTo>
                <a:cubicBezTo>
                  <a:pt x="2996965" y="375216"/>
                  <a:pt x="2998898" y="375216"/>
                  <a:pt x="3000834" y="373281"/>
                </a:cubicBezTo>
                <a:cubicBezTo>
                  <a:pt x="3008570" y="369415"/>
                  <a:pt x="3016307" y="363612"/>
                  <a:pt x="3024041" y="359743"/>
                </a:cubicBezTo>
                <a:cubicBezTo>
                  <a:pt x="3025976" y="357810"/>
                  <a:pt x="3027909" y="355875"/>
                  <a:pt x="3029844" y="355875"/>
                </a:cubicBezTo>
                <a:cubicBezTo>
                  <a:pt x="3039516" y="357810"/>
                  <a:pt x="3047250" y="350074"/>
                  <a:pt x="3054987" y="346206"/>
                </a:cubicBezTo>
                <a:cubicBezTo>
                  <a:pt x="3058857" y="344270"/>
                  <a:pt x="3060790" y="344270"/>
                  <a:pt x="3062723" y="344270"/>
                </a:cubicBezTo>
                <a:cubicBezTo>
                  <a:pt x="3070460" y="342335"/>
                  <a:pt x="3078196" y="338469"/>
                  <a:pt x="3082065" y="330733"/>
                </a:cubicBezTo>
                <a:cubicBezTo>
                  <a:pt x="3084000" y="326864"/>
                  <a:pt x="3087868" y="324929"/>
                  <a:pt x="3091734" y="324929"/>
                </a:cubicBezTo>
                <a:cubicBezTo>
                  <a:pt x="3093669" y="324929"/>
                  <a:pt x="3095605" y="324929"/>
                  <a:pt x="3095605" y="322996"/>
                </a:cubicBezTo>
                <a:cubicBezTo>
                  <a:pt x="3097538" y="317192"/>
                  <a:pt x="3103341" y="315260"/>
                  <a:pt x="3109142" y="313324"/>
                </a:cubicBezTo>
                <a:cubicBezTo>
                  <a:pt x="3118814" y="313324"/>
                  <a:pt x="3124615" y="307523"/>
                  <a:pt x="3132352" y="303655"/>
                </a:cubicBezTo>
                <a:cubicBezTo>
                  <a:pt x="3134285" y="303655"/>
                  <a:pt x="3136220" y="301719"/>
                  <a:pt x="3138153" y="301719"/>
                </a:cubicBezTo>
                <a:cubicBezTo>
                  <a:pt x="3143957" y="303655"/>
                  <a:pt x="3147825" y="299786"/>
                  <a:pt x="3151693" y="297851"/>
                </a:cubicBezTo>
                <a:cubicBezTo>
                  <a:pt x="3169099" y="288182"/>
                  <a:pt x="3186507" y="276577"/>
                  <a:pt x="3203913" y="266905"/>
                </a:cubicBezTo>
                <a:cubicBezTo>
                  <a:pt x="3207782" y="264972"/>
                  <a:pt x="3211650" y="263039"/>
                  <a:pt x="3217451" y="263039"/>
                </a:cubicBezTo>
                <a:cubicBezTo>
                  <a:pt x="3221319" y="264972"/>
                  <a:pt x="3223255" y="263039"/>
                  <a:pt x="3225188" y="261104"/>
                </a:cubicBezTo>
                <a:cubicBezTo>
                  <a:pt x="3236792" y="253367"/>
                  <a:pt x="3250333" y="247566"/>
                  <a:pt x="3261937" y="239830"/>
                </a:cubicBezTo>
                <a:cubicBezTo>
                  <a:pt x="3263870" y="239830"/>
                  <a:pt x="3265806" y="237894"/>
                  <a:pt x="3267739" y="237894"/>
                </a:cubicBezTo>
                <a:cubicBezTo>
                  <a:pt x="3271607" y="239830"/>
                  <a:pt x="3273542" y="237894"/>
                  <a:pt x="3275475" y="234026"/>
                </a:cubicBezTo>
                <a:cubicBezTo>
                  <a:pt x="3275475" y="232093"/>
                  <a:pt x="3277410" y="230158"/>
                  <a:pt x="3279343" y="230158"/>
                </a:cubicBezTo>
                <a:cubicBezTo>
                  <a:pt x="3285144" y="230158"/>
                  <a:pt x="3289013" y="228225"/>
                  <a:pt x="3294816" y="224357"/>
                </a:cubicBezTo>
                <a:cubicBezTo>
                  <a:pt x="3306421" y="218553"/>
                  <a:pt x="3316093" y="212752"/>
                  <a:pt x="3325762" y="206948"/>
                </a:cubicBezTo>
                <a:cubicBezTo>
                  <a:pt x="3329631" y="205015"/>
                  <a:pt x="3331564" y="205015"/>
                  <a:pt x="3333499" y="205015"/>
                </a:cubicBezTo>
                <a:cubicBezTo>
                  <a:pt x="3341235" y="206948"/>
                  <a:pt x="3347037" y="206948"/>
                  <a:pt x="3352840" y="203080"/>
                </a:cubicBezTo>
                <a:cubicBezTo>
                  <a:pt x="3356708" y="203080"/>
                  <a:pt x="3362510" y="201147"/>
                  <a:pt x="3366378" y="199212"/>
                </a:cubicBezTo>
                <a:cubicBezTo>
                  <a:pt x="3372179" y="195343"/>
                  <a:pt x="3379918" y="191475"/>
                  <a:pt x="3385719" y="187607"/>
                </a:cubicBezTo>
                <a:cubicBezTo>
                  <a:pt x="3387654" y="185674"/>
                  <a:pt x="3391520" y="185674"/>
                  <a:pt x="3393456" y="185674"/>
                </a:cubicBezTo>
                <a:cubicBezTo>
                  <a:pt x="3397324" y="185674"/>
                  <a:pt x="3399257" y="185674"/>
                  <a:pt x="3401192" y="183739"/>
                </a:cubicBezTo>
                <a:cubicBezTo>
                  <a:pt x="3406996" y="181806"/>
                  <a:pt x="3410862" y="179871"/>
                  <a:pt x="3416665" y="176005"/>
                </a:cubicBezTo>
                <a:cubicBezTo>
                  <a:pt x="3420533" y="174069"/>
                  <a:pt x="3424402" y="172136"/>
                  <a:pt x="3428270" y="172136"/>
                </a:cubicBezTo>
                <a:cubicBezTo>
                  <a:pt x="3428270" y="172136"/>
                  <a:pt x="3430203" y="170201"/>
                  <a:pt x="3432138" y="170201"/>
                </a:cubicBezTo>
                <a:cubicBezTo>
                  <a:pt x="3437939" y="166333"/>
                  <a:pt x="3441808" y="162465"/>
                  <a:pt x="3447611" y="160532"/>
                </a:cubicBezTo>
                <a:cubicBezTo>
                  <a:pt x="3447611" y="158596"/>
                  <a:pt x="3449544" y="158596"/>
                  <a:pt x="3451479" y="158596"/>
                </a:cubicBezTo>
                <a:cubicBezTo>
                  <a:pt x="3455348" y="158596"/>
                  <a:pt x="3459214" y="156663"/>
                  <a:pt x="3463084" y="154728"/>
                </a:cubicBezTo>
                <a:cubicBezTo>
                  <a:pt x="3470821" y="150860"/>
                  <a:pt x="3478555" y="145059"/>
                  <a:pt x="3486294" y="141190"/>
                </a:cubicBezTo>
                <a:cubicBezTo>
                  <a:pt x="3495963" y="141190"/>
                  <a:pt x="3501764" y="135387"/>
                  <a:pt x="3509501" y="131519"/>
                </a:cubicBezTo>
                <a:cubicBezTo>
                  <a:pt x="3515304" y="127650"/>
                  <a:pt x="3519173" y="123782"/>
                  <a:pt x="3524974" y="121849"/>
                </a:cubicBezTo>
                <a:cubicBezTo>
                  <a:pt x="3524974" y="119914"/>
                  <a:pt x="3526909" y="119914"/>
                  <a:pt x="3528842" y="119914"/>
                </a:cubicBezTo>
                <a:cubicBezTo>
                  <a:pt x="3532710" y="119914"/>
                  <a:pt x="3534646" y="119914"/>
                  <a:pt x="3538514" y="117981"/>
                </a:cubicBezTo>
                <a:cubicBezTo>
                  <a:pt x="3542382" y="114113"/>
                  <a:pt x="3548183" y="112177"/>
                  <a:pt x="3552052" y="110244"/>
                </a:cubicBezTo>
                <a:cubicBezTo>
                  <a:pt x="3555920" y="108309"/>
                  <a:pt x="3557855" y="108309"/>
                  <a:pt x="3561723" y="108309"/>
                </a:cubicBezTo>
                <a:cubicBezTo>
                  <a:pt x="3565589" y="110244"/>
                  <a:pt x="3571393" y="110244"/>
                  <a:pt x="3575261" y="106376"/>
                </a:cubicBezTo>
                <a:cubicBezTo>
                  <a:pt x="3579129" y="104441"/>
                  <a:pt x="3584931" y="100572"/>
                  <a:pt x="3592667" y="100572"/>
                </a:cubicBezTo>
                <a:cubicBezTo>
                  <a:pt x="3592667" y="100572"/>
                  <a:pt x="3594602" y="98639"/>
                  <a:pt x="3596535" y="98639"/>
                </a:cubicBezTo>
                <a:cubicBezTo>
                  <a:pt x="3604272" y="94771"/>
                  <a:pt x="3610075" y="88970"/>
                  <a:pt x="3619745" y="88970"/>
                </a:cubicBezTo>
                <a:cubicBezTo>
                  <a:pt x="3623613" y="87035"/>
                  <a:pt x="3627481" y="85099"/>
                  <a:pt x="3631350" y="83166"/>
                </a:cubicBezTo>
                <a:cubicBezTo>
                  <a:pt x="3641022" y="77365"/>
                  <a:pt x="3650691" y="77365"/>
                  <a:pt x="3660363" y="77365"/>
                </a:cubicBezTo>
                <a:cubicBezTo>
                  <a:pt x="3662296" y="77365"/>
                  <a:pt x="3664231" y="77365"/>
                  <a:pt x="3666164" y="77365"/>
                </a:cubicBezTo>
                <a:cubicBezTo>
                  <a:pt x="3670032" y="77365"/>
                  <a:pt x="3673901" y="75430"/>
                  <a:pt x="3675833" y="71562"/>
                </a:cubicBezTo>
                <a:cubicBezTo>
                  <a:pt x="3677769" y="67693"/>
                  <a:pt x="3681637" y="63825"/>
                  <a:pt x="3685505" y="61892"/>
                </a:cubicBezTo>
                <a:cubicBezTo>
                  <a:pt x="3700978" y="52220"/>
                  <a:pt x="3716451" y="42551"/>
                  <a:pt x="3731924" y="32879"/>
                </a:cubicBezTo>
                <a:cubicBezTo>
                  <a:pt x="3735793" y="30946"/>
                  <a:pt x="3737726" y="30946"/>
                  <a:pt x="3741594" y="30946"/>
                </a:cubicBezTo>
                <a:cubicBezTo>
                  <a:pt x="3741594" y="30946"/>
                  <a:pt x="3743527" y="30946"/>
                  <a:pt x="3743527" y="30946"/>
                </a:cubicBezTo>
                <a:cubicBezTo>
                  <a:pt x="3747397" y="27078"/>
                  <a:pt x="3753199" y="25143"/>
                  <a:pt x="3757067" y="23210"/>
                </a:cubicBezTo>
                <a:cubicBezTo>
                  <a:pt x="3760935" y="21274"/>
                  <a:pt x="3766736" y="21274"/>
                  <a:pt x="3770607" y="19341"/>
                </a:cubicBezTo>
                <a:cubicBezTo>
                  <a:pt x="3770607" y="19341"/>
                  <a:pt x="3772540" y="17406"/>
                  <a:pt x="3772540" y="17406"/>
                </a:cubicBezTo>
                <a:cubicBezTo>
                  <a:pt x="3776408" y="15473"/>
                  <a:pt x="3780276" y="13538"/>
                  <a:pt x="3784145" y="13538"/>
                </a:cubicBezTo>
                <a:cubicBezTo>
                  <a:pt x="3788013" y="13538"/>
                  <a:pt x="3793816" y="13538"/>
                  <a:pt x="3797682" y="11605"/>
                </a:cubicBezTo>
                <a:cubicBezTo>
                  <a:pt x="3801551" y="9670"/>
                  <a:pt x="3805419" y="7737"/>
                  <a:pt x="3809287" y="7737"/>
                </a:cubicBezTo>
                <a:cubicBezTo>
                  <a:pt x="3813155" y="9670"/>
                  <a:pt x="3817024" y="7737"/>
                  <a:pt x="3820892" y="7737"/>
                </a:cubicBezTo>
                <a:cubicBezTo>
                  <a:pt x="3824760" y="7737"/>
                  <a:pt x="3828628" y="3868"/>
                  <a:pt x="3834432" y="3868"/>
                </a:cubicBezTo>
                <a:cubicBezTo>
                  <a:pt x="3840233" y="3868"/>
                  <a:pt x="3844101" y="1935"/>
                  <a:pt x="3849903" y="1935"/>
                </a:cubicBezTo>
                <a:cubicBezTo>
                  <a:pt x="3853771" y="1935"/>
                  <a:pt x="3859574" y="0"/>
                  <a:pt x="3863443" y="0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175EF-5CFE-7F5C-A0FF-EE9F5B2619E2}"/>
              </a:ext>
            </a:extLst>
          </p:cNvPr>
          <p:cNvSpPr/>
          <p:nvPr/>
        </p:nvSpPr>
        <p:spPr>
          <a:xfrm flipH="1">
            <a:off x="15193567" y="6527863"/>
            <a:ext cx="5681" cy="4297"/>
          </a:xfrm>
          <a:custGeom>
            <a:avLst/>
            <a:gdLst>
              <a:gd name="connsiteX0" fmla="*/ 1629 w 1629"/>
              <a:gd name="connsiteY0" fmla="*/ 814 h 1176"/>
              <a:gd name="connsiteX1" fmla="*/ 815 w 1629"/>
              <a:gd name="connsiteY1" fmla="*/ 0 h 1176"/>
              <a:gd name="connsiteX2" fmla="*/ 0 w 1629"/>
              <a:gd name="connsiteY2" fmla="*/ 814 h 1176"/>
              <a:gd name="connsiteX3" fmla="*/ 1629 w 1629"/>
              <a:gd name="connsiteY3" fmla="*/ 814 h 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9" h="1176">
                <a:moveTo>
                  <a:pt x="1629" y="814"/>
                </a:moveTo>
                <a:cubicBezTo>
                  <a:pt x="1629" y="814"/>
                  <a:pt x="815" y="814"/>
                  <a:pt x="815" y="0"/>
                </a:cubicBezTo>
                <a:cubicBezTo>
                  <a:pt x="815" y="814"/>
                  <a:pt x="0" y="814"/>
                  <a:pt x="0" y="814"/>
                </a:cubicBezTo>
                <a:cubicBezTo>
                  <a:pt x="0" y="1629"/>
                  <a:pt x="815" y="814"/>
                  <a:pt x="1629" y="814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388D6C-1815-87E2-BC0E-BC5F297FA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54036"/>
            <a:ext cx="5516880" cy="1899890"/>
          </a:xfrm>
        </p:spPr>
        <p:txBody>
          <a:bodyPr anchor="ctr"/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C20E278-F79A-5F87-8E9C-351AA7668C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1121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Green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863178-73A1-7F37-42E2-1F687BEC4D8E}"/>
              </a:ext>
            </a:extLst>
          </p:cNvPr>
          <p:cNvSpPr/>
          <p:nvPr userDrawn="1"/>
        </p:nvSpPr>
        <p:spPr>
          <a:xfrm>
            <a:off x="-1" y="405895"/>
            <a:ext cx="7350291" cy="6223314"/>
          </a:xfrm>
          <a:custGeom>
            <a:avLst/>
            <a:gdLst>
              <a:gd name="connsiteX0" fmla="*/ 2497968 w 6096001"/>
              <a:gd name="connsiteY0" fmla="*/ 5359400 h 5392467"/>
              <a:gd name="connsiteX1" fmla="*/ 2499901 w 6096001"/>
              <a:gd name="connsiteY1" fmla="*/ 5361333 h 5392467"/>
              <a:gd name="connsiteX2" fmla="*/ 2490229 w 6096001"/>
              <a:gd name="connsiteY2" fmla="*/ 5365201 h 5392467"/>
              <a:gd name="connsiteX3" fmla="*/ 2497968 w 6096001"/>
              <a:gd name="connsiteY3" fmla="*/ 5359400 h 5392467"/>
              <a:gd name="connsiteX4" fmla="*/ 2350974 w 6096001"/>
              <a:gd name="connsiteY4" fmla="*/ 5357464 h 5392467"/>
              <a:gd name="connsiteX5" fmla="*/ 2343240 w 6096001"/>
              <a:gd name="connsiteY5" fmla="*/ 5367136 h 5392467"/>
              <a:gd name="connsiteX6" fmla="*/ 2350974 w 6096001"/>
              <a:gd name="connsiteY6" fmla="*/ 5357464 h 5392467"/>
              <a:gd name="connsiteX7" fmla="*/ 2462686 w 6096001"/>
              <a:gd name="connsiteY7" fmla="*/ 5341466 h 5392467"/>
              <a:gd name="connsiteX8" fmla="*/ 2466220 w 6096001"/>
              <a:gd name="connsiteY8" fmla="*/ 5342526 h 5392467"/>
              <a:gd name="connsiteX9" fmla="*/ 2461218 w 6096001"/>
              <a:gd name="connsiteY9" fmla="*/ 5345862 h 5392467"/>
              <a:gd name="connsiteX10" fmla="*/ 2459331 w 6096001"/>
              <a:gd name="connsiteY10" fmla="*/ 5348881 h 5392467"/>
              <a:gd name="connsiteX11" fmla="*/ 2457350 w 6096001"/>
              <a:gd name="connsiteY11" fmla="*/ 5349730 h 5392467"/>
              <a:gd name="connsiteX12" fmla="*/ 2460736 w 6096001"/>
              <a:gd name="connsiteY12" fmla="*/ 5342109 h 5392467"/>
              <a:gd name="connsiteX13" fmla="*/ 2484427 w 6096001"/>
              <a:gd name="connsiteY13" fmla="*/ 5334257 h 5392467"/>
              <a:gd name="connsiteX14" fmla="*/ 2472823 w 6096001"/>
              <a:gd name="connsiteY14" fmla="*/ 5340058 h 5392467"/>
              <a:gd name="connsiteX15" fmla="*/ 2484427 w 6096001"/>
              <a:gd name="connsiteY15" fmla="*/ 5334257 h 5392467"/>
              <a:gd name="connsiteX16" fmla="*/ 2345173 w 6096001"/>
              <a:gd name="connsiteY16" fmla="*/ 5328454 h 5392467"/>
              <a:gd name="connsiteX17" fmla="*/ 2327765 w 6096001"/>
              <a:gd name="connsiteY17" fmla="*/ 5341991 h 5392467"/>
              <a:gd name="connsiteX18" fmla="*/ 2345173 w 6096001"/>
              <a:gd name="connsiteY18" fmla="*/ 5328454 h 5392467"/>
              <a:gd name="connsiteX19" fmla="*/ 2507636 w 6096001"/>
              <a:gd name="connsiteY19" fmla="*/ 5314916 h 5392467"/>
              <a:gd name="connsiteX20" fmla="*/ 2507637 w 6096001"/>
              <a:gd name="connsiteY20" fmla="*/ 5314916 h 5392467"/>
              <a:gd name="connsiteX21" fmla="*/ 2501533 w 6096001"/>
              <a:gd name="connsiteY21" fmla="*/ 5317968 h 5392467"/>
              <a:gd name="connsiteX22" fmla="*/ 3360577 w 6096001"/>
              <a:gd name="connsiteY22" fmla="*/ 5311048 h 5392467"/>
              <a:gd name="connsiteX23" fmla="*/ 3348972 w 6096001"/>
              <a:gd name="connsiteY23" fmla="*/ 5324585 h 5392467"/>
              <a:gd name="connsiteX24" fmla="*/ 3354773 w 6096001"/>
              <a:gd name="connsiteY24" fmla="*/ 5312981 h 5392467"/>
              <a:gd name="connsiteX25" fmla="*/ 3360577 w 6096001"/>
              <a:gd name="connsiteY25" fmla="*/ 5311048 h 5392467"/>
              <a:gd name="connsiteX26" fmla="*/ 2532779 w 6096001"/>
              <a:gd name="connsiteY26" fmla="*/ 5305244 h 5392467"/>
              <a:gd name="connsiteX27" fmla="*/ 2538583 w 6096001"/>
              <a:gd name="connsiteY27" fmla="*/ 5307179 h 5392467"/>
              <a:gd name="connsiteX28" fmla="*/ 2536648 w 6096001"/>
              <a:gd name="connsiteY28" fmla="*/ 5311048 h 5392467"/>
              <a:gd name="connsiteX29" fmla="*/ 2532779 w 6096001"/>
              <a:gd name="connsiteY29" fmla="*/ 5311048 h 5392467"/>
              <a:gd name="connsiteX30" fmla="*/ 2532779 w 6096001"/>
              <a:gd name="connsiteY30" fmla="*/ 5305244 h 5392467"/>
              <a:gd name="connsiteX31" fmla="*/ 3319961 w 6096001"/>
              <a:gd name="connsiteY31" fmla="*/ 5291706 h 5392467"/>
              <a:gd name="connsiteX32" fmla="*/ 3314158 w 6096001"/>
              <a:gd name="connsiteY32" fmla="*/ 5305244 h 5392467"/>
              <a:gd name="connsiteX33" fmla="*/ 3319961 w 6096001"/>
              <a:gd name="connsiteY33" fmla="*/ 5291706 h 5392467"/>
              <a:gd name="connsiteX34" fmla="*/ 2292950 w 6096001"/>
              <a:gd name="connsiteY34" fmla="*/ 5291706 h 5392467"/>
              <a:gd name="connsiteX35" fmla="*/ 2285216 w 6096001"/>
              <a:gd name="connsiteY35" fmla="*/ 5309112 h 5392467"/>
              <a:gd name="connsiteX36" fmla="*/ 2294885 w 6096001"/>
              <a:gd name="connsiteY36" fmla="*/ 5303311 h 5392467"/>
              <a:gd name="connsiteX37" fmla="*/ 2296821 w 6096001"/>
              <a:gd name="connsiteY37" fmla="*/ 5305244 h 5392467"/>
              <a:gd name="connsiteX38" fmla="*/ 2291017 w 6096001"/>
              <a:gd name="connsiteY38" fmla="*/ 5314916 h 5392467"/>
              <a:gd name="connsiteX39" fmla="*/ 2292950 w 6096001"/>
              <a:gd name="connsiteY39" fmla="*/ 5316849 h 5392467"/>
              <a:gd name="connsiteX40" fmla="*/ 2312291 w 6096001"/>
              <a:gd name="connsiteY40" fmla="*/ 5297508 h 5392467"/>
              <a:gd name="connsiteX41" fmla="*/ 2312291 w 6096001"/>
              <a:gd name="connsiteY41" fmla="*/ 5295575 h 5392467"/>
              <a:gd name="connsiteX42" fmla="*/ 2300689 w 6096001"/>
              <a:gd name="connsiteY42" fmla="*/ 5299443 h 5392467"/>
              <a:gd name="connsiteX43" fmla="*/ 2292950 w 6096001"/>
              <a:gd name="connsiteY43" fmla="*/ 5291706 h 5392467"/>
              <a:gd name="connsiteX44" fmla="*/ 2265875 w 6096001"/>
              <a:gd name="connsiteY44" fmla="*/ 5285905 h 5392467"/>
              <a:gd name="connsiteX45" fmla="*/ 2265875 w 6096001"/>
              <a:gd name="connsiteY45" fmla="*/ 5301376 h 5392467"/>
              <a:gd name="connsiteX46" fmla="*/ 2265875 w 6096001"/>
              <a:gd name="connsiteY46" fmla="*/ 5285905 h 5392467"/>
              <a:gd name="connsiteX47" fmla="*/ 2625618 w 6096001"/>
              <a:gd name="connsiteY47" fmla="*/ 5278166 h 5392467"/>
              <a:gd name="connsiteX48" fmla="*/ 2627551 w 6096001"/>
              <a:gd name="connsiteY48" fmla="*/ 5280102 h 5392467"/>
              <a:gd name="connsiteX49" fmla="*/ 2600473 w 6096001"/>
              <a:gd name="connsiteY49" fmla="*/ 5293639 h 5392467"/>
              <a:gd name="connsiteX50" fmla="*/ 2625618 w 6096001"/>
              <a:gd name="connsiteY50" fmla="*/ 5278166 h 5392467"/>
              <a:gd name="connsiteX51" fmla="*/ 2263939 w 6096001"/>
              <a:gd name="connsiteY51" fmla="*/ 5270430 h 5392467"/>
              <a:gd name="connsiteX52" fmla="*/ 2256203 w 6096001"/>
              <a:gd name="connsiteY52" fmla="*/ 5278166 h 5392467"/>
              <a:gd name="connsiteX53" fmla="*/ 2265875 w 6096001"/>
              <a:gd name="connsiteY53" fmla="*/ 5274298 h 5392467"/>
              <a:gd name="connsiteX54" fmla="*/ 2263939 w 6096001"/>
              <a:gd name="connsiteY54" fmla="*/ 5270430 h 5392467"/>
              <a:gd name="connsiteX55" fmla="*/ 2273611 w 6096001"/>
              <a:gd name="connsiteY55" fmla="*/ 5266564 h 5392467"/>
              <a:gd name="connsiteX56" fmla="*/ 2271676 w 6096001"/>
              <a:gd name="connsiteY56" fmla="*/ 5268497 h 5392467"/>
              <a:gd name="connsiteX57" fmla="*/ 2275544 w 6096001"/>
              <a:gd name="connsiteY57" fmla="*/ 5274298 h 5392467"/>
              <a:gd name="connsiteX58" fmla="*/ 2277479 w 6096001"/>
              <a:gd name="connsiteY58" fmla="*/ 5272365 h 5392467"/>
              <a:gd name="connsiteX59" fmla="*/ 2273611 w 6096001"/>
              <a:gd name="connsiteY59" fmla="*/ 5266564 h 5392467"/>
              <a:gd name="connsiteX60" fmla="*/ 3416665 w 6096001"/>
              <a:gd name="connsiteY60" fmla="*/ 5249156 h 5392467"/>
              <a:gd name="connsiteX61" fmla="*/ 3412797 w 6096001"/>
              <a:gd name="connsiteY61" fmla="*/ 5260760 h 5392467"/>
              <a:gd name="connsiteX62" fmla="*/ 3416665 w 6096001"/>
              <a:gd name="connsiteY62" fmla="*/ 5249156 h 5392467"/>
              <a:gd name="connsiteX63" fmla="*/ 2677838 w 6096001"/>
              <a:gd name="connsiteY63" fmla="*/ 5249156 h 5392467"/>
              <a:gd name="connsiteX64" fmla="*/ 2683639 w 6096001"/>
              <a:gd name="connsiteY64" fmla="*/ 5251088 h 5392467"/>
              <a:gd name="connsiteX65" fmla="*/ 2666233 w 6096001"/>
              <a:gd name="connsiteY65" fmla="*/ 5264629 h 5392467"/>
              <a:gd name="connsiteX66" fmla="*/ 2631419 w 6096001"/>
              <a:gd name="connsiteY66" fmla="*/ 5278166 h 5392467"/>
              <a:gd name="connsiteX67" fmla="*/ 2644959 w 6096001"/>
              <a:gd name="connsiteY67" fmla="*/ 5266564 h 5392467"/>
              <a:gd name="connsiteX68" fmla="*/ 2677838 w 6096001"/>
              <a:gd name="connsiteY68" fmla="*/ 5249156 h 5392467"/>
              <a:gd name="connsiteX69" fmla="*/ 1467088 w 6096001"/>
              <a:gd name="connsiteY69" fmla="*/ 5239486 h 5392467"/>
              <a:gd name="connsiteX70" fmla="*/ 1467713 w 6096001"/>
              <a:gd name="connsiteY70" fmla="*/ 5240111 h 5392467"/>
              <a:gd name="connsiteX71" fmla="*/ 1461787 w 6096001"/>
              <a:gd name="connsiteY71" fmla="*/ 5243853 h 5392467"/>
              <a:gd name="connsiteX72" fmla="*/ 1461287 w 6096001"/>
              <a:gd name="connsiteY72" fmla="*/ 5243354 h 5392467"/>
              <a:gd name="connsiteX73" fmla="*/ 1467088 w 6096001"/>
              <a:gd name="connsiteY73" fmla="*/ 5239486 h 5392467"/>
              <a:gd name="connsiteX74" fmla="*/ 3429777 w 6096001"/>
              <a:gd name="connsiteY74" fmla="*/ 5233934 h 5392467"/>
              <a:gd name="connsiteX75" fmla="*/ 3430203 w 6096001"/>
              <a:gd name="connsiteY75" fmla="*/ 5234005 h 5392467"/>
              <a:gd name="connsiteX76" fmla="*/ 3420533 w 6096001"/>
              <a:gd name="connsiteY76" fmla="*/ 5245287 h 5392467"/>
              <a:gd name="connsiteX77" fmla="*/ 3425611 w 6096001"/>
              <a:gd name="connsiteY77" fmla="*/ 5237793 h 5392467"/>
              <a:gd name="connsiteX78" fmla="*/ 2716520 w 6096001"/>
              <a:gd name="connsiteY78" fmla="*/ 5222078 h 5392467"/>
              <a:gd name="connsiteX79" fmla="*/ 2687510 w 6096001"/>
              <a:gd name="connsiteY79" fmla="*/ 5243354 h 5392467"/>
              <a:gd name="connsiteX80" fmla="*/ 2716520 w 6096001"/>
              <a:gd name="connsiteY80" fmla="*/ 5222078 h 5392467"/>
              <a:gd name="connsiteX81" fmla="*/ 2739730 w 6096001"/>
              <a:gd name="connsiteY81" fmla="*/ 5214341 h 5392467"/>
              <a:gd name="connsiteX82" fmla="*/ 2741663 w 6096001"/>
              <a:gd name="connsiteY82" fmla="*/ 5216277 h 5392467"/>
              <a:gd name="connsiteX83" fmla="*/ 2735862 w 6096001"/>
              <a:gd name="connsiteY83" fmla="*/ 5220145 h 5392467"/>
              <a:gd name="connsiteX84" fmla="*/ 2733926 w 6096001"/>
              <a:gd name="connsiteY84" fmla="*/ 5218209 h 5392467"/>
              <a:gd name="connsiteX85" fmla="*/ 2739730 w 6096001"/>
              <a:gd name="connsiteY85" fmla="*/ 5214341 h 5392467"/>
              <a:gd name="connsiteX86" fmla="*/ 3424402 w 6096001"/>
              <a:gd name="connsiteY86" fmla="*/ 5212408 h 5392467"/>
              <a:gd name="connsiteX87" fmla="*/ 3428270 w 6096001"/>
              <a:gd name="connsiteY87" fmla="*/ 5212408 h 5392467"/>
              <a:gd name="connsiteX88" fmla="*/ 3424402 w 6096001"/>
              <a:gd name="connsiteY88" fmla="*/ 5216277 h 5392467"/>
              <a:gd name="connsiteX89" fmla="*/ 3424402 w 6096001"/>
              <a:gd name="connsiteY89" fmla="*/ 5212408 h 5392467"/>
              <a:gd name="connsiteX90" fmla="*/ 2755203 w 6096001"/>
              <a:gd name="connsiteY90" fmla="*/ 5202736 h 5392467"/>
              <a:gd name="connsiteX91" fmla="*/ 2753268 w 6096001"/>
              <a:gd name="connsiteY91" fmla="*/ 5208540 h 5392467"/>
              <a:gd name="connsiteX92" fmla="*/ 2749399 w 6096001"/>
              <a:gd name="connsiteY92" fmla="*/ 5210473 h 5392467"/>
              <a:gd name="connsiteX93" fmla="*/ 2749399 w 6096001"/>
              <a:gd name="connsiteY93" fmla="*/ 5206605 h 5392467"/>
              <a:gd name="connsiteX94" fmla="*/ 2755203 w 6096001"/>
              <a:gd name="connsiteY94" fmla="*/ 5202736 h 5392467"/>
              <a:gd name="connsiteX95" fmla="*/ 3265806 w 6096001"/>
              <a:gd name="connsiteY95" fmla="*/ 5185330 h 5392467"/>
              <a:gd name="connsiteX96" fmla="*/ 3260002 w 6096001"/>
              <a:gd name="connsiteY96" fmla="*/ 5198871 h 5392467"/>
              <a:gd name="connsiteX97" fmla="*/ 3265806 w 6096001"/>
              <a:gd name="connsiteY97" fmla="*/ 5185330 h 5392467"/>
              <a:gd name="connsiteX98" fmla="*/ 2726190 w 6096001"/>
              <a:gd name="connsiteY98" fmla="*/ 5179529 h 5392467"/>
              <a:gd name="connsiteX99" fmla="*/ 2726190 w 6096001"/>
              <a:gd name="connsiteY99" fmla="*/ 5185330 h 5392467"/>
              <a:gd name="connsiteX100" fmla="*/ 2731993 w 6096001"/>
              <a:gd name="connsiteY100" fmla="*/ 5185330 h 5392467"/>
              <a:gd name="connsiteX101" fmla="*/ 2733926 w 6096001"/>
              <a:gd name="connsiteY101" fmla="*/ 5181462 h 5392467"/>
              <a:gd name="connsiteX102" fmla="*/ 2726190 w 6096001"/>
              <a:gd name="connsiteY102" fmla="*/ 5179529 h 5392467"/>
              <a:gd name="connsiteX103" fmla="*/ 2784214 w 6096001"/>
              <a:gd name="connsiteY103" fmla="*/ 5177594 h 5392467"/>
              <a:gd name="connsiteX104" fmla="*/ 2797754 w 6096001"/>
              <a:gd name="connsiteY104" fmla="*/ 5177594 h 5392467"/>
              <a:gd name="connsiteX105" fmla="*/ 2784214 w 6096001"/>
              <a:gd name="connsiteY105" fmla="*/ 5177594 h 5392467"/>
              <a:gd name="connsiteX106" fmla="*/ 2753268 w 6096001"/>
              <a:gd name="connsiteY106" fmla="*/ 5167922 h 5392467"/>
              <a:gd name="connsiteX107" fmla="*/ 2735862 w 6096001"/>
              <a:gd name="connsiteY107" fmla="*/ 5177594 h 5392467"/>
              <a:gd name="connsiteX108" fmla="*/ 2755203 w 6096001"/>
              <a:gd name="connsiteY108" fmla="*/ 5169857 h 5392467"/>
              <a:gd name="connsiteX109" fmla="*/ 2753268 w 6096001"/>
              <a:gd name="connsiteY109" fmla="*/ 5167922 h 5392467"/>
              <a:gd name="connsiteX110" fmla="*/ 2838602 w 6096001"/>
              <a:gd name="connsiteY110" fmla="*/ 5151491 h 5392467"/>
              <a:gd name="connsiteX111" fmla="*/ 2840101 w 6096001"/>
              <a:gd name="connsiteY111" fmla="*/ 5153312 h 5392467"/>
              <a:gd name="connsiteX112" fmla="*/ 2838852 w 6096001"/>
              <a:gd name="connsiteY112" fmla="*/ 5156078 h 5392467"/>
              <a:gd name="connsiteX113" fmla="*/ 2832566 w 6096001"/>
              <a:gd name="connsiteY113" fmla="*/ 5156320 h 5392467"/>
              <a:gd name="connsiteX114" fmla="*/ 3383786 w 6096001"/>
              <a:gd name="connsiteY114" fmla="*/ 5148583 h 5392467"/>
              <a:gd name="connsiteX115" fmla="*/ 3366378 w 6096001"/>
              <a:gd name="connsiteY115" fmla="*/ 5171790 h 5392467"/>
              <a:gd name="connsiteX116" fmla="*/ 3364445 w 6096001"/>
              <a:gd name="connsiteY116" fmla="*/ 5179529 h 5392467"/>
              <a:gd name="connsiteX117" fmla="*/ 3368313 w 6096001"/>
              <a:gd name="connsiteY117" fmla="*/ 5173726 h 5392467"/>
              <a:gd name="connsiteX118" fmla="*/ 3370246 w 6096001"/>
              <a:gd name="connsiteY118" fmla="*/ 5175661 h 5392467"/>
              <a:gd name="connsiteX119" fmla="*/ 3362510 w 6096001"/>
              <a:gd name="connsiteY119" fmla="*/ 5185330 h 5392467"/>
              <a:gd name="connsiteX120" fmla="*/ 3360577 w 6096001"/>
              <a:gd name="connsiteY120" fmla="*/ 5183395 h 5392467"/>
              <a:gd name="connsiteX121" fmla="*/ 3356708 w 6096001"/>
              <a:gd name="connsiteY121" fmla="*/ 5191132 h 5392467"/>
              <a:gd name="connsiteX122" fmla="*/ 3354773 w 6096001"/>
              <a:gd name="connsiteY122" fmla="*/ 5202736 h 5392467"/>
              <a:gd name="connsiteX123" fmla="*/ 3358641 w 6096001"/>
              <a:gd name="connsiteY123" fmla="*/ 5202736 h 5392467"/>
              <a:gd name="connsiteX124" fmla="*/ 3387654 w 6096001"/>
              <a:gd name="connsiteY124" fmla="*/ 5164054 h 5392467"/>
              <a:gd name="connsiteX125" fmla="*/ 3393456 w 6096001"/>
              <a:gd name="connsiteY125" fmla="*/ 5150516 h 5392467"/>
              <a:gd name="connsiteX126" fmla="*/ 3383786 w 6096001"/>
              <a:gd name="connsiteY126" fmla="*/ 5148583 h 5392467"/>
              <a:gd name="connsiteX127" fmla="*/ 3430203 w 6096001"/>
              <a:gd name="connsiteY127" fmla="*/ 5131175 h 5392467"/>
              <a:gd name="connsiteX128" fmla="*/ 3416665 w 6096001"/>
              <a:gd name="connsiteY128" fmla="*/ 5144713 h 5392467"/>
              <a:gd name="connsiteX129" fmla="*/ 3430203 w 6096001"/>
              <a:gd name="connsiteY129" fmla="*/ 5131175 h 5392467"/>
              <a:gd name="connsiteX130" fmla="*/ 3418598 w 6096001"/>
              <a:gd name="connsiteY130" fmla="*/ 5117637 h 5392467"/>
              <a:gd name="connsiteX131" fmla="*/ 3414730 w 6096001"/>
              <a:gd name="connsiteY131" fmla="*/ 5121505 h 5392467"/>
              <a:gd name="connsiteX132" fmla="*/ 3416665 w 6096001"/>
              <a:gd name="connsiteY132" fmla="*/ 5121505 h 5392467"/>
              <a:gd name="connsiteX133" fmla="*/ 3418598 w 6096001"/>
              <a:gd name="connsiteY133" fmla="*/ 5117637 h 5392467"/>
              <a:gd name="connsiteX134" fmla="*/ 3042975 w 6096001"/>
              <a:gd name="connsiteY134" fmla="*/ 5114379 h 5392467"/>
              <a:gd name="connsiteX135" fmla="*/ 3047250 w 6096001"/>
              <a:gd name="connsiteY135" fmla="*/ 5121505 h 5392467"/>
              <a:gd name="connsiteX136" fmla="*/ 3041449 w 6096001"/>
              <a:gd name="connsiteY136" fmla="*/ 5123438 h 5392467"/>
              <a:gd name="connsiteX137" fmla="*/ 3041449 w 6096001"/>
              <a:gd name="connsiteY137" fmla="*/ 5122665 h 5392467"/>
              <a:gd name="connsiteX138" fmla="*/ 3043382 w 6096001"/>
              <a:gd name="connsiteY138" fmla="*/ 5121505 h 5392467"/>
              <a:gd name="connsiteX139" fmla="*/ 3041449 w 6096001"/>
              <a:gd name="connsiteY139" fmla="*/ 5120538 h 5392467"/>
              <a:gd name="connsiteX140" fmla="*/ 3041449 w 6096001"/>
              <a:gd name="connsiteY140" fmla="*/ 5116669 h 5392467"/>
              <a:gd name="connsiteX141" fmla="*/ 3034689 w 6096001"/>
              <a:gd name="connsiteY141" fmla="*/ 5107009 h 5392467"/>
              <a:gd name="connsiteX142" fmla="*/ 3037581 w 6096001"/>
              <a:gd name="connsiteY142" fmla="*/ 5109901 h 5392467"/>
              <a:gd name="connsiteX143" fmla="*/ 3033713 w 6096001"/>
              <a:gd name="connsiteY143" fmla="*/ 5108933 h 5392467"/>
              <a:gd name="connsiteX144" fmla="*/ 3033713 w 6096001"/>
              <a:gd name="connsiteY144" fmla="*/ 5107965 h 5392467"/>
              <a:gd name="connsiteX145" fmla="*/ 3532710 w 6096001"/>
              <a:gd name="connsiteY145" fmla="*/ 5104097 h 5392467"/>
              <a:gd name="connsiteX146" fmla="*/ 3519173 w 6096001"/>
              <a:gd name="connsiteY146" fmla="*/ 5107965 h 5392467"/>
              <a:gd name="connsiteX147" fmla="*/ 3497896 w 6096001"/>
              <a:gd name="connsiteY147" fmla="*/ 5138911 h 5392467"/>
              <a:gd name="connsiteX148" fmla="*/ 3509501 w 6096001"/>
              <a:gd name="connsiteY148" fmla="*/ 5125374 h 5392467"/>
              <a:gd name="connsiteX149" fmla="*/ 3513372 w 6096001"/>
              <a:gd name="connsiteY149" fmla="*/ 5121505 h 5392467"/>
              <a:gd name="connsiteX150" fmla="*/ 3532710 w 6096001"/>
              <a:gd name="connsiteY150" fmla="*/ 5104097 h 5392467"/>
              <a:gd name="connsiteX151" fmla="*/ 2907995 w 6096001"/>
              <a:gd name="connsiteY151" fmla="*/ 5100229 h 5392467"/>
              <a:gd name="connsiteX152" fmla="*/ 2907995 w 6096001"/>
              <a:gd name="connsiteY152" fmla="*/ 5102164 h 5392467"/>
              <a:gd name="connsiteX153" fmla="*/ 2911864 w 6096001"/>
              <a:gd name="connsiteY153" fmla="*/ 5102164 h 5392467"/>
              <a:gd name="connsiteX154" fmla="*/ 2911864 w 6096001"/>
              <a:gd name="connsiteY154" fmla="*/ 5100229 h 5392467"/>
              <a:gd name="connsiteX155" fmla="*/ 2907995 w 6096001"/>
              <a:gd name="connsiteY155" fmla="*/ 5100229 h 5392467"/>
              <a:gd name="connsiteX156" fmla="*/ 2853840 w 6096001"/>
              <a:gd name="connsiteY156" fmla="*/ 5100229 h 5392467"/>
              <a:gd name="connsiteX157" fmla="*/ 2813224 w 6096001"/>
              <a:gd name="connsiteY157" fmla="*/ 5131175 h 5392467"/>
              <a:gd name="connsiteX158" fmla="*/ 2815160 w 6096001"/>
              <a:gd name="connsiteY158" fmla="*/ 5135043 h 5392467"/>
              <a:gd name="connsiteX159" fmla="*/ 2820961 w 6096001"/>
              <a:gd name="connsiteY159" fmla="*/ 5133110 h 5392467"/>
              <a:gd name="connsiteX160" fmla="*/ 2851907 w 6096001"/>
              <a:gd name="connsiteY160" fmla="*/ 5109901 h 5392467"/>
              <a:gd name="connsiteX161" fmla="*/ 2853840 w 6096001"/>
              <a:gd name="connsiteY161" fmla="*/ 5100229 h 5392467"/>
              <a:gd name="connsiteX162" fmla="*/ 1813294 w 6096001"/>
              <a:gd name="connsiteY162" fmla="*/ 5100229 h 5392467"/>
              <a:gd name="connsiteX163" fmla="*/ 1813294 w 6096001"/>
              <a:gd name="connsiteY163" fmla="*/ 5102164 h 5392467"/>
              <a:gd name="connsiteX164" fmla="*/ 1809425 w 6096001"/>
              <a:gd name="connsiteY164" fmla="*/ 5106032 h 5392467"/>
              <a:gd name="connsiteX165" fmla="*/ 1813294 w 6096001"/>
              <a:gd name="connsiteY165" fmla="*/ 5100229 h 5392467"/>
              <a:gd name="connsiteX166" fmla="*/ 2140158 w 6096001"/>
              <a:gd name="connsiteY166" fmla="*/ 5094428 h 5392467"/>
              <a:gd name="connsiteX167" fmla="*/ 2136290 w 6096001"/>
              <a:gd name="connsiteY167" fmla="*/ 5102164 h 5392467"/>
              <a:gd name="connsiteX168" fmla="*/ 2142091 w 6096001"/>
              <a:gd name="connsiteY168" fmla="*/ 5096361 h 5392467"/>
              <a:gd name="connsiteX169" fmla="*/ 2140158 w 6096001"/>
              <a:gd name="connsiteY169" fmla="*/ 5094428 h 5392467"/>
              <a:gd name="connsiteX170" fmla="*/ 1806100 w 6096001"/>
              <a:gd name="connsiteY170" fmla="*/ 5093330 h 5392467"/>
              <a:gd name="connsiteX171" fmla="*/ 1797821 w 6096001"/>
              <a:gd name="connsiteY171" fmla="*/ 5100229 h 5392467"/>
              <a:gd name="connsiteX172" fmla="*/ 1796901 w 6096001"/>
              <a:gd name="connsiteY172" fmla="*/ 5098849 h 5392467"/>
              <a:gd name="connsiteX173" fmla="*/ 1808141 w 6096001"/>
              <a:gd name="connsiteY173" fmla="*/ 5091629 h 5392467"/>
              <a:gd name="connsiteX174" fmla="*/ 1807492 w 6096001"/>
              <a:gd name="connsiteY174" fmla="*/ 5092495 h 5392467"/>
              <a:gd name="connsiteX175" fmla="*/ 1806100 w 6096001"/>
              <a:gd name="connsiteY175" fmla="*/ 5093330 h 5392467"/>
              <a:gd name="connsiteX176" fmla="*/ 1375502 w 6096001"/>
              <a:gd name="connsiteY176" fmla="*/ 5087606 h 5392467"/>
              <a:gd name="connsiteX177" fmla="*/ 1369543 w 6096001"/>
              <a:gd name="connsiteY177" fmla="*/ 5095551 h 5392467"/>
              <a:gd name="connsiteX178" fmla="*/ 1364583 w 6096001"/>
              <a:gd name="connsiteY178" fmla="*/ 5096361 h 5392467"/>
              <a:gd name="connsiteX179" fmla="*/ 1372802 w 6096001"/>
              <a:gd name="connsiteY179" fmla="*/ 5087900 h 5392467"/>
              <a:gd name="connsiteX180" fmla="*/ 2863512 w 6096001"/>
              <a:gd name="connsiteY180" fmla="*/ 5080888 h 5392467"/>
              <a:gd name="connsiteX181" fmla="*/ 2853840 w 6096001"/>
              <a:gd name="connsiteY181" fmla="*/ 5082823 h 5392467"/>
              <a:gd name="connsiteX182" fmla="*/ 2820961 w 6096001"/>
              <a:gd name="connsiteY182" fmla="*/ 5104097 h 5392467"/>
              <a:gd name="connsiteX183" fmla="*/ 2799687 w 6096001"/>
              <a:gd name="connsiteY183" fmla="*/ 5119570 h 5392467"/>
              <a:gd name="connsiteX184" fmla="*/ 2809356 w 6096001"/>
              <a:gd name="connsiteY184" fmla="*/ 5123438 h 5392467"/>
              <a:gd name="connsiteX185" fmla="*/ 2830630 w 6096001"/>
              <a:gd name="connsiteY185" fmla="*/ 5106032 h 5392467"/>
              <a:gd name="connsiteX186" fmla="*/ 2863512 w 6096001"/>
              <a:gd name="connsiteY186" fmla="*/ 5088626 h 5392467"/>
              <a:gd name="connsiteX187" fmla="*/ 2867380 w 6096001"/>
              <a:gd name="connsiteY187" fmla="*/ 5084756 h 5392467"/>
              <a:gd name="connsiteX188" fmla="*/ 2863512 w 6096001"/>
              <a:gd name="connsiteY188" fmla="*/ 5080888 h 5392467"/>
              <a:gd name="connsiteX189" fmla="*/ 2811291 w 6096001"/>
              <a:gd name="connsiteY189" fmla="*/ 5080888 h 5392467"/>
              <a:gd name="connsiteX190" fmla="*/ 2803555 w 6096001"/>
              <a:gd name="connsiteY190" fmla="*/ 5096361 h 5392467"/>
              <a:gd name="connsiteX191" fmla="*/ 2819028 w 6096001"/>
              <a:gd name="connsiteY191" fmla="*/ 5084756 h 5392467"/>
              <a:gd name="connsiteX192" fmla="*/ 2811291 w 6096001"/>
              <a:gd name="connsiteY192" fmla="*/ 5080888 h 5392467"/>
              <a:gd name="connsiteX193" fmla="*/ 2820237 w 6096001"/>
              <a:gd name="connsiteY193" fmla="*/ 5078470 h 5392467"/>
              <a:gd name="connsiteX194" fmla="*/ 2819028 w 6096001"/>
              <a:gd name="connsiteY194" fmla="*/ 5086691 h 5392467"/>
              <a:gd name="connsiteX195" fmla="*/ 2828697 w 6096001"/>
              <a:gd name="connsiteY195" fmla="*/ 5078955 h 5392467"/>
              <a:gd name="connsiteX196" fmla="*/ 2820237 w 6096001"/>
              <a:gd name="connsiteY196" fmla="*/ 5078470 h 5392467"/>
              <a:gd name="connsiteX197" fmla="*/ 3546248 w 6096001"/>
              <a:gd name="connsiteY197" fmla="*/ 5075086 h 5392467"/>
              <a:gd name="connsiteX198" fmla="*/ 3544315 w 6096001"/>
              <a:gd name="connsiteY198" fmla="*/ 5082823 h 5392467"/>
              <a:gd name="connsiteX199" fmla="*/ 3548183 w 6096001"/>
              <a:gd name="connsiteY199" fmla="*/ 5077019 h 5392467"/>
              <a:gd name="connsiteX200" fmla="*/ 3546248 w 6096001"/>
              <a:gd name="connsiteY200" fmla="*/ 5075086 h 5392467"/>
              <a:gd name="connsiteX201" fmla="*/ 1420672 w 6096001"/>
              <a:gd name="connsiteY201" fmla="*/ 5075086 h 5392467"/>
              <a:gd name="connsiteX202" fmla="*/ 1409067 w 6096001"/>
              <a:gd name="connsiteY202" fmla="*/ 5082823 h 5392467"/>
              <a:gd name="connsiteX203" fmla="*/ 1411002 w 6096001"/>
              <a:gd name="connsiteY203" fmla="*/ 5084756 h 5392467"/>
              <a:gd name="connsiteX204" fmla="*/ 1422605 w 6096001"/>
              <a:gd name="connsiteY204" fmla="*/ 5077019 h 5392467"/>
              <a:gd name="connsiteX205" fmla="*/ 1420672 w 6096001"/>
              <a:gd name="connsiteY205" fmla="*/ 5075086 h 5392467"/>
              <a:gd name="connsiteX206" fmla="*/ 3261937 w 6096001"/>
              <a:gd name="connsiteY206" fmla="*/ 5061549 h 5392467"/>
              <a:gd name="connsiteX207" fmla="*/ 3250333 w 6096001"/>
              <a:gd name="connsiteY207" fmla="*/ 5082823 h 5392467"/>
              <a:gd name="connsiteX208" fmla="*/ 3261937 w 6096001"/>
              <a:gd name="connsiteY208" fmla="*/ 5061549 h 5392467"/>
              <a:gd name="connsiteX209" fmla="*/ 2896391 w 6096001"/>
              <a:gd name="connsiteY209" fmla="*/ 5055745 h 5392467"/>
              <a:gd name="connsiteX210" fmla="*/ 2890589 w 6096001"/>
              <a:gd name="connsiteY210" fmla="*/ 5065417 h 5392467"/>
              <a:gd name="connsiteX211" fmla="*/ 2884788 w 6096001"/>
              <a:gd name="connsiteY211" fmla="*/ 5075086 h 5392467"/>
              <a:gd name="connsiteX212" fmla="*/ 2861579 w 6096001"/>
              <a:gd name="connsiteY212" fmla="*/ 5092495 h 5392467"/>
              <a:gd name="connsiteX213" fmla="*/ 2863512 w 6096001"/>
              <a:gd name="connsiteY213" fmla="*/ 5096361 h 5392467"/>
              <a:gd name="connsiteX214" fmla="*/ 2869313 w 6096001"/>
              <a:gd name="connsiteY214" fmla="*/ 5096361 h 5392467"/>
              <a:gd name="connsiteX215" fmla="*/ 2875116 w 6096001"/>
              <a:gd name="connsiteY215" fmla="*/ 5092495 h 5392467"/>
              <a:gd name="connsiteX216" fmla="*/ 2904127 w 6096001"/>
              <a:gd name="connsiteY216" fmla="*/ 5078955 h 5392467"/>
              <a:gd name="connsiteX217" fmla="*/ 2907995 w 6096001"/>
              <a:gd name="connsiteY217" fmla="*/ 5073153 h 5392467"/>
              <a:gd name="connsiteX218" fmla="*/ 2906063 w 6096001"/>
              <a:gd name="connsiteY218" fmla="*/ 5071218 h 5392467"/>
              <a:gd name="connsiteX219" fmla="*/ 2900259 w 6096001"/>
              <a:gd name="connsiteY219" fmla="*/ 5063482 h 5392467"/>
              <a:gd name="connsiteX220" fmla="*/ 2896391 w 6096001"/>
              <a:gd name="connsiteY220" fmla="*/ 5065417 h 5392467"/>
              <a:gd name="connsiteX221" fmla="*/ 2898326 w 6096001"/>
              <a:gd name="connsiteY221" fmla="*/ 5059613 h 5392467"/>
              <a:gd name="connsiteX222" fmla="*/ 2896391 w 6096001"/>
              <a:gd name="connsiteY222" fmla="*/ 5055745 h 5392467"/>
              <a:gd name="connsiteX223" fmla="*/ 1870196 w 6096001"/>
              <a:gd name="connsiteY223" fmla="*/ 5051697 h 5392467"/>
              <a:gd name="connsiteX224" fmla="*/ 1830702 w 6096001"/>
              <a:gd name="connsiteY224" fmla="*/ 5080888 h 5392467"/>
              <a:gd name="connsiteX225" fmla="*/ 1815229 w 6096001"/>
              <a:gd name="connsiteY225" fmla="*/ 5086691 h 5392467"/>
              <a:gd name="connsiteX226" fmla="*/ 1809425 w 6096001"/>
              <a:gd name="connsiteY226" fmla="*/ 5090559 h 5392467"/>
              <a:gd name="connsiteX227" fmla="*/ 1808141 w 6096001"/>
              <a:gd name="connsiteY227" fmla="*/ 5091629 h 5392467"/>
              <a:gd name="connsiteX228" fmla="*/ 1813294 w 6096001"/>
              <a:gd name="connsiteY228" fmla="*/ 5084756 h 5392467"/>
              <a:gd name="connsiteX229" fmla="*/ 1814721 w 6096001"/>
              <a:gd name="connsiteY229" fmla="*/ 5079526 h 5392467"/>
              <a:gd name="connsiteX230" fmla="*/ 1822965 w 6096001"/>
              <a:gd name="connsiteY230" fmla="*/ 5075086 h 5392467"/>
              <a:gd name="connsiteX231" fmla="*/ 1846700 w 6096001"/>
              <a:gd name="connsiteY231" fmla="*/ 5060844 h 5392467"/>
              <a:gd name="connsiteX232" fmla="*/ 1849075 w 6096001"/>
              <a:gd name="connsiteY232" fmla="*/ 5061306 h 5392467"/>
              <a:gd name="connsiteX233" fmla="*/ 1857777 w 6096001"/>
              <a:gd name="connsiteY233" fmla="*/ 5055745 h 5392467"/>
              <a:gd name="connsiteX234" fmla="*/ 1867449 w 6096001"/>
              <a:gd name="connsiteY234" fmla="*/ 5051877 h 5392467"/>
              <a:gd name="connsiteX235" fmla="*/ 2871248 w 6096001"/>
              <a:gd name="connsiteY235" fmla="*/ 5044140 h 5392467"/>
              <a:gd name="connsiteX236" fmla="*/ 2853840 w 6096001"/>
              <a:gd name="connsiteY236" fmla="*/ 5071218 h 5392467"/>
              <a:gd name="connsiteX237" fmla="*/ 2877049 w 6096001"/>
              <a:gd name="connsiteY237" fmla="*/ 5059613 h 5392467"/>
              <a:gd name="connsiteX238" fmla="*/ 2875116 w 6096001"/>
              <a:gd name="connsiteY238" fmla="*/ 5046076 h 5392467"/>
              <a:gd name="connsiteX239" fmla="*/ 2871248 w 6096001"/>
              <a:gd name="connsiteY239" fmla="*/ 5044140 h 5392467"/>
              <a:gd name="connsiteX240" fmla="*/ 3325762 w 6096001"/>
              <a:gd name="connsiteY240" fmla="*/ 5042207 h 5392467"/>
              <a:gd name="connsiteX241" fmla="*/ 3310289 w 6096001"/>
              <a:gd name="connsiteY241" fmla="*/ 5061549 h 5392467"/>
              <a:gd name="connsiteX242" fmla="*/ 3310289 w 6096001"/>
              <a:gd name="connsiteY242" fmla="*/ 5065417 h 5392467"/>
              <a:gd name="connsiteX243" fmla="*/ 3302553 w 6096001"/>
              <a:gd name="connsiteY243" fmla="*/ 5084756 h 5392467"/>
              <a:gd name="connsiteX244" fmla="*/ 3300620 w 6096001"/>
              <a:gd name="connsiteY244" fmla="*/ 5096361 h 5392467"/>
              <a:gd name="connsiteX245" fmla="*/ 3304486 w 6096001"/>
              <a:gd name="connsiteY245" fmla="*/ 5096361 h 5392467"/>
              <a:gd name="connsiteX246" fmla="*/ 3314158 w 6096001"/>
              <a:gd name="connsiteY246" fmla="*/ 5084756 h 5392467"/>
              <a:gd name="connsiteX247" fmla="*/ 3308354 w 6096001"/>
              <a:gd name="connsiteY247" fmla="*/ 5088626 h 5392467"/>
              <a:gd name="connsiteX248" fmla="*/ 3316093 w 6096001"/>
              <a:gd name="connsiteY248" fmla="*/ 5082823 h 5392467"/>
              <a:gd name="connsiteX249" fmla="*/ 3333499 w 6096001"/>
              <a:gd name="connsiteY249" fmla="*/ 5057678 h 5392467"/>
              <a:gd name="connsiteX250" fmla="*/ 3335432 w 6096001"/>
              <a:gd name="connsiteY250" fmla="*/ 5044140 h 5392467"/>
              <a:gd name="connsiteX251" fmla="*/ 3325762 w 6096001"/>
              <a:gd name="connsiteY251" fmla="*/ 5042207 h 5392467"/>
              <a:gd name="connsiteX252" fmla="*/ 2886721 w 6096001"/>
              <a:gd name="connsiteY252" fmla="*/ 5034471 h 5392467"/>
              <a:gd name="connsiteX253" fmla="*/ 2882853 w 6096001"/>
              <a:gd name="connsiteY253" fmla="*/ 5042207 h 5392467"/>
              <a:gd name="connsiteX254" fmla="*/ 2884788 w 6096001"/>
              <a:gd name="connsiteY254" fmla="*/ 5044140 h 5392467"/>
              <a:gd name="connsiteX255" fmla="*/ 2890589 w 6096001"/>
              <a:gd name="connsiteY255" fmla="*/ 5040272 h 5392467"/>
              <a:gd name="connsiteX256" fmla="*/ 2886721 w 6096001"/>
              <a:gd name="connsiteY256" fmla="*/ 5034471 h 5392467"/>
              <a:gd name="connsiteX257" fmla="*/ 3817024 w 6096001"/>
              <a:gd name="connsiteY257" fmla="*/ 5005460 h 5392467"/>
              <a:gd name="connsiteX258" fmla="*/ 3737726 w 6096001"/>
              <a:gd name="connsiteY258" fmla="*/ 5048009 h 5392467"/>
              <a:gd name="connsiteX259" fmla="*/ 3817024 w 6096001"/>
              <a:gd name="connsiteY259" fmla="*/ 5005460 h 5392467"/>
              <a:gd name="connsiteX260" fmla="*/ 2993097 w 6096001"/>
              <a:gd name="connsiteY260" fmla="*/ 4991920 h 5392467"/>
              <a:gd name="connsiteX261" fmla="*/ 2987293 w 6096001"/>
              <a:gd name="connsiteY261" fmla="*/ 4993853 h 5392467"/>
              <a:gd name="connsiteX262" fmla="*/ 2987293 w 6096001"/>
              <a:gd name="connsiteY262" fmla="*/ 4995788 h 5392467"/>
              <a:gd name="connsiteX263" fmla="*/ 2993097 w 6096001"/>
              <a:gd name="connsiteY263" fmla="*/ 4993853 h 5392467"/>
              <a:gd name="connsiteX264" fmla="*/ 2993097 w 6096001"/>
              <a:gd name="connsiteY264" fmla="*/ 4991920 h 5392467"/>
              <a:gd name="connsiteX265" fmla="*/ 2991162 w 6096001"/>
              <a:gd name="connsiteY265" fmla="*/ 4962909 h 5392467"/>
              <a:gd name="connsiteX266" fmla="*/ 2991162 w 6096001"/>
              <a:gd name="connsiteY266" fmla="*/ 4966778 h 5392467"/>
              <a:gd name="connsiteX267" fmla="*/ 2995030 w 6096001"/>
              <a:gd name="connsiteY267" fmla="*/ 4964842 h 5392467"/>
              <a:gd name="connsiteX268" fmla="*/ 2991162 w 6096001"/>
              <a:gd name="connsiteY268" fmla="*/ 4962909 h 5392467"/>
              <a:gd name="connsiteX269" fmla="*/ 3155561 w 6096001"/>
              <a:gd name="connsiteY269" fmla="*/ 4947436 h 5392467"/>
              <a:gd name="connsiteX270" fmla="*/ 3153626 w 6096001"/>
              <a:gd name="connsiteY270" fmla="*/ 4949369 h 5392467"/>
              <a:gd name="connsiteX271" fmla="*/ 3157494 w 6096001"/>
              <a:gd name="connsiteY271" fmla="*/ 4947436 h 5392467"/>
              <a:gd name="connsiteX272" fmla="*/ 3155561 w 6096001"/>
              <a:gd name="connsiteY272" fmla="*/ 4947436 h 5392467"/>
              <a:gd name="connsiteX273" fmla="*/ 3083492 w 6096001"/>
              <a:gd name="connsiteY273" fmla="*/ 4945704 h 5392467"/>
              <a:gd name="connsiteX274" fmla="*/ 3070460 w 6096001"/>
              <a:gd name="connsiteY274" fmla="*/ 4957106 h 5392467"/>
              <a:gd name="connsiteX275" fmla="*/ 3068527 w 6096001"/>
              <a:gd name="connsiteY275" fmla="*/ 4959041 h 5392467"/>
              <a:gd name="connsiteX276" fmla="*/ 3072395 w 6096001"/>
              <a:gd name="connsiteY276" fmla="*/ 4951302 h 5392467"/>
              <a:gd name="connsiteX277" fmla="*/ 3074328 w 6096001"/>
              <a:gd name="connsiteY277" fmla="*/ 4949369 h 5392467"/>
              <a:gd name="connsiteX278" fmla="*/ 3085930 w 6096001"/>
              <a:gd name="connsiteY278" fmla="*/ 4943571 h 5392467"/>
              <a:gd name="connsiteX279" fmla="*/ 3084000 w 6096001"/>
              <a:gd name="connsiteY279" fmla="*/ 4945501 h 5392467"/>
              <a:gd name="connsiteX280" fmla="*/ 3083492 w 6096001"/>
              <a:gd name="connsiteY280" fmla="*/ 4945704 h 5392467"/>
              <a:gd name="connsiteX281" fmla="*/ 3085933 w 6096001"/>
              <a:gd name="connsiteY281" fmla="*/ 4943567 h 5392467"/>
              <a:gd name="connsiteX282" fmla="*/ 3085933 w 6096001"/>
              <a:gd name="connsiteY282" fmla="*/ 4943568 h 5392467"/>
              <a:gd name="connsiteX283" fmla="*/ 3085930 w 6096001"/>
              <a:gd name="connsiteY283" fmla="*/ 4943571 h 5392467"/>
              <a:gd name="connsiteX284" fmla="*/ 3242596 w 6096001"/>
              <a:gd name="connsiteY284" fmla="*/ 4931963 h 5392467"/>
              <a:gd name="connsiteX285" fmla="*/ 3238728 w 6096001"/>
              <a:gd name="connsiteY285" fmla="*/ 4933896 h 5392467"/>
              <a:gd name="connsiteX286" fmla="*/ 3229058 w 6096001"/>
              <a:gd name="connsiteY286" fmla="*/ 4937764 h 5392467"/>
              <a:gd name="connsiteX287" fmla="*/ 3229058 w 6096001"/>
              <a:gd name="connsiteY287" fmla="*/ 4941633 h 5392467"/>
              <a:gd name="connsiteX288" fmla="*/ 3232927 w 6096001"/>
              <a:gd name="connsiteY288" fmla="*/ 4945501 h 5392467"/>
              <a:gd name="connsiteX289" fmla="*/ 3238728 w 6096001"/>
              <a:gd name="connsiteY289" fmla="*/ 4943568 h 5392467"/>
              <a:gd name="connsiteX290" fmla="*/ 3236792 w 6096001"/>
              <a:gd name="connsiteY290" fmla="*/ 4947436 h 5392467"/>
              <a:gd name="connsiteX291" fmla="*/ 3254201 w 6096001"/>
              <a:gd name="connsiteY291" fmla="*/ 4939700 h 5392467"/>
              <a:gd name="connsiteX292" fmla="*/ 3242596 w 6096001"/>
              <a:gd name="connsiteY292" fmla="*/ 4931963 h 5392467"/>
              <a:gd name="connsiteX293" fmla="*/ 3151693 w 6096001"/>
              <a:gd name="connsiteY293" fmla="*/ 4922291 h 5392467"/>
              <a:gd name="connsiteX294" fmla="*/ 3145892 w 6096001"/>
              <a:gd name="connsiteY294" fmla="*/ 4926160 h 5392467"/>
              <a:gd name="connsiteX295" fmla="*/ 3147825 w 6096001"/>
              <a:gd name="connsiteY295" fmla="*/ 4928095 h 5392467"/>
              <a:gd name="connsiteX296" fmla="*/ 3149758 w 6096001"/>
              <a:gd name="connsiteY296" fmla="*/ 4926160 h 5392467"/>
              <a:gd name="connsiteX297" fmla="*/ 3151693 w 6096001"/>
              <a:gd name="connsiteY297" fmla="*/ 4922291 h 5392467"/>
              <a:gd name="connsiteX298" fmla="*/ 1720458 w 6096001"/>
              <a:gd name="connsiteY298" fmla="*/ 4875875 h 5392467"/>
              <a:gd name="connsiteX299" fmla="*/ 1714654 w 6096001"/>
              <a:gd name="connsiteY299" fmla="*/ 4879743 h 5392467"/>
              <a:gd name="connsiteX300" fmla="*/ 1716590 w 6096001"/>
              <a:gd name="connsiteY300" fmla="*/ 4881676 h 5392467"/>
              <a:gd name="connsiteX301" fmla="*/ 1722391 w 6096001"/>
              <a:gd name="connsiteY301" fmla="*/ 4877808 h 5392467"/>
              <a:gd name="connsiteX302" fmla="*/ 1720458 w 6096001"/>
              <a:gd name="connsiteY302" fmla="*/ 4875875 h 5392467"/>
              <a:gd name="connsiteX303" fmla="*/ 1142160 w 6096001"/>
              <a:gd name="connsiteY303" fmla="*/ 4850730 h 5392467"/>
              <a:gd name="connsiteX304" fmla="*/ 1134426 w 6096001"/>
              <a:gd name="connsiteY304" fmla="*/ 4860402 h 5392467"/>
              <a:gd name="connsiteX305" fmla="*/ 1138291 w 6096001"/>
              <a:gd name="connsiteY305" fmla="*/ 4858466 h 5392467"/>
              <a:gd name="connsiteX306" fmla="*/ 1142160 w 6096001"/>
              <a:gd name="connsiteY306" fmla="*/ 4852665 h 5392467"/>
              <a:gd name="connsiteX307" fmla="*/ 1142160 w 6096001"/>
              <a:gd name="connsiteY307" fmla="*/ 4850730 h 5392467"/>
              <a:gd name="connsiteX308" fmla="*/ 1417287 w 6096001"/>
              <a:gd name="connsiteY308" fmla="*/ 4781345 h 5392467"/>
              <a:gd name="connsiteX309" fmla="*/ 1409067 w 6096001"/>
              <a:gd name="connsiteY309" fmla="*/ 4786905 h 5392467"/>
              <a:gd name="connsiteX310" fmla="*/ 1405199 w 6096001"/>
              <a:gd name="connsiteY310" fmla="*/ 4798510 h 5392467"/>
              <a:gd name="connsiteX311" fmla="*/ 1428408 w 6096001"/>
              <a:gd name="connsiteY311" fmla="*/ 4783037 h 5392467"/>
              <a:gd name="connsiteX312" fmla="*/ 1417287 w 6096001"/>
              <a:gd name="connsiteY312" fmla="*/ 4781345 h 5392467"/>
              <a:gd name="connsiteX313" fmla="*/ 1449682 w 6096001"/>
              <a:gd name="connsiteY313" fmla="*/ 4765631 h 5392467"/>
              <a:gd name="connsiteX314" fmla="*/ 1438078 w 6096001"/>
              <a:gd name="connsiteY314" fmla="*/ 4771432 h 5392467"/>
              <a:gd name="connsiteX315" fmla="*/ 1440013 w 6096001"/>
              <a:gd name="connsiteY315" fmla="*/ 4773367 h 5392467"/>
              <a:gd name="connsiteX316" fmla="*/ 1445814 w 6096001"/>
              <a:gd name="connsiteY316" fmla="*/ 4769499 h 5392467"/>
              <a:gd name="connsiteX317" fmla="*/ 1449682 w 6096001"/>
              <a:gd name="connsiteY317" fmla="*/ 4765631 h 5392467"/>
              <a:gd name="connsiteX318" fmla="*/ 1507706 w 6096001"/>
              <a:gd name="connsiteY318" fmla="*/ 4734685 h 5392467"/>
              <a:gd name="connsiteX319" fmla="*/ 1480628 w 6096001"/>
              <a:gd name="connsiteY319" fmla="*/ 4746289 h 5392467"/>
              <a:gd name="connsiteX320" fmla="*/ 1482564 w 6096001"/>
              <a:gd name="connsiteY320" fmla="*/ 4746289 h 5392467"/>
              <a:gd name="connsiteX321" fmla="*/ 1470957 w 6096001"/>
              <a:gd name="connsiteY321" fmla="*/ 4752091 h 5392467"/>
              <a:gd name="connsiteX322" fmla="*/ 1467088 w 6096001"/>
              <a:gd name="connsiteY322" fmla="*/ 4754026 h 5392467"/>
              <a:gd name="connsiteX323" fmla="*/ 1461287 w 6096001"/>
              <a:gd name="connsiteY323" fmla="*/ 4765631 h 5392467"/>
              <a:gd name="connsiteX324" fmla="*/ 1441946 w 6096001"/>
              <a:gd name="connsiteY324" fmla="*/ 4779168 h 5392467"/>
              <a:gd name="connsiteX325" fmla="*/ 1378121 w 6096001"/>
              <a:gd name="connsiteY325" fmla="*/ 4825587 h 5392467"/>
              <a:gd name="connsiteX326" fmla="*/ 1397462 w 6096001"/>
              <a:gd name="connsiteY326" fmla="*/ 4817851 h 5392467"/>
              <a:gd name="connsiteX327" fmla="*/ 1432276 w 6096001"/>
              <a:gd name="connsiteY327" fmla="*/ 4796574 h 5392467"/>
              <a:gd name="connsiteX328" fmla="*/ 1436145 w 6096001"/>
              <a:gd name="connsiteY328" fmla="*/ 4794641 h 5392467"/>
              <a:gd name="connsiteX329" fmla="*/ 1449682 w 6096001"/>
              <a:gd name="connsiteY329" fmla="*/ 4783037 h 5392467"/>
              <a:gd name="connsiteX330" fmla="*/ 1499970 w 6096001"/>
              <a:gd name="connsiteY330" fmla="*/ 4746289 h 5392467"/>
              <a:gd name="connsiteX331" fmla="*/ 1511574 w 6096001"/>
              <a:gd name="connsiteY331" fmla="*/ 4734685 h 5392467"/>
              <a:gd name="connsiteX332" fmla="*/ 1507706 w 6096001"/>
              <a:gd name="connsiteY332" fmla="*/ 4734685 h 5392467"/>
              <a:gd name="connsiteX333" fmla="*/ 1681775 w 6096001"/>
              <a:gd name="connsiteY333" fmla="*/ 4725015 h 5392467"/>
              <a:gd name="connsiteX334" fmla="*/ 1683708 w 6096001"/>
              <a:gd name="connsiteY334" fmla="*/ 4732749 h 5392467"/>
              <a:gd name="connsiteX335" fmla="*/ 1683708 w 6096001"/>
              <a:gd name="connsiteY335" fmla="*/ 4725015 h 5392467"/>
              <a:gd name="connsiteX336" fmla="*/ 1681775 w 6096001"/>
              <a:gd name="connsiteY336" fmla="*/ 4725015 h 5392467"/>
              <a:gd name="connsiteX337" fmla="*/ 1573464 w 6096001"/>
              <a:gd name="connsiteY337" fmla="*/ 4707607 h 5392467"/>
              <a:gd name="connsiteX338" fmla="*/ 1565730 w 6096001"/>
              <a:gd name="connsiteY338" fmla="*/ 4709540 h 5392467"/>
              <a:gd name="connsiteX339" fmla="*/ 1563795 w 6096001"/>
              <a:gd name="connsiteY339" fmla="*/ 4711475 h 5392467"/>
              <a:gd name="connsiteX340" fmla="*/ 1559926 w 6096001"/>
              <a:gd name="connsiteY340" fmla="*/ 4715343 h 5392467"/>
              <a:gd name="connsiteX341" fmla="*/ 1561862 w 6096001"/>
              <a:gd name="connsiteY341" fmla="*/ 4719212 h 5392467"/>
              <a:gd name="connsiteX342" fmla="*/ 1573464 w 6096001"/>
              <a:gd name="connsiteY342" fmla="*/ 4707607 h 5392467"/>
              <a:gd name="connsiteX343" fmla="*/ 1120886 w 6096001"/>
              <a:gd name="connsiteY343" fmla="*/ 4597363 h 5392467"/>
              <a:gd name="connsiteX344" fmla="*/ 1120886 w 6096001"/>
              <a:gd name="connsiteY344" fmla="*/ 4605099 h 5392467"/>
              <a:gd name="connsiteX345" fmla="*/ 1126687 w 6096001"/>
              <a:gd name="connsiteY345" fmla="*/ 4610903 h 5392467"/>
              <a:gd name="connsiteX346" fmla="*/ 1132490 w 6096001"/>
              <a:gd name="connsiteY346" fmla="*/ 4605099 h 5392467"/>
              <a:gd name="connsiteX347" fmla="*/ 1120886 w 6096001"/>
              <a:gd name="connsiteY347" fmla="*/ 4597363 h 5392467"/>
              <a:gd name="connsiteX348" fmla="*/ 1411002 w 6096001"/>
              <a:gd name="connsiteY348" fmla="*/ 4523868 h 5392467"/>
              <a:gd name="connsiteX349" fmla="*/ 1407132 w 6096001"/>
              <a:gd name="connsiteY349" fmla="*/ 4529669 h 5392467"/>
              <a:gd name="connsiteX350" fmla="*/ 1411002 w 6096001"/>
              <a:gd name="connsiteY350" fmla="*/ 4525801 h 5392467"/>
              <a:gd name="connsiteX351" fmla="*/ 1411002 w 6096001"/>
              <a:gd name="connsiteY351" fmla="*/ 4523868 h 5392467"/>
              <a:gd name="connsiteX352" fmla="*/ 1190514 w 6096001"/>
              <a:gd name="connsiteY352" fmla="*/ 4519997 h 5392467"/>
              <a:gd name="connsiteX353" fmla="*/ 1182778 w 6096001"/>
              <a:gd name="connsiteY353" fmla="*/ 4523868 h 5392467"/>
              <a:gd name="connsiteX354" fmla="*/ 1180842 w 6096001"/>
              <a:gd name="connsiteY354" fmla="*/ 4527736 h 5392467"/>
              <a:gd name="connsiteX355" fmla="*/ 1190514 w 6096001"/>
              <a:gd name="connsiteY355" fmla="*/ 4519997 h 5392467"/>
              <a:gd name="connsiteX356" fmla="*/ 1385857 w 6096001"/>
              <a:gd name="connsiteY356" fmla="*/ 4500659 h 5392467"/>
              <a:gd name="connsiteX357" fmla="*/ 1385857 w 6096001"/>
              <a:gd name="connsiteY357" fmla="*/ 4504527 h 5392467"/>
              <a:gd name="connsiteX358" fmla="*/ 1389726 w 6096001"/>
              <a:gd name="connsiteY358" fmla="*/ 4502592 h 5392467"/>
              <a:gd name="connsiteX359" fmla="*/ 1387793 w 6096001"/>
              <a:gd name="connsiteY359" fmla="*/ 4500659 h 5392467"/>
              <a:gd name="connsiteX360" fmla="*/ 1385857 w 6096001"/>
              <a:gd name="connsiteY360" fmla="*/ 4500659 h 5392467"/>
              <a:gd name="connsiteX361" fmla="*/ 1407132 w 6096001"/>
              <a:gd name="connsiteY361" fmla="*/ 4477449 h 5392467"/>
              <a:gd name="connsiteX362" fmla="*/ 1401330 w 6096001"/>
              <a:gd name="connsiteY362" fmla="*/ 4481317 h 5392467"/>
              <a:gd name="connsiteX363" fmla="*/ 1397462 w 6096001"/>
              <a:gd name="connsiteY363" fmla="*/ 4485186 h 5392467"/>
              <a:gd name="connsiteX364" fmla="*/ 1405199 w 6096001"/>
              <a:gd name="connsiteY364" fmla="*/ 4485186 h 5392467"/>
              <a:gd name="connsiteX365" fmla="*/ 1407132 w 6096001"/>
              <a:gd name="connsiteY365" fmla="*/ 4477449 h 5392467"/>
              <a:gd name="connsiteX366" fmla="*/ 1411002 w 6096001"/>
              <a:gd name="connsiteY366" fmla="*/ 4450371 h 5392467"/>
              <a:gd name="connsiteX367" fmla="*/ 1345242 w 6096001"/>
              <a:gd name="connsiteY367" fmla="*/ 4500659 h 5392467"/>
              <a:gd name="connsiteX368" fmla="*/ 1351043 w 6096001"/>
              <a:gd name="connsiteY368" fmla="*/ 4506460 h 5392467"/>
              <a:gd name="connsiteX369" fmla="*/ 1351043 w 6096001"/>
              <a:gd name="connsiteY369" fmla="*/ 4510328 h 5392467"/>
              <a:gd name="connsiteX370" fmla="*/ 1352978 w 6096001"/>
              <a:gd name="connsiteY370" fmla="*/ 4510328 h 5392467"/>
              <a:gd name="connsiteX371" fmla="*/ 1368451 w 6096001"/>
              <a:gd name="connsiteY371" fmla="*/ 4500659 h 5392467"/>
              <a:gd name="connsiteX372" fmla="*/ 1381989 w 6096001"/>
              <a:gd name="connsiteY372" fmla="*/ 4494855 h 5392467"/>
              <a:gd name="connsiteX373" fmla="*/ 1391661 w 6096001"/>
              <a:gd name="connsiteY373" fmla="*/ 4481317 h 5392467"/>
              <a:gd name="connsiteX374" fmla="*/ 1395529 w 6096001"/>
              <a:gd name="connsiteY374" fmla="*/ 4477449 h 5392467"/>
              <a:gd name="connsiteX375" fmla="*/ 1399395 w 6096001"/>
              <a:gd name="connsiteY375" fmla="*/ 4469713 h 5392467"/>
              <a:gd name="connsiteX376" fmla="*/ 1401330 w 6096001"/>
              <a:gd name="connsiteY376" fmla="*/ 4471645 h 5392467"/>
              <a:gd name="connsiteX377" fmla="*/ 1403263 w 6096001"/>
              <a:gd name="connsiteY377" fmla="*/ 4461976 h 5392467"/>
              <a:gd name="connsiteX378" fmla="*/ 1411002 w 6096001"/>
              <a:gd name="connsiteY378" fmla="*/ 4450371 h 5392467"/>
              <a:gd name="connsiteX379" fmla="*/ 1499970 w 6096001"/>
              <a:gd name="connsiteY379" fmla="*/ 4394283 h 5392467"/>
              <a:gd name="connsiteX380" fmla="*/ 1484497 w 6096001"/>
              <a:gd name="connsiteY380" fmla="*/ 4411689 h 5392467"/>
              <a:gd name="connsiteX381" fmla="*/ 1499970 w 6096001"/>
              <a:gd name="connsiteY381" fmla="*/ 4394283 h 5392467"/>
              <a:gd name="connsiteX382" fmla="*/ 1471440 w 6096001"/>
              <a:gd name="connsiteY382" fmla="*/ 4375907 h 5392467"/>
              <a:gd name="connsiteX383" fmla="*/ 1469024 w 6096001"/>
              <a:gd name="connsiteY383" fmla="*/ 4380743 h 5392467"/>
              <a:gd name="connsiteX384" fmla="*/ 1476760 w 6096001"/>
              <a:gd name="connsiteY384" fmla="*/ 4376874 h 5392467"/>
              <a:gd name="connsiteX385" fmla="*/ 1471440 w 6096001"/>
              <a:gd name="connsiteY385" fmla="*/ 4375907 h 5392467"/>
              <a:gd name="connsiteX386" fmla="*/ 1528980 w 6096001"/>
              <a:gd name="connsiteY386" fmla="*/ 4342062 h 5392467"/>
              <a:gd name="connsiteX387" fmla="*/ 1513507 w 6096001"/>
              <a:gd name="connsiteY387" fmla="*/ 4351732 h 5392467"/>
              <a:gd name="connsiteX388" fmla="*/ 1523179 w 6096001"/>
              <a:gd name="connsiteY388" fmla="*/ 4345928 h 5392467"/>
              <a:gd name="connsiteX389" fmla="*/ 1528980 w 6096001"/>
              <a:gd name="connsiteY389" fmla="*/ 4342062 h 5392467"/>
              <a:gd name="connsiteX390" fmla="*/ 1917736 w 6096001"/>
              <a:gd name="connsiteY390" fmla="*/ 4291775 h 5392467"/>
              <a:gd name="connsiteX391" fmla="*/ 1919669 w 6096001"/>
              <a:gd name="connsiteY391" fmla="*/ 4293708 h 5392467"/>
              <a:gd name="connsiteX392" fmla="*/ 1921602 w 6096001"/>
              <a:gd name="connsiteY392" fmla="*/ 4291775 h 5392467"/>
              <a:gd name="connsiteX393" fmla="*/ 1917736 w 6096001"/>
              <a:gd name="connsiteY393" fmla="*/ 4291775 h 5392467"/>
              <a:gd name="connsiteX394" fmla="*/ 1944812 w 6096001"/>
              <a:gd name="connsiteY394" fmla="*/ 4282103 h 5392467"/>
              <a:gd name="connsiteX395" fmla="*/ 1942879 w 6096001"/>
              <a:gd name="connsiteY395" fmla="*/ 4287907 h 5392467"/>
              <a:gd name="connsiteX396" fmla="*/ 1946747 w 6096001"/>
              <a:gd name="connsiteY396" fmla="*/ 4282103 h 5392467"/>
              <a:gd name="connsiteX397" fmla="*/ 1944812 w 6096001"/>
              <a:gd name="connsiteY397" fmla="*/ 4282103 h 5392467"/>
              <a:gd name="connsiteX398" fmla="*/ 4849836 w 6096001"/>
              <a:gd name="connsiteY398" fmla="*/ 4179598 h 5392467"/>
              <a:gd name="connsiteX399" fmla="*/ 4836296 w 6096001"/>
              <a:gd name="connsiteY399" fmla="*/ 4181531 h 5392467"/>
              <a:gd name="connsiteX400" fmla="*/ 4844032 w 6096001"/>
              <a:gd name="connsiteY400" fmla="*/ 4183464 h 5392467"/>
              <a:gd name="connsiteX401" fmla="*/ 4844032 w 6096001"/>
              <a:gd name="connsiteY401" fmla="*/ 4185399 h 5392467"/>
              <a:gd name="connsiteX402" fmla="*/ 4855637 w 6096001"/>
              <a:gd name="connsiteY402" fmla="*/ 4181531 h 5392467"/>
              <a:gd name="connsiteX403" fmla="*/ 4849836 w 6096001"/>
              <a:gd name="connsiteY403" fmla="*/ 4179598 h 5392467"/>
              <a:gd name="connsiteX404" fmla="*/ 4874978 w 6096001"/>
              <a:gd name="connsiteY404" fmla="*/ 4148652 h 5392467"/>
              <a:gd name="connsiteX405" fmla="*/ 4857572 w 6096001"/>
              <a:gd name="connsiteY405" fmla="*/ 4156388 h 5392467"/>
              <a:gd name="connsiteX406" fmla="*/ 4855637 w 6096001"/>
              <a:gd name="connsiteY406" fmla="*/ 4158321 h 5392467"/>
              <a:gd name="connsiteX407" fmla="*/ 4855637 w 6096001"/>
              <a:gd name="connsiteY407" fmla="*/ 4169926 h 5392467"/>
              <a:gd name="connsiteX408" fmla="*/ 4865306 w 6096001"/>
              <a:gd name="connsiteY408" fmla="*/ 4164123 h 5392467"/>
              <a:gd name="connsiteX409" fmla="*/ 4873045 w 6096001"/>
              <a:gd name="connsiteY409" fmla="*/ 4156388 h 5392467"/>
              <a:gd name="connsiteX410" fmla="*/ 4876913 w 6096001"/>
              <a:gd name="connsiteY410" fmla="*/ 4156388 h 5392467"/>
              <a:gd name="connsiteX411" fmla="*/ 4878846 w 6096001"/>
              <a:gd name="connsiteY411" fmla="*/ 4154453 h 5392467"/>
              <a:gd name="connsiteX412" fmla="*/ 4871110 w 6096001"/>
              <a:gd name="connsiteY412" fmla="*/ 4152518 h 5392467"/>
              <a:gd name="connsiteX413" fmla="*/ 4878846 w 6096001"/>
              <a:gd name="connsiteY413" fmla="*/ 4148652 h 5392467"/>
              <a:gd name="connsiteX414" fmla="*/ 4874978 w 6096001"/>
              <a:gd name="connsiteY414" fmla="*/ 4148652 h 5392467"/>
              <a:gd name="connsiteX415" fmla="*/ 5246050 w 6096001"/>
              <a:gd name="connsiteY415" fmla="*/ 4117154 h 5392467"/>
              <a:gd name="connsiteX416" fmla="*/ 5248259 w 6096001"/>
              <a:gd name="connsiteY416" fmla="*/ 4121574 h 5392467"/>
              <a:gd name="connsiteX417" fmla="*/ 5242458 w 6096001"/>
              <a:gd name="connsiteY417" fmla="*/ 4119639 h 5392467"/>
              <a:gd name="connsiteX418" fmla="*/ 5242458 w 6096001"/>
              <a:gd name="connsiteY418" fmla="*/ 4118672 h 5392467"/>
              <a:gd name="connsiteX419" fmla="*/ 5244393 w 6096001"/>
              <a:gd name="connsiteY419" fmla="*/ 4117706 h 5392467"/>
              <a:gd name="connsiteX420" fmla="*/ 5273404 w 6096001"/>
              <a:gd name="connsiteY420" fmla="*/ 4113838 h 5392467"/>
              <a:gd name="connsiteX421" fmla="*/ 5269535 w 6096001"/>
              <a:gd name="connsiteY421" fmla="*/ 4115770 h 5392467"/>
              <a:gd name="connsiteX422" fmla="*/ 5275337 w 6096001"/>
              <a:gd name="connsiteY422" fmla="*/ 4113838 h 5392467"/>
              <a:gd name="connsiteX423" fmla="*/ 5273404 w 6096001"/>
              <a:gd name="connsiteY423" fmla="*/ 4113838 h 5392467"/>
              <a:gd name="connsiteX424" fmla="*/ 5310151 w 6096001"/>
              <a:gd name="connsiteY424" fmla="*/ 4090628 h 5392467"/>
              <a:gd name="connsiteX425" fmla="*/ 5296611 w 6096001"/>
              <a:gd name="connsiteY425" fmla="*/ 4096429 h 5392467"/>
              <a:gd name="connsiteX426" fmla="*/ 5310151 w 6096001"/>
              <a:gd name="connsiteY426" fmla="*/ 4090628 h 5392467"/>
              <a:gd name="connsiteX427" fmla="*/ 5343030 w 6096001"/>
              <a:gd name="connsiteY427" fmla="*/ 4080959 h 5392467"/>
              <a:gd name="connsiteX428" fmla="*/ 5331427 w 6096001"/>
              <a:gd name="connsiteY428" fmla="*/ 4084824 h 5392467"/>
              <a:gd name="connsiteX429" fmla="*/ 5331427 w 6096001"/>
              <a:gd name="connsiteY429" fmla="*/ 4086760 h 5392467"/>
              <a:gd name="connsiteX430" fmla="*/ 5329492 w 6096001"/>
              <a:gd name="connsiteY430" fmla="*/ 4090628 h 5392467"/>
              <a:gd name="connsiteX431" fmla="*/ 5348833 w 6096001"/>
              <a:gd name="connsiteY431" fmla="*/ 4084824 h 5392467"/>
              <a:gd name="connsiteX432" fmla="*/ 5348833 w 6096001"/>
              <a:gd name="connsiteY432" fmla="*/ 4082891 h 5392467"/>
              <a:gd name="connsiteX433" fmla="*/ 5346898 w 6096001"/>
              <a:gd name="connsiteY433" fmla="*/ 4082891 h 5392467"/>
              <a:gd name="connsiteX434" fmla="*/ 5344965 w 6096001"/>
              <a:gd name="connsiteY434" fmla="*/ 4080959 h 5392467"/>
              <a:gd name="connsiteX435" fmla="*/ 5343030 w 6096001"/>
              <a:gd name="connsiteY435" fmla="*/ 4080959 h 5392467"/>
              <a:gd name="connsiteX436" fmla="*/ 5174764 w 6096001"/>
              <a:gd name="connsiteY436" fmla="*/ 4079023 h 5392467"/>
              <a:gd name="connsiteX437" fmla="*/ 5145751 w 6096001"/>
              <a:gd name="connsiteY437" fmla="*/ 4082891 h 5392467"/>
              <a:gd name="connsiteX438" fmla="*/ 5091598 w 6096001"/>
              <a:gd name="connsiteY438" fmla="*/ 4092561 h 5392467"/>
              <a:gd name="connsiteX439" fmla="*/ 5087730 w 6096001"/>
              <a:gd name="connsiteY439" fmla="*/ 4090628 h 5392467"/>
              <a:gd name="connsiteX440" fmla="*/ 5091598 w 6096001"/>
              <a:gd name="connsiteY440" fmla="*/ 4088693 h 5392467"/>
              <a:gd name="connsiteX441" fmla="*/ 5091598 w 6096001"/>
              <a:gd name="connsiteY441" fmla="*/ 4086760 h 5392467"/>
              <a:gd name="connsiteX442" fmla="*/ 5049047 w 6096001"/>
              <a:gd name="connsiteY442" fmla="*/ 4094496 h 5392467"/>
              <a:gd name="connsiteX443" fmla="*/ 5050983 w 6096001"/>
              <a:gd name="connsiteY443" fmla="*/ 4100297 h 5392467"/>
              <a:gd name="connsiteX444" fmla="*/ 5031641 w 6096001"/>
              <a:gd name="connsiteY444" fmla="*/ 4104166 h 5392467"/>
              <a:gd name="connsiteX445" fmla="*/ 5012300 w 6096001"/>
              <a:gd name="connsiteY445" fmla="*/ 4108034 h 5392467"/>
              <a:gd name="connsiteX446" fmla="*/ 4991023 w 6096001"/>
              <a:gd name="connsiteY446" fmla="*/ 4111902 h 5392467"/>
              <a:gd name="connsiteX447" fmla="*/ 4971682 w 6096001"/>
              <a:gd name="connsiteY447" fmla="*/ 4115770 h 5392467"/>
              <a:gd name="connsiteX448" fmla="*/ 4952341 w 6096001"/>
              <a:gd name="connsiteY448" fmla="*/ 4119639 h 5392467"/>
              <a:gd name="connsiteX449" fmla="*/ 4933000 w 6096001"/>
              <a:gd name="connsiteY449" fmla="*/ 4127375 h 5392467"/>
              <a:gd name="connsiteX450" fmla="*/ 4938803 w 6096001"/>
              <a:gd name="connsiteY450" fmla="*/ 4127375 h 5392467"/>
              <a:gd name="connsiteX451" fmla="*/ 5025838 w 6096001"/>
              <a:gd name="connsiteY451" fmla="*/ 4109969 h 5392467"/>
              <a:gd name="connsiteX452" fmla="*/ 5054848 w 6096001"/>
              <a:gd name="connsiteY452" fmla="*/ 4104166 h 5392467"/>
              <a:gd name="connsiteX453" fmla="*/ 5062585 w 6096001"/>
              <a:gd name="connsiteY453" fmla="*/ 4106101 h 5392467"/>
              <a:gd name="connsiteX454" fmla="*/ 5054848 w 6096001"/>
              <a:gd name="connsiteY454" fmla="*/ 4109969 h 5392467"/>
              <a:gd name="connsiteX455" fmla="*/ 5021969 w 6096001"/>
              <a:gd name="connsiteY455" fmla="*/ 4117706 h 5392467"/>
              <a:gd name="connsiteX456" fmla="*/ 4987155 w 6096001"/>
              <a:gd name="connsiteY456" fmla="*/ 4123507 h 5392467"/>
              <a:gd name="connsiteX457" fmla="*/ 4919462 w 6096001"/>
              <a:gd name="connsiteY457" fmla="*/ 4137047 h 5392467"/>
              <a:gd name="connsiteX458" fmla="*/ 4892384 w 6096001"/>
              <a:gd name="connsiteY458" fmla="*/ 4142848 h 5392467"/>
              <a:gd name="connsiteX459" fmla="*/ 4892384 w 6096001"/>
              <a:gd name="connsiteY459" fmla="*/ 4144784 h 5392467"/>
              <a:gd name="connsiteX460" fmla="*/ 4890451 w 6096001"/>
              <a:gd name="connsiteY460" fmla="*/ 4148652 h 5392467"/>
              <a:gd name="connsiteX461" fmla="*/ 4890451 w 6096001"/>
              <a:gd name="connsiteY461" fmla="*/ 4150585 h 5392467"/>
              <a:gd name="connsiteX462" fmla="*/ 4902056 w 6096001"/>
              <a:gd name="connsiteY462" fmla="*/ 4150585 h 5392467"/>
              <a:gd name="connsiteX463" fmla="*/ 4902056 w 6096001"/>
              <a:gd name="connsiteY463" fmla="*/ 4152518 h 5392467"/>
              <a:gd name="connsiteX464" fmla="*/ 4878846 w 6096001"/>
              <a:gd name="connsiteY464" fmla="*/ 4160257 h 5392467"/>
              <a:gd name="connsiteX465" fmla="*/ 4921397 w 6096001"/>
              <a:gd name="connsiteY465" fmla="*/ 4152518 h 5392467"/>
              <a:gd name="connsiteX466" fmla="*/ 4942671 w 6096001"/>
              <a:gd name="connsiteY466" fmla="*/ 4148652 h 5392467"/>
              <a:gd name="connsiteX467" fmla="*/ 4944607 w 6096001"/>
              <a:gd name="connsiteY467" fmla="*/ 4148652 h 5392467"/>
              <a:gd name="connsiteX468" fmla="*/ 5004564 w 6096001"/>
              <a:gd name="connsiteY468" fmla="*/ 4129311 h 5392467"/>
              <a:gd name="connsiteX469" fmla="*/ 5020037 w 6096001"/>
              <a:gd name="connsiteY469" fmla="*/ 4127375 h 5392467"/>
              <a:gd name="connsiteX470" fmla="*/ 5018101 w 6096001"/>
              <a:gd name="connsiteY470" fmla="*/ 4133179 h 5392467"/>
              <a:gd name="connsiteX471" fmla="*/ 5023905 w 6096001"/>
              <a:gd name="connsiteY471" fmla="*/ 4133179 h 5392467"/>
              <a:gd name="connsiteX472" fmla="*/ 5037442 w 6096001"/>
              <a:gd name="connsiteY472" fmla="*/ 4131244 h 5392467"/>
              <a:gd name="connsiteX473" fmla="*/ 5043244 w 6096001"/>
              <a:gd name="connsiteY473" fmla="*/ 4127375 h 5392467"/>
              <a:gd name="connsiteX474" fmla="*/ 5039375 w 6096001"/>
              <a:gd name="connsiteY474" fmla="*/ 4121574 h 5392467"/>
              <a:gd name="connsiteX475" fmla="*/ 5041311 w 6096001"/>
              <a:gd name="connsiteY475" fmla="*/ 4119639 h 5392467"/>
              <a:gd name="connsiteX476" fmla="*/ 5066453 w 6096001"/>
              <a:gd name="connsiteY476" fmla="*/ 4104166 h 5392467"/>
              <a:gd name="connsiteX477" fmla="*/ 5074190 w 6096001"/>
              <a:gd name="connsiteY477" fmla="*/ 4100297 h 5392467"/>
              <a:gd name="connsiteX478" fmla="*/ 5093531 w 6096001"/>
              <a:gd name="connsiteY478" fmla="*/ 4096429 h 5392467"/>
              <a:gd name="connsiteX479" fmla="*/ 5147687 w 6096001"/>
              <a:gd name="connsiteY479" fmla="*/ 4086760 h 5392467"/>
              <a:gd name="connsiteX480" fmla="*/ 5176697 w 6096001"/>
              <a:gd name="connsiteY480" fmla="*/ 4079023 h 5392467"/>
              <a:gd name="connsiteX481" fmla="*/ 5174764 w 6096001"/>
              <a:gd name="connsiteY481" fmla="*/ 4079023 h 5392467"/>
              <a:gd name="connsiteX482" fmla="*/ 5385581 w 6096001"/>
              <a:gd name="connsiteY482" fmla="*/ 4077088 h 5392467"/>
              <a:gd name="connsiteX483" fmla="*/ 5368175 w 6096001"/>
              <a:gd name="connsiteY483" fmla="*/ 4080959 h 5392467"/>
              <a:gd name="connsiteX484" fmla="*/ 5385581 w 6096001"/>
              <a:gd name="connsiteY484" fmla="*/ 4077088 h 5392467"/>
              <a:gd name="connsiteX485" fmla="*/ 5472615 w 6096001"/>
              <a:gd name="connsiteY485" fmla="*/ 4075155 h 5392467"/>
              <a:gd name="connsiteX486" fmla="*/ 5476483 w 6096001"/>
              <a:gd name="connsiteY486" fmla="*/ 4075155 h 5392467"/>
              <a:gd name="connsiteX487" fmla="*/ 5476483 w 6096001"/>
              <a:gd name="connsiteY487" fmla="*/ 4077088 h 5392467"/>
              <a:gd name="connsiteX488" fmla="*/ 5472615 w 6096001"/>
              <a:gd name="connsiteY488" fmla="*/ 4077088 h 5392467"/>
              <a:gd name="connsiteX489" fmla="*/ 5472615 w 6096001"/>
              <a:gd name="connsiteY489" fmla="*/ 4075155 h 5392467"/>
              <a:gd name="connsiteX490" fmla="*/ 5161224 w 6096001"/>
              <a:gd name="connsiteY490" fmla="*/ 4063550 h 5392467"/>
              <a:gd name="connsiteX491" fmla="*/ 5161224 w 6096001"/>
              <a:gd name="connsiteY491" fmla="*/ 4065483 h 5392467"/>
              <a:gd name="connsiteX492" fmla="*/ 5151555 w 6096001"/>
              <a:gd name="connsiteY492" fmla="*/ 4071287 h 5392467"/>
              <a:gd name="connsiteX493" fmla="*/ 5151555 w 6096001"/>
              <a:gd name="connsiteY493" fmla="*/ 4065483 h 5392467"/>
              <a:gd name="connsiteX494" fmla="*/ 5161224 w 6096001"/>
              <a:gd name="connsiteY494" fmla="*/ 4063550 h 5392467"/>
              <a:gd name="connsiteX495" fmla="*/ 5217315 w 6096001"/>
              <a:gd name="connsiteY495" fmla="*/ 4061617 h 5392467"/>
              <a:gd name="connsiteX496" fmla="*/ 5207643 w 6096001"/>
              <a:gd name="connsiteY496" fmla="*/ 4063550 h 5392467"/>
              <a:gd name="connsiteX497" fmla="*/ 5180566 w 6096001"/>
              <a:gd name="connsiteY497" fmla="*/ 4071287 h 5392467"/>
              <a:gd name="connsiteX498" fmla="*/ 5188302 w 6096001"/>
              <a:gd name="connsiteY498" fmla="*/ 4071287 h 5392467"/>
              <a:gd name="connsiteX499" fmla="*/ 5197974 w 6096001"/>
              <a:gd name="connsiteY499" fmla="*/ 4069354 h 5392467"/>
              <a:gd name="connsiteX500" fmla="*/ 5217315 w 6096001"/>
              <a:gd name="connsiteY500" fmla="*/ 4061617 h 5392467"/>
              <a:gd name="connsiteX501" fmla="*/ 5267600 w 6096001"/>
              <a:gd name="connsiteY501" fmla="*/ 4050013 h 5392467"/>
              <a:gd name="connsiteX502" fmla="*/ 5242458 w 6096001"/>
              <a:gd name="connsiteY502" fmla="*/ 4055814 h 5392467"/>
              <a:gd name="connsiteX503" fmla="*/ 5226985 w 6096001"/>
              <a:gd name="connsiteY503" fmla="*/ 4059682 h 5392467"/>
              <a:gd name="connsiteX504" fmla="*/ 5226985 w 6096001"/>
              <a:gd name="connsiteY504" fmla="*/ 4063550 h 5392467"/>
              <a:gd name="connsiteX505" fmla="*/ 5257931 w 6096001"/>
              <a:gd name="connsiteY505" fmla="*/ 4057749 h 5392467"/>
              <a:gd name="connsiteX506" fmla="*/ 5261799 w 6096001"/>
              <a:gd name="connsiteY506" fmla="*/ 4057749 h 5392467"/>
              <a:gd name="connsiteX507" fmla="*/ 5275337 w 6096001"/>
              <a:gd name="connsiteY507" fmla="*/ 4053881 h 5392467"/>
              <a:gd name="connsiteX508" fmla="*/ 5285008 w 6096001"/>
              <a:gd name="connsiteY508" fmla="*/ 4050013 h 5392467"/>
              <a:gd name="connsiteX509" fmla="*/ 5267600 w 6096001"/>
              <a:gd name="connsiteY509" fmla="*/ 4050013 h 5392467"/>
              <a:gd name="connsiteX510" fmla="*/ 5534507 w 6096001"/>
              <a:gd name="connsiteY510" fmla="*/ 4048077 h 5392467"/>
              <a:gd name="connsiteX511" fmla="*/ 5536440 w 6096001"/>
              <a:gd name="connsiteY511" fmla="*/ 4048077 h 5392467"/>
              <a:gd name="connsiteX512" fmla="*/ 5542244 w 6096001"/>
              <a:gd name="connsiteY512" fmla="*/ 4051945 h 5392467"/>
              <a:gd name="connsiteX513" fmla="*/ 5528704 w 6096001"/>
              <a:gd name="connsiteY513" fmla="*/ 4053881 h 5392467"/>
              <a:gd name="connsiteX514" fmla="*/ 5532572 w 6096001"/>
              <a:gd name="connsiteY514" fmla="*/ 4050013 h 5392467"/>
              <a:gd name="connsiteX515" fmla="*/ 5534507 w 6096001"/>
              <a:gd name="connsiteY515" fmla="*/ 4048077 h 5392467"/>
              <a:gd name="connsiteX516" fmla="*/ 5449406 w 6096001"/>
              <a:gd name="connsiteY516" fmla="*/ 4048077 h 5392467"/>
              <a:gd name="connsiteX517" fmla="*/ 5428131 w 6096001"/>
              <a:gd name="connsiteY517" fmla="*/ 4051945 h 5392467"/>
              <a:gd name="connsiteX518" fmla="*/ 5420395 w 6096001"/>
              <a:gd name="connsiteY518" fmla="*/ 4053881 h 5392467"/>
              <a:gd name="connsiteX519" fmla="*/ 5414594 w 6096001"/>
              <a:gd name="connsiteY519" fmla="*/ 4057749 h 5392467"/>
              <a:gd name="connsiteX520" fmla="*/ 5449406 w 6096001"/>
              <a:gd name="connsiteY520" fmla="*/ 4048077 h 5392467"/>
              <a:gd name="connsiteX521" fmla="*/ 5737587 w 6096001"/>
              <a:gd name="connsiteY521" fmla="*/ 4030671 h 5392467"/>
              <a:gd name="connsiteX522" fmla="*/ 5741455 w 6096001"/>
              <a:gd name="connsiteY522" fmla="*/ 4032604 h 5392467"/>
              <a:gd name="connsiteX523" fmla="*/ 5739522 w 6096001"/>
              <a:gd name="connsiteY523" fmla="*/ 4034539 h 5392467"/>
              <a:gd name="connsiteX524" fmla="*/ 5735654 w 6096001"/>
              <a:gd name="connsiteY524" fmla="*/ 4032604 h 5392467"/>
              <a:gd name="connsiteX525" fmla="*/ 5737587 w 6096001"/>
              <a:gd name="connsiteY525" fmla="*/ 4030671 h 5392467"/>
              <a:gd name="connsiteX526" fmla="*/ 5762732 w 6096001"/>
              <a:gd name="connsiteY526" fmla="*/ 4028736 h 5392467"/>
              <a:gd name="connsiteX527" fmla="*/ 5758864 w 6096001"/>
              <a:gd name="connsiteY527" fmla="*/ 4034539 h 5392467"/>
              <a:gd name="connsiteX528" fmla="*/ 5756928 w 6096001"/>
              <a:gd name="connsiteY528" fmla="*/ 4034539 h 5392467"/>
              <a:gd name="connsiteX529" fmla="*/ 5754993 w 6096001"/>
              <a:gd name="connsiteY529" fmla="*/ 4030671 h 5392467"/>
              <a:gd name="connsiteX530" fmla="*/ 5762732 w 6096001"/>
              <a:gd name="connsiteY530" fmla="*/ 4028736 h 5392467"/>
              <a:gd name="connsiteX531" fmla="*/ 5535958 w 6096001"/>
              <a:gd name="connsiteY531" fmla="*/ 4025110 h 5392467"/>
              <a:gd name="connsiteX532" fmla="*/ 5524838 w 6096001"/>
              <a:gd name="connsiteY532" fmla="*/ 4030671 h 5392467"/>
              <a:gd name="connsiteX533" fmla="*/ 5507430 w 6096001"/>
              <a:gd name="connsiteY533" fmla="*/ 4036472 h 5392467"/>
              <a:gd name="connsiteX534" fmla="*/ 5532572 w 6096001"/>
              <a:gd name="connsiteY534" fmla="*/ 4036472 h 5392467"/>
              <a:gd name="connsiteX535" fmla="*/ 5549980 w 6096001"/>
              <a:gd name="connsiteY535" fmla="*/ 4032604 h 5392467"/>
              <a:gd name="connsiteX536" fmla="*/ 5549980 w 6096001"/>
              <a:gd name="connsiteY536" fmla="*/ 4026803 h 5392467"/>
              <a:gd name="connsiteX537" fmla="*/ 5535958 w 6096001"/>
              <a:gd name="connsiteY537" fmla="*/ 4025110 h 5392467"/>
              <a:gd name="connsiteX538" fmla="*/ 5530639 w 6096001"/>
              <a:gd name="connsiteY538" fmla="*/ 4009395 h 5392467"/>
              <a:gd name="connsiteX539" fmla="*/ 5509362 w 6096001"/>
              <a:gd name="connsiteY539" fmla="*/ 4011330 h 5392467"/>
              <a:gd name="connsiteX540" fmla="*/ 5486155 w 6096001"/>
              <a:gd name="connsiteY540" fmla="*/ 4015198 h 5392467"/>
              <a:gd name="connsiteX541" fmla="*/ 5488088 w 6096001"/>
              <a:gd name="connsiteY541" fmla="*/ 4013263 h 5392467"/>
              <a:gd name="connsiteX542" fmla="*/ 5474551 w 6096001"/>
              <a:gd name="connsiteY542" fmla="*/ 4015198 h 5392467"/>
              <a:gd name="connsiteX543" fmla="*/ 5457142 w 6096001"/>
              <a:gd name="connsiteY543" fmla="*/ 4015198 h 5392467"/>
              <a:gd name="connsiteX544" fmla="*/ 5443604 w 6096001"/>
              <a:gd name="connsiteY544" fmla="*/ 4020999 h 5392467"/>
              <a:gd name="connsiteX545" fmla="*/ 5432000 w 6096001"/>
              <a:gd name="connsiteY545" fmla="*/ 4022935 h 5392467"/>
              <a:gd name="connsiteX546" fmla="*/ 5402987 w 6096001"/>
              <a:gd name="connsiteY546" fmla="*/ 4026803 h 5392467"/>
              <a:gd name="connsiteX547" fmla="*/ 5401054 w 6096001"/>
              <a:gd name="connsiteY547" fmla="*/ 4030671 h 5392467"/>
              <a:gd name="connsiteX548" fmla="*/ 5433933 w 6096001"/>
              <a:gd name="connsiteY548" fmla="*/ 4022935 h 5392467"/>
              <a:gd name="connsiteX549" fmla="*/ 5430064 w 6096001"/>
              <a:gd name="connsiteY549" fmla="*/ 4030671 h 5392467"/>
              <a:gd name="connsiteX550" fmla="*/ 5393317 w 6096001"/>
              <a:gd name="connsiteY550" fmla="*/ 4040341 h 5392467"/>
              <a:gd name="connsiteX551" fmla="*/ 5372043 w 6096001"/>
              <a:gd name="connsiteY551" fmla="*/ 4048077 h 5392467"/>
              <a:gd name="connsiteX552" fmla="*/ 5391384 w 6096001"/>
              <a:gd name="connsiteY552" fmla="*/ 4044209 h 5392467"/>
              <a:gd name="connsiteX553" fmla="*/ 5437803 w 6096001"/>
              <a:gd name="connsiteY553" fmla="*/ 4030671 h 5392467"/>
              <a:gd name="connsiteX554" fmla="*/ 5476483 w 6096001"/>
              <a:gd name="connsiteY554" fmla="*/ 4019066 h 5392467"/>
              <a:gd name="connsiteX555" fmla="*/ 5503561 w 6096001"/>
              <a:gd name="connsiteY555" fmla="*/ 4013263 h 5392467"/>
              <a:gd name="connsiteX556" fmla="*/ 5530639 w 6096001"/>
              <a:gd name="connsiteY556" fmla="*/ 4009395 h 5392467"/>
              <a:gd name="connsiteX557" fmla="*/ 5387514 w 6096001"/>
              <a:gd name="connsiteY557" fmla="*/ 4003593 h 5392467"/>
              <a:gd name="connsiteX558" fmla="*/ 5383645 w 6096001"/>
              <a:gd name="connsiteY558" fmla="*/ 4005526 h 5392467"/>
              <a:gd name="connsiteX559" fmla="*/ 5385581 w 6096001"/>
              <a:gd name="connsiteY559" fmla="*/ 4005526 h 5392467"/>
              <a:gd name="connsiteX560" fmla="*/ 5387514 w 6096001"/>
              <a:gd name="connsiteY560" fmla="*/ 4003593 h 5392467"/>
              <a:gd name="connsiteX561" fmla="*/ 5188302 w 6096001"/>
              <a:gd name="connsiteY561" fmla="*/ 4001658 h 5392467"/>
              <a:gd name="connsiteX562" fmla="*/ 5188302 w 6096001"/>
              <a:gd name="connsiteY562" fmla="*/ 4013263 h 5392467"/>
              <a:gd name="connsiteX563" fmla="*/ 5194106 w 6096001"/>
              <a:gd name="connsiteY563" fmla="*/ 4015198 h 5392467"/>
              <a:gd name="connsiteX564" fmla="*/ 5188302 w 6096001"/>
              <a:gd name="connsiteY564" fmla="*/ 4001658 h 5392467"/>
              <a:gd name="connsiteX565" fmla="*/ 5462946 w 6096001"/>
              <a:gd name="connsiteY565" fmla="*/ 3997790 h 5392467"/>
              <a:gd name="connsiteX566" fmla="*/ 5461010 w 6096001"/>
              <a:gd name="connsiteY566" fmla="*/ 3999725 h 5392467"/>
              <a:gd name="connsiteX567" fmla="*/ 5466814 w 6096001"/>
              <a:gd name="connsiteY567" fmla="*/ 3999725 h 5392467"/>
              <a:gd name="connsiteX568" fmla="*/ 5466814 w 6096001"/>
              <a:gd name="connsiteY568" fmla="*/ 3997790 h 5392467"/>
              <a:gd name="connsiteX569" fmla="*/ 5462946 w 6096001"/>
              <a:gd name="connsiteY569" fmla="*/ 3997790 h 5392467"/>
              <a:gd name="connsiteX570" fmla="*/ 5600265 w 6096001"/>
              <a:gd name="connsiteY570" fmla="*/ 3988120 h 5392467"/>
              <a:gd name="connsiteX571" fmla="*/ 5592531 w 6096001"/>
              <a:gd name="connsiteY571" fmla="*/ 3991989 h 5392467"/>
              <a:gd name="connsiteX572" fmla="*/ 5600265 w 6096001"/>
              <a:gd name="connsiteY572" fmla="*/ 3988120 h 5392467"/>
              <a:gd name="connsiteX573" fmla="*/ 5325624 w 6096001"/>
              <a:gd name="connsiteY573" fmla="*/ 3986187 h 5392467"/>
              <a:gd name="connsiteX574" fmla="*/ 5310151 w 6096001"/>
              <a:gd name="connsiteY574" fmla="*/ 3988120 h 5392467"/>
              <a:gd name="connsiteX575" fmla="*/ 5310151 w 6096001"/>
              <a:gd name="connsiteY575" fmla="*/ 3990053 h 5392467"/>
              <a:gd name="connsiteX576" fmla="*/ 5323689 w 6096001"/>
              <a:gd name="connsiteY576" fmla="*/ 3990053 h 5392467"/>
              <a:gd name="connsiteX577" fmla="*/ 5325624 w 6096001"/>
              <a:gd name="connsiteY577" fmla="*/ 3986187 h 5392467"/>
              <a:gd name="connsiteX578" fmla="*/ 5252127 w 6096001"/>
              <a:gd name="connsiteY578" fmla="*/ 3984252 h 5392467"/>
              <a:gd name="connsiteX579" fmla="*/ 5240522 w 6096001"/>
              <a:gd name="connsiteY579" fmla="*/ 3990053 h 5392467"/>
              <a:gd name="connsiteX580" fmla="*/ 5242458 w 6096001"/>
              <a:gd name="connsiteY580" fmla="*/ 3991989 h 5392467"/>
              <a:gd name="connsiteX581" fmla="*/ 5255995 w 6096001"/>
              <a:gd name="connsiteY581" fmla="*/ 3986187 h 5392467"/>
              <a:gd name="connsiteX582" fmla="*/ 5252127 w 6096001"/>
              <a:gd name="connsiteY582" fmla="*/ 3984252 h 5392467"/>
              <a:gd name="connsiteX583" fmla="*/ 5640883 w 6096001"/>
              <a:gd name="connsiteY583" fmla="*/ 3980384 h 5392467"/>
              <a:gd name="connsiteX584" fmla="*/ 5638948 w 6096001"/>
              <a:gd name="connsiteY584" fmla="*/ 3982319 h 5392467"/>
              <a:gd name="connsiteX585" fmla="*/ 5629278 w 6096001"/>
              <a:gd name="connsiteY585" fmla="*/ 3982319 h 5392467"/>
              <a:gd name="connsiteX586" fmla="*/ 5640883 w 6096001"/>
              <a:gd name="connsiteY586" fmla="*/ 3980384 h 5392467"/>
              <a:gd name="connsiteX587" fmla="*/ 5279205 w 6096001"/>
              <a:gd name="connsiteY587" fmla="*/ 3976516 h 5392467"/>
              <a:gd name="connsiteX588" fmla="*/ 5277270 w 6096001"/>
              <a:gd name="connsiteY588" fmla="*/ 3982319 h 5392467"/>
              <a:gd name="connsiteX589" fmla="*/ 5275337 w 6096001"/>
              <a:gd name="connsiteY589" fmla="*/ 3986187 h 5392467"/>
              <a:gd name="connsiteX590" fmla="*/ 5294678 w 6096001"/>
              <a:gd name="connsiteY590" fmla="*/ 3982319 h 5392467"/>
              <a:gd name="connsiteX591" fmla="*/ 5294678 w 6096001"/>
              <a:gd name="connsiteY591" fmla="*/ 3978449 h 5392467"/>
              <a:gd name="connsiteX592" fmla="*/ 5283073 w 6096001"/>
              <a:gd name="connsiteY592" fmla="*/ 3976516 h 5392467"/>
              <a:gd name="connsiteX593" fmla="*/ 5279205 w 6096001"/>
              <a:gd name="connsiteY593" fmla="*/ 3976516 h 5392467"/>
              <a:gd name="connsiteX594" fmla="*/ 5331427 w 6096001"/>
              <a:gd name="connsiteY594" fmla="*/ 3972647 h 5392467"/>
              <a:gd name="connsiteX595" fmla="*/ 5314019 w 6096001"/>
              <a:gd name="connsiteY595" fmla="*/ 3976516 h 5392467"/>
              <a:gd name="connsiteX596" fmla="*/ 5319820 w 6096001"/>
              <a:gd name="connsiteY596" fmla="*/ 3976516 h 5392467"/>
              <a:gd name="connsiteX597" fmla="*/ 5331427 w 6096001"/>
              <a:gd name="connsiteY597" fmla="*/ 3972647 h 5392467"/>
              <a:gd name="connsiteX598" fmla="*/ 5418462 w 6096001"/>
              <a:gd name="connsiteY598" fmla="*/ 3970714 h 5392467"/>
              <a:gd name="connsiteX599" fmla="*/ 5420395 w 6096001"/>
              <a:gd name="connsiteY599" fmla="*/ 3972647 h 5392467"/>
              <a:gd name="connsiteX600" fmla="*/ 5422328 w 6096001"/>
              <a:gd name="connsiteY600" fmla="*/ 3970714 h 5392467"/>
              <a:gd name="connsiteX601" fmla="*/ 5418462 w 6096001"/>
              <a:gd name="connsiteY601" fmla="*/ 3970714 h 5392467"/>
              <a:gd name="connsiteX602" fmla="*/ 5633147 w 6096001"/>
              <a:gd name="connsiteY602" fmla="*/ 3966846 h 5392467"/>
              <a:gd name="connsiteX603" fmla="*/ 5606069 w 6096001"/>
              <a:gd name="connsiteY603" fmla="*/ 3972647 h 5392467"/>
              <a:gd name="connsiteX604" fmla="*/ 5608002 w 6096001"/>
              <a:gd name="connsiteY604" fmla="*/ 3972647 h 5392467"/>
              <a:gd name="connsiteX605" fmla="*/ 5592531 w 6096001"/>
              <a:gd name="connsiteY605" fmla="*/ 3974583 h 5392467"/>
              <a:gd name="connsiteX606" fmla="*/ 5588663 w 6096001"/>
              <a:gd name="connsiteY606" fmla="*/ 3974583 h 5392467"/>
              <a:gd name="connsiteX607" fmla="*/ 5584795 w 6096001"/>
              <a:gd name="connsiteY607" fmla="*/ 3978449 h 5392467"/>
              <a:gd name="connsiteX608" fmla="*/ 5646684 w 6096001"/>
              <a:gd name="connsiteY608" fmla="*/ 3966846 h 5392467"/>
              <a:gd name="connsiteX609" fmla="*/ 5633147 w 6096001"/>
              <a:gd name="connsiteY609" fmla="*/ 3966846 h 5392467"/>
              <a:gd name="connsiteX610" fmla="*/ 5497758 w 6096001"/>
              <a:gd name="connsiteY610" fmla="*/ 3966846 h 5392467"/>
              <a:gd name="connsiteX611" fmla="*/ 5490021 w 6096001"/>
              <a:gd name="connsiteY611" fmla="*/ 3974583 h 5392467"/>
              <a:gd name="connsiteX612" fmla="*/ 5495825 w 6096001"/>
              <a:gd name="connsiteY612" fmla="*/ 3974583 h 5392467"/>
              <a:gd name="connsiteX613" fmla="*/ 5490021 w 6096001"/>
              <a:gd name="connsiteY613" fmla="*/ 3976516 h 5392467"/>
              <a:gd name="connsiteX614" fmla="*/ 5486155 w 6096001"/>
              <a:gd name="connsiteY614" fmla="*/ 3980384 h 5392467"/>
              <a:gd name="connsiteX615" fmla="*/ 5497758 w 6096001"/>
              <a:gd name="connsiteY615" fmla="*/ 3980384 h 5392467"/>
              <a:gd name="connsiteX616" fmla="*/ 5499693 w 6096001"/>
              <a:gd name="connsiteY616" fmla="*/ 3980384 h 5392467"/>
              <a:gd name="connsiteX617" fmla="*/ 5507430 w 6096001"/>
              <a:gd name="connsiteY617" fmla="*/ 3980384 h 5392467"/>
              <a:gd name="connsiteX618" fmla="*/ 5528704 w 6096001"/>
              <a:gd name="connsiteY618" fmla="*/ 3980384 h 5392467"/>
              <a:gd name="connsiteX619" fmla="*/ 5540308 w 6096001"/>
              <a:gd name="connsiteY619" fmla="*/ 3980384 h 5392467"/>
              <a:gd name="connsiteX620" fmla="*/ 5559650 w 6096001"/>
              <a:gd name="connsiteY620" fmla="*/ 3972647 h 5392467"/>
              <a:gd name="connsiteX621" fmla="*/ 5544177 w 6096001"/>
              <a:gd name="connsiteY621" fmla="*/ 3974583 h 5392467"/>
              <a:gd name="connsiteX622" fmla="*/ 5542244 w 6096001"/>
              <a:gd name="connsiteY622" fmla="*/ 3974583 h 5392467"/>
              <a:gd name="connsiteX623" fmla="*/ 5497758 w 6096001"/>
              <a:gd name="connsiteY623" fmla="*/ 3966846 h 5392467"/>
              <a:gd name="connsiteX624" fmla="*/ 5536198 w 6096001"/>
              <a:gd name="connsiteY624" fmla="*/ 3960318 h 5392467"/>
              <a:gd name="connsiteX625" fmla="*/ 5517099 w 6096001"/>
              <a:gd name="connsiteY625" fmla="*/ 3964911 h 5392467"/>
              <a:gd name="connsiteX626" fmla="*/ 5553849 w 6096001"/>
              <a:gd name="connsiteY626" fmla="*/ 3962978 h 5392467"/>
              <a:gd name="connsiteX627" fmla="*/ 5536198 w 6096001"/>
              <a:gd name="connsiteY627" fmla="*/ 3960318 h 5392467"/>
              <a:gd name="connsiteX628" fmla="*/ 5199907 w 6096001"/>
              <a:gd name="connsiteY628" fmla="*/ 3959110 h 5392467"/>
              <a:gd name="connsiteX629" fmla="*/ 5192170 w 6096001"/>
              <a:gd name="connsiteY629" fmla="*/ 3964911 h 5392467"/>
              <a:gd name="connsiteX630" fmla="*/ 5201842 w 6096001"/>
              <a:gd name="connsiteY630" fmla="*/ 3962978 h 5392467"/>
              <a:gd name="connsiteX631" fmla="*/ 5201842 w 6096001"/>
              <a:gd name="connsiteY631" fmla="*/ 3959110 h 5392467"/>
              <a:gd name="connsiteX632" fmla="*/ 5199907 w 6096001"/>
              <a:gd name="connsiteY632" fmla="*/ 3959110 h 5392467"/>
              <a:gd name="connsiteX633" fmla="*/ 5139950 w 6096001"/>
              <a:gd name="connsiteY633" fmla="*/ 3959110 h 5392467"/>
              <a:gd name="connsiteX634" fmla="*/ 5126410 w 6096001"/>
              <a:gd name="connsiteY634" fmla="*/ 3964911 h 5392467"/>
              <a:gd name="connsiteX635" fmla="*/ 5134149 w 6096001"/>
              <a:gd name="connsiteY635" fmla="*/ 3964911 h 5392467"/>
              <a:gd name="connsiteX636" fmla="*/ 5141883 w 6096001"/>
              <a:gd name="connsiteY636" fmla="*/ 3962978 h 5392467"/>
              <a:gd name="connsiteX637" fmla="*/ 5139950 w 6096001"/>
              <a:gd name="connsiteY637" fmla="*/ 3959110 h 5392467"/>
              <a:gd name="connsiteX638" fmla="*/ 5472615 w 6096001"/>
              <a:gd name="connsiteY638" fmla="*/ 3957174 h 5392467"/>
              <a:gd name="connsiteX639" fmla="*/ 5457142 w 6096001"/>
              <a:gd name="connsiteY639" fmla="*/ 3961043 h 5392467"/>
              <a:gd name="connsiteX640" fmla="*/ 5476483 w 6096001"/>
              <a:gd name="connsiteY640" fmla="*/ 3964911 h 5392467"/>
              <a:gd name="connsiteX641" fmla="*/ 5472615 w 6096001"/>
              <a:gd name="connsiteY641" fmla="*/ 3968779 h 5392467"/>
              <a:gd name="connsiteX642" fmla="*/ 5441669 w 6096001"/>
              <a:gd name="connsiteY642" fmla="*/ 3970714 h 5392467"/>
              <a:gd name="connsiteX643" fmla="*/ 5422328 w 6096001"/>
              <a:gd name="connsiteY643" fmla="*/ 3976516 h 5392467"/>
              <a:gd name="connsiteX644" fmla="*/ 5397185 w 6096001"/>
              <a:gd name="connsiteY644" fmla="*/ 3982319 h 5392467"/>
              <a:gd name="connsiteX645" fmla="*/ 5372043 w 6096001"/>
              <a:gd name="connsiteY645" fmla="*/ 3988120 h 5392467"/>
              <a:gd name="connsiteX646" fmla="*/ 5348833 w 6096001"/>
              <a:gd name="connsiteY646" fmla="*/ 3995857 h 5392467"/>
              <a:gd name="connsiteX647" fmla="*/ 5327559 w 6096001"/>
              <a:gd name="connsiteY647" fmla="*/ 4001658 h 5392467"/>
              <a:gd name="connsiteX648" fmla="*/ 5300479 w 6096001"/>
              <a:gd name="connsiteY648" fmla="*/ 4007462 h 5392467"/>
              <a:gd name="connsiteX649" fmla="*/ 5298546 w 6096001"/>
              <a:gd name="connsiteY649" fmla="*/ 4009395 h 5392467"/>
              <a:gd name="connsiteX650" fmla="*/ 5296611 w 6096001"/>
              <a:gd name="connsiteY650" fmla="*/ 4007462 h 5392467"/>
              <a:gd name="connsiteX651" fmla="*/ 5283073 w 6096001"/>
              <a:gd name="connsiteY651" fmla="*/ 4011330 h 5392467"/>
              <a:gd name="connsiteX652" fmla="*/ 5261799 w 6096001"/>
              <a:gd name="connsiteY652" fmla="*/ 4013263 h 5392467"/>
              <a:gd name="connsiteX653" fmla="*/ 5255995 w 6096001"/>
              <a:gd name="connsiteY653" fmla="*/ 4009395 h 5392467"/>
              <a:gd name="connsiteX654" fmla="*/ 5269535 w 6096001"/>
              <a:gd name="connsiteY654" fmla="*/ 4003593 h 5392467"/>
              <a:gd name="connsiteX655" fmla="*/ 5281140 w 6096001"/>
              <a:gd name="connsiteY655" fmla="*/ 3999725 h 5392467"/>
              <a:gd name="connsiteX656" fmla="*/ 5283073 w 6096001"/>
              <a:gd name="connsiteY656" fmla="*/ 3991989 h 5392467"/>
              <a:gd name="connsiteX657" fmla="*/ 5259864 w 6096001"/>
              <a:gd name="connsiteY657" fmla="*/ 3997790 h 5392467"/>
              <a:gd name="connsiteX658" fmla="*/ 5228918 w 6096001"/>
              <a:gd name="connsiteY658" fmla="*/ 4003593 h 5392467"/>
              <a:gd name="connsiteX659" fmla="*/ 5221183 w 6096001"/>
              <a:gd name="connsiteY659" fmla="*/ 4003593 h 5392467"/>
              <a:gd name="connsiteX660" fmla="*/ 5219248 w 6096001"/>
              <a:gd name="connsiteY660" fmla="*/ 4015198 h 5392467"/>
              <a:gd name="connsiteX661" fmla="*/ 5184434 w 6096001"/>
              <a:gd name="connsiteY661" fmla="*/ 4026803 h 5392467"/>
              <a:gd name="connsiteX662" fmla="*/ 5190235 w 6096001"/>
              <a:gd name="connsiteY662" fmla="*/ 4026803 h 5392467"/>
              <a:gd name="connsiteX663" fmla="*/ 5197974 w 6096001"/>
              <a:gd name="connsiteY663" fmla="*/ 4026803 h 5392467"/>
              <a:gd name="connsiteX664" fmla="*/ 5199907 w 6096001"/>
              <a:gd name="connsiteY664" fmla="*/ 4026803 h 5392467"/>
              <a:gd name="connsiteX665" fmla="*/ 5206097 w 6096001"/>
              <a:gd name="connsiteY665" fmla="*/ 4028350 h 5392467"/>
              <a:gd name="connsiteX666" fmla="*/ 5203775 w 6096001"/>
              <a:gd name="connsiteY666" fmla="*/ 4030671 h 5392467"/>
              <a:gd name="connsiteX667" fmla="*/ 5204792 w 6096001"/>
              <a:gd name="connsiteY667" fmla="*/ 4030875 h 5392467"/>
              <a:gd name="connsiteX668" fmla="*/ 5199907 w 6096001"/>
              <a:gd name="connsiteY668" fmla="*/ 4034539 h 5392467"/>
              <a:gd name="connsiteX669" fmla="*/ 5197974 w 6096001"/>
              <a:gd name="connsiteY669" fmla="*/ 4034539 h 5392467"/>
              <a:gd name="connsiteX670" fmla="*/ 5178633 w 6096001"/>
              <a:gd name="connsiteY670" fmla="*/ 4042276 h 5392467"/>
              <a:gd name="connsiteX671" fmla="*/ 5153488 w 6096001"/>
              <a:gd name="connsiteY671" fmla="*/ 4046144 h 5392467"/>
              <a:gd name="connsiteX672" fmla="*/ 5134149 w 6096001"/>
              <a:gd name="connsiteY672" fmla="*/ 4055814 h 5392467"/>
              <a:gd name="connsiteX673" fmla="*/ 5101268 w 6096001"/>
              <a:gd name="connsiteY673" fmla="*/ 4065483 h 5392467"/>
              <a:gd name="connsiteX674" fmla="*/ 5103200 w 6096001"/>
              <a:gd name="connsiteY674" fmla="*/ 4069354 h 5392467"/>
              <a:gd name="connsiteX675" fmla="*/ 5097399 w 6096001"/>
              <a:gd name="connsiteY675" fmla="*/ 4071287 h 5392467"/>
              <a:gd name="connsiteX676" fmla="*/ 5095466 w 6096001"/>
              <a:gd name="connsiteY676" fmla="*/ 4069354 h 5392467"/>
              <a:gd name="connsiteX677" fmla="*/ 5097399 w 6096001"/>
              <a:gd name="connsiteY677" fmla="*/ 4067418 h 5392467"/>
              <a:gd name="connsiteX678" fmla="*/ 5047114 w 6096001"/>
              <a:gd name="connsiteY678" fmla="*/ 4082891 h 5392467"/>
              <a:gd name="connsiteX679" fmla="*/ 5025838 w 6096001"/>
              <a:gd name="connsiteY679" fmla="*/ 4088693 h 5392467"/>
              <a:gd name="connsiteX680" fmla="*/ 5020037 w 6096001"/>
              <a:gd name="connsiteY680" fmla="*/ 4090628 h 5392467"/>
              <a:gd name="connsiteX681" fmla="*/ 5021969 w 6096001"/>
              <a:gd name="connsiteY681" fmla="*/ 4092561 h 5392467"/>
              <a:gd name="connsiteX682" fmla="*/ 5095466 w 6096001"/>
              <a:gd name="connsiteY682" fmla="*/ 4080959 h 5392467"/>
              <a:gd name="connsiteX683" fmla="*/ 5138017 w 6096001"/>
              <a:gd name="connsiteY683" fmla="*/ 4075155 h 5392467"/>
              <a:gd name="connsiteX684" fmla="*/ 5139950 w 6096001"/>
              <a:gd name="connsiteY684" fmla="*/ 4075155 h 5392467"/>
              <a:gd name="connsiteX685" fmla="*/ 5145751 w 6096001"/>
              <a:gd name="connsiteY685" fmla="*/ 4073222 h 5392467"/>
              <a:gd name="connsiteX686" fmla="*/ 5151555 w 6096001"/>
              <a:gd name="connsiteY686" fmla="*/ 4071287 h 5392467"/>
              <a:gd name="connsiteX687" fmla="*/ 5186369 w 6096001"/>
              <a:gd name="connsiteY687" fmla="*/ 4065483 h 5392467"/>
              <a:gd name="connsiteX688" fmla="*/ 5199907 w 6096001"/>
              <a:gd name="connsiteY688" fmla="*/ 4059682 h 5392467"/>
              <a:gd name="connsiteX689" fmla="*/ 5211512 w 6096001"/>
              <a:gd name="connsiteY689" fmla="*/ 4050013 h 5392467"/>
              <a:gd name="connsiteX690" fmla="*/ 5226985 w 6096001"/>
              <a:gd name="connsiteY690" fmla="*/ 4046144 h 5392467"/>
              <a:gd name="connsiteX691" fmla="*/ 5234721 w 6096001"/>
              <a:gd name="connsiteY691" fmla="*/ 4044209 h 5392467"/>
              <a:gd name="connsiteX692" fmla="*/ 5255995 w 6096001"/>
              <a:gd name="connsiteY692" fmla="*/ 4038408 h 5392467"/>
              <a:gd name="connsiteX693" fmla="*/ 5285008 w 6096001"/>
              <a:gd name="connsiteY693" fmla="*/ 4030671 h 5392467"/>
              <a:gd name="connsiteX694" fmla="*/ 5246326 w 6096001"/>
              <a:gd name="connsiteY694" fmla="*/ 4034539 h 5392467"/>
              <a:gd name="connsiteX695" fmla="*/ 5223116 w 6096001"/>
              <a:gd name="connsiteY695" fmla="*/ 4030671 h 5392467"/>
              <a:gd name="connsiteX696" fmla="*/ 5213445 w 6096001"/>
              <a:gd name="connsiteY696" fmla="*/ 4032604 h 5392467"/>
              <a:gd name="connsiteX697" fmla="*/ 5204792 w 6096001"/>
              <a:gd name="connsiteY697" fmla="*/ 4030875 h 5392467"/>
              <a:gd name="connsiteX698" fmla="*/ 5207643 w 6096001"/>
              <a:gd name="connsiteY698" fmla="*/ 4028736 h 5392467"/>
              <a:gd name="connsiteX699" fmla="*/ 5206097 w 6096001"/>
              <a:gd name="connsiteY699" fmla="*/ 4028350 h 5392467"/>
              <a:gd name="connsiteX700" fmla="*/ 5207643 w 6096001"/>
              <a:gd name="connsiteY700" fmla="*/ 4026803 h 5392467"/>
              <a:gd name="connsiteX701" fmla="*/ 5232786 w 6096001"/>
              <a:gd name="connsiteY701" fmla="*/ 4015198 h 5392467"/>
              <a:gd name="connsiteX702" fmla="*/ 5238589 w 6096001"/>
              <a:gd name="connsiteY702" fmla="*/ 4015198 h 5392467"/>
              <a:gd name="connsiteX703" fmla="*/ 5250194 w 6096001"/>
              <a:gd name="connsiteY703" fmla="*/ 4015198 h 5392467"/>
              <a:gd name="connsiteX704" fmla="*/ 5236654 w 6096001"/>
              <a:gd name="connsiteY704" fmla="*/ 4024868 h 5392467"/>
              <a:gd name="connsiteX705" fmla="*/ 5252127 w 6096001"/>
              <a:gd name="connsiteY705" fmla="*/ 4020999 h 5392467"/>
              <a:gd name="connsiteX706" fmla="*/ 5257931 w 6096001"/>
              <a:gd name="connsiteY706" fmla="*/ 4020999 h 5392467"/>
              <a:gd name="connsiteX707" fmla="*/ 5279205 w 6096001"/>
              <a:gd name="connsiteY707" fmla="*/ 4020999 h 5392467"/>
              <a:gd name="connsiteX708" fmla="*/ 5306283 w 6096001"/>
              <a:gd name="connsiteY708" fmla="*/ 4015198 h 5392467"/>
              <a:gd name="connsiteX709" fmla="*/ 5317887 w 6096001"/>
              <a:gd name="connsiteY709" fmla="*/ 4015198 h 5392467"/>
              <a:gd name="connsiteX710" fmla="*/ 5362371 w 6096001"/>
              <a:gd name="connsiteY710" fmla="*/ 4009395 h 5392467"/>
              <a:gd name="connsiteX711" fmla="*/ 5368175 w 6096001"/>
              <a:gd name="connsiteY711" fmla="*/ 3993922 h 5392467"/>
              <a:gd name="connsiteX712" fmla="*/ 5370108 w 6096001"/>
              <a:gd name="connsiteY712" fmla="*/ 3991989 h 5392467"/>
              <a:gd name="connsiteX713" fmla="*/ 5416527 w 6096001"/>
              <a:gd name="connsiteY713" fmla="*/ 3984252 h 5392467"/>
              <a:gd name="connsiteX714" fmla="*/ 5437803 w 6096001"/>
              <a:gd name="connsiteY714" fmla="*/ 3980384 h 5392467"/>
              <a:gd name="connsiteX715" fmla="*/ 5482287 w 6096001"/>
              <a:gd name="connsiteY715" fmla="*/ 3976516 h 5392467"/>
              <a:gd name="connsiteX716" fmla="*/ 5482287 w 6096001"/>
              <a:gd name="connsiteY716" fmla="*/ 3974583 h 5392467"/>
              <a:gd name="connsiteX717" fmla="*/ 5445537 w 6096001"/>
              <a:gd name="connsiteY717" fmla="*/ 3976516 h 5392467"/>
              <a:gd name="connsiteX718" fmla="*/ 5484220 w 6096001"/>
              <a:gd name="connsiteY718" fmla="*/ 3970714 h 5392467"/>
              <a:gd name="connsiteX719" fmla="*/ 5490021 w 6096001"/>
              <a:gd name="connsiteY719" fmla="*/ 3966846 h 5392467"/>
              <a:gd name="connsiteX720" fmla="*/ 5486155 w 6096001"/>
              <a:gd name="connsiteY720" fmla="*/ 3966846 h 5392467"/>
              <a:gd name="connsiteX721" fmla="*/ 5490021 w 6096001"/>
              <a:gd name="connsiteY721" fmla="*/ 3962978 h 5392467"/>
              <a:gd name="connsiteX722" fmla="*/ 5495825 w 6096001"/>
              <a:gd name="connsiteY722" fmla="*/ 3961043 h 5392467"/>
              <a:gd name="connsiteX723" fmla="*/ 5499693 w 6096001"/>
              <a:gd name="connsiteY723" fmla="*/ 3961043 h 5392467"/>
              <a:gd name="connsiteX724" fmla="*/ 5501628 w 6096001"/>
              <a:gd name="connsiteY724" fmla="*/ 3961043 h 5392467"/>
              <a:gd name="connsiteX725" fmla="*/ 5519034 w 6096001"/>
              <a:gd name="connsiteY725" fmla="*/ 3961043 h 5392467"/>
              <a:gd name="connsiteX726" fmla="*/ 5517099 w 6096001"/>
              <a:gd name="connsiteY726" fmla="*/ 3957174 h 5392467"/>
              <a:gd name="connsiteX727" fmla="*/ 5501628 w 6096001"/>
              <a:gd name="connsiteY727" fmla="*/ 3957174 h 5392467"/>
              <a:gd name="connsiteX728" fmla="*/ 5482287 w 6096001"/>
              <a:gd name="connsiteY728" fmla="*/ 3957174 h 5392467"/>
              <a:gd name="connsiteX729" fmla="*/ 5472615 w 6096001"/>
              <a:gd name="connsiteY729" fmla="*/ 3957174 h 5392467"/>
              <a:gd name="connsiteX730" fmla="*/ 5134149 w 6096001"/>
              <a:gd name="connsiteY730" fmla="*/ 3951373 h 5392467"/>
              <a:gd name="connsiteX731" fmla="*/ 5128345 w 6096001"/>
              <a:gd name="connsiteY731" fmla="*/ 3959110 h 5392467"/>
              <a:gd name="connsiteX732" fmla="*/ 5130281 w 6096001"/>
              <a:gd name="connsiteY732" fmla="*/ 3957174 h 5392467"/>
              <a:gd name="connsiteX733" fmla="*/ 5138017 w 6096001"/>
              <a:gd name="connsiteY733" fmla="*/ 3955241 h 5392467"/>
              <a:gd name="connsiteX734" fmla="*/ 5134149 w 6096001"/>
              <a:gd name="connsiteY734" fmla="*/ 3951373 h 5392467"/>
              <a:gd name="connsiteX735" fmla="*/ 5602201 w 6096001"/>
              <a:gd name="connsiteY735" fmla="*/ 3947505 h 5392467"/>
              <a:gd name="connsiteX736" fmla="*/ 5590596 w 6096001"/>
              <a:gd name="connsiteY736" fmla="*/ 3959110 h 5392467"/>
              <a:gd name="connsiteX737" fmla="*/ 5621542 w 6096001"/>
              <a:gd name="connsiteY737" fmla="*/ 3951373 h 5392467"/>
              <a:gd name="connsiteX738" fmla="*/ 5611872 w 6096001"/>
              <a:gd name="connsiteY738" fmla="*/ 3949438 h 5392467"/>
              <a:gd name="connsiteX739" fmla="*/ 5602201 w 6096001"/>
              <a:gd name="connsiteY739" fmla="*/ 3947505 h 5392467"/>
              <a:gd name="connsiteX740" fmla="*/ 5472615 w 6096001"/>
              <a:gd name="connsiteY740" fmla="*/ 3945570 h 5392467"/>
              <a:gd name="connsiteX741" fmla="*/ 5443604 w 6096001"/>
              <a:gd name="connsiteY741" fmla="*/ 3947505 h 5392467"/>
              <a:gd name="connsiteX742" fmla="*/ 5430064 w 6096001"/>
              <a:gd name="connsiteY742" fmla="*/ 3949438 h 5392467"/>
              <a:gd name="connsiteX743" fmla="*/ 5466814 w 6096001"/>
              <a:gd name="connsiteY743" fmla="*/ 3949438 h 5392467"/>
              <a:gd name="connsiteX744" fmla="*/ 5474551 w 6096001"/>
              <a:gd name="connsiteY744" fmla="*/ 3947505 h 5392467"/>
              <a:gd name="connsiteX745" fmla="*/ 5472615 w 6096001"/>
              <a:gd name="connsiteY745" fmla="*/ 3945570 h 5392467"/>
              <a:gd name="connsiteX746" fmla="*/ 5395252 w 6096001"/>
              <a:gd name="connsiteY746" fmla="*/ 3945570 h 5392467"/>
              <a:gd name="connsiteX747" fmla="*/ 5385581 w 6096001"/>
              <a:gd name="connsiteY747" fmla="*/ 3947505 h 5392467"/>
              <a:gd name="connsiteX748" fmla="*/ 5391384 w 6096001"/>
              <a:gd name="connsiteY748" fmla="*/ 3947505 h 5392467"/>
              <a:gd name="connsiteX749" fmla="*/ 5395252 w 6096001"/>
              <a:gd name="connsiteY749" fmla="*/ 3945570 h 5392467"/>
              <a:gd name="connsiteX750" fmla="*/ 5491956 w 6096001"/>
              <a:gd name="connsiteY750" fmla="*/ 3943637 h 5392467"/>
              <a:gd name="connsiteX751" fmla="*/ 5491956 w 6096001"/>
              <a:gd name="connsiteY751" fmla="*/ 3945570 h 5392467"/>
              <a:gd name="connsiteX752" fmla="*/ 5493889 w 6096001"/>
              <a:gd name="connsiteY752" fmla="*/ 3945570 h 5392467"/>
              <a:gd name="connsiteX753" fmla="*/ 5495825 w 6096001"/>
              <a:gd name="connsiteY753" fmla="*/ 3943637 h 5392467"/>
              <a:gd name="connsiteX754" fmla="*/ 5491956 w 6096001"/>
              <a:gd name="connsiteY754" fmla="*/ 3943637 h 5392467"/>
              <a:gd name="connsiteX755" fmla="*/ 5211512 w 6096001"/>
              <a:gd name="connsiteY755" fmla="*/ 3943637 h 5392467"/>
              <a:gd name="connsiteX756" fmla="*/ 5197974 w 6096001"/>
              <a:gd name="connsiteY756" fmla="*/ 3947505 h 5392467"/>
              <a:gd name="connsiteX757" fmla="*/ 5199907 w 6096001"/>
              <a:gd name="connsiteY757" fmla="*/ 3953306 h 5392467"/>
              <a:gd name="connsiteX758" fmla="*/ 5201842 w 6096001"/>
              <a:gd name="connsiteY758" fmla="*/ 3953306 h 5392467"/>
              <a:gd name="connsiteX759" fmla="*/ 5228918 w 6096001"/>
              <a:gd name="connsiteY759" fmla="*/ 3943637 h 5392467"/>
              <a:gd name="connsiteX760" fmla="*/ 5211512 w 6096001"/>
              <a:gd name="connsiteY760" fmla="*/ 3943637 h 5392467"/>
              <a:gd name="connsiteX761" fmla="*/ 5716313 w 6096001"/>
              <a:gd name="connsiteY761" fmla="*/ 3941701 h 5392467"/>
              <a:gd name="connsiteX762" fmla="*/ 5720181 w 6096001"/>
              <a:gd name="connsiteY762" fmla="*/ 3941701 h 5392467"/>
              <a:gd name="connsiteX763" fmla="*/ 5720181 w 6096001"/>
              <a:gd name="connsiteY763" fmla="*/ 3943637 h 5392467"/>
              <a:gd name="connsiteX764" fmla="*/ 5716313 w 6096001"/>
              <a:gd name="connsiteY764" fmla="*/ 3941701 h 5392467"/>
              <a:gd name="connsiteX765" fmla="*/ 5679566 w 6096001"/>
              <a:gd name="connsiteY765" fmla="*/ 3939768 h 5392467"/>
              <a:gd name="connsiteX766" fmla="*/ 5681499 w 6096001"/>
              <a:gd name="connsiteY766" fmla="*/ 3941701 h 5392467"/>
              <a:gd name="connsiteX767" fmla="*/ 5691168 w 6096001"/>
              <a:gd name="connsiteY767" fmla="*/ 3939768 h 5392467"/>
              <a:gd name="connsiteX768" fmla="*/ 5679566 w 6096001"/>
              <a:gd name="connsiteY768" fmla="*/ 3939768 h 5392467"/>
              <a:gd name="connsiteX769" fmla="*/ 5132214 w 6096001"/>
              <a:gd name="connsiteY769" fmla="*/ 3933965 h 5392467"/>
              <a:gd name="connsiteX770" fmla="*/ 5124477 w 6096001"/>
              <a:gd name="connsiteY770" fmla="*/ 3935900 h 5392467"/>
              <a:gd name="connsiteX771" fmla="*/ 5124475 w 6096001"/>
              <a:gd name="connsiteY771" fmla="*/ 3935900 h 5392467"/>
              <a:gd name="connsiteX772" fmla="*/ 5350766 w 6096001"/>
              <a:gd name="connsiteY772" fmla="*/ 3930097 h 5392467"/>
              <a:gd name="connsiteX773" fmla="*/ 5335293 w 6096001"/>
              <a:gd name="connsiteY773" fmla="*/ 3935900 h 5392467"/>
              <a:gd name="connsiteX774" fmla="*/ 5358503 w 6096001"/>
              <a:gd name="connsiteY774" fmla="*/ 3935900 h 5392467"/>
              <a:gd name="connsiteX775" fmla="*/ 5360438 w 6096001"/>
              <a:gd name="connsiteY775" fmla="*/ 3935900 h 5392467"/>
              <a:gd name="connsiteX776" fmla="*/ 5366239 w 6096001"/>
              <a:gd name="connsiteY776" fmla="*/ 3935900 h 5392467"/>
              <a:gd name="connsiteX777" fmla="*/ 5373976 w 6096001"/>
              <a:gd name="connsiteY777" fmla="*/ 3933965 h 5392467"/>
              <a:gd name="connsiteX778" fmla="*/ 5370108 w 6096001"/>
              <a:gd name="connsiteY778" fmla="*/ 3932032 h 5392467"/>
              <a:gd name="connsiteX779" fmla="*/ 5350766 w 6096001"/>
              <a:gd name="connsiteY779" fmla="*/ 3930097 h 5392467"/>
              <a:gd name="connsiteX780" fmla="*/ 5393317 w 6096001"/>
              <a:gd name="connsiteY780" fmla="*/ 3924295 h 5392467"/>
              <a:gd name="connsiteX781" fmla="*/ 5381712 w 6096001"/>
              <a:gd name="connsiteY781" fmla="*/ 3926228 h 5392467"/>
              <a:gd name="connsiteX782" fmla="*/ 5385581 w 6096001"/>
              <a:gd name="connsiteY782" fmla="*/ 3930097 h 5392467"/>
              <a:gd name="connsiteX783" fmla="*/ 5399121 w 6096001"/>
              <a:gd name="connsiteY783" fmla="*/ 3928164 h 5392467"/>
              <a:gd name="connsiteX784" fmla="*/ 5393317 w 6096001"/>
              <a:gd name="connsiteY784" fmla="*/ 3924295 h 5392467"/>
              <a:gd name="connsiteX785" fmla="*/ 5492736 w 6096001"/>
              <a:gd name="connsiteY785" fmla="*/ 3920206 h 5392467"/>
              <a:gd name="connsiteX786" fmla="*/ 5495825 w 6096001"/>
              <a:gd name="connsiteY786" fmla="*/ 3920427 h 5392467"/>
              <a:gd name="connsiteX787" fmla="*/ 5496049 w 6096001"/>
              <a:gd name="connsiteY787" fmla="*/ 3922450 h 5392467"/>
              <a:gd name="connsiteX788" fmla="*/ 5495825 w 6096001"/>
              <a:gd name="connsiteY788" fmla="*/ 3922360 h 5392467"/>
              <a:gd name="connsiteX789" fmla="*/ 5493889 w 6096001"/>
              <a:gd name="connsiteY789" fmla="*/ 3922360 h 5392467"/>
              <a:gd name="connsiteX790" fmla="*/ 5368175 w 6096001"/>
              <a:gd name="connsiteY790" fmla="*/ 3914624 h 5392467"/>
              <a:gd name="connsiteX791" fmla="*/ 5367745 w 6096001"/>
              <a:gd name="connsiteY791" fmla="*/ 3915053 h 5392467"/>
              <a:gd name="connsiteX792" fmla="*/ 5327559 w 6096001"/>
              <a:gd name="connsiteY792" fmla="*/ 3922360 h 5392467"/>
              <a:gd name="connsiteX793" fmla="*/ 5339162 w 6096001"/>
              <a:gd name="connsiteY793" fmla="*/ 3920427 h 5392467"/>
              <a:gd name="connsiteX794" fmla="*/ 5341097 w 6096001"/>
              <a:gd name="connsiteY794" fmla="*/ 3920427 h 5392467"/>
              <a:gd name="connsiteX795" fmla="*/ 5343030 w 6096001"/>
              <a:gd name="connsiteY795" fmla="*/ 3920427 h 5392467"/>
              <a:gd name="connsiteX796" fmla="*/ 5364306 w 6096001"/>
              <a:gd name="connsiteY796" fmla="*/ 3918492 h 5392467"/>
              <a:gd name="connsiteX797" fmla="*/ 5367745 w 6096001"/>
              <a:gd name="connsiteY797" fmla="*/ 3915053 h 5392467"/>
              <a:gd name="connsiteX798" fmla="*/ 5370108 w 6096001"/>
              <a:gd name="connsiteY798" fmla="*/ 3914624 h 5392467"/>
              <a:gd name="connsiteX799" fmla="*/ 5368175 w 6096001"/>
              <a:gd name="connsiteY799" fmla="*/ 3914624 h 5392467"/>
              <a:gd name="connsiteX800" fmla="*/ 5503561 w 6096001"/>
              <a:gd name="connsiteY800" fmla="*/ 3899153 h 5392467"/>
              <a:gd name="connsiteX801" fmla="*/ 5503561 w 6096001"/>
              <a:gd name="connsiteY801" fmla="*/ 3901086 h 5392467"/>
              <a:gd name="connsiteX802" fmla="*/ 5507430 w 6096001"/>
              <a:gd name="connsiteY802" fmla="*/ 3899153 h 5392467"/>
              <a:gd name="connsiteX803" fmla="*/ 5505497 w 6096001"/>
              <a:gd name="connsiteY803" fmla="*/ 3899153 h 5392467"/>
              <a:gd name="connsiteX804" fmla="*/ 5503561 w 6096001"/>
              <a:gd name="connsiteY804" fmla="*/ 3899153 h 5392467"/>
              <a:gd name="connsiteX805" fmla="*/ 5549980 w 6096001"/>
              <a:gd name="connsiteY805" fmla="*/ 3897218 h 5392467"/>
              <a:gd name="connsiteX806" fmla="*/ 5538376 w 6096001"/>
              <a:gd name="connsiteY806" fmla="*/ 3899153 h 5392467"/>
              <a:gd name="connsiteX807" fmla="*/ 5530639 w 6096001"/>
              <a:gd name="connsiteY807" fmla="*/ 3903019 h 5392467"/>
              <a:gd name="connsiteX808" fmla="*/ 5526771 w 6096001"/>
              <a:gd name="connsiteY808" fmla="*/ 3906887 h 5392467"/>
              <a:gd name="connsiteX809" fmla="*/ 5505497 w 6096001"/>
              <a:gd name="connsiteY809" fmla="*/ 3901086 h 5392467"/>
              <a:gd name="connsiteX810" fmla="*/ 5484220 w 6096001"/>
              <a:gd name="connsiteY810" fmla="*/ 3910755 h 5392467"/>
              <a:gd name="connsiteX811" fmla="*/ 5476483 w 6096001"/>
              <a:gd name="connsiteY811" fmla="*/ 3910755 h 5392467"/>
              <a:gd name="connsiteX812" fmla="*/ 5430064 w 6096001"/>
              <a:gd name="connsiteY812" fmla="*/ 3910755 h 5392467"/>
              <a:gd name="connsiteX813" fmla="*/ 5428131 w 6096001"/>
              <a:gd name="connsiteY813" fmla="*/ 3912691 h 5392467"/>
              <a:gd name="connsiteX814" fmla="*/ 5410723 w 6096001"/>
              <a:gd name="connsiteY814" fmla="*/ 3920427 h 5392467"/>
              <a:gd name="connsiteX815" fmla="*/ 5416527 w 6096001"/>
              <a:gd name="connsiteY815" fmla="*/ 3924295 h 5392467"/>
              <a:gd name="connsiteX816" fmla="*/ 5424263 w 6096001"/>
              <a:gd name="connsiteY816" fmla="*/ 3924295 h 5392467"/>
              <a:gd name="connsiteX817" fmla="*/ 5437803 w 6096001"/>
              <a:gd name="connsiteY817" fmla="*/ 3920427 h 5392467"/>
              <a:gd name="connsiteX818" fmla="*/ 5482287 w 6096001"/>
              <a:gd name="connsiteY818" fmla="*/ 3914624 h 5392467"/>
              <a:gd name="connsiteX819" fmla="*/ 5490264 w 6096001"/>
              <a:gd name="connsiteY819" fmla="*/ 3915592 h 5392467"/>
              <a:gd name="connsiteX820" fmla="*/ 5492736 w 6096001"/>
              <a:gd name="connsiteY820" fmla="*/ 3920206 h 5392467"/>
              <a:gd name="connsiteX821" fmla="*/ 5482287 w 6096001"/>
              <a:gd name="connsiteY821" fmla="*/ 3919460 h 5392467"/>
              <a:gd name="connsiteX822" fmla="*/ 5468747 w 6096001"/>
              <a:gd name="connsiteY822" fmla="*/ 3924295 h 5392467"/>
              <a:gd name="connsiteX823" fmla="*/ 5451341 w 6096001"/>
              <a:gd name="connsiteY823" fmla="*/ 3930097 h 5392467"/>
              <a:gd name="connsiteX824" fmla="*/ 5476483 w 6096001"/>
              <a:gd name="connsiteY824" fmla="*/ 3930097 h 5392467"/>
              <a:gd name="connsiteX825" fmla="*/ 5493889 w 6096001"/>
              <a:gd name="connsiteY825" fmla="*/ 3926228 h 5392467"/>
              <a:gd name="connsiteX826" fmla="*/ 5496308 w 6096001"/>
              <a:gd name="connsiteY826" fmla="*/ 3924778 h 5392467"/>
              <a:gd name="connsiteX827" fmla="*/ 5496049 w 6096001"/>
              <a:gd name="connsiteY827" fmla="*/ 3922450 h 5392467"/>
              <a:gd name="connsiteX828" fmla="*/ 5505497 w 6096001"/>
              <a:gd name="connsiteY828" fmla="*/ 3926228 h 5392467"/>
              <a:gd name="connsiteX829" fmla="*/ 5555781 w 6096001"/>
              <a:gd name="connsiteY829" fmla="*/ 3916559 h 5392467"/>
              <a:gd name="connsiteX830" fmla="*/ 5549980 w 6096001"/>
              <a:gd name="connsiteY830" fmla="*/ 3920427 h 5392467"/>
              <a:gd name="connsiteX831" fmla="*/ 5598332 w 6096001"/>
              <a:gd name="connsiteY831" fmla="*/ 3918492 h 5392467"/>
              <a:gd name="connsiteX832" fmla="*/ 5608002 w 6096001"/>
              <a:gd name="connsiteY832" fmla="*/ 3912691 h 5392467"/>
              <a:gd name="connsiteX833" fmla="*/ 5573190 w 6096001"/>
              <a:gd name="connsiteY833" fmla="*/ 3912691 h 5392467"/>
              <a:gd name="connsiteX834" fmla="*/ 5578991 w 6096001"/>
              <a:gd name="connsiteY834" fmla="*/ 3903019 h 5392467"/>
              <a:gd name="connsiteX835" fmla="*/ 5573190 w 6096001"/>
              <a:gd name="connsiteY835" fmla="*/ 3904954 h 5392467"/>
              <a:gd name="connsiteX836" fmla="*/ 5565453 w 6096001"/>
              <a:gd name="connsiteY836" fmla="*/ 3901086 h 5392467"/>
              <a:gd name="connsiteX837" fmla="*/ 5563518 w 6096001"/>
              <a:gd name="connsiteY837" fmla="*/ 3897218 h 5392467"/>
              <a:gd name="connsiteX838" fmla="*/ 5551913 w 6096001"/>
              <a:gd name="connsiteY838" fmla="*/ 3897218 h 5392467"/>
              <a:gd name="connsiteX839" fmla="*/ 5549980 w 6096001"/>
              <a:gd name="connsiteY839" fmla="*/ 3897218 h 5392467"/>
              <a:gd name="connsiteX840" fmla="*/ 5604133 w 6096001"/>
              <a:gd name="connsiteY840" fmla="*/ 3885613 h 5392467"/>
              <a:gd name="connsiteX841" fmla="*/ 5590596 w 6096001"/>
              <a:gd name="connsiteY841" fmla="*/ 3887548 h 5392467"/>
              <a:gd name="connsiteX842" fmla="*/ 5577056 w 6096001"/>
              <a:gd name="connsiteY842" fmla="*/ 3897218 h 5392467"/>
              <a:gd name="connsiteX843" fmla="*/ 5582859 w 6096001"/>
              <a:gd name="connsiteY843" fmla="*/ 3901086 h 5392467"/>
              <a:gd name="connsiteX844" fmla="*/ 5602201 w 6096001"/>
              <a:gd name="connsiteY844" fmla="*/ 3895282 h 5392467"/>
              <a:gd name="connsiteX845" fmla="*/ 5629278 w 6096001"/>
              <a:gd name="connsiteY845" fmla="*/ 3903019 h 5392467"/>
              <a:gd name="connsiteX846" fmla="*/ 5642816 w 6096001"/>
              <a:gd name="connsiteY846" fmla="*/ 3895282 h 5392467"/>
              <a:gd name="connsiteX847" fmla="*/ 5631211 w 6096001"/>
              <a:gd name="connsiteY847" fmla="*/ 3891414 h 5392467"/>
              <a:gd name="connsiteX848" fmla="*/ 5625410 w 6096001"/>
              <a:gd name="connsiteY848" fmla="*/ 3889481 h 5392467"/>
              <a:gd name="connsiteX849" fmla="*/ 5617674 w 6096001"/>
              <a:gd name="connsiteY849" fmla="*/ 3889481 h 5392467"/>
              <a:gd name="connsiteX850" fmla="*/ 5619607 w 6096001"/>
              <a:gd name="connsiteY850" fmla="*/ 3887548 h 5392467"/>
              <a:gd name="connsiteX851" fmla="*/ 5604133 w 6096001"/>
              <a:gd name="connsiteY851" fmla="*/ 3885613 h 5392467"/>
              <a:gd name="connsiteX852" fmla="*/ 5228918 w 6096001"/>
              <a:gd name="connsiteY852" fmla="*/ 3870140 h 5392467"/>
              <a:gd name="connsiteX853" fmla="*/ 5219248 w 6096001"/>
              <a:gd name="connsiteY853" fmla="*/ 3872075 h 5392467"/>
              <a:gd name="connsiteX854" fmla="*/ 5221183 w 6096001"/>
              <a:gd name="connsiteY854" fmla="*/ 3872075 h 5392467"/>
              <a:gd name="connsiteX855" fmla="*/ 5228918 w 6096001"/>
              <a:gd name="connsiteY855" fmla="*/ 3870140 h 5392467"/>
              <a:gd name="connsiteX856" fmla="*/ 5443604 w 6096001"/>
              <a:gd name="connsiteY856" fmla="*/ 3862403 h 5392467"/>
              <a:gd name="connsiteX857" fmla="*/ 5441669 w 6096001"/>
              <a:gd name="connsiteY857" fmla="*/ 3864339 h 5392467"/>
              <a:gd name="connsiteX858" fmla="*/ 5445537 w 6096001"/>
              <a:gd name="connsiteY858" fmla="*/ 3864339 h 5392467"/>
              <a:gd name="connsiteX859" fmla="*/ 5443604 w 6096001"/>
              <a:gd name="connsiteY859" fmla="*/ 3862403 h 5392467"/>
              <a:gd name="connsiteX860" fmla="*/ 5478177 w 6096001"/>
              <a:gd name="connsiteY860" fmla="*/ 3853701 h 5392467"/>
              <a:gd name="connsiteX861" fmla="*/ 5461010 w 6096001"/>
              <a:gd name="connsiteY861" fmla="*/ 3858535 h 5392467"/>
              <a:gd name="connsiteX862" fmla="*/ 5474551 w 6096001"/>
              <a:gd name="connsiteY862" fmla="*/ 3858535 h 5392467"/>
              <a:gd name="connsiteX863" fmla="*/ 5493889 w 6096001"/>
              <a:gd name="connsiteY863" fmla="*/ 3854667 h 5392467"/>
              <a:gd name="connsiteX864" fmla="*/ 5478177 w 6096001"/>
              <a:gd name="connsiteY864" fmla="*/ 3853701 h 5392467"/>
              <a:gd name="connsiteX865" fmla="*/ 5422328 w 6096001"/>
              <a:gd name="connsiteY865" fmla="*/ 3848866 h 5392467"/>
              <a:gd name="connsiteX866" fmla="*/ 5424263 w 6096001"/>
              <a:gd name="connsiteY866" fmla="*/ 3848866 h 5392467"/>
              <a:gd name="connsiteX867" fmla="*/ 5424263 w 6096001"/>
              <a:gd name="connsiteY867" fmla="*/ 3850798 h 5392467"/>
              <a:gd name="connsiteX868" fmla="*/ 5422328 w 6096001"/>
              <a:gd name="connsiteY868" fmla="*/ 3848866 h 5392467"/>
              <a:gd name="connsiteX869" fmla="*/ 5399121 w 6096001"/>
              <a:gd name="connsiteY869" fmla="*/ 3844997 h 5392467"/>
              <a:gd name="connsiteX870" fmla="*/ 5385581 w 6096001"/>
              <a:gd name="connsiteY870" fmla="*/ 3846930 h 5392467"/>
              <a:gd name="connsiteX871" fmla="*/ 5327559 w 6096001"/>
              <a:gd name="connsiteY871" fmla="*/ 3860470 h 5392467"/>
              <a:gd name="connsiteX872" fmla="*/ 5317887 w 6096001"/>
              <a:gd name="connsiteY872" fmla="*/ 3862403 h 5392467"/>
              <a:gd name="connsiteX873" fmla="*/ 5314019 w 6096001"/>
              <a:gd name="connsiteY873" fmla="*/ 3852734 h 5392467"/>
              <a:gd name="connsiteX874" fmla="*/ 5315952 w 6096001"/>
              <a:gd name="connsiteY874" fmla="*/ 3848866 h 5392467"/>
              <a:gd name="connsiteX875" fmla="*/ 5314019 w 6096001"/>
              <a:gd name="connsiteY875" fmla="*/ 3848866 h 5392467"/>
              <a:gd name="connsiteX876" fmla="*/ 5283073 w 6096001"/>
              <a:gd name="connsiteY876" fmla="*/ 3854667 h 5392467"/>
              <a:gd name="connsiteX877" fmla="*/ 5255995 w 6096001"/>
              <a:gd name="connsiteY877" fmla="*/ 3862403 h 5392467"/>
              <a:gd name="connsiteX878" fmla="*/ 5236654 w 6096001"/>
              <a:gd name="connsiteY878" fmla="*/ 3872075 h 5392467"/>
              <a:gd name="connsiteX879" fmla="*/ 5184434 w 6096001"/>
              <a:gd name="connsiteY879" fmla="*/ 3885613 h 5392467"/>
              <a:gd name="connsiteX880" fmla="*/ 5180566 w 6096001"/>
              <a:gd name="connsiteY880" fmla="*/ 3885613 h 5392467"/>
              <a:gd name="connsiteX881" fmla="*/ 5155423 w 6096001"/>
              <a:gd name="connsiteY881" fmla="*/ 3891414 h 5392467"/>
              <a:gd name="connsiteX882" fmla="*/ 5147687 w 6096001"/>
              <a:gd name="connsiteY882" fmla="*/ 3893349 h 5392467"/>
              <a:gd name="connsiteX883" fmla="*/ 5155423 w 6096001"/>
              <a:gd name="connsiteY883" fmla="*/ 3897218 h 5392467"/>
              <a:gd name="connsiteX884" fmla="*/ 5145751 w 6096001"/>
              <a:gd name="connsiteY884" fmla="*/ 3904954 h 5392467"/>
              <a:gd name="connsiteX885" fmla="*/ 5155423 w 6096001"/>
              <a:gd name="connsiteY885" fmla="*/ 3906887 h 5392467"/>
              <a:gd name="connsiteX886" fmla="*/ 5153488 w 6096001"/>
              <a:gd name="connsiteY886" fmla="*/ 3908822 h 5392467"/>
              <a:gd name="connsiteX887" fmla="*/ 5124477 w 6096001"/>
              <a:gd name="connsiteY887" fmla="*/ 3918492 h 5392467"/>
              <a:gd name="connsiteX888" fmla="*/ 5097399 w 6096001"/>
              <a:gd name="connsiteY888" fmla="*/ 3926228 h 5392467"/>
              <a:gd name="connsiteX889" fmla="*/ 5132214 w 6096001"/>
              <a:gd name="connsiteY889" fmla="*/ 3926228 h 5392467"/>
              <a:gd name="connsiteX890" fmla="*/ 5147687 w 6096001"/>
              <a:gd name="connsiteY890" fmla="*/ 3928164 h 5392467"/>
              <a:gd name="connsiteX891" fmla="*/ 5146929 w 6096001"/>
              <a:gd name="connsiteY891" fmla="*/ 3928488 h 5392467"/>
              <a:gd name="connsiteX892" fmla="*/ 5137774 w 6096001"/>
              <a:gd name="connsiteY892" fmla="*/ 3929131 h 5392467"/>
              <a:gd name="connsiteX893" fmla="*/ 5122542 w 6096001"/>
              <a:gd name="connsiteY893" fmla="*/ 3935900 h 5392467"/>
              <a:gd name="connsiteX894" fmla="*/ 5124475 w 6096001"/>
              <a:gd name="connsiteY894" fmla="*/ 3935900 h 5392467"/>
              <a:gd name="connsiteX895" fmla="*/ 5109004 w 6096001"/>
              <a:gd name="connsiteY895" fmla="*/ 3939768 h 5392467"/>
              <a:gd name="connsiteX896" fmla="*/ 5108290 w 6096001"/>
              <a:gd name="connsiteY896" fmla="*/ 3941911 h 5392467"/>
              <a:gd name="connsiteX897" fmla="*/ 5088581 w 6096001"/>
              <a:gd name="connsiteY897" fmla="*/ 3945339 h 5392467"/>
              <a:gd name="connsiteX898" fmla="*/ 5087730 w 6096001"/>
              <a:gd name="connsiteY898" fmla="*/ 3943637 h 5392467"/>
              <a:gd name="connsiteX899" fmla="*/ 5069255 w 6096001"/>
              <a:gd name="connsiteY899" fmla="*/ 3945483 h 5392467"/>
              <a:gd name="connsiteX900" fmla="*/ 5066453 w 6096001"/>
              <a:gd name="connsiteY900" fmla="*/ 3941701 h 5392467"/>
              <a:gd name="connsiteX901" fmla="*/ 5066453 w 6096001"/>
              <a:gd name="connsiteY901" fmla="*/ 3943637 h 5392467"/>
              <a:gd name="connsiteX902" fmla="*/ 5068389 w 6096001"/>
              <a:gd name="connsiteY902" fmla="*/ 3945570 h 5392467"/>
              <a:gd name="connsiteX903" fmla="*/ 5069255 w 6096001"/>
              <a:gd name="connsiteY903" fmla="*/ 3945483 h 5392467"/>
              <a:gd name="connsiteX904" fmla="*/ 5071290 w 6096001"/>
              <a:gd name="connsiteY904" fmla="*/ 3948230 h 5392467"/>
              <a:gd name="connsiteX905" fmla="*/ 5076125 w 6096001"/>
              <a:gd name="connsiteY905" fmla="*/ 3947505 h 5392467"/>
              <a:gd name="connsiteX906" fmla="*/ 5088581 w 6096001"/>
              <a:gd name="connsiteY906" fmla="*/ 3945339 h 5392467"/>
              <a:gd name="connsiteX907" fmla="*/ 5091598 w 6096001"/>
              <a:gd name="connsiteY907" fmla="*/ 3951373 h 5392467"/>
              <a:gd name="connsiteX908" fmla="*/ 5107071 w 6096001"/>
              <a:gd name="connsiteY908" fmla="*/ 3947505 h 5392467"/>
              <a:gd name="connsiteX909" fmla="*/ 5120609 w 6096001"/>
              <a:gd name="connsiteY909" fmla="*/ 3947505 h 5392467"/>
              <a:gd name="connsiteX910" fmla="*/ 5120609 w 6096001"/>
              <a:gd name="connsiteY910" fmla="*/ 3945570 h 5392467"/>
              <a:gd name="connsiteX911" fmla="*/ 5107071 w 6096001"/>
              <a:gd name="connsiteY911" fmla="*/ 3945570 h 5392467"/>
              <a:gd name="connsiteX912" fmla="*/ 5108290 w 6096001"/>
              <a:gd name="connsiteY912" fmla="*/ 3941911 h 5392467"/>
              <a:gd name="connsiteX913" fmla="*/ 5120609 w 6096001"/>
              <a:gd name="connsiteY913" fmla="*/ 3939768 h 5392467"/>
              <a:gd name="connsiteX914" fmla="*/ 5146929 w 6096001"/>
              <a:gd name="connsiteY914" fmla="*/ 3928488 h 5392467"/>
              <a:gd name="connsiteX915" fmla="*/ 5151555 w 6096001"/>
              <a:gd name="connsiteY915" fmla="*/ 3928164 h 5392467"/>
              <a:gd name="connsiteX916" fmla="*/ 5176697 w 6096001"/>
              <a:gd name="connsiteY916" fmla="*/ 3922360 h 5392467"/>
              <a:gd name="connsiteX917" fmla="*/ 5167028 w 6096001"/>
              <a:gd name="connsiteY917" fmla="*/ 3918492 h 5392467"/>
              <a:gd name="connsiteX918" fmla="*/ 5197974 w 6096001"/>
              <a:gd name="connsiteY918" fmla="*/ 3908822 h 5392467"/>
              <a:gd name="connsiteX919" fmla="*/ 5203775 w 6096001"/>
              <a:gd name="connsiteY919" fmla="*/ 3908822 h 5392467"/>
              <a:gd name="connsiteX920" fmla="*/ 5225052 w 6096001"/>
              <a:gd name="connsiteY920" fmla="*/ 3908822 h 5392467"/>
              <a:gd name="connsiteX921" fmla="*/ 5252127 w 6096001"/>
              <a:gd name="connsiteY921" fmla="*/ 3903019 h 5392467"/>
              <a:gd name="connsiteX922" fmla="*/ 5255995 w 6096001"/>
              <a:gd name="connsiteY922" fmla="*/ 3903019 h 5392467"/>
              <a:gd name="connsiteX923" fmla="*/ 5261799 w 6096001"/>
              <a:gd name="connsiteY923" fmla="*/ 3901086 h 5392467"/>
              <a:gd name="connsiteX924" fmla="*/ 5310151 w 6096001"/>
              <a:gd name="connsiteY924" fmla="*/ 3889481 h 5392467"/>
              <a:gd name="connsiteX925" fmla="*/ 5310151 w 6096001"/>
              <a:gd name="connsiteY925" fmla="*/ 3887548 h 5392467"/>
              <a:gd name="connsiteX926" fmla="*/ 5312086 w 6096001"/>
              <a:gd name="connsiteY926" fmla="*/ 3885613 h 5392467"/>
              <a:gd name="connsiteX927" fmla="*/ 5327559 w 6096001"/>
              <a:gd name="connsiteY927" fmla="*/ 3885613 h 5392467"/>
              <a:gd name="connsiteX928" fmla="*/ 5352702 w 6096001"/>
              <a:gd name="connsiteY928" fmla="*/ 3879812 h 5392467"/>
              <a:gd name="connsiteX929" fmla="*/ 5356570 w 6096001"/>
              <a:gd name="connsiteY929" fmla="*/ 3877876 h 5392467"/>
              <a:gd name="connsiteX930" fmla="*/ 5377844 w 6096001"/>
              <a:gd name="connsiteY930" fmla="*/ 3874008 h 5392467"/>
              <a:gd name="connsiteX931" fmla="*/ 5395252 w 6096001"/>
              <a:gd name="connsiteY931" fmla="*/ 3872075 h 5392467"/>
              <a:gd name="connsiteX932" fmla="*/ 5418462 w 6096001"/>
              <a:gd name="connsiteY932" fmla="*/ 3862403 h 5392467"/>
              <a:gd name="connsiteX933" fmla="*/ 5432000 w 6096001"/>
              <a:gd name="connsiteY933" fmla="*/ 3860470 h 5392467"/>
              <a:gd name="connsiteX934" fmla="*/ 5432000 w 6096001"/>
              <a:gd name="connsiteY934" fmla="*/ 3856602 h 5392467"/>
              <a:gd name="connsiteX935" fmla="*/ 5437803 w 6096001"/>
              <a:gd name="connsiteY935" fmla="*/ 3854667 h 5392467"/>
              <a:gd name="connsiteX936" fmla="*/ 5461010 w 6096001"/>
              <a:gd name="connsiteY936" fmla="*/ 3852734 h 5392467"/>
              <a:gd name="connsiteX937" fmla="*/ 5459078 w 6096001"/>
              <a:gd name="connsiteY937" fmla="*/ 3844997 h 5392467"/>
              <a:gd name="connsiteX938" fmla="*/ 5451341 w 6096001"/>
              <a:gd name="connsiteY938" fmla="*/ 3846930 h 5392467"/>
              <a:gd name="connsiteX939" fmla="*/ 5416527 w 6096001"/>
              <a:gd name="connsiteY939" fmla="*/ 3846930 h 5392467"/>
              <a:gd name="connsiteX940" fmla="*/ 5408790 w 6096001"/>
              <a:gd name="connsiteY940" fmla="*/ 3844997 h 5392467"/>
              <a:gd name="connsiteX941" fmla="*/ 5399121 w 6096001"/>
              <a:gd name="connsiteY941" fmla="*/ 3854667 h 5392467"/>
              <a:gd name="connsiteX942" fmla="*/ 5418462 w 6096001"/>
              <a:gd name="connsiteY942" fmla="*/ 3858535 h 5392467"/>
              <a:gd name="connsiteX943" fmla="*/ 5414594 w 6096001"/>
              <a:gd name="connsiteY943" fmla="*/ 3862403 h 5392467"/>
              <a:gd name="connsiteX944" fmla="*/ 5368175 w 6096001"/>
              <a:gd name="connsiteY944" fmla="*/ 3866272 h 5392467"/>
              <a:gd name="connsiteX945" fmla="*/ 5366239 w 6096001"/>
              <a:gd name="connsiteY945" fmla="*/ 3864339 h 5392467"/>
              <a:gd name="connsiteX946" fmla="*/ 5375911 w 6096001"/>
              <a:gd name="connsiteY946" fmla="*/ 3862403 h 5392467"/>
              <a:gd name="connsiteX947" fmla="*/ 5387514 w 6096001"/>
              <a:gd name="connsiteY947" fmla="*/ 3860470 h 5392467"/>
              <a:gd name="connsiteX948" fmla="*/ 5397185 w 6096001"/>
              <a:gd name="connsiteY948" fmla="*/ 3848866 h 5392467"/>
              <a:gd name="connsiteX949" fmla="*/ 5399121 w 6096001"/>
              <a:gd name="connsiteY949" fmla="*/ 3844997 h 5392467"/>
              <a:gd name="connsiteX950" fmla="*/ 5491956 w 6096001"/>
              <a:gd name="connsiteY950" fmla="*/ 3843062 h 5392467"/>
              <a:gd name="connsiteX951" fmla="*/ 5490021 w 6096001"/>
              <a:gd name="connsiteY951" fmla="*/ 3844997 h 5392467"/>
              <a:gd name="connsiteX952" fmla="*/ 5493889 w 6096001"/>
              <a:gd name="connsiteY952" fmla="*/ 3846930 h 5392467"/>
              <a:gd name="connsiteX953" fmla="*/ 5493889 w 6096001"/>
              <a:gd name="connsiteY953" fmla="*/ 3844997 h 5392467"/>
              <a:gd name="connsiteX954" fmla="*/ 5491956 w 6096001"/>
              <a:gd name="connsiteY954" fmla="*/ 3843062 h 5392467"/>
              <a:gd name="connsiteX955" fmla="*/ 5531847 w 6096001"/>
              <a:gd name="connsiteY955" fmla="*/ 3842579 h 5392467"/>
              <a:gd name="connsiteX956" fmla="*/ 5528704 w 6096001"/>
              <a:gd name="connsiteY956" fmla="*/ 3844997 h 5392467"/>
              <a:gd name="connsiteX957" fmla="*/ 5536440 w 6096001"/>
              <a:gd name="connsiteY957" fmla="*/ 3843062 h 5392467"/>
              <a:gd name="connsiteX958" fmla="*/ 5531847 w 6096001"/>
              <a:gd name="connsiteY958" fmla="*/ 3842579 h 5392467"/>
              <a:gd name="connsiteX959" fmla="*/ 5281140 w 6096001"/>
              <a:gd name="connsiteY959" fmla="*/ 3839194 h 5392467"/>
              <a:gd name="connsiteX960" fmla="*/ 5269535 w 6096001"/>
              <a:gd name="connsiteY960" fmla="*/ 3843062 h 5392467"/>
              <a:gd name="connsiteX961" fmla="*/ 5275337 w 6096001"/>
              <a:gd name="connsiteY961" fmla="*/ 3843062 h 5392467"/>
              <a:gd name="connsiteX962" fmla="*/ 5281140 w 6096001"/>
              <a:gd name="connsiteY962" fmla="*/ 3839194 h 5392467"/>
              <a:gd name="connsiteX963" fmla="*/ 5582859 w 6096001"/>
              <a:gd name="connsiteY963" fmla="*/ 3837261 h 5392467"/>
              <a:gd name="connsiteX964" fmla="*/ 5553849 w 6096001"/>
              <a:gd name="connsiteY964" fmla="*/ 3843062 h 5392467"/>
              <a:gd name="connsiteX965" fmla="*/ 5544177 w 6096001"/>
              <a:gd name="connsiteY965" fmla="*/ 3846930 h 5392467"/>
              <a:gd name="connsiteX966" fmla="*/ 5538376 w 6096001"/>
              <a:gd name="connsiteY966" fmla="*/ 3852734 h 5392467"/>
              <a:gd name="connsiteX967" fmla="*/ 5571255 w 6096001"/>
              <a:gd name="connsiteY967" fmla="*/ 3850798 h 5392467"/>
              <a:gd name="connsiteX968" fmla="*/ 5573190 w 6096001"/>
              <a:gd name="connsiteY968" fmla="*/ 3848866 h 5392467"/>
              <a:gd name="connsiteX969" fmla="*/ 5577056 w 6096001"/>
              <a:gd name="connsiteY969" fmla="*/ 3848866 h 5392467"/>
              <a:gd name="connsiteX970" fmla="*/ 5580924 w 6096001"/>
              <a:gd name="connsiteY970" fmla="*/ 3846930 h 5392467"/>
              <a:gd name="connsiteX971" fmla="*/ 5596397 w 6096001"/>
              <a:gd name="connsiteY971" fmla="*/ 3841129 h 5392467"/>
              <a:gd name="connsiteX972" fmla="*/ 5598332 w 6096001"/>
              <a:gd name="connsiteY972" fmla="*/ 3839194 h 5392467"/>
              <a:gd name="connsiteX973" fmla="*/ 5582859 w 6096001"/>
              <a:gd name="connsiteY973" fmla="*/ 3837261 h 5392467"/>
              <a:gd name="connsiteX974" fmla="*/ 5480352 w 6096001"/>
              <a:gd name="connsiteY974" fmla="*/ 3829524 h 5392467"/>
              <a:gd name="connsiteX975" fmla="*/ 5462946 w 6096001"/>
              <a:gd name="connsiteY975" fmla="*/ 3833393 h 5392467"/>
              <a:gd name="connsiteX976" fmla="*/ 5443604 w 6096001"/>
              <a:gd name="connsiteY976" fmla="*/ 3839194 h 5392467"/>
              <a:gd name="connsiteX977" fmla="*/ 5437803 w 6096001"/>
              <a:gd name="connsiteY977" fmla="*/ 3839194 h 5392467"/>
              <a:gd name="connsiteX978" fmla="*/ 5437803 w 6096001"/>
              <a:gd name="connsiteY978" fmla="*/ 3841129 h 5392467"/>
              <a:gd name="connsiteX979" fmla="*/ 5439736 w 6096001"/>
              <a:gd name="connsiteY979" fmla="*/ 3841129 h 5392467"/>
              <a:gd name="connsiteX980" fmla="*/ 5443604 w 6096001"/>
              <a:gd name="connsiteY980" fmla="*/ 3839194 h 5392467"/>
              <a:gd name="connsiteX981" fmla="*/ 5451341 w 6096001"/>
              <a:gd name="connsiteY981" fmla="*/ 3841129 h 5392467"/>
              <a:gd name="connsiteX982" fmla="*/ 5459078 w 6096001"/>
              <a:gd name="connsiteY982" fmla="*/ 3843062 h 5392467"/>
              <a:gd name="connsiteX983" fmla="*/ 5464879 w 6096001"/>
              <a:gd name="connsiteY983" fmla="*/ 3837261 h 5392467"/>
              <a:gd name="connsiteX984" fmla="*/ 5470680 w 6096001"/>
              <a:gd name="connsiteY984" fmla="*/ 3837261 h 5392467"/>
              <a:gd name="connsiteX985" fmla="*/ 5472615 w 6096001"/>
              <a:gd name="connsiteY985" fmla="*/ 3835325 h 5392467"/>
              <a:gd name="connsiteX986" fmla="*/ 5480352 w 6096001"/>
              <a:gd name="connsiteY986" fmla="*/ 3829524 h 5392467"/>
              <a:gd name="connsiteX987" fmla="*/ 5517099 w 6096001"/>
              <a:gd name="connsiteY987" fmla="*/ 3827589 h 5392467"/>
              <a:gd name="connsiteX988" fmla="*/ 5488088 w 6096001"/>
              <a:gd name="connsiteY988" fmla="*/ 3829524 h 5392467"/>
              <a:gd name="connsiteX989" fmla="*/ 5491956 w 6096001"/>
              <a:gd name="connsiteY989" fmla="*/ 3835325 h 5392467"/>
              <a:gd name="connsiteX990" fmla="*/ 5555781 w 6096001"/>
              <a:gd name="connsiteY990" fmla="*/ 3833393 h 5392467"/>
              <a:gd name="connsiteX991" fmla="*/ 5534507 w 6096001"/>
              <a:gd name="connsiteY991" fmla="*/ 3829524 h 5392467"/>
              <a:gd name="connsiteX992" fmla="*/ 5517099 w 6096001"/>
              <a:gd name="connsiteY992" fmla="*/ 3827589 h 5392467"/>
              <a:gd name="connsiteX993" fmla="*/ 5613805 w 6096001"/>
              <a:gd name="connsiteY993" fmla="*/ 3825656 h 5392467"/>
              <a:gd name="connsiteX994" fmla="*/ 5606069 w 6096001"/>
              <a:gd name="connsiteY994" fmla="*/ 3829524 h 5392467"/>
              <a:gd name="connsiteX995" fmla="*/ 5611872 w 6096001"/>
              <a:gd name="connsiteY995" fmla="*/ 3831457 h 5392467"/>
              <a:gd name="connsiteX996" fmla="*/ 5613805 w 6096001"/>
              <a:gd name="connsiteY996" fmla="*/ 3831457 h 5392467"/>
              <a:gd name="connsiteX997" fmla="*/ 5625410 w 6096001"/>
              <a:gd name="connsiteY997" fmla="*/ 3825656 h 5392467"/>
              <a:gd name="connsiteX998" fmla="*/ 5613805 w 6096001"/>
              <a:gd name="connsiteY998" fmla="*/ 3825656 h 5392467"/>
              <a:gd name="connsiteX999" fmla="*/ 5756928 w 6096001"/>
              <a:gd name="connsiteY999" fmla="*/ 3815984 h 5392467"/>
              <a:gd name="connsiteX1000" fmla="*/ 5756928 w 6096001"/>
              <a:gd name="connsiteY1000" fmla="*/ 3817919 h 5392467"/>
              <a:gd name="connsiteX1001" fmla="*/ 5762732 w 6096001"/>
              <a:gd name="connsiteY1001" fmla="*/ 3815984 h 5392467"/>
              <a:gd name="connsiteX1002" fmla="*/ 5756928 w 6096001"/>
              <a:gd name="connsiteY1002" fmla="*/ 3815984 h 5392467"/>
              <a:gd name="connsiteX1003" fmla="*/ 5548045 w 6096001"/>
              <a:gd name="connsiteY1003" fmla="*/ 3812118 h 5392467"/>
              <a:gd name="connsiteX1004" fmla="*/ 5549980 w 6096001"/>
              <a:gd name="connsiteY1004" fmla="*/ 3814051 h 5392467"/>
              <a:gd name="connsiteX1005" fmla="*/ 5551913 w 6096001"/>
              <a:gd name="connsiteY1005" fmla="*/ 3812118 h 5392467"/>
              <a:gd name="connsiteX1006" fmla="*/ 5549980 w 6096001"/>
              <a:gd name="connsiteY1006" fmla="*/ 3812118 h 5392467"/>
              <a:gd name="connsiteX1007" fmla="*/ 5548045 w 6096001"/>
              <a:gd name="connsiteY1007" fmla="*/ 3812118 h 5392467"/>
              <a:gd name="connsiteX1008" fmla="*/ 5503561 w 6096001"/>
              <a:gd name="connsiteY1008" fmla="*/ 3798578 h 5392467"/>
              <a:gd name="connsiteX1009" fmla="*/ 5495825 w 6096001"/>
              <a:gd name="connsiteY1009" fmla="*/ 3800514 h 5392467"/>
              <a:gd name="connsiteX1010" fmla="*/ 5422328 w 6096001"/>
              <a:gd name="connsiteY1010" fmla="*/ 3812118 h 5392467"/>
              <a:gd name="connsiteX1011" fmla="*/ 5377844 w 6096001"/>
              <a:gd name="connsiteY1011" fmla="*/ 3821788 h 5392467"/>
              <a:gd name="connsiteX1012" fmla="*/ 5375911 w 6096001"/>
              <a:gd name="connsiteY1012" fmla="*/ 3823721 h 5392467"/>
              <a:gd name="connsiteX1013" fmla="*/ 5354635 w 6096001"/>
              <a:gd name="connsiteY1013" fmla="*/ 3825656 h 5392467"/>
              <a:gd name="connsiteX1014" fmla="*/ 5343030 w 6096001"/>
              <a:gd name="connsiteY1014" fmla="*/ 3825656 h 5392467"/>
              <a:gd name="connsiteX1015" fmla="*/ 5331427 w 6096001"/>
              <a:gd name="connsiteY1015" fmla="*/ 3823721 h 5392467"/>
              <a:gd name="connsiteX1016" fmla="*/ 5331427 w 6096001"/>
              <a:gd name="connsiteY1016" fmla="*/ 3827589 h 5392467"/>
              <a:gd name="connsiteX1017" fmla="*/ 5317887 w 6096001"/>
              <a:gd name="connsiteY1017" fmla="*/ 3825656 h 5392467"/>
              <a:gd name="connsiteX1018" fmla="*/ 5306283 w 6096001"/>
              <a:gd name="connsiteY1018" fmla="*/ 3829524 h 5392467"/>
              <a:gd name="connsiteX1019" fmla="*/ 5308218 w 6096001"/>
              <a:gd name="connsiteY1019" fmla="*/ 3833393 h 5392467"/>
              <a:gd name="connsiteX1020" fmla="*/ 5296611 w 6096001"/>
              <a:gd name="connsiteY1020" fmla="*/ 3835325 h 5392467"/>
              <a:gd name="connsiteX1021" fmla="*/ 5288877 w 6096001"/>
              <a:gd name="connsiteY1021" fmla="*/ 3843062 h 5392467"/>
              <a:gd name="connsiteX1022" fmla="*/ 5341097 w 6096001"/>
              <a:gd name="connsiteY1022" fmla="*/ 3839194 h 5392467"/>
              <a:gd name="connsiteX1023" fmla="*/ 5344965 w 6096001"/>
              <a:gd name="connsiteY1023" fmla="*/ 3839194 h 5392467"/>
              <a:gd name="connsiteX1024" fmla="*/ 5362371 w 6096001"/>
              <a:gd name="connsiteY1024" fmla="*/ 3831457 h 5392467"/>
              <a:gd name="connsiteX1025" fmla="*/ 5368175 w 6096001"/>
              <a:gd name="connsiteY1025" fmla="*/ 3831457 h 5392467"/>
              <a:gd name="connsiteX1026" fmla="*/ 5422328 w 6096001"/>
              <a:gd name="connsiteY1026" fmla="*/ 3823721 h 5392467"/>
              <a:gd name="connsiteX1027" fmla="*/ 5468747 w 6096001"/>
              <a:gd name="connsiteY1027" fmla="*/ 3815984 h 5392467"/>
              <a:gd name="connsiteX1028" fmla="*/ 5503561 w 6096001"/>
              <a:gd name="connsiteY1028" fmla="*/ 3798578 h 5392467"/>
              <a:gd name="connsiteX1029" fmla="*/ 5410723 w 6096001"/>
              <a:gd name="connsiteY1029" fmla="*/ 3794710 h 5392467"/>
              <a:gd name="connsiteX1030" fmla="*/ 5395252 w 6096001"/>
              <a:gd name="connsiteY1030" fmla="*/ 3796643 h 5392467"/>
              <a:gd name="connsiteX1031" fmla="*/ 5399121 w 6096001"/>
              <a:gd name="connsiteY1031" fmla="*/ 3796643 h 5392467"/>
              <a:gd name="connsiteX1032" fmla="*/ 5401054 w 6096001"/>
              <a:gd name="connsiteY1032" fmla="*/ 3796643 h 5392467"/>
              <a:gd name="connsiteX1033" fmla="*/ 5410723 w 6096001"/>
              <a:gd name="connsiteY1033" fmla="*/ 3794710 h 5392467"/>
              <a:gd name="connsiteX1034" fmla="*/ 5420395 w 6096001"/>
              <a:gd name="connsiteY1034" fmla="*/ 3786973 h 5392467"/>
              <a:gd name="connsiteX1035" fmla="*/ 5408790 w 6096001"/>
              <a:gd name="connsiteY1035" fmla="*/ 3790842 h 5392467"/>
              <a:gd name="connsiteX1036" fmla="*/ 5414594 w 6096001"/>
              <a:gd name="connsiteY1036" fmla="*/ 3794710 h 5392467"/>
              <a:gd name="connsiteX1037" fmla="*/ 5420395 w 6096001"/>
              <a:gd name="connsiteY1037" fmla="*/ 3786973 h 5392467"/>
              <a:gd name="connsiteX1038" fmla="*/ 5542244 w 6096001"/>
              <a:gd name="connsiteY1038" fmla="*/ 3752159 h 5392467"/>
              <a:gd name="connsiteX1039" fmla="*/ 5484220 w 6096001"/>
              <a:gd name="connsiteY1039" fmla="*/ 3761831 h 5392467"/>
              <a:gd name="connsiteX1040" fmla="*/ 5472615 w 6096001"/>
              <a:gd name="connsiteY1040" fmla="*/ 3763764 h 5392467"/>
              <a:gd name="connsiteX1041" fmla="*/ 5395252 w 6096001"/>
              <a:gd name="connsiteY1041" fmla="*/ 3775369 h 5392467"/>
              <a:gd name="connsiteX1042" fmla="*/ 5379779 w 6096001"/>
              <a:gd name="connsiteY1042" fmla="*/ 3783105 h 5392467"/>
              <a:gd name="connsiteX1043" fmla="*/ 5424263 w 6096001"/>
              <a:gd name="connsiteY1043" fmla="*/ 3779237 h 5392467"/>
              <a:gd name="connsiteX1044" fmla="*/ 5447473 w 6096001"/>
              <a:gd name="connsiteY1044" fmla="*/ 3773436 h 5392467"/>
              <a:gd name="connsiteX1045" fmla="*/ 5509362 w 6096001"/>
              <a:gd name="connsiteY1045" fmla="*/ 3769567 h 5392467"/>
              <a:gd name="connsiteX1046" fmla="*/ 5511298 w 6096001"/>
              <a:gd name="connsiteY1046" fmla="*/ 3769567 h 5392467"/>
              <a:gd name="connsiteX1047" fmla="*/ 5555781 w 6096001"/>
              <a:gd name="connsiteY1047" fmla="*/ 3765699 h 5392467"/>
              <a:gd name="connsiteX1048" fmla="*/ 5557714 w 6096001"/>
              <a:gd name="connsiteY1048" fmla="*/ 3765699 h 5392467"/>
              <a:gd name="connsiteX1049" fmla="*/ 5580924 w 6096001"/>
              <a:gd name="connsiteY1049" fmla="*/ 3757963 h 5392467"/>
              <a:gd name="connsiteX1050" fmla="*/ 5584795 w 6096001"/>
              <a:gd name="connsiteY1050" fmla="*/ 3756027 h 5392467"/>
              <a:gd name="connsiteX1051" fmla="*/ 5542244 w 6096001"/>
              <a:gd name="connsiteY1051" fmla="*/ 3752159 h 5392467"/>
              <a:gd name="connsiteX1052" fmla="*/ 5453274 w 6096001"/>
              <a:gd name="connsiteY1052" fmla="*/ 3744423 h 5392467"/>
              <a:gd name="connsiteX1053" fmla="*/ 5435868 w 6096001"/>
              <a:gd name="connsiteY1053" fmla="*/ 3748291 h 5392467"/>
              <a:gd name="connsiteX1054" fmla="*/ 5443604 w 6096001"/>
              <a:gd name="connsiteY1054" fmla="*/ 3746358 h 5392467"/>
              <a:gd name="connsiteX1055" fmla="*/ 5453274 w 6096001"/>
              <a:gd name="connsiteY1055" fmla="*/ 3748291 h 5392467"/>
              <a:gd name="connsiteX1056" fmla="*/ 5453274 w 6096001"/>
              <a:gd name="connsiteY1056" fmla="*/ 3744423 h 5392467"/>
              <a:gd name="connsiteX1057" fmla="*/ 5457142 w 6096001"/>
              <a:gd name="connsiteY1057" fmla="*/ 3727017 h 5392467"/>
              <a:gd name="connsiteX1058" fmla="*/ 5435868 w 6096001"/>
              <a:gd name="connsiteY1058" fmla="*/ 3732818 h 5392467"/>
              <a:gd name="connsiteX1059" fmla="*/ 5418462 w 6096001"/>
              <a:gd name="connsiteY1059" fmla="*/ 3736686 h 5392467"/>
              <a:gd name="connsiteX1060" fmla="*/ 5393317 w 6096001"/>
              <a:gd name="connsiteY1060" fmla="*/ 3744423 h 5392467"/>
              <a:gd name="connsiteX1061" fmla="*/ 5406855 w 6096001"/>
              <a:gd name="connsiteY1061" fmla="*/ 3744423 h 5392467"/>
              <a:gd name="connsiteX1062" fmla="*/ 5433933 w 6096001"/>
              <a:gd name="connsiteY1062" fmla="*/ 3742490 h 5392467"/>
              <a:gd name="connsiteX1063" fmla="*/ 5435868 w 6096001"/>
              <a:gd name="connsiteY1063" fmla="*/ 3742490 h 5392467"/>
              <a:gd name="connsiteX1064" fmla="*/ 5439736 w 6096001"/>
              <a:gd name="connsiteY1064" fmla="*/ 3738621 h 5392467"/>
              <a:gd name="connsiteX1065" fmla="*/ 5470680 w 6096001"/>
              <a:gd name="connsiteY1065" fmla="*/ 3730885 h 5392467"/>
              <a:gd name="connsiteX1066" fmla="*/ 5470680 w 6096001"/>
              <a:gd name="connsiteY1066" fmla="*/ 3728950 h 5392467"/>
              <a:gd name="connsiteX1067" fmla="*/ 5466814 w 6096001"/>
              <a:gd name="connsiteY1067" fmla="*/ 3727017 h 5392467"/>
              <a:gd name="connsiteX1068" fmla="*/ 5457142 w 6096001"/>
              <a:gd name="connsiteY1068" fmla="*/ 3727017 h 5392467"/>
              <a:gd name="connsiteX1069" fmla="*/ 5511298 w 6096001"/>
              <a:gd name="connsiteY1069" fmla="*/ 3651587 h 5392467"/>
              <a:gd name="connsiteX1070" fmla="*/ 5511298 w 6096001"/>
              <a:gd name="connsiteY1070" fmla="*/ 3655455 h 5392467"/>
              <a:gd name="connsiteX1071" fmla="*/ 5513231 w 6096001"/>
              <a:gd name="connsiteY1071" fmla="*/ 3655455 h 5392467"/>
              <a:gd name="connsiteX1072" fmla="*/ 5515166 w 6096001"/>
              <a:gd name="connsiteY1072" fmla="*/ 3651587 h 5392467"/>
              <a:gd name="connsiteX1073" fmla="*/ 5511298 w 6096001"/>
              <a:gd name="connsiteY1073" fmla="*/ 3651587 h 5392467"/>
              <a:gd name="connsiteX1074" fmla="*/ 5627343 w 6096001"/>
              <a:gd name="connsiteY1074" fmla="*/ 3614840 h 5392467"/>
              <a:gd name="connsiteX1075" fmla="*/ 5642816 w 6096001"/>
              <a:gd name="connsiteY1075" fmla="*/ 3614840 h 5392467"/>
              <a:gd name="connsiteX1076" fmla="*/ 5633147 w 6096001"/>
              <a:gd name="connsiteY1076" fmla="*/ 3614840 h 5392467"/>
              <a:gd name="connsiteX1077" fmla="*/ 5631211 w 6096001"/>
              <a:gd name="connsiteY1077" fmla="*/ 3614840 h 5392467"/>
              <a:gd name="connsiteX1078" fmla="*/ 5627343 w 6096001"/>
              <a:gd name="connsiteY1078" fmla="*/ 3614840 h 5392467"/>
              <a:gd name="connsiteX1079" fmla="*/ 5967745 w 6096001"/>
              <a:gd name="connsiteY1079" fmla="*/ 3345999 h 5392467"/>
              <a:gd name="connsiteX1080" fmla="*/ 5967745 w 6096001"/>
              <a:gd name="connsiteY1080" fmla="*/ 3347932 h 5392467"/>
              <a:gd name="connsiteX1081" fmla="*/ 5965812 w 6096001"/>
              <a:gd name="connsiteY1081" fmla="*/ 3353733 h 5392467"/>
              <a:gd name="connsiteX1082" fmla="*/ 5963876 w 6096001"/>
              <a:gd name="connsiteY1082" fmla="*/ 3347932 h 5392467"/>
              <a:gd name="connsiteX1083" fmla="*/ 5967745 w 6096001"/>
              <a:gd name="connsiteY1083" fmla="*/ 3345999 h 5392467"/>
              <a:gd name="connsiteX1084" fmla="*/ 5910690 w 6096001"/>
              <a:gd name="connsiteY1084" fmla="*/ 3319888 h 5392467"/>
              <a:gd name="connsiteX1085" fmla="*/ 5905855 w 6096001"/>
              <a:gd name="connsiteY1085" fmla="*/ 3324723 h 5392467"/>
              <a:gd name="connsiteX1086" fmla="*/ 5915524 w 6096001"/>
              <a:gd name="connsiteY1086" fmla="*/ 3320855 h 5392467"/>
              <a:gd name="connsiteX1087" fmla="*/ 5910690 w 6096001"/>
              <a:gd name="connsiteY1087" fmla="*/ 3319888 h 5392467"/>
              <a:gd name="connsiteX1088" fmla="*/ 5942844 w 6096001"/>
              <a:gd name="connsiteY1088" fmla="*/ 3319163 h 5392467"/>
              <a:gd name="connsiteX1089" fmla="*/ 5919393 w 6096001"/>
              <a:gd name="connsiteY1089" fmla="*/ 3324723 h 5392467"/>
              <a:gd name="connsiteX1090" fmla="*/ 5932933 w 6096001"/>
              <a:gd name="connsiteY1090" fmla="*/ 3326658 h 5392467"/>
              <a:gd name="connsiteX1091" fmla="*/ 5948403 w 6096001"/>
              <a:gd name="connsiteY1091" fmla="*/ 3326658 h 5392467"/>
              <a:gd name="connsiteX1092" fmla="*/ 5961943 w 6096001"/>
              <a:gd name="connsiteY1092" fmla="*/ 3320855 h 5392467"/>
              <a:gd name="connsiteX1093" fmla="*/ 5942844 w 6096001"/>
              <a:gd name="connsiteY1093" fmla="*/ 3319163 h 5392467"/>
              <a:gd name="connsiteX1094" fmla="*/ 5938734 w 6096001"/>
              <a:gd name="connsiteY1094" fmla="*/ 3305381 h 5392467"/>
              <a:gd name="connsiteX1095" fmla="*/ 5936801 w 6096001"/>
              <a:gd name="connsiteY1095" fmla="*/ 3309250 h 5392467"/>
              <a:gd name="connsiteX1096" fmla="*/ 5938734 w 6096001"/>
              <a:gd name="connsiteY1096" fmla="*/ 3313118 h 5392467"/>
              <a:gd name="connsiteX1097" fmla="*/ 5940669 w 6096001"/>
              <a:gd name="connsiteY1097" fmla="*/ 3307317 h 5392467"/>
              <a:gd name="connsiteX1098" fmla="*/ 5938734 w 6096001"/>
              <a:gd name="connsiteY1098" fmla="*/ 3305381 h 5392467"/>
              <a:gd name="connsiteX1099" fmla="*/ 5718246 w 6096001"/>
              <a:gd name="connsiteY1099" fmla="*/ 3301513 h 5392467"/>
              <a:gd name="connsiteX1100" fmla="*/ 5710509 w 6096001"/>
              <a:gd name="connsiteY1100" fmla="*/ 3305381 h 5392467"/>
              <a:gd name="connsiteX1101" fmla="*/ 5720181 w 6096001"/>
              <a:gd name="connsiteY1101" fmla="*/ 3305381 h 5392467"/>
              <a:gd name="connsiteX1102" fmla="*/ 5718246 w 6096001"/>
              <a:gd name="connsiteY1102" fmla="*/ 3301513 h 5392467"/>
              <a:gd name="connsiteX1103" fmla="*/ 5954207 w 6096001"/>
              <a:gd name="connsiteY1103" fmla="*/ 3299580 h 5392467"/>
              <a:gd name="connsiteX1104" fmla="*/ 5946470 w 6096001"/>
              <a:gd name="connsiteY1104" fmla="*/ 3301513 h 5392467"/>
              <a:gd name="connsiteX1105" fmla="*/ 5946470 w 6096001"/>
              <a:gd name="connsiteY1105" fmla="*/ 3303448 h 5392467"/>
              <a:gd name="connsiteX1106" fmla="*/ 5954207 w 6096001"/>
              <a:gd name="connsiteY1106" fmla="*/ 3303448 h 5392467"/>
              <a:gd name="connsiteX1107" fmla="*/ 5954207 w 6096001"/>
              <a:gd name="connsiteY1107" fmla="*/ 3299580 h 5392467"/>
              <a:gd name="connsiteX1108" fmla="*/ 5830425 w 6096001"/>
              <a:gd name="connsiteY1108" fmla="*/ 3295712 h 5392467"/>
              <a:gd name="connsiteX1109" fmla="*/ 5826557 w 6096001"/>
              <a:gd name="connsiteY1109" fmla="*/ 3299580 h 5392467"/>
              <a:gd name="connsiteX1110" fmla="*/ 5828490 w 6096001"/>
              <a:gd name="connsiteY1110" fmla="*/ 3301513 h 5392467"/>
              <a:gd name="connsiteX1111" fmla="*/ 5832358 w 6096001"/>
              <a:gd name="connsiteY1111" fmla="*/ 3297645 h 5392467"/>
              <a:gd name="connsiteX1112" fmla="*/ 5830425 w 6096001"/>
              <a:gd name="connsiteY1112" fmla="*/ 3295712 h 5392467"/>
              <a:gd name="connsiteX1113" fmla="*/ 5911656 w 6096001"/>
              <a:gd name="connsiteY1113" fmla="*/ 3266699 h 5392467"/>
              <a:gd name="connsiteX1114" fmla="*/ 5911656 w 6096001"/>
              <a:gd name="connsiteY1114" fmla="*/ 3270570 h 5392467"/>
              <a:gd name="connsiteX1115" fmla="*/ 5919393 w 6096001"/>
              <a:gd name="connsiteY1115" fmla="*/ 3266699 h 5392467"/>
              <a:gd name="connsiteX1116" fmla="*/ 5911656 w 6096001"/>
              <a:gd name="connsiteY1116" fmla="*/ 3266699 h 5392467"/>
              <a:gd name="connsiteX1117" fmla="*/ 5822689 w 6096001"/>
              <a:gd name="connsiteY1117" fmla="*/ 3266699 h 5392467"/>
              <a:gd name="connsiteX1118" fmla="*/ 5822689 w 6096001"/>
              <a:gd name="connsiteY1118" fmla="*/ 3270570 h 5392467"/>
              <a:gd name="connsiteX1119" fmla="*/ 5828490 w 6096001"/>
              <a:gd name="connsiteY1119" fmla="*/ 3270570 h 5392467"/>
              <a:gd name="connsiteX1120" fmla="*/ 5828490 w 6096001"/>
              <a:gd name="connsiteY1120" fmla="*/ 3266699 h 5392467"/>
              <a:gd name="connsiteX1121" fmla="*/ 5822689 w 6096001"/>
              <a:gd name="connsiteY1121" fmla="*/ 3266699 h 5392467"/>
              <a:gd name="connsiteX1122" fmla="*/ 5843963 w 6096001"/>
              <a:gd name="connsiteY1122" fmla="*/ 3255094 h 5392467"/>
              <a:gd name="connsiteX1123" fmla="*/ 5830425 w 6096001"/>
              <a:gd name="connsiteY1123" fmla="*/ 3260898 h 5392467"/>
              <a:gd name="connsiteX1124" fmla="*/ 5830425 w 6096001"/>
              <a:gd name="connsiteY1124" fmla="*/ 3264766 h 5392467"/>
              <a:gd name="connsiteX1125" fmla="*/ 5843963 w 6096001"/>
              <a:gd name="connsiteY1125" fmla="*/ 3264766 h 5392467"/>
              <a:gd name="connsiteX1126" fmla="*/ 5847831 w 6096001"/>
              <a:gd name="connsiteY1126" fmla="*/ 3258965 h 5392467"/>
              <a:gd name="connsiteX1127" fmla="*/ 5843963 w 6096001"/>
              <a:gd name="connsiteY1127" fmla="*/ 3255094 h 5392467"/>
              <a:gd name="connsiteX1128" fmla="*/ 5780138 w 6096001"/>
              <a:gd name="connsiteY1128" fmla="*/ 3255094 h 5392467"/>
              <a:gd name="connsiteX1129" fmla="*/ 5762732 w 6096001"/>
              <a:gd name="connsiteY1129" fmla="*/ 3266699 h 5392467"/>
              <a:gd name="connsiteX1130" fmla="*/ 5780138 w 6096001"/>
              <a:gd name="connsiteY1130" fmla="*/ 3255094 h 5392467"/>
              <a:gd name="connsiteX1131" fmla="*/ 5896183 w 6096001"/>
              <a:gd name="connsiteY1131" fmla="*/ 3251228 h 5392467"/>
              <a:gd name="connsiteX1132" fmla="*/ 5900051 w 6096001"/>
              <a:gd name="connsiteY1132" fmla="*/ 3255094 h 5392467"/>
              <a:gd name="connsiteX1133" fmla="*/ 5880710 w 6096001"/>
              <a:gd name="connsiteY1133" fmla="*/ 3262831 h 5392467"/>
              <a:gd name="connsiteX1134" fmla="*/ 5876842 w 6096001"/>
              <a:gd name="connsiteY1134" fmla="*/ 3262831 h 5392467"/>
              <a:gd name="connsiteX1135" fmla="*/ 5874909 w 6096001"/>
              <a:gd name="connsiteY1135" fmla="*/ 3270570 h 5392467"/>
              <a:gd name="connsiteX1136" fmla="*/ 5896183 w 6096001"/>
              <a:gd name="connsiteY1136" fmla="*/ 3268634 h 5392467"/>
              <a:gd name="connsiteX1137" fmla="*/ 5917460 w 6096001"/>
              <a:gd name="connsiteY1137" fmla="*/ 3251228 h 5392467"/>
              <a:gd name="connsiteX1138" fmla="*/ 5896183 w 6096001"/>
              <a:gd name="connsiteY1138" fmla="*/ 3251228 h 5392467"/>
              <a:gd name="connsiteX1139" fmla="*/ 5930997 w 6096001"/>
              <a:gd name="connsiteY1139" fmla="*/ 3249293 h 5392467"/>
              <a:gd name="connsiteX1140" fmla="*/ 5926416 w 6096001"/>
              <a:gd name="connsiteY1140" fmla="*/ 3253872 h 5392467"/>
              <a:gd name="connsiteX1141" fmla="*/ 5927996 w 6096001"/>
              <a:gd name="connsiteY1141" fmla="*/ 3249793 h 5392467"/>
              <a:gd name="connsiteX1142" fmla="*/ 5778203 w 6096001"/>
              <a:gd name="connsiteY1142" fmla="*/ 3243489 h 5392467"/>
              <a:gd name="connsiteX1143" fmla="*/ 5762732 w 6096001"/>
              <a:gd name="connsiteY1143" fmla="*/ 3247360 h 5392467"/>
              <a:gd name="connsiteX1144" fmla="*/ 5741455 w 6096001"/>
              <a:gd name="connsiteY1144" fmla="*/ 3249293 h 5392467"/>
              <a:gd name="connsiteX1145" fmla="*/ 5741455 w 6096001"/>
              <a:gd name="connsiteY1145" fmla="*/ 3253161 h 5392467"/>
              <a:gd name="connsiteX1146" fmla="*/ 5749192 w 6096001"/>
              <a:gd name="connsiteY1146" fmla="*/ 3251228 h 5392467"/>
              <a:gd name="connsiteX1147" fmla="*/ 5743391 w 6096001"/>
              <a:gd name="connsiteY1147" fmla="*/ 3253161 h 5392467"/>
              <a:gd name="connsiteX1148" fmla="*/ 5756928 w 6096001"/>
              <a:gd name="connsiteY1148" fmla="*/ 3253161 h 5392467"/>
              <a:gd name="connsiteX1149" fmla="*/ 5766600 w 6096001"/>
              <a:gd name="connsiteY1149" fmla="*/ 3251228 h 5392467"/>
              <a:gd name="connsiteX1150" fmla="*/ 5822689 w 6096001"/>
              <a:gd name="connsiteY1150" fmla="*/ 3251228 h 5392467"/>
              <a:gd name="connsiteX1151" fmla="*/ 5828490 w 6096001"/>
              <a:gd name="connsiteY1151" fmla="*/ 3249293 h 5392467"/>
              <a:gd name="connsiteX1152" fmla="*/ 5813017 w 6096001"/>
              <a:gd name="connsiteY1152" fmla="*/ 3245425 h 5392467"/>
              <a:gd name="connsiteX1153" fmla="*/ 5789807 w 6096001"/>
              <a:gd name="connsiteY1153" fmla="*/ 3243489 h 5392467"/>
              <a:gd name="connsiteX1154" fmla="*/ 5778203 w 6096001"/>
              <a:gd name="connsiteY1154" fmla="*/ 3243489 h 5392467"/>
              <a:gd name="connsiteX1155" fmla="*/ 5768533 w 6096001"/>
              <a:gd name="connsiteY1155" fmla="*/ 3231887 h 5392467"/>
              <a:gd name="connsiteX1156" fmla="*/ 5766600 w 6096001"/>
              <a:gd name="connsiteY1156" fmla="*/ 3235755 h 5392467"/>
              <a:gd name="connsiteX1157" fmla="*/ 5776270 w 6096001"/>
              <a:gd name="connsiteY1157" fmla="*/ 3237688 h 5392467"/>
              <a:gd name="connsiteX1158" fmla="*/ 5811084 w 6096001"/>
              <a:gd name="connsiteY1158" fmla="*/ 3235755 h 5392467"/>
              <a:gd name="connsiteX1159" fmla="*/ 5813017 w 6096001"/>
              <a:gd name="connsiteY1159" fmla="*/ 3235755 h 5392467"/>
              <a:gd name="connsiteX1160" fmla="*/ 5840095 w 6096001"/>
              <a:gd name="connsiteY1160" fmla="*/ 3235755 h 5392467"/>
              <a:gd name="connsiteX1161" fmla="*/ 5845898 w 6096001"/>
              <a:gd name="connsiteY1161" fmla="*/ 3235755 h 5392467"/>
              <a:gd name="connsiteX1162" fmla="*/ 5785941 w 6096001"/>
              <a:gd name="connsiteY1162" fmla="*/ 3231887 h 5392467"/>
              <a:gd name="connsiteX1163" fmla="*/ 5768533 w 6096001"/>
              <a:gd name="connsiteY1163" fmla="*/ 3231887 h 5392467"/>
              <a:gd name="connsiteX1164" fmla="*/ 5861369 w 6096001"/>
              <a:gd name="connsiteY1164" fmla="*/ 3164194 h 5392467"/>
              <a:gd name="connsiteX1165" fmla="*/ 5863304 w 6096001"/>
              <a:gd name="connsiteY1165" fmla="*/ 3164194 h 5392467"/>
              <a:gd name="connsiteX1166" fmla="*/ 5863304 w 6096001"/>
              <a:gd name="connsiteY1166" fmla="*/ 3168060 h 5392467"/>
              <a:gd name="connsiteX1167" fmla="*/ 5861369 w 6096001"/>
              <a:gd name="connsiteY1167" fmla="*/ 3164194 h 5392467"/>
              <a:gd name="connsiteX1168" fmla="*/ 5664090 w 6096001"/>
              <a:gd name="connsiteY1168" fmla="*/ 3150654 h 5392467"/>
              <a:gd name="connsiteX1169" fmla="*/ 5662157 w 6096001"/>
              <a:gd name="connsiteY1169" fmla="*/ 3158390 h 5392467"/>
              <a:gd name="connsiteX1170" fmla="*/ 5664090 w 6096001"/>
              <a:gd name="connsiteY1170" fmla="*/ 3150654 h 5392467"/>
              <a:gd name="connsiteX1171" fmla="*/ 5567386 w 6096001"/>
              <a:gd name="connsiteY1171" fmla="*/ 3111971 h 5392467"/>
              <a:gd name="connsiteX1172" fmla="*/ 5569322 w 6096001"/>
              <a:gd name="connsiteY1172" fmla="*/ 3113907 h 5392467"/>
              <a:gd name="connsiteX1173" fmla="*/ 5580924 w 6096001"/>
              <a:gd name="connsiteY1173" fmla="*/ 3115839 h 5392467"/>
              <a:gd name="connsiteX1174" fmla="*/ 5586728 w 6096001"/>
              <a:gd name="connsiteY1174" fmla="*/ 3113907 h 5392467"/>
              <a:gd name="connsiteX1175" fmla="*/ 5567386 w 6096001"/>
              <a:gd name="connsiteY1175" fmla="*/ 3111971 h 5392467"/>
              <a:gd name="connsiteX1176" fmla="*/ 5370108 w 6096001"/>
              <a:gd name="connsiteY1176" fmla="*/ 3071355 h 5392467"/>
              <a:gd name="connsiteX1177" fmla="*/ 5364306 w 6096001"/>
              <a:gd name="connsiteY1177" fmla="*/ 3075224 h 5392467"/>
              <a:gd name="connsiteX1178" fmla="*/ 5364306 w 6096001"/>
              <a:gd name="connsiteY1178" fmla="*/ 3077159 h 5392467"/>
              <a:gd name="connsiteX1179" fmla="*/ 5387514 w 6096001"/>
              <a:gd name="connsiteY1179" fmla="*/ 3073291 h 5392467"/>
              <a:gd name="connsiteX1180" fmla="*/ 5370108 w 6096001"/>
              <a:gd name="connsiteY1180" fmla="*/ 3071355 h 5392467"/>
              <a:gd name="connsiteX1181" fmla="*/ 5416527 w 6096001"/>
              <a:gd name="connsiteY1181" fmla="*/ 3063619 h 5392467"/>
              <a:gd name="connsiteX1182" fmla="*/ 5402987 w 6096001"/>
              <a:gd name="connsiteY1182" fmla="*/ 3071355 h 5392467"/>
              <a:gd name="connsiteX1183" fmla="*/ 5402987 w 6096001"/>
              <a:gd name="connsiteY1183" fmla="*/ 3073291 h 5392467"/>
              <a:gd name="connsiteX1184" fmla="*/ 5416527 w 6096001"/>
              <a:gd name="connsiteY1184" fmla="*/ 3063619 h 5392467"/>
              <a:gd name="connsiteX1185" fmla="*/ 5470680 w 6096001"/>
              <a:gd name="connsiteY1185" fmla="*/ 3059751 h 5392467"/>
              <a:gd name="connsiteX1186" fmla="*/ 5459078 w 6096001"/>
              <a:gd name="connsiteY1186" fmla="*/ 3065555 h 5392467"/>
              <a:gd name="connsiteX1187" fmla="*/ 5468747 w 6096001"/>
              <a:gd name="connsiteY1187" fmla="*/ 3065555 h 5392467"/>
              <a:gd name="connsiteX1188" fmla="*/ 5470680 w 6096001"/>
              <a:gd name="connsiteY1188" fmla="*/ 3059751 h 5392467"/>
              <a:gd name="connsiteX1189" fmla="*/ 5556265 w 6096001"/>
              <a:gd name="connsiteY1189" fmla="*/ 3057817 h 5392467"/>
              <a:gd name="connsiteX1190" fmla="*/ 5553849 w 6096001"/>
              <a:gd name="connsiteY1190" fmla="*/ 3063619 h 5392467"/>
              <a:gd name="connsiteX1191" fmla="*/ 5557714 w 6096001"/>
              <a:gd name="connsiteY1191" fmla="*/ 3063619 h 5392467"/>
              <a:gd name="connsiteX1192" fmla="*/ 5561585 w 6096001"/>
              <a:gd name="connsiteY1192" fmla="*/ 3061686 h 5392467"/>
              <a:gd name="connsiteX1193" fmla="*/ 5561585 w 6096001"/>
              <a:gd name="connsiteY1193" fmla="*/ 3057818 h 5392467"/>
              <a:gd name="connsiteX1194" fmla="*/ 5556265 w 6096001"/>
              <a:gd name="connsiteY1194" fmla="*/ 3057817 h 5392467"/>
              <a:gd name="connsiteX1195" fmla="*/ 5681499 w 6096001"/>
              <a:gd name="connsiteY1195" fmla="*/ 2937902 h 5392467"/>
              <a:gd name="connsiteX1196" fmla="*/ 5685367 w 6096001"/>
              <a:gd name="connsiteY1196" fmla="*/ 2937902 h 5392467"/>
              <a:gd name="connsiteX1197" fmla="*/ 5681499 w 6096001"/>
              <a:gd name="connsiteY1197" fmla="*/ 2941770 h 5392467"/>
              <a:gd name="connsiteX1198" fmla="*/ 5681499 w 6096001"/>
              <a:gd name="connsiteY1198" fmla="*/ 2937902 h 5392467"/>
              <a:gd name="connsiteX1199" fmla="*/ 128691 w 6096001"/>
              <a:gd name="connsiteY1199" fmla="*/ 2382815 h 5392467"/>
              <a:gd name="connsiteX1200" fmla="*/ 113218 w 6096001"/>
              <a:gd name="connsiteY1200" fmla="*/ 2396353 h 5392467"/>
              <a:gd name="connsiteX1201" fmla="*/ 122890 w 6096001"/>
              <a:gd name="connsiteY1201" fmla="*/ 2388616 h 5392467"/>
              <a:gd name="connsiteX1202" fmla="*/ 122890 w 6096001"/>
              <a:gd name="connsiteY1202" fmla="*/ 2390552 h 5392467"/>
              <a:gd name="connsiteX1203" fmla="*/ 128691 w 6096001"/>
              <a:gd name="connsiteY1203" fmla="*/ 2382815 h 5392467"/>
              <a:gd name="connsiteX1204" fmla="*/ 5683432 w 6096001"/>
              <a:gd name="connsiteY1204" fmla="*/ 1839331 h 5392467"/>
              <a:gd name="connsiteX1205" fmla="*/ 5685367 w 6096001"/>
              <a:gd name="connsiteY1205" fmla="*/ 1841267 h 5392467"/>
              <a:gd name="connsiteX1206" fmla="*/ 5679566 w 6096001"/>
              <a:gd name="connsiteY1206" fmla="*/ 1845135 h 5392467"/>
              <a:gd name="connsiteX1207" fmla="*/ 5677630 w 6096001"/>
              <a:gd name="connsiteY1207" fmla="*/ 1843200 h 5392467"/>
              <a:gd name="connsiteX1208" fmla="*/ 5683432 w 6096001"/>
              <a:gd name="connsiteY1208" fmla="*/ 1839331 h 5392467"/>
              <a:gd name="connsiteX1209" fmla="*/ 5644749 w 6096001"/>
              <a:gd name="connsiteY1209" fmla="*/ 1810321 h 5392467"/>
              <a:gd name="connsiteX1210" fmla="*/ 5638948 w 6096001"/>
              <a:gd name="connsiteY1210" fmla="*/ 1823858 h 5392467"/>
              <a:gd name="connsiteX1211" fmla="*/ 5632854 w 6096001"/>
              <a:gd name="connsiteY1211" fmla="*/ 1825383 h 5392467"/>
              <a:gd name="connsiteX1212" fmla="*/ 5631521 w 6096001"/>
              <a:gd name="connsiteY1212" fmla="*/ 1814730 h 5392467"/>
              <a:gd name="connsiteX1213" fmla="*/ 5584795 w 6096001"/>
              <a:gd name="connsiteY1213" fmla="*/ 1796783 h 5392467"/>
              <a:gd name="connsiteX1214" fmla="*/ 5582859 w 6096001"/>
              <a:gd name="connsiteY1214" fmla="*/ 1798716 h 5392467"/>
              <a:gd name="connsiteX1215" fmla="*/ 5586728 w 6096001"/>
              <a:gd name="connsiteY1215" fmla="*/ 1800651 h 5392467"/>
              <a:gd name="connsiteX1216" fmla="*/ 5584795 w 6096001"/>
              <a:gd name="connsiteY1216" fmla="*/ 1796783 h 5392467"/>
              <a:gd name="connsiteX1217" fmla="*/ 5663912 w 6096001"/>
              <a:gd name="connsiteY1217" fmla="*/ 1792035 h 5392467"/>
              <a:gd name="connsiteX1218" fmla="*/ 5659256 w 6096001"/>
              <a:gd name="connsiteY1218" fmla="*/ 1799925 h 5392467"/>
              <a:gd name="connsiteX1219" fmla="*/ 5644749 w 6096001"/>
              <a:gd name="connsiteY1219" fmla="*/ 1810321 h 5392467"/>
              <a:gd name="connsiteX1220" fmla="*/ 5652488 w 6096001"/>
              <a:gd name="connsiteY1220" fmla="*/ 1796783 h 5392467"/>
              <a:gd name="connsiteX1221" fmla="*/ 5653777 w 6096001"/>
              <a:gd name="connsiteY1221" fmla="*/ 1795492 h 5392467"/>
              <a:gd name="connsiteX1222" fmla="*/ 5656356 w 6096001"/>
              <a:gd name="connsiteY1222" fmla="*/ 1800651 h 5392467"/>
              <a:gd name="connsiteX1223" fmla="*/ 5662157 w 6096001"/>
              <a:gd name="connsiteY1223" fmla="*/ 1794848 h 5392467"/>
              <a:gd name="connsiteX1224" fmla="*/ 5662157 w 6096001"/>
              <a:gd name="connsiteY1224" fmla="*/ 1792912 h 5392467"/>
              <a:gd name="connsiteX1225" fmla="*/ 5667959 w 6096001"/>
              <a:gd name="connsiteY1225" fmla="*/ 1785178 h 5392467"/>
              <a:gd name="connsiteX1226" fmla="*/ 5673762 w 6096001"/>
              <a:gd name="connsiteY1226" fmla="*/ 1785178 h 5392467"/>
              <a:gd name="connsiteX1227" fmla="*/ 5673762 w 6096001"/>
              <a:gd name="connsiteY1227" fmla="*/ 1787111 h 5392467"/>
              <a:gd name="connsiteX1228" fmla="*/ 5663912 w 6096001"/>
              <a:gd name="connsiteY1228" fmla="*/ 1792035 h 5392467"/>
              <a:gd name="connsiteX1229" fmla="*/ 5638948 w 6096001"/>
              <a:gd name="connsiteY1229" fmla="*/ 1783243 h 5392467"/>
              <a:gd name="connsiteX1230" fmla="*/ 5631211 w 6096001"/>
              <a:gd name="connsiteY1230" fmla="*/ 1785178 h 5392467"/>
              <a:gd name="connsiteX1231" fmla="*/ 5633147 w 6096001"/>
              <a:gd name="connsiteY1231" fmla="*/ 1787111 h 5392467"/>
              <a:gd name="connsiteX1232" fmla="*/ 5621542 w 6096001"/>
              <a:gd name="connsiteY1232" fmla="*/ 1794848 h 5392467"/>
              <a:gd name="connsiteX1233" fmla="*/ 5602201 w 6096001"/>
              <a:gd name="connsiteY1233" fmla="*/ 1808388 h 5392467"/>
              <a:gd name="connsiteX1234" fmla="*/ 5600265 w 6096001"/>
              <a:gd name="connsiteY1234" fmla="*/ 1810321 h 5392467"/>
              <a:gd name="connsiteX1235" fmla="*/ 5604133 w 6096001"/>
              <a:gd name="connsiteY1235" fmla="*/ 1812254 h 5392467"/>
              <a:gd name="connsiteX1236" fmla="*/ 5621542 w 6096001"/>
              <a:gd name="connsiteY1236" fmla="*/ 1796783 h 5392467"/>
              <a:gd name="connsiteX1237" fmla="*/ 5625410 w 6096001"/>
              <a:gd name="connsiteY1237" fmla="*/ 1802584 h 5392467"/>
              <a:gd name="connsiteX1238" fmla="*/ 5633147 w 6096001"/>
              <a:gd name="connsiteY1238" fmla="*/ 1800651 h 5392467"/>
              <a:gd name="connsiteX1239" fmla="*/ 5635080 w 6096001"/>
              <a:gd name="connsiteY1239" fmla="*/ 1790979 h 5392467"/>
              <a:gd name="connsiteX1240" fmla="*/ 5638948 w 6096001"/>
              <a:gd name="connsiteY1240" fmla="*/ 1783243 h 5392467"/>
              <a:gd name="connsiteX1241" fmla="*/ 5646684 w 6096001"/>
              <a:gd name="connsiteY1241" fmla="*/ 1761969 h 5392467"/>
              <a:gd name="connsiteX1242" fmla="*/ 5646684 w 6096001"/>
              <a:gd name="connsiteY1242" fmla="*/ 1763902 h 5392467"/>
              <a:gd name="connsiteX1243" fmla="*/ 5652488 w 6096001"/>
              <a:gd name="connsiteY1243" fmla="*/ 1761969 h 5392467"/>
              <a:gd name="connsiteX1244" fmla="*/ 5646684 w 6096001"/>
              <a:gd name="connsiteY1244" fmla="*/ 1761969 h 5392467"/>
              <a:gd name="connsiteX1245" fmla="*/ 5573190 w 6096001"/>
              <a:gd name="connsiteY1245" fmla="*/ 1742627 h 5392467"/>
              <a:gd name="connsiteX1246" fmla="*/ 5551913 w 6096001"/>
              <a:gd name="connsiteY1246" fmla="*/ 1748429 h 5392467"/>
              <a:gd name="connsiteX1247" fmla="*/ 5551913 w 6096001"/>
              <a:gd name="connsiteY1247" fmla="*/ 1752297 h 5392467"/>
              <a:gd name="connsiteX1248" fmla="*/ 5573190 w 6096001"/>
              <a:gd name="connsiteY1248" fmla="*/ 1742627 h 5392467"/>
              <a:gd name="connsiteX1249" fmla="*/ 5524838 w 6096001"/>
              <a:gd name="connsiteY1249" fmla="*/ 1742627 h 5392467"/>
              <a:gd name="connsiteX1250" fmla="*/ 5522903 w 6096001"/>
              <a:gd name="connsiteY1250" fmla="*/ 1744560 h 5392467"/>
              <a:gd name="connsiteX1251" fmla="*/ 5524838 w 6096001"/>
              <a:gd name="connsiteY1251" fmla="*/ 1744560 h 5392467"/>
              <a:gd name="connsiteX1252" fmla="*/ 5524838 w 6096001"/>
              <a:gd name="connsiteY1252" fmla="*/ 1742627 h 5392467"/>
              <a:gd name="connsiteX1253" fmla="*/ 5731784 w 6096001"/>
              <a:gd name="connsiteY1253" fmla="*/ 1711681 h 5392467"/>
              <a:gd name="connsiteX1254" fmla="*/ 5733719 w 6096001"/>
              <a:gd name="connsiteY1254" fmla="*/ 1713616 h 5392467"/>
              <a:gd name="connsiteX1255" fmla="*/ 5725982 w 6096001"/>
              <a:gd name="connsiteY1255" fmla="*/ 1721353 h 5392467"/>
              <a:gd name="connsiteX1256" fmla="*/ 5724049 w 6096001"/>
              <a:gd name="connsiteY1256" fmla="*/ 1717482 h 5392467"/>
              <a:gd name="connsiteX1257" fmla="*/ 5731784 w 6096001"/>
              <a:gd name="connsiteY1257" fmla="*/ 1711681 h 5392467"/>
              <a:gd name="connsiteX1258" fmla="*/ 5588663 w 6096001"/>
              <a:gd name="connsiteY1258" fmla="*/ 1698144 h 5392467"/>
              <a:gd name="connsiteX1259" fmla="*/ 5557714 w 6096001"/>
              <a:gd name="connsiteY1259" fmla="*/ 1715549 h 5392467"/>
              <a:gd name="connsiteX1260" fmla="*/ 5553849 w 6096001"/>
              <a:gd name="connsiteY1260" fmla="*/ 1723286 h 5392467"/>
              <a:gd name="connsiteX1261" fmla="*/ 5555781 w 6096001"/>
              <a:gd name="connsiteY1261" fmla="*/ 1729087 h 5392467"/>
              <a:gd name="connsiteX1262" fmla="*/ 5557714 w 6096001"/>
              <a:gd name="connsiteY1262" fmla="*/ 1723286 h 5392467"/>
              <a:gd name="connsiteX1263" fmla="*/ 5563518 w 6096001"/>
              <a:gd name="connsiteY1263" fmla="*/ 1725219 h 5392467"/>
              <a:gd name="connsiteX1264" fmla="*/ 5567386 w 6096001"/>
              <a:gd name="connsiteY1264" fmla="*/ 1719418 h 5392467"/>
              <a:gd name="connsiteX1265" fmla="*/ 5577056 w 6096001"/>
              <a:gd name="connsiteY1265" fmla="*/ 1721353 h 5392467"/>
              <a:gd name="connsiteX1266" fmla="*/ 5582859 w 6096001"/>
              <a:gd name="connsiteY1266" fmla="*/ 1713616 h 5392467"/>
              <a:gd name="connsiteX1267" fmla="*/ 5578991 w 6096001"/>
              <a:gd name="connsiteY1267" fmla="*/ 1723286 h 5392467"/>
              <a:gd name="connsiteX1268" fmla="*/ 5586728 w 6096001"/>
              <a:gd name="connsiteY1268" fmla="*/ 1729087 h 5392467"/>
              <a:gd name="connsiteX1269" fmla="*/ 5575123 w 6096001"/>
              <a:gd name="connsiteY1269" fmla="*/ 1740692 h 5392467"/>
              <a:gd name="connsiteX1270" fmla="*/ 5590596 w 6096001"/>
              <a:gd name="connsiteY1270" fmla="*/ 1740692 h 5392467"/>
              <a:gd name="connsiteX1271" fmla="*/ 5563518 w 6096001"/>
              <a:gd name="connsiteY1271" fmla="*/ 1763902 h 5392467"/>
              <a:gd name="connsiteX1272" fmla="*/ 5571255 w 6096001"/>
              <a:gd name="connsiteY1272" fmla="*/ 1773573 h 5392467"/>
              <a:gd name="connsiteX1273" fmla="*/ 5577056 w 6096001"/>
              <a:gd name="connsiteY1273" fmla="*/ 1767770 h 5392467"/>
              <a:gd name="connsiteX1274" fmla="*/ 5575123 w 6096001"/>
              <a:gd name="connsiteY1274" fmla="*/ 1779374 h 5392467"/>
              <a:gd name="connsiteX1275" fmla="*/ 5577056 w 6096001"/>
              <a:gd name="connsiteY1275" fmla="*/ 1785178 h 5392467"/>
              <a:gd name="connsiteX1276" fmla="*/ 5584795 w 6096001"/>
              <a:gd name="connsiteY1276" fmla="*/ 1777442 h 5392467"/>
              <a:gd name="connsiteX1277" fmla="*/ 5598332 w 6096001"/>
              <a:gd name="connsiteY1277" fmla="*/ 1765837 h 5392467"/>
              <a:gd name="connsiteX1278" fmla="*/ 5592531 w 6096001"/>
              <a:gd name="connsiteY1278" fmla="*/ 1760033 h 5392467"/>
              <a:gd name="connsiteX1279" fmla="*/ 5604133 w 6096001"/>
              <a:gd name="connsiteY1279" fmla="*/ 1742627 h 5392467"/>
              <a:gd name="connsiteX1280" fmla="*/ 5617674 w 6096001"/>
              <a:gd name="connsiteY1280" fmla="*/ 1736824 h 5392467"/>
              <a:gd name="connsiteX1281" fmla="*/ 5594464 w 6096001"/>
              <a:gd name="connsiteY1281" fmla="*/ 1738759 h 5392467"/>
              <a:gd name="connsiteX1282" fmla="*/ 5598332 w 6096001"/>
              <a:gd name="connsiteY1282" fmla="*/ 1721353 h 5392467"/>
              <a:gd name="connsiteX1283" fmla="*/ 5590596 w 6096001"/>
              <a:gd name="connsiteY1283" fmla="*/ 1715549 h 5392467"/>
              <a:gd name="connsiteX1284" fmla="*/ 5588663 w 6096001"/>
              <a:gd name="connsiteY1284" fmla="*/ 1707813 h 5392467"/>
              <a:gd name="connsiteX1285" fmla="*/ 5588663 w 6096001"/>
              <a:gd name="connsiteY1285" fmla="*/ 1698144 h 5392467"/>
              <a:gd name="connsiteX1286" fmla="*/ 5684596 w 6096001"/>
              <a:gd name="connsiteY1286" fmla="*/ 1686440 h 5392467"/>
              <a:gd name="connsiteX1287" fmla="*/ 5679566 w 6096001"/>
              <a:gd name="connsiteY1287" fmla="*/ 1702012 h 5392467"/>
              <a:gd name="connsiteX1288" fmla="*/ 5662157 w 6096001"/>
              <a:gd name="connsiteY1288" fmla="*/ 1719418 h 5392467"/>
              <a:gd name="connsiteX1289" fmla="*/ 5664090 w 6096001"/>
              <a:gd name="connsiteY1289" fmla="*/ 1713616 h 5392467"/>
              <a:gd name="connsiteX1290" fmla="*/ 5664090 w 6096001"/>
              <a:gd name="connsiteY1290" fmla="*/ 1711681 h 5392467"/>
              <a:gd name="connsiteX1291" fmla="*/ 5662157 w 6096001"/>
              <a:gd name="connsiteY1291" fmla="*/ 1709748 h 5392467"/>
              <a:gd name="connsiteX1292" fmla="*/ 5661103 w 6096001"/>
              <a:gd name="connsiteY1292" fmla="*/ 1711066 h 5392467"/>
              <a:gd name="connsiteX1293" fmla="*/ 5667959 w 6096001"/>
              <a:gd name="connsiteY1293" fmla="*/ 1696208 h 5392467"/>
              <a:gd name="connsiteX1294" fmla="*/ 5673762 w 6096001"/>
              <a:gd name="connsiteY1294" fmla="*/ 1698144 h 5392467"/>
              <a:gd name="connsiteX1295" fmla="*/ 5681499 w 6096001"/>
              <a:gd name="connsiteY1295" fmla="*/ 1688956 h 5392467"/>
              <a:gd name="connsiteX1296" fmla="*/ 5747259 w 6096001"/>
              <a:gd name="connsiteY1296" fmla="*/ 1680735 h 5392467"/>
              <a:gd name="connsiteX1297" fmla="*/ 5740888 w 6096001"/>
              <a:gd name="connsiteY1297" fmla="*/ 1691885 h 5392467"/>
              <a:gd name="connsiteX1298" fmla="*/ 5739522 w 6096001"/>
              <a:gd name="connsiteY1298" fmla="*/ 1692340 h 5392467"/>
              <a:gd name="connsiteX1299" fmla="*/ 5734407 w 6096001"/>
              <a:gd name="connsiteY1299" fmla="*/ 1687225 h 5392467"/>
              <a:gd name="connsiteX1300" fmla="*/ 5736620 w 6096001"/>
              <a:gd name="connsiteY1300" fmla="*/ 1682911 h 5392467"/>
              <a:gd name="connsiteX1301" fmla="*/ 5747259 w 6096001"/>
              <a:gd name="connsiteY1301" fmla="*/ 1680735 h 5392467"/>
              <a:gd name="connsiteX1302" fmla="*/ 5739522 w 6096001"/>
              <a:gd name="connsiteY1302" fmla="*/ 1620778 h 5392467"/>
              <a:gd name="connsiteX1303" fmla="*/ 5743391 w 6096001"/>
              <a:gd name="connsiteY1303" fmla="*/ 1632383 h 5392467"/>
              <a:gd name="connsiteX1304" fmla="*/ 5748547 w 6096001"/>
              <a:gd name="connsiteY1304" fmla="*/ 1632383 h 5392467"/>
              <a:gd name="connsiteX1305" fmla="*/ 5741455 w 6096001"/>
              <a:gd name="connsiteY1305" fmla="*/ 1640120 h 5392467"/>
              <a:gd name="connsiteX1306" fmla="*/ 5747259 w 6096001"/>
              <a:gd name="connsiteY1306" fmla="*/ 1642053 h 5392467"/>
              <a:gd name="connsiteX1307" fmla="*/ 5741455 w 6096001"/>
              <a:gd name="connsiteY1307" fmla="*/ 1671066 h 5392467"/>
              <a:gd name="connsiteX1308" fmla="*/ 5731784 w 6096001"/>
              <a:gd name="connsiteY1308" fmla="*/ 1678802 h 5392467"/>
              <a:gd name="connsiteX1309" fmla="*/ 5733478 w 6096001"/>
              <a:gd name="connsiteY1309" fmla="*/ 1686296 h 5392467"/>
              <a:gd name="connsiteX1310" fmla="*/ 5734407 w 6096001"/>
              <a:gd name="connsiteY1310" fmla="*/ 1687225 h 5392467"/>
              <a:gd name="connsiteX1311" fmla="*/ 5731784 w 6096001"/>
              <a:gd name="connsiteY1311" fmla="*/ 1692340 h 5392467"/>
              <a:gd name="connsiteX1312" fmla="*/ 5739522 w 6096001"/>
              <a:gd name="connsiteY1312" fmla="*/ 1694275 h 5392467"/>
              <a:gd name="connsiteX1313" fmla="*/ 5740888 w 6096001"/>
              <a:gd name="connsiteY1313" fmla="*/ 1691885 h 5392467"/>
              <a:gd name="connsiteX1314" fmla="*/ 5756928 w 6096001"/>
              <a:gd name="connsiteY1314" fmla="*/ 1686539 h 5392467"/>
              <a:gd name="connsiteX1315" fmla="*/ 5756928 w 6096001"/>
              <a:gd name="connsiteY1315" fmla="*/ 1692340 h 5392467"/>
              <a:gd name="connsiteX1316" fmla="*/ 5725982 w 6096001"/>
              <a:gd name="connsiteY1316" fmla="*/ 1709748 h 5392467"/>
              <a:gd name="connsiteX1317" fmla="*/ 5720181 w 6096001"/>
              <a:gd name="connsiteY1317" fmla="*/ 1713616 h 5392467"/>
              <a:gd name="connsiteX1318" fmla="*/ 5704708 w 6096001"/>
              <a:gd name="connsiteY1318" fmla="*/ 1721353 h 5392467"/>
              <a:gd name="connsiteX1319" fmla="*/ 5706641 w 6096001"/>
              <a:gd name="connsiteY1319" fmla="*/ 1692340 h 5392467"/>
              <a:gd name="connsiteX1320" fmla="*/ 5710509 w 6096001"/>
              <a:gd name="connsiteY1320" fmla="*/ 1688472 h 5392467"/>
              <a:gd name="connsiteX1321" fmla="*/ 5710509 w 6096001"/>
              <a:gd name="connsiteY1321" fmla="*/ 1684603 h 5392467"/>
              <a:gd name="connsiteX1322" fmla="*/ 5689235 w 6096001"/>
              <a:gd name="connsiteY1322" fmla="*/ 1682670 h 5392467"/>
              <a:gd name="connsiteX1323" fmla="*/ 5684596 w 6096001"/>
              <a:gd name="connsiteY1323" fmla="*/ 1686440 h 5392467"/>
              <a:gd name="connsiteX1324" fmla="*/ 5684642 w 6096001"/>
              <a:gd name="connsiteY1324" fmla="*/ 1686297 h 5392467"/>
              <a:gd name="connsiteX1325" fmla="*/ 5696972 w 6096001"/>
              <a:gd name="connsiteY1325" fmla="*/ 1674934 h 5392467"/>
              <a:gd name="connsiteX1326" fmla="*/ 5698907 w 6096001"/>
              <a:gd name="connsiteY1326" fmla="*/ 1674934 h 5392467"/>
              <a:gd name="connsiteX1327" fmla="*/ 5729851 w 6096001"/>
              <a:gd name="connsiteY1327" fmla="*/ 1636251 h 5392467"/>
              <a:gd name="connsiteX1328" fmla="*/ 5739522 w 6096001"/>
              <a:gd name="connsiteY1328" fmla="*/ 1620778 h 5392467"/>
              <a:gd name="connsiteX1329" fmla="*/ 5784006 w 6096001"/>
              <a:gd name="connsiteY1329" fmla="*/ 1613042 h 5392467"/>
              <a:gd name="connsiteX1330" fmla="*/ 5790991 w 6096001"/>
              <a:gd name="connsiteY1330" fmla="*/ 1616035 h 5392467"/>
              <a:gd name="connsiteX1331" fmla="*/ 5789807 w 6096001"/>
              <a:gd name="connsiteY1331" fmla="*/ 1616910 h 5392467"/>
              <a:gd name="connsiteX1332" fmla="*/ 5766600 w 6096001"/>
              <a:gd name="connsiteY1332" fmla="*/ 1632383 h 5392467"/>
              <a:gd name="connsiteX1333" fmla="*/ 5761693 w 6096001"/>
              <a:gd name="connsiteY1333" fmla="*/ 1631401 h 5392467"/>
              <a:gd name="connsiteX1334" fmla="*/ 5770951 w 6096001"/>
              <a:gd name="connsiteY1334" fmla="*/ 1621262 h 5392467"/>
              <a:gd name="connsiteX1335" fmla="*/ 5784006 w 6096001"/>
              <a:gd name="connsiteY1335" fmla="*/ 1613042 h 5392467"/>
              <a:gd name="connsiteX1336" fmla="*/ 5770466 w 6096001"/>
              <a:gd name="connsiteY1336" fmla="*/ 1603834 h 5392467"/>
              <a:gd name="connsiteX1337" fmla="*/ 5770466 w 6096001"/>
              <a:gd name="connsiteY1337" fmla="*/ 1618843 h 5392467"/>
              <a:gd name="connsiteX1338" fmla="*/ 5756928 w 6096001"/>
              <a:gd name="connsiteY1338" fmla="*/ 1630448 h 5392467"/>
              <a:gd name="connsiteX1339" fmla="*/ 5761693 w 6096001"/>
              <a:gd name="connsiteY1339" fmla="*/ 1631401 h 5392467"/>
              <a:gd name="connsiteX1340" fmla="*/ 5760797 w 6096001"/>
              <a:gd name="connsiteY1340" fmla="*/ 1632383 h 5392467"/>
              <a:gd name="connsiteX1341" fmla="*/ 5748547 w 6096001"/>
              <a:gd name="connsiteY1341" fmla="*/ 1632383 h 5392467"/>
              <a:gd name="connsiteX1342" fmla="*/ 5762732 w 6096001"/>
              <a:gd name="connsiteY1342" fmla="*/ 1616910 h 5392467"/>
              <a:gd name="connsiteX1343" fmla="*/ 5762732 w 6096001"/>
              <a:gd name="connsiteY1343" fmla="*/ 1613042 h 5392467"/>
              <a:gd name="connsiteX1344" fmla="*/ 5754993 w 6096001"/>
              <a:gd name="connsiteY1344" fmla="*/ 1616910 h 5392467"/>
              <a:gd name="connsiteX1345" fmla="*/ 5754993 w 6096001"/>
              <a:gd name="connsiteY1345" fmla="*/ 1613042 h 5392467"/>
              <a:gd name="connsiteX1346" fmla="*/ 5757403 w 6096001"/>
              <a:gd name="connsiteY1346" fmla="*/ 1610934 h 5392467"/>
              <a:gd name="connsiteX1347" fmla="*/ 5814235 w 6096001"/>
              <a:gd name="connsiteY1347" fmla="*/ 1598856 h 5392467"/>
              <a:gd name="connsiteX1348" fmla="*/ 5824622 w 6096001"/>
              <a:gd name="connsiteY1348" fmla="*/ 1603372 h 5392467"/>
              <a:gd name="connsiteX1349" fmla="*/ 5797544 w 6096001"/>
              <a:gd name="connsiteY1349" fmla="*/ 1618843 h 5392467"/>
              <a:gd name="connsiteX1350" fmla="*/ 5790991 w 6096001"/>
              <a:gd name="connsiteY1350" fmla="*/ 1616035 h 5392467"/>
              <a:gd name="connsiteX1351" fmla="*/ 5834293 w 6096001"/>
              <a:gd name="connsiteY1351" fmla="*/ 1584031 h 5392467"/>
              <a:gd name="connsiteX1352" fmla="*/ 5834293 w 6096001"/>
              <a:gd name="connsiteY1352" fmla="*/ 1585964 h 5392467"/>
              <a:gd name="connsiteX1353" fmla="*/ 5831678 w 6096001"/>
              <a:gd name="connsiteY1353" fmla="*/ 1585964 h 5392467"/>
              <a:gd name="connsiteX1354" fmla="*/ 5846918 w 6096001"/>
              <a:gd name="connsiteY1354" fmla="*/ 1573903 h 5392467"/>
              <a:gd name="connsiteX1355" fmla="*/ 5847831 w 6096001"/>
              <a:gd name="connsiteY1355" fmla="*/ 1574359 h 5392467"/>
              <a:gd name="connsiteX1356" fmla="*/ 5842028 w 6096001"/>
              <a:gd name="connsiteY1356" fmla="*/ 1580163 h 5392467"/>
              <a:gd name="connsiteX1357" fmla="*/ 5840732 w 6096001"/>
              <a:gd name="connsiteY1357" fmla="*/ 1578866 h 5392467"/>
              <a:gd name="connsiteX1358" fmla="*/ 5818820 w 6096001"/>
              <a:gd name="connsiteY1358" fmla="*/ 1572426 h 5392467"/>
              <a:gd name="connsiteX1359" fmla="*/ 5807216 w 6096001"/>
              <a:gd name="connsiteY1359" fmla="*/ 1578227 h 5392467"/>
              <a:gd name="connsiteX1360" fmla="*/ 5809149 w 6096001"/>
              <a:gd name="connsiteY1360" fmla="*/ 1585964 h 5392467"/>
              <a:gd name="connsiteX1361" fmla="*/ 5818820 w 6096001"/>
              <a:gd name="connsiteY1361" fmla="*/ 1572426 h 5392467"/>
              <a:gd name="connsiteX1362" fmla="*/ 5843963 w 6096001"/>
              <a:gd name="connsiteY1362" fmla="*/ 1560822 h 5392467"/>
              <a:gd name="connsiteX1363" fmla="*/ 5832358 w 6096001"/>
              <a:gd name="connsiteY1363" fmla="*/ 1566623 h 5392467"/>
              <a:gd name="connsiteX1364" fmla="*/ 5830425 w 6096001"/>
              <a:gd name="connsiteY1364" fmla="*/ 1578227 h 5392467"/>
              <a:gd name="connsiteX1365" fmla="*/ 5834293 w 6096001"/>
              <a:gd name="connsiteY1365" fmla="*/ 1578227 h 5392467"/>
              <a:gd name="connsiteX1366" fmla="*/ 5843963 w 6096001"/>
              <a:gd name="connsiteY1366" fmla="*/ 1560822 h 5392467"/>
              <a:gd name="connsiteX1367" fmla="*/ 5876842 w 6096001"/>
              <a:gd name="connsiteY1367" fmla="*/ 1555018 h 5392467"/>
              <a:gd name="connsiteX1368" fmla="*/ 5878777 w 6096001"/>
              <a:gd name="connsiteY1368" fmla="*/ 1556953 h 5392467"/>
              <a:gd name="connsiteX1369" fmla="*/ 5872976 w 6096001"/>
              <a:gd name="connsiteY1369" fmla="*/ 1560822 h 5392467"/>
              <a:gd name="connsiteX1370" fmla="*/ 5876842 w 6096001"/>
              <a:gd name="connsiteY1370" fmla="*/ 1555018 h 5392467"/>
              <a:gd name="connsiteX1371" fmla="*/ 5890595 w 6096001"/>
              <a:gd name="connsiteY1371" fmla="*/ 1530009 h 5392467"/>
              <a:gd name="connsiteX1372" fmla="*/ 5882645 w 6096001"/>
              <a:gd name="connsiteY1372" fmla="*/ 1539547 h 5392467"/>
              <a:gd name="connsiteX1373" fmla="*/ 5869108 w 6096001"/>
              <a:gd name="connsiteY1373" fmla="*/ 1545349 h 5392467"/>
              <a:gd name="connsiteX1374" fmla="*/ 5875713 w 6096001"/>
              <a:gd name="connsiteY1374" fmla="*/ 1538142 h 5392467"/>
              <a:gd name="connsiteX1375" fmla="*/ 5884578 w 6096001"/>
              <a:gd name="connsiteY1375" fmla="*/ 1531809 h 5392467"/>
              <a:gd name="connsiteX1376" fmla="*/ 5987086 w 6096001"/>
              <a:gd name="connsiteY1376" fmla="*/ 1481524 h 5392467"/>
              <a:gd name="connsiteX1377" fmla="*/ 5977417 w 6096001"/>
              <a:gd name="connsiteY1377" fmla="*/ 1489260 h 5392467"/>
              <a:gd name="connsiteX1378" fmla="*/ 5987086 w 6096001"/>
              <a:gd name="connsiteY1378" fmla="*/ 1481524 h 5392467"/>
              <a:gd name="connsiteX1379" fmla="*/ 5468747 w 6096001"/>
              <a:gd name="connsiteY1379" fmla="*/ 1429303 h 5392467"/>
              <a:gd name="connsiteX1380" fmla="*/ 5464879 w 6096001"/>
              <a:gd name="connsiteY1380" fmla="*/ 1431236 h 5392467"/>
              <a:gd name="connsiteX1381" fmla="*/ 5462946 w 6096001"/>
              <a:gd name="connsiteY1381" fmla="*/ 1435104 h 5392467"/>
              <a:gd name="connsiteX1382" fmla="*/ 5468747 w 6096001"/>
              <a:gd name="connsiteY1382" fmla="*/ 1435104 h 5392467"/>
              <a:gd name="connsiteX1383" fmla="*/ 5468747 w 6096001"/>
              <a:gd name="connsiteY1383" fmla="*/ 1429303 h 5392467"/>
              <a:gd name="connsiteX1384" fmla="*/ 5488088 w 6096001"/>
              <a:gd name="connsiteY1384" fmla="*/ 1419631 h 5392467"/>
              <a:gd name="connsiteX1385" fmla="*/ 5482287 w 6096001"/>
              <a:gd name="connsiteY1385" fmla="*/ 1421567 h 5392467"/>
              <a:gd name="connsiteX1386" fmla="*/ 5472615 w 6096001"/>
              <a:gd name="connsiteY1386" fmla="*/ 1433172 h 5392467"/>
              <a:gd name="connsiteX1387" fmla="*/ 5482287 w 6096001"/>
              <a:gd name="connsiteY1387" fmla="*/ 1435104 h 5392467"/>
              <a:gd name="connsiteX1388" fmla="*/ 5484220 w 6096001"/>
              <a:gd name="connsiteY1388" fmla="*/ 1435104 h 5392467"/>
              <a:gd name="connsiteX1389" fmla="*/ 5490021 w 6096001"/>
              <a:gd name="connsiteY1389" fmla="*/ 1431236 h 5392467"/>
              <a:gd name="connsiteX1390" fmla="*/ 5495825 w 6096001"/>
              <a:gd name="connsiteY1390" fmla="*/ 1419631 h 5392467"/>
              <a:gd name="connsiteX1391" fmla="*/ 5488088 w 6096001"/>
              <a:gd name="connsiteY1391" fmla="*/ 1419631 h 5392467"/>
              <a:gd name="connsiteX1392" fmla="*/ 5476483 w 6096001"/>
              <a:gd name="connsiteY1392" fmla="*/ 1408027 h 5392467"/>
              <a:gd name="connsiteX1393" fmla="*/ 5472615 w 6096001"/>
              <a:gd name="connsiteY1393" fmla="*/ 1411895 h 5392467"/>
              <a:gd name="connsiteX1394" fmla="*/ 5474551 w 6096001"/>
              <a:gd name="connsiteY1394" fmla="*/ 1413830 h 5392467"/>
              <a:gd name="connsiteX1395" fmla="*/ 5476483 w 6096001"/>
              <a:gd name="connsiteY1395" fmla="*/ 1408027 h 5392467"/>
              <a:gd name="connsiteX1396" fmla="*/ 5975481 w 6096001"/>
              <a:gd name="connsiteY1396" fmla="*/ 1390621 h 5392467"/>
              <a:gd name="connsiteX1397" fmla="*/ 5971613 w 6096001"/>
              <a:gd name="connsiteY1397" fmla="*/ 1398357 h 5392467"/>
              <a:gd name="connsiteX1398" fmla="*/ 5973548 w 6096001"/>
              <a:gd name="connsiteY1398" fmla="*/ 1400290 h 5392467"/>
              <a:gd name="connsiteX1399" fmla="*/ 5979352 w 6096001"/>
              <a:gd name="connsiteY1399" fmla="*/ 1392554 h 5392467"/>
              <a:gd name="connsiteX1400" fmla="*/ 5975481 w 6096001"/>
              <a:gd name="connsiteY1400" fmla="*/ 1390621 h 5392467"/>
              <a:gd name="connsiteX1401" fmla="*/ 5987086 w 6096001"/>
              <a:gd name="connsiteY1401" fmla="*/ 1385301 h 5392467"/>
              <a:gd name="connsiteX1402" fmla="*/ 5987086 w 6096001"/>
              <a:gd name="connsiteY1402" fmla="*/ 1390621 h 5392467"/>
              <a:gd name="connsiteX1403" fmla="*/ 5982327 w 6096001"/>
              <a:gd name="connsiteY1403" fmla="*/ 1387795 h 5392467"/>
              <a:gd name="connsiteX1404" fmla="*/ 5981285 w 6096001"/>
              <a:gd name="connsiteY1404" fmla="*/ 1386752 h 5392467"/>
              <a:gd name="connsiteX1405" fmla="*/ 6021900 w 6096001"/>
              <a:gd name="connsiteY1405" fmla="*/ 1379338 h 5392467"/>
              <a:gd name="connsiteX1406" fmla="*/ 6021900 w 6096001"/>
              <a:gd name="connsiteY1406" fmla="*/ 1380949 h 5392467"/>
              <a:gd name="connsiteX1407" fmla="*/ 6020519 w 6096001"/>
              <a:gd name="connsiteY1407" fmla="*/ 1380489 h 5392467"/>
              <a:gd name="connsiteX1408" fmla="*/ 5529913 w 6096001"/>
              <a:gd name="connsiteY1408" fmla="*/ 1372488 h 5392467"/>
              <a:gd name="connsiteX1409" fmla="*/ 5520967 w 6096001"/>
              <a:gd name="connsiteY1409" fmla="*/ 1379016 h 5392467"/>
              <a:gd name="connsiteX1410" fmla="*/ 5513231 w 6096001"/>
              <a:gd name="connsiteY1410" fmla="*/ 1380949 h 5392467"/>
              <a:gd name="connsiteX1411" fmla="*/ 5507430 w 6096001"/>
              <a:gd name="connsiteY1411" fmla="*/ 1386752 h 5392467"/>
              <a:gd name="connsiteX1412" fmla="*/ 5501628 w 6096001"/>
              <a:gd name="connsiteY1412" fmla="*/ 1382884 h 5392467"/>
              <a:gd name="connsiteX1413" fmla="*/ 5495825 w 6096001"/>
              <a:gd name="connsiteY1413" fmla="*/ 1388685 h 5392467"/>
              <a:gd name="connsiteX1414" fmla="*/ 5493889 w 6096001"/>
              <a:gd name="connsiteY1414" fmla="*/ 1386752 h 5392467"/>
              <a:gd name="connsiteX1415" fmla="*/ 5478419 w 6096001"/>
              <a:gd name="connsiteY1415" fmla="*/ 1406094 h 5392467"/>
              <a:gd name="connsiteX1416" fmla="*/ 5484220 w 6096001"/>
              <a:gd name="connsiteY1416" fmla="*/ 1409962 h 5392467"/>
              <a:gd name="connsiteX1417" fmla="*/ 5484220 w 6096001"/>
              <a:gd name="connsiteY1417" fmla="*/ 1417699 h 5392467"/>
              <a:gd name="connsiteX1418" fmla="*/ 5499693 w 6096001"/>
              <a:gd name="connsiteY1418" fmla="*/ 1404158 h 5392467"/>
              <a:gd name="connsiteX1419" fmla="*/ 5505497 w 6096001"/>
              <a:gd name="connsiteY1419" fmla="*/ 1400290 h 5392467"/>
              <a:gd name="connsiteX1420" fmla="*/ 5505497 w 6096001"/>
              <a:gd name="connsiteY1420" fmla="*/ 1402225 h 5392467"/>
              <a:gd name="connsiteX1421" fmla="*/ 5522903 w 6096001"/>
              <a:gd name="connsiteY1421" fmla="*/ 1392554 h 5392467"/>
              <a:gd name="connsiteX1422" fmla="*/ 5538376 w 6096001"/>
              <a:gd name="connsiteY1422" fmla="*/ 1377081 h 5392467"/>
              <a:gd name="connsiteX1423" fmla="*/ 5540308 w 6096001"/>
              <a:gd name="connsiteY1423" fmla="*/ 1373212 h 5392467"/>
              <a:gd name="connsiteX1424" fmla="*/ 5529913 w 6096001"/>
              <a:gd name="connsiteY1424" fmla="*/ 1372488 h 5392467"/>
              <a:gd name="connsiteX1425" fmla="*/ 5546112 w 6096001"/>
              <a:gd name="connsiteY1425" fmla="*/ 1369344 h 5392467"/>
              <a:gd name="connsiteX1426" fmla="*/ 5540308 w 6096001"/>
              <a:gd name="connsiteY1426" fmla="*/ 1375148 h 5392467"/>
              <a:gd name="connsiteX1427" fmla="*/ 5546112 w 6096001"/>
              <a:gd name="connsiteY1427" fmla="*/ 1375148 h 5392467"/>
              <a:gd name="connsiteX1428" fmla="*/ 5548045 w 6096001"/>
              <a:gd name="connsiteY1428" fmla="*/ 1371279 h 5392467"/>
              <a:gd name="connsiteX1429" fmla="*/ 5546112 w 6096001"/>
              <a:gd name="connsiteY1429" fmla="*/ 1369344 h 5392467"/>
              <a:gd name="connsiteX1430" fmla="*/ 5971613 w 6096001"/>
              <a:gd name="connsiteY1430" fmla="*/ 1361607 h 5392467"/>
              <a:gd name="connsiteX1431" fmla="*/ 5960011 w 6096001"/>
              <a:gd name="connsiteY1431" fmla="*/ 1371279 h 5392467"/>
              <a:gd name="connsiteX1432" fmla="*/ 5971613 w 6096001"/>
              <a:gd name="connsiteY1432" fmla="*/ 1361607 h 5392467"/>
              <a:gd name="connsiteX1433" fmla="*/ 6023836 w 6096001"/>
              <a:gd name="connsiteY1433" fmla="*/ 1351938 h 5392467"/>
              <a:gd name="connsiteX1434" fmla="*/ 6024801 w 6096001"/>
              <a:gd name="connsiteY1434" fmla="*/ 1351938 h 5392467"/>
              <a:gd name="connsiteX1435" fmla="*/ 6025769 w 6096001"/>
              <a:gd name="connsiteY1435" fmla="*/ 1353873 h 5392467"/>
              <a:gd name="connsiteX1436" fmla="*/ 6027853 w 6096001"/>
              <a:gd name="connsiteY1436" fmla="*/ 1352236 h 5392467"/>
              <a:gd name="connsiteX1437" fmla="*/ 6029637 w 6096001"/>
              <a:gd name="connsiteY1437" fmla="*/ 1355806 h 5392467"/>
              <a:gd name="connsiteX1438" fmla="*/ 6023836 w 6096001"/>
              <a:gd name="connsiteY1438" fmla="*/ 1363543 h 5392467"/>
              <a:gd name="connsiteX1439" fmla="*/ 6019967 w 6096001"/>
              <a:gd name="connsiteY1439" fmla="*/ 1361607 h 5392467"/>
              <a:gd name="connsiteX1440" fmla="*/ 6023836 w 6096001"/>
              <a:gd name="connsiteY1440" fmla="*/ 1351938 h 5392467"/>
              <a:gd name="connsiteX1441" fmla="*/ 6019967 w 6096001"/>
              <a:gd name="connsiteY1441" fmla="*/ 1342269 h 5392467"/>
              <a:gd name="connsiteX1442" fmla="*/ 6020353 w 6096001"/>
              <a:gd name="connsiteY1442" fmla="*/ 1343041 h 5392467"/>
              <a:gd name="connsiteX1443" fmla="*/ 6012406 w 6096001"/>
              <a:gd name="connsiteY1443" fmla="*/ 1347015 h 5392467"/>
              <a:gd name="connsiteX1444" fmla="*/ 6010295 w 6096001"/>
              <a:gd name="connsiteY1444" fmla="*/ 1344202 h 5392467"/>
              <a:gd name="connsiteX1445" fmla="*/ 6019967 w 6096001"/>
              <a:gd name="connsiteY1445" fmla="*/ 1342269 h 5392467"/>
              <a:gd name="connsiteX1446" fmla="*/ 6033505 w 6096001"/>
              <a:gd name="connsiteY1446" fmla="*/ 1336465 h 5392467"/>
              <a:gd name="connsiteX1447" fmla="*/ 6036149 w 6096001"/>
              <a:gd name="connsiteY1447" fmla="*/ 1345717 h 5392467"/>
              <a:gd name="connsiteX1448" fmla="*/ 6027853 w 6096001"/>
              <a:gd name="connsiteY1448" fmla="*/ 1352236 h 5392467"/>
              <a:gd name="connsiteX1449" fmla="*/ 6027704 w 6096001"/>
              <a:gd name="connsiteY1449" fmla="*/ 1351938 h 5392467"/>
              <a:gd name="connsiteX1450" fmla="*/ 6024801 w 6096001"/>
              <a:gd name="connsiteY1450" fmla="*/ 1351938 h 5392467"/>
              <a:gd name="connsiteX1451" fmla="*/ 6020353 w 6096001"/>
              <a:gd name="connsiteY1451" fmla="*/ 1343041 h 5392467"/>
              <a:gd name="connsiteX1452" fmla="*/ 5608002 w 6096001"/>
              <a:gd name="connsiteY1452" fmla="*/ 1324860 h 5392467"/>
              <a:gd name="connsiteX1453" fmla="*/ 5604133 w 6096001"/>
              <a:gd name="connsiteY1453" fmla="*/ 1326796 h 5392467"/>
              <a:gd name="connsiteX1454" fmla="*/ 5606069 w 6096001"/>
              <a:gd name="connsiteY1454" fmla="*/ 1328729 h 5392467"/>
              <a:gd name="connsiteX1455" fmla="*/ 5608002 w 6096001"/>
              <a:gd name="connsiteY1455" fmla="*/ 1324860 h 5392467"/>
              <a:gd name="connsiteX1456" fmla="*/ 6095397 w 6096001"/>
              <a:gd name="connsiteY1456" fmla="*/ 1307454 h 5392467"/>
              <a:gd name="connsiteX1457" fmla="*/ 6093946 w 6096001"/>
              <a:gd name="connsiteY1457" fmla="*/ 1310597 h 5392467"/>
              <a:gd name="connsiteX1458" fmla="*/ 6092743 w 6096001"/>
              <a:gd name="connsiteY1458" fmla="*/ 1309401 h 5392467"/>
              <a:gd name="connsiteX1459" fmla="*/ 5642816 w 6096001"/>
              <a:gd name="connsiteY1459" fmla="*/ 1303586 h 5392467"/>
              <a:gd name="connsiteX1460" fmla="*/ 5623475 w 6096001"/>
              <a:gd name="connsiteY1460" fmla="*/ 1315191 h 5392467"/>
              <a:gd name="connsiteX1461" fmla="*/ 5613805 w 6096001"/>
              <a:gd name="connsiteY1461" fmla="*/ 1320992 h 5392467"/>
              <a:gd name="connsiteX1462" fmla="*/ 5609937 w 6096001"/>
              <a:gd name="connsiteY1462" fmla="*/ 1330664 h 5392467"/>
              <a:gd name="connsiteX1463" fmla="*/ 5627343 w 6096001"/>
              <a:gd name="connsiteY1463" fmla="*/ 1328729 h 5392467"/>
              <a:gd name="connsiteX1464" fmla="*/ 5642816 w 6096001"/>
              <a:gd name="connsiteY1464" fmla="*/ 1303586 h 5392467"/>
              <a:gd name="connsiteX1465" fmla="*/ 6077989 w 6096001"/>
              <a:gd name="connsiteY1465" fmla="*/ 1291981 h 5392467"/>
              <a:gd name="connsiteX1466" fmla="*/ 6088325 w 6096001"/>
              <a:gd name="connsiteY1466" fmla="*/ 1305006 h 5392467"/>
              <a:gd name="connsiteX1467" fmla="*/ 6092743 w 6096001"/>
              <a:gd name="connsiteY1467" fmla="*/ 1309401 h 5392467"/>
              <a:gd name="connsiteX1468" fmla="*/ 6066386 w 6096001"/>
              <a:gd name="connsiteY1468" fmla="*/ 1328729 h 5392467"/>
              <a:gd name="connsiteX1469" fmla="*/ 6037373 w 6096001"/>
              <a:gd name="connsiteY1469" fmla="*/ 1350003 h 5392467"/>
              <a:gd name="connsiteX1470" fmla="*/ 6036149 w 6096001"/>
              <a:gd name="connsiteY1470" fmla="*/ 1345717 h 5392467"/>
              <a:gd name="connsiteX1471" fmla="*/ 6052846 w 6096001"/>
              <a:gd name="connsiteY1471" fmla="*/ 1332597 h 5392467"/>
              <a:gd name="connsiteX1472" fmla="*/ 6050911 w 6096001"/>
              <a:gd name="connsiteY1472" fmla="*/ 1330664 h 5392467"/>
              <a:gd name="connsiteX1473" fmla="*/ 6031570 w 6096001"/>
              <a:gd name="connsiteY1473" fmla="*/ 1334532 h 5392467"/>
              <a:gd name="connsiteX1474" fmla="*/ 6033505 w 6096001"/>
              <a:gd name="connsiteY1474" fmla="*/ 1330664 h 5392467"/>
              <a:gd name="connsiteX1475" fmla="*/ 6077989 w 6096001"/>
              <a:gd name="connsiteY1475" fmla="*/ 1291981 h 5392467"/>
              <a:gd name="connsiteX1476" fmla="*/ 5644749 w 6096001"/>
              <a:gd name="connsiteY1476" fmla="*/ 1251363 h 5392467"/>
              <a:gd name="connsiteX1477" fmla="*/ 5635080 w 6096001"/>
              <a:gd name="connsiteY1477" fmla="*/ 1262968 h 5392467"/>
              <a:gd name="connsiteX1478" fmla="*/ 5638948 w 6096001"/>
              <a:gd name="connsiteY1478" fmla="*/ 1276508 h 5392467"/>
              <a:gd name="connsiteX1479" fmla="*/ 5629278 w 6096001"/>
              <a:gd name="connsiteY1479" fmla="*/ 1286178 h 5392467"/>
              <a:gd name="connsiteX1480" fmla="*/ 5623475 w 6096001"/>
              <a:gd name="connsiteY1480" fmla="*/ 1295850 h 5392467"/>
              <a:gd name="connsiteX1481" fmla="*/ 5644749 w 6096001"/>
              <a:gd name="connsiteY1481" fmla="*/ 1301651 h 5392467"/>
              <a:gd name="connsiteX1482" fmla="*/ 5660224 w 6096001"/>
              <a:gd name="connsiteY1482" fmla="*/ 1305519 h 5392467"/>
              <a:gd name="connsiteX1483" fmla="*/ 5615738 w 6096001"/>
              <a:gd name="connsiteY1483" fmla="*/ 1346137 h 5392467"/>
              <a:gd name="connsiteX1484" fmla="*/ 5557714 w 6096001"/>
              <a:gd name="connsiteY1484" fmla="*/ 1382884 h 5392467"/>
              <a:gd name="connsiteX1485" fmla="*/ 5559650 w 6096001"/>
              <a:gd name="connsiteY1485" fmla="*/ 1390621 h 5392467"/>
              <a:gd name="connsiteX1486" fmla="*/ 5551913 w 6096001"/>
              <a:gd name="connsiteY1486" fmla="*/ 1396422 h 5392467"/>
              <a:gd name="connsiteX1487" fmla="*/ 5522903 w 6096001"/>
              <a:gd name="connsiteY1487" fmla="*/ 1409962 h 5392467"/>
              <a:gd name="connsiteX1488" fmla="*/ 5517099 w 6096001"/>
              <a:gd name="connsiteY1488" fmla="*/ 1402225 h 5392467"/>
              <a:gd name="connsiteX1489" fmla="*/ 5503561 w 6096001"/>
              <a:gd name="connsiteY1489" fmla="*/ 1409962 h 5392467"/>
              <a:gd name="connsiteX1490" fmla="*/ 5501628 w 6096001"/>
              <a:gd name="connsiteY1490" fmla="*/ 1417699 h 5392467"/>
              <a:gd name="connsiteX1491" fmla="*/ 5503561 w 6096001"/>
              <a:gd name="connsiteY1491" fmla="*/ 1417699 h 5392467"/>
              <a:gd name="connsiteX1492" fmla="*/ 5503561 w 6096001"/>
              <a:gd name="connsiteY1492" fmla="*/ 1419631 h 5392467"/>
              <a:gd name="connsiteX1493" fmla="*/ 5502112 w 6096001"/>
              <a:gd name="connsiteY1493" fmla="*/ 1421083 h 5392467"/>
              <a:gd name="connsiteX1494" fmla="*/ 5501628 w 6096001"/>
              <a:gd name="connsiteY1494" fmla="*/ 1419631 h 5392467"/>
              <a:gd name="connsiteX1495" fmla="*/ 5501628 w 6096001"/>
              <a:gd name="connsiteY1495" fmla="*/ 1421567 h 5392467"/>
              <a:gd name="connsiteX1496" fmla="*/ 5502112 w 6096001"/>
              <a:gd name="connsiteY1496" fmla="*/ 1421083 h 5392467"/>
              <a:gd name="connsiteX1497" fmla="*/ 5503561 w 6096001"/>
              <a:gd name="connsiteY1497" fmla="*/ 1425435 h 5392467"/>
              <a:gd name="connsiteX1498" fmla="*/ 5573190 w 6096001"/>
              <a:gd name="connsiteY1498" fmla="*/ 1388685 h 5392467"/>
              <a:gd name="connsiteX1499" fmla="*/ 5644749 w 6096001"/>
              <a:gd name="connsiteY1499" fmla="*/ 1396422 h 5392467"/>
              <a:gd name="connsiteX1500" fmla="*/ 5650553 w 6096001"/>
              <a:gd name="connsiteY1500" fmla="*/ 1386752 h 5392467"/>
              <a:gd name="connsiteX1501" fmla="*/ 5631211 w 6096001"/>
              <a:gd name="connsiteY1501" fmla="*/ 1382884 h 5392467"/>
              <a:gd name="connsiteX1502" fmla="*/ 5635080 w 6096001"/>
              <a:gd name="connsiteY1502" fmla="*/ 1375148 h 5392467"/>
              <a:gd name="connsiteX1503" fmla="*/ 5646684 w 6096001"/>
              <a:gd name="connsiteY1503" fmla="*/ 1367411 h 5392467"/>
              <a:gd name="connsiteX1504" fmla="*/ 5637015 w 6096001"/>
              <a:gd name="connsiteY1504" fmla="*/ 1350003 h 5392467"/>
              <a:gd name="connsiteX1505" fmla="*/ 5664090 w 6096001"/>
              <a:gd name="connsiteY1505" fmla="*/ 1328729 h 5392467"/>
              <a:gd name="connsiteX1506" fmla="*/ 5664090 w 6096001"/>
              <a:gd name="connsiteY1506" fmla="*/ 1313255 h 5392467"/>
              <a:gd name="connsiteX1507" fmla="*/ 5664090 w 6096001"/>
              <a:gd name="connsiteY1507" fmla="*/ 1311323 h 5392467"/>
              <a:gd name="connsiteX1508" fmla="*/ 5662157 w 6096001"/>
              <a:gd name="connsiteY1508" fmla="*/ 1261035 h 5392467"/>
              <a:gd name="connsiteX1509" fmla="*/ 5654421 w 6096001"/>
              <a:gd name="connsiteY1509" fmla="*/ 1262968 h 5392467"/>
              <a:gd name="connsiteX1510" fmla="*/ 5644749 w 6096001"/>
              <a:gd name="connsiteY1510" fmla="*/ 1251363 h 5392467"/>
              <a:gd name="connsiteX1511" fmla="*/ 5635080 w 6096001"/>
              <a:gd name="connsiteY1511" fmla="*/ 1241694 h 5392467"/>
              <a:gd name="connsiteX1512" fmla="*/ 5629278 w 6096001"/>
              <a:gd name="connsiteY1512" fmla="*/ 1247497 h 5392467"/>
              <a:gd name="connsiteX1513" fmla="*/ 5640883 w 6096001"/>
              <a:gd name="connsiteY1513" fmla="*/ 1255234 h 5392467"/>
              <a:gd name="connsiteX1514" fmla="*/ 5640883 w 6096001"/>
              <a:gd name="connsiteY1514" fmla="*/ 1247497 h 5392467"/>
              <a:gd name="connsiteX1515" fmla="*/ 5635080 w 6096001"/>
              <a:gd name="connsiteY1515" fmla="*/ 1241694 h 5392467"/>
              <a:gd name="connsiteX1516" fmla="*/ 5573190 w 6096001"/>
              <a:gd name="connsiteY1516" fmla="*/ 1013469 h 5392467"/>
              <a:gd name="connsiteX1517" fmla="*/ 5569322 w 6096001"/>
              <a:gd name="connsiteY1517" fmla="*/ 1015404 h 5392467"/>
              <a:gd name="connsiteX1518" fmla="*/ 5565453 w 6096001"/>
              <a:gd name="connsiteY1518" fmla="*/ 1021206 h 5392467"/>
              <a:gd name="connsiteX1519" fmla="*/ 5565453 w 6096001"/>
              <a:gd name="connsiteY1519" fmla="*/ 1023141 h 5392467"/>
              <a:gd name="connsiteX1520" fmla="*/ 5573190 w 6096001"/>
              <a:gd name="connsiteY1520" fmla="*/ 1013469 h 5392467"/>
              <a:gd name="connsiteX1521" fmla="*/ 4991023 w 6096001"/>
              <a:gd name="connsiteY1521" fmla="*/ 986394 h 5392467"/>
              <a:gd name="connsiteX1522" fmla="*/ 4985222 w 6096001"/>
              <a:gd name="connsiteY1522" fmla="*/ 990260 h 5392467"/>
              <a:gd name="connsiteX1523" fmla="*/ 4987155 w 6096001"/>
              <a:gd name="connsiteY1523" fmla="*/ 992195 h 5392467"/>
              <a:gd name="connsiteX1524" fmla="*/ 4992959 w 6096001"/>
              <a:gd name="connsiteY1524" fmla="*/ 988327 h 5392467"/>
              <a:gd name="connsiteX1525" fmla="*/ 4991023 w 6096001"/>
              <a:gd name="connsiteY1525" fmla="*/ 986394 h 5392467"/>
              <a:gd name="connsiteX1526" fmla="*/ 5462946 w 6096001"/>
              <a:gd name="connsiteY1526" fmla="*/ 965117 h 5392467"/>
              <a:gd name="connsiteX1527" fmla="*/ 5451341 w 6096001"/>
              <a:gd name="connsiteY1527" fmla="*/ 967052 h 5392467"/>
              <a:gd name="connsiteX1528" fmla="*/ 5428131 w 6096001"/>
              <a:gd name="connsiteY1528" fmla="*/ 986394 h 5392467"/>
              <a:gd name="connsiteX1529" fmla="*/ 5424263 w 6096001"/>
              <a:gd name="connsiteY1529" fmla="*/ 990260 h 5392467"/>
              <a:gd name="connsiteX1530" fmla="*/ 5426196 w 6096001"/>
              <a:gd name="connsiteY1530" fmla="*/ 1009601 h 5392467"/>
              <a:gd name="connsiteX1531" fmla="*/ 5445537 w 6096001"/>
              <a:gd name="connsiteY1531" fmla="*/ 996063 h 5392467"/>
              <a:gd name="connsiteX1532" fmla="*/ 5461010 w 6096001"/>
              <a:gd name="connsiteY1532" fmla="*/ 978657 h 5392467"/>
              <a:gd name="connsiteX1533" fmla="*/ 5462946 w 6096001"/>
              <a:gd name="connsiteY1533" fmla="*/ 965117 h 5392467"/>
              <a:gd name="connsiteX1534" fmla="*/ 5468747 w 6096001"/>
              <a:gd name="connsiteY1534" fmla="*/ 943843 h 5392467"/>
              <a:gd name="connsiteX1535" fmla="*/ 5466814 w 6096001"/>
              <a:gd name="connsiteY1535" fmla="*/ 949644 h 5392467"/>
              <a:gd name="connsiteX1536" fmla="*/ 5468747 w 6096001"/>
              <a:gd name="connsiteY1536" fmla="*/ 955448 h 5392467"/>
              <a:gd name="connsiteX1537" fmla="*/ 5472615 w 6096001"/>
              <a:gd name="connsiteY1537" fmla="*/ 951579 h 5392467"/>
              <a:gd name="connsiteX1538" fmla="*/ 5472615 w 6096001"/>
              <a:gd name="connsiteY1538" fmla="*/ 945776 h 5392467"/>
              <a:gd name="connsiteX1539" fmla="*/ 5470680 w 6096001"/>
              <a:gd name="connsiteY1539" fmla="*/ 943843 h 5392467"/>
              <a:gd name="connsiteX1540" fmla="*/ 5468747 w 6096001"/>
              <a:gd name="connsiteY1540" fmla="*/ 943843 h 5392467"/>
              <a:gd name="connsiteX1541" fmla="*/ 5298546 w 6096001"/>
              <a:gd name="connsiteY1541" fmla="*/ 878083 h 5392467"/>
              <a:gd name="connsiteX1542" fmla="*/ 5281140 w 6096001"/>
              <a:gd name="connsiteY1542" fmla="*/ 893556 h 5392467"/>
              <a:gd name="connsiteX1543" fmla="*/ 5283073 w 6096001"/>
              <a:gd name="connsiteY1543" fmla="*/ 895488 h 5392467"/>
              <a:gd name="connsiteX1544" fmla="*/ 5290810 w 6096001"/>
              <a:gd name="connsiteY1544" fmla="*/ 883884 h 5392467"/>
              <a:gd name="connsiteX1545" fmla="*/ 5298546 w 6096001"/>
              <a:gd name="connsiteY1545" fmla="*/ 878083 h 5392467"/>
              <a:gd name="connsiteX1546" fmla="*/ 999037 w 6096001"/>
              <a:gd name="connsiteY1546" fmla="*/ 876150 h 5392467"/>
              <a:gd name="connsiteX1547" fmla="*/ 999037 w 6096001"/>
              <a:gd name="connsiteY1547" fmla="*/ 878083 h 5392467"/>
              <a:gd name="connsiteX1548" fmla="*/ 1000972 w 6096001"/>
              <a:gd name="connsiteY1548" fmla="*/ 876150 h 5392467"/>
              <a:gd name="connsiteX1549" fmla="*/ 999037 w 6096001"/>
              <a:gd name="connsiteY1549" fmla="*/ 876150 h 5392467"/>
              <a:gd name="connsiteX1550" fmla="*/ 886860 w 6096001"/>
              <a:gd name="connsiteY1550" fmla="*/ 860677 h 5392467"/>
              <a:gd name="connsiteX1551" fmla="*/ 886860 w 6096001"/>
              <a:gd name="connsiteY1551" fmla="*/ 864545 h 5392467"/>
              <a:gd name="connsiteX1552" fmla="*/ 890728 w 6096001"/>
              <a:gd name="connsiteY1552" fmla="*/ 864545 h 5392467"/>
              <a:gd name="connsiteX1553" fmla="*/ 892661 w 6096001"/>
              <a:gd name="connsiteY1553" fmla="*/ 860677 h 5392467"/>
              <a:gd name="connsiteX1554" fmla="*/ 886860 w 6096001"/>
              <a:gd name="connsiteY1554" fmla="*/ 860677 h 5392467"/>
              <a:gd name="connsiteX1555" fmla="*/ 5321756 w 6096001"/>
              <a:gd name="connsiteY1555" fmla="*/ 854873 h 5392467"/>
              <a:gd name="connsiteX1556" fmla="*/ 5304350 w 6096001"/>
              <a:gd name="connsiteY1556" fmla="*/ 866478 h 5392467"/>
              <a:gd name="connsiteX1557" fmla="*/ 5310151 w 6096001"/>
              <a:gd name="connsiteY1557" fmla="*/ 872281 h 5392467"/>
              <a:gd name="connsiteX1558" fmla="*/ 5321756 w 6096001"/>
              <a:gd name="connsiteY1558" fmla="*/ 854873 h 5392467"/>
              <a:gd name="connsiteX1559" fmla="*/ 1873250 w 6096001"/>
              <a:gd name="connsiteY1559" fmla="*/ 835532 h 5392467"/>
              <a:gd name="connsiteX1560" fmla="*/ 1865516 w 6096001"/>
              <a:gd name="connsiteY1560" fmla="*/ 841335 h 5392467"/>
              <a:gd name="connsiteX1561" fmla="*/ 1865516 w 6096001"/>
              <a:gd name="connsiteY1561" fmla="*/ 843268 h 5392467"/>
              <a:gd name="connsiteX1562" fmla="*/ 1879054 w 6096001"/>
              <a:gd name="connsiteY1562" fmla="*/ 837467 h 5392467"/>
              <a:gd name="connsiteX1563" fmla="*/ 1873250 w 6096001"/>
              <a:gd name="connsiteY1563" fmla="*/ 835532 h 5392467"/>
              <a:gd name="connsiteX1564" fmla="*/ 1902263 w 6096001"/>
              <a:gd name="connsiteY1564" fmla="*/ 827795 h 5392467"/>
              <a:gd name="connsiteX1565" fmla="*/ 1882922 w 6096001"/>
              <a:gd name="connsiteY1565" fmla="*/ 835532 h 5392467"/>
              <a:gd name="connsiteX1566" fmla="*/ 1884855 w 6096001"/>
              <a:gd name="connsiteY1566" fmla="*/ 835532 h 5392467"/>
              <a:gd name="connsiteX1567" fmla="*/ 1882922 w 6096001"/>
              <a:gd name="connsiteY1567" fmla="*/ 843268 h 5392467"/>
              <a:gd name="connsiteX1568" fmla="*/ 1880987 w 6096001"/>
              <a:gd name="connsiteY1568" fmla="*/ 845204 h 5392467"/>
              <a:gd name="connsiteX1569" fmla="*/ 1902263 w 6096001"/>
              <a:gd name="connsiteY1569" fmla="*/ 827795 h 5392467"/>
              <a:gd name="connsiteX1570" fmla="*/ 1718523 w 6096001"/>
              <a:gd name="connsiteY1570" fmla="*/ 816190 h 5392467"/>
              <a:gd name="connsiteX1571" fmla="*/ 1677907 w 6096001"/>
              <a:gd name="connsiteY1571" fmla="*/ 835532 h 5392467"/>
              <a:gd name="connsiteX1572" fmla="*/ 1718523 w 6096001"/>
              <a:gd name="connsiteY1572" fmla="*/ 816190 h 5392467"/>
              <a:gd name="connsiteX1573" fmla="*/ 1991231 w 6096001"/>
              <a:gd name="connsiteY1573" fmla="*/ 792983 h 5392467"/>
              <a:gd name="connsiteX1574" fmla="*/ 1979626 w 6096001"/>
              <a:gd name="connsiteY1574" fmla="*/ 802653 h 5392467"/>
              <a:gd name="connsiteX1575" fmla="*/ 1989298 w 6096001"/>
              <a:gd name="connsiteY1575" fmla="*/ 800720 h 5392467"/>
              <a:gd name="connsiteX1576" fmla="*/ 1993166 w 6096001"/>
              <a:gd name="connsiteY1576" fmla="*/ 792983 h 5392467"/>
              <a:gd name="connsiteX1577" fmla="*/ 1991231 w 6096001"/>
              <a:gd name="connsiteY1577" fmla="*/ 792983 h 5392467"/>
              <a:gd name="connsiteX1578" fmla="*/ 1037719 w 6096001"/>
              <a:gd name="connsiteY1578" fmla="*/ 781378 h 5392467"/>
              <a:gd name="connsiteX1579" fmla="*/ 1033851 w 6096001"/>
              <a:gd name="connsiteY1579" fmla="*/ 783311 h 5392467"/>
              <a:gd name="connsiteX1580" fmla="*/ 1035784 w 6096001"/>
              <a:gd name="connsiteY1580" fmla="*/ 785247 h 5392467"/>
              <a:gd name="connsiteX1581" fmla="*/ 1037719 w 6096001"/>
              <a:gd name="connsiteY1581" fmla="*/ 781378 h 5392467"/>
              <a:gd name="connsiteX1582" fmla="*/ 1782350 w 6096001"/>
              <a:gd name="connsiteY1582" fmla="*/ 777510 h 5392467"/>
              <a:gd name="connsiteX1583" fmla="*/ 1753337 w 6096001"/>
              <a:gd name="connsiteY1583" fmla="*/ 794916 h 5392467"/>
              <a:gd name="connsiteX1584" fmla="*/ 1755272 w 6096001"/>
              <a:gd name="connsiteY1584" fmla="*/ 798784 h 5392467"/>
              <a:gd name="connsiteX1585" fmla="*/ 1784283 w 6096001"/>
              <a:gd name="connsiteY1585" fmla="*/ 779443 h 5392467"/>
              <a:gd name="connsiteX1586" fmla="*/ 1782350 w 6096001"/>
              <a:gd name="connsiteY1586" fmla="*/ 777510 h 5392467"/>
              <a:gd name="connsiteX1587" fmla="*/ 4911725 w 6096001"/>
              <a:gd name="connsiteY1587" fmla="*/ 767838 h 5392467"/>
              <a:gd name="connsiteX1588" fmla="*/ 4900121 w 6096001"/>
              <a:gd name="connsiteY1588" fmla="*/ 777510 h 5392467"/>
              <a:gd name="connsiteX1589" fmla="*/ 4894319 w 6096001"/>
              <a:gd name="connsiteY1589" fmla="*/ 781378 h 5392467"/>
              <a:gd name="connsiteX1590" fmla="*/ 4878846 w 6096001"/>
              <a:gd name="connsiteY1590" fmla="*/ 787180 h 5392467"/>
              <a:gd name="connsiteX1591" fmla="*/ 4834363 w 6096001"/>
              <a:gd name="connsiteY1591" fmla="*/ 820059 h 5392467"/>
              <a:gd name="connsiteX1592" fmla="*/ 4826626 w 6096001"/>
              <a:gd name="connsiteY1592" fmla="*/ 827795 h 5392467"/>
              <a:gd name="connsiteX1593" fmla="*/ 4844032 w 6096001"/>
              <a:gd name="connsiteY1593" fmla="*/ 820059 h 5392467"/>
              <a:gd name="connsiteX1594" fmla="*/ 4847900 w 6096001"/>
              <a:gd name="connsiteY1594" fmla="*/ 825862 h 5392467"/>
              <a:gd name="connsiteX1595" fmla="*/ 4855637 w 6096001"/>
              <a:gd name="connsiteY1595" fmla="*/ 816190 h 5392467"/>
              <a:gd name="connsiteX1596" fmla="*/ 4857572 w 6096001"/>
              <a:gd name="connsiteY1596" fmla="*/ 810389 h 5392467"/>
              <a:gd name="connsiteX1597" fmla="*/ 4886583 w 6096001"/>
              <a:gd name="connsiteY1597" fmla="*/ 792983 h 5392467"/>
              <a:gd name="connsiteX1598" fmla="*/ 4911725 w 6096001"/>
              <a:gd name="connsiteY1598" fmla="*/ 779443 h 5392467"/>
              <a:gd name="connsiteX1599" fmla="*/ 4911725 w 6096001"/>
              <a:gd name="connsiteY1599" fmla="*/ 767838 h 5392467"/>
              <a:gd name="connsiteX1600" fmla="*/ 5325624 w 6096001"/>
              <a:gd name="connsiteY1600" fmla="*/ 762037 h 5392467"/>
              <a:gd name="connsiteX1601" fmla="*/ 5321756 w 6096001"/>
              <a:gd name="connsiteY1601" fmla="*/ 765905 h 5392467"/>
              <a:gd name="connsiteX1602" fmla="*/ 5325624 w 6096001"/>
              <a:gd name="connsiteY1602" fmla="*/ 765905 h 5392467"/>
              <a:gd name="connsiteX1603" fmla="*/ 5327559 w 6096001"/>
              <a:gd name="connsiteY1603" fmla="*/ 763970 h 5392467"/>
              <a:gd name="connsiteX1604" fmla="*/ 5325624 w 6096001"/>
              <a:gd name="connsiteY1604" fmla="*/ 762037 h 5392467"/>
              <a:gd name="connsiteX1605" fmla="*/ 4902056 w 6096001"/>
              <a:gd name="connsiteY1605" fmla="*/ 762037 h 5392467"/>
              <a:gd name="connsiteX1606" fmla="*/ 4898188 w 6096001"/>
              <a:gd name="connsiteY1606" fmla="*/ 765905 h 5392467"/>
              <a:gd name="connsiteX1607" fmla="*/ 4898188 w 6096001"/>
              <a:gd name="connsiteY1607" fmla="*/ 767838 h 5392467"/>
              <a:gd name="connsiteX1608" fmla="*/ 4902056 w 6096001"/>
              <a:gd name="connsiteY1608" fmla="*/ 762037 h 5392467"/>
              <a:gd name="connsiteX1609" fmla="*/ 5401054 w 6096001"/>
              <a:gd name="connsiteY1609" fmla="*/ 756234 h 5392467"/>
              <a:gd name="connsiteX1610" fmla="*/ 5385581 w 6096001"/>
              <a:gd name="connsiteY1610" fmla="*/ 767838 h 5392467"/>
              <a:gd name="connsiteX1611" fmla="*/ 5389449 w 6096001"/>
              <a:gd name="connsiteY1611" fmla="*/ 767838 h 5392467"/>
              <a:gd name="connsiteX1612" fmla="*/ 5397185 w 6096001"/>
              <a:gd name="connsiteY1612" fmla="*/ 762037 h 5392467"/>
              <a:gd name="connsiteX1613" fmla="*/ 5401054 w 6096001"/>
              <a:gd name="connsiteY1613" fmla="*/ 756234 h 5392467"/>
              <a:gd name="connsiteX1614" fmla="*/ 1834568 w 6096001"/>
              <a:gd name="connsiteY1614" fmla="*/ 756234 h 5392467"/>
              <a:gd name="connsiteX1615" fmla="*/ 1832635 w 6096001"/>
              <a:gd name="connsiteY1615" fmla="*/ 758169 h 5392467"/>
              <a:gd name="connsiteX1616" fmla="*/ 1836503 w 6096001"/>
              <a:gd name="connsiteY1616" fmla="*/ 756234 h 5392467"/>
              <a:gd name="connsiteX1617" fmla="*/ 1834568 w 6096001"/>
              <a:gd name="connsiteY1617" fmla="*/ 756234 h 5392467"/>
              <a:gd name="connsiteX1618" fmla="*/ 1828767 w 6096001"/>
              <a:gd name="connsiteY1618" fmla="*/ 748497 h 5392467"/>
              <a:gd name="connsiteX1619" fmla="*/ 1822965 w 6096001"/>
              <a:gd name="connsiteY1619" fmla="*/ 750432 h 5392467"/>
              <a:gd name="connsiteX1620" fmla="*/ 1824898 w 6096001"/>
              <a:gd name="connsiteY1620" fmla="*/ 750432 h 5392467"/>
              <a:gd name="connsiteX1621" fmla="*/ 1809425 w 6096001"/>
              <a:gd name="connsiteY1621" fmla="*/ 763970 h 5392467"/>
              <a:gd name="connsiteX1622" fmla="*/ 1819097 w 6096001"/>
              <a:gd name="connsiteY1622" fmla="*/ 767838 h 5392467"/>
              <a:gd name="connsiteX1623" fmla="*/ 1822965 w 6096001"/>
              <a:gd name="connsiteY1623" fmla="*/ 756234 h 5392467"/>
              <a:gd name="connsiteX1624" fmla="*/ 1826834 w 6096001"/>
              <a:gd name="connsiteY1624" fmla="*/ 750432 h 5392467"/>
              <a:gd name="connsiteX1625" fmla="*/ 1828767 w 6096001"/>
              <a:gd name="connsiteY1625" fmla="*/ 748497 h 5392467"/>
              <a:gd name="connsiteX1626" fmla="*/ 5397185 w 6096001"/>
              <a:gd name="connsiteY1626" fmla="*/ 742696 h 5392467"/>
              <a:gd name="connsiteX1627" fmla="*/ 5393317 w 6096001"/>
              <a:gd name="connsiteY1627" fmla="*/ 748497 h 5392467"/>
              <a:gd name="connsiteX1628" fmla="*/ 5399121 w 6096001"/>
              <a:gd name="connsiteY1628" fmla="*/ 744629 h 5392467"/>
              <a:gd name="connsiteX1629" fmla="*/ 5397185 w 6096001"/>
              <a:gd name="connsiteY1629" fmla="*/ 742696 h 5392467"/>
              <a:gd name="connsiteX1630" fmla="*/ 2122235 w 6096001"/>
              <a:gd name="connsiteY1630" fmla="*/ 705949 h 5392467"/>
              <a:gd name="connsiteX1631" fmla="*/ 2122752 w 6096001"/>
              <a:gd name="connsiteY1631" fmla="*/ 705949 h 5392467"/>
              <a:gd name="connsiteX1632" fmla="*/ 2122752 w 6096001"/>
              <a:gd name="connsiteY1632" fmla="*/ 709815 h 5392467"/>
              <a:gd name="connsiteX1633" fmla="*/ 2121769 w 6096001"/>
              <a:gd name="connsiteY1633" fmla="*/ 707852 h 5392467"/>
              <a:gd name="connsiteX1634" fmla="*/ 5445537 w 6096001"/>
              <a:gd name="connsiteY1634" fmla="*/ 702080 h 5392467"/>
              <a:gd name="connsiteX1635" fmla="*/ 5441669 w 6096001"/>
              <a:gd name="connsiteY1635" fmla="*/ 705949 h 5392467"/>
              <a:gd name="connsiteX1636" fmla="*/ 5445537 w 6096001"/>
              <a:gd name="connsiteY1636" fmla="*/ 707882 h 5392467"/>
              <a:gd name="connsiteX1637" fmla="*/ 5447473 w 6096001"/>
              <a:gd name="connsiteY1637" fmla="*/ 704013 h 5392467"/>
              <a:gd name="connsiteX1638" fmla="*/ 5445537 w 6096001"/>
              <a:gd name="connsiteY1638" fmla="*/ 702080 h 5392467"/>
              <a:gd name="connsiteX1639" fmla="*/ 1832635 w 6096001"/>
              <a:gd name="connsiteY1639" fmla="*/ 700145 h 5392467"/>
              <a:gd name="connsiteX1640" fmla="*/ 1805557 w 6096001"/>
              <a:gd name="connsiteY1640" fmla="*/ 707882 h 5392467"/>
              <a:gd name="connsiteX1641" fmla="*/ 1813294 w 6096001"/>
              <a:gd name="connsiteY1641" fmla="*/ 711750 h 5392467"/>
              <a:gd name="connsiteX1642" fmla="*/ 1811361 w 6096001"/>
              <a:gd name="connsiteY1642" fmla="*/ 713685 h 5392467"/>
              <a:gd name="connsiteX1643" fmla="*/ 1706918 w 6096001"/>
              <a:gd name="connsiteY1643" fmla="*/ 756234 h 5392467"/>
              <a:gd name="connsiteX1644" fmla="*/ 1703050 w 6096001"/>
              <a:gd name="connsiteY1644" fmla="*/ 758169 h 5392467"/>
              <a:gd name="connsiteX1645" fmla="*/ 1697248 w 6096001"/>
              <a:gd name="connsiteY1645" fmla="*/ 769774 h 5392467"/>
              <a:gd name="connsiteX1646" fmla="*/ 1689512 w 6096001"/>
              <a:gd name="connsiteY1646" fmla="*/ 789115 h 5392467"/>
              <a:gd name="connsiteX1647" fmla="*/ 1701117 w 6096001"/>
              <a:gd name="connsiteY1647" fmla="*/ 783311 h 5392467"/>
              <a:gd name="connsiteX1648" fmla="*/ 1710786 w 6096001"/>
              <a:gd name="connsiteY1648" fmla="*/ 777510 h 5392467"/>
              <a:gd name="connsiteX1649" fmla="*/ 1714654 w 6096001"/>
              <a:gd name="connsiteY1649" fmla="*/ 775575 h 5392467"/>
              <a:gd name="connsiteX1650" fmla="*/ 1726259 w 6096001"/>
              <a:gd name="connsiteY1650" fmla="*/ 769774 h 5392467"/>
              <a:gd name="connsiteX1651" fmla="*/ 1730127 w 6096001"/>
              <a:gd name="connsiteY1651" fmla="*/ 767838 h 5392467"/>
              <a:gd name="connsiteX1652" fmla="*/ 1741732 w 6096001"/>
              <a:gd name="connsiteY1652" fmla="*/ 762037 h 5392467"/>
              <a:gd name="connsiteX1653" fmla="*/ 1830702 w 6096001"/>
              <a:gd name="connsiteY1653" fmla="*/ 719486 h 5392467"/>
              <a:gd name="connsiteX1654" fmla="*/ 1836503 w 6096001"/>
              <a:gd name="connsiteY1654" fmla="*/ 715618 h 5392467"/>
              <a:gd name="connsiteX1655" fmla="*/ 1853909 w 6096001"/>
              <a:gd name="connsiteY1655" fmla="*/ 705949 h 5392467"/>
              <a:gd name="connsiteX1656" fmla="*/ 1844240 w 6096001"/>
              <a:gd name="connsiteY1656" fmla="*/ 707882 h 5392467"/>
              <a:gd name="connsiteX1657" fmla="*/ 1836503 w 6096001"/>
              <a:gd name="connsiteY1657" fmla="*/ 713685 h 5392467"/>
              <a:gd name="connsiteX1658" fmla="*/ 1832635 w 6096001"/>
              <a:gd name="connsiteY1658" fmla="*/ 700145 h 5392467"/>
              <a:gd name="connsiteX1659" fmla="*/ 5372043 w 6096001"/>
              <a:gd name="connsiteY1659" fmla="*/ 694344 h 5392467"/>
              <a:gd name="connsiteX1660" fmla="*/ 5364306 w 6096001"/>
              <a:gd name="connsiteY1660" fmla="*/ 700145 h 5392467"/>
              <a:gd name="connsiteX1661" fmla="*/ 5366239 w 6096001"/>
              <a:gd name="connsiteY1661" fmla="*/ 702080 h 5392467"/>
              <a:gd name="connsiteX1662" fmla="*/ 5372043 w 6096001"/>
              <a:gd name="connsiteY1662" fmla="*/ 694344 h 5392467"/>
              <a:gd name="connsiteX1663" fmla="*/ 1981562 w 6096001"/>
              <a:gd name="connsiteY1663" fmla="*/ 690476 h 5392467"/>
              <a:gd name="connsiteX1664" fmla="*/ 1952551 w 6096001"/>
              <a:gd name="connsiteY1664" fmla="*/ 698212 h 5392467"/>
              <a:gd name="connsiteX1665" fmla="*/ 1948680 w 6096001"/>
              <a:gd name="connsiteY1665" fmla="*/ 707882 h 5392467"/>
              <a:gd name="connsiteX1666" fmla="*/ 1973825 w 6096001"/>
              <a:gd name="connsiteY1666" fmla="*/ 698212 h 5392467"/>
              <a:gd name="connsiteX1667" fmla="*/ 1981562 w 6096001"/>
              <a:gd name="connsiteY1667" fmla="*/ 690476 h 5392467"/>
              <a:gd name="connsiteX1668" fmla="*/ 1860437 w 6096001"/>
              <a:gd name="connsiteY1668" fmla="*/ 685157 h 5392467"/>
              <a:gd name="connsiteX1669" fmla="*/ 1850043 w 6096001"/>
              <a:gd name="connsiteY1669" fmla="*/ 694344 h 5392467"/>
              <a:gd name="connsiteX1670" fmla="*/ 1863581 w 6096001"/>
              <a:gd name="connsiteY1670" fmla="*/ 690476 h 5392467"/>
              <a:gd name="connsiteX1671" fmla="*/ 1860437 w 6096001"/>
              <a:gd name="connsiteY1671" fmla="*/ 685157 h 5392467"/>
              <a:gd name="connsiteX1672" fmla="*/ 1735931 w 6096001"/>
              <a:gd name="connsiteY1672" fmla="*/ 684672 h 5392467"/>
              <a:gd name="connsiteX1673" fmla="*/ 1714654 w 6096001"/>
              <a:gd name="connsiteY1673" fmla="*/ 686607 h 5392467"/>
              <a:gd name="connsiteX1674" fmla="*/ 1718523 w 6096001"/>
              <a:gd name="connsiteY1674" fmla="*/ 692409 h 5392467"/>
              <a:gd name="connsiteX1675" fmla="*/ 1735931 w 6096001"/>
              <a:gd name="connsiteY1675" fmla="*/ 688540 h 5392467"/>
              <a:gd name="connsiteX1676" fmla="*/ 1735931 w 6096001"/>
              <a:gd name="connsiteY1676" fmla="*/ 684672 h 5392467"/>
              <a:gd name="connsiteX1677" fmla="*/ 5414594 w 6096001"/>
              <a:gd name="connsiteY1677" fmla="*/ 663398 h 5392467"/>
              <a:gd name="connsiteX1678" fmla="*/ 5399121 w 6096001"/>
              <a:gd name="connsiteY1678" fmla="*/ 671134 h 5392467"/>
              <a:gd name="connsiteX1679" fmla="*/ 5414594 w 6096001"/>
              <a:gd name="connsiteY1679" fmla="*/ 663398 h 5392467"/>
              <a:gd name="connsiteX1680" fmla="*/ 1726259 w 6096001"/>
              <a:gd name="connsiteY1680" fmla="*/ 663398 h 5392467"/>
              <a:gd name="connsiteX1681" fmla="*/ 1716590 w 6096001"/>
              <a:gd name="connsiteY1681" fmla="*/ 669199 h 5392467"/>
              <a:gd name="connsiteX1682" fmla="*/ 1708853 w 6096001"/>
              <a:gd name="connsiteY1682" fmla="*/ 678871 h 5392467"/>
              <a:gd name="connsiteX1683" fmla="*/ 1710786 w 6096001"/>
              <a:gd name="connsiteY1683" fmla="*/ 682739 h 5392467"/>
              <a:gd name="connsiteX1684" fmla="*/ 1712721 w 6096001"/>
              <a:gd name="connsiteY1684" fmla="*/ 678871 h 5392467"/>
              <a:gd name="connsiteX1685" fmla="*/ 1714654 w 6096001"/>
              <a:gd name="connsiteY1685" fmla="*/ 676936 h 5392467"/>
              <a:gd name="connsiteX1686" fmla="*/ 1726259 w 6096001"/>
              <a:gd name="connsiteY1686" fmla="*/ 663398 h 5392467"/>
              <a:gd name="connsiteX1687" fmla="*/ 1163436 w 6096001"/>
              <a:gd name="connsiteY1687" fmla="*/ 653726 h 5392467"/>
              <a:gd name="connsiteX1688" fmla="*/ 1118950 w 6096001"/>
              <a:gd name="connsiteY1688" fmla="*/ 669199 h 5392467"/>
              <a:gd name="connsiteX1689" fmla="*/ 1163436 w 6096001"/>
              <a:gd name="connsiteY1689" fmla="*/ 653726 h 5392467"/>
              <a:gd name="connsiteX1690" fmla="*/ 3539475 w 6096001"/>
              <a:gd name="connsiteY1690" fmla="*/ 647925 h 5392467"/>
              <a:gd name="connsiteX1691" fmla="*/ 3542382 w 6096001"/>
              <a:gd name="connsiteY1691" fmla="*/ 647925 h 5392467"/>
              <a:gd name="connsiteX1692" fmla="*/ 3530777 w 6096001"/>
              <a:gd name="connsiteY1692" fmla="*/ 655661 h 5392467"/>
              <a:gd name="connsiteX1693" fmla="*/ 3526574 w 6096001"/>
              <a:gd name="connsiteY1693" fmla="*/ 654461 h 5392467"/>
              <a:gd name="connsiteX1694" fmla="*/ 3532710 w 6096001"/>
              <a:gd name="connsiteY1694" fmla="*/ 649858 h 5392467"/>
              <a:gd name="connsiteX1695" fmla="*/ 3563656 w 6096001"/>
              <a:gd name="connsiteY1695" fmla="*/ 634385 h 5392467"/>
              <a:gd name="connsiteX1696" fmla="*/ 3563656 w 6096001"/>
              <a:gd name="connsiteY1696" fmla="*/ 638253 h 5392467"/>
              <a:gd name="connsiteX1697" fmla="*/ 3557855 w 6096001"/>
              <a:gd name="connsiteY1697" fmla="*/ 642121 h 5392467"/>
              <a:gd name="connsiteX1698" fmla="*/ 3557855 w 6096001"/>
              <a:gd name="connsiteY1698" fmla="*/ 640188 h 5392467"/>
              <a:gd name="connsiteX1699" fmla="*/ 3563656 w 6096001"/>
              <a:gd name="connsiteY1699" fmla="*/ 634385 h 5392467"/>
              <a:gd name="connsiteX1700" fmla="*/ 3534646 w 6096001"/>
              <a:gd name="connsiteY1700" fmla="*/ 632452 h 5392467"/>
              <a:gd name="connsiteX1701" fmla="*/ 3534646 w 6096001"/>
              <a:gd name="connsiteY1701" fmla="*/ 636320 h 5392467"/>
              <a:gd name="connsiteX1702" fmla="*/ 3538514 w 6096001"/>
              <a:gd name="connsiteY1702" fmla="*/ 642121 h 5392467"/>
              <a:gd name="connsiteX1703" fmla="*/ 3540447 w 6096001"/>
              <a:gd name="connsiteY1703" fmla="*/ 636320 h 5392467"/>
              <a:gd name="connsiteX1704" fmla="*/ 3534646 w 6096001"/>
              <a:gd name="connsiteY1704" fmla="*/ 632452 h 5392467"/>
              <a:gd name="connsiteX1705" fmla="*/ 5248259 w 6096001"/>
              <a:gd name="connsiteY1705" fmla="*/ 624715 h 5392467"/>
              <a:gd name="connsiteX1706" fmla="*/ 5250194 w 6096001"/>
              <a:gd name="connsiteY1706" fmla="*/ 626651 h 5392467"/>
              <a:gd name="connsiteX1707" fmla="*/ 5244393 w 6096001"/>
              <a:gd name="connsiteY1707" fmla="*/ 630519 h 5392467"/>
              <a:gd name="connsiteX1708" fmla="*/ 5242458 w 6096001"/>
              <a:gd name="connsiteY1708" fmla="*/ 628584 h 5392467"/>
              <a:gd name="connsiteX1709" fmla="*/ 5248259 w 6096001"/>
              <a:gd name="connsiteY1709" fmla="*/ 624715 h 5392467"/>
              <a:gd name="connsiteX1710" fmla="*/ 2076333 w 6096001"/>
              <a:gd name="connsiteY1710" fmla="*/ 616979 h 5392467"/>
              <a:gd name="connsiteX1711" fmla="*/ 2076333 w 6096001"/>
              <a:gd name="connsiteY1711" fmla="*/ 624715 h 5392467"/>
              <a:gd name="connsiteX1712" fmla="*/ 2076333 w 6096001"/>
              <a:gd name="connsiteY1712" fmla="*/ 616979 h 5392467"/>
              <a:gd name="connsiteX1713" fmla="*/ 1991231 w 6096001"/>
              <a:gd name="connsiteY1713" fmla="*/ 611178 h 5392467"/>
              <a:gd name="connsiteX1714" fmla="*/ 1969957 w 6096001"/>
              <a:gd name="connsiteY1714" fmla="*/ 616979 h 5392467"/>
              <a:gd name="connsiteX1715" fmla="*/ 1971890 w 6096001"/>
              <a:gd name="connsiteY1715" fmla="*/ 616979 h 5392467"/>
              <a:gd name="connsiteX1716" fmla="*/ 1985430 w 6096001"/>
              <a:gd name="connsiteY1716" fmla="*/ 615046 h 5392467"/>
              <a:gd name="connsiteX1717" fmla="*/ 1991231 w 6096001"/>
              <a:gd name="connsiteY1717" fmla="*/ 611178 h 5392467"/>
              <a:gd name="connsiteX1718" fmla="*/ 1821030 w 6096001"/>
              <a:gd name="connsiteY1718" fmla="*/ 603441 h 5392467"/>
              <a:gd name="connsiteX1719" fmla="*/ 1820451 w 6096001"/>
              <a:gd name="connsiteY1719" fmla="*/ 607623 h 5392467"/>
              <a:gd name="connsiteX1720" fmla="*/ 1817162 w 6096001"/>
              <a:gd name="connsiteY1720" fmla="*/ 609242 h 5392467"/>
              <a:gd name="connsiteX1721" fmla="*/ 1816673 w 6096001"/>
              <a:gd name="connsiteY1721" fmla="*/ 606553 h 5392467"/>
              <a:gd name="connsiteX1722" fmla="*/ 3523041 w 6096001"/>
              <a:gd name="connsiteY1722" fmla="*/ 601506 h 5392467"/>
              <a:gd name="connsiteX1723" fmla="*/ 3519173 w 6096001"/>
              <a:gd name="connsiteY1723" fmla="*/ 603441 h 5392467"/>
              <a:gd name="connsiteX1724" fmla="*/ 3521106 w 6096001"/>
              <a:gd name="connsiteY1724" fmla="*/ 607309 h 5392467"/>
              <a:gd name="connsiteX1725" fmla="*/ 3524974 w 6096001"/>
              <a:gd name="connsiteY1725" fmla="*/ 603441 h 5392467"/>
              <a:gd name="connsiteX1726" fmla="*/ 3523041 w 6096001"/>
              <a:gd name="connsiteY1726" fmla="*/ 601506 h 5392467"/>
              <a:gd name="connsiteX1727" fmla="*/ 1478696 w 6096001"/>
              <a:gd name="connsiteY1727" fmla="*/ 599573 h 5392467"/>
              <a:gd name="connsiteX1728" fmla="*/ 1467088 w 6096001"/>
              <a:gd name="connsiteY1728" fmla="*/ 603441 h 5392467"/>
              <a:gd name="connsiteX1729" fmla="*/ 1474827 w 6096001"/>
              <a:gd name="connsiteY1729" fmla="*/ 605374 h 5392467"/>
              <a:gd name="connsiteX1730" fmla="*/ 1476760 w 6096001"/>
              <a:gd name="connsiteY1730" fmla="*/ 605374 h 5392467"/>
              <a:gd name="connsiteX1731" fmla="*/ 1480628 w 6096001"/>
              <a:gd name="connsiteY1731" fmla="*/ 601506 h 5392467"/>
              <a:gd name="connsiteX1732" fmla="*/ 1478696 w 6096001"/>
              <a:gd name="connsiteY1732" fmla="*/ 599573 h 5392467"/>
              <a:gd name="connsiteX1733" fmla="*/ 3473721 w 6096001"/>
              <a:gd name="connsiteY1733" fmla="*/ 589901 h 5392467"/>
              <a:gd name="connsiteX1734" fmla="*/ 3478555 w 6096001"/>
              <a:gd name="connsiteY1734" fmla="*/ 589901 h 5392467"/>
              <a:gd name="connsiteX1735" fmla="*/ 3478555 w 6096001"/>
              <a:gd name="connsiteY1735" fmla="*/ 591836 h 5392467"/>
              <a:gd name="connsiteX1736" fmla="*/ 3473778 w 6096001"/>
              <a:gd name="connsiteY1736" fmla="*/ 590243 h 5392467"/>
              <a:gd name="connsiteX1737" fmla="*/ 1420672 w 6096001"/>
              <a:gd name="connsiteY1737" fmla="*/ 580232 h 5392467"/>
              <a:gd name="connsiteX1738" fmla="*/ 1391661 w 6096001"/>
              <a:gd name="connsiteY1738" fmla="*/ 595705 h 5392467"/>
              <a:gd name="connsiteX1739" fmla="*/ 1428408 w 6096001"/>
              <a:gd name="connsiteY1739" fmla="*/ 589901 h 5392467"/>
              <a:gd name="connsiteX1740" fmla="*/ 1420672 w 6096001"/>
              <a:gd name="connsiteY1740" fmla="*/ 580232 h 5392467"/>
              <a:gd name="connsiteX1741" fmla="*/ 3492895 w 6096001"/>
              <a:gd name="connsiteY1741" fmla="*/ 576352 h 5392467"/>
              <a:gd name="connsiteX1742" fmla="*/ 3491611 w 6096001"/>
              <a:gd name="connsiteY1742" fmla="*/ 580714 h 5392467"/>
              <a:gd name="connsiteX1743" fmla="*/ 3486294 w 6096001"/>
              <a:gd name="connsiteY1743" fmla="*/ 580232 h 5392467"/>
              <a:gd name="connsiteX1744" fmla="*/ 3488472 w 6096001"/>
              <a:gd name="connsiteY1744" fmla="*/ 578053 h 5392467"/>
              <a:gd name="connsiteX1745" fmla="*/ 4145820 w 6096001"/>
              <a:gd name="connsiteY1745" fmla="*/ 562823 h 5392467"/>
              <a:gd name="connsiteX1746" fmla="*/ 4138086 w 6096001"/>
              <a:gd name="connsiteY1746" fmla="*/ 566691 h 5392467"/>
              <a:gd name="connsiteX1747" fmla="*/ 4118745 w 6096001"/>
              <a:gd name="connsiteY1747" fmla="*/ 576363 h 5392467"/>
              <a:gd name="connsiteX1748" fmla="*/ 4141955 w 6096001"/>
              <a:gd name="connsiteY1748" fmla="*/ 574428 h 5392467"/>
              <a:gd name="connsiteX1749" fmla="*/ 4149689 w 6096001"/>
              <a:gd name="connsiteY1749" fmla="*/ 570560 h 5392467"/>
              <a:gd name="connsiteX1750" fmla="*/ 4151624 w 6096001"/>
              <a:gd name="connsiteY1750" fmla="*/ 568627 h 5392467"/>
              <a:gd name="connsiteX1751" fmla="*/ 4145820 w 6096001"/>
              <a:gd name="connsiteY1751" fmla="*/ 562823 h 5392467"/>
              <a:gd name="connsiteX1752" fmla="*/ 1494166 w 6096001"/>
              <a:gd name="connsiteY1752" fmla="*/ 562823 h 5392467"/>
              <a:gd name="connsiteX1753" fmla="*/ 1463222 w 6096001"/>
              <a:gd name="connsiteY1753" fmla="*/ 572495 h 5392467"/>
              <a:gd name="connsiteX1754" fmla="*/ 1494166 w 6096001"/>
              <a:gd name="connsiteY1754" fmla="*/ 562823 h 5392467"/>
              <a:gd name="connsiteX1755" fmla="*/ 4027842 w 6096001"/>
              <a:gd name="connsiteY1755" fmla="*/ 560890 h 5392467"/>
              <a:gd name="connsiteX1756" fmla="*/ 4014302 w 6096001"/>
              <a:gd name="connsiteY1756" fmla="*/ 566691 h 5392467"/>
              <a:gd name="connsiteX1757" fmla="*/ 4008501 w 6096001"/>
              <a:gd name="connsiteY1757" fmla="*/ 570560 h 5392467"/>
              <a:gd name="connsiteX1758" fmla="*/ 4008501 w 6096001"/>
              <a:gd name="connsiteY1758" fmla="*/ 574428 h 5392467"/>
              <a:gd name="connsiteX1759" fmla="*/ 4014302 w 6096001"/>
              <a:gd name="connsiteY1759" fmla="*/ 572495 h 5392467"/>
              <a:gd name="connsiteX1760" fmla="*/ 4027842 w 6096001"/>
              <a:gd name="connsiteY1760" fmla="*/ 560890 h 5392467"/>
              <a:gd name="connsiteX1761" fmla="*/ 2269743 w 6096001"/>
              <a:gd name="connsiteY1761" fmla="*/ 560890 h 5392467"/>
              <a:gd name="connsiteX1762" fmla="*/ 2267808 w 6096001"/>
              <a:gd name="connsiteY1762" fmla="*/ 562823 h 5392467"/>
              <a:gd name="connsiteX1763" fmla="*/ 2267808 w 6096001"/>
              <a:gd name="connsiteY1763" fmla="*/ 564758 h 5392467"/>
              <a:gd name="connsiteX1764" fmla="*/ 2269743 w 6096001"/>
              <a:gd name="connsiteY1764" fmla="*/ 564758 h 5392467"/>
              <a:gd name="connsiteX1765" fmla="*/ 2269743 w 6096001"/>
              <a:gd name="connsiteY1765" fmla="*/ 560890 h 5392467"/>
              <a:gd name="connsiteX1766" fmla="*/ 4167097 w 6096001"/>
              <a:gd name="connsiteY1766" fmla="*/ 551218 h 5392467"/>
              <a:gd name="connsiteX1767" fmla="*/ 4163229 w 6096001"/>
              <a:gd name="connsiteY1767" fmla="*/ 555087 h 5392467"/>
              <a:gd name="connsiteX1768" fmla="*/ 4161296 w 6096001"/>
              <a:gd name="connsiteY1768" fmla="*/ 557022 h 5392467"/>
              <a:gd name="connsiteX1769" fmla="*/ 4167097 w 6096001"/>
              <a:gd name="connsiteY1769" fmla="*/ 551218 h 5392467"/>
              <a:gd name="connsiteX1770" fmla="*/ 4029775 w 6096001"/>
              <a:gd name="connsiteY1770" fmla="*/ 551218 h 5392467"/>
              <a:gd name="connsiteX1771" fmla="*/ 4029775 w 6096001"/>
              <a:gd name="connsiteY1771" fmla="*/ 555087 h 5392467"/>
              <a:gd name="connsiteX1772" fmla="*/ 4028324 w 6096001"/>
              <a:gd name="connsiteY1772" fmla="*/ 553636 h 5392467"/>
              <a:gd name="connsiteX1773" fmla="*/ 4028163 w 6096001"/>
              <a:gd name="connsiteY1773" fmla="*/ 552832 h 5392467"/>
              <a:gd name="connsiteX1774" fmla="*/ 4027840 w 6096001"/>
              <a:gd name="connsiteY1774" fmla="*/ 551216 h 5392467"/>
              <a:gd name="connsiteX1775" fmla="*/ 4027842 w 6096001"/>
              <a:gd name="connsiteY1775" fmla="*/ 551218 h 5392467"/>
              <a:gd name="connsiteX1776" fmla="*/ 4027841 w 6096001"/>
              <a:gd name="connsiteY1776" fmla="*/ 551219 h 5392467"/>
              <a:gd name="connsiteX1777" fmla="*/ 3540447 w 6096001"/>
              <a:gd name="connsiteY1777" fmla="*/ 547350 h 5392467"/>
              <a:gd name="connsiteX1778" fmla="*/ 3542382 w 6096001"/>
              <a:gd name="connsiteY1778" fmla="*/ 551218 h 5392467"/>
              <a:gd name="connsiteX1779" fmla="*/ 3534646 w 6096001"/>
              <a:gd name="connsiteY1779" fmla="*/ 555087 h 5392467"/>
              <a:gd name="connsiteX1780" fmla="*/ 3532710 w 6096001"/>
              <a:gd name="connsiteY1780" fmla="*/ 553154 h 5392467"/>
              <a:gd name="connsiteX1781" fmla="*/ 3540447 w 6096001"/>
              <a:gd name="connsiteY1781" fmla="*/ 547350 h 5392467"/>
              <a:gd name="connsiteX1782" fmla="*/ 3548183 w 6096001"/>
              <a:gd name="connsiteY1782" fmla="*/ 541549 h 5392467"/>
              <a:gd name="connsiteX1783" fmla="*/ 3550119 w 6096001"/>
              <a:gd name="connsiteY1783" fmla="*/ 543484 h 5392467"/>
              <a:gd name="connsiteX1784" fmla="*/ 3546248 w 6096001"/>
              <a:gd name="connsiteY1784" fmla="*/ 547350 h 5392467"/>
              <a:gd name="connsiteX1785" fmla="*/ 3544315 w 6096001"/>
              <a:gd name="connsiteY1785" fmla="*/ 545417 h 5392467"/>
              <a:gd name="connsiteX1786" fmla="*/ 3548183 w 6096001"/>
              <a:gd name="connsiteY1786" fmla="*/ 541549 h 5392467"/>
              <a:gd name="connsiteX1787" fmla="*/ 1641157 w 6096001"/>
              <a:gd name="connsiteY1787" fmla="*/ 539614 h 5392467"/>
              <a:gd name="connsiteX1788" fmla="*/ 1637292 w 6096001"/>
              <a:gd name="connsiteY1788" fmla="*/ 541549 h 5392467"/>
              <a:gd name="connsiteX1789" fmla="*/ 1637292 w 6096001"/>
              <a:gd name="connsiteY1789" fmla="*/ 547350 h 5392467"/>
              <a:gd name="connsiteX1790" fmla="*/ 1643093 w 6096001"/>
              <a:gd name="connsiteY1790" fmla="*/ 543484 h 5392467"/>
              <a:gd name="connsiteX1791" fmla="*/ 1641157 w 6096001"/>
              <a:gd name="connsiteY1791" fmla="*/ 539614 h 5392467"/>
              <a:gd name="connsiteX1792" fmla="*/ 1604410 w 6096001"/>
              <a:gd name="connsiteY1792" fmla="*/ 537681 h 5392467"/>
              <a:gd name="connsiteX1793" fmla="*/ 1602477 w 6096001"/>
              <a:gd name="connsiteY1793" fmla="*/ 547350 h 5392467"/>
              <a:gd name="connsiteX1794" fmla="*/ 1612147 w 6096001"/>
              <a:gd name="connsiteY1794" fmla="*/ 545417 h 5392467"/>
              <a:gd name="connsiteX1795" fmla="*/ 1614082 w 6096001"/>
              <a:gd name="connsiteY1795" fmla="*/ 537681 h 5392467"/>
              <a:gd name="connsiteX1796" fmla="*/ 1604410 w 6096001"/>
              <a:gd name="connsiteY1796" fmla="*/ 537681 h 5392467"/>
              <a:gd name="connsiteX1797" fmla="*/ 4130347 w 6096001"/>
              <a:gd name="connsiteY1797" fmla="*/ 528009 h 5392467"/>
              <a:gd name="connsiteX1798" fmla="*/ 4118745 w 6096001"/>
              <a:gd name="connsiteY1798" fmla="*/ 535745 h 5392467"/>
              <a:gd name="connsiteX1799" fmla="*/ 4130347 w 6096001"/>
              <a:gd name="connsiteY1799" fmla="*/ 528009 h 5392467"/>
              <a:gd name="connsiteX1800" fmla="*/ 4199976 w 6096001"/>
              <a:gd name="connsiteY1800" fmla="*/ 520275 h 5392467"/>
              <a:gd name="connsiteX1801" fmla="*/ 4176767 w 6096001"/>
              <a:gd name="connsiteY1801" fmla="*/ 531879 h 5392467"/>
              <a:gd name="connsiteX1802" fmla="*/ 4176767 w 6096001"/>
              <a:gd name="connsiteY1802" fmla="*/ 541549 h 5392467"/>
              <a:gd name="connsiteX1803" fmla="*/ 4178702 w 6096001"/>
              <a:gd name="connsiteY1803" fmla="*/ 541549 h 5392467"/>
              <a:gd name="connsiteX1804" fmla="*/ 4176767 w 6096001"/>
              <a:gd name="connsiteY1804" fmla="*/ 543484 h 5392467"/>
              <a:gd name="connsiteX1805" fmla="*/ 4176767 w 6096001"/>
              <a:gd name="connsiteY1805" fmla="*/ 547350 h 5392467"/>
              <a:gd name="connsiteX1806" fmla="*/ 4180635 w 6096001"/>
              <a:gd name="connsiteY1806" fmla="*/ 549285 h 5392467"/>
              <a:gd name="connsiteX1807" fmla="*/ 4199976 w 6096001"/>
              <a:gd name="connsiteY1807" fmla="*/ 520275 h 5392467"/>
              <a:gd name="connsiteX1808" fmla="*/ 4112941 w 6096001"/>
              <a:gd name="connsiteY1808" fmla="*/ 518339 h 5392467"/>
              <a:gd name="connsiteX1809" fmla="*/ 4105205 w 6096001"/>
              <a:gd name="connsiteY1809" fmla="*/ 520275 h 5392467"/>
              <a:gd name="connsiteX1810" fmla="*/ 4107138 w 6096001"/>
              <a:gd name="connsiteY1810" fmla="*/ 522208 h 5392467"/>
              <a:gd name="connsiteX1811" fmla="*/ 4112941 w 6096001"/>
              <a:gd name="connsiteY1811" fmla="*/ 518339 h 5392467"/>
              <a:gd name="connsiteX1812" fmla="*/ 4234790 w 6096001"/>
              <a:gd name="connsiteY1812" fmla="*/ 504802 h 5392467"/>
              <a:gd name="connsiteX1813" fmla="*/ 4225121 w 6096001"/>
              <a:gd name="connsiteY1813" fmla="*/ 512538 h 5392467"/>
              <a:gd name="connsiteX1814" fmla="*/ 4234790 w 6096001"/>
              <a:gd name="connsiteY1814" fmla="*/ 504802 h 5392467"/>
              <a:gd name="connsiteX1815" fmla="*/ 4917188 w 6096001"/>
              <a:gd name="connsiteY1815" fmla="*/ 495811 h 5392467"/>
              <a:gd name="connsiteX1816" fmla="*/ 4913661 w 6096001"/>
              <a:gd name="connsiteY1816" fmla="*/ 502866 h 5392467"/>
              <a:gd name="connsiteX1817" fmla="*/ 4911725 w 6096001"/>
              <a:gd name="connsiteY1817" fmla="*/ 500933 h 5392467"/>
              <a:gd name="connsiteX1818" fmla="*/ 4914633 w 6096001"/>
              <a:gd name="connsiteY1818" fmla="*/ 498025 h 5392467"/>
              <a:gd name="connsiteX1819" fmla="*/ 4252196 w 6096001"/>
              <a:gd name="connsiteY1819" fmla="*/ 495130 h 5392467"/>
              <a:gd name="connsiteX1820" fmla="*/ 4234790 w 6096001"/>
              <a:gd name="connsiteY1820" fmla="*/ 506735 h 5392467"/>
              <a:gd name="connsiteX1821" fmla="*/ 4242527 w 6096001"/>
              <a:gd name="connsiteY1821" fmla="*/ 508670 h 5392467"/>
              <a:gd name="connsiteX1822" fmla="*/ 4252196 w 6096001"/>
              <a:gd name="connsiteY1822" fmla="*/ 495130 h 5392467"/>
              <a:gd name="connsiteX1823" fmla="*/ 4184503 w 6096001"/>
              <a:gd name="connsiteY1823" fmla="*/ 495130 h 5392467"/>
              <a:gd name="connsiteX1824" fmla="*/ 4178702 w 6096001"/>
              <a:gd name="connsiteY1824" fmla="*/ 498998 h 5392467"/>
              <a:gd name="connsiteX1825" fmla="*/ 4149689 w 6096001"/>
              <a:gd name="connsiteY1825" fmla="*/ 512538 h 5392467"/>
              <a:gd name="connsiteX1826" fmla="*/ 4140019 w 6096001"/>
              <a:gd name="connsiteY1826" fmla="*/ 524143 h 5392467"/>
              <a:gd name="connsiteX1827" fmla="*/ 4143888 w 6096001"/>
              <a:gd name="connsiteY1827" fmla="*/ 529944 h 5392467"/>
              <a:gd name="connsiteX1828" fmla="*/ 4157425 w 6096001"/>
              <a:gd name="connsiteY1828" fmla="*/ 526076 h 5392467"/>
              <a:gd name="connsiteX1829" fmla="*/ 4159361 w 6096001"/>
              <a:gd name="connsiteY1829" fmla="*/ 526076 h 5392467"/>
              <a:gd name="connsiteX1830" fmla="*/ 4159361 w 6096001"/>
              <a:gd name="connsiteY1830" fmla="*/ 528009 h 5392467"/>
              <a:gd name="connsiteX1831" fmla="*/ 4163229 w 6096001"/>
              <a:gd name="connsiteY1831" fmla="*/ 529944 h 5392467"/>
              <a:gd name="connsiteX1832" fmla="*/ 4163229 w 6096001"/>
              <a:gd name="connsiteY1832" fmla="*/ 526076 h 5392467"/>
              <a:gd name="connsiteX1833" fmla="*/ 4169030 w 6096001"/>
              <a:gd name="connsiteY1833" fmla="*/ 516406 h 5392467"/>
              <a:gd name="connsiteX1834" fmla="*/ 4192240 w 6096001"/>
              <a:gd name="connsiteY1834" fmla="*/ 498998 h 5392467"/>
              <a:gd name="connsiteX1835" fmla="*/ 4190307 w 6096001"/>
              <a:gd name="connsiteY1835" fmla="*/ 495130 h 5392467"/>
              <a:gd name="connsiteX1836" fmla="*/ 4184503 w 6096001"/>
              <a:gd name="connsiteY1836" fmla="*/ 495130 h 5392467"/>
              <a:gd name="connsiteX1837" fmla="*/ 4143888 w 6096001"/>
              <a:gd name="connsiteY1837" fmla="*/ 489329 h 5392467"/>
              <a:gd name="connsiteX1838" fmla="*/ 4136151 w 6096001"/>
              <a:gd name="connsiteY1838" fmla="*/ 491262 h 5392467"/>
              <a:gd name="connsiteX1839" fmla="*/ 4136151 w 6096001"/>
              <a:gd name="connsiteY1839" fmla="*/ 493197 h 5392467"/>
              <a:gd name="connsiteX1840" fmla="*/ 4143888 w 6096001"/>
              <a:gd name="connsiteY1840" fmla="*/ 491262 h 5392467"/>
              <a:gd name="connsiteX1841" fmla="*/ 4143888 w 6096001"/>
              <a:gd name="connsiteY1841" fmla="*/ 489329 h 5392467"/>
              <a:gd name="connsiteX1842" fmla="*/ 4128415 w 6096001"/>
              <a:gd name="connsiteY1842" fmla="*/ 489329 h 5392467"/>
              <a:gd name="connsiteX1843" fmla="*/ 4114877 w 6096001"/>
              <a:gd name="connsiteY1843" fmla="*/ 497065 h 5392467"/>
              <a:gd name="connsiteX1844" fmla="*/ 4116810 w 6096001"/>
              <a:gd name="connsiteY1844" fmla="*/ 498998 h 5392467"/>
              <a:gd name="connsiteX1845" fmla="*/ 4128415 w 6096001"/>
              <a:gd name="connsiteY1845" fmla="*/ 489329 h 5392467"/>
              <a:gd name="connsiteX1846" fmla="*/ 3488227 w 6096001"/>
              <a:gd name="connsiteY1846" fmla="*/ 485460 h 5392467"/>
              <a:gd name="connsiteX1847" fmla="*/ 3486294 w 6096001"/>
              <a:gd name="connsiteY1847" fmla="*/ 487393 h 5392467"/>
              <a:gd name="connsiteX1848" fmla="*/ 3480490 w 6096001"/>
              <a:gd name="connsiteY1848" fmla="*/ 491262 h 5392467"/>
              <a:gd name="connsiteX1849" fmla="*/ 3482423 w 6096001"/>
              <a:gd name="connsiteY1849" fmla="*/ 487393 h 5392467"/>
              <a:gd name="connsiteX1850" fmla="*/ 3488227 w 6096001"/>
              <a:gd name="connsiteY1850" fmla="*/ 485460 h 5392467"/>
              <a:gd name="connsiteX1851" fmla="*/ 4136151 w 6096001"/>
              <a:gd name="connsiteY1851" fmla="*/ 471920 h 5392467"/>
              <a:gd name="connsiteX1852" fmla="*/ 4128415 w 6096001"/>
              <a:gd name="connsiteY1852" fmla="*/ 477724 h 5392467"/>
              <a:gd name="connsiteX1853" fmla="*/ 4138086 w 6096001"/>
              <a:gd name="connsiteY1853" fmla="*/ 473856 h 5392467"/>
              <a:gd name="connsiteX1854" fmla="*/ 4136151 w 6096001"/>
              <a:gd name="connsiteY1854" fmla="*/ 471920 h 5392467"/>
              <a:gd name="connsiteX1855" fmla="*/ 4247120 w 6096001"/>
              <a:gd name="connsiteY1855" fmla="*/ 469019 h 5392467"/>
              <a:gd name="connsiteX1856" fmla="*/ 4244460 w 6096001"/>
              <a:gd name="connsiteY1856" fmla="*/ 469987 h 5392467"/>
              <a:gd name="connsiteX1857" fmla="*/ 4223186 w 6096001"/>
              <a:gd name="connsiteY1857" fmla="*/ 487393 h 5392467"/>
              <a:gd name="connsiteX1858" fmla="*/ 4190307 w 6096001"/>
              <a:gd name="connsiteY1858" fmla="*/ 504802 h 5392467"/>
              <a:gd name="connsiteX1859" fmla="*/ 4186438 w 6096001"/>
              <a:gd name="connsiteY1859" fmla="*/ 508670 h 5392467"/>
              <a:gd name="connsiteX1860" fmla="*/ 4190307 w 6096001"/>
              <a:gd name="connsiteY1860" fmla="*/ 512538 h 5392467"/>
              <a:gd name="connsiteX1861" fmla="*/ 4199976 w 6096001"/>
              <a:gd name="connsiteY1861" fmla="*/ 510603 h 5392467"/>
              <a:gd name="connsiteX1862" fmla="*/ 4232855 w 6096001"/>
              <a:gd name="connsiteY1862" fmla="*/ 489329 h 5392467"/>
              <a:gd name="connsiteX1863" fmla="*/ 4254132 w 6096001"/>
              <a:gd name="connsiteY1863" fmla="*/ 473856 h 5392467"/>
              <a:gd name="connsiteX1864" fmla="*/ 4247120 w 6096001"/>
              <a:gd name="connsiteY1864" fmla="*/ 469019 h 5392467"/>
              <a:gd name="connsiteX1865" fmla="*/ 4238659 w 6096001"/>
              <a:gd name="connsiteY1865" fmla="*/ 458383 h 5392467"/>
              <a:gd name="connsiteX1866" fmla="*/ 4232855 w 6096001"/>
              <a:gd name="connsiteY1866" fmla="*/ 460316 h 5392467"/>
              <a:gd name="connsiteX1867" fmla="*/ 4201911 w 6096001"/>
              <a:gd name="connsiteY1867" fmla="*/ 483525 h 5392467"/>
              <a:gd name="connsiteX1868" fmla="*/ 4201911 w 6096001"/>
              <a:gd name="connsiteY1868" fmla="*/ 485460 h 5392467"/>
              <a:gd name="connsiteX1869" fmla="*/ 4199976 w 6096001"/>
              <a:gd name="connsiteY1869" fmla="*/ 495130 h 5392467"/>
              <a:gd name="connsiteX1870" fmla="*/ 4215449 w 6096001"/>
              <a:gd name="connsiteY1870" fmla="*/ 483525 h 5392467"/>
              <a:gd name="connsiteX1871" fmla="*/ 4211581 w 6096001"/>
              <a:gd name="connsiteY1871" fmla="*/ 485460 h 5392467"/>
              <a:gd name="connsiteX1872" fmla="*/ 4209648 w 6096001"/>
              <a:gd name="connsiteY1872" fmla="*/ 481592 h 5392467"/>
              <a:gd name="connsiteX1873" fmla="*/ 4223186 w 6096001"/>
              <a:gd name="connsiteY1873" fmla="*/ 475789 h 5392467"/>
              <a:gd name="connsiteX1874" fmla="*/ 4240592 w 6096001"/>
              <a:gd name="connsiteY1874" fmla="*/ 462251 h 5392467"/>
              <a:gd name="connsiteX1875" fmla="*/ 4238659 w 6096001"/>
              <a:gd name="connsiteY1875" fmla="*/ 458383 h 5392467"/>
              <a:gd name="connsiteX1876" fmla="*/ 2836434 w 6096001"/>
              <a:gd name="connsiteY1876" fmla="*/ 448711 h 5392467"/>
              <a:gd name="connsiteX1877" fmla="*/ 2832566 w 6096001"/>
              <a:gd name="connsiteY1877" fmla="*/ 450646 h 5392467"/>
              <a:gd name="connsiteX1878" fmla="*/ 2828697 w 6096001"/>
              <a:gd name="connsiteY1878" fmla="*/ 454514 h 5392467"/>
              <a:gd name="connsiteX1879" fmla="*/ 2817093 w 6096001"/>
              <a:gd name="connsiteY1879" fmla="*/ 458383 h 5392467"/>
              <a:gd name="connsiteX1880" fmla="*/ 2819028 w 6096001"/>
              <a:gd name="connsiteY1880" fmla="*/ 464184 h 5392467"/>
              <a:gd name="connsiteX1881" fmla="*/ 2822896 w 6096001"/>
              <a:gd name="connsiteY1881" fmla="*/ 466119 h 5392467"/>
              <a:gd name="connsiteX1882" fmla="*/ 2828697 w 6096001"/>
              <a:gd name="connsiteY1882" fmla="*/ 462251 h 5392467"/>
              <a:gd name="connsiteX1883" fmla="*/ 2836434 w 6096001"/>
              <a:gd name="connsiteY1883" fmla="*/ 456450 h 5392467"/>
              <a:gd name="connsiteX1884" fmla="*/ 2838369 w 6096001"/>
              <a:gd name="connsiteY1884" fmla="*/ 454514 h 5392467"/>
              <a:gd name="connsiteX1885" fmla="*/ 2838369 w 6096001"/>
              <a:gd name="connsiteY1885" fmla="*/ 450646 h 5392467"/>
              <a:gd name="connsiteX1886" fmla="*/ 2836434 w 6096001"/>
              <a:gd name="connsiteY1886" fmla="*/ 448711 h 5392467"/>
              <a:gd name="connsiteX1887" fmla="*/ 4221253 w 6096001"/>
              <a:gd name="connsiteY1887" fmla="*/ 435173 h 5392467"/>
              <a:gd name="connsiteX1888" fmla="*/ 4211581 w 6096001"/>
              <a:gd name="connsiteY1888" fmla="*/ 442910 h 5392467"/>
              <a:gd name="connsiteX1889" fmla="*/ 4221253 w 6096001"/>
              <a:gd name="connsiteY1889" fmla="*/ 435173 h 5392467"/>
              <a:gd name="connsiteX1890" fmla="*/ 4316024 w 6096001"/>
              <a:gd name="connsiteY1890" fmla="*/ 415832 h 5392467"/>
              <a:gd name="connsiteX1891" fmla="*/ 4296682 w 6096001"/>
              <a:gd name="connsiteY1891" fmla="*/ 423568 h 5392467"/>
              <a:gd name="connsiteX1892" fmla="*/ 4298615 w 6096001"/>
              <a:gd name="connsiteY1892" fmla="*/ 425504 h 5392467"/>
              <a:gd name="connsiteX1893" fmla="*/ 4316024 w 6096001"/>
              <a:gd name="connsiteY1893" fmla="*/ 415832 h 5392467"/>
              <a:gd name="connsiteX1894" fmla="*/ 4263560 w 6096001"/>
              <a:gd name="connsiteY1894" fmla="*/ 406645 h 5392467"/>
              <a:gd name="connsiteX1895" fmla="*/ 4256065 w 6096001"/>
              <a:gd name="connsiteY1895" fmla="*/ 413899 h 5392467"/>
              <a:gd name="connsiteX1896" fmla="*/ 4269605 w 6096001"/>
              <a:gd name="connsiteY1896" fmla="*/ 413899 h 5392467"/>
              <a:gd name="connsiteX1897" fmla="*/ 4263560 w 6096001"/>
              <a:gd name="connsiteY1897" fmla="*/ 406645 h 5392467"/>
              <a:gd name="connsiteX1898" fmla="*/ 4319890 w 6096001"/>
              <a:gd name="connsiteY1898" fmla="*/ 406162 h 5392467"/>
              <a:gd name="connsiteX1899" fmla="*/ 4319890 w 6096001"/>
              <a:gd name="connsiteY1899" fmla="*/ 411964 h 5392467"/>
              <a:gd name="connsiteX1900" fmla="*/ 4327626 w 6096001"/>
              <a:gd name="connsiteY1900" fmla="*/ 413899 h 5392467"/>
              <a:gd name="connsiteX1901" fmla="*/ 4325693 w 6096001"/>
              <a:gd name="connsiteY1901" fmla="*/ 406162 h 5392467"/>
              <a:gd name="connsiteX1902" fmla="*/ 4319890 w 6096001"/>
              <a:gd name="connsiteY1902" fmla="*/ 406162 h 5392467"/>
              <a:gd name="connsiteX1903" fmla="*/ 4304417 w 6096001"/>
              <a:gd name="connsiteY1903" fmla="*/ 381018 h 5392467"/>
              <a:gd name="connsiteX1904" fmla="*/ 4300548 w 6096001"/>
              <a:gd name="connsiteY1904" fmla="*/ 382953 h 5392467"/>
              <a:gd name="connsiteX1905" fmla="*/ 4298615 w 6096001"/>
              <a:gd name="connsiteY1905" fmla="*/ 388754 h 5392467"/>
              <a:gd name="connsiteX1906" fmla="*/ 4304417 w 6096001"/>
              <a:gd name="connsiteY1906" fmla="*/ 384886 h 5392467"/>
              <a:gd name="connsiteX1907" fmla="*/ 4304417 w 6096001"/>
              <a:gd name="connsiteY1907" fmla="*/ 381018 h 5392467"/>
              <a:gd name="connsiteX1908" fmla="*/ 4316024 w 6096001"/>
              <a:gd name="connsiteY1908" fmla="*/ 373281 h 5392467"/>
              <a:gd name="connsiteX1909" fmla="*/ 4314088 w 6096001"/>
              <a:gd name="connsiteY1909" fmla="*/ 379085 h 5392467"/>
              <a:gd name="connsiteX1910" fmla="*/ 4317957 w 6096001"/>
              <a:gd name="connsiteY1910" fmla="*/ 375216 h 5392467"/>
              <a:gd name="connsiteX1911" fmla="*/ 4316024 w 6096001"/>
              <a:gd name="connsiteY1911" fmla="*/ 373281 h 5392467"/>
              <a:gd name="connsiteX1912" fmla="*/ 4366309 w 6096001"/>
              <a:gd name="connsiteY1912" fmla="*/ 350074 h 5392467"/>
              <a:gd name="connsiteX1913" fmla="*/ 4337298 w 6096001"/>
              <a:gd name="connsiteY1913" fmla="*/ 369415 h 5392467"/>
              <a:gd name="connsiteX1914" fmla="*/ 4366309 w 6096001"/>
              <a:gd name="connsiteY1914" fmla="*/ 350074 h 5392467"/>
              <a:gd name="connsiteX1915" fmla="*/ 4780207 w 6096001"/>
              <a:gd name="connsiteY1915" fmla="*/ 321061 h 5392467"/>
              <a:gd name="connsiteX1916" fmla="*/ 4778272 w 6096001"/>
              <a:gd name="connsiteY1916" fmla="*/ 322996 h 5392467"/>
              <a:gd name="connsiteX1917" fmla="*/ 4782140 w 6096001"/>
              <a:gd name="connsiteY1917" fmla="*/ 328797 h 5392467"/>
              <a:gd name="connsiteX1918" fmla="*/ 4784075 w 6096001"/>
              <a:gd name="connsiteY1918" fmla="*/ 326864 h 5392467"/>
              <a:gd name="connsiteX1919" fmla="*/ 4780207 w 6096001"/>
              <a:gd name="connsiteY1919" fmla="*/ 321061 h 5392467"/>
              <a:gd name="connsiteX1920" fmla="*/ 4795680 w 6096001"/>
              <a:gd name="connsiteY1920" fmla="*/ 317192 h 5392467"/>
              <a:gd name="connsiteX1921" fmla="*/ 4795680 w 6096001"/>
              <a:gd name="connsiteY1921" fmla="*/ 319128 h 5392467"/>
              <a:gd name="connsiteX1922" fmla="*/ 4787944 w 6096001"/>
              <a:gd name="connsiteY1922" fmla="*/ 324929 h 5392467"/>
              <a:gd name="connsiteX1923" fmla="*/ 4787138 w 6096001"/>
              <a:gd name="connsiteY1923" fmla="*/ 323317 h 5392467"/>
              <a:gd name="connsiteX1924" fmla="*/ 4787420 w 6096001"/>
              <a:gd name="connsiteY1924" fmla="*/ 320497 h 5392467"/>
              <a:gd name="connsiteX1925" fmla="*/ 4420464 w 6096001"/>
              <a:gd name="connsiteY1925" fmla="*/ 313324 h 5392467"/>
              <a:gd name="connsiteX1926" fmla="*/ 4385650 w 6096001"/>
              <a:gd name="connsiteY1926" fmla="*/ 326864 h 5392467"/>
              <a:gd name="connsiteX1927" fmla="*/ 4370177 w 6096001"/>
              <a:gd name="connsiteY1927" fmla="*/ 340402 h 5392467"/>
              <a:gd name="connsiteX1928" fmla="*/ 4375980 w 6096001"/>
              <a:gd name="connsiteY1928" fmla="*/ 342335 h 5392467"/>
              <a:gd name="connsiteX1929" fmla="*/ 4408859 w 6096001"/>
              <a:gd name="connsiteY1929" fmla="*/ 324929 h 5392467"/>
              <a:gd name="connsiteX1930" fmla="*/ 4420464 w 6096001"/>
              <a:gd name="connsiteY1930" fmla="*/ 313324 h 5392467"/>
              <a:gd name="connsiteX1931" fmla="*/ 4453343 w 6096001"/>
              <a:gd name="connsiteY1931" fmla="*/ 299786 h 5392467"/>
              <a:gd name="connsiteX1932" fmla="*/ 4428201 w 6096001"/>
              <a:gd name="connsiteY1932" fmla="*/ 313324 h 5392467"/>
              <a:gd name="connsiteX1933" fmla="*/ 4430134 w 6096001"/>
              <a:gd name="connsiteY1933" fmla="*/ 315260 h 5392467"/>
              <a:gd name="connsiteX1934" fmla="*/ 4453343 w 6096001"/>
              <a:gd name="connsiteY1934" fmla="*/ 299786 h 5392467"/>
              <a:gd name="connsiteX1935" fmla="*/ 4787944 w 6096001"/>
              <a:gd name="connsiteY1935" fmla="*/ 295918 h 5392467"/>
              <a:gd name="connsiteX1936" fmla="*/ 4787944 w 6096001"/>
              <a:gd name="connsiteY1936" fmla="*/ 311391 h 5392467"/>
              <a:gd name="connsiteX1937" fmla="*/ 4787944 w 6096001"/>
              <a:gd name="connsiteY1937" fmla="*/ 295918 h 5392467"/>
              <a:gd name="connsiteX1938" fmla="*/ 4517168 w 6096001"/>
              <a:gd name="connsiteY1938" fmla="*/ 282378 h 5392467"/>
              <a:gd name="connsiteX1939" fmla="*/ 4515235 w 6096001"/>
              <a:gd name="connsiteY1939" fmla="*/ 286246 h 5392467"/>
              <a:gd name="connsiteX1940" fmla="*/ 4521036 w 6096001"/>
              <a:gd name="connsiteY1940" fmla="*/ 288182 h 5392467"/>
              <a:gd name="connsiteX1941" fmla="*/ 4521036 w 6096001"/>
              <a:gd name="connsiteY1941" fmla="*/ 282378 h 5392467"/>
              <a:gd name="connsiteX1942" fmla="*/ 4517168 w 6096001"/>
              <a:gd name="connsiteY1942" fmla="*/ 282378 h 5392467"/>
              <a:gd name="connsiteX1943" fmla="*/ 4764734 w 6096001"/>
              <a:gd name="connsiteY1943" fmla="*/ 276577 h 5392467"/>
              <a:gd name="connsiteX1944" fmla="*/ 4765701 w 6096001"/>
              <a:gd name="connsiteY1944" fmla="*/ 277543 h 5392467"/>
              <a:gd name="connsiteX1945" fmla="*/ 4764734 w 6096001"/>
              <a:gd name="connsiteY1945" fmla="*/ 278510 h 5392467"/>
              <a:gd name="connsiteX1946" fmla="*/ 4764033 w 6096001"/>
              <a:gd name="connsiteY1946" fmla="*/ 277208 h 5392467"/>
              <a:gd name="connsiteX1947" fmla="*/ 4567455 w 6096001"/>
              <a:gd name="connsiteY1947" fmla="*/ 268840 h 5392467"/>
              <a:gd name="connsiteX1948" fmla="*/ 4548114 w 6096001"/>
              <a:gd name="connsiteY1948" fmla="*/ 278510 h 5392467"/>
              <a:gd name="connsiteX1949" fmla="*/ 4567455 w 6096001"/>
              <a:gd name="connsiteY1949" fmla="*/ 268840 h 5392467"/>
              <a:gd name="connsiteX1950" fmla="*/ 4572774 w 6096001"/>
              <a:gd name="connsiteY1950" fmla="*/ 254576 h 5392467"/>
              <a:gd name="connsiteX1951" fmla="*/ 4571324 w 6096001"/>
              <a:gd name="connsiteY1951" fmla="*/ 261104 h 5392467"/>
              <a:gd name="connsiteX1952" fmla="*/ 4582928 w 6096001"/>
              <a:gd name="connsiteY1952" fmla="*/ 255300 h 5392467"/>
              <a:gd name="connsiteX1953" fmla="*/ 4572774 w 6096001"/>
              <a:gd name="connsiteY1953" fmla="*/ 254576 h 5392467"/>
              <a:gd name="connsiteX1954" fmla="*/ 4727987 w 6096001"/>
              <a:gd name="connsiteY1954" fmla="*/ 253367 h 5392467"/>
              <a:gd name="connsiteX1955" fmla="*/ 4710579 w 6096001"/>
              <a:gd name="connsiteY1955" fmla="*/ 266905 h 5392467"/>
              <a:gd name="connsiteX1956" fmla="*/ 4727987 w 6096001"/>
              <a:gd name="connsiteY1956" fmla="*/ 253367 h 5392467"/>
              <a:gd name="connsiteX1957" fmla="*/ 4596469 w 6096001"/>
              <a:gd name="connsiteY1957" fmla="*/ 243698 h 5392467"/>
              <a:gd name="connsiteX1958" fmla="*/ 4582928 w 6096001"/>
              <a:gd name="connsiteY1958" fmla="*/ 249499 h 5392467"/>
              <a:gd name="connsiteX1959" fmla="*/ 4596469 w 6096001"/>
              <a:gd name="connsiteY1959" fmla="*/ 243698 h 5392467"/>
              <a:gd name="connsiteX1960" fmla="*/ 4563587 w 6096001"/>
              <a:gd name="connsiteY1960" fmla="*/ 230158 h 5392467"/>
              <a:gd name="connsiteX1961" fmla="*/ 4557367 w 6096001"/>
              <a:gd name="connsiteY1961" fmla="*/ 234824 h 5392467"/>
              <a:gd name="connsiteX1962" fmla="*/ 4555372 w 6096001"/>
              <a:gd name="connsiteY1962" fmla="*/ 235482 h 5392467"/>
              <a:gd name="connsiteX1963" fmla="*/ 4555078 w 6096001"/>
              <a:gd name="connsiteY1963" fmla="*/ 235188 h 5392467"/>
              <a:gd name="connsiteX1964" fmla="*/ 4561177 w 6096001"/>
              <a:gd name="connsiteY1964" fmla="*/ 231122 h 5392467"/>
              <a:gd name="connsiteX1965" fmla="*/ 4712514 w 6096001"/>
              <a:gd name="connsiteY1965" fmla="*/ 228225 h 5392467"/>
              <a:gd name="connsiteX1966" fmla="*/ 4704777 w 6096001"/>
              <a:gd name="connsiteY1966" fmla="*/ 237894 h 5392467"/>
              <a:gd name="connsiteX1967" fmla="*/ 4712514 w 6096001"/>
              <a:gd name="connsiteY1967" fmla="*/ 228225 h 5392467"/>
              <a:gd name="connsiteX1968" fmla="*/ 3863443 w 6096001"/>
              <a:gd name="connsiteY1968" fmla="*/ 0 h 5392467"/>
              <a:gd name="connsiteX1969" fmla="*/ 3869244 w 6096001"/>
              <a:gd name="connsiteY1969" fmla="*/ 3868 h 5392467"/>
              <a:gd name="connsiteX1970" fmla="*/ 3867311 w 6096001"/>
              <a:gd name="connsiteY1970" fmla="*/ 7737 h 5392467"/>
              <a:gd name="connsiteX1971" fmla="*/ 3865376 w 6096001"/>
              <a:gd name="connsiteY1971" fmla="*/ 9670 h 5392467"/>
              <a:gd name="connsiteX1972" fmla="*/ 3859574 w 6096001"/>
              <a:gd name="connsiteY1972" fmla="*/ 21274 h 5392467"/>
              <a:gd name="connsiteX1973" fmla="*/ 3853771 w 6096001"/>
              <a:gd name="connsiteY1973" fmla="*/ 32879 h 5392467"/>
              <a:gd name="connsiteX1974" fmla="*/ 3826693 w 6096001"/>
              <a:gd name="connsiteY1974" fmla="*/ 50288 h 5392467"/>
              <a:gd name="connsiteX1975" fmla="*/ 3795749 w 6096001"/>
              <a:gd name="connsiteY1975" fmla="*/ 71562 h 5392467"/>
              <a:gd name="connsiteX1976" fmla="*/ 3791881 w 6096001"/>
              <a:gd name="connsiteY1976" fmla="*/ 79298 h 5392467"/>
              <a:gd name="connsiteX1977" fmla="*/ 3795749 w 6096001"/>
              <a:gd name="connsiteY1977" fmla="*/ 87035 h 5392467"/>
              <a:gd name="connsiteX1978" fmla="*/ 3799618 w 6096001"/>
              <a:gd name="connsiteY1978" fmla="*/ 88970 h 5392467"/>
              <a:gd name="connsiteX1979" fmla="*/ 3801551 w 6096001"/>
              <a:gd name="connsiteY1979" fmla="*/ 92836 h 5392467"/>
              <a:gd name="connsiteX1980" fmla="*/ 3799618 w 6096001"/>
              <a:gd name="connsiteY1980" fmla="*/ 94771 h 5392467"/>
              <a:gd name="connsiteX1981" fmla="*/ 3789946 w 6096001"/>
              <a:gd name="connsiteY1981" fmla="*/ 96704 h 5392467"/>
              <a:gd name="connsiteX1982" fmla="*/ 3774475 w 6096001"/>
              <a:gd name="connsiteY1982" fmla="*/ 104441 h 5392467"/>
              <a:gd name="connsiteX1983" fmla="*/ 3764803 w 6096001"/>
              <a:gd name="connsiteY1983" fmla="*/ 106376 h 5392467"/>
              <a:gd name="connsiteX1984" fmla="*/ 3760935 w 6096001"/>
              <a:gd name="connsiteY1984" fmla="*/ 112177 h 5392467"/>
              <a:gd name="connsiteX1985" fmla="*/ 3751266 w 6096001"/>
              <a:gd name="connsiteY1985" fmla="*/ 119914 h 5392467"/>
              <a:gd name="connsiteX1986" fmla="*/ 3745462 w 6096001"/>
              <a:gd name="connsiteY1986" fmla="*/ 125717 h 5392467"/>
              <a:gd name="connsiteX1987" fmla="*/ 3739658 w 6096001"/>
              <a:gd name="connsiteY1987" fmla="*/ 133454 h 5392467"/>
              <a:gd name="connsiteX1988" fmla="*/ 3726121 w 6096001"/>
              <a:gd name="connsiteY1988" fmla="*/ 141190 h 5392467"/>
              <a:gd name="connsiteX1989" fmla="*/ 3722253 w 6096001"/>
              <a:gd name="connsiteY1989" fmla="*/ 154728 h 5392467"/>
              <a:gd name="connsiteX1990" fmla="*/ 3728056 w 6096001"/>
              <a:gd name="connsiteY1990" fmla="*/ 158596 h 5392467"/>
              <a:gd name="connsiteX1991" fmla="*/ 3729989 w 6096001"/>
              <a:gd name="connsiteY1991" fmla="*/ 160532 h 5392467"/>
              <a:gd name="connsiteX1992" fmla="*/ 3728056 w 6096001"/>
              <a:gd name="connsiteY1992" fmla="*/ 164400 h 5392467"/>
              <a:gd name="connsiteX1993" fmla="*/ 3724188 w 6096001"/>
              <a:gd name="connsiteY1993" fmla="*/ 166333 h 5392467"/>
              <a:gd name="connsiteX1994" fmla="*/ 3720320 w 6096001"/>
              <a:gd name="connsiteY1994" fmla="*/ 168266 h 5392467"/>
              <a:gd name="connsiteX1995" fmla="*/ 3714516 w 6096001"/>
              <a:gd name="connsiteY1995" fmla="*/ 176005 h 5392467"/>
              <a:gd name="connsiteX1996" fmla="*/ 3697110 w 6096001"/>
              <a:gd name="connsiteY1996" fmla="*/ 185674 h 5392467"/>
              <a:gd name="connsiteX1997" fmla="*/ 3687441 w 6096001"/>
              <a:gd name="connsiteY1997" fmla="*/ 195343 h 5392467"/>
              <a:gd name="connsiteX1998" fmla="*/ 3679702 w 6096001"/>
              <a:gd name="connsiteY1998" fmla="*/ 201147 h 5392467"/>
              <a:gd name="connsiteX1999" fmla="*/ 3662296 w 6096001"/>
              <a:gd name="connsiteY1999" fmla="*/ 206948 h 5392467"/>
              <a:gd name="connsiteX2000" fmla="*/ 3648758 w 6096001"/>
              <a:gd name="connsiteY2000" fmla="*/ 214685 h 5392467"/>
              <a:gd name="connsiteX2001" fmla="*/ 3635218 w 6096001"/>
              <a:gd name="connsiteY2001" fmla="*/ 232093 h 5392467"/>
              <a:gd name="connsiteX2002" fmla="*/ 3631350 w 6096001"/>
              <a:gd name="connsiteY2002" fmla="*/ 237894 h 5392467"/>
              <a:gd name="connsiteX2003" fmla="*/ 3608140 w 6096001"/>
              <a:gd name="connsiteY2003" fmla="*/ 253367 h 5392467"/>
              <a:gd name="connsiteX2004" fmla="*/ 3606207 w 6096001"/>
              <a:gd name="connsiteY2004" fmla="*/ 259171 h 5392467"/>
              <a:gd name="connsiteX2005" fmla="*/ 3606207 w 6096001"/>
              <a:gd name="connsiteY2005" fmla="*/ 263039 h 5392467"/>
              <a:gd name="connsiteX2006" fmla="*/ 3594602 w 6096001"/>
              <a:gd name="connsiteY2006" fmla="*/ 276577 h 5392467"/>
              <a:gd name="connsiteX2007" fmla="*/ 3586866 w 6096001"/>
              <a:gd name="connsiteY2007" fmla="*/ 282378 h 5392467"/>
              <a:gd name="connsiteX2008" fmla="*/ 3582998 w 6096001"/>
              <a:gd name="connsiteY2008" fmla="*/ 288182 h 5392467"/>
              <a:gd name="connsiteX2009" fmla="*/ 3586866 w 6096001"/>
              <a:gd name="connsiteY2009" fmla="*/ 311391 h 5392467"/>
              <a:gd name="connsiteX2010" fmla="*/ 3594602 w 6096001"/>
              <a:gd name="connsiteY2010" fmla="*/ 322996 h 5392467"/>
              <a:gd name="connsiteX2011" fmla="*/ 3594602 w 6096001"/>
              <a:gd name="connsiteY2011" fmla="*/ 326864 h 5392467"/>
              <a:gd name="connsiteX2012" fmla="*/ 3569458 w 6096001"/>
              <a:gd name="connsiteY2012" fmla="*/ 342335 h 5392467"/>
              <a:gd name="connsiteX2013" fmla="*/ 3563656 w 6096001"/>
              <a:gd name="connsiteY2013" fmla="*/ 342335 h 5392467"/>
              <a:gd name="connsiteX2014" fmla="*/ 3559788 w 6096001"/>
              <a:gd name="connsiteY2014" fmla="*/ 350074 h 5392467"/>
              <a:gd name="connsiteX2015" fmla="*/ 3561723 w 6096001"/>
              <a:gd name="connsiteY2015" fmla="*/ 352007 h 5392467"/>
              <a:gd name="connsiteX2016" fmla="*/ 3563656 w 6096001"/>
              <a:gd name="connsiteY2016" fmla="*/ 352007 h 5392467"/>
              <a:gd name="connsiteX2017" fmla="*/ 3561723 w 6096001"/>
              <a:gd name="connsiteY2017" fmla="*/ 361676 h 5392467"/>
              <a:gd name="connsiteX2018" fmla="*/ 3555920 w 6096001"/>
              <a:gd name="connsiteY2018" fmla="*/ 363612 h 5392467"/>
              <a:gd name="connsiteX2019" fmla="*/ 3552052 w 6096001"/>
              <a:gd name="connsiteY2019" fmla="*/ 365544 h 5392467"/>
              <a:gd name="connsiteX2020" fmla="*/ 3548183 w 6096001"/>
              <a:gd name="connsiteY2020" fmla="*/ 371348 h 5392467"/>
              <a:gd name="connsiteX2021" fmla="*/ 3538514 w 6096001"/>
              <a:gd name="connsiteY2021" fmla="*/ 379085 h 5392467"/>
              <a:gd name="connsiteX2022" fmla="*/ 3532710 w 6096001"/>
              <a:gd name="connsiteY2022" fmla="*/ 386821 h 5392467"/>
              <a:gd name="connsiteX2023" fmla="*/ 3524974 w 6096001"/>
              <a:gd name="connsiteY2023" fmla="*/ 398426 h 5392467"/>
              <a:gd name="connsiteX2024" fmla="*/ 3511436 w 6096001"/>
              <a:gd name="connsiteY2024" fmla="*/ 411964 h 5392467"/>
              <a:gd name="connsiteX2025" fmla="*/ 3503700 w 6096001"/>
              <a:gd name="connsiteY2025" fmla="*/ 417767 h 5392467"/>
              <a:gd name="connsiteX2026" fmla="*/ 3494030 w 6096001"/>
              <a:gd name="connsiteY2026" fmla="*/ 425504 h 5392467"/>
              <a:gd name="connsiteX2027" fmla="*/ 3486294 w 6096001"/>
              <a:gd name="connsiteY2027" fmla="*/ 435173 h 5392467"/>
              <a:gd name="connsiteX2028" fmla="*/ 3488227 w 6096001"/>
              <a:gd name="connsiteY2028" fmla="*/ 439041 h 5392467"/>
              <a:gd name="connsiteX2029" fmla="*/ 3495963 w 6096001"/>
              <a:gd name="connsiteY2029" fmla="*/ 435173 h 5392467"/>
              <a:gd name="connsiteX2030" fmla="*/ 3499831 w 6096001"/>
              <a:gd name="connsiteY2030" fmla="*/ 431305 h 5392467"/>
              <a:gd name="connsiteX2031" fmla="*/ 3505633 w 6096001"/>
              <a:gd name="connsiteY2031" fmla="*/ 433240 h 5392467"/>
              <a:gd name="connsiteX2032" fmla="*/ 3505633 w 6096001"/>
              <a:gd name="connsiteY2032" fmla="*/ 440974 h 5392467"/>
              <a:gd name="connsiteX2033" fmla="*/ 3503700 w 6096001"/>
              <a:gd name="connsiteY2033" fmla="*/ 444845 h 5392467"/>
              <a:gd name="connsiteX2034" fmla="*/ 3492095 w 6096001"/>
              <a:gd name="connsiteY2034" fmla="*/ 462251 h 5392467"/>
              <a:gd name="connsiteX2035" fmla="*/ 3470821 w 6096001"/>
              <a:gd name="connsiteY2035" fmla="*/ 475789 h 5392467"/>
              <a:gd name="connsiteX2036" fmla="*/ 3472754 w 6096001"/>
              <a:gd name="connsiteY2036" fmla="*/ 475789 h 5392467"/>
              <a:gd name="connsiteX2037" fmla="*/ 3484358 w 6096001"/>
              <a:gd name="connsiteY2037" fmla="*/ 473856 h 5392467"/>
              <a:gd name="connsiteX2038" fmla="*/ 3524974 w 6096001"/>
              <a:gd name="connsiteY2038" fmla="*/ 460316 h 5392467"/>
              <a:gd name="connsiteX2039" fmla="*/ 3524974 w 6096001"/>
              <a:gd name="connsiteY2039" fmla="*/ 466119 h 5392467"/>
              <a:gd name="connsiteX2040" fmla="*/ 3501764 w 6096001"/>
              <a:gd name="connsiteY2040" fmla="*/ 473856 h 5392467"/>
              <a:gd name="connsiteX2041" fmla="*/ 3494030 w 6096001"/>
              <a:gd name="connsiteY2041" fmla="*/ 475789 h 5392467"/>
              <a:gd name="connsiteX2042" fmla="*/ 3480490 w 6096001"/>
              <a:gd name="connsiteY2042" fmla="*/ 479657 h 5392467"/>
              <a:gd name="connsiteX2043" fmla="*/ 3474689 w 6096001"/>
              <a:gd name="connsiteY2043" fmla="*/ 481592 h 5392467"/>
              <a:gd name="connsiteX2044" fmla="*/ 3449544 w 6096001"/>
              <a:gd name="connsiteY2044" fmla="*/ 493197 h 5392467"/>
              <a:gd name="connsiteX2045" fmla="*/ 3447611 w 6096001"/>
              <a:gd name="connsiteY2045" fmla="*/ 493197 h 5392467"/>
              <a:gd name="connsiteX2046" fmla="*/ 3443743 w 6096001"/>
              <a:gd name="connsiteY2046" fmla="*/ 498998 h 5392467"/>
              <a:gd name="connsiteX2047" fmla="*/ 3437939 w 6096001"/>
              <a:gd name="connsiteY2047" fmla="*/ 502866 h 5392467"/>
              <a:gd name="connsiteX2048" fmla="*/ 3437939 w 6096001"/>
              <a:gd name="connsiteY2048" fmla="*/ 504802 h 5392467"/>
              <a:gd name="connsiteX2049" fmla="*/ 3443743 w 6096001"/>
              <a:gd name="connsiteY2049" fmla="*/ 508670 h 5392467"/>
              <a:gd name="connsiteX2050" fmla="*/ 3434071 w 6096001"/>
              <a:gd name="connsiteY2050" fmla="*/ 516406 h 5392467"/>
              <a:gd name="connsiteX2051" fmla="*/ 3497896 w 6096001"/>
              <a:gd name="connsiteY2051" fmla="*/ 502866 h 5392467"/>
              <a:gd name="connsiteX2052" fmla="*/ 3488227 w 6096001"/>
              <a:gd name="connsiteY2052" fmla="*/ 514471 h 5392467"/>
              <a:gd name="connsiteX2053" fmla="*/ 3501764 w 6096001"/>
              <a:gd name="connsiteY2053" fmla="*/ 508670 h 5392467"/>
              <a:gd name="connsiteX2054" fmla="*/ 3569458 w 6096001"/>
              <a:gd name="connsiteY2054" fmla="*/ 487393 h 5392467"/>
              <a:gd name="connsiteX2055" fmla="*/ 3563656 w 6096001"/>
              <a:gd name="connsiteY2055" fmla="*/ 495130 h 5392467"/>
              <a:gd name="connsiteX2056" fmla="*/ 3571393 w 6096001"/>
              <a:gd name="connsiteY2056" fmla="*/ 498998 h 5392467"/>
              <a:gd name="connsiteX2057" fmla="*/ 3538514 w 6096001"/>
              <a:gd name="connsiteY2057" fmla="*/ 510603 h 5392467"/>
              <a:gd name="connsiteX2058" fmla="*/ 3534646 w 6096001"/>
              <a:gd name="connsiteY2058" fmla="*/ 510603 h 5392467"/>
              <a:gd name="connsiteX2059" fmla="*/ 3515304 w 6096001"/>
              <a:gd name="connsiteY2059" fmla="*/ 518339 h 5392467"/>
              <a:gd name="connsiteX2060" fmla="*/ 3503700 w 6096001"/>
              <a:gd name="connsiteY2060" fmla="*/ 524143 h 5392467"/>
              <a:gd name="connsiteX2061" fmla="*/ 3509501 w 6096001"/>
              <a:gd name="connsiteY2061" fmla="*/ 516406 h 5392467"/>
              <a:gd name="connsiteX2062" fmla="*/ 3488227 w 6096001"/>
              <a:gd name="connsiteY2062" fmla="*/ 528009 h 5392467"/>
              <a:gd name="connsiteX2063" fmla="*/ 3476622 w 6096001"/>
              <a:gd name="connsiteY2063" fmla="*/ 535745 h 5392467"/>
              <a:gd name="connsiteX2064" fmla="*/ 3472754 w 6096001"/>
              <a:gd name="connsiteY2064" fmla="*/ 539614 h 5392467"/>
              <a:gd name="connsiteX2065" fmla="*/ 3470821 w 6096001"/>
              <a:gd name="connsiteY2065" fmla="*/ 541549 h 5392467"/>
              <a:gd name="connsiteX2066" fmla="*/ 3472754 w 6096001"/>
              <a:gd name="connsiteY2066" fmla="*/ 547350 h 5392467"/>
              <a:gd name="connsiteX2067" fmla="*/ 3505633 w 6096001"/>
              <a:gd name="connsiteY2067" fmla="*/ 533812 h 5392467"/>
              <a:gd name="connsiteX2068" fmla="*/ 3540447 w 6096001"/>
              <a:gd name="connsiteY2068" fmla="*/ 520275 h 5392467"/>
              <a:gd name="connsiteX2069" fmla="*/ 3575261 w 6096001"/>
              <a:gd name="connsiteY2069" fmla="*/ 510603 h 5392467"/>
              <a:gd name="connsiteX2070" fmla="*/ 3577197 w 6096001"/>
              <a:gd name="connsiteY2070" fmla="*/ 518339 h 5392467"/>
              <a:gd name="connsiteX2071" fmla="*/ 3571393 w 6096001"/>
              <a:gd name="connsiteY2071" fmla="*/ 522208 h 5392467"/>
              <a:gd name="connsiteX2072" fmla="*/ 3540447 w 6096001"/>
              <a:gd name="connsiteY2072" fmla="*/ 533812 h 5392467"/>
              <a:gd name="connsiteX2073" fmla="*/ 3532710 w 6096001"/>
              <a:gd name="connsiteY2073" fmla="*/ 543484 h 5392467"/>
              <a:gd name="connsiteX2074" fmla="*/ 3524974 w 6096001"/>
              <a:gd name="connsiteY2074" fmla="*/ 560890 h 5392467"/>
              <a:gd name="connsiteX2075" fmla="*/ 3524974 w 6096001"/>
              <a:gd name="connsiteY2075" fmla="*/ 566691 h 5392467"/>
              <a:gd name="connsiteX2076" fmla="*/ 3505633 w 6096001"/>
              <a:gd name="connsiteY2076" fmla="*/ 562823 h 5392467"/>
              <a:gd name="connsiteX2077" fmla="*/ 3495963 w 6096001"/>
              <a:gd name="connsiteY2077" fmla="*/ 568627 h 5392467"/>
              <a:gd name="connsiteX2078" fmla="*/ 3497896 w 6096001"/>
              <a:gd name="connsiteY2078" fmla="*/ 574428 h 5392467"/>
              <a:gd name="connsiteX2079" fmla="*/ 3492895 w 6096001"/>
              <a:gd name="connsiteY2079" fmla="*/ 576352 h 5392467"/>
              <a:gd name="connsiteX2080" fmla="*/ 3494030 w 6096001"/>
              <a:gd name="connsiteY2080" fmla="*/ 572495 h 5392467"/>
              <a:gd name="connsiteX2081" fmla="*/ 3488472 w 6096001"/>
              <a:gd name="connsiteY2081" fmla="*/ 578053 h 5392467"/>
              <a:gd name="connsiteX2082" fmla="*/ 3472754 w 6096001"/>
              <a:gd name="connsiteY2082" fmla="*/ 584100 h 5392467"/>
              <a:gd name="connsiteX2083" fmla="*/ 3473721 w 6096001"/>
              <a:gd name="connsiteY2083" fmla="*/ 589901 h 5392467"/>
              <a:gd name="connsiteX2084" fmla="*/ 3472754 w 6096001"/>
              <a:gd name="connsiteY2084" fmla="*/ 589901 h 5392467"/>
              <a:gd name="connsiteX2085" fmla="*/ 3473778 w 6096001"/>
              <a:gd name="connsiteY2085" fmla="*/ 590243 h 5392467"/>
              <a:gd name="connsiteX2086" fmla="*/ 3474689 w 6096001"/>
              <a:gd name="connsiteY2086" fmla="*/ 595705 h 5392467"/>
              <a:gd name="connsiteX2087" fmla="*/ 3470821 w 6096001"/>
              <a:gd name="connsiteY2087" fmla="*/ 609242 h 5392467"/>
              <a:gd name="connsiteX2088" fmla="*/ 3463084 w 6096001"/>
              <a:gd name="connsiteY2088" fmla="*/ 615046 h 5392467"/>
              <a:gd name="connsiteX2089" fmla="*/ 3451479 w 6096001"/>
              <a:gd name="connsiteY2089" fmla="*/ 616979 h 5392467"/>
              <a:gd name="connsiteX2090" fmla="*/ 3441808 w 6096001"/>
              <a:gd name="connsiteY2090" fmla="*/ 622780 h 5392467"/>
              <a:gd name="connsiteX2091" fmla="*/ 3428270 w 6096001"/>
              <a:gd name="connsiteY2091" fmla="*/ 628584 h 5392467"/>
              <a:gd name="connsiteX2092" fmla="*/ 3410862 w 6096001"/>
              <a:gd name="connsiteY2092" fmla="*/ 638253 h 5392467"/>
              <a:gd name="connsiteX2093" fmla="*/ 3408929 w 6096001"/>
              <a:gd name="connsiteY2093" fmla="*/ 644057 h 5392467"/>
              <a:gd name="connsiteX2094" fmla="*/ 3422466 w 6096001"/>
              <a:gd name="connsiteY2094" fmla="*/ 638253 h 5392467"/>
              <a:gd name="connsiteX2095" fmla="*/ 3428270 w 6096001"/>
              <a:gd name="connsiteY2095" fmla="*/ 644057 h 5392467"/>
              <a:gd name="connsiteX2096" fmla="*/ 3441808 w 6096001"/>
              <a:gd name="connsiteY2096" fmla="*/ 636320 h 5392467"/>
              <a:gd name="connsiteX2097" fmla="*/ 3470821 w 6096001"/>
              <a:gd name="connsiteY2097" fmla="*/ 622780 h 5392467"/>
              <a:gd name="connsiteX2098" fmla="*/ 3486294 w 6096001"/>
              <a:gd name="connsiteY2098" fmla="*/ 607309 h 5392467"/>
              <a:gd name="connsiteX2099" fmla="*/ 3482423 w 6096001"/>
              <a:gd name="connsiteY2099" fmla="*/ 603441 h 5392467"/>
              <a:gd name="connsiteX2100" fmla="*/ 3480490 w 6096001"/>
              <a:gd name="connsiteY2100" fmla="*/ 595705 h 5392467"/>
              <a:gd name="connsiteX2101" fmla="*/ 3486294 w 6096001"/>
              <a:gd name="connsiteY2101" fmla="*/ 593769 h 5392467"/>
              <a:gd name="connsiteX2102" fmla="*/ 3497896 w 6096001"/>
              <a:gd name="connsiteY2102" fmla="*/ 580232 h 5392467"/>
              <a:gd name="connsiteX2103" fmla="*/ 3509501 w 6096001"/>
              <a:gd name="connsiteY2103" fmla="*/ 570560 h 5392467"/>
              <a:gd name="connsiteX2104" fmla="*/ 3523041 w 6096001"/>
              <a:gd name="connsiteY2104" fmla="*/ 576363 h 5392467"/>
              <a:gd name="connsiteX2105" fmla="*/ 3509501 w 6096001"/>
              <a:gd name="connsiteY2105" fmla="*/ 597637 h 5392467"/>
              <a:gd name="connsiteX2106" fmla="*/ 3532710 w 6096001"/>
              <a:gd name="connsiteY2106" fmla="*/ 582164 h 5392467"/>
              <a:gd name="connsiteX2107" fmla="*/ 3557855 w 6096001"/>
              <a:gd name="connsiteY2107" fmla="*/ 560890 h 5392467"/>
              <a:gd name="connsiteX2108" fmla="*/ 3559788 w 6096001"/>
              <a:gd name="connsiteY2108" fmla="*/ 549285 h 5392467"/>
              <a:gd name="connsiteX2109" fmla="*/ 3573328 w 6096001"/>
              <a:gd name="connsiteY2109" fmla="*/ 566691 h 5392467"/>
              <a:gd name="connsiteX2110" fmla="*/ 3559788 w 6096001"/>
              <a:gd name="connsiteY2110" fmla="*/ 576363 h 5392467"/>
              <a:gd name="connsiteX2111" fmla="*/ 3561723 w 6096001"/>
              <a:gd name="connsiteY2111" fmla="*/ 580232 h 5392467"/>
              <a:gd name="connsiteX2112" fmla="*/ 3592667 w 6096001"/>
              <a:gd name="connsiteY2112" fmla="*/ 570560 h 5392467"/>
              <a:gd name="connsiteX2113" fmla="*/ 3592667 w 6096001"/>
              <a:gd name="connsiteY2113" fmla="*/ 568627 h 5392467"/>
              <a:gd name="connsiteX2114" fmla="*/ 3582998 w 6096001"/>
              <a:gd name="connsiteY2114" fmla="*/ 564758 h 5392467"/>
              <a:gd name="connsiteX2115" fmla="*/ 3606207 w 6096001"/>
              <a:gd name="connsiteY2115" fmla="*/ 558955 h 5392467"/>
              <a:gd name="connsiteX2116" fmla="*/ 3612008 w 6096001"/>
              <a:gd name="connsiteY2116" fmla="*/ 572495 h 5392467"/>
              <a:gd name="connsiteX2117" fmla="*/ 3608140 w 6096001"/>
              <a:gd name="connsiteY2117" fmla="*/ 576363 h 5392467"/>
              <a:gd name="connsiteX2118" fmla="*/ 3602339 w 6096001"/>
              <a:gd name="connsiteY2118" fmla="*/ 564758 h 5392467"/>
              <a:gd name="connsiteX2119" fmla="*/ 3598471 w 6096001"/>
              <a:gd name="connsiteY2119" fmla="*/ 570560 h 5392467"/>
              <a:gd name="connsiteX2120" fmla="*/ 3592667 w 6096001"/>
              <a:gd name="connsiteY2120" fmla="*/ 580232 h 5392467"/>
              <a:gd name="connsiteX2121" fmla="*/ 3577197 w 6096001"/>
              <a:gd name="connsiteY2121" fmla="*/ 587968 h 5392467"/>
              <a:gd name="connsiteX2122" fmla="*/ 3575261 w 6096001"/>
              <a:gd name="connsiteY2122" fmla="*/ 587968 h 5392467"/>
              <a:gd name="connsiteX2123" fmla="*/ 3565589 w 6096001"/>
              <a:gd name="connsiteY2123" fmla="*/ 589901 h 5392467"/>
              <a:gd name="connsiteX2124" fmla="*/ 3540447 w 6096001"/>
              <a:gd name="connsiteY2124" fmla="*/ 605374 h 5392467"/>
              <a:gd name="connsiteX2125" fmla="*/ 3534646 w 6096001"/>
              <a:gd name="connsiteY2125" fmla="*/ 595705 h 5392467"/>
              <a:gd name="connsiteX2126" fmla="*/ 3528842 w 6096001"/>
              <a:gd name="connsiteY2126" fmla="*/ 609242 h 5392467"/>
              <a:gd name="connsiteX2127" fmla="*/ 3513372 w 6096001"/>
              <a:gd name="connsiteY2127" fmla="*/ 613111 h 5392467"/>
              <a:gd name="connsiteX2128" fmla="*/ 3515304 w 6096001"/>
              <a:gd name="connsiteY2128" fmla="*/ 605374 h 5392467"/>
              <a:gd name="connsiteX2129" fmla="*/ 3511436 w 6096001"/>
              <a:gd name="connsiteY2129" fmla="*/ 605374 h 5392467"/>
              <a:gd name="connsiteX2130" fmla="*/ 3492095 w 6096001"/>
              <a:gd name="connsiteY2130" fmla="*/ 622780 h 5392467"/>
              <a:gd name="connsiteX2131" fmla="*/ 3486294 w 6096001"/>
              <a:gd name="connsiteY2131" fmla="*/ 630519 h 5392467"/>
              <a:gd name="connsiteX2132" fmla="*/ 3492095 w 6096001"/>
              <a:gd name="connsiteY2132" fmla="*/ 630519 h 5392467"/>
              <a:gd name="connsiteX2133" fmla="*/ 3532710 w 6096001"/>
              <a:gd name="connsiteY2133" fmla="*/ 613111 h 5392467"/>
              <a:gd name="connsiteX2134" fmla="*/ 3542382 w 6096001"/>
              <a:gd name="connsiteY2134" fmla="*/ 611178 h 5392467"/>
              <a:gd name="connsiteX2135" fmla="*/ 3573328 w 6096001"/>
              <a:gd name="connsiteY2135" fmla="*/ 599573 h 5392467"/>
              <a:gd name="connsiteX2136" fmla="*/ 3579129 w 6096001"/>
              <a:gd name="connsiteY2136" fmla="*/ 597637 h 5392467"/>
              <a:gd name="connsiteX2137" fmla="*/ 3584931 w 6096001"/>
              <a:gd name="connsiteY2137" fmla="*/ 605374 h 5392467"/>
              <a:gd name="connsiteX2138" fmla="*/ 3569458 w 6096001"/>
              <a:gd name="connsiteY2138" fmla="*/ 605374 h 5392467"/>
              <a:gd name="connsiteX2139" fmla="*/ 3555920 w 6096001"/>
              <a:gd name="connsiteY2139" fmla="*/ 624715 h 5392467"/>
              <a:gd name="connsiteX2140" fmla="*/ 3546248 w 6096001"/>
              <a:gd name="connsiteY2140" fmla="*/ 645990 h 5392467"/>
              <a:gd name="connsiteX2141" fmla="*/ 3539475 w 6096001"/>
              <a:gd name="connsiteY2141" fmla="*/ 647925 h 5392467"/>
              <a:gd name="connsiteX2142" fmla="*/ 3524974 w 6096001"/>
              <a:gd name="connsiteY2142" fmla="*/ 647925 h 5392467"/>
              <a:gd name="connsiteX2143" fmla="*/ 3517237 w 6096001"/>
              <a:gd name="connsiteY2143" fmla="*/ 640188 h 5392467"/>
              <a:gd name="connsiteX2144" fmla="*/ 3503700 w 6096001"/>
              <a:gd name="connsiteY2144" fmla="*/ 645990 h 5392467"/>
              <a:gd name="connsiteX2145" fmla="*/ 3503700 w 6096001"/>
              <a:gd name="connsiteY2145" fmla="*/ 647925 h 5392467"/>
              <a:gd name="connsiteX2146" fmla="*/ 3526574 w 6096001"/>
              <a:gd name="connsiteY2146" fmla="*/ 654461 h 5392467"/>
              <a:gd name="connsiteX2147" fmla="*/ 3524974 w 6096001"/>
              <a:gd name="connsiteY2147" fmla="*/ 655661 h 5392467"/>
              <a:gd name="connsiteX2148" fmla="*/ 3532710 w 6096001"/>
              <a:gd name="connsiteY2148" fmla="*/ 663398 h 5392467"/>
              <a:gd name="connsiteX2149" fmla="*/ 3536579 w 6096001"/>
              <a:gd name="connsiteY2149" fmla="*/ 661463 h 5392467"/>
              <a:gd name="connsiteX2150" fmla="*/ 3534646 w 6096001"/>
              <a:gd name="connsiteY2150" fmla="*/ 665331 h 5392467"/>
              <a:gd name="connsiteX2151" fmla="*/ 3538514 w 6096001"/>
              <a:gd name="connsiteY2151" fmla="*/ 671134 h 5392467"/>
              <a:gd name="connsiteX2152" fmla="*/ 3917598 w 6096001"/>
              <a:gd name="connsiteY2152" fmla="*/ 508670 h 5392467"/>
              <a:gd name="connsiteX2153" fmla="*/ 3985291 w 6096001"/>
              <a:gd name="connsiteY2153" fmla="*/ 537681 h 5392467"/>
              <a:gd name="connsiteX2154" fmla="*/ 3987224 w 6096001"/>
              <a:gd name="connsiteY2154" fmla="*/ 537681 h 5392467"/>
              <a:gd name="connsiteX2155" fmla="*/ 3987224 w 6096001"/>
              <a:gd name="connsiteY2155" fmla="*/ 539614 h 5392467"/>
              <a:gd name="connsiteX2156" fmla="*/ 3989160 w 6096001"/>
              <a:gd name="connsiteY2156" fmla="*/ 545417 h 5392467"/>
              <a:gd name="connsiteX2157" fmla="*/ 3994961 w 6096001"/>
              <a:gd name="connsiteY2157" fmla="*/ 541549 h 5392467"/>
              <a:gd name="connsiteX2158" fmla="*/ 3998829 w 6096001"/>
              <a:gd name="connsiteY2158" fmla="*/ 539614 h 5392467"/>
              <a:gd name="connsiteX2159" fmla="*/ 4002697 w 6096001"/>
              <a:gd name="connsiteY2159" fmla="*/ 537681 h 5392467"/>
              <a:gd name="connsiteX2160" fmla="*/ 3994961 w 6096001"/>
              <a:gd name="connsiteY2160" fmla="*/ 535745 h 5392467"/>
              <a:gd name="connsiteX2161" fmla="*/ 4016237 w 6096001"/>
              <a:gd name="connsiteY2161" fmla="*/ 529944 h 5392467"/>
              <a:gd name="connsiteX2162" fmla="*/ 4022039 w 6096001"/>
              <a:gd name="connsiteY2162" fmla="*/ 528009 h 5392467"/>
              <a:gd name="connsiteX2163" fmla="*/ 4031711 w 6096001"/>
              <a:gd name="connsiteY2163" fmla="*/ 522208 h 5392467"/>
              <a:gd name="connsiteX2164" fmla="*/ 4018170 w 6096001"/>
              <a:gd name="connsiteY2164" fmla="*/ 539614 h 5392467"/>
              <a:gd name="connsiteX2165" fmla="*/ 4025907 w 6096001"/>
              <a:gd name="connsiteY2165" fmla="*/ 541549 h 5392467"/>
              <a:gd name="connsiteX2166" fmla="*/ 4027840 w 6096001"/>
              <a:gd name="connsiteY2166" fmla="*/ 551216 h 5392467"/>
              <a:gd name="connsiteX2167" fmla="*/ 4025423 w 6096001"/>
              <a:gd name="connsiteY2167" fmla="*/ 548559 h 5392467"/>
              <a:gd name="connsiteX2168" fmla="*/ 4020103 w 6096001"/>
              <a:gd name="connsiteY2168" fmla="*/ 553154 h 5392467"/>
              <a:gd name="connsiteX2169" fmla="*/ 4022039 w 6096001"/>
              <a:gd name="connsiteY2169" fmla="*/ 553154 h 5392467"/>
              <a:gd name="connsiteX2170" fmla="*/ 4027841 w 6096001"/>
              <a:gd name="connsiteY2170" fmla="*/ 551219 h 5392467"/>
              <a:gd name="connsiteX2171" fmla="*/ 4028163 w 6096001"/>
              <a:gd name="connsiteY2171" fmla="*/ 552832 h 5392467"/>
              <a:gd name="connsiteX2172" fmla="*/ 4027842 w 6096001"/>
              <a:gd name="connsiteY2172" fmla="*/ 553154 h 5392467"/>
              <a:gd name="connsiteX2173" fmla="*/ 4028324 w 6096001"/>
              <a:gd name="connsiteY2173" fmla="*/ 553636 h 5392467"/>
              <a:gd name="connsiteX2174" fmla="*/ 4029775 w 6096001"/>
              <a:gd name="connsiteY2174" fmla="*/ 560890 h 5392467"/>
              <a:gd name="connsiteX2175" fmla="*/ 4051052 w 6096001"/>
              <a:gd name="connsiteY2175" fmla="*/ 545417 h 5392467"/>
              <a:gd name="connsiteX2176" fmla="*/ 4052985 w 6096001"/>
              <a:gd name="connsiteY2176" fmla="*/ 543484 h 5392467"/>
              <a:gd name="connsiteX2177" fmla="*/ 4076194 w 6096001"/>
              <a:gd name="connsiteY2177" fmla="*/ 524143 h 5392467"/>
              <a:gd name="connsiteX2178" fmla="*/ 4078127 w 6096001"/>
              <a:gd name="connsiteY2178" fmla="*/ 520275 h 5392467"/>
              <a:gd name="connsiteX2179" fmla="*/ 4080063 w 6096001"/>
              <a:gd name="connsiteY2179" fmla="*/ 522208 h 5392467"/>
              <a:gd name="connsiteX2180" fmla="*/ 4085864 w 6096001"/>
              <a:gd name="connsiteY2180" fmla="*/ 514471 h 5392467"/>
              <a:gd name="connsiteX2181" fmla="*/ 4095536 w 6096001"/>
              <a:gd name="connsiteY2181" fmla="*/ 504802 h 5392467"/>
              <a:gd name="connsiteX2182" fmla="*/ 4099404 w 6096001"/>
              <a:gd name="connsiteY2182" fmla="*/ 498998 h 5392467"/>
              <a:gd name="connsiteX2183" fmla="*/ 4095536 w 6096001"/>
              <a:gd name="connsiteY2183" fmla="*/ 497065 h 5392467"/>
              <a:gd name="connsiteX2184" fmla="*/ 4072326 w 6096001"/>
              <a:gd name="connsiteY2184" fmla="*/ 510603 h 5392467"/>
              <a:gd name="connsiteX2185" fmla="*/ 4062654 w 6096001"/>
              <a:gd name="connsiteY2185" fmla="*/ 520275 h 5392467"/>
              <a:gd name="connsiteX2186" fmla="*/ 4066522 w 6096001"/>
              <a:gd name="connsiteY2186" fmla="*/ 524143 h 5392467"/>
              <a:gd name="connsiteX2187" fmla="*/ 4052985 w 6096001"/>
              <a:gd name="connsiteY2187" fmla="*/ 537681 h 5392467"/>
              <a:gd name="connsiteX2188" fmla="*/ 4039445 w 6096001"/>
              <a:gd name="connsiteY2188" fmla="*/ 545417 h 5392467"/>
              <a:gd name="connsiteX2189" fmla="*/ 4037512 w 6096001"/>
              <a:gd name="connsiteY2189" fmla="*/ 543484 h 5392467"/>
              <a:gd name="connsiteX2190" fmla="*/ 4054920 w 6096001"/>
              <a:gd name="connsiteY2190" fmla="*/ 529944 h 5392467"/>
              <a:gd name="connsiteX2191" fmla="*/ 4037512 w 6096001"/>
              <a:gd name="connsiteY2191" fmla="*/ 522208 h 5392467"/>
              <a:gd name="connsiteX2192" fmla="*/ 4049116 w 6096001"/>
              <a:gd name="connsiteY2192" fmla="*/ 516406 h 5392467"/>
              <a:gd name="connsiteX2193" fmla="*/ 4052985 w 6096001"/>
              <a:gd name="connsiteY2193" fmla="*/ 514471 h 5392467"/>
              <a:gd name="connsiteX2194" fmla="*/ 4056853 w 6096001"/>
              <a:gd name="connsiteY2194" fmla="*/ 500933 h 5392467"/>
              <a:gd name="connsiteX2195" fmla="*/ 4081995 w 6096001"/>
              <a:gd name="connsiteY2195" fmla="*/ 483525 h 5392467"/>
              <a:gd name="connsiteX2196" fmla="*/ 4105205 w 6096001"/>
              <a:gd name="connsiteY2196" fmla="*/ 471920 h 5392467"/>
              <a:gd name="connsiteX2197" fmla="*/ 4118745 w 6096001"/>
              <a:gd name="connsiteY2197" fmla="*/ 458383 h 5392467"/>
              <a:gd name="connsiteX2198" fmla="*/ 4134216 w 6096001"/>
              <a:gd name="connsiteY2198" fmla="*/ 442910 h 5392467"/>
              <a:gd name="connsiteX2199" fmla="*/ 4149689 w 6096001"/>
              <a:gd name="connsiteY2199" fmla="*/ 433240 h 5392467"/>
              <a:gd name="connsiteX2200" fmla="*/ 4151624 w 6096001"/>
              <a:gd name="connsiteY2200" fmla="*/ 435173 h 5392467"/>
              <a:gd name="connsiteX2201" fmla="*/ 4147756 w 6096001"/>
              <a:gd name="connsiteY2201" fmla="*/ 448711 h 5392467"/>
              <a:gd name="connsiteX2202" fmla="*/ 4167097 w 6096001"/>
              <a:gd name="connsiteY2202" fmla="*/ 433240 h 5392467"/>
              <a:gd name="connsiteX2203" fmla="*/ 4178702 w 6096001"/>
              <a:gd name="connsiteY2203" fmla="*/ 411964 h 5392467"/>
              <a:gd name="connsiteX2204" fmla="*/ 4201911 w 6096001"/>
              <a:gd name="connsiteY2204" fmla="*/ 417767 h 5392467"/>
              <a:gd name="connsiteX2205" fmla="*/ 4213514 w 6096001"/>
              <a:gd name="connsiteY2205" fmla="*/ 410031 h 5392467"/>
              <a:gd name="connsiteX2206" fmla="*/ 4227054 w 6096001"/>
              <a:gd name="connsiteY2206" fmla="*/ 425504 h 5392467"/>
              <a:gd name="connsiteX2207" fmla="*/ 4238659 w 6096001"/>
              <a:gd name="connsiteY2207" fmla="*/ 408095 h 5392467"/>
              <a:gd name="connsiteX2208" fmla="*/ 4236723 w 6096001"/>
              <a:gd name="connsiteY2208" fmla="*/ 402294 h 5392467"/>
              <a:gd name="connsiteX2209" fmla="*/ 4238659 w 6096001"/>
              <a:gd name="connsiteY2209" fmla="*/ 402294 h 5392467"/>
              <a:gd name="connsiteX2210" fmla="*/ 4285078 w 6096001"/>
              <a:gd name="connsiteY2210" fmla="*/ 369415 h 5392467"/>
              <a:gd name="connsiteX2211" fmla="*/ 4287011 w 6096001"/>
              <a:gd name="connsiteY2211" fmla="*/ 367480 h 5392467"/>
              <a:gd name="connsiteX2212" fmla="*/ 4296682 w 6096001"/>
              <a:gd name="connsiteY2212" fmla="*/ 357810 h 5392467"/>
              <a:gd name="connsiteX2213" fmla="*/ 4316024 w 6096001"/>
              <a:gd name="connsiteY2213" fmla="*/ 361676 h 5392467"/>
              <a:gd name="connsiteX2214" fmla="*/ 4314088 w 6096001"/>
              <a:gd name="connsiteY2214" fmla="*/ 348139 h 5392467"/>
              <a:gd name="connsiteX2215" fmla="*/ 4346967 w 6096001"/>
              <a:gd name="connsiteY2215" fmla="*/ 326864 h 5392467"/>
              <a:gd name="connsiteX2216" fmla="*/ 4348903 w 6096001"/>
              <a:gd name="connsiteY2216" fmla="*/ 328797 h 5392467"/>
              <a:gd name="connsiteX2217" fmla="*/ 4341166 w 6096001"/>
              <a:gd name="connsiteY2217" fmla="*/ 338469 h 5392467"/>
              <a:gd name="connsiteX2218" fmla="*/ 4343099 w 6096001"/>
              <a:gd name="connsiteY2218" fmla="*/ 340402 h 5392467"/>
              <a:gd name="connsiteX2219" fmla="*/ 4372112 w 6096001"/>
              <a:gd name="connsiteY2219" fmla="*/ 322996 h 5392467"/>
              <a:gd name="connsiteX2220" fmla="*/ 4370177 w 6096001"/>
              <a:gd name="connsiteY2220" fmla="*/ 317192 h 5392467"/>
              <a:gd name="connsiteX2221" fmla="*/ 4372112 w 6096001"/>
              <a:gd name="connsiteY2221" fmla="*/ 315260 h 5392467"/>
              <a:gd name="connsiteX2222" fmla="*/ 4375980 w 6096001"/>
              <a:gd name="connsiteY2222" fmla="*/ 322996 h 5392467"/>
              <a:gd name="connsiteX2223" fmla="*/ 4391451 w 6096001"/>
              <a:gd name="connsiteY2223" fmla="*/ 307523 h 5392467"/>
              <a:gd name="connsiteX2224" fmla="*/ 4395322 w 6096001"/>
              <a:gd name="connsiteY2224" fmla="*/ 305588 h 5392467"/>
              <a:gd name="connsiteX2225" fmla="*/ 4412728 w 6096001"/>
              <a:gd name="connsiteY2225" fmla="*/ 299786 h 5392467"/>
              <a:gd name="connsiteX2226" fmla="*/ 4426265 w 6096001"/>
              <a:gd name="connsiteY2226" fmla="*/ 288182 h 5392467"/>
              <a:gd name="connsiteX2227" fmla="*/ 4447542 w 6096001"/>
              <a:gd name="connsiteY2227" fmla="*/ 274642 h 5392467"/>
              <a:gd name="connsiteX2228" fmla="*/ 4439805 w 6096001"/>
              <a:gd name="connsiteY2228" fmla="*/ 284313 h 5392467"/>
              <a:gd name="connsiteX2229" fmla="*/ 4453343 w 6096001"/>
              <a:gd name="connsiteY2229" fmla="*/ 282378 h 5392467"/>
              <a:gd name="connsiteX2230" fmla="*/ 4455278 w 6096001"/>
              <a:gd name="connsiteY2230" fmla="*/ 290115 h 5392467"/>
              <a:gd name="connsiteX2231" fmla="*/ 4478488 w 6096001"/>
              <a:gd name="connsiteY2231" fmla="*/ 278510 h 5392467"/>
              <a:gd name="connsiteX2232" fmla="*/ 4482356 w 6096001"/>
              <a:gd name="connsiteY2232" fmla="*/ 284313 h 5392467"/>
              <a:gd name="connsiteX2233" fmla="*/ 4484289 w 6096001"/>
              <a:gd name="connsiteY2233" fmla="*/ 282378 h 5392467"/>
              <a:gd name="connsiteX2234" fmla="*/ 4507499 w 6096001"/>
              <a:gd name="connsiteY2234" fmla="*/ 264972 h 5392467"/>
              <a:gd name="connsiteX2235" fmla="*/ 4534577 w 6096001"/>
              <a:gd name="connsiteY2235" fmla="*/ 251434 h 5392467"/>
              <a:gd name="connsiteX2236" fmla="*/ 4534577 w 6096001"/>
              <a:gd name="connsiteY2236" fmla="*/ 241763 h 5392467"/>
              <a:gd name="connsiteX2237" fmla="*/ 4536509 w 6096001"/>
              <a:gd name="connsiteY2237" fmla="*/ 234026 h 5392467"/>
              <a:gd name="connsiteX2238" fmla="*/ 4546181 w 6096001"/>
              <a:gd name="connsiteY2238" fmla="*/ 226290 h 5392467"/>
              <a:gd name="connsiteX2239" fmla="*/ 4586797 w 6096001"/>
              <a:gd name="connsiteY2239" fmla="*/ 208884 h 5392467"/>
              <a:gd name="connsiteX2240" fmla="*/ 4573259 w 6096001"/>
              <a:gd name="connsiteY2240" fmla="*/ 216620 h 5392467"/>
              <a:gd name="connsiteX2241" fmla="*/ 4565523 w 6096001"/>
              <a:gd name="connsiteY2241" fmla="*/ 228225 h 5392467"/>
              <a:gd name="connsiteX2242" fmla="*/ 4561177 w 6096001"/>
              <a:gd name="connsiteY2242" fmla="*/ 231122 h 5392467"/>
              <a:gd name="connsiteX2243" fmla="*/ 4553918 w 6096001"/>
              <a:gd name="connsiteY2243" fmla="*/ 234026 h 5392467"/>
              <a:gd name="connsiteX2244" fmla="*/ 4555078 w 6096001"/>
              <a:gd name="connsiteY2244" fmla="*/ 235188 h 5392467"/>
              <a:gd name="connsiteX2245" fmla="*/ 4553918 w 6096001"/>
              <a:gd name="connsiteY2245" fmla="*/ 235961 h 5392467"/>
              <a:gd name="connsiteX2246" fmla="*/ 4555372 w 6096001"/>
              <a:gd name="connsiteY2246" fmla="*/ 235482 h 5392467"/>
              <a:gd name="connsiteX2247" fmla="*/ 4555851 w 6096001"/>
              <a:gd name="connsiteY2247" fmla="*/ 235961 h 5392467"/>
              <a:gd name="connsiteX2248" fmla="*/ 4557367 w 6096001"/>
              <a:gd name="connsiteY2248" fmla="*/ 234824 h 5392467"/>
              <a:gd name="connsiteX2249" fmla="*/ 4575918 w 6096001"/>
              <a:gd name="connsiteY2249" fmla="*/ 228708 h 5392467"/>
              <a:gd name="connsiteX2250" fmla="*/ 4596469 w 6096001"/>
              <a:gd name="connsiteY2250" fmla="*/ 218553 h 5392467"/>
              <a:gd name="connsiteX2251" fmla="*/ 4640952 w 6096001"/>
              <a:gd name="connsiteY2251" fmla="*/ 197279 h 5392467"/>
              <a:gd name="connsiteX2252" fmla="*/ 4685436 w 6096001"/>
              <a:gd name="connsiteY2252" fmla="*/ 181806 h 5392467"/>
              <a:gd name="connsiteX2253" fmla="*/ 4658358 w 6096001"/>
              <a:gd name="connsiteY2253" fmla="*/ 197279 h 5392467"/>
              <a:gd name="connsiteX2254" fmla="*/ 4629348 w 6096001"/>
              <a:gd name="connsiteY2254" fmla="*/ 220488 h 5392467"/>
              <a:gd name="connsiteX2255" fmla="*/ 4669963 w 6096001"/>
              <a:gd name="connsiteY2255" fmla="*/ 201147 h 5392467"/>
              <a:gd name="connsiteX2256" fmla="*/ 4673831 w 6096001"/>
              <a:gd name="connsiteY2256" fmla="*/ 206948 h 5392467"/>
              <a:gd name="connsiteX2257" fmla="*/ 4689304 w 6096001"/>
              <a:gd name="connsiteY2257" fmla="*/ 203080 h 5392467"/>
              <a:gd name="connsiteX2258" fmla="*/ 4691237 w 6096001"/>
              <a:gd name="connsiteY2258" fmla="*/ 210817 h 5392467"/>
              <a:gd name="connsiteX2259" fmla="*/ 4733788 w 6096001"/>
              <a:gd name="connsiteY2259" fmla="*/ 197279 h 5392467"/>
              <a:gd name="connsiteX2260" fmla="*/ 4712514 w 6096001"/>
              <a:gd name="connsiteY2260" fmla="*/ 214685 h 5392467"/>
              <a:gd name="connsiteX2261" fmla="*/ 4739592 w 6096001"/>
              <a:gd name="connsiteY2261" fmla="*/ 228225 h 5392467"/>
              <a:gd name="connsiteX2262" fmla="*/ 4726052 w 6096001"/>
              <a:gd name="connsiteY2262" fmla="*/ 232093 h 5392467"/>
              <a:gd name="connsiteX2263" fmla="*/ 4749261 w 6096001"/>
              <a:gd name="connsiteY2263" fmla="*/ 235961 h 5392467"/>
              <a:gd name="connsiteX2264" fmla="*/ 4770538 w 6096001"/>
              <a:gd name="connsiteY2264" fmla="*/ 220488 h 5392467"/>
              <a:gd name="connsiteX2265" fmla="*/ 4756998 w 6096001"/>
              <a:gd name="connsiteY2265" fmla="*/ 243698 h 5392467"/>
              <a:gd name="connsiteX2266" fmla="*/ 4774404 w 6096001"/>
              <a:gd name="connsiteY2266" fmla="*/ 232093 h 5392467"/>
              <a:gd name="connsiteX2267" fmla="*/ 4762801 w 6096001"/>
              <a:gd name="connsiteY2267" fmla="*/ 245631 h 5392467"/>
              <a:gd name="connsiteX2268" fmla="*/ 4774404 w 6096001"/>
              <a:gd name="connsiteY2268" fmla="*/ 249499 h 5392467"/>
              <a:gd name="connsiteX2269" fmla="*/ 4755062 w 6096001"/>
              <a:gd name="connsiteY2269" fmla="*/ 268840 h 5392467"/>
              <a:gd name="connsiteX2270" fmla="*/ 4761350 w 6096001"/>
              <a:gd name="connsiteY2270" fmla="*/ 272225 h 5392467"/>
              <a:gd name="connsiteX2271" fmla="*/ 4764033 w 6096001"/>
              <a:gd name="connsiteY2271" fmla="*/ 277208 h 5392467"/>
              <a:gd name="connsiteX2272" fmla="*/ 4745393 w 6096001"/>
              <a:gd name="connsiteY2272" fmla="*/ 293983 h 5392467"/>
              <a:gd name="connsiteX2273" fmla="*/ 4745393 w 6096001"/>
              <a:gd name="connsiteY2273" fmla="*/ 295918 h 5392467"/>
              <a:gd name="connsiteX2274" fmla="*/ 4756998 w 6096001"/>
              <a:gd name="connsiteY2274" fmla="*/ 293983 h 5392467"/>
              <a:gd name="connsiteX2275" fmla="*/ 4762801 w 6096001"/>
              <a:gd name="connsiteY2275" fmla="*/ 301719 h 5392467"/>
              <a:gd name="connsiteX2276" fmla="*/ 4772471 w 6096001"/>
              <a:gd name="connsiteY2276" fmla="*/ 284313 h 5392467"/>
              <a:gd name="connsiteX2277" fmla="*/ 4762801 w 6096001"/>
              <a:gd name="connsiteY2277" fmla="*/ 290115 h 5392467"/>
              <a:gd name="connsiteX2278" fmla="*/ 4760866 w 6096001"/>
              <a:gd name="connsiteY2278" fmla="*/ 288182 h 5392467"/>
              <a:gd name="connsiteX2279" fmla="*/ 4766669 w 6096001"/>
              <a:gd name="connsiteY2279" fmla="*/ 278510 h 5392467"/>
              <a:gd name="connsiteX2280" fmla="*/ 4765701 w 6096001"/>
              <a:gd name="connsiteY2280" fmla="*/ 277543 h 5392467"/>
              <a:gd name="connsiteX2281" fmla="*/ 4784075 w 6096001"/>
              <a:gd name="connsiteY2281" fmla="*/ 259171 h 5392467"/>
              <a:gd name="connsiteX2282" fmla="*/ 4787944 w 6096001"/>
              <a:gd name="connsiteY2282" fmla="*/ 272709 h 5392467"/>
              <a:gd name="connsiteX2283" fmla="*/ 4780207 w 6096001"/>
              <a:gd name="connsiteY2283" fmla="*/ 284313 h 5392467"/>
              <a:gd name="connsiteX2284" fmla="*/ 4799548 w 6096001"/>
              <a:gd name="connsiteY2284" fmla="*/ 282378 h 5392467"/>
              <a:gd name="connsiteX2285" fmla="*/ 4797613 w 6096001"/>
              <a:gd name="connsiteY2285" fmla="*/ 292050 h 5392467"/>
              <a:gd name="connsiteX2286" fmla="*/ 4805350 w 6096001"/>
              <a:gd name="connsiteY2286" fmla="*/ 293983 h 5392467"/>
              <a:gd name="connsiteX2287" fmla="*/ 4787944 w 6096001"/>
              <a:gd name="connsiteY2287" fmla="*/ 315260 h 5392467"/>
              <a:gd name="connsiteX2288" fmla="*/ 4787420 w 6096001"/>
              <a:gd name="connsiteY2288" fmla="*/ 320497 h 5392467"/>
              <a:gd name="connsiteX2289" fmla="*/ 4786011 w 6096001"/>
              <a:gd name="connsiteY2289" fmla="*/ 321061 h 5392467"/>
              <a:gd name="connsiteX2290" fmla="*/ 4787138 w 6096001"/>
              <a:gd name="connsiteY2290" fmla="*/ 323317 h 5392467"/>
              <a:gd name="connsiteX2291" fmla="*/ 4786011 w 6096001"/>
              <a:gd name="connsiteY2291" fmla="*/ 334601 h 5392467"/>
              <a:gd name="connsiteX2292" fmla="*/ 4815021 w 6096001"/>
              <a:gd name="connsiteY2292" fmla="*/ 313324 h 5392467"/>
              <a:gd name="connsiteX2293" fmla="*/ 4844032 w 6096001"/>
              <a:gd name="connsiteY2293" fmla="*/ 293983 h 5392467"/>
              <a:gd name="connsiteX2294" fmla="*/ 4851769 w 6096001"/>
              <a:gd name="connsiteY2294" fmla="*/ 292050 h 5392467"/>
              <a:gd name="connsiteX2295" fmla="*/ 4842097 w 6096001"/>
              <a:gd name="connsiteY2295" fmla="*/ 299786 h 5392467"/>
              <a:gd name="connsiteX2296" fmla="*/ 4844032 w 6096001"/>
              <a:gd name="connsiteY2296" fmla="*/ 303655 h 5392467"/>
              <a:gd name="connsiteX2297" fmla="*/ 4859505 w 6096001"/>
              <a:gd name="connsiteY2297" fmla="*/ 295918 h 5392467"/>
              <a:gd name="connsiteX2298" fmla="*/ 4816954 w 6096001"/>
              <a:gd name="connsiteY2298" fmla="*/ 332665 h 5392467"/>
              <a:gd name="connsiteX2299" fmla="*/ 4811153 w 6096001"/>
              <a:gd name="connsiteY2299" fmla="*/ 355875 h 5392467"/>
              <a:gd name="connsiteX2300" fmla="*/ 4818890 w 6096001"/>
              <a:gd name="connsiteY2300" fmla="*/ 369415 h 5392467"/>
              <a:gd name="connsiteX2301" fmla="*/ 4828559 w 6096001"/>
              <a:gd name="connsiteY2301" fmla="*/ 379085 h 5392467"/>
              <a:gd name="connsiteX2302" fmla="*/ 4861438 w 6096001"/>
              <a:gd name="connsiteY2302" fmla="*/ 373281 h 5392467"/>
              <a:gd name="connsiteX2303" fmla="*/ 4853704 w 6096001"/>
              <a:gd name="connsiteY2303" fmla="*/ 382953 h 5392467"/>
              <a:gd name="connsiteX2304" fmla="*/ 4900121 w 6096001"/>
              <a:gd name="connsiteY2304" fmla="*/ 357810 h 5392467"/>
              <a:gd name="connsiteX2305" fmla="*/ 4880779 w 6096001"/>
              <a:gd name="connsiteY2305" fmla="*/ 375216 h 5392467"/>
              <a:gd name="connsiteX2306" fmla="*/ 4859505 w 6096001"/>
              <a:gd name="connsiteY2306" fmla="*/ 396491 h 5392467"/>
              <a:gd name="connsiteX2307" fmla="*/ 4886583 w 6096001"/>
              <a:gd name="connsiteY2307" fmla="*/ 382953 h 5392467"/>
              <a:gd name="connsiteX2308" fmla="*/ 4911725 w 6096001"/>
              <a:gd name="connsiteY2308" fmla="*/ 369415 h 5392467"/>
              <a:gd name="connsiteX2309" fmla="*/ 4874978 w 6096001"/>
              <a:gd name="connsiteY2309" fmla="*/ 410031 h 5392467"/>
              <a:gd name="connsiteX2310" fmla="*/ 4876913 w 6096001"/>
              <a:gd name="connsiteY2310" fmla="*/ 425504 h 5392467"/>
              <a:gd name="connsiteX2311" fmla="*/ 4886583 w 6096001"/>
              <a:gd name="connsiteY2311" fmla="*/ 421635 h 5392467"/>
              <a:gd name="connsiteX2312" fmla="*/ 4884648 w 6096001"/>
              <a:gd name="connsiteY2312" fmla="*/ 435173 h 5392467"/>
              <a:gd name="connsiteX2313" fmla="*/ 4919462 w 6096001"/>
              <a:gd name="connsiteY2313" fmla="*/ 411964 h 5392467"/>
              <a:gd name="connsiteX2314" fmla="*/ 4921397 w 6096001"/>
              <a:gd name="connsiteY2314" fmla="*/ 413899 h 5392467"/>
              <a:gd name="connsiteX2315" fmla="*/ 4907857 w 6096001"/>
              <a:gd name="connsiteY2315" fmla="*/ 431305 h 5392467"/>
              <a:gd name="connsiteX2316" fmla="*/ 4919462 w 6096001"/>
              <a:gd name="connsiteY2316" fmla="*/ 431305 h 5392467"/>
              <a:gd name="connsiteX2317" fmla="*/ 4894319 w 6096001"/>
              <a:gd name="connsiteY2317" fmla="*/ 456450 h 5392467"/>
              <a:gd name="connsiteX2318" fmla="*/ 4907857 w 6096001"/>
              <a:gd name="connsiteY2318" fmla="*/ 456450 h 5392467"/>
              <a:gd name="connsiteX2319" fmla="*/ 4902056 w 6096001"/>
              <a:gd name="connsiteY2319" fmla="*/ 466119 h 5392467"/>
              <a:gd name="connsiteX2320" fmla="*/ 4921397 w 6096001"/>
              <a:gd name="connsiteY2320" fmla="*/ 481592 h 5392467"/>
              <a:gd name="connsiteX2321" fmla="*/ 4911725 w 6096001"/>
              <a:gd name="connsiteY2321" fmla="*/ 489329 h 5392467"/>
              <a:gd name="connsiteX2322" fmla="*/ 4913661 w 6096001"/>
              <a:gd name="connsiteY2322" fmla="*/ 491262 h 5392467"/>
              <a:gd name="connsiteX2323" fmla="*/ 4927198 w 6096001"/>
              <a:gd name="connsiteY2323" fmla="*/ 483525 h 5392467"/>
              <a:gd name="connsiteX2324" fmla="*/ 4929131 w 6096001"/>
              <a:gd name="connsiteY2324" fmla="*/ 485460 h 5392467"/>
              <a:gd name="connsiteX2325" fmla="*/ 4917188 w 6096001"/>
              <a:gd name="connsiteY2325" fmla="*/ 495811 h 5392467"/>
              <a:gd name="connsiteX2326" fmla="*/ 4917529 w 6096001"/>
              <a:gd name="connsiteY2326" fmla="*/ 495130 h 5392467"/>
              <a:gd name="connsiteX2327" fmla="*/ 4914633 w 6096001"/>
              <a:gd name="connsiteY2327" fmla="*/ 498025 h 5392467"/>
              <a:gd name="connsiteX2328" fmla="*/ 4900121 w 6096001"/>
              <a:gd name="connsiteY2328" fmla="*/ 510603 h 5392467"/>
              <a:gd name="connsiteX2329" fmla="*/ 4892384 w 6096001"/>
              <a:gd name="connsiteY2329" fmla="*/ 504802 h 5392467"/>
              <a:gd name="connsiteX2330" fmla="*/ 4890451 w 6096001"/>
              <a:gd name="connsiteY2330" fmla="*/ 520275 h 5392467"/>
              <a:gd name="connsiteX2331" fmla="*/ 4882715 w 6096001"/>
              <a:gd name="connsiteY2331" fmla="*/ 547350 h 5392467"/>
              <a:gd name="connsiteX2332" fmla="*/ 4902056 w 6096001"/>
              <a:gd name="connsiteY2332" fmla="*/ 558955 h 5392467"/>
              <a:gd name="connsiteX2333" fmla="*/ 4880779 w 6096001"/>
              <a:gd name="connsiteY2333" fmla="*/ 584100 h 5392467"/>
              <a:gd name="connsiteX2334" fmla="*/ 4880779 w 6096001"/>
              <a:gd name="connsiteY2334" fmla="*/ 586033 h 5392467"/>
              <a:gd name="connsiteX2335" fmla="*/ 4890451 w 6096001"/>
              <a:gd name="connsiteY2335" fmla="*/ 584100 h 5392467"/>
              <a:gd name="connsiteX2336" fmla="*/ 4934935 w 6096001"/>
              <a:gd name="connsiteY2336" fmla="*/ 553154 h 5392467"/>
              <a:gd name="connsiteX2337" fmla="*/ 4944607 w 6096001"/>
              <a:gd name="connsiteY2337" fmla="*/ 549285 h 5392467"/>
              <a:gd name="connsiteX2338" fmla="*/ 4950408 w 6096001"/>
              <a:gd name="connsiteY2338" fmla="*/ 547350 h 5392467"/>
              <a:gd name="connsiteX2339" fmla="*/ 4983289 w 6096001"/>
              <a:gd name="connsiteY2339" fmla="*/ 529944 h 5392467"/>
              <a:gd name="connsiteX2340" fmla="*/ 4789879 w 6096001"/>
              <a:gd name="connsiteY2340" fmla="*/ 804588 h 5392467"/>
              <a:gd name="connsiteX2341" fmla="*/ 4815021 w 6096001"/>
              <a:gd name="connsiteY2341" fmla="*/ 796849 h 5392467"/>
              <a:gd name="connsiteX2342" fmla="*/ 4824691 w 6096001"/>
              <a:gd name="connsiteY2342" fmla="*/ 792983 h 5392467"/>
              <a:gd name="connsiteX2343" fmla="*/ 4842097 w 6096001"/>
              <a:gd name="connsiteY2343" fmla="*/ 789115 h 5392467"/>
              <a:gd name="connsiteX2344" fmla="*/ 4857572 w 6096001"/>
              <a:gd name="connsiteY2344" fmla="*/ 779443 h 5392467"/>
              <a:gd name="connsiteX2345" fmla="*/ 4869175 w 6096001"/>
              <a:gd name="connsiteY2345" fmla="*/ 763970 h 5392467"/>
              <a:gd name="connsiteX2346" fmla="*/ 4874978 w 6096001"/>
              <a:gd name="connsiteY2346" fmla="*/ 756234 h 5392467"/>
              <a:gd name="connsiteX2347" fmla="*/ 4894319 w 6096001"/>
              <a:gd name="connsiteY2347" fmla="*/ 744629 h 5392467"/>
              <a:gd name="connsiteX2348" fmla="*/ 4900121 w 6096001"/>
              <a:gd name="connsiteY2348" fmla="*/ 752365 h 5392467"/>
              <a:gd name="connsiteX2349" fmla="*/ 4915594 w 6096001"/>
              <a:gd name="connsiteY2349" fmla="*/ 733024 h 5392467"/>
              <a:gd name="connsiteX2350" fmla="*/ 4929131 w 6096001"/>
              <a:gd name="connsiteY2350" fmla="*/ 725290 h 5392467"/>
              <a:gd name="connsiteX2351" fmla="*/ 4950408 w 6096001"/>
              <a:gd name="connsiteY2351" fmla="*/ 715618 h 5392467"/>
              <a:gd name="connsiteX2352" fmla="*/ 4971682 w 6096001"/>
              <a:gd name="connsiteY2352" fmla="*/ 715618 h 5392467"/>
              <a:gd name="connsiteX2353" fmla="*/ 4965881 w 6096001"/>
              <a:gd name="connsiteY2353" fmla="*/ 707882 h 5392467"/>
              <a:gd name="connsiteX2354" fmla="*/ 5016166 w 6096001"/>
              <a:gd name="connsiteY2354" fmla="*/ 680804 h 5392467"/>
              <a:gd name="connsiteX2355" fmla="*/ 5008432 w 6096001"/>
              <a:gd name="connsiteY2355" fmla="*/ 688540 h 5392467"/>
              <a:gd name="connsiteX2356" fmla="*/ 5039375 w 6096001"/>
              <a:gd name="connsiteY2356" fmla="*/ 673067 h 5392467"/>
              <a:gd name="connsiteX2357" fmla="*/ 5041311 w 6096001"/>
              <a:gd name="connsiteY2357" fmla="*/ 671134 h 5392467"/>
              <a:gd name="connsiteX2358" fmla="*/ 5060652 w 6096001"/>
              <a:gd name="connsiteY2358" fmla="*/ 657594 h 5392467"/>
              <a:gd name="connsiteX2359" fmla="*/ 5078058 w 6096001"/>
              <a:gd name="connsiteY2359" fmla="*/ 647925 h 5392467"/>
              <a:gd name="connsiteX2360" fmla="*/ 5079993 w 6096001"/>
              <a:gd name="connsiteY2360" fmla="*/ 655661 h 5392467"/>
              <a:gd name="connsiteX2361" fmla="*/ 5095466 w 6096001"/>
              <a:gd name="connsiteY2361" fmla="*/ 642121 h 5392467"/>
              <a:gd name="connsiteX2362" fmla="*/ 5114808 w 6096001"/>
              <a:gd name="connsiteY2362" fmla="*/ 632452 h 5392467"/>
              <a:gd name="connsiteX2363" fmla="*/ 5105136 w 6096001"/>
              <a:gd name="connsiteY2363" fmla="*/ 644057 h 5392467"/>
              <a:gd name="connsiteX2364" fmla="*/ 5147687 w 6096001"/>
              <a:gd name="connsiteY2364" fmla="*/ 630519 h 5392467"/>
              <a:gd name="connsiteX2365" fmla="*/ 5136082 w 6096001"/>
              <a:gd name="connsiteY2365" fmla="*/ 640188 h 5392467"/>
              <a:gd name="connsiteX2366" fmla="*/ 5139950 w 6096001"/>
              <a:gd name="connsiteY2366" fmla="*/ 642121 h 5392467"/>
              <a:gd name="connsiteX2367" fmla="*/ 5184434 w 6096001"/>
              <a:gd name="connsiteY2367" fmla="*/ 620847 h 5392467"/>
              <a:gd name="connsiteX2368" fmla="*/ 5242458 w 6096001"/>
              <a:gd name="connsiteY2368" fmla="*/ 593769 h 5392467"/>
              <a:gd name="connsiteX2369" fmla="*/ 5244393 w 6096001"/>
              <a:gd name="connsiteY2369" fmla="*/ 593769 h 5392467"/>
              <a:gd name="connsiteX2370" fmla="*/ 5207643 w 6096001"/>
              <a:gd name="connsiteY2370" fmla="*/ 616979 h 5392467"/>
              <a:gd name="connsiteX2371" fmla="*/ 5221183 w 6096001"/>
              <a:gd name="connsiteY2371" fmla="*/ 620847 h 5392467"/>
              <a:gd name="connsiteX2372" fmla="*/ 5259864 w 6096001"/>
              <a:gd name="connsiteY2372" fmla="*/ 605374 h 5392467"/>
              <a:gd name="connsiteX2373" fmla="*/ 5271468 w 6096001"/>
              <a:gd name="connsiteY2373" fmla="*/ 603441 h 5392467"/>
              <a:gd name="connsiteX2374" fmla="*/ 5244393 w 6096001"/>
              <a:gd name="connsiteY2374" fmla="*/ 626651 h 5392467"/>
              <a:gd name="connsiteX2375" fmla="*/ 5238589 w 6096001"/>
              <a:gd name="connsiteY2375" fmla="*/ 630519 h 5392467"/>
              <a:gd name="connsiteX2376" fmla="*/ 5240522 w 6096001"/>
              <a:gd name="connsiteY2376" fmla="*/ 632452 h 5392467"/>
              <a:gd name="connsiteX2377" fmla="*/ 5290810 w 6096001"/>
              <a:gd name="connsiteY2377" fmla="*/ 609242 h 5392467"/>
              <a:gd name="connsiteX2378" fmla="*/ 5308218 w 6096001"/>
              <a:gd name="connsiteY2378" fmla="*/ 618914 h 5392467"/>
              <a:gd name="connsiteX2379" fmla="*/ 5304350 w 6096001"/>
              <a:gd name="connsiteY2379" fmla="*/ 613111 h 5392467"/>
              <a:gd name="connsiteX2380" fmla="*/ 5300479 w 6096001"/>
              <a:gd name="connsiteY2380" fmla="*/ 605374 h 5392467"/>
              <a:gd name="connsiteX2381" fmla="*/ 5308218 w 6096001"/>
              <a:gd name="connsiteY2381" fmla="*/ 599573 h 5392467"/>
              <a:gd name="connsiteX2382" fmla="*/ 5329492 w 6096001"/>
              <a:gd name="connsiteY2382" fmla="*/ 593769 h 5392467"/>
              <a:gd name="connsiteX2383" fmla="*/ 5350766 w 6096001"/>
              <a:gd name="connsiteY2383" fmla="*/ 584100 h 5392467"/>
              <a:gd name="connsiteX2384" fmla="*/ 5370108 w 6096001"/>
              <a:gd name="connsiteY2384" fmla="*/ 576363 h 5392467"/>
              <a:gd name="connsiteX2385" fmla="*/ 5364306 w 6096001"/>
              <a:gd name="connsiteY2385" fmla="*/ 586033 h 5392467"/>
              <a:gd name="connsiteX2386" fmla="*/ 5439736 w 6096001"/>
              <a:gd name="connsiteY2386" fmla="*/ 549285 h 5392467"/>
              <a:gd name="connsiteX2387" fmla="*/ 5441669 w 6096001"/>
              <a:gd name="connsiteY2387" fmla="*/ 560890 h 5392467"/>
              <a:gd name="connsiteX2388" fmla="*/ 5439736 w 6096001"/>
              <a:gd name="connsiteY2388" fmla="*/ 562823 h 5392467"/>
              <a:gd name="connsiteX2389" fmla="*/ 5428131 w 6096001"/>
              <a:gd name="connsiteY2389" fmla="*/ 562823 h 5392467"/>
              <a:gd name="connsiteX2390" fmla="*/ 5389449 w 6096001"/>
              <a:gd name="connsiteY2390" fmla="*/ 582164 h 5392467"/>
              <a:gd name="connsiteX2391" fmla="*/ 5381712 w 6096001"/>
              <a:gd name="connsiteY2391" fmla="*/ 586033 h 5392467"/>
              <a:gd name="connsiteX2392" fmla="*/ 5352702 w 6096001"/>
              <a:gd name="connsiteY2392" fmla="*/ 605374 h 5392467"/>
              <a:gd name="connsiteX2393" fmla="*/ 5362371 w 6096001"/>
              <a:gd name="connsiteY2393" fmla="*/ 605374 h 5392467"/>
              <a:gd name="connsiteX2394" fmla="*/ 5387514 w 6096001"/>
              <a:gd name="connsiteY2394" fmla="*/ 595705 h 5392467"/>
              <a:gd name="connsiteX2395" fmla="*/ 5397185 w 6096001"/>
              <a:gd name="connsiteY2395" fmla="*/ 597637 h 5392467"/>
              <a:gd name="connsiteX2396" fmla="*/ 5406855 w 6096001"/>
              <a:gd name="connsiteY2396" fmla="*/ 607309 h 5392467"/>
              <a:gd name="connsiteX2397" fmla="*/ 5391384 w 6096001"/>
              <a:gd name="connsiteY2397" fmla="*/ 626651 h 5392467"/>
              <a:gd name="connsiteX2398" fmla="*/ 5377844 w 6096001"/>
              <a:gd name="connsiteY2398" fmla="*/ 616979 h 5392467"/>
              <a:gd name="connsiteX2399" fmla="*/ 5362371 w 6096001"/>
              <a:gd name="connsiteY2399" fmla="*/ 630519 h 5392467"/>
              <a:gd name="connsiteX2400" fmla="*/ 5356570 w 6096001"/>
              <a:gd name="connsiteY2400" fmla="*/ 642121 h 5392467"/>
              <a:gd name="connsiteX2401" fmla="*/ 5346898 w 6096001"/>
              <a:gd name="connsiteY2401" fmla="*/ 642121 h 5392467"/>
              <a:gd name="connsiteX2402" fmla="*/ 5350766 w 6096001"/>
              <a:gd name="connsiteY2402" fmla="*/ 655661 h 5392467"/>
              <a:gd name="connsiteX2403" fmla="*/ 5375911 w 6096001"/>
              <a:gd name="connsiteY2403" fmla="*/ 649858 h 5392467"/>
              <a:gd name="connsiteX2404" fmla="*/ 5370108 w 6096001"/>
              <a:gd name="connsiteY2404" fmla="*/ 657594 h 5392467"/>
              <a:gd name="connsiteX2405" fmla="*/ 5350766 w 6096001"/>
              <a:gd name="connsiteY2405" fmla="*/ 678871 h 5392467"/>
              <a:gd name="connsiteX2406" fmla="*/ 5339162 w 6096001"/>
              <a:gd name="connsiteY2406" fmla="*/ 688540 h 5392467"/>
              <a:gd name="connsiteX2407" fmla="*/ 5308218 w 6096001"/>
              <a:gd name="connsiteY2407" fmla="*/ 727223 h 5392467"/>
              <a:gd name="connsiteX2408" fmla="*/ 5325624 w 6096001"/>
              <a:gd name="connsiteY2408" fmla="*/ 717553 h 5392467"/>
              <a:gd name="connsiteX2409" fmla="*/ 5339162 w 6096001"/>
              <a:gd name="connsiteY2409" fmla="*/ 702080 h 5392467"/>
              <a:gd name="connsiteX2410" fmla="*/ 5343030 w 6096001"/>
              <a:gd name="connsiteY2410" fmla="*/ 704013 h 5392467"/>
              <a:gd name="connsiteX2411" fmla="*/ 5341097 w 6096001"/>
              <a:gd name="connsiteY2411" fmla="*/ 698212 h 5392467"/>
              <a:gd name="connsiteX2412" fmla="*/ 5350766 w 6096001"/>
              <a:gd name="connsiteY2412" fmla="*/ 684672 h 5392467"/>
              <a:gd name="connsiteX2413" fmla="*/ 5358503 w 6096001"/>
              <a:gd name="connsiteY2413" fmla="*/ 678871 h 5392467"/>
              <a:gd name="connsiteX2414" fmla="*/ 5385581 w 6096001"/>
              <a:gd name="connsiteY2414" fmla="*/ 671134 h 5392467"/>
              <a:gd name="connsiteX2415" fmla="*/ 5381712 w 6096001"/>
              <a:gd name="connsiteY2415" fmla="*/ 667266 h 5392467"/>
              <a:gd name="connsiteX2416" fmla="*/ 5391384 w 6096001"/>
              <a:gd name="connsiteY2416" fmla="*/ 669199 h 5392467"/>
              <a:gd name="connsiteX2417" fmla="*/ 5391384 w 6096001"/>
              <a:gd name="connsiteY2417" fmla="*/ 671134 h 5392467"/>
              <a:gd name="connsiteX2418" fmla="*/ 5399121 w 6096001"/>
              <a:gd name="connsiteY2418" fmla="*/ 671134 h 5392467"/>
              <a:gd name="connsiteX2419" fmla="*/ 5404922 w 6096001"/>
              <a:gd name="connsiteY2419" fmla="*/ 671134 h 5392467"/>
              <a:gd name="connsiteX2420" fmla="*/ 5406855 w 6096001"/>
              <a:gd name="connsiteY2420" fmla="*/ 671134 h 5392467"/>
              <a:gd name="connsiteX2421" fmla="*/ 5430064 w 6096001"/>
              <a:gd name="connsiteY2421" fmla="*/ 665331 h 5392467"/>
              <a:gd name="connsiteX2422" fmla="*/ 5424263 w 6096001"/>
              <a:gd name="connsiteY2422" fmla="*/ 669199 h 5392467"/>
              <a:gd name="connsiteX2423" fmla="*/ 5418462 w 6096001"/>
              <a:gd name="connsiteY2423" fmla="*/ 671134 h 5392467"/>
              <a:gd name="connsiteX2424" fmla="*/ 5433933 w 6096001"/>
              <a:gd name="connsiteY2424" fmla="*/ 671134 h 5392467"/>
              <a:gd name="connsiteX2425" fmla="*/ 5480352 w 6096001"/>
              <a:gd name="connsiteY2425" fmla="*/ 665331 h 5392467"/>
              <a:gd name="connsiteX2426" fmla="*/ 5490021 w 6096001"/>
              <a:gd name="connsiteY2426" fmla="*/ 661463 h 5392467"/>
              <a:gd name="connsiteX2427" fmla="*/ 5503561 w 6096001"/>
              <a:gd name="connsiteY2427" fmla="*/ 651793 h 5392467"/>
              <a:gd name="connsiteX2428" fmla="*/ 5540308 w 6096001"/>
              <a:gd name="connsiteY2428" fmla="*/ 647925 h 5392467"/>
              <a:gd name="connsiteX2429" fmla="*/ 5542244 w 6096001"/>
              <a:gd name="connsiteY2429" fmla="*/ 663398 h 5392467"/>
              <a:gd name="connsiteX2430" fmla="*/ 5561585 w 6096001"/>
              <a:gd name="connsiteY2430" fmla="*/ 667266 h 5392467"/>
              <a:gd name="connsiteX2431" fmla="*/ 5555781 w 6096001"/>
              <a:gd name="connsiteY2431" fmla="*/ 680804 h 5392467"/>
              <a:gd name="connsiteX2432" fmla="*/ 5559650 w 6096001"/>
              <a:gd name="connsiteY2432" fmla="*/ 694344 h 5392467"/>
              <a:gd name="connsiteX2433" fmla="*/ 5559650 w 6096001"/>
              <a:gd name="connsiteY2433" fmla="*/ 707882 h 5392467"/>
              <a:gd name="connsiteX2434" fmla="*/ 5548045 w 6096001"/>
              <a:gd name="connsiteY2434" fmla="*/ 738828 h 5392467"/>
              <a:gd name="connsiteX2435" fmla="*/ 5549980 w 6096001"/>
              <a:gd name="connsiteY2435" fmla="*/ 738828 h 5392467"/>
              <a:gd name="connsiteX2436" fmla="*/ 5548045 w 6096001"/>
              <a:gd name="connsiteY2436" fmla="*/ 740761 h 5392467"/>
              <a:gd name="connsiteX2437" fmla="*/ 5540308 w 6096001"/>
              <a:gd name="connsiteY2437" fmla="*/ 752365 h 5392467"/>
              <a:gd name="connsiteX2438" fmla="*/ 5528704 w 6096001"/>
              <a:gd name="connsiteY2438" fmla="*/ 794916 h 5392467"/>
              <a:gd name="connsiteX2439" fmla="*/ 5522903 w 6096001"/>
              <a:gd name="connsiteY2439" fmla="*/ 835532 h 5392467"/>
              <a:gd name="connsiteX2440" fmla="*/ 5511298 w 6096001"/>
              <a:gd name="connsiteY2440" fmla="*/ 885819 h 5392467"/>
              <a:gd name="connsiteX2441" fmla="*/ 5507430 w 6096001"/>
              <a:gd name="connsiteY2441" fmla="*/ 901292 h 5392467"/>
              <a:gd name="connsiteX2442" fmla="*/ 5544177 w 6096001"/>
              <a:gd name="connsiteY2442" fmla="*/ 893556 h 5392467"/>
              <a:gd name="connsiteX2443" fmla="*/ 5519034 w 6096001"/>
              <a:gd name="connsiteY2443" fmla="*/ 907093 h 5392467"/>
              <a:gd name="connsiteX2444" fmla="*/ 5503561 w 6096001"/>
              <a:gd name="connsiteY2444" fmla="*/ 910964 h 5392467"/>
              <a:gd name="connsiteX2445" fmla="*/ 5497758 w 6096001"/>
              <a:gd name="connsiteY2445" fmla="*/ 926435 h 5392467"/>
              <a:gd name="connsiteX2446" fmla="*/ 5493889 w 6096001"/>
              <a:gd name="connsiteY2446" fmla="*/ 934171 h 5392467"/>
              <a:gd name="connsiteX2447" fmla="*/ 5468747 w 6096001"/>
              <a:gd name="connsiteY2447" fmla="*/ 1005733 h 5392467"/>
              <a:gd name="connsiteX2448" fmla="*/ 5476483 w 6096001"/>
              <a:gd name="connsiteY2448" fmla="*/ 1003800 h 5392467"/>
              <a:gd name="connsiteX2449" fmla="*/ 5484220 w 6096001"/>
              <a:gd name="connsiteY2449" fmla="*/ 1001864 h 5392467"/>
              <a:gd name="connsiteX2450" fmla="*/ 5538376 w 6096001"/>
              <a:gd name="connsiteY2450" fmla="*/ 982523 h 5392467"/>
              <a:gd name="connsiteX2451" fmla="*/ 5553849 w 6096001"/>
              <a:gd name="connsiteY2451" fmla="*/ 980590 h 5392467"/>
              <a:gd name="connsiteX2452" fmla="*/ 5594464 w 6096001"/>
              <a:gd name="connsiteY2452" fmla="*/ 990260 h 5392467"/>
              <a:gd name="connsiteX2453" fmla="*/ 5594464 w 6096001"/>
              <a:gd name="connsiteY2453" fmla="*/ 992195 h 5392467"/>
              <a:gd name="connsiteX2454" fmla="*/ 5592531 w 6096001"/>
              <a:gd name="connsiteY2454" fmla="*/ 996063 h 5392467"/>
              <a:gd name="connsiteX2455" fmla="*/ 5567386 w 6096001"/>
              <a:gd name="connsiteY2455" fmla="*/ 1009601 h 5392467"/>
              <a:gd name="connsiteX2456" fmla="*/ 5588663 w 6096001"/>
              <a:gd name="connsiteY2456" fmla="*/ 1003800 h 5392467"/>
              <a:gd name="connsiteX2457" fmla="*/ 5596397 w 6096001"/>
              <a:gd name="connsiteY2457" fmla="*/ 999931 h 5392467"/>
              <a:gd name="connsiteX2458" fmla="*/ 5617674 w 6096001"/>
              <a:gd name="connsiteY2458" fmla="*/ 992195 h 5392467"/>
              <a:gd name="connsiteX2459" fmla="*/ 5638948 w 6096001"/>
              <a:gd name="connsiteY2459" fmla="*/ 984458 h 5392467"/>
              <a:gd name="connsiteX2460" fmla="*/ 5625410 w 6096001"/>
              <a:gd name="connsiteY2460" fmla="*/ 997998 h 5392467"/>
              <a:gd name="connsiteX2461" fmla="*/ 5608002 w 6096001"/>
              <a:gd name="connsiteY2461" fmla="*/ 1013469 h 5392467"/>
              <a:gd name="connsiteX2462" fmla="*/ 5633147 w 6096001"/>
              <a:gd name="connsiteY2462" fmla="*/ 1011536 h 5392467"/>
              <a:gd name="connsiteX2463" fmla="*/ 5623475 w 6096001"/>
              <a:gd name="connsiteY2463" fmla="*/ 1021206 h 5392467"/>
              <a:gd name="connsiteX2464" fmla="*/ 5611872 w 6096001"/>
              <a:gd name="connsiteY2464" fmla="*/ 1040547 h 5392467"/>
              <a:gd name="connsiteX2465" fmla="*/ 5578991 w 6096001"/>
              <a:gd name="connsiteY2465" fmla="*/ 1057955 h 5392467"/>
              <a:gd name="connsiteX2466" fmla="*/ 5588663 w 6096001"/>
              <a:gd name="connsiteY2466" fmla="*/ 1059888 h 5392467"/>
              <a:gd name="connsiteX2467" fmla="*/ 5557714 w 6096001"/>
              <a:gd name="connsiteY2467" fmla="*/ 1086966 h 5392467"/>
              <a:gd name="connsiteX2468" fmla="*/ 5563518 w 6096001"/>
              <a:gd name="connsiteY2468" fmla="*/ 1088899 h 5392467"/>
              <a:gd name="connsiteX2469" fmla="*/ 5571255 w 6096001"/>
              <a:gd name="connsiteY2469" fmla="*/ 1083098 h 5392467"/>
              <a:gd name="connsiteX2470" fmla="*/ 5594464 w 6096001"/>
              <a:gd name="connsiteY2470" fmla="*/ 1067625 h 5392467"/>
              <a:gd name="connsiteX2471" fmla="*/ 5573190 w 6096001"/>
              <a:gd name="connsiteY2471" fmla="*/ 1086966 h 5392467"/>
              <a:gd name="connsiteX2472" fmla="*/ 5577056 w 6096001"/>
              <a:gd name="connsiteY2472" fmla="*/ 1086966 h 5392467"/>
              <a:gd name="connsiteX2473" fmla="*/ 5577056 w 6096001"/>
              <a:gd name="connsiteY2473" fmla="*/ 1094703 h 5392467"/>
              <a:gd name="connsiteX2474" fmla="*/ 5586728 w 6096001"/>
              <a:gd name="connsiteY2474" fmla="*/ 1085033 h 5392467"/>
              <a:gd name="connsiteX2475" fmla="*/ 5604133 w 6096001"/>
              <a:gd name="connsiteY2475" fmla="*/ 1071493 h 5392467"/>
              <a:gd name="connsiteX2476" fmla="*/ 5629278 w 6096001"/>
              <a:gd name="connsiteY2476" fmla="*/ 1054087 h 5392467"/>
              <a:gd name="connsiteX2477" fmla="*/ 5638948 w 6096001"/>
              <a:gd name="connsiteY2477" fmla="*/ 1054087 h 5392467"/>
              <a:gd name="connsiteX2478" fmla="*/ 5621542 w 6096001"/>
              <a:gd name="connsiteY2478" fmla="*/ 1065692 h 5392467"/>
              <a:gd name="connsiteX2479" fmla="*/ 5602201 w 6096001"/>
              <a:gd name="connsiteY2479" fmla="*/ 1081162 h 5392467"/>
              <a:gd name="connsiteX2480" fmla="*/ 5594464 w 6096001"/>
              <a:gd name="connsiteY2480" fmla="*/ 1086966 h 5392467"/>
              <a:gd name="connsiteX2481" fmla="*/ 5578991 w 6096001"/>
              <a:gd name="connsiteY2481" fmla="*/ 1100504 h 5392467"/>
              <a:gd name="connsiteX2482" fmla="*/ 5584795 w 6096001"/>
              <a:gd name="connsiteY2482" fmla="*/ 1108240 h 5392467"/>
              <a:gd name="connsiteX2483" fmla="*/ 5582859 w 6096001"/>
              <a:gd name="connsiteY2483" fmla="*/ 1123713 h 5392467"/>
              <a:gd name="connsiteX2484" fmla="*/ 5578991 w 6096001"/>
              <a:gd name="connsiteY2484" fmla="*/ 1129517 h 5392467"/>
              <a:gd name="connsiteX2485" fmla="*/ 5573190 w 6096001"/>
              <a:gd name="connsiteY2485" fmla="*/ 1123713 h 5392467"/>
              <a:gd name="connsiteX2486" fmla="*/ 5557714 w 6096001"/>
              <a:gd name="connsiteY2486" fmla="*/ 1125649 h 5392467"/>
              <a:gd name="connsiteX2487" fmla="*/ 5565453 w 6096001"/>
              <a:gd name="connsiteY2487" fmla="*/ 1112109 h 5392467"/>
              <a:gd name="connsiteX2488" fmla="*/ 5559650 w 6096001"/>
              <a:gd name="connsiteY2488" fmla="*/ 1110176 h 5392467"/>
              <a:gd name="connsiteX2489" fmla="*/ 5546112 w 6096001"/>
              <a:gd name="connsiteY2489" fmla="*/ 1121780 h 5392467"/>
              <a:gd name="connsiteX2490" fmla="*/ 5549980 w 6096001"/>
              <a:gd name="connsiteY2490" fmla="*/ 1133385 h 5392467"/>
              <a:gd name="connsiteX2491" fmla="*/ 5544177 w 6096001"/>
              <a:gd name="connsiteY2491" fmla="*/ 1133385 h 5392467"/>
              <a:gd name="connsiteX2492" fmla="*/ 5540308 w 6096001"/>
              <a:gd name="connsiteY2492" fmla="*/ 1137253 h 5392467"/>
              <a:gd name="connsiteX2493" fmla="*/ 5548045 w 6096001"/>
              <a:gd name="connsiteY2493" fmla="*/ 1139186 h 5392467"/>
              <a:gd name="connsiteX2494" fmla="*/ 5557714 w 6096001"/>
              <a:gd name="connsiteY2494" fmla="*/ 1135318 h 5392467"/>
              <a:gd name="connsiteX2495" fmla="*/ 5553849 w 6096001"/>
              <a:gd name="connsiteY2495" fmla="*/ 1168199 h 5392467"/>
              <a:gd name="connsiteX2496" fmla="*/ 5555781 w 6096001"/>
              <a:gd name="connsiteY2496" fmla="*/ 1168199 h 5392467"/>
              <a:gd name="connsiteX2497" fmla="*/ 5563518 w 6096001"/>
              <a:gd name="connsiteY2497" fmla="*/ 1158528 h 5392467"/>
              <a:gd name="connsiteX2498" fmla="*/ 5565453 w 6096001"/>
              <a:gd name="connsiteY2498" fmla="*/ 1162396 h 5392467"/>
              <a:gd name="connsiteX2499" fmla="*/ 5563518 w 6096001"/>
              <a:gd name="connsiteY2499" fmla="*/ 1174001 h 5392467"/>
              <a:gd name="connsiteX2500" fmla="*/ 5571255 w 6096001"/>
              <a:gd name="connsiteY2500" fmla="*/ 1175934 h 5392467"/>
              <a:gd name="connsiteX2501" fmla="*/ 5588663 w 6096001"/>
              <a:gd name="connsiteY2501" fmla="*/ 1187538 h 5392467"/>
              <a:gd name="connsiteX2502" fmla="*/ 5588663 w 6096001"/>
              <a:gd name="connsiteY2502" fmla="*/ 1195275 h 5392467"/>
              <a:gd name="connsiteX2503" fmla="*/ 5602201 w 6096001"/>
              <a:gd name="connsiteY2503" fmla="*/ 1199143 h 5392467"/>
              <a:gd name="connsiteX2504" fmla="*/ 5608002 w 6096001"/>
              <a:gd name="connsiteY2504" fmla="*/ 1204947 h 5392467"/>
              <a:gd name="connsiteX2505" fmla="*/ 5621542 w 6096001"/>
              <a:gd name="connsiteY2505" fmla="*/ 1218484 h 5392467"/>
              <a:gd name="connsiteX2506" fmla="*/ 5629278 w 6096001"/>
              <a:gd name="connsiteY2506" fmla="*/ 1220420 h 5392467"/>
              <a:gd name="connsiteX2507" fmla="*/ 5642816 w 6096001"/>
              <a:gd name="connsiteY2507" fmla="*/ 1233957 h 5392467"/>
              <a:gd name="connsiteX2508" fmla="*/ 5646684 w 6096001"/>
              <a:gd name="connsiteY2508" fmla="*/ 1251363 h 5392467"/>
              <a:gd name="connsiteX2509" fmla="*/ 5669894 w 6096001"/>
              <a:gd name="connsiteY2509" fmla="*/ 1249430 h 5392467"/>
              <a:gd name="connsiteX2510" fmla="*/ 5669894 w 6096001"/>
              <a:gd name="connsiteY2510" fmla="*/ 1268772 h 5392467"/>
              <a:gd name="connsiteX2511" fmla="*/ 5683432 w 6096001"/>
              <a:gd name="connsiteY2511" fmla="*/ 1286178 h 5392467"/>
              <a:gd name="connsiteX2512" fmla="*/ 5685367 w 6096001"/>
              <a:gd name="connsiteY2512" fmla="*/ 1299718 h 5392467"/>
              <a:gd name="connsiteX2513" fmla="*/ 5679566 w 6096001"/>
              <a:gd name="connsiteY2513" fmla="*/ 1307454 h 5392467"/>
              <a:gd name="connsiteX2514" fmla="*/ 5696972 w 6096001"/>
              <a:gd name="connsiteY2514" fmla="*/ 1313255 h 5392467"/>
              <a:gd name="connsiteX2515" fmla="*/ 5710509 w 6096001"/>
              <a:gd name="connsiteY2515" fmla="*/ 1313255 h 5392467"/>
              <a:gd name="connsiteX2516" fmla="*/ 5699632 w 6096001"/>
              <a:gd name="connsiteY2516" fmla="*/ 1331389 h 5392467"/>
              <a:gd name="connsiteX2517" fmla="*/ 5698907 w 6096001"/>
              <a:gd name="connsiteY2517" fmla="*/ 1332597 h 5392467"/>
              <a:gd name="connsiteX2518" fmla="*/ 5695036 w 6096001"/>
              <a:gd name="connsiteY2518" fmla="*/ 1359675 h 5392467"/>
              <a:gd name="connsiteX2519" fmla="*/ 5691168 w 6096001"/>
              <a:gd name="connsiteY2519" fmla="*/ 1363543 h 5392467"/>
              <a:gd name="connsiteX2520" fmla="*/ 5650553 w 6096001"/>
              <a:gd name="connsiteY2520" fmla="*/ 1400290 h 5392467"/>
              <a:gd name="connsiteX2521" fmla="*/ 5642816 w 6096001"/>
              <a:gd name="connsiteY2521" fmla="*/ 1406094 h 5392467"/>
              <a:gd name="connsiteX2522" fmla="*/ 5654421 w 6096001"/>
              <a:gd name="connsiteY2522" fmla="*/ 1404158 h 5392467"/>
              <a:gd name="connsiteX2523" fmla="*/ 5662157 w 6096001"/>
              <a:gd name="connsiteY2523" fmla="*/ 1400290 h 5392467"/>
              <a:gd name="connsiteX2524" fmla="*/ 5669894 w 6096001"/>
              <a:gd name="connsiteY2524" fmla="*/ 1400290 h 5392467"/>
              <a:gd name="connsiteX2525" fmla="*/ 5669894 w 6096001"/>
              <a:gd name="connsiteY2525" fmla="*/ 1409962 h 5392467"/>
              <a:gd name="connsiteX2526" fmla="*/ 5660224 w 6096001"/>
              <a:gd name="connsiteY2526" fmla="*/ 1417699 h 5392467"/>
              <a:gd name="connsiteX2527" fmla="*/ 5648620 w 6096001"/>
              <a:gd name="connsiteY2527" fmla="*/ 1427368 h 5392467"/>
              <a:gd name="connsiteX2528" fmla="*/ 5650553 w 6096001"/>
              <a:gd name="connsiteY2528" fmla="*/ 1438973 h 5392467"/>
              <a:gd name="connsiteX2529" fmla="*/ 5855568 w 6096001"/>
              <a:gd name="connsiteY2529" fmla="*/ 1342269 h 5392467"/>
              <a:gd name="connsiteX2530" fmla="*/ 5905855 w 6096001"/>
              <a:gd name="connsiteY2530" fmla="*/ 1338398 h 5392467"/>
              <a:gd name="connsiteX2531" fmla="*/ 5909723 w 6096001"/>
              <a:gd name="connsiteY2531" fmla="*/ 1330664 h 5392467"/>
              <a:gd name="connsiteX2532" fmla="*/ 5921328 w 6096001"/>
              <a:gd name="connsiteY2532" fmla="*/ 1326796 h 5392467"/>
              <a:gd name="connsiteX2533" fmla="*/ 5915524 w 6096001"/>
              <a:gd name="connsiteY2533" fmla="*/ 1338398 h 5392467"/>
              <a:gd name="connsiteX2534" fmla="*/ 5925194 w 6096001"/>
              <a:gd name="connsiteY2534" fmla="*/ 1342269 h 5392467"/>
              <a:gd name="connsiteX2535" fmla="*/ 5921328 w 6096001"/>
              <a:gd name="connsiteY2535" fmla="*/ 1346137 h 5392467"/>
              <a:gd name="connsiteX2536" fmla="*/ 5927129 w 6096001"/>
              <a:gd name="connsiteY2536" fmla="*/ 1350003 h 5392467"/>
              <a:gd name="connsiteX2537" fmla="*/ 5930997 w 6096001"/>
              <a:gd name="connsiteY2537" fmla="*/ 1344202 h 5392467"/>
              <a:gd name="connsiteX2538" fmla="*/ 5946470 w 6096001"/>
              <a:gd name="connsiteY2538" fmla="*/ 1332597 h 5392467"/>
              <a:gd name="connsiteX2539" fmla="*/ 5950339 w 6096001"/>
              <a:gd name="connsiteY2539" fmla="*/ 1332597 h 5392467"/>
              <a:gd name="connsiteX2540" fmla="*/ 5967745 w 6096001"/>
              <a:gd name="connsiteY2540" fmla="*/ 1336465 h 5392467"/>
              <a:gd name="connsiteX2541" fmla="*/ 5971613 w 6096001"/>
              <a:gd name="connsiteY2541" fmla="*/ 1355806 h 5392467"/>
              <a:gd name="connsiteX2542" fmla="*/ 5973548 w 6096001"/>
              <a:gd name="connsiteY2542" fmla="*/ 1371279 h 5392467"/>
              <a:gd name="connsiteX2543" fmla="*/ 5981285 w 6096001"/>
              <a:gd name="connsiteY2543" fmla="*/ 1375148 h 5392467"/>
              <a:gd name="connsiteX2544" fmla="*/ 5977417 w 6096001"/>
              <a:gd name="connsiteY2544" fmla="*/ 1359675 h 5392467"/>
              <a:gd name="connsiteX2545" fmla="*/ 5979352 w 6096001"/>
              <a:gd name="connsiteY2545" fmla="*/ 1357739 h 5392467"/>
              <a:gd name="connsiteX2546" fmla="*/ 5985153 w 6096001"/>
              <a:gd name="connsiteY2546" fmla="*/ 1365478 h 5392467"/>
              <a:gd name="connsiteX2547" fmla="*/ 5998691 w 6096001"/>
              <a:gd name="connsiteY2547" fmla="*/ 1353873 h 5392467"/>
              <a:gd name="connsiteX2548" fmla="*/ 5990954 w 6096001"/>
              <a:gd name="connsiteY2548" fmla="*/ 1338398 h 5392467"/>
              <a:gd name="connsiteX2549" fmla="*/ 5969680 w 6096001"/>
              <a:gd name="connsiteY2549" fmla="*/ 1332597 h 5392467"/>
              <a:gd name="connsiteX2550" fmla="*/ 6021900 w 6096001"/>
              <a:gd name="connsiteY2550" fmla="*/ 1290046 h 5392467"/>
              <a:gd name="connsiteX2551" fmla="*/ 6018032 w 6096001"/>
              <a:gd name="connsiteY2551" fmla="*/ 1313255 h 5392467"/>
              <a:gd name="connsiteX2552" fmla="*/ 6012228 w 6096001"/>
              <a:gd name="connsiteY2552" fmla="*/ 1305519 h 5392467"/>
              <a:gd name="connsiteX2553" fmla="*/ 6008363 w 6096001"/>
              <a:gd name="connsiteY2553" fmla="*/ 1320992 h 5392467"/>
              <a:gd name="connsiteX2554" fmla="*/ 6000626 w 6096001"/>
              <a:gd name="connsiteY2554" fmla="*/ 1328729 h 5392467"/>
              <a:gd name="connsiteX2555" fmla="*/ 6008363 w 6096001"/>
              <a:gd name="connsiteY2555" fmla="*/ 1336465 h 5392467"/>
              <a:gd name="connsiteX2556" fmla="*/ 6010295 w 6096001"/>
              <a:gd name="connsiteY2556" fmla="*/ 1348070 h 5392467"/>
              <a:gd name="connsiteX2557" fmla="*/ 6012406 w 6096001"/>
              <a:gd name="connsiteY2557" fmla="*/ 1347015 h 5392467"/>
              <a:gd name="connsiteX2558" fmla="*/ 6016099 w 6096001"/>
              <a:gd name="connsiteY2558" fmla="*/ 1351938 h 5392467"/>
              <a:gd name="connsiteX2559" fmla="*/ 6002559 w 6096001"/>
              <a:gd name="connsiteY2559" fmla="*/ 1377081 h 5392467"/>
              <a:gd name="connsiteX2560" fmla="*/ 6025769 w 6096001"/>
              <a:gd name="connsiteY2560" fmla="*/ 1363543 h 5392467"/>
              <a:gd name="connsiteX2561" fmla="*/ 6045110 w 6096001"/>
              <a:gd name="connsiteY2561" fmla="*/ 1350003 h 5392467"/>
              <a:gd name="connsiteX2562" fmla="*/ 6043177 w 6096001"/>
              <a:gd name="connsiteY2562" fmla="*/ 1355806 h 5392467"/>
              <a:gd name="connsiteX2563" fmla="*/ 6031570 w 6096001"/>
              <a:gd name="connsiteY2563" fmla="*/ 1371279 h 5392467"/>
              <a:gd name="connsiteX2564" fmla="*/ 6021900 w 6096001"/>
              <a:gd name="connsiteY2564" fmla="*/ 1379338 h 5392467"/>
              <a:gd name="connsiteX2565" fmla="*/ 6021900 w 6096001"/>
              <a:gd name="connsiteY2565" fmla="*/ 1375148 h 5392467"/>
              <a:gd name="connsiteX2566" fmla="*/ 6016099 w 6096001"/>
              <a:gd name="connsiteY2566" fmla="*/ 1375148 h 5392467"/>
              <a:gd name="connsiteX2567" fmla="*/ 6016099 w 6096001"/>
              <a:gd name="connsiteY2567" fmla="*/ 1379016 h 5392467"/>
              <a:gd name="connsiteX2568" fmla="*/ 6020519 w 6096001"/>
              <a:gd name="connsiteY2568" fmla="*/ 1380489 h 5392467"/>
              <a:gd name="connsiteX2569" fmla="*/ 6019967 w 6096001"/>
              <a:gd name="connsiteY2569" fmla="*/ 1380949 h 5392467"/>
              <a:gd name="connsiteX2570" fmla="*/ 6014164 w 6096001"/>
              <a:gd name="connsiteY2570" fmla="*/ 1382884 h 5392467"/>
              <a:gd name="connsiteX2571" fmla="*/ 5989021 w 6096001"/>
              <a:gd name="connsiteY2571" fmla="*/ 1384817 h 5392467"/>
              <a:gd name="connsiteX2572" fmla="*/ 5987086 w 6096001"/>
              <a:gd name="connsiteY2572" fmla="*/ 1385301 h 5392467"/>
              <a:gd name="connsiteX2573" fmla="*/ 5987086 w 6096001"/>
              <a:gd name="connsiteY2573" fmla="*/ 1377081 h 5392467"/>
              <a:gd name="connsiteX2574" fmla="*/ 5983218 w 6096001"/>
              <a:gd name="connsiteY2574" fmla="*/ 1377081 h 5392467"/>
              <a:gd name="connsiteX2575" fmla="*/ 5979350 w 6096001"/>
              <a:gd name="connsiteY2575" fmla="*/ 1386027 h 5392467"/>
              <a:gd name="connsiteX2576" fmla="*/ 5982327 w 6096001"/>
              <a:gd name="connsiteY2576" fmla="*/ 1387795 h 5392467"/>
              <a:gd name="connsiteX2577" fmla="*/ 5987086 w 6096001"/>
              <a:gd name="connsiteY2577" fmla="*/ 1392554 h 5392467"/>
              <a:gd name="connsiteX2578" fmla="*/ 5989021 w 6096001"/>
              <a:gd name="connsiteY2578" fmla="*/ 1406094 h 5392467"/>
              <a:gd name="connsiteX2579" fmla="*/ 5971613 w 6096001"/>
              <a:gd name="connsiteY2579" fmla="*/ 1421567 h 5392467"/>
              <a:gd name="connsiteX2580" fmla="*/ 5958075 w 6096001"/>
              <a:gd name="connsiteY2580" fmla="*/ 1431236 h 5392467"/>
              <a:gd name="connsiteX2581" fmla="*/ 5946470 w 6096001"/>
              <a:gd name="connsiteY2581" fmla="*/ 1442841 h 5392467"/>
              <a:gd name="connsiteX2582" fmla="*/ 5940669 w 6096001"/>
              <a:gd name="connsiteY2582" fmla="*/ 1454446 h 5392467"/>
              <a:gd name="connsiteX2583" fmla="*/ 5942602 w 6096001"/>
              <a:gd name="connsiteY2583" fmla="*/ 1456379 h 5392467"/>
              <a:gd name="connsiteX2584" fmla="*/ 5987086 w 6096001"/>
              <a:gd name="connsiteY2584" fmla="*/ 1423500 h 5392467"/>
              <a:gd name="connsiteX2585" fmla="*/ 5992890 w 6096001"/>
              <a:gd name="connsiteY2585" fmla="*/ 1429303 h 5392467"/>
              <a:gd name="connsiteX2586" fmla="*/ 6002559 w 6096001"/>
              <a:gd name="connsiteY2586" fmla="*/ 1417699 h 5392467"/>
              <a:gd name="connsiteX2587" fmla="*/ 6016099 w 6096001"/>
              <a:gd name="connsiteY2587" fmla="*/ 1423500 h 5392467"/>
              <a:gd name="connsiteX2588" fmla="*/ 5983218 w 6096001"/>
              <a:gd name="connsiteY2588" fmla="*/ 1458314 h 5392467"/>
              <a:gd name="connsiteX2589" fmla="*/ 5936801 w 6096001"/>
              <a:gd name="connsiteY2589" fmla="*/ 1504733 h 5392467"/>
              <a:gd name="connsiteX2590" fmla="*/ 5912866 w 6096001"/>
              <a:gd name="connsiteY2590" fmla="*/ 1523347 h 5392467"/>
              <a:gd name="connsiteX2591" fmla="*/ 5890595 w 6096001"/>
              <a:gd name="connsiteY2591" fmla="*/ 1530009 h 5392467"/>
              <a:gd name="connsiteX2592" fmla="*/ 5892317 w 6096001"/>
              <a:gd name="connsiteY2592" fmla="*/ 1527943 h 5392467"/>
              <a:gd name="connsiteX2593" fmla="*/ 5898118 w 6096001"/>
              <a:gd name="connsiteY2593" fmla="*/ 1522139 h 5392467"/>
              <a:gd name="connsiteX2594" fmla="*/ 5890382 w 6096001"/>
              <a:gd name="connsiteY2594" fmla="*/ 1522139 h 5392467"/>
              <a:gd name="connsiteX2595" fmla="*/ 5875713 w 6096001"/>
              <a:gd name="connsiteY2595" fmla="*/ 1538142 h 5392467"/>
              <a:gd name="connsiteX2596" fmla="*/ 5871041 w 6096001"/>
              <a:gd name="connsiteY2596" fmla="*/ 1541480 h 5392467"/>
              <a:gd name="connsiteX2597" fmla="*/ 5856293 w 6096001"/>
              <a:gd name="connsiteY2597" fmla="*/ 1566382 h 5392467"/>
              <a:gd name="connsiteX2598" fmla="*/ 5846918 w 6096001"/>
              <a:gd name="connsiteY2598" fmla="*/ 1573903 h 5392467"/>
              <a:gd name="connsiteX2599" fmla="*/ 5843963 w 6096001"/>
              <a:gd name="connsiteY2599" fmla="*/ 1572426 h 5392467"/>
              <a:gd name="connsiteX2600" fmla="*/ 5840095 w 6096001"/>
              <a:gd name="connsiteY2600" fmla="*/ 1578227 h 5392467"/>
              <a:gd name="connsiteX2601" fmla="*/ 5840732 w 6096001"/>
              <a:gd name="connsiteY2601" fmla="*/ 1578866 h 5392467"/>
              <a:gd name="connsiteX2602" fmla="*/ 5834293 w 6096001"/>
              <a:gd name="connsiteY2602" fmla="*/ 1584031 h 5392467"/>
              <a:gd name="connsiteX2603" fmla="*/ 5828490 w 6096001"/>
              <a:gd name="connsiteY2603" fmla="*/ 1580163 h 5392467"/>
              <a:gd name="connsiteX2604" fmla="*/ 5828490 w 6096001"/>
              <a:gd name="connsiteY2604" fmla="*/ 1585964 h 5392467"/>
              <a:gd name="connsiteX2605" fmla="*/ 5831678 w 6096001"/>
              <a:gd name="connsiteY2605" fmla="*/ 1585964 h 5392467"/>
              <a:gd name="connsiteX2606" fmla="*/ 5814235 w 6096001"/>
              <a:gd name="connsiteY2606" fmla="*/ 1598856 h 5392467"/>
              <a:gd name="connsiteX2607" fmla="*/ 5813501 w 6096001"/>
              <a:gd name="connsiteY2607" fmla="*/ 1598537 h 5392467"/>
              <a:gd name="connsiteX2608" fmla="*/ 5805280 w 6096001"/>
              <a:gd name="connsiteY2608" fmla="*/ 1605305 h 5392467"/>
              <a:gd name="connsiteX2609" fmla="*/ 5803347 w 6096001"/>
              <a:gd name="connsiteY2609" fmla="*/ 1585964 h 5392467"/>
              <a:gd name="connsiteX2610" fmla="*/ 5770466 w 6096001"/>
              <a:gd name="connsiteY2610" fmla="*/ 1603834 h 5392467"/>
              <a:gd name="connsiteX2611" fmla="*/ 5770466 w 6096001"/>
              <a:gd name="connsiteY2611" fmla="*/ 1599504 h 5392467"/>
              <a:gd name="connsiteX2612" fmla="*/ 5757403 w 6096001"/>
              <a:gd name="connsiteY2612" fmla="*/ 1610934 h 5392467"/>
              <a:gd name="connsiteX2613" fmla="*/ 5714378 w 6096001"/>
              <a:gd name="connsiteY2613" fmla="*/ 1634316 h 5392467"/>
              <a:gd name="connsiteX2614" fmla="*/ 5695036 w 6096001"/>
              <a:gd name="connsiteY2614" fmla="*/ 1647856 h 5392467"/>
              <a:gd name="connsiteX2615" fmla="*/ 5660224 w 6096001"/>
              <a:gd name="connsiteY2615" fmla="*/ 1671066 h 5392467"/>
              <a:gd name="connsiteX2616" fmla="*/ 5650553 w 6096001"/>
              <a:gd name="connsiteY2616" fmla="*/ 1672999 h 5392467"/>
              <a:gd name="connsiteX2617" fmla="*/ 5642816 w 6096001"/>
              <a:gd name="connsiteY2617" fmla="*/ 1672999 h 5392467"/>
              <a:gd name="connsiteX2618" fmla="*/ 5640883 w 6096001"/>
              <a:gd name="connsiteY2618" fmla="*/ 1674934 h 5392467"/>
              <a:gd name="connsiteX2619" fmla="*/ 5638948 w 6096001"/>
              <a:gd name="connsiteY2619" fmla="*/ 1682670 h 5392467"/>
              <a:gd name="connsiteX2620" fmla="*/ 5635080 w 6096001"/>
              <a:gd name="connsiteY2620" fmla="*/ 1690407 h 5392467"/>
              <a:gd name="connsiteX2621" fmla="*/ 5631211 w 6096001"/>
              <a:gd name="connsiteY2621" fmla="*/ 1694275 h 5392467"/>
              <a:gd name="connsiteX2622" fmla="*/ 5644749 w 6096001"/>
              <a:gd name="connsiteY2622" fmla="*/ 1698144 h 5392467"/>
              <a:gd name="connsiteX2623" fmla="*/ 5625410 w 6096001"/>
              <a:gd name="connsiteY2623" fmla="*/ 1700077 h 5392467"/>
              <a:gd name="connsiteX2624" fmla="*/ 5619607 w 6096001"/>
              <a:gd name="connsiteY2624" fmla="*/ 1705878 h 5392467"/>
              <a:gd name="connsiteX2625" fmla="*/ 5617674 w 6096001"/>
              <a:gd name="connsiteY2625" fmla="*/ 1690407 h 5392467"/>
              <a:gd name="connsiteX2626" fmla="*/ 5617674 w 6096001"/>
              <a:gd name="connsiteY2626" fmla="*/ 1688472 h 5392467"/>
              <a:gd name="connsiteX2627" fmla="*/ 5604133 w 6096001"/>
              <a:gd name="connsiteY2627" fmla="*/ 1696208 h 5392467"/>
              <a:gd name="connsiteX2628" fmla="*/ 5623475 w 6096001"/>
              <a:gd name="connsiteY2628" fmla="*/ 1731022 h 5392467"/>
              <a:gd name="connsiteX2629" fmla="*/ 5625410 w 6096001"/>
              <a:gd name="connsiteY2629" fmla="*/ 1732958 h 5392467"/>
              <a:gd name="connsiteX2630" fmla="*/ 5631211 w 6096001"/>
              <a:gd name="connsiteY2630" fmla="*/ 1727154 h 5392467"/>
              <a:gd name="connsiteX2631" fmla="*/ 5644749 w 6096001"/>
              <a:gd name="connsiteY2631" fmla="*/ 1731022 h 5392467"/>
              <a:gd name="connsiteX2632" fmla="*/ 5648620 w 6096001"/>
              <a:gd name="connsiteY2632" fmla="*/ 1727154 h 5392467"/>
              <a:gd name="connsiteX2633" fmla="*/ 5640883 w 6096001"/>
              <a:gd name="connsiteY2633" fmla="*/ 1725219 h 5392467"/>
              <a:gd name="connsiteX2634" fmla="*/ 5650553 w 6096001"/>
              <a:gd name="connsiteY2634" fmla="*/ 1717482 h 5392467"/>
              <a:gd name="connsiteX2635" fmla="*/ 5654421 w 6096001"/>
              <a:gd name="connsiteY2635" fmla="*/ 1719418 h 5392467"/>
              <a:gd name="connsiteX2636" fmla="*/ 5661103 w 6096001"/>
              <a:gd name="connsiteY2636" fmla="*/ 1711066 h 5392467"/>
              <a:gd name="connsiteX2637" fmla="*/ 5656356 w 6096001"/>
              <a:gd name="connsiteY2637" fmla="*/ 1721353 h 5392467"/>
              <a:gd name="connsiteX2638" fmla="*/ 5664090 w 6096001"/>
              <a:gd name="connsiteY2638" fmla="*/ 1734891 h 5392467"/>
              <a:gd name="connsiteX2639" fmla="*/ 5660224 w 6096001"/>
              <a:gd name="connsiteY2639" fmla="*/ 1740692 h 5392467"/>
              <a:gd name="connsiteX2640" fmla="*/ 5664090 w 6096001"/>
              <a:gd name="connsiteY2640" fmla="*/ 1744560 h 5392467"/>
              <a:gd name="connsiteX2641" fmla="*/ 5667959 w 6096001"/>
              <a:gd name="connsiteY2641" fmla="*/ 1748429 h 5392467"/>
              <a:gd name="connsiteX2642" fmla="*/ 5666026 w 6096001"/>
              <a:gd name="connsiteY2642" fmla="*/ 1752297 h 5392467"/>
              <a:gd name="connsiteX2643" fmla="*/ 5664090 w 6096001"/>
              <a:gd name="connsiteY2643" fmla="*/ 1754232 h 5392467"/>
              <a:gd name="connsiteX2644" fmla="*/ 5664090 w 6096001"/>
              <a:gd name="connsiteY2644" fmla="*/ 1779374 h 5392467"/>
              <a:gd name="connsiteX2645" fmla="*/ 5666026 w 6096001"/>
              <a:gd name="connsiteY2645" fmla="*/ 1779374 h 5392467"/>
              <a:gd name="connsiteX2646" fmla="*/ 5666026 w 6096001"/>
              <a:gd name="connsiteY2646" fmla="*/ 1781310 h 5392467"/>
              <a:gd name="connsiteX2647" fmla="*/ 5664090 w 6096001"/>
              <a:gd name="connsiteY2647" fmla="*/ 1785178 h 5392467"/>
              <a:gd name="connsiteX2648" fmla="*/ 5667959 w 6096001"/>
              <a:gd name="connsiteY2648" fmla="*/ 1785178 h 5392467"/>
              <a:gd name="connsiteX2649" fmla="*/ 5658289 w 6096001"/>
              <a:gd name="connsiteY2649" fmla="*/ 1792912 h 5392467"/>
              <a:gd name="connsiteX2650" fmla="*/ 5654421 w 6096001"/>
              <a:gd name="connsiteY2650" fmla="*/ 1794848 h 5392467"/>
              <a:gd name="connsiteX2651" fmla="*/ 5653777 w 6096001"/>
              <a:gd name="connsiteY2651" fmla="*/ 1795492 h 5392467"/>
              <a:gd name="connsiteX2652" fmla="*/ 5652488 w 6096001"/>
              <a:gd name="connsiteY2652" fmla="*/ 1792912 h 5392467"/>
              <a:gd name="connsiteX2653" fmla="*/ 5648620 w 6096001"/>
              <a:gd name="connsiteY2653" fmla="*/ 1792912 h 5392467"/>
              <a:gd name="connsiteX2654" fmla="*/ 5631211 w 6096001"/>
              <a:gd name="connsiteY2654" fmla="*/ 1812254 h 5392467"/>
              <a:gd name="connsiteX2655" fmla="*/ 5631521 w 6096001"/>
              <a:gd name="connsiteY2655" fmla="*/ 1814730 h 5392467"/>
              <a:gd name="connsiteX2656" fmla="*/ 5621542 w 6096001"/>
              <a:gd name="connsiteY2656" fmla="*/ 1818057 h 5392467"/>
              <a:gd name="connsiteX2657" fmla="*/ 5631211 w 6096001"/>
              <a:gd name="connsiteY2657" fmla="*/ 1825794 h 5392467"/>
              <a:gd name="connsiteX2658" fmla="*/ 5632854 w 6096001"/>
              <a:gd name="connsiteY2658" fmla="*/ 1825383 h 5392467"/>
              <a:gd name="connsiteX2659" fmla="*/ 5633147 w 6096001"/>
              <a:gd name="connsiteY2659" fmla="*/ 1827726 h 5392467"/>
              <a:gd name="connsiteX2660" fmla="*/ 5633147 w 6096001"/>
              <a:gd name="connsiteY2660" fmla="*/ 1839331 h 5392467"/>
              <a:gd name="connsiteX2661" fmla="*/ 5646684 w 6096001"/>
              <a:gd name="connsiteY2661" fmla="*/ 1829662 h 5392467"/>
              <a:gd name="connsiteX2662" fmla="*/ 5654421 w 6096001"/>
              <a:gd name="connsiteY2662" fmla="*/ 1829662 h 5392467"/>
              <a:gd name="connsiteX2663" fmla="*/ 5648620 w 6096001"/>
              <a:gd name="connsiteY2663" fmla="*/ 1841267 h 5392467"/>
              <a:gd name="connsiteX2664" fmla="*/ 5667959 w 6096001"/>
              <a:gd name="connsiteY2664" fmla="*/ 1831595 h 5392467"/>
              <a:gd name="connsiteX2665" fmla="*/ 5671829 w 6096001"/>
              <a:gd name="connsiteY2665" fmla="*/ 1829662 h 5392467"/>
              <a:gd name="connsiteX2666" fmla="*/ 5673762 w 6096001"/>
              <a:gd name="connsiteY2666" fmla="*/ 1825794 h 5392467"/>
              <a:gd name="connsiteX2667" fmla="*/ 5689235 w 6096001"/>
              <a:gd name="connsiteY2667" fmla="*/ 1814189 h 5392467"/>
              <a:gd name="connsiteX2668" fmla="*/ 5683432 w 6096001"/>
              <a:gd name="connsiteY2668" fmla="*/ 1821925 h 5392467"/>
              <a:gd name="connsiteX2669" fmla="*/ 5700840 w 6096001"/>
              <a:gd name="connsiteY2669" fmla="*/ 1823858 h 5392467"/>
              <a:gd name="connsiteX2670" fmla="*/ 5704708 w 6096001"/>
              <a:gd name="connsiteY2670" fmla="*/ 1833530 h 5392467"/>
              <a:gd name="connsiteX2671" fmla="*/ 5691168 w 6096001"/>
              <a:gd name="connsiteY2671" fmla="*/ 1845135 h 5392467"/>
              <a:gd name="connsiteX2672" fmla="*/ 5683432 w 6096001"/>
              <a:gd name="connsiteY2672" fmla="*/ 1839331 h 5392467"/>
              <a:gd name="connsiteX2673" fmla="*/ 5671829 w 6096001"/>
              <a:gd name="connsiteY2673" fmla="*/ 1833530 h 5392467"/>
              <a:gd name="connsiteX2674" fmla="*/ 5658289 w 6096001"/>
              <a:gd name="connsiteY2674" fmla="*/ 1850936 h 5392467"/>
              <a:gd name="connsiteX2675" fmla="*/ 5666026 w 6096001"/>
              <a:gd name="connsiteY2675" fmla="*/ 1852871 h 5392467"/>
              <a:gd name="connsiteX2676" fmla="*/ 5646684 w 6096001"/>
              <a:gd name="connsiteY2676" fmla="*/ 1870277 h 5392467"/>
              <a:gd name="connsiteX2677" fmla="*/ 5650553 w 6096001"/>
              <a:gd name="connsiteY2677" fmla="*/ 1856740 h 5392467"/>
              <a:gd name="connsiteX2678" fmla="*/ 5631211 w 6096001"/>
              <a:gd name="connsiteY2678" fmla="*/ 1864476 h 5392467"/>
              <a:gd name="connsiteX2679" fmla="*/ 5623475 w 6096001"/>
              <a:gd name="connsiteY2679" fmla="*/ 1870277 h 5392467"/>
              <a:gd name="connsiteX2680" fmla="*/ 5604133 w 6096001"/>
              <a:gd name="connsiteY2680" fmla="*/ 1924433 h 5392467"/>
              <a:gd name="connsiteX2681" fmla="*/ 5588663 w 6096001"/>
              <a:gd name="connsiteY2681" fmla="*/ 1965049 h 5392467"/>
              <a:gd name="connsiteX2682" fmla="*/ 5565453 w 6096001"/>
              <a:gd name="connsiteY2682" fmla="*/ 2015336 h 5392467"/>
              <a:gd name="connsiteX2683" fmla="*/ 5582859 w 6096001"/>
              <a:gd name="connsiteY2683" fmla="*/ 2011468 h 5392467"/>
              <a:gd name="connsiteX2684" fmla="*/ 5588663 w 6096001"/>
              <a:gd name="connsiteY2684" fmla="*/ 2013400 h 5392467"/>
              <a:gd name="connsiteX2685" fmla="*/ 5561585 w 6096001"/>
              <a:gd name="connsiteY2685" fmla="*/ 2025005 h 5392467"/>
              <a:gd name="connsiteX2686" fmla="*/ 5544177 w 6096001"/>
              <a:gd name="connsiteY2686" fmla="*/ 2065623 h 5392467"/>
              <a:gd name="connsiteX2687" fmla="*/ 5542244 w 6096001"/>
              <a:gd name="connsiteY2687" fmla="*/ 2069491 h 5392467"/>
              <a:gd name="connsiteX2688" fmla="*/ 5559650 w 6096001"/>
              <a:gd name="connsiteY2688" fmla="*/ 2063688 h 5392467"/>
              <a:gd name="connsiteX2689" fmla="*/ 5546112 w 6096001"/>
              <a:gd name="connsiteY2689" fmla="*/ 2081096 h 5392467"/>
              <a:gd name="connsiteX2690" fmla="*/ 5536440 w 6096001"/>
              <a:gd name="connsiteY2690" fmla="*/ 2088830 h 5392467"/>
              <a:gd name="connsiteX2691" fmla="*/ 5530639 w 6096001"/>
              <a:gd name="connsiteY2691" fmla="*/ 2092698 h 5392467"/>
              <a:gd name="connsiteX2692" fmla="*/ 5497758 w 6096001"/>
              <a:gd name="connsiteY2692" fmla="*/ 2170064 h 5392467"/>
              <a:gd name="connsiteX2693" fmla="*/ 5490021 w 6096001"/>
              <a:gd name="connsiteY2693" fmla="*/ 2193273 h 5392467"/>
              <a:gd name="connsiteX2694" fmla="*/ 5488088 w 6096001"/>
              <a:gd name="connsiteY2694" fmla="*/ 2206811 h 5392467"/>
              <a:gd name="connsiteX2695" fmla="*/ 5503561 w 6096001"/>
              <a:gd name="connsiteY2695" fmla="*/ 2201010 h 5392467"/>
              <a:gd name="connsiteX2696" fmla="*/ 5546112 w 6096001"/>
              <a:gd name="connsiteY2696" fmla="*/ 2183602 h 5392467"/>
              <a:gd name="connsiteX2697" fmla="*/ 5679566 w 6096001"/>
              <a:gd name="connsiteY2697" fmla="*/ 2123645 h 5392467"/>
              <a:gd name="connsiteX2698" fmla="*/ 5720181 w 6096001"/>
              <a:gd name="connsiteY2698" fmla="*/ 2113975 h 5392467"/>
              <a:gd name="connsiteX2699" fmla="*/ 5756928 w 6096001"/>
              <a:gd name="connsiteY2699" fmla="*/ 2113975 h 5392467"/>
              <a:gd name="connsiteX2700" fmla="*/ 5782073 w 6096001"/>
              <a:gd name="connsiteY2700" fmla="*/ 2121712 h 5392467"/>
              <a:gd name="connsiteX2701" fmla="*/ 5811084 w 6096001"/>
              <a:gd name="connsiteY2701" fmla="*/ 2129448 h 5392467"/>
              <a:gd name="connsiteX2702" fmla="*/ 5836226 w 6096001"/>
              <a:gd name="connsiteY2702" fmla="*/ 2141053 h 5392467"/>
              <a:gd name="connsiteX2703" fmla="*/ 5845898 w 6096001"/>
              <a:gd name="connsiteY2703" fmla="*/ 2148789 h 5392467"/>
              <a:gd name="connsiteX2704" fmla="*/ 5882645 w 6096001"/>
              <a:gd name="connsiteY2704" fmla="*/ 2175867 h 5392467"/>
              <a:gd name="connsiteX2705" fmla="*/ 5898118 w 6096001"/>
              <a:gd name="connsiteY2705" fmla="*/ 2195206 h 5392467"/>
              <a:gd name="connsiteX2706" fmla="*/ 5901987 w 6096001"/>
              <a:gd name="connsiteY2706" fmla="*/ 2199075 h 5392467"/>
              <a:gd name="connsiteX2707" fmla="*/ 5929065 w 6096001"/>
              <a:gd name="connsiteY2707" fmla="*/ 2230020 h 5392467"/>
              <a:gd name="connsiteX2708" fmla="*/ 5942602 w 6096001"/>
              <a:gd name="connsiteY2708" fmla="*/ 2251297 h 5392467"/>
              <a:gd name="connsiteX2709" fmla="*/ 5967745 w 6096001"/>
              <a:gd name="connsiteY2709" fmla="*/ 2289977 h 5392467"/>
              <a:gd name="connsiteX2710" fmla="*/ 5979352 w 6096001"/>
              <a:gd name="connsiteY2710" fmla="*/ 2305450 h 5392467"/>
              <a:gd name="connsiteX2711" fmla="*/ 5992890 w 6096001"/>
              <a:gd name="connsiteY2711" fmla="*/ 2326727 h 5392467"/>
              <a:gd name="connsiteX2712" fmla="*/ 6000626 w 6096001"/>
              <a:gd name="connsiteY2712" fmla="*/ 2349937 h 5392467"/>
              <a:gd name="connsiteX2713" fmla="*/ 6000626 w 6096001"/>
              <a:gd name="connsiteY2713" fmla="*/ 2371211 h 5392467"/>
              <a:gd name="connsiteX2714" fmla="*/ 6000626 w 6096001"/>
              <a:gd name="connsiteY2714" fmla="*/ 2377012 h 5392467"/>
              <a:gd name="connsiteX2715" fmla="*/ 6008363 w 6096001"/>
              <a:gd name="connsiteY2715" fmla="*/ 2446640 h 5392467"/>
              <a:gd name="connsiteX2716" fmla="*/ 5990954 w 6096001"/>
              <a:gd name="connsiteY2716" fmla="*/ 2489191 h 5392467"/>
              <a:gd name="connsiteX2717" fmla="*/ 5981285 w 6096001"/>
              <a:gd name="connsiteY2717" fmla="*/ 2508533 h 5392467"/>
              <a:gd name="connsiteX2718" fmla="*/ 5979352 w 6096001"/>
              <a:gd name="connsiteY2718" fmla="*/ 2514334 h 5392467"/>
              <a:gd name="connsiteX2719" fmla="*/ 5956142 w 6096001"/>
              <a:gd name="connsiteY2719" fmla="*/ 2547213 h 5392467"/>
              <a:gd name="connsiteX2720" fmla="*/ 5913591 w 6096001"/>
              <a:gd name="connsiteY2720" fmla="*/ 2599435 h 5392467"/>
              <a:gd name="connsiteX2721" fmla="*/ 5847831 w 6096001"/>
              <a:gd name="connsiteY2721" fmla="*/ 2655524 h 5392467"/>
              <a:gd name="connsiteX2722" fmla="*/ 5842028 w 6096001"/>
              <a:gd name="connsiteY2722" fmla="*/ 2659392 h 5392467"/>
              <a:gd name="connsiteX2723" fmla="*/ 5693103 w 6096001"/>
              <a:gd name="connsiteY2723" fmla="*/ 2759964 h 5392467"/>
              <a:gd name="connsiteX2724" fmla="*/ 5642816 w 6096001"/>
              <a:gd name="connsiteY2724" fmla="*/ 2804451 h 5392467"/>
              <a:gd name="connsiteX2725" fmla="*/ 5577056 w 6096001"/>
              <a:gd name="connsiteY2725" fmla="*/ 2862472 h 5392467"/>
              <a:gd name="connsiteX2726" fmla="*/ 5580924 w 6096001"/>
              <a:gd name="connsiteY2726" fmla="*/ 2866340 h 5392467"/>
              <a:gd name="connsiteX2727" fmla="*/ 5598332 w 6096001"/>
              <a:gd name="connsiteY2727" fmla="*/ 2854735 h 5392467"/>
              <a:gd name="connsiteX2728" fmla="*/ 5592531 w 6096001"/>
              <a:gd name="connsiteY2728" fmla="*/ 2868276 h 5392467"/>
              <a:gd name="connsiteX2729" fmla="*/ 5582859 w 6096001"/>
              <a:gd name="connsiteY2729" fmla="*/ 2870208 h 5392467"/>
              <a:gd name="connsiteX2730" fmla="*/ 5569322 w 6096001"/>
              <a:gd name="connsiteY2730" fmla="*/ 2881813 h 5392467"/>
              <a:gd name="connsiteX2731" fmla="*/ 5561585 w 6096001"/>
              <a:gd name="connsiteY2731" fmla="*/ 2887617 h 5392467"/>
              <a:gd name="connsiteX2732" fmla="*/ 5559650 w 6096001"/>
              <a:gd name="connsiteY2732" fmla="*/ 2889550 h 5392467"/>
              <a:gd name="connsiteX2733" fmla="*/ 5563518 w 6096001"/>
              <a:gd name="connsiteY2733" fmla="*/ 2893418 h 5392467"/>
              <a:gd name="connsiteX2734" fmla="*/ 5584795 w 6096001"/>
              <a:gd name="connsiteY2734" fmla="*/ 2883749 h 5392467"/>
              <a:gd name="connsiteX2735" fmla="*/ 5592531 w 6096001"/>
              <a:gd name="connsiteY2735" fmla="*/ 2885682 h 5392467"/>
              <a:gd name="connsiteX2736" fmla="*/ 5580924 w 6096001"/>
              <a:gd name="connsiteY2736" fmla="*/ 2889550 h 5392467"/>
              <a:gd name="connsiteX2737" fmla="*/ 5573190 w 6096001"/>
              <a:gd name="connsiteY2737" fmla="*/ 2893418 h 5392467"/>
              <a:gd name="connsiteX2738" fmla="*/ 5563518 w 6096001"/>
              <a:gd name="connsiteY2738" fmla="*/ 2897287 h 5392467"/>
              <a:gd name="connsiteX2739" fmla="*/ 5561585 w 6096001"/>
              <a:gd name="connsiteY2739" fmla="*/ 2897287 h 5392467"/>
              <a:gd name="connsiteX2740" fmla="*/ 5561585 w 6096001"/>
              <a:gd name="connsiteY2740" fmla="*/ 2899219 h 5392467"/>
              <a:gd name="connsiteX2741" fmla="*/ 5542244 w 6096001"/>
              <a:gd name="connsiteY2741" fmla="*/ 2901155 h 5392467"/>
              <a:gd name="connsiteX2742" fmla="*/ 5530639 w 6096001"/>
              <a:gd name="connsiteY2742" fmla="*/ 2903090 h 5392467"/>
              <a:gd name="connsiteX2743" fmla="*/ 5526771 w 6096001"/>
              <a:gd name="connsiteY2743" fmla="*/ 2906956 h 5392467"/>
              <a:gd name="connsiteX2744" fmla="*/ 5584795 w 6096001"/>
              <a:gd name="connsiteY2744" fmla="*/ 2910824 h 5392467"/>
              <a:gd name="connsiteX2745" fmla="*/ 5577056 w 6096001"/>
              <a:gd name="connsiteY2745" fmla="*/ 2912759 h 5392467"/>
              <a:gd name="connsiteX2746" fmla="*/ 5617674 w 6096001"/>
              <a:gd name="connsiteY2746" fmla="*/ 2916628 h 5392467"/>
              <a:gd name="connsiteX2747" fmla="*/ 5623475 w 6096001"/>
              <a:gd name="connsiteY2747" fmla="*/ 2916628 h 5392467"/>
              <a:gd name="connsiteX2748" fmla="*/ 5627343 w 6096001"/>
              <a:gd name="connsiteY2748" fmla="*/ 2916628 h 5392467"/>
              <a:gd name="connsiteX2749" fmla="*/ 5648620 w 6096001"/>
              <a:gd name="connsiteY2749" fmla="*/ 2905023 h 5392467"/>
              <a:gd name="connsiteX2750" fmla="*/ 5662157 w 6096001"/>
              <a:gd name="connsiteY2750" fmla="*/ 2899219 h 5392467"/>
              <a:gd name="connsiteX2751" fmla="*/ 5656356 w 6096001"/>
              <a:gd name="connsiteY2751" fmla="*/ 2905023 h 5392467"/>
              <a:gd name="connsiteX2752" fmla="*/ 5658289 w 6096001"/>
              <a:gd name="connsiteY2752" fmla="*/ 2906956 h 5392467"/>
              <a:gd name="connsiteX2753" fmla="*/ 5685367 w 6096001"/>
              <a:gd name="connsiteY2753" fmla="*/ 2910824 h 5392467"/>
              <a:gd name="connsiteX2754" fmla="*/ 5696972 w 6096001"/>
              <a:gd name="connsiteY2754" fmla="*/ 2891485 h 5392467"/>
              <a:gd name="connsiteX2755" fmla="*/ 5712445 w 6096001"/>
              <a:gd name="connsiteY2755" fmla="*/ 2891485 h 5392467"/>
              <a:gd name="connsiteX2756" fmla="*/ 5702773 w 6096001"/>
              <a:gd name="connsiteY2756" fmla="*/ 2895351 h 5392467"/>
              <a:gd name="connsiteX2757" fmla="*/ 5708576 w 6096001"/>
              <a:gd name="connsiteY2757" fmla="*/ 2901155 h 5392467"/>
              <a:gd name="connsiteX2758" fmla="*/ 5704708 w 6096001"/>
              <a:gd name="connsiteY2758" fmla="*/ 2908891 h 5392467"/>
              <a:gd name="connsiteX2759" fmla="*/ 5733719 w 6096001"/>
              <a:gd name="connsiteY2759" fmla="*/ 2908891 h 5392467"/>
              <a:gd name="connsiteX2760" fmla="*/ 5733719 w 6096001"/>
              <a:gd name="connsiteY2760" fmla="*/ 2916628 h 5392467"/>
              <a:gd name="connsiteX2761" fmla="*/ 5693103 w 6096001"/>
              <a:gd name="connsiteY2761" fmla="*/ 2922429 h 5392467"/>
              <a:gd name="connsiteX2762" fmla="*/ 5646684 w 6096001"/>
              <a:gd name="connsiteY2762" fmla="*/ 2926297 h 5392467"/>
              <a:gd name="connsiteX2763" fmla="*/ 5650553 w 6096001"/>
              <a:gd name="connsiteY2763" fmla="*/ 2930165 h 5392467"/>
              <a:gd name="connsiteX2764" fmla="*/ 5654421 w 6096001"/>
              <a:gd name="connsiteY2764" fmla="*/ 2934034 h 5392467"/>
              <a:gd name="connsiteX2765" fmla="*/ 5673762 w 6096001"/>
              <a:gd name="connsiteY2765" fmla="*/ 2932101 h 5392467"/>
              <a:gd name="connsiteX2766" fmla="*/ 5658289 w 6096001"/>
              <a:gd name="connsiteY2766" fmla="*/ 2939837 h 5392467"/>
              <a:gd name="connsiteX2767" fmla="*/ 5658289 w 6096001"/>
              <a:gd name="connsiteY2767" fmla="*/ 2947574 h 5392467"/>
              <a:gd name="connsiteX2768" fmla="*/ 5652488 w 6096001"/>
              <a:gd name="connsiteY2768" fmla="*/ 2959178 h 5392467"/>
              <a:gd name="connsiteX2769" fmla="*/ 5660224 w 6096001"/>
              <a:gd name="connsiteY2769" fmla="*/ 2959178 h 5392467"/>
              <a:gd name="connsiteX2770" fmla="*/ 5658289 w 6096001"/>
              <a:gd name="connsiteY2770" fmla="*/ 2963047 h 5392467"/>
              <a:gd name="connsiteX2771" fmla="*/ 5687300 w 6096001"/>
              <a:gd name="connsiteY2771" fmla="*/ 2963047 h 5392467"/>
              <a:gd name="connsiteX2772" fmla="*/ 5582859 w 6096001"/>
              <a:gd name="connsiteY2772" fmla="*/ 2988189 h 5392467"/>
              <a:gd name="connsiteX2773" fmla="*/ 5590596 w 6096001"/>
              <a:gd name="connsiteY2773" fmla="*/ 3003662 h 5392467"/>
              <a:gd name="connsiteX2774" fmla="*/ 5594464 w 6096001"/>
              <a:gd name="connsiteY2774" fmla="*/ 3007531 h 5392467"/>
              <a:gd name="connsiteX2775" fmla="*/ 5613805 w 6096001"/>
              <a:gd name="connsiteY2775" fmla="*/ 3009464 h 5392467"/>
              <a:gd name="connsiteX2776" fmla="*/ 5714378 w 6096001"/>
              <a:gd name="connsiteY2776" fmla="*/ 3017200 h 5392467"/>
              <a:gd name="connsiteX2777" fmla="*/ 5722114 w 6096001"/>
              <a:gd name="connsiteY2777" fmla="*/ 3009464 h 5392467"/>
              <a:gd name="connsiteX2778" fmla="*/ 5720181 w 6096001"/>
              <a:gd name="connsiteY2778" fmla="*/ 3019135 h 5392467"/>
              <a:gd name="connsiteX2779" fmla="*/ 5747259 w 6096001"/>
              <a:gd name="connsiteY2779" fmla="*/ 3024936 h 5392467"/>
              <a:gd name="connsiteX2780" fmla="*/ 5762732 w 6096001"/>
              <a:gd name="connsiteY2780" fmla="*/ 3024936 h 5392467"/>
              <a:gd name="connsiteX2781" fmla="*/ 5754993 w 6096001"/>
              <a:gd name="connsiteY2781" fmla="*/ 3028805 h 5392467"/>
              <a:gd name="connsiteX2782" fmla="*/ 5764665 w 6096001"/>
              <a:gd name="connsiteY2782" fmla="*/ 3036541 h 5392467"/>
              <a:gd name="connsiteX2783" fmla="*/ 5745324 w 6096001"/>
              <a:gd name="connsiteY2783" fmla="*/ 3036541 h 5392467"/>
              <a:gd name="connsiteX2784" fmla="*/ 5578991 w 6096001"/>
              <a:gd name="connsiteY2784" fmla="*/ 3021068 h 5392467"/>
              <a:gd name="connsiteX2785" fmla="*/ 5575123 w 6096001"/>
              <a:gd name="connsiteY2785" fmla="*/ 3021068 h 5392467"/>
              <a:gd name="connsiteX2786" fmla="*/ 5577056 w 6096001"/>
              <a:gd name="connsiteY2786" fmla="*/ 3026872 h 5392467"/>
              <a:gd name="connsiteX2787" fmla="*/ 5544177 w 6096001"/>
              <a:gd name="connsiteY2787" fmla="*/ 3024936 h 5392467"/>
              <a:gd name="connsiteX2788" fmla="*/ 5551913 w 6096001"/>
              <a:gd name="connsiteY2788" fmla="*/ 3032673 h 5392467"/>
              <a:gd name="connsiteX2789" fmla="*/ 5490021 w 6096001"/>
              <a:gd name="connsiteY2789" fmla="*/ 3034608 h 5392467"/>
              <a:gd name="connsiteX2790" fmla="*/ 5480352 w 6096001"/>
              <a:gd name="connsiteY2790" fmla="*/ 3038476 h 5392467"/>
              <a:gd name="connsiteX2791" fmla="*/ 5480352 w 6096001"/>
              <a:gd name="connsiteY2791" fmla="*/ 3034608 h 5392467"/>
              <a:gd name="connsiteX2792" fmla="*/ 5476483 w 6096001"/>
              <a:gd name="connsiteY2792" fmla="*/ 3034608 h 5392467"/>
              <a:gd name="connsiteX2793" fmla="*/ 5474551 w 6096001"/>
              <a:gd name="connsiteY2793" fmla="*/ 3048146 h 5392467"/>
              <a:gd name="connsiteX2794" fmla="*/ 5497758 w 6096001"/>
              <a:gd name="connsiteY2794" fmla="*/ 3048146 h 5392467"/>
              <a:gd name="connsiteX2795" fmla="*/ 5524838 w 6096001"/>
              <a:gd name="connsiteY2795" fmla="*/ 3044278 h 5392467"/>
              <a:gd name="connsiteX2796" fmla="*/ 5530639 w 6096001"/>
              <a:gd name="connsiteY2796" fmla="*/ 3040409 h 5392467"/>
              <a:gd name="connsiteX2797" fmla="*/ 5548045 w 6096001"/>
              <a:gd name="connsiteY2797" fmla="*/ 3036541 h 5392467"/>
              <a:gd name="connsiteX2798" fmla="*/ 5548045 w 6096001"/>
              <a:gd name="connsiteY2798" fmla="*/ 3040409 h 5392467"/>
              <a:gd name="connsiteX2799" fmla="*/ 5551913 w 6096001"/>
              <a:gd name="connsiteY2799" fmla="*/ 3042345 h 5392467"/>
              <a:gd name="connsiteX2800" fmla="*/ 5563518 w 6096001"/>
              <a:gd name="connsiteY2800" fmla="*/ 3040409 h 5392467"/>
              <a:gd name="connsiteX2801" fmla="*/ 5569322 w 6096001"/>
              <a:gd name="connsiteY2801" fmla="*/ 3040409 h 5392467"/>
              <a:gd name="connsiteX2802" fmla="*/ 5600265 w 6096001"/>
              <a:gd name="connsiteY2802" fmla="*/ 3042345 h 5392467"/>
              <a:gd name="connsiteX2803" fmla="*/ 5600265 w 6096001"/>
              <a:gd name="connsiteY2803" fmla="*/ 3040409 h 5392467"/>
              <a:gd name="connsiteX2804" fmla="*/ 5602201 w 6096001"/>
              <a:gd name="connsiteY2804" fmla="*/ 3042345 h 5392467"/>
              <a:gd name="connsiteX2805" fmla="*/ 5602201 w 6096001"/>
              <a:gd name="connsiteY2805" fmla="*/ 3044278 h 5392467"/>
              <a:gd name="connsiteX2806" fmla="*/ 5617674 w 6096001"/>
              <a:gd name="connsiteY2806" fmla="*/ 3046213 h 5392467"/>
              <a:gd name="connsiteX2807" fmla="*/ 5613805 w 6096001"/>
              <a:gd name="connsiteY2807" fmla="*/ 3044278 h 5392467"/>
              <a:gd name="connsiteX2808" fmla="*/ 5633147 w 6096001"/>
              <a:gd name="connsiteY2808" fmla="*/ 3036541 h 5392467"/>
              <a:gd name="connsiteX2809" fmla="*/ 5627343 w 6096001"/>
              <a:gd name="connsiteY2809" fmla="*/ 3046213 h 5392467"/>
              <a:gd name="connsiteX2810" fmla="*/ 5658289 w 6096001"/>
              <a:gd name="connsiteY2810" fmla="*/ 3050081 h 5392467"/>
              <a:gd name="connsiteX2811" fmla="*/ 5696972 w 6096001"/>
              <a:gd name="connsiteY2811" fmla="*/ 3052014 h 5392467"/>
              <a:gd name="connsiteX2812" fmla="*/ 5735654 w 6096001"/>
              <a:gd name="connsiteY2812" fmla="*/ 3057818 h 5392467"/>
              <a:gd name="connsiteX2813" fmla="*/ 5735654 w 6096001"/>
              <a:gd name="connsiteY2813" fmla="*/ 3055883 h 5392467"/>
              <a:gd name="connsiteX2814" fmla="*/ 5737587 w 6096001"/>
              <a:gd name="connsiteY2814" fmla="*/ 3057818 h 5392467"/>
              <a:gd name="connsiteX2815" fmla="*/ 5743391 w 6096001"/>
              <a:gd name="connsiteY2815" fmla="*/ 3057818 h 5392467"/>
              <a:gd name="connsiteX2816" fmla="*/ 5751125 w 6096001"/>
              <a:gd name="connsiteY2816" fmla="*/ 3061686 h 5392467"/>
              <a:gd name="connsiteX2817" fmla="*/ 5735654 w 6096001"/>
              <a:gd name="connsiteY2817" fmla="*/ 3065555 h 5392467"/>
              <a:gd name="connsiteX2818" fmla="*/ 5731784 w 6096001"/>
              <a:gd name="connsiteY2818" fmla="*/ 3067487 h 5392467"/>
              <a:gd name="connsiteX2819" fmla="*/ 5745324 w 6096001"/>
              <a:gd name="connsiteY2819" fmla="*/ 3077159 h 5392467"/>
              <a:gd name="connsiteX2820" fmla="*/ 5768533 w 6096001"/>
              <a:gd name="connsiteY2820" fmla="*/ 3079092 h 5392467"/>
              <a:gd name="connsiteX2821" fmla="*/ 5782073 w 6096001"/>
              <a:gd name="connsiteY2821" fmla="*/ 3092630 h 5392467"/>
              <a:gd name="connsiteX2822" fmla="*/ 5770466 w 6096001"/>
              <a:gd name="connsiteY2822" fmla="*/ 3098433 h 5392467"/>
              <a:gd name="connsiteX2823" fmla="*/ 5662157 w 6096001"/>
              <a:gd name="connsiteY2823" fmla="*/ 3106170 h 5392467"/>
              <a:gd name="connsiteX2824" fmla="*/ 5633147 w 6096001"/>
              <a:gd name="connsiteY2824" fmla="*/ 3111971 h 5392467"/>
              <a:gd name="connsiteX2825" fmla="*/ 5623475 w 6096001"/>
              <a:gd name="connsiteY2825" fmla="*/ 3111971 h 5392467"/>
              <a:gd name="connsiteX2826" fmla="*/ 5635080 w 6096001"/>
              <a:gd name="connsiteY2826" fmla="*/ 3115839 h 5392467"/>
              <a:gd name="connsiteX2827" fmla="*/ 5648620 w 6096001"/>
              <a:gd name="connsiteY2827" fmla="*/ 3113907 h 5392467"/>
              <a:gd name="connsiteX2828" fmla="*/ 5644749 w 6096001"/>
              <a:gd name="connsiteY2828" fmla="*/ 3117775 h 5392467"/>
              <a:gd name="connsiteX2829" fmla="*/ 5648620 w 6096001"/>
              <a:gd name="connsiteY2829" fmla="*/ 3119708 h 5392467"/>
              <a:gd name="connsiteX2830" fmla="*/ 5652488 w 6096001"/>
              <a:gd name="connsiteY2830" fmla="*/ 3137116 h 5392467"/>
              <a:gd name="connsiteX2831" fmla="*/ 5644749 w 6096001"/>
              <a:gd name="connsiteY2831" fmla="*/ 3140984 h 5392467"/>
              <a:gd name="connsiteX2832" fmla="*/ 5642816 w 6096001"/>
              <a:gd name="connsiteY2832" fmla="*/ 3144852 h 5392467"/>
              <a:gd name="connsiteX2833" fmla="*/ 5652488 w 6096001"/>
              <a:gd name="connsiteY2833" fmla="*/ 3144852 h 5392467"/>
              <a:gd name="connsiteX2834" fmla="*/ 5658289 w 6096001"/>
              <a:gd name="connsiteY2834" fmla="*/ 3139049 h 5392467"/>
              <a:gd name="connsiteX2835" fmla="*/ 5669894 w 6096001"/>
              <a:gd name="connsiteY2835" fmla="*/ 3139049 h 5392467"/>
              <a:gd name="connsiteX2836" fmla="*/ 5669894 w 6096001"/>
              <a:gd name="connsiteY2836" fmla="*/ 3137116 h 5392467"/>
              <a:gd name="connsiteX2837" fmla="*/ 5677630 w 6096001"/>
              <a:gd name="connsiteY2837" fmla="*/ 3135181 h 5392467"/>
              <a:gd name="connsiteX2838" fmla="*/ 5677630 w 6096001"/>
              <a:gd name="connsiteY2838" fmla="*/ 3137116 h 5392467"/>
              <a:gd name="connsiteX2839" fmla="*/ 5681499 w 6096001"/>
              <a:gd name="connsiteY2839" fmla="*/ 3137116 h 5392467"/>
              <a:gd name="connsiteX2840" fmla="*/ 5708576 w 6096001"/>
              <a:gd name="connsiteY2840" fmla="*/ 3139049 h 5392467"/>
              <a:gd name="connsiteX2841" fmla="*/ 5809149 w 6096001"/>
              <a:gd name="connsiteY2841" fmla="*/ 3135181 h 5392467"/>
              <a:gd name="connsiteX2842" fmla="*/ 5830425 w 6096001"/>
              <a:gd name="connsiteY2842" fmla="*/ 3131312 h 5392467"/>
              <a:gd name="connsiteX2843" fmla="*/ 5876842 w 6096001"/>
              <a:gd name="connsiteY2843" fmla="*/ 3119708 h 5392467"/>
              <a:gd name="connsiteX2844" fmla="*/ 5894250 w 6096001"/>
              <a:gd name="connsiteY2844" fmla="*/ 3123576 h 5392467"/>
              <a:gd name="connsiteX2845" fmla="*/ 5896183 w 6096001"/>
              <a:gd name="connsiteY2845" fmla="*/ 3129379 h 5392467"/>
              <a:gd name="connsiteX2846" fmla="*/ 5892317 w 6096001"/>
              <a:gd name="connsiteY2846" fmla="*/ 3135181 h 5392467"/>
              <a:gd name="connsiteX2847" fmla="*/ 5871041 w 6096001"/>
              <a:gd name="connsiteY2847" fmla="*/ 3144852 h 5392467"/>
              <a:gd name="connsiteX2848" fmla="*/ 5882645 w 6096001"/>
              <a:gd name="connsiteY2848" fmla="*/ 3152589 h 5392467"/>
              <a:gd name="connsiteX2849" fmla="*/ 5956142 w 6096001"/>
              <a:gd name="connsiteY2849" fmla="*/ 3162259 h 5392467"/>
              <a:gd name="connsiteX2850" fmla="*/ 5884578 w 6096001"/>
              <a:gd name="connsiteY2850" fmla="*/ 3160326 h 5392467"/>
              <a:gd name="connsiteX2851" fmla="*/ 5853635 w 6096001"/>
              <a:gd name="connsiteY2851" fmla="*/ 3162259 h 5392467"/>
              <a:gd name="connsiteX2852" fmla="*/ 5820753 w 6096001"/>
              <a:gd name="connsiteY2852" fmla="*/ 3164194 h 5392467"/>
              <a:gd name="connsiteX2853" fmla="*/ 5797544 w 6096001"/>
              <a:gd name="connsiteY2853" fmla="*/ 3169995 h 5392467"/>
              <a:gd name="connsiteX2854" fmla="*/ 5809149 w 6096001"/>
              <a:gd name="connsiteY2854" fmla="*/ 3175796 h 5392467"/>
              <a:gd name="connsiteX2855" fmla="*/ 5855568 w 6096001"/>
              <a:gd name="connsiteY2855" fmla="*/ 3189336 h 5392467"/>
              <a:gd name="connsiteX2856" fmla="*/ 5898118 w 6096001"/>
              <a:gd name="connsiteY2856" fmla="*/ 3189336 h 5392467"/>
              <a:gd name="connsiteX2857" fmla="*/ 6018032 w 6096001"/>
              <a:gd name="connsiteY2857" fmla="*/ 3195137 h 5392467"/>
              <a:gd name="connsiteX2858" fmla="*/ 6043177 w 6096001"/>
              <a:gd name="connsiteY2858" fmla="*/ 3199006 h 5392467"/>
              <a:gd name="connsiteX2859" fmla="*/ 6037373 w 6096001"/>
              <a:gd name="connsiteY2859" fmla="*/ 3204809 h 5392467"/>
              <a:gd name="connsiteX2860" fmla="*/ 5956142 w 6096001"/>
              <a:gd name="connsiteY2860" fmla="*/ 3218347 h 5392467"/>
              <a:gd name="connsiteX2861" fmla="*/ 5901987 w 6096001"/>
              <a:gd name="connsiteY2861" fmla="*/ 3218347 h 5392467"/>
              <a:gd name="connsiteX2862" fmla="*/ 5898118 w 6096001"/>
              <a:gd name="connsiteY2862" fmla="*/ 3218347 h 5392467"/>
              <a:gd name="connsiteX2863" fmla="*/ 5890382 w 6096001"/>
              <a:gd name="connsiteY2863" fmla="*/ 3222215 h 5392467"/>
              <a:gd name="connsiteX2864" fmla="*/ 5890382 w 6096001"/>
              <a:gd name="connsiteY2864" fmla="*/ 3218347 h 5392467"/>
              <a:gd name="connsiteX2865" fmla="*/ 5853635 w 6096001"/>
              <a:gd name="connsiteY2865" fmla="*/ 3218347 h 5392467"/>
              <a:gd name="connsiteX2866" fmla="*/ 5838159 w 6096001"/>
              <a:gd name="connsiteY2866" fmla="*/ 3228019 h 5392467"/>
              <a:gd name="connsiteX2867" fmla="*/ 5822689 w 6096001"/>
              <a:gd name="connsiteY2867" fmla="*/ 3228019 h 5392467"/>
              <a:gd name="connsiteX2868" fmla="*/ 5822689 w 6096001"/>
              <a:gd name="connsiteY2868" fmla="*/ 3231887 h 5392467"/>
              <a:gd name="connsiteX2869" fmla="*/ 5851699 w 6096001"/>
              <a:gd name="connsiteY2869" fmla="*/ 3233820 h 5392467"/>
              <a:gd name="connsiteX2870" fmla="*/ 5869108 w 6096001"/>
              <a:gd name="connsiteY2870" fmla="*/ 3235755 h 5392467"/>
              <a:gd name="connsiteX2871" fmla="*/ 5874909 w 6096001"/>
              <a:gd name="connsiteY2871" fmla="*/ 3235755 h 5392467"/>
              <a:gd name="connsiteX2872" fmla="*/ 5898118 w 6096001"/>
              <a:gd name="connsiteY2872" fmla="*/ 3229952 h 5392467"/>
              <a:gd name="connsiteX2873" fmla="*/ 5915524 w 6096001"/>
              <a:gd name="connsiteY2873" fmla="*/ 3228019 h 5392467"/>
              <a:gd name="connsiteX2874" fmla="*/ 5942602 w 6096001"/>
              <a:gd name="connsiteY2874" fmla="*/ 3229952 h 5392467"/>
              <a:gd name="connsiteX2875" fmla="*/ 5930997 w 6096001"/>
              <a:gd name="connsiteY2875" fmla="*/ 3233820 h 5392467"/>
              <a:gd name="connsiteX2876" fmla="*/ 5942602 w 6096001"/>
              <a:gd name="connsiteY2876" fmla="*/ 3235755 h 5392467"/>
              <a:gd name="connsiteX2877" fmla="*/ 5930998 w 6096001"/>
              <a:gd name="connsiteY2877" fmla="*/ 3242040 h 5392467"/>
              <a:gd name="connsiteX2878" fmla="*/ 5927996 w 6096001"/>
              <a:gd name="connsiteY2878" fmla="*/ 3249793 h 5392467"/>
              <a:gd name="connsiteX2879" fmla="*/ 5926645 w 6096001"/>
              <a:gd name="connsiteY2879" fmla="*/ 3250018 h 5392467"/>
              <a:gd name="connsiteX2880" fmla="*/ 5925194 w 6096001"/>
              <a:gd name="connsiteY2880" fmla="*/ 3255094 h 5392467"/>
              <a:gd name="connsiteX2881" fmla="*/ 5926416 w 6096001"/>
              <a:gd name="connsiteY2881" fmla="*/ 3253872 h 5392467"/>
              <a:gd name="connsiteX2882" fmla="*/ 5925194 w 6096001"/>
              <a:gd name="connsiteY2882" fmla="*/ 3257029 h 5392467"/>
              <a:gd name="connsiteX2883" fmla="*/ 5989021 w 6096001"/>
              <a:gd name="connsiteY2883" fmla="*/ 3262831 h 5392467"/>
              <a:gd name="connsiteX2884" fmla="*/ 5987086 w 6096001"/>
              <a:gd name="connsiteY2884" fmla="*/ 3270570 h 5392467"/>
              <a:gd name="connsiteX2885" fmla="*/ 5983218 w 6096001"/>
              <a:gd name="connsiteY2885" fmla="*/ 3276371 h 5392467"/>
              <a:gd name="connsiteX2886" fmla="*/ 5973548 w 6096001"/>
              <a:gd name="connsiteY2886" fmla="*/ 3280239 h 5392467"/>
              <a:gd name="connsiteX2887" fmla="*/ 5952272 w 6096001"/>
              <a:gd name="connsiteY2887" fmla="*/ 3282172 h 5392467"/>
              <a:gd name="connsiteX2888" fmla="*/ 5958075 w 6096001"/>
              <a:gd name="connsiteY2888" fmla="*/ 3297645 h 5392467"/>
              <a:gd name="connsiteX2889" fmla="*/ 5973548 w 6096001"/>
              <a:gd name="connsiteY2889" fmla="*/ 3301513 h 5392467"/>
              <a:gd name="connsiteX2890" fmla="*/ 5985153 w 6096001"/>
              <a:gd name="connsiteY2890" fmla="*/ 3301513 h 5392467"/>
              <a:gd name="connsiteX2891" fmla="*/ 5973548 w 6096001"/>
              <a:gd name="connsiteY2891" fmla="*/ 3309250 h 5392467"/>
              <a:gd name="connsiteX2892" fmla="*/ 5977417 w 6096001"/>
              <a:gd name="connsiteY2892" fmla="*/ 3320855 h 5392467"/>
              <a:gd name="connsiteX2893" fmla="*/ 5994822 w 6096001"/>
              <a:gd name="connsiteY2893" fmla="*/ 3316986 h 5392467"/>
              <a:gd name="connsiteX2894" fmla="*/ 6027704 w 6096001"/>
              <a:gd name="connsiteY2894" fmla="*/ 3322790 h 5392467"/>
              <a:gd name="connsiteX2895" fmla="*/ 6016099 w 6096001"/>
              <a:gd name="connsiteY2895" fmla="*/ 3322790 h 5392467"/>
              <a:gd name="connsiteX2896" fmla="*/ 6004494 w 6096001"/>
              <a:gd name="connsiteY2896" fmla="*/ 3324723 h 5392467"/>
              <a:gd name="connsiteX2897" fmla="*/ 5996758 w 6096001"/>
              <a:gd name="connsiteY2897" fmla="*/ 3326658 h 5392467"/>
              <a:gd name="connsiteX2898" fmla="*/ 5985153 w 6096001"/>
              <a:gd name="connsiteY2898" fmla="*/ 3340196 h 5392467"/>
              <a:gd name="connsiteX2899" fmla="*/ 5971613 w 6096001"/>
              <a:gd name="connsiteY2899" fmla="*/ 3330527 h 5392467"/>
              <a:gd name="connsiteX2900" fmla="*/ 5967745 w 6096001"/>
              <a:gd name="connsiteY2900" fmla="*/ 3338263 h 5392467"/>
              <a:gd name="connsiteX2901" fmla="*/ 5925194 w 6096001"/>
              <a:gd name="connsiteY2901" fmla="*/ 3342129 h 5392467"/>
              <a:gd name="connsiteX2902" fmla="*/ 5921328 w 6096001"/>
              <a:gd name="connsiteY2902" fmla="*/ 3344064 h 5392467"/>
              <a:gd name="connsiteX2903" fmla="*/ 5948403 w 6096001"/>
              <a:gd name="connsiteY2903" fmla="*/ 3349865 h 5392467"/>
              <a:gd name="connsiteX2904" fmla="*/ 5909723 w 6096001"/>
              <a:gd name="connsiteY2904" fmla="*/ 3351801 h 5392467"/>
              <a:gd name="connsiteX2905" fmla="*/ 5907788 w 6096001"/>
              <a:gd name="connsiteY2905" fmla="*/ 3373075 h 5392467"/>
              <a:gd name="connsiteX2906" fmla="*/ 5969680 w 6096001"/>
              <a:gd name="connsiteY2906" fmla="*/ 3376943 h 5392467"/>
              <a:gd name="connsiteX2907" fmla="*/ 5942602 w 6096001"/>
              <a:gd name="connsiteY2907" fmla="*/ 3477518 h 5392467"/>
              <a:gd name="connsiteX2908" fmla="*/ 5867172 w 6096001"/>
              <a:gd name="connsiteY2908" fmla="*/ 3504595 h 5392467"/>
              <a:gd name="connsiteX2909" fmla="*/ 5824622 w 6096001"/>
              <a:gd name="connsiteY2909" fmla="*/ 3541343 h 5392467"/>
              <a:gd name="connsiteX2910" fmla="*/ 5720181 w 6096001"/>
              <a:gd name="connsiteY2910" fmla="*/ 3568420 h 5392467"/>
              <a:gd name="connsiteX2911" fmla="*/ 5722114 w 6096001"/>
              <a:gd name="connsiteY2911" fmla="*/ 3568420 h 5392467"/>
              <a:gd name="connsiteX2912" fmla="*/ 5762732 w 6096001"/>
              <a:gd name="connsiteY2912" fmla="*/ 3568420 h 5392467"/>
              <a:gd name="connsiteX2913" fmla="*/ 5824622 w 6096001"/>
              <a:gd name="connsiteY2913" fmla="*/ 3564552 h 5392467"/>
              <a:gd name="connsiteX2914" fmla="*/ 5834293 w 6096001"/>
              <a:gd name="connsiteY2914" fmla="*/ 3562617 h 5392467"/>
              <a:gd name="connsiteX2915" fmla="*/ 5855568 w 6096001"/>
              <a:gd name="connsiteY2915" fmla="*/ 3576157 h 5392467"/>
              <a:gd name="connsiteX2916" fmla="*/ 5836226 w 6096001"/>
              <a:gd name="connsiteY2916" fmla="*/ 3583894 h 5392467"/>
              <a:gd name="connsiteX2917" fmla="*/ 5762732 w 6096001"/>
              <a:gd name="connsiteY2917" fmla="*/ 3589695 h 5392467"/>
              <a:gd name="connsiteX2918" fmla="*/ 5741455 w 6096001"/>
              <a:gd name="connsiteY2918" fmla="*/ 3589695 h 5392467"/>
              <a:gd name="connsiteX2919" fmla="*/ 5702773 w 6096001"/>
              <a:gd name="connsiteY2919" fmla="*/ 3593563 h 5392467"/>
              <a:gd name="connsiteX2920" fmla="*/ 5716313 w 6096001"/>
              <a:gd name="connsiteY2920" fmla="*/ 3597431 h 5392467"/>
              <a:gd name="connsiteX2921" fmla="*/ 5718246 w 6096001"/>
              <a:gd name="connsiteY2921" fmla="*/ 3597431 h 5392467"/>
              <a:gd name="connsiteX2922" fmla="*/ 5762732 w 6096001"/>
              <a:gd name="connsiteY2922" fmla="*/ 3589695 h 5392467"/>
              <a:gd name="connsiteX2923" fmla="*/ 5749192 w 6096001"/>
              <a:gd name="connsiteY2923" fmla="*/ 3599367 h 5392467"/>
              <a:gd name="connsiteX2924" fmla="*/ 5768533 w 6096001"/>
              <a:gd name="connsiteY2924" fmla="*/ 3605168 h 5392467"/>
              <a:gd name="connsiteX2925" fmla="*/ 5774334 w 6096001"/>
              <a:gd name="connsiteY2925" fmla="*/ 3607103 h 5392467"/>
              <a:gd name="connsiteX2926" fmla="*/ 5785941 w 6096001"/>
              <a:gd name="connsiteY2926" fmla="*/ 3610969 h 5392467"/>
              <a:gd name="connsiteX2927" fmla="*/ 5797544 w 6096001"/>
              <a:gd name="connsiteY2927" fmla="*/ 3620641 h 5392467"/>
              <a:gd name="connsiteX2928" fmla="*/ 5799479 w 6096001"/>
              <a:gd name="connsiteY2928" fmla="*/ 3639982 h 5392467"/>
              <a:gd name="connsiteX2929" fmla="*/ 5789807 w 6096001"/>
              <a:gd name="connsiteY2929" fmla="*/ 3641915 h 5392467"/>
              <a:gd name="connsiteX2930" fmla="*/ 5793676 w 6096001"/>
              <a:gd name="connsiteY2930" fmla="*/ 3630310 h 5392467"/>
              <a:gd name="connsiteX2931" fmla="*/ 5772401 w 6096001"/>
              <a:gd name="connsiteY2931" fmla="*/ 3616773 h 5392467"/>
              <a:gd name="connsiteX2932" fmla="*/ 5762732 w 6096001"/>
              <a:gd name="connsiteY2932" fmla="*/ 3612904 h 5392467"/>
              <a:gd name="connsiteX2933" fmla="*/ 5749192 w 6096001"/>
              <a:gd name="connsiteY2933" fmla="*/ 3607103 h 5392467"/>
              <a:gd name="connsiteX2934" fmla="*/ 5722114 w 6096001"/>
              <a:gd name="connsiteY2934" fmla="*/ 3605168 h 5392467"/>
              <a:gd name="connsiteX2935" fmla="*/ 5687300 w 6096001"/>
              <a:gd name="connsiteY2935" fmla="*/ 3616773 h 5392467"/>
              <a:gd name="connsiteX2936" fmla="*/ 5671829 w 6096001"/>
              <a:gd name="connsiteY2936" fmla="*/ 3610969 h 5392467"/>
              <a:gd name="connsiteX2937" fmla="*/ 5667959 w 6096001"/>
              <a:gd name="connsiteY2937" fmla="*/ 3614840 h 5392467"/>
              <a:gd name="connsiteX2938" fmla="*/ 5666026 w 6096001"/>
              <a:gd name="connsiteY2938" fmla="*/ 3624509 h 5392467"/>
              <a:gd name="connsiteX2939" fmla="*/ 5681499 w 6096001"/>
              <a:gd name="connsiteY2939" fmla="*/ 3628377 h 5392467"/>
              <a:gd name="connsiteX2940" fmla="*/ 5669894 w 6096001"/>
              <a:gd name="connsiteY2940" fmla="*/ 3632246 h 5392467"/>
              <a:gd name="connsiteX2941" fmla="*/ 5675697 w 6096001"/>
              <a:gd name="connsiteY2941" fmla="*/ 3636114 h 5392467"/>
              <a:gd name="connsiteX2942" fmla="*/ 5689235 w 6096001"/>
              <a:gd name="connsiteY2942" fmla="*/ 3653520 h 5392467"/>
              <a:gd name="connsiteX2943" fmla="*/ 5675697 w 6096001"/>
              <a:gd name="connsiteY2943" fmla="*/ 3659323 h 5392467"/>
              <a:gd name="connsiteX2944" fmla="*/ 5681499 w 6096001"/>
              <a:gd name="connsiteY2944" fmla="*/ 3665125 h 5392467"/>
              <a:gd name="connsiteX2945" fmla="*/ 5716313 w 6096001"/>
              <a:gd name="connsiteY2945" fmla="*/ 3657388 h 5392467"/>
              <a:gd name="connsiteX2946" fmla="*/ 5747259 w 6096001"/>
              <a:gd name="connsiteY2946" fmla="*/ 3653520 h 5392467"/>
              <a:gd name="connsiteX2947" fmla="*/ 5747259 w 6096001"/>
              <a:gd name="connsiteY2947" fmla="*/ 3663192 h 5392467"/>
              <a:gd name="connsiteX2948" fmla="*/ 5689235 w 6096001"/>
              <a:gd name="connsiteY2948" fmla="*/ 3670928 h 5392467"/>
              <a:gd name="connsiteX2949" fmla="*/ 5695036 w 6096001"/>
              <a:gd name="connsiteY2949" fmla="*/ 3676729 h 5392467"/>
              <a:gd name="connsiteX2950" fmla="*/ 5696972 w 6096001"/>
              <a:gd name="connsiteY2950" fmla="*/ 3678665 h 5392467"/>
              <a:gd name="connsiteX2951" fmla="*/ 5702773 w 6096001"/>
              <a:gd name="connsiteY2951" fmla="*/ 3678665 h 5392467"/>
              <a:gd name="connsiteX2952" fmla="*/ 5704708 w 6096001"/>
              <a:gd name="connsiteY2952" fmla="*/ 3684466 h 5392467"/>
              <a:gd name="connsiteX2953" fmla="*/ 5712445 w 6096001"/>
              <a:gd name="connsiteY2953" fmla="*/ 3684466 h 5392467"/>
              <a:gd name="connsiteX2954" fmla="*/ 5716313 w 6096001"/>
              <a:gd name="connsiteY2954" fmla="*/ 3692202 h 5392467"/>
              <a:gd name="connsiteX2955" fmla="*/ 5718246 w 6096001"/>
              <a:gd name="connsiteY2955" fmla="*/ 3692202 h 5392467"/>
              <a:gd name="connsiteX2956" fmla="*/ 5731784 w 6096001"/>
              <a:gd name="connsiteY2956" fmla="*/ 3686401 h 5392467"/>
              <a:gd name="connsiteX2957" fmla="*/ 5753060 w 6096001"/>
              <a:gd name="connsiteY2957" fmla="*/ 3686401 h 5392467"/>
              <a:gd name="connsiteX2958" fmla="*/ 5853635 w 6096001"/>
              <a:gd name="connsiteY2958" fmla="*/ 3668993 h 5392467"/>
              <a:gd name="connsiteX2959" fmla="*/ 5963876 w 6096001"/>
              <a:gd name="connsiteY2959" fmla="*/ 3670928 h 5392467"/>
              <a:gd name="connsiteX2960" fmla="*/ 5956142 w 6096001"/>
              <a:gd name="connsiteY2960" fmla="*/ 3678665 h 5392467"/>
              <a:gd name="connsiteX2961" fmla="*/ 5919393 w 6096001"/>
              <a:gd name="connsiteY2961" fmla="*/ 3686401 h 5392467"/>
              <a:gd name="connsiteX2962" fmla="*/ 5900051 w 6096001"/>
              <a:gd name="connsiteY2962" fmla="*/ 3682533 h 5392467"/>
              <a:gd name="connsiteX2963" fmla="*/ 5884578 w 6096001"/>
              <a:gd name="connsiteY2963" fmla="*/ 3686401 h 5392467"/>
              <a:gd name="connsiteX2964" fmla="*/ 5872976 w 6096001"/>
              <a:gd name="connsiteY2964" fmla="*/ 3684466 h 5392467"/>
              <a:gd name="connsiteX2965" fmla="*/ 5851699 w 6096001"/>
              <a:gd name="connsiteY2965" fmla="*/ 3684466 h 5392467"/>
              <a:gd name="connsiteX2966" fmla="*/ 5822689 w 6096001"/>
              <a:gd name="connsiteY2966" fmla="*/ 3686401 h 5392467"/>
              <a:gd name="connsiteX2967" fmla="*/ 5787874 w 6096001"/>
              <a:gd name="connsiteY2967" fmla="*/ 3696071 h 5392467"/>
              <a:gd name="connsiteX2968" fmla="*/ 5751125 w 6096001"/>
              <a:gd name="connsiteY2968" fmla="*/ 3699939 h 5392467"/>
              <a:gd name="connsiteX2969" fmla="*/ 5768533 w 6096001"/>
              <a:gd name="connsiteY2969" fmla="*/ 3703807 h 5392467"/>
              <a:gd name="connsiteX2970" fmla="*/ 5784006 w 6096001"/>
              <a:gd name="connsiteY2970" fmla="*/ 3705742 h 5392467"/>
              <a:gd name="connsiteX2971" fmla="*/ 5822689 w 6096001"/>
              <a:gd name="connsiteY2971" fmla="*/ 3713479 h 5392467"/>
              <a:gd name="connsiteX2972" fmla="*/ 5828490 w 6096001"/>
              <a:gd name="connsiteY2972" fmla="*/ 3715412 h 5392467"/>
              <a:gd name="connsiteX2973" fmla="*/ 5840095 w 6096001"/>
              <a:gd name="connsiteY2973" fmla="*/ 3719280 h 5392467"/>
              <a:gd name="connsiteX2974" fmla="*/ 5851699 w 6096001"/>
              <a:gd name="connsiteY2974" fmla="*/ 3728950 h 5392467"/>
              <a:gd name="connsiteX2975" fmla="*/ 5853635 w 6096001"/>
              <a:gd name="connsiteY2975" fmla="*/ 3748291 h 5392467"/>
              <a:gd name="connsiteX2976" fmla="*/ 5843963 w 6096001"/>
              <a:gd name="connsiteY2976" fmla="*/ 3750226 h 5392467"/>
              <a:gd name="connsiteX2977" fmla="*/ 5847831 w 6096001"/>
              <a:gd name="connsiteY2977" fmla="*/ 3738621 h 5392467"/>
              <a:gd name="connsiteX2978" fmla="*/ 5826557 w 6096001"/>
              <a:gd name="connsiteY2978" fmla="*/ 3725084 h 5392467"/>
              <a:gd name="connsiteX2979" fmla="*/ 5816885 w 6096001"/>
              <a:gd name="connsiteY2979" fmla="*/ 3721213 h 5392467"/>
              <a:gd name="connsiteX2980" fmla="*/ 5803347 w 6096001"/>
              <a:gd name="connsiteY2980" fmla="*/ 3715412 h 5392467"/>
              <a:gd name="connsiteX2981" fmla="*/ 5754993 w 6096001"/>
              <a:gd name="connsiteY2981" fmla="*/ 3713479 h 5392467"/>
              <a:gd name="connsiteX2982" fmla="*/ 5737587 w 6096001"/>
              <a:gd name="connsiteY2982" fmla="*/ 3711544 h 5392467"/>
              <a:gd name="connsiteX2983" fmla="*/ 5743391 w 6096001"/>
              <a:gd name="connsiteY2983" fmla="*/ 3709608 h 5392467"/>
              <a:gd name="connsiteX2984" fmla="*/ 5743391 w 6096001"/>
              <a:gd name="connsiteY2984" fmla="*/ 3707675 h 5392467"/>
              <a:gd name="connsiteX2985" fmla="*/ 5729851 w 6096001"/>
              <a:gd name="connsiteY2985" fmla="*/ 3707675 h 5392467"/>
              <a:gd name="connsiteX2986" fmla="*/ 5689235 w 6096001"/>
              <a:gd name="connsiteY2986" fmla="*/ 3717345 h 5392467"/>
              <a:gd name="connsiteX2987" fmla="*/ 5685367 w 6096001"/>
              <a:gd name="connsiteY2987" fmla="*/ 3723148 h 5392467"/>
              <a:gd name="connsiteX2988" fmla="*/ 5683432 w 6096001"/>
              <a:gd name="connsiteY2988" fmla="*/ 3730885 h 5392467"/>
              <a:gd name="connsiteX2989" fmla="*/ 5660224 w 6096001"/>
              <a:gd name="connsiteY2989" fmla="*/ 3725084 h 5392467"/>
              <a:gd name="connsiteX2990" fmla="*/ 5654421 w 6096001"/>
              <a:gd name="connsiteY2990" fmla="*/ 3728950 h 5392467"/>
              <a:gd name="connsiteX2991" fmla="*/ 5644749 w 6096001"/>
              <a:gd name="connsiteY2991" fmla="*/ 3736686 h 5392467"/>
              <a:gd name="connsiteX2992" fmla="*/ 5631211 w 6096001"/>
              <a:gd name="connsiteY2992" fmla="*/ 3738621 h 5392467"/>
              <a:gd name="connsiteX2993" fmla="*/ 5606069 w 6096001"/>
              <a:gd name="connsiteY2993" fmla="*/ 3742490 h 5392467"/>
              <a:gd name="connsiteX2994" fmla="*/ 5666026 w 6096001"/>
              <a:gd name="connsiteY2994" fmla="*/ 3736686 h 5392467"/>
              <a:gd name="connsiteX2995" fmla="*/ 5695036 w 6096001"/>
              <a:gd name="connsiteY2995" fmla="*/ 3736686 h 5392467"/>
              <a:gd name="connsiteX2996" fmla="*/ 5695036 w 6096001"/>
              <a:gd name="connsiteY2996" fmla="*/ 3740554 h 5392467"/>
              <a:gd name="connsiteX2997" fmla="*/ 5621542 w 6096001"/>
              <a:gd name="connsiteY2997" fmla="*/ 3769567 h 5392467"/>
              <a:gd name="connsiteX2998" fmla="*/ 5553849 w 6096001"/>
              <a:gd name="connsiteY2998" fmla="*/ 3781172 h 5392467"/>
              <a:gd name="connsiteX2999" fmla="*/ 5598332 w 6096001"/>
              <a:gd name="connsiteY2999" fmla="*/ 3779237 h 5392467"/>
              <a:gd name="connsiteX3000" fmla="*/ 5573190 w 6096001"/>
              <a:gd name="connsiteY3000" fmla="*/ 3792777 h 5392467"/>
              <a:gd name="connsiteX3001" fmla="*/ 5557714 w 6096001"/>
              <a:gd name="connsiteY3001" fmla="*/ 3806315 h 5392467"/>
              <a:gd name="connsiteX3002" fmla="*/ 5629278 w 6096001"/>
              <a:gd name="connsiteY3002" fmla="*/ 3806315 h 5392467"/>
              <a:gd name="connsiteX3003" fmla="*/ 5650553 w 6096001"/>
              <a:gd name="connsiteY3003" fmla="*/ 3804379 h 5392467"/>
              <a:gd name="connsiteX3004" fmla="*/ 5646684 w 6096001"/>
              <a:gd name="connsiteY3004" fmla="*/ 3812118 h 5392467"/>
              <a:gd name="connsiteX3005" fmla="*/ 5656356 w 6096001"/>
              <a:gd name="connsiteY3005" fmla="*/ 3814051 h 5392467"/>
              <a:gd name="connsiteX3006" fmla="*/ 5669894 w 6096001"/>
              <a:gd name="connsiteY3006" fmla="*/ 3819852 h 5392467"/>
              <a:gd name="connsiteX3007" fmla="*/ 5675697 w 6096001"/>
              <a:gd name="connsiteY3007" fmla="*/ 3808248 h 5392467"/>
              <a:gd name="connsiteX3008" fmla="*/ 5691168 w 6096001"/>
              <a:gd name="connsiteY3008" fmla="*/ 3804379 h 5392467"/>
              <a:gd name="connsiteX3009" fmla="*/ 5687300 w 6096001"/>
              <a:gd name="connsiteY3009" fmla="*/ 3804379 h 5392467"/>
              <a:gd name="connsiteX3010" fmla="*/ 5669894 w 6096001"/>
              <a:gd name="connsiteY3010" fmla="*/ 3802446 h 5392467"/>
              <a:gd name="connsiteX3011" fmla="*/ 5718246 w 6096001"/>
              <a:gd name="connsiteY3011" fmla="*/ 3796643 h 5392467"/>
              <a:gd name="connsiteX3012" fmla="*/ 5762732 w 6096001"/>
              <a:gd name="connsiteY3012" fmla="*/ 3786973 h 5392467"/>
              <a:gd name="connsiteX3013" fmla="*/ 5820753 w 6096001"/>
              <a:gd name="connsiteY3013" fmla="*/ 3781172 h 5392467"/>
              <a:gd name="connsiteX3014" fmla="*/ 5828490 w 6096001"/>
              <a:gd name="connsiteY3014" fmla="*/ 3783105 h 5392467"/>
              <a:gd name="connsiteX3015" fmla="*/ 5832358 w 6096001"/>
              <a:gd name="connsiteY3015" fmla="*/ 3796643 h 5392467"/>
              <a:gd name="connsiteX3016" fmla="*/ 5867172 w 6096001"/>
              <a:gd name="connsiteY3016" fmla="*/ 3796643 h 5392467"/>
              <a:gd name="connsiteX3017" fmla="*/ 5847831 w 6096001"/>
              <a:gd name="connsiteY3017" fmla="*/ 3804379 h 5392467"/>
              <a:gd name="connsiteX3018" fmla="*/ 5826557 w 6096001"/>
              <a:gd name="connsiteY3018" fmla="*/ 3808248 h 5392467"/>
              <a:gd name="connsiteX3019" fmla="*/ 5805280 w 6096001"/>
              <a:gd name="connsiteY3019" fmla="*/ 3814051 h 5392467"/>
              <a:gd name="connsiteX3020" fmla="*/ 5784006 w 6096001"/>
              <a:gd name="connsiteY3020" fmla="*/ 3817919 h 5392467"/>
              <a:gd name="connsiteX3021" fmla="*/ 5762732 w 6096001"/>
              <a:gd name="connsiteY3021" fmla="*/ 3823721 h 5392467"/>
              <a:gd name="connsiteX3022" fmla="*/ 5739522 w 6096001"/>
              <a:gd name="connsiteY3022" fmla="*/ 3823721 h 5392467"/>
              <a:gd name="connsiteX3023" fmla="*/ 5768533 w 6096001"/>
              <a:gd name="connsiteY3023" fmla="*/ 3831457 h 5392467"/>
              <a:gd name="connsiteX3024" fmla="*/ 5764665 w 6096001"/>
              <a:gd name="connsiteY3024" fmla="*/ 3833393 h 5392467"/>
              <a:gd name="connsiteX3025" fmla="*/ 5774334 w 6096001"/>
              <a:gd name="connsiteY3025" fmla="*/ 3833393 h 5392467"/>
              <a:gd name="connsiteX3026" fmla="*/ 5747259 w 6096001"/>
              <a:gd name="connsiteY3026" fmla="*/ 3839194 h 5392467"/>
              <a:gd name="connsiteX3027" fmla="*/ 5689235 w 6096001"/>
              <a:gd name="connsiteY3027" fmla="*/ 3848866 h 5392467"/>
              <a:gd name="connsiteX3028" fmla="*/ 5671829 w 6096001"/>
              <a:gd name="connsiteY3028" fmla="*/ 3852734 h 5392467"/>
              <a:gd name="connsiteX3029" fmla="*/ 5646684 w 6096001"/>
              <a:gd name="connsiteY3029" fmla="*/ 3854667 h 5392467"/>
              <a:gd name="connsiteX3030" fmla="*/ 5642816 w 6096001"/>
              <a:gd name="connsiteY3030" fmla="*/ 3860470 h 5392467"/>
              <a:gd name="connsiteX3031" fmla="*/ 5644749 w 6096001"/>
              <a:gd name="connsiteY3031" fmla="*/ 3862403 h 5392467"/>
              <a:gd name="connsiteX3032" fmla="*/ 5679566 w 6096001"/>
              <a:gd name="connsiteY3032" fmla="*/ 3856602 h 5392467"/>
              <a:gd name="connsiteX3033" fmla="*/ 5660224 w 6096001"/>
              <a:gd name="connsiteY3033" fmla="*/ 3866272 h 5392467"/>
              <a:gd name="connsiteX3034" fmla="*/ 5650553 w 6096001"/>
              <a:gd name="connsiteY3034" fmla="*/ 3868207 h 5392467"/>
              <a:gd name="connsiteX3035" fmla="*/ 5654421 w 6096001"/>
              <a:gd name="connsiteY3035" fmla="*/ 3870140 h 5392467"/>
              <a:gd name="connsiteX3036" fmla="*/ 5666026 w 6096001"/>
              <a:gd name="connsiteY3036" fmla="*/ 3874008 h 5392467"/>
              <a:gd name="connsiteX3037" fmla="*/ 5679566 w 6096001"/>
              <a:gd name="connsiteY3037" fmla="*/ 3872075 h 5392467"/>
              <a:gd name="connsiteX3038" fmla="*/ 5785941 w 6096001"/>
              <a:gd name="connsiteY3038" fmla="*/ 3854667 h 5392467"/>
              <a:gd name="connsiteX3039" fmla="*/ 5811084 w 6096001"/>
              <a:gd name="connsiteY3039" fmla="*/ 3852734 h 5392467"/>
              <a:gd name="connsiteX3040" fmla="*/ 5820753 w 6096001"/>
              <a:gd name="connsiteY3040" fmla="*/ 3856602 h 5392467"/>
              <a:gd name="connsiteX3041" fmla="*/ 5811084 w 6096001"/>
              <a:gd name="connsiteY3041" fmla="*/ 3858535 h 5392467"/>
              <a:gd name="connsiteX3042" fmla="*/ 5869108 w 6096001"/>
              <a:gd name="connsiteY3042" fmla="*/ 3850798 h 5392467"/>
              <a:gd name="connsiteX3043" fmla="*/ 5913591 w 6096001"/>
              <a:gd name="connsiteY3043" fmla="*/ 3846930 h 5392467"/>
              <a:gd name="connsiteX3044" fmla="*/ 5907788 w 6096001"/>
              <a:gd name="connsiteY3044" fmla="*/ 3854667 h 5392467"/>
              <a:gd name="connsiteX3045" fmla="*/ 5836226 w 6096001"/>
              <a:gd name="connsiteY3045" fmla="*/ 3866272 h 5392467"/>
              <a:gd name="connsiteX3046" fmla="*/ 5778203 w 6096001"/>
              <a:gd name="connsiteY3046" fmla="*/ 3872075 h 5392467"/>
              <a:gd name="connsiteX3047" fmla="*/ 5722114 w 6096001"/>
              <a:gd name="connsiteY3047" fmla="*/ 3881745 h 5392467"/>
              <a:gd name="connsiteX3048" fmla="*/ 5679566 w 6096001"/>
              <a:gd name="connsiteY3048" fmla="*/ 3883677 h 5392467"/>
              <a:gd name="connsiteX3049" fmla="*/ 5669894 w 6096001"/>
              <a:gd name="connsiteY3049" fmla="*/ 3887548 h 5392467"/>
              <a:gd name="connsiteX3050" fmla="*/ 5646684 w 6096001"/>
              <a:gd name="connsiteY3050" fmla="*/ 3895282 h 5392467"/>
              <a:gd name="connsiteX3051" fmla="*/ 5708576 w 6096001"/>
              <a:gd name="connsiteY3051" fmla="*/ 3889481 h 5392467"/>
              <a:gd name="connsiteX3052" fmla="*/ 5727918 w 6096001"/>
              <a:gd name="connsiteY3052" fmla="*/ 3883677 h 5392467"/>
              <a:gd name="connsiteX3053" fmla="*/ 5756928 w 6096001"/>
              <a:gd name="connsiteY3053" fmla="*/ 3881745 h 5392467"/>
              <a:gd name="connsiteX3054" fmla="*/ 5803347 w 6096001"/>
              <a:gd name="connsiteY3054" fmla="*/ 3874008 h 5392467"/>
              <a:gd name="connsiteX3055" fmla="*/ 5826557 w 6096001"/>
              <a:gd name="connsiteY3055" fmla="*/ 3872075 h 5392467"/>
              <a:gd name="connsiteX3056" fmla="*/ 5820753 w 6096001"/>
              <a:gd name="connsiteY3056" fmla="*/ 3875943 h 5392467"/>
              <a:gd name="connsiteX3057" fmla="*/ 5776270 w 6096001"/>
              <a:gd name="connsiteY3057" fmla="*/ 3885613 h 5392467"/>
              <a:gd name="connsiteX3058" fmla="*/ 5725982 w 6096001"/>
              <a:gd name="connsiteY3058" fmla="*/ 3895282 h 5392467"/>
              <a:gd name="connsiteX3059" fmla="*/ 5698907 w 6096001"/>
              <a:gd name="connsiteY3059" fmla="*/ 3899153 h 5392467"/>
              <a:gd name="connsiteX3060" fmla="*/ 5700840 w 6096001"/>
              <a:gd name="connsiteY3060" fmla="*/ 3895282 h 5392467"/>
              <a:gd name="connsiteX3061" fmla="*/ 5654421 w 6096001"/>
              <a:gd name="connsiteY3061" fmla="*/ 3904954 h 5392467"/>
              <a:gd name="connsiteX3062" fmla="*/ 5656356 w 6096001"/>
              <a:gd name="connsiteY3062" fmla="*/ 3904954 h 5392467"/>
              <a:gd name="connsiteX3063" fmla="*/ 5693103 w 6096001"/>
              <a:gd name="connsiteY3063" fmla="*/ 3910755 h 5392467"/>
              <a:gd name="connsiteX3064" fmla="*/ 5704708 w 6096001"/>
              <a:gd name="connsiteY3064" fmla="*/ 3910755 h 5392467"/>
              <a:gd name="connsiteX3065" fmla="*/ 5704708 w 6096001"/>
              <a:gd name="connsiteY3065" fmla="*/ 3914624 h 5392467"/>
              <a:gd name="connsiteX3066" fmla="*/ 5706641 w 6096001"/>
              <a:gd name="connsiteY3066" fmla="*/ 3920427 h 5392467"/>
              <a:gd name="connsiteX3067" fmla="*/ 5695036 w 6096001"/>
              <a:gd name="connsiteY3067" fmla="*/ 3928164 h 5392467"/>
              <a:gd name="connsiteX3068" fmla="*/ 5727918 w 6096001"/>
              <a:gd name="connsiteY3068" fmla="*/ 3922360 h 5392467"/>
              <a:gd name="connsiteX3069" fmla="*/ 5725982 w 6096001"/>
              <a:gd name="connsiteY3069" fmla="*/ 3920427 h 5392467"/>
              <a:gd name="connsiteX3070" fmla="*/ 5778203 w 6096001"/>
              <a:gd name="connsiteY3070" fmla="*/ 3906887 h 5392467"/>
              <a:gd name="connsiteX3071" fmla="*/ 5774334 w 6096001"/>
              <a:gd name="connsiteY3071" fmla="*/ 3910755 h 5392467"/>
              <a:gd name="connsiteX3072" fmla="*/ 5764665 w 6096001"/>
              <a:gd name="connsiteY3072" fmla="*/ 3912691 h 5392467"/>
              <a:gd name="connsiteX3073" fmla="*/ 5756928 w 6096001"/>
              <a:gd name="connsiteY3073" fmla="*/ 3914624 h 5392467"/>
              <a:gd name="connsiteX3074" fmla="*/ 5745324 w 6096001"/>
              <a:gd name="connsiteY3074" fmla="*/ 3918492 h 5392467"/>
              <a:gd name="connsiteX3075" fmla="*/ 5743391 w 6096001"/>
              <a:gd name="connsiteY3075" fmla="*/ 3918492 h 5392467"/>
              <a:gd name="connsiteX3076" fmla="*/ 5720181 w 6096001"/>
              <a:gd name="connsiteY3076" fmla="*/ 3932032 h 5392467"/>
              <a:gd name="connsiteX3077" fmla="*/ 5687300 w 6096001"/>
              <a:gd name="connsiteY3077" fmla="*/ 3941701 h 5392467"/>
              <a:gd name="connsiteX3078" fmla="*/ 5712445 w 6096001"/>
              <a:gd name="connsiteY3078" fmla="*/ 3943637 h 5392467"/>
              <a:gd name="connsiteX3079" fmla="*/ 5706641 w 6096001"/>
              <a:gd name="connsiteY3079" fmla="*/ 3947505 h 5392467"/>
              <a:gd name="connsiteX3080" fmla="*/ 5693103 w 6096001"/>
              <a:gd name="connsiteY3080" fmla="*/ 3949438 h 5392467"/>
              <a:gd name="connsiteX3081" fmla="*/ 5687300 w 6096001"/>
              <a:gd name="connsiteY3081" fmla="*/ 3961043 h 5392467"/>
              <a:gd name="connsiteX3082" fmla="*/ 5698907 w 6096001"/>
              <a:gd name="connsiteY3082" fmla="*/ 3968779 h 5392467"/>
              <a:gd name="connsiteX3083" fmla="*/ 5712445 w 6096001"/>
              <a:gd name="connsiteY3083" fmla="*/ 3974583 h 5392467"/>
              <a:gd name="connsiteX3084" fmla="*/ 5702773 w 6096001"/>
              <a:gd name="connsiteY3084" fmla="*/ 3984252 h 5392467"/>
              <a:gd name="connsiteX3085" fmla="*/ 5693103 w 6096001"/>
              <a:gd name="connsiteY3085" fmla="*/ 3988120 h 5392467"/>
              <a:gd name="connsiteX3086" fmla="*/ 5671829 w 6096001"/>
              <a:gd name="connsiteY3086" fmla="*/ 3982319 h 5392467"/>
              <a:gd name="connsiteX3087" fmla="*/ 5635080 w 6096001"/>
              <a:gd name="connsiteY3087" fmla="*/ 3978449 h 5392467"/>
              <a:gd name="connsiteX3088" fmla="*/ 5623475 w 6096001"/>
              <a:gd name="connsiteY3088" fmla="*/ 3978449 h 5392467"/>
              <a:gd name="connsiteX3089" fmla="*/ 5617674 w 6096001"/>
              <a:gd name="connsiteY3089" fmla="*/ 3980384 h 5392467"/>
              <a:gd name="connsiteX3090" fmla="*/ 5598332 w 6096001"/>
              <a:gd name="connsiteY3090" fmla="*/ 3986187 h 5392467"/>
              <a:gd name="connsiteX3091" fmla="*/ 5580924 w 6096001"/>
              <a:gd name="connsiteY3091" fmla="*/ 3986187 h 5392467"/>
              <a:gd name="connsiteX3092" fmla="*/ 5578991 w 6096001"/>
              <a:gd name="connsiteY3092" fmla="*/ 3986187 h 5392467"/>
              <a:gd name="connsiteX3093" fmla="*/ 5563518 w 6096001"/>
              <a:gd name="connsiteY3093" fmla="*/ 3990053 h 5392467"/>
              <a:gd name="connsiteX3094" fmla="*/ 5519034 w 6096001"/>
              <a:gd name="connsiteY3094" fmla="*/ 4001658 h 5392467"/>
              <a:gd name="connsiteX3095" fmla="*/ 5515166 w 6096001"/>
              <a:gd name="connsiteY3095" fmla="*/ 4003593 h 5392467"/>
              <a:gd name="connsiteX3096" fmla="*/ 5526771 w 6096001"/>
              <a:gd name="connsiteY3096" fmla="*/ 4001658 h 5392467"/>
              <a:gd name="connsiteX3097" fmla="*/ 5538376 w 6096001"/>
              <a:gd name="connsiteY3097" fmla="*/ 4009395 h 5392467"/>
              <a:gd name="connsiteX3098" fmla="*/ 5540308 w 6096001"/>
              <a:gd name="connsiteY3098" fmla="*/ 4009395 h 5392467"/>
              <a:gd name="connsiteX3099" fmla="*/ 5577056 w 6096001"/>
              <a:gd name="connsiteY3099" fmla="*/ 4007462 h 5392467"/>
              <a:gd name="connsiteX3100" fmla="*/ 5586728 w 6096001"/>
              <a:gd name="connsiteY3100" fmla="*/ 4005526 h 5392467"/>
              <a:gd name="connsiteX3101" fmla="*/ 5606069 w 6096001"/>
              <a:gd name="connsiteY3101" fmla="*/ 4007462 h 5392467"/>
              <a:gd name="connsiteX3102" fmla="*/ 5627343 w 6096001"/>
              <a:gd name="connsiteY3102" fmla="*/ 4001658 h 5392467"/>
              <a:gd name="connsiteX3103" fmla="*/ 5700840 w 6096001"/>
              <a:gd name="connsiteY3103" fmla="*/ 3988120 h 5392467"/>
              <a:gd name="connsiteX3104" fmla="*/ 5712445 w 6096001"/>
              <a:gd name="connsiteY3104" fmla="*/ 3986187 h 5392467"/>
              <a:gd name="connsiteX3105" fmla="*/ 5696972 w 6096001"/>
              <a:gd name="connsiteY3105" fmla="*/ 3997790 h 5392467"/>
              <a:gd name="connsiteX3106" fmla="*/ 5693103 w 6096001"/>
              <a:gd name="connsiteY3106" fmla="*/ 3999725 h 5392467"/>
              <a:gd name="connsiteX3107" fmla="*/ 5710509 w 6096001"/>
              <a:gd name="connsiteY3107" fmla="*/ 4001658 h 5392467"/>
              <a:gd name="connsiteX3108" fmla="*/ 5753060 w 6096001"/>
              <a:gd name="connsiteY3108" fmla="*/ 4007462 h 5392467"/>
              <a:gd name="connsiteX3109" fmla="*/ 5758864 w 6096001"/>
              <a:gd name="connsiteY3109" fmla="*/ 4011330 h 5392467"/>
              <a:gd name="connsiteX3110" fmla="*/ 5760797 w 6096001"/>
              <a:gd name="connsiteY3110" fmla="*/ 4017131 h 5392467"/>
              <a:gd name="connsiteX3111" fmla="*/ 5743391 w 6096001"/>
              <a:gd name="connsiteY3111" fmla="*/ 4028736 h 5392467"/>
              <a:gd name="connsiteX3112" fmla="*/ 5698907 w 6096001"/>
              <a:gd name="connsiteY3112" fmla="*/ 4028736 h 5392467"/>
              <a:gd name="connsiteX3113" fmla="*/ 5716313 w 6096001"/>
              <a:gd name="connsiteY3113" fmla="*/ 4030671 h 5392467"/>
              <a:gd name="connsiteX3114" fmla="*/ 5733719 w 6096001"/>
              <a:gd name="connsiteY3114" fmla="*/ 4034539 h 5392467"/>
              <a:gd name="connsiteX3115" fmla="*/ 5727918 w 6096001"/>
              <a:gd name="connsiteY3115" fmla="*/ 4038408 h 5392467"/>
              <a:gd name="connsiteX3116" fmla="*/ 5679566 w 6096001"/>
              <a:gd name="connsiteY3116" fmla="*/ 4040341 h 5392467"/>
              <a:gd name="connsiteX3117" fmla="*/ 5658289 w 6096001"/>
              <a:gd name="connsiteY3117" fmla="*/ 4036472 h 5392467"/>
              <a:gd name="connsiteX3118" fmla="*/ 5635080 w 6096001"/>
              <a:gd name="connsiteY3118" fmla="*/ 4038408 h 5392467"/>
              <a:gd name="connsiteX3119" fmla="*/ 5604133 w 6096001"/>
              <a:gd name="connsiteY3119" fmla="*/ 4044209 h 5392467"/>
              <a:gd name="connsiteX3120" fmla="*/ 5515166 w 6096001"/>
              <a:gd name="connsiteY3120" fmla="*/ 4048077 h 5392467"/>
              <a:gd name="connsiteX3121" fmla="*/ 5484220 w 6096001"/>
              <a:gd name="connsiteY3121" fmla="*/ 4059682 h 5392467"/>
              <a:gd name="connsiteX3122" fmla="*/ 5462946 w 6096001"/>
              <a:gd name="connsiteY3122" fmla="*/ 4065483 h 5392467"/>
              <a:gd name="connsiteX3123" fmla="*/ 5437803 w 6096001"/>
              <a:gd name="connsiteY3123" fmla="*/ 4071287 h 5392467"/>
              <a:gd name="connsiteX3124" fmla="*/ 5412658 w 6096001"/>
              <a:gd name="connsiteY3124" fmla="*/ 4077088 h 5392467"/>
              <a:gd name="connsiteX3125" fmla="*/ 5389449 w 6096001"/>
              <a:gd name="connsiteY3125" fmla="*/ 4084824 h 5392467"/>
              <a:gd name="connsiteX3126" fmla="*/ 5368175 w 6096001"/>
              <a:gd name="connsiteY3126" fmla="*/ 4090628 h 5392467"/>
              <a:gd name="connsiteX3127" fmla="*/ 5323689 w 6096001"/>
              <a:gd name="connsiteY3127" fmla="*/ 4102233 h 5392467"/>
              <a:gd name="connsiteX3128" fmla="*/ 5302414 w 6096001"/>
              <a:gd name="connsiteY3128" fmla="*/ 4104166 h 5392467"/>
              <a:gd name="connsiteX3129" fmla="*/ 5298546 w 6096001"/>
              <a:gd name="connsiteY3129" fmla="*/ 4102233 h 5392467"/>
              <a:gd name="connsiteX3130" fmla="*/ 5292745 w 6096001"/>
              <a:gd name="connsiteY3130" fmla="*/ 4104166 h 5392467"/>
              <a:gd name="connsiteX3131" fmla="*/ 5259864 w 6096001"/>
              <a:gd name="connsiteY3131" fmla="*/ 4119639 h 5392467"/>
              <a:gd name="connsiteX3132" fmla="*/ 5250194 w 6096001"/>
              <a:gd name="connsiteY3132" fmla="*/ 4117706 h 5392467"/>
              <a:gd name="connsiteX3133" fmla="*/ 5253096 w 6096001"/>
              <a:gd name="connsiteY3133" fmla="*/ 4114805 h 5392467"/>
              <a:gd name="connsiteX3134" fmla="*/ 5255995 w 6096001"/>
              <a:gd name="connsiteY3134" fmla="*/ 4113838 h 5392467"/>
              <a:gd name="connsiteX3135" fmla="*/ 5254062 w 6096001"/>
              <a:gd name="connsiteY3135" fmla="*/ 4113838 h 5392467"/>
              <a:gd name="connsiteX3136" fmla="*/ 5253096 w 6096001"/>
              <a:gd name="connsiteY3136" fmla="*/ 4114805 h 5392467"/>
              <a:gd name="connsiteX3137" fmla="*/ 5246050 w 6096001"/>
              <a:gd name="connsiteY3137" fmla="*/ 4117154 h 5392467"/>
              <a:gd name="connsiteX3138" fmla="*/ 5244393 w 6096001"/>
              <a:gd name="connsiteY3138" fmla="*/ 4113838 h 5392467"/>
              <a:gd name="connsiteX3139" fmla="*/ 5242458 w 6096001"/>
              <a:gd name="connsiteY3139" fmla="*/ 4113838 h 5392467"/>
              <a:gd name="connsiteX3140" fmla="*/ 5242458 w 6096001"/>
              <a:gd name="connsiteY3140" fmla="*/ 4118672 h 5392467"/>
              <a:gd name="connsiteX3141" fmla="*/ 5240522 w 6096001"/>
              <a:gd name="connsiteY3141" fmla="*/ 4119639 h 5392467"/>
              <a:gd name="connsiteX3142" fmla="*/ 5242458 w 6096001"/>
              <a:gd name="connsiteY3142" fmla="*/ 4119639 h 5392467"/>
              <a:gd name="connsiteX3143" fmla="*/ 5246326 w 6096001"/>
              <a:gd name="connsiteY3143" fmla="*/ 4123507 h 5392467"/>
              <a:gd name="connsiteX3144" fmla="*/ 5238589 w 6096001"/>
              <a:gd name="connsiteY3144" fmla="*/ 4129311 h 5392467"/>
              <a:gd name="connsiteX3145" fmla="*/ 5223116 w 6096001"/>
              <a:gd name="connsiteY3145" fmla="*/ 4133179 h 5392467"/>
              <a:gd name="connsiteX3146" fmla="*/ 5219248 w 6096001"/>
              <a:gd name="connsiteY3146" fmla="*/ 4135112 h 5392467"/>
              <a:gd name="connsiteX3147" fmla="*/ 5197974 w 6096001"/>
              <a:gd name="connsiteY3147" fmla="*/ 4138980 h 5392467"/>
              <a:gd name="connsiteX3148" fmla="*/ 5180566 w 6096001"/>
              <a:gd name="connsiteY3148" fmla="*/ 4148652 h 5392467"/>
              <a:gd name="connsiteX3149" fmla="*/ 5174764 w 6096001"/>
              <a:gd name="connsiteY3149" fmla="*/ 4156388 h 5392467"/>
              <a:gd name="connsiteX3150" fmla="*/ 5101268 w 6096001"/>
              <a:gd name="connsiteY3150" fmla="*/ 4189267 h 5392467"/>
              <a:gd name="connsiteX3151" fmla="*/ 5095466 w 6096001"/>
              <a:gd name="connsiteY3151" fmla="*/ 4191200 h 5392467"/>
              <a:gd name="connsiteX3152" fmla="*/ 5049047 w 6096001"/>
              <a:gd name="connsiteY3152" fmla="*/ 4214410 h 5392467"/>
              <a:gd name="connsiteX3153" fmla="*/ 5035507 w 6096001"/>
              <a:gd name="connsiteY3153" fmla="*/ 4224082 h 5392467"/>
              <a:gd name="connsiteX3154" fmla="*/ 5014233 w 6096001"/>
              <a:gd name="connsiteY3154" fmla="*/ 4241488 h 5392467"/>
              <a:gd name="connsiteX3155" fmla="*/ 5058717 w 6096001"/>
              <a:gd name="connsiteY3155" fmla="*/ 4229883 h 5392467"/>
              <a:gd name="connsiteX3156" fmla="*/ 5085794 w 6096001"/>
              <a:gd name="connsiteY3156" fmla="*/ 4220214 h 5392467"/>
              <a:gd name="connsiteX3157" fmla="*/ 5093531 w 6096001"/>
              <a:gd name="connsiteY3157" fmla="*/ 4218278 h 5392467"/>
              <a:gd name="connsiteX3158" fmla="*/ 5161224 w 6096001"/>
              <a:gd name="connsiteY3158" fmla="*/ 4197004 h 5392467"/>
              <a:gd name="connsiteX3159" fmla="*/ 5180566 w 6096001"/>
              <a:gd name="connsiteY3159" fmla="*/ 4195069 h 5392467"/>
              <a:gd name="connsiteX3160" fmla="*/ 5211512 w 6096001"/>
              <a:gd name="connsiteY3160" fmla="*/ 4181531 h 5392467"/>
              <a:gd name="connsiteX3161" fmla="*/ 5267600 w 6096001"/>
              <a:gd name="connsiteY3161" fmla="*/ 4162190 h 5392467"/>
              <a:gd name="connsiteX3162" fmla="*/ 5300479 w 6096001"/>
              <a:gd name="connsiteY3162" fmla="*/ 4154453 h 5392467"/>
              <a:gd name="connsiteX3163" fmla="*/ 5288877 w 6096001"/>
              <a:gd name="connsiteY3163" fmla="*/ 4166058 h 5392467"/>
              <a:gd name="connsiteX3164" fmla="*/ 5304350 w 6096001"/>
              <a:gd name="connsiteY3164" fmla="*/ 4166058 h 5392467"/>
              <a:gd name="connsiteX3165" fmla="*/ 5302414 w 6096001"/>
              <a:gd name="connsiteY3165" fmla="*/ 4177663 h 5392467"/>
              <a:gd name="connsiteX3166" fmla="*/ 5292745 w 6096001"/>
              <a:gd name="connsiteY3166" fmla="*/ 4173794 h 5392467"/>
              <a:gd name="connsiteX3167" fmla="*/ 5288877 w 6096001"/>
              <a:gd name="connsiteY3167" fmla="*/ 4175727 h 5392467"/>
              <a:gd name="connsiteX3168" fmla="*/ 5261799 w 6096001"/>
              <a:gd name="connsiteY3168" fmla="*/ 4197004 h 5392467"/>
              <a:gd name="connsiteX3169" fmla="*/ 5192170 w 6096001"/>
              <a:gd name="connsiteY3169" fmla="*/ 4218278 h 5392467"/>
              <a:gd name="connsiteX3170" fmla="*/ 5182501 w 6096001"/>
              <a:gd name="connsiteY3170" fmla="*/ 4214410 h 5392467"/>
              <a:gd name="connsiteX3171" fmla="*/ 5149620 w 6096001"/>
              <a:gd name="connsiteY3171" fmla="*/ 4222146 h 5392467"/>
              <a:gd name="connsiteX3172" fmla="*/ 5132214 w 6096001"/>
              <a:gd name="connsiteY3172" fmla="*/ 4231818 h 5392467"/>
              <a:gd name="connsiteX3173" fmla="*/ 5112872 w 6096001"/>
              <a:gd name="connsiteY3173" fmla="*/ 4243423 h 5392467"/>
              <a:gd name="connsiteX3174" fmla="*/ 5130281 w 6096001"/>
              <a:gd name="connsiteY3174" fmla="*/ 4239552 h 5392467"/>
              <a:gd name="connsiteX3175" fmla="*/ 5109004 w 6096001"/>
              <a:gd name="connsiteY3175" fmla="*/ 4251157 h 5392467"/>
              <a:gd name="connsiteX3176" fmla="*/ 5101268 w 6096001"/>
              <a:gd name="connsiteY3176" fmla="*/ 4249224 h 5392467"/>
              <a:gd name="connsiteX3177" fmla="*/ 5085794 w 6096001"/>
              <a:gd name="connsiteY3177" fmla="*/ 4255028 h 5392467"/>
              <a:gd name="connsiteX3178" fmla="*/ 5085794 w 6096001"/>
              <a:gd name="connsiteY3178" fmla="*/ 4256961 h 5392467"/>
              <a:gd name="connsiteX3179" fmla="*/ 5066453 w 6096001"/>
              <a:gd name="connsiteY3179" fmla="*/ 4262762 h 5392467"/>
              <a:gd name="connsiteX3180" fmla="*/ 5068389 w 6096001"/>
              <a:gd name="connsiteY3180" fmla="*/ 4260829 h 5392467"/>
              <a:gd name="connsiteX3181" fmla="*/ 5025838 w 6096001"/>
              <a:gd name="connsiteY3181" fmla="*/ 4276302 h 5392467"/>
              <a:gd name="connsiteX3182" fmla="*/ 4944607 w 6096001"/>
              <a:gd name="connsiteY3182" fmla="*/ 4307248 h 5392467"/>
              <a:gd name="connsiteX3183" fmla="*/ 4828559 w 6096001"/>
              <a:gd name="connsiteY3183" fmla="*/ 4351732 h 5392467"/>
              <a:gd name="connsiteX3184" fmla="*/ 4805350 w 6096001"/>
              <a:gd name="connsiteY3184" fmla="*/ 4365270 h 5392467"/>
              <a:gd name="connsiteX3185" fmla="*/ 4795680 w 6096001"/>
              <a:gd name="connsiteY3185" fmla="*/ 4371073 h 5392467"/>
              <a:gd name="connsiteX3186" fmla="*/ 4772471 w 6096001"/>
              <a:gd name="connsiteY3186" fmla="*/ 4384611 h 5392467"/>
              <a:gd name="connsiteX3187" fmla="*/ 4753129 w 6096001"/>
              <a:gd name="connsiteY3187" fmla="*/ 4394283 h 5392467"/>
              <a:gd name="connsiteX3188" fmla="*/ 4648686 w 6096001"/>
              <a:gd name="connsiteY3188" fmla="*/ 4438766 h 5392467"/>
              <a:gd name="connsiteX3189" fmla="*/ 4617743 w 6096001"/>
              <a:gd name="connsiteY3189" fmla="*/ 4454239 h 5392467"/>
              <a:gd name="connsiteX3190" fmla="*/ 4557786 w 6096001"/>
              <a:gd name="connsiteY3190" fmla="*/ 4483250 h 5392467"/>
              <a:gd name="connsiteX3191" fmla="*/ 4548114 w 6096001"/>
              <a:gd name="connsiteY3191" fmla="*/ 4490987 h 5392467"/>
              <a:gd name="connsiteX3192" fmla="*/ 4553918 w 6096001"/>
              <a:gd name="connsiteY3192" fmla="*/ 4494855 h 5392467"/>
              <a:gd name="connsiteX3193" fmla="*/ 4540378 w 6096001"/>
              <a:gd name="connsiteY3193" fmla="*/ 4498723 h 5392467"/>
              <a:gd name="connsiteX3194" fmla="*/ 4517168 w 6096001"/>
              <a:gd name="connsiteY3194" fmla="*/ 4506460 h 5392467"/>
              <a:gd name="connsiteX3195" fmla="*/ 4486225 w 6096001"/>
              <a:gd name="connsiteY3195" fmla="*/ 4529669 h 5392467"/>
              <a:gd name="connsiteX3196" fmla="*/ 4435937 w 6096001"/>
              <a:gd name="connsiteY3196" fmla="*/ 4556747 h 5392467"/>
              <a:gd name="connsiteX3197" fmla="*/ 4381782 w 6096001"/>
              <a:gd name="connsiteY3197" fmla="*/ 4587693 h 5392467"/>
              <a:gd name="connsiteX3198" fmla="*/ 4374045 w 6096001"/>
              <a:gd name="connsiteY3198" fmla="*/ 4593494 h 5392467"/>
              <a:gd name="connsiteX3199" fmla="*/ 4346967 w 6096001"/>
              <a:gd name="connsiteY3199" fmla="*/ 4610903 h 5392467"/>
              <a:gd name="connsiteX3200" fmla="*/ 4234790 w 6096001"/>
              <a:gd name="connsiteY3200" fmla="*/ 4763695 h 5392467"/>
              <a:gd name="connsiteX3201" fmla="*/ 4203844 w 6096001"/>
              <a:gd name="connsiteY3201" fmla="*/ 4777233 h 5392467"/>
              <a:gd name="connsiteX3202" fmla="*/ 4196108 w 6096001"/>
              <a:gd name="connsiteY3202" fmla="*/ 4779168 h 5392467"/>
              <a:gd name="connsiteX3203" fmla="*/ 4182570 w 6096001"/>
              <a:gd name="connsiteY3203" fmla="*/ 4779168 h 5392467"/>
              <a:gd name="connsiteX3204" fmla="*/ 4178702 w 6096001"/>
              <a:gd name="connsiteY3204" fmla="*/ 4781101 h 5392467"/>
              <a:gd name="connsiteX3205" fmla="*/ 4176767 w 6096001"/>
              <a:gd name="connsiteY3205" fmla="*/ 4783037 h 5392467"/>
              <a:gd name="connsiteX3206" fmla="*/ 4099404 w 6096001"/>
              <a:gd name="connsiteY3206" fmla="*/ 4827520 h 5392467"/>
              <a:gd name="connsiteX3207" fmla="*/ 4052985 w 6096001"/>
              <a:gd name="connsiteY3207" fmla="*/ 4852665 h 5392467"/>
              <a:gd name="connsiteX3208" fmla="*/ 4002697 w 6096001"/>
              <a:gd name="connsiteY3208" fmla="*/ 4887477 h 5392467"/>
              <a:gd name="connsiteX3209" fmla="*/ 3964015 w 6096001"/>
              <a:gd name="connsiteY3209" fmla="*/ 4918426 h 5392467"/>
              <a:gd name="connsiteX3210" fmla="*/ 3904058 w 6096001"/>
              <a:gd name="connsiteY3210" fmla="*/ 4964842 h 5392467"/>
              <a:gd name="connsiteX3211" fmla="*/ 3844101 w 6096001"/>
              <a:gd name="connsiteY3211" fmla="*/ 5005460 h 5392467"/>
              <a:gd name="connsiteX3212" fmla="*/ 3809287 w 6096001"/>
              <a:gd name="connsiteY3212" fmla="*/ 5026734 h 5392467"/>
              <a:gd name="connsiteX3213" fmla="*/ 3733857 w 6096001"/>
              <a:gd name="connsiteY3213" fmla="*/ 5063482 h 5392467"/>
              <a:gd name="connsiteX3214" fmla="*/ 3724188 w 6096001"/>
              <a:gd name="connsiteY3214" fmla="*/ 5065417 h 5392467"/>
              <a:gd name="connsiteX3215" fmla="*/ 3670032 w 6096001"/>
              <a:gd name="connsiteY3215" fmla="*/ 5082823 h 5392467"/>
              <a:gd name="connsiteX3216" fmla="*/ 3615877 w 6096001"/>
              <a:gd name="connsiteY3216" fmla="*/ 5096361 h 5392467"/>
              <a:gd name="connsiteX3217" fmla="*/ 3590734 w 6096001"/>
              <a:gd name="connsiteY3217" fmla="*/ 5096361 h 5392467"/>
              <a:gd name="connsiteX3218" fmla="*/ 3586866 w 6096001"/>
              <a:gd name="connsiteY3218" fmla="*/ 5100229 h 5392467"/>
              <a:gd name="connsiteX3219" fmla="*/ 3567525 w 6096001"/>
              <a:gd name="connsiteY3219" fmla="*/ 5123438 h 5392467"/>
              <a:gd name="connsiteX3220" fmla="*/ 3540447 w 6096001"/>
              <a:gd name="connsiteY3220" fmla="*/ 5156320 h 5392467"/>
              <a:gd name="connsiteX3221" fmla="*/ 3536579 w 6096001"/>
              <a:gd name="connsiteY3221" fmla="*/ 5160188 h 5392467"/>
              <a:gd name="connsiteX3222" fmla="*/ 3484358 w 6096001"/>
              <a:gd name="connsiteY3222" fmla="*/ 5218209 h 5392467"/>
              <a:gd name="connsiteX3223" fmla="*/ 3478555 w 6096001"/>
              <a:gd name="connsiteY3223" fmla="*/ 5222078 h 5392467"/>
              <a:gd name="connsiteX3224" fmla="*/ 3484358 w 6096001"/>
              <a:gd name="connsiteY3224" fmla="*/ 5212408 h 5392467"/>
              <a:gd name="connsiteX3225" fmla="*/ 3546248 w 6096001"/>
              <a:gd name="connsiteY3225" fmla="*/ 5135043 h 5392467"/>
              <a:gd name="connsiteX3226" fmla="*/ 3581065 w 6096001"/>
              <a:gd name="connsiteY3226" fmla="*/ 5092495 h 5392467"/>
              <a:gd name="connsiteX3227" fmla="*/ 3567525 w 6096001"/>
              <a:gd name="connsiteY3227" fmla="*/ 5092495 h 5392467"/>
              <a:gd name="connsiteX3228" fmla="*/ 3555920 w 6096001"/>
              <a:gd name="connsiteY3228" fmla="*/ 5102164 h 5392467"/>
              <a:gd name="connsiteX3229" fmla="*/ 3561723 w 6096001"/>
              <a:gd name="connsiteY3229" fmla="*/ 5092495 h 5392467"/>
              <a:gd name="connsiteX3230" fmla="*/ 3557855 w 6096001"/>
              <a:gd name="connsiteY3230" fmla="*/ 5092495 h 5392467"/>
              <a:gd name="connsiteX3231" fmla="*/ 3548183 w 6096001"/>
              <a:gd name="connsiteY3231" fmla="*/ 5106032 h 5392467"/>
              <a:gd name="connsiteX3232" fmla="*/ 3542382 w 6096001"/>
              <a:gd name="connsiteY3232" fmla="*/ 5115702 h 5392467"/>
              <a:gd name="connsiteX3233" fmla="*/ 3526909 w 6096001"/>
              <a:gd name="connsiteY3233" fmla="*/ 5129242 h 5392467"/>
              <a:gd name="connsiteX3234" fmla="*/ 3490162 w 6096001"/>
              <a:gd name="connsiteY3234" fmla="*/ 5175661 h 5392467"/>
              <a:gd name="connsiteX3235" fmla="*/ 3478555 w 6096001"/>
              <a:gd name="connsiteY3235" fmla="*/ 5195000 h 5392467"/>
              <a:gd name="connsiteX3236" fmla="*/ 3468885 w 6096001"/>
              <a:gd name="connsiteY3236" fmla="*/ 5204672 h 5392467"/>
              <a:gd name="connsiteX3237" fmla="*/ 3455348 w 6096001"/>
              <a:gd name="connsiteY3237" fmla="*/ 5218209 h 5392467"/>
              <a:gd name="connsiteX3238" fmla="*/ 3439875 w 6096001"/>
              <a:gd name="connsiteY3238" fmla="*/ 5235618 h 5392467"/>
              <a:gd name="connsiteX3239" fmla="*/ 3430203 w 6096001"/>
              <a:gd name="connsiteY3239" fmla="*/ 5234005 h 5392467"/>
              <a:gd name="connsiteX3240" fmla="*/ 3432138 w 6096001"/>
              <a:gd name="connsiteY3240" fmla="*/ 5231747 h 5392467"/>
              <a:gd name="connsiteX3241" fmla="*/ 3429777 w 6096001"/>
              <a:gd name="connsiteY3241" fmla="*/ 5233934 h 5392467"/>
              <a:gd name="connsiteX3242" fmla="*/ 3428270 w 6096001"/>
              <a:gd name="connsiteY3242" fmla="*/ 5233683 h 5392467"/>
              <a:gd name="connsiteX3243" fmla="*/ 3453412 w 6096001"/>
              <a:gd name="connsiteY3243" fmla="*/ 5195000 h 5392467"/>
              <a:gd name="connsiteX3244" fmla="*/ 3497896 w 6096001"/>
              <a:gd name="connsiteY3244" fmla="*/ 5135043 h 5392467"/>
              <a:gd name="connsiteX3245" fmla="*/ 3499831 w 6096001"/>
              <a:gd name="connsiteY3245" fmla="*/ 5129242 h 5392467"/>
              <a:gd name="connsiteX3246" fmla="*/ 3486294 w 6096001"/>
              <a:gd name="connsiteY3246" fmla="*/ 5142780 h 5392467"/>
              <a:gd name="connsiteX3247" fmla="*/ 3488227 w 6096001"/>
              <a:gd name="connsiteY3247" fmla="*/ 5129242 h 5392467"/>
              <a:gd name="connsiteX3248" fmla="*/ 3484358 w 6096001"/>
              <a:gd name="connsiteY3248" fmla="*/ 5129242 h 5392467"/>
              <a:gd name="connsiteX3249" fmla="*/ 3463084 w 6096001"/>
              <a:gd name="connsiteY3249" fmla="*/ 5136978 h 5392467"/>
              <a:gd name="connsiteX3250" fmla="*/ 3428270 w 6096001"/>
              <a:gd name="connsiteY3250" fmla="*/ 5183395 h 5392467"/>
              <a:gd name="connsiteX3251" fmla="*/ 3426337 w 6096001"/>
              <a:gd name="connsiteY3251" fmla="*/ 5189199 h 5392467"/>
              <a:gd name="connsiteX3252" fmla="*/ 3443743 w 6096001"/>
              <a:gd name="connsiteY3252" fmla="*/ 5173726 h 5392467"/>
              <a:gd name="connsiteX3253" fmla="*/ 3439875 w 6096001"/>
              <a:gd name="connsiteY3253" fmla="*/ 5191132 h 5392467"/>
              <a:gd name="connsiteX3254" fmla="*/ 3449544 w 6096001"/>
              <a:gd name="connsiteY3254" fmla="*/ 5181462 h 5392467"/>
              <a:gd name="connsiteX3255" fmla="*/ 3470821 w 6096001"/>
              <a:gd name="connsiteY3255" fmla="*/ 5152451 h 5392467"/>
              <a:gd name="connsiteX3256" fmla="*/ 3484358 w 6096001"/>
              <a:gd name="connsiteY3256" fmla="*/ 5142780 h 5392467"/>
              <a:gd name="connsiteX3257" fmla="*/ 3441808 w 6096001"/>
              <a:gd name="connsiteY3257" fmla="*/ 5200804 h 5392467"/>
              <a:gd name="connsiteX3258" fmla="*/ 3434071 w 6096001"/>
              <a:gd name="connsiteY3258" fmla="*/ 5206605 h 5392467"/>
              <a:gd name="connsiteX3259" fmla="*/ 3434071 w 6096001"/>
              <a:gd name="connsiteY3259" fmla="*/ 5202736 h 5392467"/>
              <a:gd name="connsiteX3260" fmla="*/ 3437939 w 6096001"/>
              <a:gd name="connsiteY3260" fmla="*/ 5193067 h 5392467"/>
              <a:gd name="connsiteX3261" fmla="*/ 3432138 w 6096001"/>
              <a:gd name="connsiteY3261" fmla="*/ 5202736 h 5392467"/>
              <a:gd name="connsiteX3262" fmla="*/ 3422466 w 6096001"/>
              <a:gd name="connsiteY3262" fmla="*/ 5218209 h 5392467"/>
              <a:gd name="connsiteX3263" fmla="*/ 3428270 w 6096001"/>
              <a:gd name="connsiteY3263" fmla="*/ 5214341 h 5392467"/>
              <a:gd name="connsiteX3264" fmla="*/ 3399257 w 6096001"/>
              <a:gd name="connsiteY3264" fmla="*/ 5253024 h 5392467"/>
              <a:gd name="connsiteX3265" fmla="*/ 3401192 w 6096001"/>
              <a:gd name="connsiteY3265" fmla="*/ 5249156 h 5392467"/>
              <a:gd name="connsiteX3266" fmla="*/ 3393456 w 6096001"/>
              <a:gd name="connsiteY3266" fmla="*/ 5254957 h 5392467"/>
              <a:gd name="connsiteX3267" fmla="*/ 3381851 w 6096001"/>
              <a:gd name="connsiteY3267" fmla="*/ 5272365 h 5392467"/>
              <a:gd name="connsiteX3268" fmla="*/ 3364445 w 6096001"/>
              <a:gd name="connsiteY3268" fmla="*/ 5295575 h 5392467"/>
              <a:gd name="connsiteX3269" fmla="*/ 3372179 w 6096001"/>
              <a:gd name="connsiteY3269" fmla="*/ 5291706 h 5392467"/>
              <a:gd name="connsiteX3270" fmla="*/ 3362510 w 6096001"/>
              <a:gd name="connsiteY3270" fmla="*/ 5311048 h 5392467"/>
              <a:gd name="connsiteX3271" fmla="*/ 3360577 w 6096001"/>
              <a:gd name="connsiteY3271" fmla="*/ 5303311 h 5392467"/>
              <a:gd name="connsiteX3272" fmla="*/ 3354773 w 6096001"/>
              <a:gd name="connsiteY3272" fmla="*/ 5312981 h 5392467"/>
              <a:gd name="connsiteX3273" fmla="*/ 3348972 w 6096001"/>
              <a:gd name="connsiteY3273" fmla="*/ 5324585 h 5392467"/>
              <a:gd name="connsiteX3274" fmla="*/ 3339302 w 6096001"/>
              <a:gd name="connsiteY3274" fmla="*/ 5328454 h 5392467"/>
              <a:gd name="connsiteX3275" fmla="*/ 3331564 w 6096001"/>
              <a:gd name="connsiteY3275" fmla="*/ 5322652 h 5392467"/>
              <a:gd name="connsiteX3276" fmla="*/ 3331564 w 6096001"/>
              <a:gd name="connsiteY3276" fmla="*/ 5314916 h 5392467"/>
              <a:gd name="connsiteX3277" fmla="*/ 3329631 w 6096001"/>
              <a:gd name="connsiteY3277" fmla="*/ 5309112 h 5392467"/>
              <a:gd name="connsiteX3278" fmla="*/ 3323827 w 6096001"/>
              <a:gd name="connsiteY3278" fmla="*/ 5297508 h 5392467"/>
              <a:gd name="connsiteX3279" fmla="*/ 3310289 w 6096001"/>
              <a:gd name="connsiteY3279" fmla="*/ 5309112 h 5392467"/>
              <a:gd name="connsiteX3280" fmla="*/ 3310289 w 6096001"/>
              <a:gd name="connsiteY3280" fmla="*/ 5301376 h 5392467"/>
              <a:gd name="connsiteX3281" fmla="*/ 3314158 w 6096001"/>
              <a:gd name="connsiteY3281" fmla="*/ 5293639 h 5392467"/>
              <a:gd name="connsiteX3282" fmla="*/ 3306421 w 6096001"/>
              <a:gd name="connsiteY3282" fmla="*/ 5293639 h 5392467"/>
              <a:gd name="connsiteX3283" fmla="*/ 3302553 w 6096001"/>
              <a:gd name="connsiteY3283" fmla="*/ 5289771 h 5392467"/>
              <a:gd name="connsiteX3284" fmla="*/ 3300620 w 6096001"/>
              <a:gd name="connsiteY3284" fmla="*/ 5293639 h 5392467"/>
              <a:gd name="connsiteX3285" fmla="*/ 3290948 w 6096001"/>
              <a:gd name="connsiteY3285" fmla="*/ 5293639 h 5392467"/>
              <a:gd name="connsiteX3286" fmla="*/ 3290948 w 6096001"/>
              <a:gd name="connsiteY3286" fmla="*/ 5285905 h 5392467"/>
              <a:gd name="connsiteX3287" fmla="*/ 3298685 w 6096001"/>
              <a:gd name="connsiteY3287" fmla="*/ 5264629 h 5392467"/>
              <a:gd name="connsiteX3288" fmla="*/ 3294816 w 6096001"/>
              <a:gd name="connsiteY3288" fmla="*/ 5260760 h 5392467"/>
              <a:gd name="connsiteX3289" fmla="*/ 3294816 w 6096001"/>
              <a:gd name="connsiteY3289" fmla="*/ 5262696 h 5392467"/>
              <a:gd name="connsiteX3290" fmla="*/ 3290948 w 6096001"/>
              <a:gd name="connsiteY3290" fmla="*/ 5260760 h 5392467"/>
              <a:gd name="connsiteX3291" fmla="*/ 3290948 w 6096001"/>
              <a:gd name="connsiteY3291" fmla="*/ 5256892 h 5392467"/>
              <a:gd name="connsiteX3292" fmla="*/ 3277410 w 6096001"/>
              <a:gd name="connsiteY3292" fmla="*/ 5224013 h 5392467"/>
              <a:gd name="connsiteX3293" fmla="*/ 3275475 w 6096001"/>
              <a:gd name="connsiteY3293" fmla="*/ 5220145 h 5392467"/>
              <a:gd name="connsiteX3294" fmla="*/ 3275475 w 6096001"/>
              <a:gd name="connsiteY3294" fmla="*/ 5216277 h 5392467"/>
              <a:gd name="connsiteX3295" fmla="*/ 3275475 w 6096001"/>
              <a:gd name="connsiteY3295" fmla="*/ 5210473 h 5392467"/>
              <a:gd name="connsiteX3296" fmla="*/ 3273542 w 6096001"/>
              <a:gd name="connsiteY3296" fmla="*/ 5208540 h 5392467"/>
              <a:gd name="connsiteX3297" fmla="*/ 3267739 w 6096001"/>
              <a:gd name="connsiteY3297" fmla="*/ 5196935 h 5392467"/>
              <a:gd name="connsiteX3298" fmla="*/ 3254201 w 6096001"/>
              <a:gd name="connsiteY3298" fmla="*/ 5208540 h 5392467"/>
              <a:gd name="connsiteX3299" fmla="*/ 3254201 w 6096001"/>
              <a:gd name="connsiteY3299" fmla="*/ 5200804 h 5392467"/>
              <a:gd name="connsiteX3300" fmla="*/ 3254201 w 6096001"/>
              <a:gd name="connsiteY3300" fmla="*/ 5198871 h 5392467"/>
              <a:gd name="connsiteX3301" fmla="*/ 3252265 w 6096001"/>
              <a:gd name="connsiteY3301" fmla="*/ 5200804 h 5392467"/>
              <a:gd name="connsiteX3302" fmla="*/ 3250333 w 6096001"/>
              <a:gd name="connsiteY3302" fmla="*/ 5196935 h 5392467"/>
              <a:gd name="connsiteX3303" fmla="*/ 3254201 w 6096001"/>
              <a:gd name="connsiteY3303" fmla="*/ 5193067 h 5392467"/>
              <a:gd name="connsiteX3304" fmla="*/ 3256134 w 6096001"/>
              <a:gd name="connsiteY3304" fmla="*/ 5195000 h 5392467"/>
              <a:gd name="connsiteX3305" fmla="*/ 3256134 w 6096001"/>
              <a:gd name="connsiteY3305" fmla="*/ 5196935 h 5392467"/>
              <a:gd name="connsiteX3306" fmla="*/ 3258069 w 6096001"/>
              <a:gd name="connsiteY3306" fmla="*/ 5191132 h 5392467"/>
              <a:gd name="connsiteX3307" fmla="*/ 3250333 w 6096001"/>
              <a:gd name="connsiteY3307" fmla="*/ 5191132 h 5392467"/>
              <a:gd name="connsiteX3308" fmla="*/ 3246464 w 6096001"/>
              <a:gd name="connsiteY3308" fmla="*/ 5187263 h 5392467"/>
              <a:gd name="connsiteX3309" fmla="*/ 3244529 w 6096001"/>
              <a:gd name="connsiteY3309" fmla="*/ 5191132 h 5392467"/>
              <a:gd name="connsiteX3310" fmla="*/ 3234860 w 6096001"/>
              <a:gd name="connsiteY3310" fmla="*/ 5191132 h 5392467"/>
              <a:gd name="connsiteX3311" fmla="*/ 3234860 w 6096001"/>
              <a:gd name="connsiteY3311" fmla="*/ 5183395 h 5392467"/>
              <a:gd name="connsiteX3312" fmla="*/ 3242596 w 6096001"/>
              <a:gd name="connsiteY3312" fmla="*/ 5162121 h 5392467"/>
              <a:gd name="connsiteX3313" fmla="*/ 3223255 w 6096001"/>
              <a:gd name="connsiteY3313" fmla="*/ 5117637 h 5392467"/>
              <a:gd name="connsiteX3314" fmla="*/ 3221319 w 6096001"/>
              <a:gd name="connsiteY3314" fmla="*/ 5107965 h 5392467"/>
              <a:gd name="connsiteX3315" fmla="*/ 3201978 w 6096001"/>
              <a:gd name="connsiteY3315" fmla="*/ 5121505 h 5392467"/>
              <a:gd name="connsiteX3316" fmla="*/ 3203913 w 6096001"/>
              <a:gd name="connsiteY3316" fmla="*/ 5113769 h 5392467"/>
              <a:gd name="connsiteX3317" fmla="*/ 3221319 w 6096001"/>
              <a:gd name="connsiteY3317" fmla="*/ 5098296 h 5392467"/>
              <a:gd name="connsiteX3318" fmla="*/ 3225188 w 6096001"/>
              <a:gd name="connsiteY3318" fmla="*/ 5082823 h 5392467"/>
              <a:gd name="connsiteX3319" fmla="*/ 3227123 w 6096001"/>
              <a:gd name="connsiteY3319" fmla="*/ 5077019 h 5392467"/>
              <a:gd name="connsiteX3320" fmla="*/ 3225188 w 6096001"/>
              <a:gd name="connsiteY3320" fmla="*/ 5077019 h 5392467"/>
              <a:gd name="connsiteX3321" fmla="*/ 3198110 w 6096001"/>
              <a:gd name="connsiteY3321" fmla="*/ 5063482 h 5392467"/>
              <a:gd name="connsiteX3322" fmla="*/ 3215518 w 6096001"/>
              <a:gd name="connsiteY3322" fmla="*/ 5042207 h 5392467"/>
              <a:gd name="connsiteX3323" fmla="*/ 3217451 w 6096001"/>
              <a:gd name="connsiteY3323" fmla="*/ 5036404 h 5392467"/>
              <a:gd name="connsiteX3324" fmla="*/ 3211650 w 6096001"/>
              <a:gd name="connsiteY3324" fmla="*/ 5028667 h 5392467"/>
              <a:gd name="connsiteX3325" fmla="*/ 3219387 w 6096001"/>
              <a:gd name="connsiteY3325" fmla="*/ 5024801 h 5392467"/>
              <a:gd name="connsiteX3326" fmla="*/ 3219387 w 6096001"/>
              <a:gd name="connsiteY3326" fmla="*/ 5022866 h 5392467"/>
              <a:gd name="connsiteX3327" fmla="*/ 3215518 w 6096001"/>
              <a:gd name="connsiteY3327" fmla="*/ 5018998 h 5392467"/>
              <a:gd name="connsiteX3328" fmla="*/ 3203913 w 6096001"/>
              <a:gd name="connsiteY3328" fmla="*/ 5009326 h 5392467"/>
              <a:gd name="connsiteX3329" fmla="*/ 3196177 w 6096001"/>
              <a:gd name="connsiteY3329" fmla="*/ 4999657 h 5392467"/>
              <a:gd name="connsiteX3330" fmla="*/ 3167166 w 6096001"/>
              <a:gd name="connsiteY3330" fmla="*/ 5015130 h 5392467"/>
              <a:gd name="connsiteX3331" fmla="*/ 3184572 w 6096001"/>
              <a:gd name="connsiteY3331" fmla="*/ 4999657 h 5392467"/>
              <a:gd name="connsiteX3332" fmla="*/ 3184572 w 6096001"/>
              <a:gd name="connsiteY3332" fmla="*/ 4995788 h 5392467"/>
              <a:gd name="connsiteX3333" fmla="*/ 3203913 w 6096001"/>
              <a:gd name="connsiteY3333" fmla="*/ 4974512 h 5392467"/>
              <a:gd name="connsiteX3334" fmla="*/ 3219387 w 6096001"/>
              <a:gd name="connsiteY3334" fmla="*/ 4959041 h 5392467"/>
              <a:gd name="connsiteX3335" fmla="*/ 3213585 w 6096001"/>
              <a:gd name="connsiteY3335" fmla="*/ 4953237 h 5392467"/>
              <a:gd name="connsiteX3336" fmla="*/ 3211650 w 6096001"/>
              <a:gd name="connsiteY3336" fmla="*/ 4955173 h 5392467"/>
              <a:gd name="connsiteX3337" fmla="*/ 3176836 w 6096001"/>
              <a:gd name="connsiteY3337" fmla="*/ 4988052 h 5392467"/>
              <a:gd name="connsiteX3338" fmla="*/ 3173291 w 6096001"/>
              <a:gd name="connsiteY3338" fmla="*/ 4990416 h 5392467"/>
              <a:gd name="connsiteX3339" fmla="*/ 3172967 w 6096001"/>
              <a:gd name="connsiteY3339" fmla="*/ 4989985 h 5392467"/>
              <a:gd name="connsiteX3340" fmla="*/ 3171034 w 6096001"/>
              <a:gd name="connsiteY3340" fmla="*/ 4991920 h 5392467"/>
              <a:gd name="connsiteX3341" fmla="*/ 3173291 w 6096001"/>
              <a:gd name="connsiteY3341" fmla="*/ 4990416 h 5392467"/>
              <a:gd name="connsiteX3342" fmla="*/ 3175144 w 6096001"/>
              <a:gd name="connsiteY3342" fmla="*/ 4992887 h 5392467"/>
              <a:gd name="connsiteX3343" fmla="*/ 3172967 w 6096001"/>
              <a:gd name="connsiteY3343" fmla="*/ 4995788 h 5392467"/>
              <a:gd name="connsiteX3344" fmla="*/ 3145892 w 6096001"/>
              <a:gd name="connsiteY3344" fmla="*/ 5017063 h 5392467"/>
              <a:gd name="connsiteX3345" fmla="*/ 3147825 w 6096001"/>
              <a:gd name="connsiteY3345" fmla="*/ 5009326 h 5392467"/>
              <a:gd name="connsiteX3346" fmla="*/ 3165231 w 6096001"/>
              <a:gd name="connsiteY3346" fmla="*/ 4993853 h 5392467"/>
              <a:gd name="connsiteX3347" fmla="*/ 3169099 w 6096001"/>
              <a:gd name="connsiteY3347" fmla="*/ 4986119 h 5392467"/>
              <a:gd name="connsiteX3348" fmla="*/ 3192309 w 6096001"/>
              <a:gd name="connsiteY3348" fmla="*/ 4962909 h 5392467"/>
              <a:gd name="connsiteX3349" fmla="*/ 3203913 w 6096001"/>
              <a:gd name="connsiteY3349" fmla="*/ 4951302 h 5392467"/>
              <a:gd name="connsiteX3350" fmla="*/ 3205849 w 6096001"/>
              <a:gd name="connsiteY3350" fmla="*/ 4949369 h 5392467"/>
              <a:gd name="connsiteX3351" fmla="*/ 3196177 w 6096001"/>
              <a:gd name="connsiteY3351" fmla="*/ 4941633 h 5392467"/>
              <a:gd name="connsiteX3352" fmla="*/ 3180704 w 6096001"/>
              <a:gd name="connsiteY3352" fmla="*/ 4947436 h 5392467"/>
              <a:gd name="connsiteX3353" fmla="*/ 3174903 w 6096001"/>
              <a:gd name="connsiteY3353" fmla="*/ 4953237 h 5392467"/>
              <a:gd name="connsiteX3354" fmla="*/ 3176836 w 6096001"/>
              <a:gd name="connsiteY3354" fmla="*/ 4960974 h 5392467"/>
              <a:gd name="connsiteX3355" fmla="*/ 3178771 w 6096001"/>
              <a:gd name="connsiteY3355" fmla="*/ 4960974 h 5392467"/>
              <a:gd name="connsiteX3356" fmla="*/ 3171034 w 6096001"/>
              <a:gd name="connsiteY3356" fmla="*/ 4972579 h 5392467"/>
              <a:gd name="connsiteX3357" fmla="*/ 3167166 w 6096001"/>
              <a:gd name="connsiteY3357" fmla="*/ 4972579 h 5392467"/>
              <a:gd name="connsiteX3358" fmla="*/ 3161363 w 6096001"/>
              <a:gd name="connsiteY3358" fmla="*/ 4978380 h 5392467"/>
              <a:gd name="connsiteX3359" fmla="*/ 3134285 w 6096001"/>
              <a:gd name="connsiteY3359" fmla="*/ 5001592 h 5392467"/>
              <a:gd name="connsiteX3360" fmla="*/ 3114944 w 6096001"/>
              <a:gd name="connsiteY3360" fmla="*/ 5013194 h 5392467"/>
              <a:gd name="connsiteX3361" fmla="*/ 3130417 w 6096001"/>
              <a:gd name="connsiteY3361" fmla="*/ 4988052 h 5392467"/>
              <a:gd name="connsiteX3362" fmla="*/ 3149758 w 6096001"/>
              <a:gd name="connsiteY3362" fmla="*/ 4976447 h 5392467"/>
              <a:gd name="connsiteX3363" fmla="*/ 3155561 w 6096001"/>
              <a:gd name="connsiteY3363" fmla="*/ 4970643 h 5392467"/>
              <a:gd name="connsiteX3364" fmla="*/ 3157494 w 6096001"/>
              <a:gd name="connsiteY3364" fmla="*/ 4968710 h 5392467"/>
              <a:gd name="connsiteX3365" fmla="*/ 3145892 w 6096001"/>
              <a:gd name="connsiteY3365" fmla="*/ 4957106 h 5392467"/>
              <a:gd name="connsiteX3366" fmla="*/ 3157494 w 6096001"/>
              <a:gd name="connsiteY3366" fmla="*/ 4939700 h 5392467"/>
              <a:gd name="connsiteX3367" fmla="*/ 3147825 w 6096001"/>
              <a:gd name="connsiteY3367" fmla="*/ 4937764 h 5392467"/>
              <a:gd name="connsiteX3368" fmla="*/ 3132352 w 6096001"/>
              <a:gd name="connsiteY3368" fmla="*/ 4953237 h 5392467"/>
              <a:gd name="connsiteX3369" fmla="*/ 3116879 w 6096001"/>
              <a:gd name="connsiteY3369" fmla="*/ 4951302 h 5392467"/>
              <a:gd name="connsiteX3370" fmla="*/ 3116879 w 6096001"/>
              <a:gd name="connsiteY3370" fmla="*/ 4945501 h 5392467"/>
              <a:gd name="connsiteX3371" fmla="*/ 3126551 w 6096001"/>
              <a:gd name="connsiteY3371" fmla="*/ 4931963 h 5392467"/>
              <a:gd name="connsiteX3372" fmla="*/ 3109142 w 6096001"/>
              <a:gd name="connsiteY3372" fmla="*/ 4941633 h 5392467"/>
              <a:gd name="connsiteX3373" fmla="*/ 3113011 w 6096001"/>
              <a:gd name="connsiteY3373" fmla="*/ 4926160 h 5392467"/>
              <a:gd name="connsiteX3374" fmla="*/ 3103341 w 6096001"/>
              <a:gd name="connsiteY3374" fmla="*/ 4931963 h 5392467"/>
              <a:gd name="connsiteX3375" fmla="*/ 3105274 w 6096001"/>
              <a:gd name="connsiteY3375" fmla="*/ 4926160 h 5392467"/>
              <a:gd name="connsiteX3376" fmla="*/ 3087868 w 6096001"/>
              <a:gd name="connsiteY3376" fmla="*/ 4941633 h 5392467"/>
              <a:gd name="connsiteX3377" fmla="*/ 3085933 w 6096001"/>
              <a:gd name="connsiteY3377" fmla="*/ 4943567 h 5392467"/>
              <a:gd name="connsiteX3378" fmla="*/ 3087384 w 6096001"/>
              <a:gd name="connsiteY3378" fmla="*/ 4941150 h 5392467"/>
              <a:gd name="connsiteX3379" fmla="*/ 3091734 w 6096001"/>
              <a:gd name="connsiteY3379" fmla="*/ 4935832 h 5392467"/>
              <a:gd name="connsiteX3380" fmla="*/ 3087868 w 6096001"/>
              <a:gd name="connsiteY3380" fmla="*/ 4937764 h 5392467"/>
              <a:gd name="connsiteX3381" fmla="*/ 3076263 w 6096001"/>
              <a:gd name="connsiteY3381" fmla="*/ 4930028 h 5392467"/>
              <a:gd name="connsiteX3382" fmla="*/ 3074328 w 6096001"/>
              <a:gd name="connsiteY3382" fmla="*/ 4930028 h 5392467"/>
              <a:gd name="connsiteX3383" fmla="*/ 3064659 w 6096001"/>
              <a:gd name="connsiteY3383" fmla="*/ 4935832 h 5392467"/>
              <a:gd name="connsiteX3384" fmla="*/ 3064659 w 6096001"/>
              <a:gd name="connsiteY3384" fmla="*/ 4933896 h 5392467"/>
              <a:gd name="connsiteX3385" fmla="*/ 3006635 w 6096001"/>
              <a:gd name="connsiteY3385" fmla="*/ 4976447 h 5392467"/>
              <a:gd name="connsiteX3386" fmla="*/ 2998898 w 6096001"/>
              <a:gd name="connsiteY3386" fmla="*/ 4984184 h 5392467"/>
              <a:gd name="connsiteX3387" fmla="*/ 3012438 w 6096001"/>
              <a:gd name="connsiteY3387" fmla="*/ 4986119 h 5392467"/>
              <a:gd name="connsiteX3388" fmla="*/ 3033713 w 6096001"/>
              <a:gd name="connsiteY3388" fmla="*/ 4970643 h 5392467"/>
              <a:gd name="connsiteX3389" fmla="*/ 3027909 w 6096001"/>
              <a:gd name="connsiteY3389" fmla="*/ 4986119 h 5392467"/>
              <a:gd name="connsiteX3390" fmla="*/ 3033713 w 6096001"/>
              <a:gd name="connsiteY3390" fmla="*/ 4986119 h 5392467"/>
              <a:gd name="connsiteX3391" fmla="*/ 3041449 w 6096001"/>
              <a:gd name="connsiteY3391" fmla="*/ 4976447 h 5392467"/>
              <a:gd name="connsiteX3392" fmla="*/ 3041449 w 6096001"/>
              <a:gd name="connsiteY3392" fmla="*/ 4974512 h 5392467"/>
              <a:gd name="connsiteX3393" fmla="*/ 3045317 w 6096001"/>
              <a:gd name="connsiteY3393" fmla="*/ 4972579 h 5392467"/>
              <a:gd name="connsiteX3394" fmla="*/ 3053054 w 6096001"/>
              <a:gd name="connsiteY3394" fmla="*/ 4966778 h 5392467"/>
              <a:gd name="connsiteX3395" fmla="*/ 3060790 w 6096001"/>
              <a:gd name="connsiteY3395" fmla="*/ 4962909 h 5392467"/>
              <a:gd name="connsiteX3396" fmla="*/ 3068527 w 6096001"/>
              <a:gd name="connsiteY3396" fmla="*/ 4959041 h 5392467"/>
              <a:gd name="connsiteX3397" fmla="*/ 3053054 w 6096001"/>
              <a:gd name="connsiteY3397" fmla="*/ 4978380 h 5392467"/>
              <a:gd name="connsiteX3398" fmla="*/ 3049186 w 6096001"/>
              <a:gd name="connsiteY3398" fmla="*/ 4978380 h 5392467"/>
              <a:gd name="connsiteX3399" fmla="*/ 3047250 w 6096001"/>
              <a:gd name="connsiteY3399" fmla="*/ 4978380 h 5392467"/>
              <a:gd name="connsiteX3400" fmla="*/ 3043382 w 6096001"/>
              <a:gd name="connsiteY3400" fmla="*/ 4995788 h 5392467"/>
              <a:gd name="connsiteX3401" fmla="*/ 3058857 w 6096001"/>
              <a:gd name="connsiteY3401" fmla="*/ 4980315 h 5392467"/>
              <a:gd name="connsiteX3402" fmla="*/ 3074328 w 6096001"/>
              <a:gd name="connsiteY3402" fmla="*/ 4966778 h 5392467"/>
              <a:gd name="connsiteX3403" fmla="*/ 3078196 w 6096001"/>
              <a:gd name="connsiteY3403" fmla="*/ 4972579 h 5392467"/>
              <a:gd name="connsiteX3404" fmla="*/ 3051118 w 6096001"/>
              <a:gd name="connsiteY3404" fmla="*/ 5018998 h 5392467"/>
              <a:gd name="connsiteX3405" fmla="*/ 3043382 w 6096001"/>
              <a:gd name="connsiteY3405" fmla="*/ 5018998 h 5392467"/>
              <a:gd name="connsiteX3406" fmla="*/ 3031780 w 6096001"/>
              <a:gd name="connsiteY3406" fmla="*/ 5034471 h 5392467"/>
              <a:gd name="connsiteX3407" fmla="*/ 3033713 w 6096001"/>
              <a:gd name="connsiteY3407" fmla="*/ 5040272 h 5392467"/>
              <a:gd name="connsiteX3408" fmla="*/ 3039516 w 6096001"/>
              <a:gd name="connsiteY3408" fmla="*/ 5028667 h 5392467"/>
              <a:gd name="connsiteX3409" fmla="*/ 3043382 w 6096001"/>
              <a:gd name="connsiteY3409" fmla="*/ 5026734 h 5392467"/>
              <a:gd name="connsiteX3410" fmla="*/ 3049186 w 6096001"/>
              <a:gd name="connsiteY3410" fmla="*/ 5034471 h 5392467"/>
              <a:gd name="connsiteX3411" fmla="*/ 3041449 w 6096001"/>
              <a:gd name="connsiteY3411" fmla="*/ 5059613 h 5392467"/>
              <a:gd name="connsiteX3412" fmla="*/ 3043382 w 6096001"/>
              <a:gd name="connsiteY3412" fmla="*/ 5084756 h 5392467"/>
              <a:gd name="connsiteX3413" fmla="*/ 3049186 w 6096001"/>
              <a:gd name="connsiteY3413" fmla="*/ 5088626 h 5392467"/>
              <a:gd name="connsiteX3414" fmla="*/ 3045800 w 6096001"/>
              <a:gd name="connsiteY3414" fmla="*/ 5096119 h 5392467"/>
              <a:gd name="connsiteX3415" fmla="*/ 3034689 w 6096001"/>
              <a:gd name="connsiteY3415" fmla="*/ 5107009 h 5392467"/>
              <a:gd name="connsiteX3416" fmla="*/ 3033713 w 6096001"/>
              <a:gd name="connsiteY3416" fmla="*/ 5106032 h 5392467"/>
              <a:gd name="connsiteX3417" fmla="*/ 3033713 w 6096001"/>
              <a:gd name="connsiteY3417" fmla="*/ 5104097 h 5392467"/>
              <a:gd name="connsiteX3418" fmla="*/ 3029844 w 6096001"/>
              <a:gd name="connsiteY3418" fmla="*/ 5107965 h 5392467"/>
              <a:gd name="connsiteX3419" fmla="*/ 3033713 w 6096001"/>
              <a:gd name="connsiteY3419" fmla="*/ 5108933 h 5392467"/>
              <a:gd name="connsiteX3420" fmla="*/ 3033713 w 6096001"/>
              <a:gd name="connsiteY3420" fmla="*/ 5109901 h 5392467"/>
              <a:gd name="connsiteX3421" fmla="*/ 3037581 w 6096001"/>
              <a:gd name="connsiteY3421" fmla="*/ 5109901 h 5392467"/>
              <a:gd name="connsiteX3422" fmla="*/ 3043382 w 6096001"/>
              <a:gd name="connsiteY3422" fmla="*/ 5109901 h 5392467"/>
              <a:gd name="connsiteX3423" fmla="*/ 3043382 w 6096001"/>
              <a:gd name="connsiteY3423" fmla="*/ 5113769 h 5392467"/>
              <a:gd name="connsiteX3424" fmla="*/ 3042975 w 6096001"/>
              <a:gd name="connsiteY3424" fmla="*/ 5114379 h 5392467"/>
              <a:gd name="connsiteX3425" fmla="*/ 3041449 w 6096001"/>
              <a:gd name="connsiteY3425" fmla="*/ 5111836 h 5392467"/>
              <a:gd name="connsiteX3426" fmla="*/ 3041449 w 6096001"/>
              <a:gd name="connsiteY3426" fmla="*/ 5116669 h 5392467"/>
              <a:gd name="connsiteX3427" fmla="*/ 3039516 w 6096001"/>
              <a:gd name="connsiteY3427" fmla="*/ 5119570 h 5392467"/>
              <a:gd name="connsiteX3428" fmla="*/ 3041449 w 6096001"/>
              <a:gd name="connsiteY3428" fmla="*/ 5120538 h 5392467"/>
              <a:gd name="connsiteX3429" fmla="*/ 3041449 w 6096001"/>
              <a:gd name="connsiteY3429" fmla="*/ 5122665 h 5392467"/>
              <a:gd name="connsiteX3430" fmla="*/ 3033713 w 6096001"/>
              <a:gd name="connsiteY3430" fmla="*/ 5127307 h 5392467"/>
              <a:gd name="connsiteX3431" fmla="*/ 3031780 w 6096001"/>
              <a:gd name="connsiteY3431" fmla="*/ 5125374 h 5392467"/>
              <a:gd name="connsiteX3432" fmla="*/ 2991162 w 6096001"/>
              <a:gd name="connsiteY3432" fmla="*/ 5160188 h 5392467"/>
              <a:gd name="connsiteX3433" fmla="*/ 2969888 w 6096001"/>
              <a:gd name="connsiteY3433" fmla="*/ 5171790 h 5392467"/>
              <a:gd name="connsiteX3434" fmla="*/ 2956347 w 6096001"/>
              <a:gd name="connsiteY3434" fmla="*/ 5177594 h 5392467"/>
              <a:gd name="connsiteX3435" fmla="*/ 2938941 w 6096001"/>
              <a:gd name="connsiteY3435" fmla="*/ 5164054 h 5392467"/>
              <a:gd name="connsiteX3436" fmla="*/ 2929272 w 6096001"/>
              <a:gd name="connsiteY3436" fmla="*/ 5138911 h 5392467"/>
              <a:gd name="connsiteX3437" fmla="*/ 2925404 w 6096001"/>
              <a:gd name="connsiteY3437" fmla="*/ 5123438 h 5392467"/>
              <a:gd name="connsiteX3438" fmla="*/ 2900259 w 6096001"/>
              <a:gd name="connsiteY3438" fmla="*/ 5127307 h 5392467"/>
              <a:gd name="connsiteX3439" fmla="*/ 2898326 w 6096001"/>
              <a:gd name="connsiteY3439" fmla="*/ 5121505 h 5392467"/>
              <a:gd name="connsiteX3440" fmla="*/ 2898326 w 6096001"/>
              <a:gd name="connsiteY3440" fmla="*/ 5117637 h 5392467"/>
              <a:gd name="connsiteX3441" fmla="*/ 2888654 w 6096001"/>
              <a:gd name="connsiteY3441" fmla="*/ 5127307 h 5392467"/>
              <a:gd name="connsiteX3442" fmla="*/ 2873181 w 6096001"/>
              <a:gd name="connsiteY3442" fmla="*/ 5136978 h 5392467"/>
              <a:gd name="connsiteX3443" fmla="*/ 2871248 w 6096001"/>
              <a:gd name="connsiteY3443" fmla="*/ 5135043 h 5392467"/>
              <a:gd name="connsiteX3444" fmla="*/ 2875116 w 6096001"/>
              <a:gd name="connsiteY3444" fmla="*/ 5121505 h 5392467"/>
              <a:gd name="connsiteX3445" fmla="*/ 2855775 w 6096001"/>
              <a:gd name="connsiteY3445" fmla="*/ 5136978 h 5392467"/>
              <a:gd name="connsiteX3446" fmla="*/ 2844170 w 6096001"/>
              <a:gd name="connsiteY3446" fmla="*/ 5158253 h 5392467"/>
              <a:gd name="connsiteX3447" fmla="*/ 2840101 w 6096001"/>
              <a:gd name="connsiteY3447" fmla="*/ 5153312 h 5392467"/>
              <a:gd name="connsiteX3448" fmla="*/ 2842237 w 6096001"/>
              <a:gd name="connsiteY3448" fmla="*/ 5148583 h 5392467"/>
              <a:gd name="connsiteX3449" fmla="*/ 2838602 w 6096001"/>
              <a:gd name="connsiteY3449" fmla="*/ 5151491 h 5392467"/>
              <a:gd name="connsiteX3450" fmla="*/ 2834016 w 6096001"/>
              <a:gd name="connsiteY3450" fmla="*/ 5145923 h 5392467"/>
              <a:gd name="connsiteX3451" fmla="*/ 2820961 w 6096001"/>
              <a:gd name="connsiteY3451" fmla="*/ 5152451 h 5392467"/>
              <a:gd name="connsiteX3452" fmla="*/ 2811291 w 6096001"/>
              <a:gd name="connsiteY3452" fmla="*/ 5160188 h 5392467"/>
              <a:gd name="connsiteX3453" fmla="*/ 2797754 w 6096001"/>
              <a:gd name="connsiteY3453" fmla="*/ 5146648 h 5392467"/>
              <a:gd name="connsiteX3454" fmla="*/ 2786147 w 6096001"/>
              <a:gd name="connsiteY3454" fmla="*/ 5164054 h 5392467"/>
              <a:gd name="connsiteX3455" fmla="*/ 2790015 w 6096001"/>
              <a:gd name="connsiteY3455" fmla="*/ 5169857 h 5392467"/>
              <a:gd name="connsiteX3456" fmla="*/ 2788082 w 6096001"/>
              <a:gd name="connsiteY3456" fmla="*/ 5169857 h 5392467"/>
              <a:gd name="connsiteX3457" fmla="*/ 2741663 w 6096001"/>
              <a:gd name="connsiteY3457" fmla="*/ 5202736 h 5392467"/>
              <a:gd name="connsiteX3458" fmla="*/ 2739730 w 6096001"/>
              <a:gd name="connsiteY3458" fmla="*/ 5204672 h 5392467"/>
              <a:gd name="connsiteX3459" fmla="*/ 2730058 w 6096001"/>
              <a:gd name="connsiteY3459" fmla="*/ 5214341 h 5392467"/>
              <a:gd name="connsiteX3460" fmla="*/ 2710717 w 6096001"/>
              <a:gd name="connsiteY3460" fmla="*/ 5210473 h 5392467"/>
              <a:gd name="connsiteX3461" fmla="*/ 2712652 w 6096001"/>
              <a:gd name="connsiteY3461" fmla="*/ 5224013 h 5392467"/>
              <a:gd name="connsiteX3462" fmla="*/ 2679771 w 6096001"/>
              <a:gd name="connsiteY3462" fmla="*/ 5245287 h 5392467"/>
              <a:gd name="connsiteX3463" fmla="*/ 2677838 w 6096001"/>
              <a:gd name="connsiteY3463" fmla="*/ 5243354 h 5392467"/>
              <a:gd name="connsiteX3464" fmla="*/ 2685574 w 6096001"/>
              <a:gd name="connsiteY3464" fmla="*/ 5233683 h 5392467"/>
              <a:gd name="connsiteX3465" fmla="*/ 2683639 w 6096001"/>
              <a:gd name="connsiteY3465" fmla="*/ 5231747 h 5392467"/>
              <a:gd name="connsiteX3466" fmla="*/ 2654628 w 6096001"/>
              <a:gd name="connsiteY3466" fmla="*/ 5249156 h 5392467"/>
              <a:gd name="connsiteX3467" fmla="*/ 2656561 w 6096001"/>
              <a:gd name="connsiteY3467" fmla="*/ 5254957 h 5392467"/>
              <a:gd name="connsiteX3468" fmla="*/ 2654628 w 6096001"/>
              <a:gd name="connsiteY3468" fmla="*/ 5256892 h 5392467"/>
              <a:gd name="connsiteX3469" fmla="*/ 2650760 w 6096001"/>
              <a:gd name="connsiteY3469" fmla="*/ 5249156 h 5392467"/>
              <a:gd name="connsiteX3470" fmla="*/ 2635287 w 6096001"/>
              <a:gd name="connsiteY3470" fmla="*/ 5264629 h 5392467"/>
              <a:gd name="connsiteX3471" fmla="*/ 2631419 w 6096001"/>
              <a:gd name="connsiteY3471" fmla="*/ 5266564 h 5392467"/>
              <a:gd name="connsiteX3472" fmla="*/ 2614013 w 6096001"/>
              <a:gd name="connsiteY3472" fmla="*/ 5272365 h 5392467"/>
              <a:gd name="connsiteX3473" fmla="*/ 2600473 w 6096001"/>
              <a:gd name="connsiteY3473" fmla="*/ 5285905 h 5392467"/>
              <a:gd name="connsiteX3474" fmla="*/ 2579199 w 6096001"/>
              <a:gd name="connsiteY3474" fmla="*/ 5299443 h 5392467"/>
              <a:gd name="connsiteX3475" fmla="*/ 2586935 w 6096001"/>
              <a:gd name="connsiteY3475" fmla="*/ 5289771 h 5392467"/>
              <a:gd name="connsiteX3476" fmla="*/ 2573395 w 6096001"/>
              <a:gd name="connsiteY3476" fmla="*/ 5291706 h 5392467"/>
              <a:gd name="connsiteX3477" fmla="*/ 2571462 w 6096001"/>
              <a:gd name="connsiteY3477" fmla="*/ 5283970 h 5392467"/>
              <a:gd name="connsiteX3478" fmla="*/ 2548253 w 6096001"/>
              <a:gd name="connsiteY3478" fmla="*/ 5295575 h 5392467"/>
              <a:gd name="connsiteX3479" fmla="*/ 2544384 w 6096001"/>
              <a:gd name="connsiteY3479" fmla="*/ 5289771 h 5392467"/>
              <a:gd name="connsiteX3480" fmla="*/ 2542451 w 6096001"/>
              <a:gd name="connsiteY3480" fmla="*/ 5291706 h 5392467"/>
              <a:gd name="connsiteX3481" fmla="*/ 2519242 w 6096001"/>
              <a:gd name="connsiteY3481" fmla="*/ 5309112 h 5392467"/>
              <a:gd name="connsiteX3482" fmla="*/ 2507636 w 6096001"/>
              <a:gd name="connsiteY3482" fmla="*/ 5314916 h 5392467"/>
              <a:gd name="connsiteX3483" fmla="*/ 2495066 w 6096001"/>
              <a:gd name="connsiteY3483" fmla="*/ 5313223 h 5392467"/>
              <a:gd name="connsiteX3484" fmla="*/ 2488296 w 6096001"/>
              <a:gd name="connsiteY3484" fmla="*/ 5324585 h 5392467"/>
              <a:gd name="connsiteX3485" fmla="*/ 2501533 w 6096001"/>
              <a:gd name="connsiteY3485" fmla="*/ 5317968 h 5392467"/>
              <a:gd name="connsiteX3486" fmla="*/ 2492164 w 6096001"/>
              <a:gd name="connsiteY3486" fmla="*/ 5322652 h 5392467"/>
              <a:gd name="connsiteX3487" fmla="*/ 2494099 w 6096001"/>
              <a:gd name="connsiteY3487" fmla="*/ 5332322 h 5392467"/>
              <a:gd name="connsiteX3488" fmla="*/ 2492164 w 6096001"/>
              <a:gd name="connsiteY3488" fmla="*/ 5340058 h 5392467"/>
              <a:gd name="connsiteX3489" fmla="*/ 2482492 w 6096001"/>
              <a:gd name="connsiteY3489" fmla="*/ 5347795 h 5392467"/>
              <a:gd name="connsiteX3490" fmla="*/ 2441877 w 6096001"/>
              <a:gd name="connsiteY3490" fmla="*/ 5365201 h 5392467"/>
              <a:gd name="connsiteX3491" fmla="*/ 2455417 w 6096001"/>
              <a:gd name="connsiteY3491" fmla="*/ 5357464 h 5392467"/>
              <a:gd name="connsiteX3492" fmla="*/ 2457593 w 6096001"/>
              <a:gd name="connsiteY3492" fmla="*/ 5351663 h 5392467"/>
              <a:gd name="connsiteX3493" fmla="*/ 2459331 w 6096001"/>
              <a:gd name="connsiteY3493" fmla="*/ 5348881 h 5392467"/>
              <a:gd name="connsiteX3494" fmla="*/ 2470890 w 6096001"/>
              <a:gd name="connsiteY3494" fmla="*/ 5343927 h 5392467"/>
              <a:gd name="connsiteX3495" fmla="*/ 2466220 w 6096001"/>
              <a:gd name="connsiteY3495" fmla="*/ 5342526 h 5392467"/>
              <a:gd name="connsiteX3496" fmla="*/ 2472823 w 6096001"/>
              <a:gd name="connsiteY3496" fmla="*/ 5338123 h 5392467"/>
              <a:gd name="connsiteX3497" fmla="*/ 2462686 w 6096001"/>
              <a:gd name="connsiteY3497" fmla="*/ 5341466 h 5392467"/>
              <a:gd name="connsiteX3498" fmla="*/ 2461218 w 6096001"/>
              <a:gd name="connsiteY3498" fmla="*/ 5341025 h 5392467"/>
              <a:gd name="connsiteX3499" fmla="*/ 2460736 w 6096001"/>
              <a:gd name="connsiteY3499" fmla="*/ 5342109 h 5392467"/>
              <a:gd name="connsiteX3500" fmla="*/ 2450823 w 6096001"/>
              <a:gd name="connsiteY3500" fmla="*/ 5345378 h 5392467"/>
              <a:gd name="connsiteX3501" fmla="*/ 2430274 w 6096001"/>
              <a:gd name="connsiteY3501" fmla="*/ 5355531 h 5392467"/>
              <a:gd name="connsiteX3502" fmla="*/ 2385788 w 6096001"/>
              <a:gd name="connsiteY3502" fmla="*/ 5376806 h 5392467"/>
              <a:gd name="connsiteX3503" fmla="*/ 2341304 w 6096001"/>
              <a:gd name="connsiteY3503" fmla="*/ 5392279 h 5392467"/>
              <a:gd name="connsiteX3504" fmla="*/ 2366447 w 6096001"/>
              <a:gd name="connsiteY3504" fmla="*/ 5376806 h 5392467"/>
              <a:gd name="connsiteX3505" fmla="*/ 2395458 w 6096001"/>
              <a:gd name="connsiteY3505" fmla="*/ 5353598 h 5392467"/>
              <a:gd name="connsiteX3506" fmla="*/ 2354842 w 6096001"/>
              <a:gd name="connsiteY3506" fmla="*/ 5372940 h 5392467"/>
              <a:gd name="connsiteX3507" fmla="*/ 2350974 w 6096001"/>
              <a:gd name="connsiteY3507" fmla="*/ 5367136 h 5392467"/>
              <a:gd name="connsiteX3508" fmla="*/ 2335501 w 6096001"/>
              <a:gd name="connsiteY3508" fmla="*/ 5371004 h 5392467"/>
              <a:gd name="connsiteX3509" fmla="*/ 2333568 w 6096001"/>
              <a:gd name="connsiteY3509" fmla="*/ 5363268 h 5392467"/>
              <a:gd name="connsiteX3510" fmla="*/ 2291017 w 6096001"/>
              <a:gd name="connsiteY3510" fmla="*/ 5376806 h 5392467"/>
              <a:gd name="connsiteX3511" fmla="*/ 2312291 w 6096001"/>
              <a:gd name="connsiteY3511" fmla="*/ 5359400 h 5392467"/>
              <a:gd name="connsiteX3512" fmla="*/ 2285216 w 6096001"/>
              <a:gd name="connsiteY3512" fmla="*/ 5345862 h 5392467"/>
              <a:gd name="connsiteX3513" fmla="*/ 2298754 w 6096001"/>
              <a:gd name="connsiteY3513" fmla="*/ 5341991 h 5392467"/>
              <a:gd name="connsiteX3514" fmla="*/ 2275544 w 6096001"/>
              <a:gd name="connsiteY3514" fmla="*/ 5340058 h 5392467"/>
              <a:gd name="connsiteX3515" fmla="*/ 2254270 w 6096001"/>
              <a:gd name="connsiteY3515" fmla="*/ 5355531 h 5392467"/>
              <a:gd name="connsiteX3516" fmla="*/ 2267808 w 6096001"/>
              <a:gd name="connsiteY3516" fmla="*/ 5332322 h 5392467"/>
              <a:gd name="connsiteX3517" fmla="*/ 2250402 w 6096001"/>
              <a:gd name="connsiteY3517" fmla="*/ 5343927 h 5392467"/>
              <a:gd name="connsiteX3518" fmla="*/ 2260071 w 6096001"/>
              <a:gd name="connsiteY3518" fmla="*/ 5330389 h 5392467"/>
              <a:gd name="connsiteX3519" fmla="*/ 2248466 w 6096001"/>
              <a:gd name="connsiteY3519" fmla="*/ 5326521 h 5392467"/>
              <a:gd name="connsiteX3520" fmla="*/ 2267808 w 6096001"/>
              <a:gd name="connsiteY3520" fmla="*/ 5307179 h 5392467"/>
              <a:gd name="connsiteX3521" fmla="*/ 2258138 w 6096001"/>
              <a:gd name="connsiteY3521" fmla="*/ 5297508 h 5392467"/>
              <a:gd name="connsiteX3522" fmla="*/ 2238797 w 6096001"/>
              <a:gd name="connsiteY3522" fmla="*/ 5316849 h 5392467"/>
              <a:gd name="connsiteX3523" fmla="*/ 2234929 w 6096001"/>
              <a:gd name="connsiteY3523" fmla="*/ 5303311 h 5392467"/>
              <a:gd name="connsiteX3524" fmla="*/ 2242665 w 6096001"/>
              <a:gd name="connsiteY3524" fmla="*/ 5291706 h 5392467"/>
              <a:gd name="connsiteX3525" fmla="*/ 2223324 w 6096001"/>
              <a:gd name="connsiteY3525" fmla="*/ 5293639 h 5392467"/>
              <a:gd name="connsiteX3526" fmla="*/ 2225257 w 6096001"/>
              <a:gd name="connsiteY3526" fmla="*/ 5283970 h 5392467"/>
              <a:gd name="connsiteX3527" fmla="*/ 2217523 w 6096001"/>
              <a:gd name="connsiteY3527" fmla="*/ 5282035 h 5392467"/>
              <a:gd name="connsiteX3528" fmla="*/ 2234929 w 6096001"/>
              <a:gd name="connsiteY3528" fmla="*/ 5260760 h 5392467"/>
              <a:gd name="connsiteX3529" fmla="*/ 2236864 w 6096001"/>
              <a:gd name="connsiteY3529" fmla="*/ 5241419 h 5392467"/>
              <a:gd name="connsiteX3530" fmla="*/ 2207851 w 6096001"/>
              <a:gd name="connsiteY3530" fmla="*/ 5262696 h 5392467"/>
              <a:gd name="connsiteX3531" fmla="*/ 2180773 w 6096001"/>
              <a:gd name="connsiteY3531" fmla="*/ 5282035 h 5392467"/>
              <a:gd name="connsiteX3532" fmla="*/ 2173037 w 6096001"/>
              <a:gd name="connsiteY3532" fmla="*/ 5283970 h 5392467"/>
              <a:gd name="connsiteX3533" fmla="*/ 2182706 w 6096001"/>
              <a:gd name="connsiteY3533" fmla="*/ 5276233 h 5392467"/>
              <a:gd name="connsiteX3534" fmla="*/ 2180773 w 6096001"/>
              <a:gd name="connsiteY3534" fmla="*/ 5274298 h 5392467"/>
              <a:gd name="connsiteX3535" fmla="*/ 2165300 w 6096001"/>
              <a:gd name="connsiteY3535" fmla="*/ 5282035 h 5392467"/>
              <a:gd name="connsiteX3536" fmla="*/ 2207851 w 6096001"/>
              <a:gd name="connsiteY3536" fmla="*/ 5245287 h 5392467"/>
              <a:gd name="connsiteX3537" fmla="*/ 2213655 w 6096001"/>
              <a:gd name="connsiteY3537" fmla="*/ 5222078 h 5392467"/>
              <a:gd name="connsiteX3538" fmla="*/ 2205916 w 6096001"/>
              <a:gd name="connsiteY3538" fmla="*/ 5208540 h 5392467"/>
              <a:gd name="connsiteX3539" fmla="*/ 2196246 w 6096001"/>
              <a:gd name="connsiteY3539" fmla="*/ 5198871 h 5392467"/>
              <a:gd name="connsiteX3540" fmla="*/ 2163367 w 6096001"/>
              <a:gd name="connsiteY3540" fmla="*/ 5204672 h 5392467"/>
              <a:gd name="connsiteX3541" fmla="*/ 2171104 w 6096001"/>
              <a:gd name="connsiteY3541" fmla="*/ 5195000 h 5392467"/>
              <a:gd name="connsiteX3542" fmla="*/ 2124685 w 6096001"/>
              <a:gd name="connsiteY3542" fmla="*/ 5220145 h 5392467"/>
              <a:gd name="connsiteX3543" fmla="*/ 2144026 w 6096001"/>
              <a:gd name="connsiteY3543" fmla="*/ 5202736 h 5392467"/>
              <a:gd name="connsiteX3544" fmla="*/ 2165300 w 6096001"/>
              <a:gd name="connsiteY3544" fmla="*/ 5181462 h 5392467"/>
              <a:gd name="connsiteX3545" fmla="*/ 2138223 w 6096001"/>
              <a:gd name="connsiteY3545" fmla="*/ 5195000 h 5392467"/>
              <a:gd name="connsiteX3546" fmla="*/ 2113080 w 6096001"/>
              <a:gd name="connsiteY3546" fmla="*/ 5210473 h 5392467"/>
              <a:gd name="connsiteX3547" fmla="*/ 2149829 w 6096001"/>
              <a:gd name="connsiteY3547" fmla="*/ 5169857 h 5392467"/>
              <a:gd name="connsiteX3548" fmla="*/ 2147894 w 6096001"/>
              <a:gd name="connsiteY3548" fmla="*/ 5154384 h 5392467"/>
              <a:gd name="connsiteX3549" fmla="*/ 2138223 w 6096001"/>
              <a:gd name="connsiteY3549" fmla="*/ 5158253 h 5392467"/>
              <a:gd name="connsiteX3550" fmla="*/ 2140158 w 6096001"/>
              <a:gd name="connsiteY3550" fmla="*/ 5144713 h 5392467"/>
              <a:gd name="connsiteX3551" fmla="*/ 2107279 w 6096001"/>
              <a:gd name="connsiteY3551" fmla="*/ 5167922 h 5392467"/>
              <a:gd name="connsiteX3552" fmla="*/ 2105343 w 6096001"/>
              <a:gd name="connsiteY3552" fmla="*/ 5165989 h 5392467"/>
              <a:gd name="connsiteX3553" fmla="*/ 2118881 w 6096001"/>
              <a:gd name="connsiteY3553" fmla="*/ 5148583 h 5392467"/>
              <a:gd name="connsiteX3554" fmla="*/ 2107279 w 6096001"/>
              <a:gd name="connsiteY3554" fmla="*/ 5148583 h 5392467"/>
              <a:gd name="connsiteX3555" fmla="*/ 2132421 w 6096001"/>
              <a:gd name="connsiteY3555" fmla="*/ 5121505 h 5392467"/>
              <a:gd name="connsiteX3556" fmla="*/ 2118881 w 6096001"/>
              <a:gd name="connsiteY3556" fmla="*/ 5121505 h 5392467"/>
              <a:gd name="connsiteX3557" fmla="*/ 2124685 w 6096001"/>
              <a:gd name="connsiteY3557" fmla="*/ 5111836 h 5392467"/>
              <a:gd name="connsiteX3558" fmla="*/ 2105343 w 6096001"/>
              <a:gd name="connsiteY3558" fmla="*/ 5096361 h 5392467"/>
              <a:gd name="connsiteX3559" fmla="*/ 2115013 w 6096001"/>
              <a:gd name="connsiteY3559" fmla="*/ 5088626 h 5392467"/>
              <a:gd name="connsiteX3560" fmla="*/ 2113080 w 6096001"/>
              <a:gd name="connsiteY3560" fmla="*/ 5086691 h 5392467"/>
              <a:gd name="connsiteX3561" fmla="*/ 2099542 w 6096001"/>
              <a:gd name="connsiteY3561" fmla="*/ 5094428 h 5392467"/>
              <a:gd name="connsiteX3562" fmla="*/ 2097607 w 6096001"/>
              <a:gd name="connsiteY3562" fmla="*/ 5092495 h 5392467"/>
              <a:gd name="connsiteX3563" fmla="*/ 2126620 w 6096001"/>
              <a:gd name="connsiteY3563" fmla="*/ 5067350 h 5392467"/>
              <a:gd name="connsiteX3564" fmla="*/ 2134354 w 6096001"/>
              <a:gd name="connsiteY3564" fmla="*/ 5073153 h 5392467"/>
              <a:gd name="connsiteX3565" fmla="*/ 2136290 w 6096001"/>
              <a:gd name="connsiteY3565" fmla="*/ 5057678 h 5392467"/>
              <a:gd name="connsiteX3566" fmla="*/ 2144026 w 6096001"/>
              <a:gd name="connsiteY3566" fmla="*/ 5030603 h 5392467"/>
              <a:gd name="connsiteX3567" fmla="*/ 2124685 w 6096001"/>
              <a:gd name="connsiteY3567" fmla="*/ 5018998 h 5392467"/>
              <a:gd name="connsiteX3568" fmla="*/ 2144026 w 6096001"/>
              <a:gd name="connsiteY3568" fmla="*/ 4993853 h 5392467"/>
              <a:gd name="connsiteX3569" fmla="*/ 2144026 w 6096001"/>
              <a:gd name="connsiteY3569" fmla="*/ 4991920 h 5392467"/>
              <a:gd name="connsiteX3570" fmla="*/ 2134354 w 6096001"/>
              <a:gd name="connsiteY3570" fmla="*/ 4993853 h 5392467"/>
              <a:gd name="connsiteX3571" fmla="*/ 2089870 w 6096001"/>
              <a:gd name="connsiteY3571" fmla="*/ 5024801 h 5392467"/>
              <a:gd name="connsiteX3572" fmla="*/ 2080201 w 6096001"/>
              <a:gd name="connsiteY3572" fmla="*/ 5028667 h 5392467"/>
              <a:gd name="connsiteX3573" fmla="*/ 2074397 w 6096001"/>
              <a:gd name="connsiteY3573" fmla="*/ 5030603 h 5392467"/>
              <a:gd name="connsiteX3574" fmla="*/ 2041518 w 6096001"/>
              <a:gd name="connsiteY3574" fmla="*/ 5048009 h 5392467"/>
              <a:gd name="connsiteX3575" fmla="*/ 1892592 w 6096001"/>
              <a:gd name="connsiteY3575" fmla="*/ 5044140 h 5392467"/>
              <a:gd name="connsiteX3576" fmla="*/ 1882197 w 6096001"/>
              <a:gd name="connsiteY3576" fmla="*/ 5050910 h 5392467"/>
              <a:gd name="connsiteX3577" fmla="*/ 1870196 w 6096001"/>
              <a:gd name="connsiteY3577" fmla="*/ 5051697 h 5392467"/>
              <a:gd name="connsiteX3578" fmla="*/ 1875186 w 6096001"/>
              <a:gd name="connsiteY3578" fmla="*/ 5048009 h 5392467"/>
              <a:gd name="connsiteX3579" fmla="*/ 1882922 w 6096001"/>
              <a:gd name="connsiteY3579" fmla="*/ 5042207 h 5392467"/>
              <a:gd name="connsiteX3580" fmla="*/ 1880987 w 6096001"/>
              <a:gd name="connsiteY3580" fmla="*/ 5040272 h 5392467"/>
              <a:gd name="connsiteX3581" fmla="*/ 1865516 w 6096001"/>
              <a:gd name="connsiteY3581" fmla="*/ 5048009 h 5392467"/>
              <a:gd name="connsiteX3582" fmla="*/ 1861646 w 6096001"/>
              <a:gd name="connsiteY3582" fmla="*/ 5042207 h 5392467"/>
              <a:gd name="connsiteX3583" fmla="*/ 1853909 w 6096001"/>
              <a:gd name="connsiteY3583" fmla="*/ 5051877 h 5392467"/>
              <a:gd name="connsiteX3584" fmla="*/ 1851976 w 6096001"/>
              <a:gd name="connsiteY3584" fmla="*/ 5057678 h 5392467"/>
              <a:gd name="connsiteX3585" fmla="*/ 1846700 w 6096001"/>
              <a:gd name="connsiteY3585" fmla="*/ 5060844 h 5392467"/>
              <a:gd name="connsiteX3586" fmla="*/ 1840371 w 6096001"/>
              <a:gd name="connsiteY3586" fmla="*/ 5059613 h 5392467"/>
              <a:gd name="connsiteX3587" fmla="*/ 1824898 w 6096001"/>
              <a:gd name="connsiteY3587" fmla="*/ 5069285 h 5392467"/>
              <a:gd name="connsiteX3588" fmla="*/ 1816196 w 6096001"/>
              <a:gd name="connsiteY3588" fmla="*/ 5074120 h 5392467"/>
              <a:gd name="connsiteX3589" fmla="*/ 1814721 w 6096001"/>
              <a:gd name="connsiteY3589" fmla="*/ 5079526 h 5392467"/>
              <a:gd name="connsiteX3590" fmla="*/ 1797821 w 6096001"/>
              <a:gd name="connsiteY3590" fmla="*/ 5088626 h 5392467"/>
              <a:gd name="connsiteX3591" fmla="*/ 1793470 w 6096001"/>
              <a:gd name="connsiteY3591" fmla="*/ 5093703 h 5392467"/>
              <a:gd name="connsiteX3592" fmla="*/ 1796901 w 6096001"/>
              <a:gd name="connsiteY3592" fmla="*/ 5098849 h 5392467"/>
              <a:gd name="connsiteX3593" fmla="*/ 1788151 w 6096001"/>
              <a:gd name="connsiteY3593" fmla="*/ 5104097 h 5392467"/>
              <a:gd name="connsiteX3594" fmla="*/ 1782350 w 6096001"/>
              <a:gd name="connsiteY3594" fmla="*/ 5096361 h 5392467"/>
              <a:gd name="connsiteX3595" fmla="*/ 1768810 w 6096001"/>
              <a:gd name="connsiteY3595" fmla="*/ 5115702 h 5392467"/>
              <a:gd name="connsiteX3596" fmla="*/ 1755272 w 6096001"/>
              <a:gd name="connsiteY3596" fmla="*/ 5123438 h 5392467"/>
              <a:gd name="connsiteX3597" fmla="*/ 1733996 w 6096001"/>
              <a:gd name="connsiteY3597" fmla="*/ 5133110 h 5392467"/>
              <a:gd name="connsiteX3598" fmla="*/ 1712721 w 6096001"/>
              <a:gd name="connsiteY3598" fmla="*/ 5135043 h 5392467"/>
              <a:gd name="connsiteX3599" fmla="*/ 1718523 w 6096001"/>
              <a:gd name="connsiteY3599" fmla="*/ 5142780 h 5392467"/>
              <a:gd name="connsiteX3600" fmla="*/ 1668238 w 6096001"/>
              <a:gd name="connsiteY3600" fmla="*/ 5171790 h 5392467"/>
              <a:gd name="connsiteX3601" fmla="*/ 1675974 w 6096001"/>
              <a:gd name="connsiteY3601" fmla="*/ 5164054 h 5392467"/>
              <a:gd name="connsiteX3602" fmla="*/ 1645028 w 6096001"/>
              <a:gd name="connsiteY3602" fmla="*/ 5179529 h 5392467"/>
              <a:gd name="connsiteX3603" fmla="*/ 1643093 w 6096001"/>
              <a:gd name="connsiteY3603" fmla="*/ 5181462 h 5392467"/>
              <a:gd name="connsiteX3604" fmla="*/ 1623752 w 6096001"/>
              <a:gd name="connsiteY3604" fmla="*/ 5195000 h 5392467"/>
              <a:gd name="connsiteX3605" fmla="*/ 1606346 w 6096001"/>
              <a:gd name="connsiteY3605" fmla="*/ 5204672 h 5392467"/>
              <a:gd name="connsiteX3606" fmla="*/ 1604410 w 6096001"/>
              <a:gd name="connsiteY3606" fmla="*/ 5196935 h 5392467"/>
              <a:gd name="connsiteX3607" fmla="*/ 1588940 w 6096001"/>
              <a:gd name="connsiteY3607" fmla="*/ 5210473 h 5392467"/>
              <a:gd name="connsiteX3608" fmla="*/ 1569598 w 6096001"/>
              <a:gd name="connsiteY3608" fmla="*/ 5220145 h 5392467"/>
              <a:gd name="connsiteX3609" fmla="*/ 1579268 w 6096001"/>
              <a:gd name="connsiteY3609" fmla="*/ 5208540 h 5392467"/>
              <a:gd name="connsiteX3610" fmla="*/ 1536717 w 6096001"/>
              <a:gd name="connsiteY3610" fmla="*/ 5222078 h 5392467"/>
              <a:gd name="connsiteX3611" fmla="*/ 1546389 w 6096001"/>
              <a:gd name="connsiteY3611" fmla="*/ 5212408 h 5392467"/>
              <a:gd name="connsiteX3612" fmla="*/ 1542521 w 6096001"/>
              <a:gd name="connsiteY3612" fmla="*/ 5210473 h 5392467"/>
              <a:gd name="connsiteX3613" fmla="*/ 1498037 w 6096001"/>
              <a:gd name="connsiteY3613" fmla="*/ 5231747 h 5392467"/>
              <a:gd name="connsiteX3614" fmla="*/ 1440013 w 6096001"/>
              <a:gd name="connsiteY3614" fmla="*/ 5258827 h 5392467"/>
              <a:gd name="connsiteX3615" fmla="*/ 1438078 w 6096001"/>
              <a:gd name="connsiteY3615" fmla="*/ 5258827 h 5392467"/>
              <a:gd name="connsiteX3616" fmla="*/ 1461787 w 6096001"/>
              <a:gd name="connsiteY3616" fmla="*/ 5243853 h 5392467"/>
              <a:gd name="connsiteX3617" fmla="*/ 1463222 w 6096001"/>
              <a:gd name="connsiteY3617" fmla="*/ 5245287 h 5392467"/>
              <a:gd name="connsiteX3618" fmla="*/ 1469024 w 6096001"/>
              <a:gd name="connsiteY3618" fmla="*/ 5241419 h 5392467"/>
              <a:gd name="connsiteX3619" fmla="*/ 1467713 w 6096001"/>
              <a:gd name="connsiteY3619" fmla="*/ 5240111 h 5392467"/>
              <a:gd name="connsiteX3620" fmla="*/ 1474827 w 6096001"/>
              <a:gd name="connsiteY3620" fmla="*/ 5235618 h 5392467"/>
              <a:gd name="connsiteX3621" fmla="*/ 1461287 w 6096001"/>
              <a:gd name="connsiteY3621" fmla="*/ 5231747 h 5392467"/>
              <a:gd name="connsiteX3622" fmla="*/ 1422605 w 6096001"/>
              <a:gd name="connsiteY3622" fmla="*/ 5247223 h 5392467"/>
              <a:gd name="connsiteX3623" fmla="*/ 1411002 w 6096001"/>
              <a:gd name="connsiteY3623" fmla="*/ 5249156 h 5392467"/>
              <a:gd name="connsiteX3624" fmla="*/ 1438078 w 6096001"/>
              <a:gd name="connsiteY3624" fmla="*/ 5225946 h 5392467"/>
              <a:gd name="connsiteX3625" fmla="*/ 1443881 w 6096001"/>
              <a:gd name="connsiteY3625" fmla="*/ 5222078 h 5392467"/>
              <a:gd name="connsiteX3626" fmla="*/ 1441946 w 6096001"/>
              <a:gd name="connsiteY3626" fmla="*/ 5220145 h 5392467"/>
              <a:gd name="connsiteX3627" fmla="*/ 1391661 w 6096001"/>
              <a:gd name="connsiteY3627" fmla="*/ 5243354 h 5392467"/>
              <a:gd name="connsiteX3628" fmla="*/ 1374253 w 6096001"/>
              <a:gd name="connsiteY3628" fmla="*/ 5233683 h 5392467"/>
              <a:gd name="connsiteX3629" fmla="*/ 1378121 w 6096001"/>
              <a:gd name="connsiteY3629" fmla="*/ 5239486 h 5392467"/>
              <a:gd name="connsiteX3630" fmla="*/ 1381989 w 6096001"/>
              <a:gd name="connsiteY3630" fmla="*/ 5247223 h 5392467"/>
              <a:gd name="connsiteX3631" fmla="*/ 1374253 w 6096001"/>
              <a:gd name="connsiteY3631" fmla="*/ 5253024 h 5392467"/>
              <a:gd name="connsiteX3632" fmla="*/ 1352978 w 6096001"/>
              <a:gd name="connsiteY3632" fmla="*/ 5258827 h 5392467"/>
              <a:gd name="connsiteX3633" fmla="*/ 1331702 w 6096001"/>
              <a:gd name="connsiteY3633" fmla="*/ 5268497 h 5392467"/>
              <a:gd name="connsiteX3634" fmla="*/ 1312361 w 6096001"/>
              <a:gd name="connsiteY3634" fmla="*/ 5276233 h 5392467"/>
              <a:gd name="connsiteX3635" fmla="*/ 1318164 w 6096001"/>
              <a:gd name="connsiteY3635" fmla="*/ 5266564 h 5392467"/>
              <a:gd name="connsiteX3636" fmla="*/ 1242734 w 6096001"/>
              <a:gd name="connsiteY3636" fmla="*/ 5303311 h 5392467"/>
              <a:gd name="connsiteX3637" fmla="*/ 1240801 w 6096001"/>
              <a:gd name="connsiteY3637" fmla="*/ 5291706 h 5392467"/>
              <a:gd name="connsiteX3638" fmla="*/ 1242734 w 6096001"/>
              <a:gd name="connsiteY3638" fmla="*/ 5289771 h 5392467"/>
              <a:gd name="connsiteX3639" fmla="*/ 1254339 w 6096001"/>
              <a:gd name="connsiteY3639" fmla="*/ 5289771 h 5392467"/>
              <a:gd name="connsiteX3640" fmla="*/ 1293019 w 6096001"/>
              <a:gd name="connsiteY3640" fmla="*/ 5270430 h 5392467"/>
              <a:gd name="connsiteX3641" fmla="*/ 1300758 w 6096001"/>
              <a:gd name="connsiteY3641" fmla="*/ 5266564 h 5392467"/>
              <a:gd name="connsiteX3642" fmla="*/ 1329769 w 6096001"/>
              <a:gd name="connsiteY3642" fmla="*/ 5247223 h 5392467"/>
              <a:gd name="connsiteX3643" fmla="*/ 1320097 w 6096001"/>
              <a:gd name="connsiteY3643" fmla="*/ 5247223 h 5392467"/>
              <a:gd name="connsiteX3644" fmla="*/ 1294955 w 6096001"/>
              <a:gd name="connsiteY3644" fmla="*/ 5256892 h 5392467"/>
              <a:gd name="connsiteX3645" fmla="*/ 1285285 w 6096001"/>
              <a:gd name="connsiteY3645" fmla="*/ 5254957 h 5392467"/>
              <a:gd name="connsiteX3646" fmla="*/ 1275613 w 6096001"/>
              <a:gd name="connsiteY3646" fmla="*/ 5247223 h 5392467"/>
              <a:gd name="connsiteX3647" fmla="*/ 1291086 w 6096001"/>
              <a:gd name="connsiteY3647" fmla="*/ 5227881 h 5392467"/>
              <a:gd name="connsiteX3648" fmla="*/ 1304626 w 6096001"/>
              <a:gd name="connsiteY3648" fmla="*/ 5237551 h 5392467"/>
              <a:gd name="connsiteX3649" fmla="*/ 1320097 w 6096001"/>
              <a:gd name="connsiteY3649" fmla="*/ 5224013 h 5392467"/>
              <a:gd name="connsiteX3650" fmla="*/ 1325901 w 6096001"/>
              <a:gd name="connsiteY3650" fmla="*/ 5212408 h 5392467"/>
              <a:gd name="connsiteX3651" fmla="*/ 1335570 w 6096001"/>
              <a:gd name="connsiteY3651" fmla="*/ 5212408 h 5392467"/>
              <a:gd name="connsiteX3652" fmla="*/ 1331702 w 6096001"/>
              <a:gd name="connsiteY3652" fmla="*/ 5198871 h 5392467"/>
              <a:gd name="connsiteX3653" fmla="*/ 1306559 w 6096001"/>
              <a:gd name="connsiteY3653" fmla="*/ 5204672 h 5392467"/>
              <a:gd name="connsiteX3654" fmla="*/ 1312361 w 6096001"/>
              <a:gd name="connsiteY3654" fmla="*/ 5196935 h 5392467"/>
              <a:gd name="connsiteX3655" fmla="*/ 1331702 w 6096001"/>
              <a:gd name="connsiteY3655" fmla="*/ 5175661 h 5392467"/>
              <a:gd name="connsiteX3656" fmla="*/ 1343307 w 6096001"/>
              <a:gd name="connsiteY3656" fmla="*/ 5165989 h 5392467"/>
              <a:gd name="connsiteX3657" fmla="*/ 1374253 w 6096001"/>
              <a:gd name="connsiteY3657" fmla="*/ 5127307 h 5392467"/>
              <a:gd name="connsiteX3658" fmla="*/ 1356847 w 6096001"/>
              <a:gd name="connsiteY3658" fmla="*/ 5136978 h 5392467"/>
              <a:gd name="connsiteX3659" fmla="*/ 1343307 w 6096001"/>
              <a:gd name="connsiteY3659" fmla="*/ 5152451 h 5392467"/>
              <a:gd name="connsiteX3660" fmla="*/ 1325901 w 6096001"/>
              <a:gd name="connsiteY3660" fmla="*/ 5156320 h 5392467"/>
              <a:gd name="connsiteX3661" fmla="*/ 1294955 w 6096001"/>
              <a:gd name="connsiteY3661" fmla="*/ 5181462 h 5392467"/>
              <a:gd name="connsiteX3662" fmla="*/ 1302691 w 6096001"/>
              <a:gd name="connsiteY3662" fmla="*/ 5187263 h 5392467"/>
              <a:gd name="connsiteX3663" fmla="*/ 1293019 w 6096001"/>
              <a:gd name="connsiteY3663" fmla="*/ 5185330 h 5392467"/>
              <a:gd name="connsiteX3664" fmla="*/ 1291086 w 6096001"/>
              <a:gd name="connsiteY3664" fmla="*/ 5175661 h 5392467"/>
              <a:gd name="connsiteX3665" fmla="*/ 1252404 w 6096001"/>
              <a:gd name="connsiteY3665" fmla="*/ 5191132 h 5392467"/>
              <a:gd name="connsiteX3666" fmla="*/ 1258207 w 6096001"/>
              <a:gd name="connsiteY3666" fmla="*/ 5187263 h 5392467"/>
              <a:gd name="connsiteX3667" fmla="*/ 1275613 w 6096001"/>
              <a:gd name="connsiteY3667" fmla="*/ 5177594 h 5392467"/>
              <a:gd name="connsiteX3668" fmla="*/ 1293019 w 6096001"/>
              <a:gd name="connsiteY3668" fmla="*/ 5156320 h 5392467"/>
              <a:gd name="connsiteX3669" fmla="*/ 1306559 w 6096001"/>
              <a:gd name="connsiteY3669" fmla="*/ 5142780 h 5392467"/>
              <a:gd name="connsiteX3670" fmla="*/ 1312361 w 6096001"/>
              <a:gd name="connsiteY3670" fmla="*/ 5150516 h 5392467"/>
              <a:gd name="connsiteX3671" fmla="*/ 1318164 w 6096001"/>
              <a:gd name="connsiteY3671" fmla="*/ 5138911 h 5392467"/>
              <a:gd name="connsiteX3672" fmla="*/ 1337505 w 6096001"/>
              <a:gd name="connsiteY3672" fmla="*/ 5117637 h 5392467"/>
              <a:gd name="connsiteX3673" fmla="*/ 1345242 w 6096001"/>
              <a:gd name="connsiteY3673" fmla="*/ 5111836 h 5392467"/>
              <a:gd name="connsiteX3674" fmla="*/ 1364583 w 6096001"/>
              <a:gd name="connsiteY3674" fmla="*/ 5102164 h 5392467"/>
              <a:gd name="connsiteX3675" fmla="*/ 1369543 w 6096001"/>
              <a:gd name="connsiteY3675" fmla="*/ 5095551 h 5392467"/>
              <a:gd name="connsiteX3676" fmla="*/ 1376429 w 6096001"/>
              <a:gd name="connsiteY3676" fmla="*/ 5094427 h 5392467"/>
              <a:gd name="connsiteX3677" fmla="*/ 1383922 w 6096001"/>
              <a:gd name="connsiteY3677" fmla="*/ 5086691 h 5392467"/>
              <a:gd name="connsiteX3678" fmla="*/ 1375502 w 6096001"/>
              <a:gd name="connsiteY3678" fmla="*/ 5087606 h 5392467"/>
              <a:gd name="connsiteX3679" fmla="*/ 1376188 w 6096001"/>
              <a:gd name="connsiteY3679" fmla="*/ 5086691 h 5392467"/>
              <a:gd name="connsiteX3680" fmla="*/ 1374253 w 6096001"/>
              <a:gd name="connsiteY3680" fmla="*/ 5084756 h 5392467"/>
              <a:gd name="connsiteX3681" fmla="*/ 1354911 w 6096001"/>
              <a:gd name="connsiteY3681" fmla="*/ 5096361 h 5392467"/>
              <a:gd name="connsiteX3682" fmla="*/ 1349110 w 6096001"/>
              <a:gd name="connsiteY3682" fmla="*/ 5100229 h 5392467"/>
              <a:gd name="connsiteX3683" fmla="*/ 1316229 w 6096001"/>
              <a:gd name="connsiteY3683" fmla="*/ 5107965 h 5392467"/>
              <a:gd name="connsiteX3684" fmla="*/ 1310428 w 6096001"/>
              <a:gd name="connsiteY3684" fmla="*/ 5123438 h 5392467"/>
              <a:gd name="connsiteX3685" fmla="*/ 1293019 w 6096001"/>
              <a:gd name="connsiteY3685" fmla="*/ 5127307 h 5392467"/>
              <a:gd name="connsiteX3686" fmla="*/ 1298823 w 6096001"/>
              <a:gd name="connsiteY3686" fmla="*/ 5111836 h 5392467"/>
              <a:gd name="connsiteX3687" fmla="*/ 1252404 w 6096001"/>
              <a:gd name="connsiteY3687" fmla="*/ 5135043 h 5392467"/>
              <a:gd name="connsiteX3688" fmla="*/ 1250471 w 6096001"/>
              <a:gd name="connsiteY3688" fmla="*/ 5133110 h 5392467"/>
              <a:gd name="connsiteX3689" fmla="*/ 1279482 w 6096001"/>
              <a:gd name="connsiteY3689" fmla="*/ 5111836 h 5392467"/>
              <a:gd name="connsiteX3690" fmla="*/ 1306559 w 6096001"/>
              <a:gd name="connsiteY3690" fmla="*/ 5088626 h 5392467"/>
              <a:gd name="connsiteX3691" fmla="*/ 1275613 w 6096001"/>
              <a:gd name="connsiteY3691" fmla="*/ 5107965 h 5392467"/>
              <a:gd name="connsiteX3692" fmla="*/ 1275613 w 6096001"/>
              <a:gd name="connsiteY3692" fmla="*/ 5106032 h 5392467"/>
              <a:gd name="connsiteX3693" fmla="*/ 1289153 w 6096001"/>
              <a:gd name="connsiteY3693" fmla="*/ 5094428 h 5392467"/>
              <a:gd name="connsiteX3694" fmla="*/ 1302691 w 6096001"/>
              <a:gd name="connsiteY3694" fmla="*/ 5082823 h 5392467"/>
              <a:gd name="connsiteX3695" fmla="*/ 1244667 w 6096001"/>
              <a:gd name="connsiteY3695" fmla="*/ 5115702 h 5392467"/>
              <a:gd name="connsiteX3696" fmla="*/ 1240801 w 6096001"/>
              <a:gd name="connsiteY3696" fmla="*/ 5113769 h 5392467"/>
              <a:gd name="connsiteX3697" fmla="*/ 1246603 w 6096001"/>
              <a:gd name="connsiteY3697" fmla="*/ 5107965 h 5392467"/>
              <a:gd name="connsiteX3698" fmla="*/ 1277549 w 6096001"/>
              <a:gd name="connsiteY3698" fmla="*/ 5084756 h 5392467"/>
              <a:gd name="connsiteX3699" fmla="*/ 1283350 w 6096001"/>
              <a:gd name="connsiteY3699" fmla="*/ 5080888 h 5392467"/>
              <a:gd name="connsiteX3700" fmla="*/ 1302691 w 6096001"/>
              <a:gd name="connsiteY3700" fmla="*/ 5067350 h 5392467"/>
              <a:gd name="connsiteX3701" fmla="*/ 1310428 w 6096001"/>
              <a:gd name="connsiteY3701" fmla="*/ 5069285 h 5392467"/>
              <a:gd name="connsiteX3702" fmla="*/ 1316229 w 6096001"/>
              <a:gd name="connsiteY3702" fmla="*/ 5059613 h 5392467"/>
              <a:gd name="connsiteX3703" fmla="*/ 1331702 w 6096001"/>
              <a:gd name="connsiteY3703" fmla="*/ 5038339 h 5392467"/>
              <a:gd name="connsiteX3704" fmla="*/ 1345242 w 6096001"/>
              <a:gd name="connsiteY3704" fmla="*/ 5036404 h 5392467"/>
              <a:gd name="connsiteX3705" fmla="*/ 1358780 w 6096001"/>
              <a:gd name="connsiteY3705" fmla="*/ 5011261 h 5392467"/>
              <a:gd name="connsiteX3706" fmla="*/ 1370384 w 6096001"/>
              <a:gd name="connsiteY3706" fmla="*/ 5003525 h 5392467"/>
              <a:gd name="connsiteX3707" fmla="*/ 1387793 w 6096001"/>
              <a:gd name="connsiteY3707" fmla="*/ 4991920 h 5392467"/>
              <a:gd name="connsiteX3708" fmla="*/ 1381989 w 6096001"/>
              <a:gd name="connsiteY3708" fmla="*/ 4986119 h 5392467"/>
              <a:gd name="connsiteX3709" fmla="*/ 1412935 w 6096001"/>
              <a:gd name="connsiteY3709" fmla="*/ 4964842 h 5392467"/>
              <a:gd name="connsiteX3710" fmla="*/ 1403263 w 6096001"/>
              <a:gd name="connsiteY3710" fmla="*/ 4957106 h 5392467"/>
              <a:gd name="connsiteX3711" fmla="*/ 1395529 w 6096001"/>
              <a:gd name="connsiteY3711" fmla="*/ 4970643 h 5392467"/>
              <a:gd name="connsiteX3712" fmla="*/ 1393594 w 6096001"/>
              <a:gd name="connsiteY3712" fmla="*/ 4960974 h 5392467"/>
              <a:gd name="connsiteX3713" fmla="*/ 1381989 w 6096001"/>
              <a:gd name="connsiteY3713" fmla="*/ 4968710 h 5392467"/>
              <a:gd name="connsiteX3714" fmla="*/ 1372320 w 6096001"/>
              <a:gd name="connsiteY3714" fmla="*/ 4972579 h 5392467"/>
              <a:gd name="connsiteX3715" fmla="*/ 1343307 w 6096001"/>
              <a:gd name="connsiteY3715" fmla="*/ 4989985 h 5392467"/>
              <a:gd name="connsiteX3716" fmla="*/ 1327836 w 6096001"/>
              <a:gd name="connsiteY3716" fmla="*/ 4995788 h 5392467"/>
              <a:gd name="connsiteX3717" fmla="*/ 1291086 w 6096001"/>
              <a:gd name="connsiteY3717" fmla="*/ 5005460 h 5392467"/>
              <a:gd name="connsiteX3718" fmla="*/ 1287218 w 6096001"/>
              <a:gd name="connsiteY3718" fmla="*/ 5005460 h 5392467"/>
              <a:gd name="connsiteX3719" fmla="*/ 1298823 w 6096001"/>
              <a:gd name="connsiteY3719" fmla="*/ 4993853 h 5392467"/>
              <a:gd name="connsiteX3720" fmla="*/ 1300758 w 6096001"/>
              <a:gd name="connsiteY3720" fmla="*/ 4989985 h 5392467"/>
              <a:gd name="connsiteX3721" fmla="*/ 1312361 w 6096001"/>
              <a:gd name="connsiteY3721" fmla="*/ 4972579 h 5392467"/>
              <a:gd name="connsiteX3722" fmla="*/ 1331702 w 6096001"/>
              <a:gd name="connsiteY3722" fmla="*/ 4960974 h 5392467"/>
              <a:gd name="connsiteX3723" fmla="*/ 1351043 w 6096001"/>
              <a:gd name="connsiteY3723" fmla="*/ 4943568 h 5392467"/>
              <a:gd name="connsiteX3724" fmla="*/ 1312361 w 6096001"/>
              <a:gd name="connsiteY3724" fmla="*/ 4955173 h 5392467"/>
              <a:gd name="connsiteX3725" fmla="*/ 1304626 w 6096001"/>
              <a:gd name="connsiteY3725" fmla="*/ 4960974 h 5392467"/>
              <a:gd name="connsiteX3726" fmla="*/ 1273678 w 6096001"/>
              <a:gd name="connsiteY3726" fmla="*/ 4984184 h 5392467"/>
              <a:gd name="connsiteX3727" fmla="*/ 1269812 w 6096001"/>
              <a:gd name="connsiteY3727" fmla="*/ 4995788 h 5392467"/>
              <a:gd name="connsiteX3728" fmla="*/ 1264009 w 6096001"/>
              <a:gd name="connsiteY3728" fmla="*/ 4997721 h 5392467"/>
              <a:gd name="connsiteX3729" fmla="*/ 1258207 w 6096001"/>
              <a:gd name="connsiteY3729" fmla="*/ 4989985 h 5392467"/>
              <a:gd name="connsiteX3730" fmla="*/ 1279482 w 6096001"/>
              <a:gd name="connsiteY3730" fmla="*/ 4970643 h 5392467"/>
              <a:gd name="connsiteX3731" fmla="*/ 1285285 w 6096001"/>
              <a:gd name="connsiteY3731" fmla="*/ 4968710 h 5392467"/>
              <a:gd name="connsiteX3732" fmla="*/ 1294955 w 6096001"/>
              <a:gd name="connsiteY3732" fmla="*/ 4959041 h 5392467"/>
              <a:gd name="connsiteX3733" fmla="*/ 1277549 w 6096001"/>
              <a:gd name="connsiteY3733" fmla="*/ 4964842 h 5392467"/>
              <a:gd name="connsiteX3734" fmla="*/ 1271745 w 6096001"/>
              <a:gd name="connsiteY3734" fmla="*/ 4970643 h 5392467"/>
              <a:gd name="connsiteX3735" fmla="*/ 1267877 w 6096001"/>
              <a:gd name="connsiteY3735" fmla="*/ 4966778 h 5392467"/>
              <a:gd name="connsiteX3736" fmla="*/ 1254339 w 6096001"/>
              <a:gd name="connsiteY3736" fmla="*/ 4962909 h 5392467"/>
              <a:gd name="connsiteX3737" fmla="*/ 1267877 w 6096001"/>
              <a:gd name="connsiteY3737" fmla="*/ 4955173 h 5392467"/>
              <a:gd name="connsiteX3738" fmla="*/ 1267877 w 6096001"/>
              <a:gd name="connsiteY3738" fmla="*/ 4953237 h 5392467"/>
              <a:gd name="connsiteX3739" fmla="*/ 1269812 w 6096001"/>
              <a:gd name="connsiteY3739" fmla="*/ 4953237 h 5392467"/>
              <a:gd name="connsiteX3740" fmla="*/ 1281417 w 6096001"/>
              <a:gd name="connsiteY3740" fmla="*/ 4945501 h 5392467"/>
              <a:gd name="connsiteX3741" fmla="*/ 1293019 w 6096001"/>
              <a:gd name="connsiteY3741" fmla="*/ 4945501 h 5392467"/>
              <a:gd name="connsiteX3742" fmla="*/ 1302691 w 6096001"/>
              <a:gd name="connsiteY3742" fmla="*/ 4926160 h 5392467"/>
              <a:gd name="connsiteX3743" fmla="*/ 1298823 w 6096001"/>
              <a:gd name="connsiteY3743" fmla="*/ 4924227 h 5392467"/>
              <a:gd name="connsiteX3744" fmla="*/ 1260140 w 6096001"/>
              <a:gd name="connsiteY3744" fmla="*/ 4951302 h 5392467"/>
              <a:gd name="connsiteX3745" fmla="*/ 1265944 w 6096001"/>
              <a:gd name="connsiteY3745" fmla="*/ 4939700 h 5392467"/>
              <a:gd name="connsiteX3746" fmla="*/ 1279482 w 6096001"/>
              <a:gd name="connsiteY3746" fmla="*/ 4922291 h 5392467"/>
              <a:gd name="connsiteX3747" fmla="*/ 1250471 w 6096001"/>
              <a:gd name="connsiteY3747" fmla="*/ 4931963 h 5392467"/>
              <a:gd name="connsiteX3748" fmla="*/ 1204052 w 6096001"/>
              <a:gd name="connsiteY3748" fmla="*/ 4943568 h 5392467"/>
              <a:gd name="connsiteX3749" fmla="*/ 1184711 w 6096001"/>
              <a:gd name="connsiteY3749" fmla="*/ 4949369 h 5392467"/>
              <a:gd name="connsiteX3750" fmla="*/ 1138291 w 6096001"/>
              <a:gd name="connsiteY3750" fmla="*/ 4960974 h 5392467"/>
              <a:gd name="connsiteX3751" fmla="*/ 1163436 w 6096001"/>
              <a:gd name="connsiteY3751" fmla="*/ 4947436 h 5392467"/>
              <a:gd name="connsiteX3752" fmla="*/ 1215657 w 6096001"/>
              <a:gd name="connsiteY3752" fmla="*/ 4930028 h 5392467"/>
              <a:gd name="connsiteX3753" fmla="*/ 1236931 w 6096001"/>
              <a:gd name="connsiteY3753" fmla="*/ 4922291 h 5392467"/>
              <a:gd name="connsiteX3754" fmla="*/ 1269812 w 6096001"/>
              <a:gd name="connsiteY3754" fmla="*/ 4914555 h 5392467"/>
              <a:gd name="connsiteX3755" fmla="*/ 1277549 w 6096001"/>
              <a:gd name="connsiteY3755" fmla="*/ 4908754 h 5392467"/>
              <a:gd name="connsiteX3756" fmla="*/ 1294955 w 6096001"/>
              <a:gd name="connsiteY3756" fmla="*/ 4901017 h 5392467"/>
              <a:gd name="connsiteX3757" fmla="*/ 1302691 w 6096001"/>
              <a:gd name="connsiteY3757" fmla="*/ 4895216 h 5392467"/>
              <a:gd name="connsiteX3758" fmla="*/ 1320097 w 6096001"/>
              <a:gd name="connsiteY3758" fmla="*/ 4879743 h 5392467"/>
              <a:gd name="connsiteX3759" fmla="*/ 1300758 w 6096001"/>
              <a:gd name="connsiteY3759" fmla="*/ 4885544 h 5392467"/>
              <a:gd name="connsiteX3760" fmla="*/ 1362648 w 6096001"/>
              <a:gd name="connsiteY3760" fmla="*/ 4839125 h 5392467"/>
              <a:gd name="connsiteX3761" fmla="*/ 1360713 w 6096001"/>
              <a:gd name="connsiteY3761" fmla="*/ 4837192 h 5392467"/>
              <a:gd name="connsiteX3762" fmla="*/ 1294955 w 6096001"/>
              <a:gd name="connsiteY3762" fmla="*/ 4881676 h 5392467"/>
              <a:gd name="connsiteX3763" fmla="*/ 1304626 w 6096001"/>
              <a:gd name="connsiteY3763" fmla="*/ 4862335 h 5392467"/>
              <a:gd name="connsiteX3764" fmla="*/ 1356847 w 6096001"/>
              <a:gd name="connsiteY3764" fmla="*/ 4821719 h 5392467"/>
              <a:gd name="connsiteX3765" fmla="*/ 1360713 w 6096001"/>
              <a:gd name="connsiteY3765" fmla="*/ 4812050 h 5392467"/>
              <a:gd name="connsiteX3766" fmla="*/ 1325901 w 6096001"/>
              <a:gd name="connsiteY3766" fmla="*/ 4837192 h 5392467"/>
              <a:gd name="connsiteX3767" fmla="*/ 1325901 w 6096001"/>
              <a:gd name="connsiteY3767" fmla="*/ 4823652 h 5392467"/>
              <a:gd name="connsiteX3768" fmla="*/ 1316229 w 6096001"/>
              <a:gd name="connsiteY3768" fmla="*/ 4839125 h 5392467"/>
              <a:gd name="connsiteX3769" fmla="*/ 1294955 w 6096001"/>
              <a:gd name="connsiteY3769" fmla="*/ 4839125 h 5392467"/>
              <a:gd name="connsiteX3770" fmla="*/ 1333637 w 6096001"/>
              <a:gd name="connsiteY3770" fmla="*/ 4808181 h 5392467"/>
              <a:gd name="connsiteX3771" fmla="*/ 1343307 w 6096001"/>
              <a:gd name="connsiteY3771" fmla="*/ 4819784 h 5392467"/>
              <a:gd name="connsiteX3772" fmla="*/ 1339438 w 6096001"/>
              <a:gd name="connsiteY3772" fmla="*/ 4804311 h 5392467"/>
              <a:gd name="connsiteX3773" fmla="*/ 1368451 w 6096001"/>
              <a:gd name="connsiteY3773" fmla="*/ 4783037 h 5392467"/>
              <a:gd name="connsiteX3774" fmla="*/ 1372320 w 6096001"/>
              <a:gd name="connsiteY3774" fmla="*/ 4779168 h 5392467"/>
              <a:gd name="connsiteX3775" fmla="*/ 1393594 w 6096001"/>
              <a:gd name="connsiteY3775" fmla="*/ 4761762 h 5392467"/>
              <a:gd name="connsiteX3776" fmla="*/ 1374253 w 6096001"/>
              <a:gd name="connsiteY3776" fmla="*/ 4769499 h 5392467"/>
              <a:gd name="connsiteX3777" fmla="*/ 1364583 w 6096001"/>
              <a:gd name="connsiteY3777" fmla="*/ 4775300 h 5392467"/>
              <a:gd name="connsiteX3778" fmla="*/ 1358780 w 6096001"/>
              <a:gd name="connsiteY3778" fmla="*/ 4779168 h 5392467"/>
              <a:gd name="connsiteX3779" fmla="*/ 1356847 w 6096001"/>
              <a:gd name="connsiteY3779" fmla="*/ 4781101 h 5392467"/>
              <a:gd name="connsiteX3780" fmla="*/ 1322032 w 6096001"/>
              <a:gd name="connsiteY3780" fmla="*/ 4808181 h 5392467"/>
              <a:gd name="connsiteX3781" fmla="*/ 1310428 w 6096001"/>
              <a:gd name="connsiteY3781" fmla="*/ 4813983 h 5392467"/>
              <a:gd name="connsiteX3782" fmla="*/ 1316229 w 6096001"/>
              <a:gd name="connsiteY3782" fmla="*/ 4802378 h 5392467"/>
              <a:gd name="connsiteX3783" fmla="*/ 1308495 w 6096001"/>
              <a:gd name="connsiteY3783" fmla="*/ 4804311 h 5392467"/>
              <a:gd name="connsiteX3784" fmla="*/ 1275613 w 6096001"/>
              <a:gd name="connsiteY3784" fmla="*/ 4817851 h 5392467"/>
              <a:gd name="connsiteX3785" fmla="*/ 1267877 w 6096001"/>
              <a:gd name="connsiteY3785" fmla="*/ 4821719 h 5392467"/>
              <a:gd name="connsiteX3786" fmla="*/ 1236931 w 6096001"/>
              <a:gd name="connsiteY3786" fmla="*/ 4835257 h 5392467"/>
              <a:gd name="connsiteX3787" fmla="*/ 1202119 w 6096001"/>
              <a:gd name="connsiteY3787" fmla="*/ 4850730 h 5392467"/>
              <a:gd name="connsiteX3788" fmla="*/ 1194382 w 6096001"/>
              <a:gd name="connsiteY3788" fmla="*/ 4852665 h 5392467"/>
              <a:gd name="connsiteX3789" fmla="*/ 1140227 w 6096001"/>
              <a:gd name="connsiteY3789" fmla="*/ 4872006 h 5392467"/>
              <a:gd name="connsiteX3790" fmla="*/ 1124754 w 6096001"/>
              <a:gd name="connsiteY3790" fmla="*/ 4873939 h 5392467"/>
              <a:gd name="connsiteX3791" fmla="*/ 1084138 w 6096001"/>
              <a:gd name="connsiteY3791" fmla="*/ 4864268 h 5392467"/>
              <a:gd name="connsiteX3792" fmla="*/ 1084138 w 6096001"/>
              <a:gd name="connsiteY3792" fmla="*/ 4862335 h 5392467"/>
              <a:gd name="connsiteX3793" fmla="*/ 1086071 w 6096001"/>
              <a:gd name="connsiteY3793" fmla="*/ 4858466 h 5392467"/>
              <a:gd name="connsiteX3794" fmla="*/ 1111216 w 6096001"/>
              <a:gd name="connsiteY3794" fmla="*/ 4844929 h 5392467"/>
              <a:gd name="connsiteX3795" fmla="*/ 1089939 w 6096001"/>
              <a:gd name="connsiteY3795" fmla="*/ 4850730 h 5392467"/>
              <a:gd name="connsiteX3796" fmla="*/ 1082203 w 6096001"/>
              <a:gd name="connsiteY3796" fmla="*/ 4854598 h 5392467"/>
              <a:gd name="connsiteX3797" fmla="*/ 1060929 w 6096001"/>
              <a:gd name="connsiteY3797" fmla="*/ 4864268 h 5392467"/>
              <a:gd name="connsiteX3798" fmla="*/ 1039652 w 6096001"/>
              <a:gd name="connsiteY3798" fmla="*/ 4872006 h 5392467"/>
              <a:gd name="connsiteX3799" fmla="*/ 1053192 w 6096001"/>
              <a:gd name="connsiteY3799" fmla="*/ 4858466 h 5392467"/>
              <a:gd name="connsiteX3800" fmla="*/ 1070598 w 6096001"/>
              <a:gd name="connsiteY3800" fmla="*/ 4842993 h 5392467"/>
              <a:gd name="connsiteX3801" fmla="*/ 1045456 w 6096001"/>
              <a:gd name="connsiteY3801" fmla="*/ 4844929 h 5392467"/>
              <a:gd name="connsiteX3802" fmla="*/ 1055125 w 6096001"/>
              <a:gd name="connsiteY3802" fmla="*/ 4835257 h 5392467"/>
              <a:gd name="connsiteX3803" fmla="*/ 1066732 w 6096001"/>
              <a:gd name="connsiteY3803" fmla="*/ 4815916 h 5392467"/>
              <a:gd name="connsiteX3804" fmla="*/ 1099609 w 6096001"/>
              <a:gd name="connsiteY3804" fmla="*/ 4796574 h 5392467"/>
              <a:gd name="connsiteX3805" fmla="*/ 1089939 w 6096001"/>
              <a:gd name="connsiteY3805" fmla="*/ 4796574 h 5392467"/>
              <a:gd name="connsiteX3806" fmla="*/ 1120886 w 6096001"/>
              <a:gd name="connsiteY3806" fmla="*/ 4769499 h 5392467"/>
              <a:gd name="connsiteX3807" fmla="*/ 1115084 w 6096001"/>
              <a:gd name="connsiteY3807" fmla="*/ 4767564 h 5392467"/>
              <a:gd name="connsiteX3808" fmla="*/ 1107348 w 6096001"/>
              <a:gd name="connsiteY3808" fmla="*/ 4773367 h 5392467"/>
              <a:gd name="connsiteX3809" fmla="*/ 1084138 w 6096001"/>
              <a:gd name="connsiteY3809" fmla="*/ 4788840 h 5392467"/>
              <a:gd name="connsiteX3810" fmla="*/ 1105413 w 6096001"/>
              <a:gd name="connsiteY3810" fmla="*/ 4769499 h 5392467"/>
              <a:gd name="connsiteX3811" fmla="*/ 1101544 w 6096001"/>
              <a:gd name="connsiteY3811" fmla="*/ 4769499 h 5392467"/>
              <a:gd name="connsiteX3812" fmla="*/ 1101544 w 6096001"/>
              <a:gd name="connsiteY3812" fmla="*/ 4761762 h 5392467"/>
              <a:gd name="connsiteX3813" fmla="*/ 1091875 w 6096001"/>
              <a:gd name="connsiteY3813" fmla="*/ 4771432 h 5392467"/>
              <a:gd name="connsiteX3814" fmla="*/ 1074467 w 6096001"/>
              <a:gd name="connsiteY3814" fmla="*/ 4784972 h 5392467"/>
              <a:gd name="connsiteX3815" fmla="*/ 1049324 w 6096001"/>
              <a:gd name="connsiteY3815" fmla="*/ 4802378 h 5392467"/>
              <a:gd name="connsiteX3816" fmla="*/ 1039652 w 6096001"/>
              <a:gd name="connsiteY3816" fmla="*/ 4802378 h 5392467"/>
              <a:gd name="connsiteX3817" fmla="*/ 1057061 w 6096001"/>
              <a:gd name="connsiteY3817" fmla="*/ 4790773 h 5392467"/>
              <a:gd name="connsiteX3818" fmla="*/ 1076402 w 6096001"/>
              <a:gd name="connsiteY3818" fmla="*/ 4775300 h 5392467"/>
              <a:gd name="connsiteX3819" fmla="*/ 1084138 w 6096001"/>
              <a:gd name="connsiteY3819" fmla="*/ 4769499 h 5392467"/>
              <a:gd name="connsiteX3820" fmla="*/ 1099609 w 6096001"/>
              <a:gd name="connsiteY3820" fmla="*/ 4755959 h 5392467"/>
              <a:gd name="connsiteX3821" fmla="*/ 1093808 w 6096001"/>
              <a:gd name="connsiteY3821" fmla="*/ 4748222 h 5392467"/>
              <a:gd name="connsiteX3822" fmla="*/ 1095743 w 6096001"/>
              <a:gd name="connsiteY3822" fmla="*/ 4732749 h 5392467"/>
              <a:gd name="connsiteX3823" fmla="*/ 1099609 w 6096001"/>
              <a:gd name="connsiteY3823" fmla="*/ 4726948 h 5392467"/>
              <a:gd name="connsiteX3824" fmla="*/ 1105413 w 6096001"/>
              <a:gd name="connsiteY3824" fmla="*/ 4732749 h 5392467"/>
              <a:gd name="connsiteX3825" fmla="*/ 1120886 w 6096001"/>
              <a:gd name="connsiteY3825" fmla="*/ 4730816 h 5392467"/>
              <a:gd name="connsiteX3826" fmla="*/ 1113149 w 6096001"/>
              <a:gd name="connsiteY3826" fmla="*/ 4744354 h 5392467"/>
              <a:gd name="connsiteX3827" fmla="*/ 1118950 w 6096001"/>
              <a:gd name="connsiteY3827" fmla="*/ 4746289 h 5392467"/>
              <a:gd name="connsiteX3828" fmla="*/ 1132490 w 6096001"/>
              <a:gd name="connsiteY3828" fmla="*/ 4734685 h 5392467"/>
              <a:gd name="connsiteX3829" fmla="*/ 1128622 w 6096001"/>
              <a:gd name="connsiteY3829" fmla="*/ 4723080 h 5392467"/>
              <a:gd name="connsiteX3830" fmla="*/ 1134426 w 6096001"/>
              <a:gd name="connsiteY3830" fmla="*/ 4723080 h 5392467"/>
              <a:gd name="connsiteX3831" fmla="*/ 1138291 w 6096001"/>
              <a:gd name="connsiteY3831" fmla="*/ 4719212 h 5392467"/>
              <a:gd name="connsiteX3832" fmla="*/ 1130557 w 6096001"/>
              <a:gd name="connsiteY3832" fmla="*/ 4717276 h 5392467"/>
              <a:gd name="connsiteX3833" fmla="*/ 1120886 w 6096001"/>
              <a:gd name="connsiteY3833" fmla="*/ 4721147 h 5392467"/>
              <a:gd name="connsiteX3834" fmla="*/ 1124754 w 6096001"/>
              <a:gd name="connsiteY3834" fmla="*/ 4688265 h 5392467"/>
              <a:gd name="connsiteX3835" fmla="*/ 1122818 w 6096001"/>
              <a:gd name="connsiteY3835" fmla="*/ 4688265 h 5392467"/>
              <a:gd name="connsiteX3836" fmla="*/ 1115084 w 6096001"/>
              <a:gd name="connsiteY3836" fmla="*/ 4697937 h 5392467"/>
              <a:gd name="connsiteX3837" fmla="*/ 1113149 w 6096001"/>
              <a:gd name="connsiteY3837" fmla="*/ 4694067 h 5392467"/>
              <a:gd name="connsiteX3838" fmla="*/ 1115084 w 6096001"/>
              <a:gd name="connsiteY3838" fmla="*/ 4682464 h 5392467"/>
              <a:gd name="connsiteX3839" fmla="*/ 1107348 w 6096001"/>
              <a:gd name="connsiteY3839" fmla="*/ 4682464 h 5392467"/>
              <a:gd name="connsiteX3840" fmla="*/ 1089939 w 6096001"/>
              <a:gd name="connsiteY3840" fmla="*/ 4670859 h 5392467"/>
              <a:gd name="connsiteX3841" fmla="*/ 1146028 w 6096001"/>
              <a:gd name="connsiteY3841" fmla="*/ 4641846 h 5392467"/>
              <a:gd name="connsiteX3842" fmla="*/ 1132490 w 6096001"/>
              <a:gd name="connsiteY3842" fmla="*/ 4637980 h 5392467"/>
              <a:gd name="connsiteX3843" fmla="*/ 1126687 w 6096001"/>
              <a:gd name="connsiteY3843" fmla="*/ 4632177 h 5392467"/>
              <a:gd name="connsiteX3844" fmla="*/ 1113149 w 6096001"/>
              <a:gd name="connsiteY3844" fmla="*/ 4618639 h 5392467"/>
              <a:gd name="connsiteX3845" fmla="*/ 1105413 w 6096001"/>
              <a:gd name="connsiteY3845" fmla="*/ 4616704 h 5392467"/>
              <a:gd name="connsiteX3846" fmla="*/ 1091875 w 6096001"/>
              <a:gd name="connsiteY3846" fmla="*/ 4603164 h 5392467"/>
              <a:gd name="connsiteX3847" fmla="*/ 1088007 w 6096001"/>
              <a:gd name="connsiteY3847" fmla="*/ 4585758 h 5392467"/>
              <a:gd name="connsiteX3848" fmla="*/ 1064797 w 6096001"/>
              <a:gd name="connsiteY3848" fmla="*/ 4587693 h 5392467"/>
              <a:gd name="connsiteX3849" fmla="*/ 1064797 w 6096001"/>
              <a:gd name="connsiteY3849" fmla="*/ 4572220 h 5392467"/>
              <a:gd name="connsiteX3850" fmla="*/ 1049324 w 6096001"/>
              <a:gd name="connsiteY3850" fmla="*/ 4564484 h 5392467"/>
              <a:gd name="connsiteX3851" fmla="*/ 1029983 w 6096001"/>
              <a:gd name="connsiteY3851" fmla="*/ 4556747 h 5392467"/>
              <a:gd name="connsiteX3852" fmla="*/ 1024182 w 6096001"/>
              <a:gd name="connsiteY3852" fmla="*/ 4552879 h 5392467"/>
              <a:gd name="connsiteX3853" fmla="*/ 1004840 w 6096001"/>
              <a:gd name="connsiteY3853" fmla="*/ 4539339 h 5392467"/>
              <a:gd name="connsiteX3854" fmla="*/ 997104 w 6096001"/>
              <a:gd name="connsiteY3854" fmla="*/ 4537406 h 5392467"/>
              <a:gd name="connsiteX3855" fmla="*/ 991300 w 6096001"/>
              <a:gd name="connsiteY3855" fmla="*/ 4537406 h 5392467"/>
              <a:gd name="connsiteX3856" fmla="*/ 954553 w 6096001"/>
              <a:gd name="connsiteY3856" fmla="*/ 4558680 h 5392467"/>
              <a:gd name="connsiteX3857" fmla="*/ 952618 w 6096001"/>
              <a:gd name="connsiteY3857" fmla="*/ 4560615 h 5392467"/>
              <a:gd name="connsiteX3858" fmla="*/ 942948 w 6096001"/>
              <a:gd name="connsiteY3858" fmla="*/ 4566417 h 5392467"/>
              <a:gd name="connsiteX3859" fmla="*/ 935212 w 6096001"/>
              <a:gd name="connsiteY3859" fmla="*/ 4578021 h 5392467"/>
              <a:gd name="connsiteX3860" fmla="*/ 939080 w 6096001"/>
              <a:gd name="connsiteY3860" fmla="*/ 4583823 h 5392467"/>
              <a:gd name="connsiteX3861" fmla="*/ 939080 w 6096001"/>
              <a:gd name="connsiteY3861" fmla="*/ 4589626 h 5392467"/>
              <a:gd name="connsiteX3862" fmla="*/ 915870 w 6096001"/>
              <a:gd name="connsiteY3862" fmla="*/ 4610903 h 5392467"/>
              <a:gd name="connsiteX3863" fmla="*/ 910069 w 6096001"/>
              <a:gd name="connsiteY3863" fmla="*/ 4618639 h 5392467"/>
              <a:gd name="connsiteX3864" fmla="*/ 888793 w 6096001"/>
              <a:gd name="connsiteY3864" fmla="*/ 4626373 h 5392467"/>
              <a:gd name="connsiteX3865" fmla="*/ 881056 w 6096001"/>
              <a:gd name="connsiteY3865" fmla="*/ 4620572 h 5392467"/>
              <a:gd name="connsiteX3866" fmla="*/ 875255 w 6096001"/>
              <a:gd name="connsiteY3866" fmla="*/ 4610903 h 5392467"/>
              <a:gd name="connsiteX3867" fmla="*/ 877188 w 6096001"/>
              <a:gd name="connsiteY3867" fmla="*/ 4599298 h 5392467"/>
              <a:gd name="connsiteX3868" fmla="*/ 879123 w 6096001"/>
              <a:gd name="connsiteY3868" fmla="*/ 4589626 h 5392467"/>
              <a:gd name="connsiteX3869" fmla="*/ 873320 w 6096001"/>
              <a:gd name="connsiteY3869" fmla="*/ 4576088 h 5392467"/>
              <a:gd name="connsiteX3870" fmla="*/ 863650 w 6096001"/>
              <a:gd name="connsiteY3870" fmla="*/ 4566417 h 5392467"/>
              <a:gd name="connsiteX3871" fmla="*/ 846244 w 6096001"/>
              <a:gd name="connsiteY3871" fmla="*/ 4566417 h 5392467"/>
              <a:gd name="connsiteX3872" fmla="*/ 826903 w 6096001"/>
              <a:gd name="connsiteY3872" fmla="*/ 4564484 h 5392467"/>
              <a:gd name="connsiteX3873" fmla="*/ 797890 w 6096001"/>
              <a:gd name="connsiteY3873" fmla="*/ 4552879 h 5392467"/>
              <a:gd name="connsiteX3874" fmla="*/ 792089 w 6096001"/>
              <a:gd name="connsiteY3874" fmla="*/ 4554812 h 5392467"/>
              <a:gd name="connsiteX3875" fmla="*/ 780484 w 6096001"/>
              <a:gd name="connsiteY3875" fmla="*/ 4552879 h 5392467"/>
              <a:gd name="connsiteX3876" fmla="*/ 770812 w 6096001"/>
              <a:gd name="connsiteY3876" fmla="*/ 4550944 h 5392467"/>
              <a:gd name="connsiteX3877" fmla="*/ 765011 w 6096001"/>
              <a:gd name="connsiteY3877" fmla="*/ 4552879 h 5392467"/>
              <a:gd name="connsiteX3878" fmla="*/ 759210 w 6096001"/>
              <a:gd name="connsiteY3878" fmla="*/ 4552879 h 5392467"/>
              <a:gd name="connsiteX3879" fmla="*/ 745670 w 6096001"/>
              <a:gd name="connsiteY3879" fmla="*/ 4543207 h 5392467"/>
              <a:gd name="connsiteX3880" fmla="*/ 734065 w 6096001"/>
              <a:gd name="connsiteY3880" fmla="*/ 4539339 h 5392467"/>
              <a:gd name="connsiteX3881" fmla="*/ 724395 w 6096001"/>
              <a:gd name="connsiteY3881" fmla="*/ 4539339 h 5392467"/>
              <a:gd name="connsiteX3882" fmla="*/ 708922 w 6096001"/>
              <a:gd name="connsiteY3882" fmla="*/ 4535471 h 5392467"/>
              <a:gd name="connsiteX3883" fmla="*/ 693449 w 6096001"/>
              <a:gd name="connsiteY3883" fmla="*/ 4521933 h 5392467"/>
              <a:gd name="connsiteX3884" fmla="*/ 687646 w 6096001"/>
              <a:gd name="connsiteY3884" fmla="*/ 4514196 h 5392467"/>
              <a:gd name="connsiteX3885" fmla="*/ 670240 w 6096001"/>
              <a:gd name="connsiteY3885" fmla="*/ 4502592 h 5392467"/>
              <a:gd name="connsiteX3886" fmla="*/ 706987 w 6096001"/>
              <a:gd name="connsiteY3886" fmla="*/ 4448436 h 5392467"/>
              <a:gd name="connsiteX3887" fmla="*/ 691514 w 6096001"/>
              <a:gd name="connsiteY3887" fmla="*/ 4432963 h 5392467"/>
              <a:gd name="connsiteX3888" fmla="*/ 679909 w 6096001"/>
              <a:gd name="connsiteY3888" fmla="*/ 4425229 h 5392467"/>
              <a:gd name="connsiteX3889" fmla="*/ 658635 w 6096001"/>
              <a:gd name="connsiteY3889" fmla="*/ 4436831 h 5392467"/>
              <a:gd name="connsiteX3890" fmla="*/ 645097 w 6096001"/>
              <a:gd name="connsiteY3890" fmla="*/ 4442635 h 5392467"/>
              <a:gd name="connsiteX3891" fmla="*/ 631557 w 6096001"/>
              <a:gd name="connsiteY3891" fmla="*/ 4444568 h 5392467"/>
              <a:gd name="connsiteX3892" fmla="*/ 618019 w 6096001"/>
              <a:gd name="connsiteY3892" fmla="*/ 4448436 h 5392467"/>
              <a:gd name="connsiteX3893" fmla="*/ 606415 w 6096001"/>
              <a:gd name="connsiteY3893" fmla="*/ 4450371 h 5392467"/>
              <a:gd name="connsiteX3894" fmla="*/ 592875 w 6096001"/>
              <a:gd name="connsiteY3894" fmla="*/ 4448436 h 5392467"/>
              <a:gd name="connsiteX3895" fmla="*/ 583205 w 6096001"/>
              <a:gd name="connsiteY3895" fmla="*/ 4440702 h 5392467"/>
              <a:gd name="connsiteX3896" fmla="*/ 575469 w 6096001"/>
              <a:gd name="connsiteY3896" fmla="*/ 4434898 h 5392467"/>
              <a:gd name="connsiteX3897" fmla="*/ 558063 w 6096001"/>
              <a:gd name="connsiteY3897" fmla="*/ 4444568 h 5392467"/>
              <a:gd name="connsiteX3898" fmla="*/ 544523 w 6096001"/>
              <a:gd name="connsiteY3898" fmla="*/ 4446503 h 5392467"/>
              <a:gd name="connsiteX3899" fmla="*/ 532918 w 6096001"/>
              <a:gd name="connsiteY3899" fmla="*/ 4460041 h 5392467"/>
              <a:gd name="connsiteX3900" fmla="*/ 503907 w 6096001"/>
              <a:gd name="connsiteY3900" fmla="*/ 4475514 h 5392467"/>
              <a:gd name="connsiteX3901" fmla="*/ 490370 w 6096001"/>
              <a:gd name="connsiteY3901" fmla="*/ 4481317 h 5392467"/>
              <a:gd name="connsiteX3902" fmla="*/ 459424 w 6096001"/>
              <a:gd name="connsiteY3902" fmla="*/ 4502592 h 5392467"/>
              <a:gd name="connsiteX3903" fmla="*/ 451687 w 6096001"/>
              <a:gd name="connsiteY3903" fmla="*/ 4508395 h 5392467"/>
              <a:gd name="connsiteX3904" fmla="*/ 378190 w 6096001"/>
              <a:gd name="connsiteY3904" fmla="*/ 4545142 h 5392467"/>
              <a:gd name="connsiteX3905" fmla="*/ 368521 w 6096001"/>
              <a:gd name="connsiteY3905" fmla="*/ 4547075 h 5392467"/>
              <a:gd name="connsiteX3906" fmla="*/ 354981 w 6096001"/>
              <a:gd name="connsiteY3906" fmla="*/ 4554812 h 5392467"/>
              <a:gd name="connsiteX3907" fmla="*/ 347244 w 6096001"/>
              <a:gd name="connsiteY3907" fmla="*/ 4560615 h 5392467"/>
              <a:gd name="connsiteX3908" fmla="*/ 337575 w 6096001"/>
              <a:gd name="connsiteY3908" fmla="*/ 4560615 h 5392467"/>
              <a:gd name="connsiteX3909" fmla="*/ 277618 w 6096001"/>
              <a:gd name="connsiteY3909" fmla="*/ 4591561 h 5392467"/>
              <a:gd name="connsiteX3910" fmla="*/ 237000 w 6096001"/>
              <a:gd name="connsiteY3910" fmla="*/ 4572220 h 5392467"/>
              <a:gd name="connsiteX3911" fmla="*/ 200253 w 6096001"/>
              <a:gd name="connsiteY3911" fmla="*/ 4597363 h 5392467"/>
              <a:gd name="connsiteX3912" fmla="*/ 155769 w 6096001"/>
              <a:gd name="connsiteY3912" fmla="*/ 4620572 h 5392467"/>
              <a:gd name="connsiteX3913" fmla="*/ 132559 w 6096001"/>
              <a:gd name="connsiteY3913" fmla="*/ 4630242 h 5392467"/>
              <a:gd name="connsiteX3914" fmla="*/ 109350 w 6096001"/>
              <a:gd name="connsiteY3914" fmla="*/ 4634112 h 5392467"/>
              <a:gd name="connsiteX3915" fmla="*/ 86140 w 6096001"/>
              <a:gd name="connsiteY3915" fmla="*/ 4639913 h 5392467"/>
              <a:gd name="connsiteX3916" fmla="*/ 64866 w 6096001"/>
              <a:gd name="connsiteY3916" fmla="*/ 4643782 h 5392467"/>
              <a:gd name="connsiteX3917" fmla="*/ 41657 w 6096001"/>
              <a:gd name="connsiteY3917" fmla="*/ 4639913 h 5392467"/>
              <a:gd name="connsiteX3918" fmla="*/ 26184 w 6096001"/>
              <a:gd name="connsiteY3918" fmla="*/ 4626373 h 5392467"/>
              <a:gd name="connsiteX3919" fmla="*/ 12646 w 6096001"/>
              <a:gd name="connsiteY3919" fmla="*/ 4614771 h 5392467"/>
              <a:gd name="connsiteX3920" fmla="*/ 2491 w 6096001"/>
              <a:gd name="connsiteY3920" fmla="*/ 4604132 h 5392467"/>
              <a:gd name="connsiteX3921" fmla="*/ 0 w 6096001"/>
              <a:gd name="connsiteY3921" fmla="*/ 4603210 h 5392467"/>
              <a:gd name="connsiteX3922" fmla="*/ 0 w 6096001"/>
              <a:gd name="connsiteY3922" fmla="*/ 1780731 h 5392467"/>
              <a:gd name="connsiteX3923" fmla="*/ 12646 w 6096001"/>
              <a:gd name="connsiteY3923" fmla="*/ 1765837 h 5392467"/>
              <a:gd name="connsiteX3924" fmla="*/ 0 w 6096001"/>
              <a:gd name="connsiteY3924" fmla="*/ 1774315 h 5392467"/>
              <a:gd name="connsiteX3925" fmla="*/ 0 w 6096001"/>
              <a:gd name="connsiteY3925" fmla="*/ 1288043 h 5392467"/>
              <a:gd name="connsiteX3926" fmla="*/ 9019 w 6096001"/>
              <a:gd name="connsiteY3926" fmla="*/ 1280134 h 5392467"/>
              <a:gd name="connsiteX3927" fmla="*/ 26184 w 6096001"/>
              <a:gd name="connsiteY3927" fmla="*/ 1270705 h 5392467"/>
              <a:gd name="connsiteX3928" fmla="*/ 33920 w 6096001"/>
              <a:gd name="connsiteY3928" fmla="*/ 1264903 h 5392467"/>
              <a:gd name="connsiteX3929" fmla="*/ 91944 w 6096001"/>
              <a:gd name="connsiteY3929" fmla="*/ 1195275 h 5392467"/>
              <a:gd name="connsiteX3930" fmla="*/ 155769 w 6096001"/>
              <a:gd name="connsiteY3930" fmla="*/ 1150791 h 5392467"/>
              <a:gd name="connsiteX3931" fmla="*/ 175110 w 6096001"/>
              <a:gd name="connsiteY3931" fmla="*/ 1133385 h 5392467"/>
              <a:gd name="connsiteX3932" fmla="*/ 202188 w 6096001"/>
              <a:gd name="connsiteY3932" fmla="*/ 1114044 h 5392467"/>
              <a:gd name="connsiteX3933" fmla="*/ 266013 w 6096001"/>
              <a:gd name="connsiteY3933" fmla="*/ 1079230 h 5392467"/>
              <a:gd name="connsiteX3934" fmla="*/ 318233 w 6096001"/>
              <a:gd name="connsiteY3934" fmla="*/ 1046350 h 5392467"/>
              <a:gd name="connsiteX3935" fmla="*/ 399464 w 6096001"/>
              <a:gd name="connsiteY3935" fmla="*/ 980590 h 5392467"/>
              <a:gd name="connsiteX3936" fmla="*/ 474894 w 6096001"/>
              <a:gd name="connsiteY3936" fmla="*/ 936106 h 5392467"/>
              <a:gd name="connsiteX3937" fmla="*/ 498104 w 6096001"/>
              <a:gd name="connsiteY3937" fmla="*/ 922566 h 5392467"/>
              <a:gd name="connsiteX3938" fmla="*/ 610283 w 6096001"/>
              <a:gd name="connsiteY3938" fmla="*/ 854873 h 5392467"/>
              <a:gd name="connsiteX3939" fmla="*/ 627689 w 6096001"/>
              <a:gd name="connsiteY3939" fmla="*/ 843268 h 5392467"/>
              <a:gd name="connsiteX3940" fmla="*/ 674108 w 6096001"/>
              <a:gd name="connsiteY3940" fmla="*/ 816190 h 5392467"/>
              <a:gd name="connsiteX3941" fmla="*/ 718592 w 6096001"/>
              <a:gd name="connsiteY3941" fmla="*/ 792983 h 5392467"/>
              <a:gd name="connsiteX3942" fmla="*/ 927475 w 6096001"/>
              <a:gd name="connsiteY3942" fmla="*/ 725290 h 5392467"/>
              <a:gd name="connsiteX3943" fmla="*/ 997104 w 6096001"/>
              <a:gd name="connsiteY3943" fmla="*/ 694344 h 5392467"/>
              <a:gd name="connsiteX3944" fmla="*/ 1068665 w 6096001"/>
              <a:gd name="connsiteY3944" fmla="*/ 657594 h 5392467"/>
              <a:gd name="connsiteX3945" fmla="*/ 1167305 w 6096001"/>
              <a:gd name="connsiteY3945" fmla="*/ 624715 h 5392467"/>
              <a:gd name="connsiteX3946" fmla="*/ 1176974 w 6096001"/>
              <a:gd name="connsiteY3946" fmla="*/ 622780 h 5392467"/>
              <a:gd name="connsiteX3947" fmla="*/ 1215657 w 6096001"/>
              <a:gd name="connsiteY3947" fmla="*/ 601506 h 5392467"/>
              <a:gd name="connsiteX3948" fmla="*/ 1283350 w 6096001"/>
              <a:gd name="connsiteY3948" fmla="*/ 572495 h 5392467"/>
              <a:gd name="connsiteX3949" fmla="*/ 1300758 w 6096001"/>
              <a:gd name="connsiteY3949" fmla="*/ 568627 h 5392467"/>
              <a:gd name="connsiteX3950" fmla="*/ 1358780 w 6096001"/>
              <a:gd name="connsiteY3950" fmla="*/ 547350 h 5392467"/>
              <a:gd name="connsiteX3951" fmla="*/ 1368451 w 6096001"/>
              <a:gd name="connsiteY3951" fmla="*/ 543484 h 5392467"/>
              <a:gd name="connsiteX3952" fmla="*/ 1447749 w 6096001"/>
              <a:gd name="connsiteY3952" fmla="*/ 526076 h 5392467"/>
              <a:gd name="connsiteX3953" fmla="*/ 1525112 w 6096001"/>
              <a:gd name="connsiteY3953" fmla="*/ 508670 h 5392467"/>
              <a:gd name="connsiteX3954" fmla="*/ 1561862 w 6096001"/>
              <a:gd name="connsiteY3954" fmla="*/ 500933 h 5392467"/>
              <a:gd name="connsiteX3955" fmla="*/ 1579268 w 6096001"/>
              <a:gd name="connsiteY3955" fmla="*/ 497065 h 5392467"/>
              <a:gd name="connsiteX3956" fmla="*/ 1646961 w 6096001"/>
              <a:gd name="connsiteY3956" fmla="*/ 495130 h 5392467"/>
              <a:gd name="connsiteX3957" fmla="*/ 1666302 w 6096001"/>
              <a:gd name="connsiteY3957" fmla="*/ 491262 h 5392467"/>
              <a:gd name="connsiteX3958" fmla="*/ 1691447 w 6096001"/>
              <a:gd name="connsiteY3958" fmla="*/ 500933 h 5392467"/>
              <a:gd name="connsiteX3959" fmla="*/ 1691447 w 6096001"/>
              <a:gd name="connsiteY3959" fmla="*/ 502866 h 5392467"/>
              <a:gd name="connsiteX3960" fmla="*/ 1755272 w 6096001"/>
              <a:gd name="connsiteY3960" fmla="*/ 469987 h 5392467"/>
              <a:gd name="connsiteX3961" fmla="*/ 1871317 w 6096001"/>
              <a:gd name="connsiteY3961" fmla="*/ 417767 h 5392467"/>
              <a:gd name="connsiteX3962" fmla="*/ 1894527 w 6096001"/>
              <a:gd name="connsiteY3962" fmla="*/ 410031 h 5392467"/>
              <a:gd name="connsiteX3963" fmla="*/ 1904196 w 6096001"/>
              <a:gd name="connsiteY3963" fmla="*/ 415832 h 5392467"/>
              <a:gd name="connsiteX3964" fmla="*/ 1861646 w 6096001"/>
              <a:gd name="connsiteY3964" fmla="*/ 437108 h 5392467"/>
              <a:gd name="connsiteX3965" fmla="*/ 1819097 w 6096001"/>
              <a:gd name="connsiteY3965" fmla="*/ 460316 h 5392467"/>
              <a:gd name="connsiteX3966" fmla="*/ 1776546 w 6096001"/>
              <a:gd name="connsiteY3966" fmla="*/ 483525 h 5392467"/>
              <a:gd name="connsiteX3967" fmla="*/ 1792019 w 6096001"/>
              <a:gd name="connsiteY3967" fmla="*/ 483525 h 5392467"/>
              <a:gd name="connsiteX3968" fmla="*/ 1855844 w 6096001"/>
              <a:gd name="connsiteY3968" fmla="*/ 450646 h 5392467"/>
              <a:gd name="connsiteX3969" fmla="*/ 1964153 w 6096001"/>
              <a:gd name="connsiteY3969" fmla="*/ 411964 h 5392467"/>
              <a:gd name="connsiteX3970" fmla="*/ 1979626 w 6096001"/>
              <a:gd name="connsiteY3970" fmla="*/ 410031 h 5392467"/>
              <a:gd name="connsiteX3971" fmla="*/ 1993166 w 6096001"/>
              <a:gd name="connsiteY3971" fmla="*/ 417767 h 5392467"/>
              <a:gd name="connsiteX3972" fmla="*/ 2004771 w 6096001"/>
              <a:gd name="connsiteY3972" fmla="*/ 431305 h 5392467"/>
              <a:gd name="connsiteX3973" fmla="*/ 2002836 w 6096001"/>
              <a:gd name="connsiteY3973" fmla="*/ 446778 h 5392467"/>
              <a:gd name="connsiteX3974" fmla="*/ 2035717 w 6096001"/>
              <a:gd name="connsiteY3974" fmla="*/ 433240 h 5392467"/>
              <a:gd name="connsiteX3975" fmla="*/ 1944812 w 6096001"/>
              <a:gd name="connsiteY3975" fmla="*/ 493197 h 5392467"/>
              <a:gd name="connsiteX3976" fmla="*/ 1956419 w 6096001"/>
              <a:gd name="connsiteY3976" fmla="*/ 504802 h 5392467"/>
              <a:gd name="connsiteX3977" fmla="*/ 1962220 w 6096001"/>
              <a:gd name="connsiteY3977" fmla="*/ 506735 h 5392467"/>
              <a:gd name="connsiteX3978" fmla="*/ 1981562 w 6096001"/>
              <a:gd name="connsiteY3978" fmla="*/ 502866 h 5392467"/>
              <a:gd name="connsiteX3979" fmla="*/ 2078265 w 6096001"/>
              <a:gd name="connsiteY3979" fmla="*/ 475789 h 5392467"/>
              <a:gd name="connsiteX3980" fmla="*/ 2116948 w 6096001"/>
              <a:gd name="connsiteY3980" fmla="*/ 469987 h 5392467"/>
              <a:gd name="connsiteX3981" fmla="*/ 2132421 w 6096001"/>
              <a:gd name="connsiteY3981" fmla="*/ 475789 h 5392467"/>
              <a:gd name="connsiteX3982" fmla="*/ 2115013 w 6096001"/>
              <a:gd name="connsiteY3982" fmla="*/ 483525 h 5392467"/>
              <a:gd name="connsiteX3983" fmla="*/ 1954484 w 6096001"/>
              <a:gd name="connsiteY3983" fmla="*/ 526076 h 5392467"/>
              <a:gd name="connsiteX3984" fmla="*/ 1952551 w 6096001"/>
              <a:gd name="connsiteY3984" fmla="*/ 528009 h 5392467"/>
              <a:gd name="connsiteX3985" fmla="*/ 1956419 w 6096001"/>
              <a:gd name="connsiteY3985" fmla="*/ 533812 h 5392467"/>
              <a:gd name="connsiteX3986" fmla="*/ 1923538 w 6096001"/>
              <a:gd name="connsiteY3986" fmla="*/ 543484 h 5392467"/>
              <a:gd name="connsiteX3987" fmla="*/ 1933210 w 6096001"/>
              <a:gd name="connsiteY3987" fmla="*/ 547350 h 5392467"/>
              <a:gd name="connsiteX3988" fmla="*/ 1855844 w 6096001"/>
              <a:gd name="connsiteY3988" fmla="*/ 574428 h 5392467"/>
              <a:gd name="connsiteX3989" fmla="*/ 1900328 w 6096001"/>
              <a:gd name="connsiteY3989" fmla="*/ 549285 h 5392467"/>
              <a:gd name="connsiteX3990" fmla="*/ 1890659 w 6096001"/>
              <a:gd name="connsiteY3990" fmla="*/ 553154 h 5392467"/>
              <a:gd name="connsiteX3991" fmla="*/ 1848108 w 6096001"/>
              <a:gd name="connsiteY3991" fmla="*/ 570560 h 5392467"/>
              <a:gd name="connsiteX3992" fmla="*/ 1813294 w 6096001"/>
              <a:gd name="connsiteY3992" fmla="*/ 587968 h 5392467"/>
              <a:gd name="connsiteX3993" fmla="*/ 1816673 w 6096001"/>
              <a:gd name="connsiteY3993" fmla="*/ 606553 h 5392467"/>
              <a:gd name="connsiteX3994" fmla="*/ 1807492 w 6096001"/>
              <a:gd name="connsiteY3994" fmla="*/ 613111 h 5392467"/>
              <a:gd name="connsiteX3995" fmla="*/ 1780415 w 6096001"/>
              <a:gd name="connsiteY3995" fmla="*/ 630519 h 5392467"/>
              <a:gd name="connsiteX3996" fmla="*/ 1733996 w 6096001"/>
              <a:gd name="connsiteY3996" fmla="*/ 655661 h 5392467"/>
              <a:gd name="connsiteX3997" fmla="*/ 1737864 w 6096001"/>
              <a:gd name="connsiteY3997" fmla="*/ 665331 h 5392467"/>
              <a:gd name="connsiteX3998" fmla="*/ 1811361 w 6096001"/>
              <a:gd name="connsiteY3998" fmla="*/ 632452 h 5392467"/>
              <a:gd name="connsiteX3999" fmla="*/ 1815229 w 6096001"/>
              <a:gd name="connsiteY3999" fmla="*/ 630519 h 5392467"/>
              <a:gd name="connsiteX4000" fmla="*/ 1818855 w 6096001"/>
              <a:gd name="connsiteY4000" fmla="*/ 619155 h 5392467"/>
              <a:gd name="connsiteX4001" fmla="*/ 1820451 w 6096001"/>
              <a:gd name="connsiteY4001" fmla="*/ 607623 h 5392467"/>
              <a:gd name="connsiteX4002" fmla="*/ 1864789 w 6096001"/>
              <a:gd name="connsiteY4002" fmla="*/ 585791 h 5392467"/>
              <a:gd name="connsiteX4003" fmla="*/ 1913868 w 6096001"/>
              <a:gd name="connsiteY4003" fmla="*/ 566691 h 5392467"/>
              <a:gd name="connsiteX4004" fmla="*/ 1927406 w 6096001"/>
              <a:gd name="connsiteY4004" fmla="*/ 560890 h 5392467"/>
              <a:gd name="connsiteX4005" fmla="*/ 1981562 w 6096001"/>
              <a:gd name="connsiteY4005" fmla="*/ 539614 h 5392467"/>
              <a:gd name="connsiteX4006" fmla="*/ 2037650 w 6096001"/>
              <a:gd name="connsiteY4006" fmla="*/ 526076 h 5392467"/>
              <a:gd name="connsiteX4007" fmla="*/ 2076333 w 6096001"/>
              <a:gd name="connsiteY4007" fmla="*/ 514471 h 5392467"/>
              <a:gd name="connsiteX4008" fmla="*/ 2116948 w 6096001"/>
              <a:gd name="connsiteY4008" fmla="*/ 506735 h 5392467"/>
              <a:gd name="connsiteX4009" fmla="*/ 2116948 w 6096001"/>
              <a:gd name="connsiteY4009" fmla="*/ 518339 h 5392467"/>
              <a:gd name="connsiteX4010" fmla="*/ 2132421 w 6096001"/>
              <a:gd name="connsiteY4010" fmla="*/ 522208 h 5392467"/>
              <a:gd name="connsiteX4011" fmla="*/ 2153695 w 6096001"/>
              <a:gd name="connsiteY4011" fmla="*/ 516406 h 5392467"/>
              <a:gd name="connsiteX4012" fmla="*/ 2171104 w 6096001"/>
              <a:gd name="connsiteY4012" fmla="*/ 524143 h 5392467"/>
              <a:gd name="connsiteX4013" fmla="*/ 2161432 w 6096001"/>
              <a:gd name="connsiteY4013" fmla="*/ 533812 h 5392467"/>
              <a:gd name="connsiteX4014" fmla="*/ 2062795 w 6096001"/>
              <a:gd name="connsiteY4014" fmla="*/ 578296 h 5392467"/>
              <a:gd name="connsiteX4015" fmla="*/ 2037650 w 6096001"/>
              <a:gd name="connsiteY4015" fmla="*/ 593769 h 5392467"/>
              <a:gd name="connsiteX4016" fmla="*/ 2029913 w 6096001"/>
              <a:gd name="connsiteY4016" fmla="*/ 597637 h 5392467"/>
              <a:gd name="connsiteX4017" fmla="*/ 2045387 w 6096001"/>
              <a:gd name="connsiteY4017" fmla="*/ 597637 h 5392467"/>
              <a:gd name="connsiteX4018" fmla="*/ 2056991 w 6096001"/>
              <a:gd name="connsiteY4018" fmla="*/ 595705 h 5392467"/>
              <a:gd name="connsiteX4019" fmla="*/ 2066661 w 6096001"/>
              <a:gd name="connsiteY4019" fmla="*/ 611178 h 5392467"/>
              <a:gd name="connsiteX4020" fmla="*/ 2060860 w 6096001"/>
              <a:gd name="connsiteY4020" fmla="*/ 616979 h 5392467"/>
              <a:gd name="connsiteX4021" fmla="*/ 2060860 w 6096001"/>
              <a:gd name="connsiteY4021" fmla="*/ 620847 h 5392467"/>
              <a:gd name="connsiteX4022" fmla="*/ 2068596 w 6096001"/>
              <a:gd name="connsiteY4022" fmla="*/ 616979 h 5392467"/>
              <a:gd name="connsiteX4023" fmla="*/ 2072464 w 6096001"/>
              <a:gd name="connsiteY4023" fmla="*/ 609242 h 5392467"/>
              <a:gd name="connsiteX4024" fmla="*/ 2084069 w 6096001"/>
              <a:gd name="connsiteY4024" fmla="*/ 607309 h 5392467"/>
              <a:gd name="connsiteX4025" fmla="*/ 2093739 w 6096001"/>
              <a:gd name="connsiteY4025" fmla="*/ 605374 h 5392467"/>
              <a:gd name="connsiteX4026" fmla="*/ 2118881 w 6096001"/>
              <a:gd name="connsiteY4026" fmla="*/ 597637 h 5392467"/>
              <a:gd name="connsiteX4027" fmla="*/ 2211719 w 6096001"/>
              <a:gd name="connsiteY4027" fmla="*/ 560890 h 5392467"/>
              <a:gd name="connsiteX4028" fmla="*/ 2229125 w 6096001"/>
              <a:gd name="connsiteY4028" fmla="*/ 551218 h 5392467"/>
              <a:gd name="connsiteX4029" fmla="*/ 2269743 w 6096001"/>
              <a:gd name="connsiteY4029" fmla="*/ 524143 h 5392467"/>
              <a:gd name="connsiteX4030" fmla="*/ 2287149 w 6096001"/>
              <a:gd name="connsiteY4030" fmla="*/ 520275 h 5392467"/>
              <a:gd name="connsiteX4031" fmla="*/ 2291017 w 6096001"/>
              <a:gd name="connsiteY4031" fmla="*/ 524143 h 5392467"/>
              <a:gd name="connsiteX4032" fmla="*/ 2289082 w 6096001"/>
              <a:gd name="connsiteY4032" fmla="*/ 529944 h 5392467"/>
              <a:gd name="connsiteX4033" fmla="*/ 2271676 w 6096001"/>
              <a:gd name="connsiteY4033" fmla="*/ 545417 h 5392467"/>
              <a:gd name="connsiteX4034" fmla="*/ 2285216 w 6096001"/>
              <a:gd name="connsiteY4034" fmla="*/ 549285 h 5392467"/>
              <a:gd name="connsiteX4035" fmla="*/ 2358710 w 6096001"/>
              <a:gd name="connsiteY4035" fmla="*/ 533812 h 5392467"/>
              <a:gd name="connsiteX4036" fmla="*/ 2291017 w 6096001"/>
              <a:gd name="connsiteY4036" fmla="*/ 557022 h 5392467"/>
              <a:gd name="connsiteX4037" fmla="*/ 2262007 w 6096001"/>
              <a:gd name="connsiteY4037" fmla="*/ 568627 h 5392467"/>
              <a:gd name="connsiteX4038" fmla="*/ 2231061 w 6096001"/>
              <a:gd name="connsiteY4038" fmla="*/ 582164 h 5392467"/>
              <a:gd name="connsiteX4039" fmla="*/ 2209786 w 6096001"/>
              <a:gd name="connsiteY4039" fmla="*/ 595705 h 5392467"/>
              <a:gd name="connsiteX4040" fmla="*/ 2221389 w 6096001"/>
              <a:gd name="connsiteY4040" fmla="*/ 597637 h 5392467"/>
              <a:gd name="connsiteX4041" fmla="*/ 2269743 w 6096001"/>
              <a:gd name="connsiteY4041" fmla="*/ 595705 h 5392467"/>
              <a:gd name="connsiteX4042" fmla="*/ 2310359 w 6096001"/>
              <a:gd name="connsiteY4042" fmla="*/ 582164 h 5392467"/>
              <a:gd name="connsiteX4043" fmla="*/ 2424471 w 6096001"/>
              <a:gd name="connsiteY4043" fmla="*/ 547350 h 5392467"/>
              <a:gd name="connsiteX4044" fmla="*/ 2449613 w 6096001"/>
              <a:gd name="connsiteY4044" fmla="*/ 543484 h 5392467"/>
              <a:gd name="connsiteX4045" fmla="*/ 2445745 w 6096001"/>
              <a:gd name="connsiteY4045" fmla="*/ 549285 h 5392467"/>
              <a:gd name="connsiteX4046" fmla="*/ 2374184 w 6096001"/>
              <a:gd name="connsiteY4046" fmla="*/ 589901 h 5392467"/>
              <a:gd name="connsiteX4047" fmla="*/ 2321963 w 6096001"/>
              <a:gd name="connsiteY4047" fmla="*/ 609242 h 5392467"/>
              <a:gd name="connsiteX4048" fmla="*/ 2196246 w 6096001"/>
              <a:gd name="connsiteY4048" fmla="*/ 649858 h 5392467"/>
              <a:gd name="connsiteX4049" fmla="*/ 2107279 w 6096001"/>
              <a:gd name="connsiteY4049" fmla="*/ 684672 h 5392467"/>
              <a:gd name="connsiteX4050" fmla="*/ 2109212 w 6096001"/>
              <a:gd name="connsiteY4050" fmla="*/ 692409 h 5392467"/>
              <a:gd name="connsiteX4051" fmla="*/ 2120816 w 6096001"/>
              <a:gd name="connsiteY4051" fmla="*/ 692409 h 5392467"/>
              <a:gd name="connsiteX4052" fmla="*/ 2113080 w 6096001"/>
              <a:gd name="connsiteY4052" fmla="*/ 696277 h 5392467"/>
              <a:gd name="connsiteX4053" fmla="*/ 2115013 w 6096001"/>
              <a:gd name="connsiteY4053" fmla="*/ 700145 h 5392467"/>
              <a:gd name="connsiteX4054" fmla="*/ 2122752 w 6096001"/>
              <a:gd name="connsiteY4054" fmla="*/ 698212 h 5392467"/>
              <a:gd name="connsiteX4055" fmla="*/ 2120816 w 6096001"/>
              <a:gd name="connsiteY4055" fmla="*/ 692409 h 5392467"/>
              <a:gd name="connsiteX4056" fmla="*/ 2126620 w 6096001"/>
              <a:gd name="connsiteY4056" fmla="*/ 692409 h 5392467"/>
              <a:gd name="connsiteX4057" fmla="*/ 2130488 w 6096001"/>
              <a:gd name="connsiteY4057" fmla="*/ 694344 h 5392467"/>
              <a:gd name="connsiteX4058" fmla="*/ 2123476 w 6096001"/>
              <a:gd name="connsiteY4058" fmla="*/ 700871 h 5392467"/>
              <a:gd name="connsiteX4059" fmla="*/ 2122235 w 6096001"/>
              <a:gd name="connsiteY4059" fmla="*/ 705949 h 5392467"/>
              <a:gd name="connsiteX4060" fmla="*/ 2120816 w 6096001"/>
              <a:gd name="connsiteY4060" fmla="*/ 705949 h 5392467"/>
              <a:gd name="connsiteX4061" fmla="*/ 2121769 w 6096001"/>
              <a:gd name="connsiteY4061" fmla="*/ 707852 h 5392467"/>
              <a:gd name="connsiteX4062" fmla="*/ 2120816 w 6096001"/>
              <a:gd name="connsiteY4062" fmla="*/ 711750 h 5392467"/>
              <a:gd name="connsiteX4063" fmla="*/ 2105343 w 6096001"/>
              <a:gd name="connsiteY4063" fmla="*/ 704013 h 5392467"/>
              <a:gd name="connsiteX4064" fmla="*/ 2099542 w 6096001"/>
              <a:gd name="connsiteY4064" fmla="*/ 705949 h 5392467"/>
              <a:gd name="connsiteX4065" fmla="*/ 2095671 w 6096001"/>
              <a:gd name="connsiteY4065" fmla="*/ 717553 h 5392467"/>
              <a:gd name="connsiteX4066" fmla="*/ 2078265 w 6096001"/>
              <a:gd name="connsiteY4066" fmla="*/ 723355 h 5392467"/>
              <a:gd name="connsiteX4067" fmla="*/ 2070529 w 6096001"/>
              <a:gd name="connsiteY4067" fmla="*/ 725290 h 5392467"/>
              <a:gd name="connsiteX4068" fmla="*/ 2072464 w 6096001"/>
              <a:gd name="connsiteY4068" fmla="*/ 704013 h 5392467"/>
              <a:gd name="connsiteX4069" fmla="*/ 2045387 w 6096001"/>
              <a:gd name="connsiteY4069" fmla="*/ 721419 h 5392467"/>
              <a:gd name="connsiteX4070" fmla="*/ 2058924 w 6096001"/>
              <a:gd name="connsiteY4070" fmla="*/ 713685 h 5392467"/>
              <a:gd name="connsiteX4071" fmla="*/ 2039585 w 6096001"/>
              <a:gd name="connsiteY4071" fmla="*/ 729156 h 5392467"/>
              <a:gd name="connsiteX4072" fmla="*/ 2014440 w 6096001"/>
              <a:gd name="connsiteY4072" fmla="*/ 758169 h 5392467"/>
              <a:gd name="connsiteX4073" fmla="*/ 2066661 w 6096001"/>
              <a:gd name="connsiteY4073" fmla="*/ 740761 h 5392467"/>
              <a:gd name="connsiteX4074" fmla="*/ 2058924 w 6096001"/>
              <a:gd name="connsiteY4074" fmla="*/ 748497 h 5392467"/>
              <a:gd name="connsiteX4075" fmla="*/ 2008637 w 6096001"/>
              <a:gd name="connsiteY4075" fmla="*/ 769774 h 5392467"/>
              <a:gd name="connsiteX4076" fmla="*/ 1989298 w 6096001"/>
              <a:gd name="connsiteY4076" fmla="*/ 779443 h 5392467"/>
              <a:gd name="connsiteX4077" fmla="*/ 1997035 w 6096001"/>
              <a:gd name="connsiteY4077" fmla="*/ 789115 h 5392467"/>
              <a:gd name="connsiteX4078" fmla="*/ 2010572 w 6096001"/>
              <a:gd name="connsiteY4078" fmla="*/ 785247 h 5392467"/>
              <a:gd name="connsiteX4079" fmla="*/ 2018309 w 6096001"/>
              <a:gd name="connsiteY4079" fmla="*/ 779443 h 5392467"/>
              <a:gd name="connsiteX4080" fmla="*/ 2058924 w 6096001"/>
              <a:gd name="connsiteY4080" fmla="*/ 771707 h 5392467"/>
              <a:gd name="connsiteX4081" fmla="*/ 2314227 w 6096001"/>
              <a:gd name="connsiteY4081" fmla="*/ 704013 h 5392467"/>
              <a:gd name="connsiteX4082" fmla="*/ 2329700 w 6096001"/>
              <a:gd name="connsiteY4082" fmla="*/ 702080 h 5392467"/>
              <a:gd name="connsiteX4083" fmla="*/ 2331633 w 6096001"/>
              <a:gd name="connsiteY4083" fmla="*/ 700145 h 5392467"/>
              <a:gd name="connsiteX4084" fmla="*/ 2337436 w 6096001"/>
              <a:gd name="connsiteY4084" fmla="*/ 696277 h 5392467"/>
              <a:gd name="connsiteX4085" fmla="*/ 2360646 w 6096001"/>
              <a:gd name="connsiteY4085" fmla="*/ 686607 h 5392467"/>
              <a:gd name="connsiteX4086" fmla="*/ 2362579 w 6096001"/>
              <a:gd name="connsiteY4086" fmla="*/ 682739 h 5392467"/>
              <a:gd name="connsiteX4087" fmla="*/ 2370315 w 6096001"/>
              <a:gd name="connsiteY4087" fmla="*/ 678871 h 5392467"/>
              <a:gd name="connsiteX4088" fmla="*/ 2378052 w 6096001"/>
              <a:gd name="connsiteY4088" fmla="*/ 675003 h 5392467"/>
              <a:gd name="connsiteX4089" fmla="*/ 2381920 w 6096001"/>
              <a:gd name="connsiteY4089" fmla="*/ 669199 h 5392467"/>
              <a:gd name="connsiteX4090" fmla="*/ 2399326 w 6096001"/>
              <a:gd name="connsiteY4090" fmla="*/ 657594 h 5392467"/>
              <a:gd name="connsiteX4091" fmla="*/ 2410933 w 6096001"/>
              <a:gd name="connsiteY4091" fmla="*/ 653726 h 5392467"/>
              <a:gd name="connsiteX4092" fmla="*/ 2420602 w 6096001"/>
              <a:gd name="connsiteY4092" fmla="*/ 651793 h 5392467"/>
              <a:gd name="connsiteX4093" fmla="*/ 2428339 w 6096001"/>
              <a:gd name="connsiteY4093" fmla="*/ 644057 h 5392467"/>
              <a:gd name="connsiteX4094" fmla="*/ 2430274 w 6096001"/>
              <a:gd name="connsiteY4094" fmla="*/ 640188 h 5392467"/>
              <a:gd name="connsiteX4095" fmla="*/ 2438008 w 6096001"/>
              <a:gd name="connsiteY4095" fmla="*/ 634385 h 5392467"/>
              <a:gd name="connsiteX4096" fmla="*/ 2445745 w 6096001"/>
              <a:gd name="connsiteY4096" fmla="*/ 630519 h 5392467"/>
              <a:gd name="connsiteX4097" fmla="*/ 2453481 w 6096001"/>
              <a:gd name="connsiteY4097" fmla="*/ 620847 h 5392467"/>
              <a:gd name="connsiteX4098" fmla="*/ 2517309 w 6096001"/>
              <a:gd name="connsiteY4098" fmla="*/ 582164 h 5392467"/>
              <a:gd name="connsiteX4099" fmla="*/ 2530847 w 6096001"/>
              <a:gd name="connsiteY4099" fmla="*/ 580232 h 5392467"/>
              <a:gd name="connsiteX4100" fmla="*/ 2542451 w 6096001"/>
              <a:gd name="connsiteY4100" fmla="*/ 578296 h 5392467"/>
              <a:gd name="connsiteX4101" fmla="*/ 2565661 w 6096001"/>
              <a:gd name="connsiteY4101" fmla="*/ 564758 h 5392467"/>
              <a:gd name="connsiteX4102" fmla="*/ 2575330 w 6096001"/>
              <a:gd name="connsiteY4102" fmla="*/ 562823 h 5392467"/>
              <a:gd name="connsiteX4103" fmla="*/ 2594672 w 6096001"/>
              <a:gd name="connsiteY4103" fmla="*/ 549285 h 5392467"/>
              <a:gd name="connsiteX4104" fmla="*/ 2598540 w 6096001"/>
              <a:gd name="connsiteY4104" fmla="*/ 547350 h 5392467"/>
              <a:gd name="connsiteX4105" fmla="*/ 2606276 w 6096001"/>
              <a:gd name="connsiteY4105" fmla="*/ 545417 h 5392467"/>
              <a:gd name="connsiteX4106" fmla="*/ 2652695 w 6096001"/>
              <a:gd name="connsiteY4106" fmla="*/ 516406 h 5392467"/>
              <a:gd name="connsiteX4107" fmla="*/ 2693311 w 6096001"/>
              <a:gd name="connsiteY4107" fmla="*/ 491262 h 5392467"/>
              <a:gd name="connsiteX4108" fmla="*/ 2701047 w 6096001"/>
              <a:gd name="connsiteY4108" fmla="*/ 489329 h 5392467"/>
              <a:gd name="connsiteX4109" fmla="*/ 2704916 w 6096001"/>
              <a:gd name="connsiteY4109" fmla="*/ 487393 h 5392467"/>
              <a:gd name="connsiteX4110" fmla="*/ 2708784 w 6096001"/>
              <a:gd name="connsiteY4110" fmla="*/ 481592 h 5392467"/>
              <a:gd name="connsiteX4111" fmla="*/ 2724257 w 6096001"/>
              <a:gd name="connsiteY4111" fmla="*/ 475789 h 5392467"/>
              <a:gd name="connsiteX4112" fmla="*/ 2751335 w 6096001"/>
              <a:gd name="connsiteY4112" fmla="*/ 458383 h 5392467"/>
              <a:gd name="connsiteX4113" fmla="*/ 2762937 w 6096001"/>
              <a:gd name="connsiteY4113" fmla="*/ 454514 h 5392467"/>
              <a:gd name="connsiteX4114" fmla="*/ 2772609 w 6096001"/>
              <a:gd name="connsiteY4114" fmla="*/ 448711 h 5392467"/>
              <a:gd name="connsiteX4115" fmla="*/ 2786147 w 6096001"/>
              <a:gd name="connsiteY4115" fmla="*/ 440974 h 5392467"/>
              <a:gd name="connsiteX4116" fmla="*/ 2795818 w 6096001"/>
              <a:gd name="connsiteY4116" fmla="*/ 435173 h 5392467"/>
              <a:gd name="connsiteX4117" fmla="*/ 2805488 w 6096001"/>
              <a:gd name="connsiteY4117" fmla="*/ 425504 h 5392467"/>
              <a:gd name="connsiteX4118" fmla="*/ 2815160 w 6096001"/>
              <a:gd name="connsiteY4118" fmla="*/ 417767 h 5392467"/>
              <a:gd name="connsiteX4119" fmla="*/ 2842237 w 6096001"/>
              <a:gd name="connsiteY4119" fmla="*/ 413899 h 5392467"/>
              <a:gd name="connsiteX4120" fmla="*/ 2844170 w 6096001"/>
              <a:gd name="connsiteY4120" fmla="*/ 417767 h 5392467"/>
              <a:gd name="connsiteX4121" fmla="*/ 2842237 w 6096001"/>
              <a:gd name="connsiteY4121" fmla="*/ 421635 h 5392467"/>
              <a:gd name="connsiteX4122" fmla="*/ 2836434 w 6096001"/>
              <a:gd name="connsiteY4122" fmla="*/ 425504 h 5392467"/>
              <a:gd name="connsiteX4123" fmla="*/ 2819028 w 6096001"/>
              <a:gd name="connsiteY4123" fmla="*/ 437108 h 5392467"/>
              <a:gd name="connsiteX4124" fmla="*/ 2817093 w 6096001"/>
              <a:gd name="connsiteY4124" fmla="*/ 439041 h 5392467"/>
              <a:gd name="connsiteX4125" fmla="*/ 2820961 w 6096001"/>
              <a:gd name="connsiteY4125" fmla="*/ 440974 h 5392467"/>
              <a:gd name="connsiteX4126" fmla="*/ 2830630 w 6096001"/>
              <a:gd name="connsiteY4126" fmla="*/ 440974 h 5392467"/>
              <a:gd name="connsiteX4127" fmla="*/ 2853840 w 6096001"/>
              <a:gd name="connsiteY4127" fmla="*/ 427437 h 5392467"/>
              <a:gd name="connsiteX4128" fmla="*/ 2861579 w 6096001"/>
              <a:gd name="connsiteY4128" fmla="*/ 425504 h 5392467"/>
              <a:gd name="connsiteX4129" fmla="*/ 2873181 w 6096001"/>
              <a:gd name="connsiteY4129" fmla="*/ 417767 h 5392467"/>
              <a:gd name="connsiteX4130" fmla="*/ 2877049 w 6096001"/>
              <a:gd name="connsiteY4130" fmla="*/ 411964 h 5392467"/>
              <a:gd name="connsiteX4131" fmla="*/ 2884788 w 6096001"/>
              <a:gd name="connsiteY4131" fmla="*/ 410031 h 5392467"/>
              <a:gd name="connsiteX4132" fmla="*/ 2913799 w 6096001"/>
              <a:gd name="connsiteY4132" fmla="*/ 415832 h 5392467"/>
              <a:gd name="connsiteX4133" fmla="*/ 2921536 w 6096001"/>
              <a:gd name="connsiteY4133" fmla="*/ 411964 h 5392467"/>
              <a:gd name="connsiteX4134" fmla="*/ 2925404 w 6096001"/>
              <a:gd name="connsiteY4134" fmla="*/ 408095 h 5392467"/>
              <a:gd name="connsiteX4135" fmla="*/ 2935073 w 6096001"/>
              <a:gd name="connsiteY4135" fmla="*/ 406162 h 5392467"/>
              <a:gd name="connsiteX4136" fmla="*/ 2952482 w 6096001"/>
              <a:gd name="connsiteY4136" fmla="*/ 396491 h 5392467"/>
              <a:gd name="connsiteX4137" fmla="*/ 2969888 w 6096001"/>
              <a:gd name="connsiteY4137" fmla="*/ 390689 h 5392467"/>
              <a:gd name="connsiteX4138" fmla="*/ 2971823 w 6096001"/>
              <a:gd name="connsiteY4138" fmla="*/ 390689 h 5392467"/>
              <a:gd name="connsiteX4139" fmla="*/ 2989229 w 6096001"/>
              <a:gd name="connsiteY4139" fmla="*/ 377149 h 5392467"/>
              <a:gd name="connsiteX4140" fmla="*/ 2993097 w 6096001"/>
              <a:gd name="connsiteY4140" fmla="*/ 375216 h 5392467"/>
              <a:gd name="connsiteX4141" fmla="*/ 3000834 w 6096001"/>
              <a:gd name="connsiteY4141" fmla="*/ 373281 h 5392467"/>
              <a:gd name="connsiteX4142" fmla="*/ 3024041 w 6096001"/>
              <a:gd name="connsiteY4142" fmla="*/ 359743 h 5392467"/>
              <a:gd name="connsiteX4143" fmla="*/ 3029844 w 6096001"/>
              <a:gd name="connsiteY4143" fmla="*/ 355875 h 5392467"/>
              <a:gd name="connsiteX4144" fmla="*/ 3054987 w 6096001"/>
              <a:gd name="connsiteY4144" fmla="*/ 346206 h 5392467"/>
              <a:gd name="connsiteX4145" fmla="*/ 3062723 w 6096001"/>
              <a:gd name="connsiteY4145" fmla="*/ 344270 h 5392467"/>
              <a:gd name="connsiteX4146" fmla="*/ 3082065 w 6096001"/>
              <a:gd name="connsiteY4146" fmla="*/ 330733 h 5392467"/>
              <a:gd name="connsiteX4147" fmla="*/ 3091734 w 6096001"/>
              <a:gd name="connsiteY4147" fmla="*/ 324929 h 5392467"/>
              <a:gd name="connsiteX4148" fmla="*/ 3095605 w 6096001"/>
              <a:gd name="connsiteY4148" fmla="*/ 322996 h 5392467"/>
              <a:gd name="connsiteX4149" fmla="*/ 3109142 w 6096001"/>
              <a:gd name="connsiteY4149" fmla="*/ 313324 h 5392467"/>
              <a:gd name="connsiteX4150" fmla="*/ 3132352 w 6096001"/>
              <a:gd name="connsiteY4150" fmla="*/ 303655 h 5392467"/>
              <a:gd name="connsiteX4151" fmla="*/ 3138153 w 6096001"/>
              <a:gd name="connsiteY4151" fmla="*/ 301719 h 5392467"/>
              <a:gd name="connsiteX4152" fmla="*/ 3151693 w 6096001"/>
              <a:gd name="connsiteY4152" fmla="*/ 297851 h 5392467"/>
              <a:gd name="connsiteX4153" fmla="*/ 3203913 w 6096001"/>
              <a:gd name="connsiteY4153" fmla="*/ 266905 h 5392467"/>
              <a:gd name="connsiteX4154" fmla="*/ 3217451 w 6096001"/>
              <a:gd name="connsiteY4154" fmla="*/ 263039 h 5392467"/>
              <a:gd name="connsiteX4155" fmla="*/ 3225188 w 6096001"/>
              <a:gd name="connsiteY4155" fmla="*/ 261104 h 5392467"/>
              <a:gd name="connsiteX4156" fmla="*/ 3261937 w 6096001"/>
              <a:gd name="connsiteY4156" fmla="*/ 239830 h 5392467"/>
              <a:gd name="connsiteX4157" fmla="*/ 3267739 w 6096001"/>
              <a:gd name="connsiteY4157" fmla="*/ 237894 h 5392467"/>
              <a:gd name="connsiteX4158" fmla="*/ 3275475 w 6096001"/>
              <a:gd name="connsiteY4158" fmla="*/ 234026 h 5392467"/>
              <a:gd name="connsiteX4159" fmla="*/ 3279343 w 6096001"/>
              <a:gd name="connsiteY4159" fmla="*/ 230158 h 5392467"/>
              <a:gd name="connsiteX4160" fmla="*/ 3294816 w 6096001"/>
              <a:gd name="connsiteY4160" fmla="*/ 224357 h 5392467"/>
              <a:gd name="connsiteX4161" fmla="*/ 3325762 w 6096001"/>
              <a:gd name="connsiteY4161" fmla="*/ 206948 h 5392467"/>
              <a:gd name="connsiteX4162" fmla="*/ 3333499 w 6096001"/>
              <a:gd name="connsiteY4162" fmla="*/ 205015 h 5392467"/>
              <a:gd name="connsiteX4163" fmla="*/ 3352840 w 6096001"/>
              <a:gd name="connsiteY4163" fmla="*/ 203080 h 5392467"/>
              <a:gd name="connsiteX4164" fmla="*/ 3366378 w 6096001"/>
              <a:gd name="connsiteY4164" fmla="*/ 199212 h 5392467"/>
              <a:gd name="connsiteX4165" fmla="*/ 3385719 w 6096001"/>
              <a:gd name="connsiteY4165" fmla="*/ 187607 h 5392467"/>
              <a:gd name="connsiteX4166" fmla="*/ 3393456 w 6096001"/>
              <a:gd name="connsiteY4166" fmla="*/ 185674 h 5392467"/>
              <a:gd name="connsiteX4167" fmla="*/ 3401192 w 6096001"/>
              <a:gd name="connsiteY4167" fmla="*/ 183739 h 5392467"/>
              <a:gd name="connsiteX4168" fmla="*/ 3416665 w 6096001"/>
              <a:gd name="connsiteY4168" fmla="*/ 176005 h 5392467"/>
              <a:gd name="connsiteX4169" fmla="*/ 3428270 w 6096001"/>
              <a:gd name="connsiteY4169" fmla="*/ 172136 h 5392467"/>
              <a:gd name="connsiteX4170" fmla="*/ 3432138 w 6096001"/>
              <a:gd name="connsiteY4170" fmla="*/ 170201 h 5392467"/>
              <a:gd name="connsiteX4171" fmla="*/ 3447611 w 6096001"/>
              <a:gd name="connsiteY4171" fmla="*/ 160532 h 5392467"/>
              <a:gd name="connsiteX4172" fmla="*/ 3451479 w 6096001"/>
              <a:gd name="connsiteY4172" fmla="*/ 158596 h 5392467"/>
              <a:gd name="connsiteX4173" fmla="*/ 3463084 w 6096001"/>
              <a:gd name="connsiteY4173" fmla="*/ 154728 h 5392467"/>
              <a:gd name="connsiteX4174" fmla="*/ 3486294 w 6096001"/>
              <a:gd name="connsiteY4174" fmla="*/ 141190 h 5392467"/>
              <a:gd name="connsiteX4175" fmla="*/ 3509501 w 6096001"/>
              <a:gd name="connsiteY4175" fmla="*/ 131519 h 5392467"/>
              <a:gd name="connsiteX4176" fmla="*/ 3524974 w 6096001"/>
              <a:gd name="connsiteY4176" fmla="*/ 121849 h 5392467"/>
              <a:gd name="connsiteX4177" fmla="*/ 3528842 w 6096001"/>
              <a:gd name="connsiteY4177" fmla="*/ 119914 h 5392467"/>
              <a:gd name="connsiteX4178" fmla="*/ 3538514 w 6096001"/>
              <a:gd name="connsiteY4178" fmla="*/ 117981 h 5392467"/>
              <a:gd name="connsiteX4179" fmla="*/ 3552052 w 6096001"/>
              <a:gd name="connsiteY4179" fmla="*/ 110244 h 5392467"/>
              <a:gd name="connsiteX4180" fmla="*/ 3561723 w 6096001"/>
              <a:gd name="connsiteY4180" fmla="*/ 108309 h 5392467"/>
              <a:gd name="connsiteX4181" fmla="*/ 3575261 w 6096001"/>
              <a:gd name="connsiteY4181" fmla="*/ 106376 h 5392467"/>
              <a:gd name="connsiteX4182" fmla="*/ 3592667 w 6096001"/>
              <a:gd name="connsiteY4182" fmla="*/ 100572 h 5392467"/>
              <a:gd name="connsiteX4183" fmla="*/ 3596535 w 6096001"/>
              <a:gd name="connsiteY4183" fmla="*/ 98639 h 5392467"/>
              <a:gd name="connsiteX4184" fmla="*/ 3619745 w 6096001"/>
              <a:gd name="connsiteY4184" fmla="*/ 88970 h 5392467"/>
              <a:gd name="connsiteX4185" fmla="*/ 3631350 w 6096001"/>
              <a:gd name="connsiteY4185" fmla="*/ 83166 h 5392467"/>
              <a:gd name="connsiteX4186" fmla="*/ 3660363 w 6096001"/>
              <a:gd name="connsiteY4186" fmla="*/ 77365 h 5392467"/>
              <a:gd name="connsiteX4187" fmla="*/ 3666164 w 6096001"/>
              <a:gd name="connsiteY4187" fmla="*/ 77365 h 5392467"/>
              <a:gd name="connsiteX4188" fmla="*/ 3675833 w 6096001"/>
              <a:gd name="connsiteY4188" fmla="*/ 71562 h 5392467"/>
              <a:gd name="connsiteX4189" fmla="*/ 3685505 w 6096001"/>
              <a:gd name="connsiteY4189" fmla="*/ 61892 h 5392467"/>
              <a:gd name="connsiteX4190" fmla="*/ 3731924 w 6096001"/>
              <a:gd name="connsiteY4190" fmla="*/ 32879 h 5392467"/>
              <a:gd name="connsiteX4191" fmla="*/ 3741594 w 6096001"/>
              <a:gd name="connsiteY4191" fmla="*/ 30946 h 5392467"/>
              <a:gd name="connsiteX4192" fmla="*/ 3743527 w 6096001"/>
              <a:gd name="connsiteY4192" fmla="*/ 30946 h 5392467"/>
              <a:gd name="connsiteX4193" fmla="*/ 3757067 w 6096001"/>
              <a:gd name="connsiteY4193" fmla="*/ 23210 h 5392467"/>
              <a:gd name="connsiteX4194" fmla="*/ 3770607 w 6096001"/>
              <a:gd name="connsiteY4194" fmla="*/ 19341 h 5392467"/>
              <a:gd name="connsiteX4195" fmla="*/ 3772540 w 6096001"/>
              <a:gd name="connsiteY4195" fmla="*/ 17406 h 5392467"/>
              <a:gd name="connsiteX4196" fmla="*/ 3784145 w 6096001"/>
              <a:gd name="connsiteY4196" fmla="*/ 13538 h 5392467"/>
              <a:gd name="connsiteX4197" fmla="*/ 3797682 w 6096001"/>
              <a:gd name="connsiteY4197" fmla="*/ 11605 h 5392467"/>
              <a:gd name="connsiteX4198" fmla="*/ 3809287 w 6096001"/>
              <a:gd name="connsiteY4198" fmla="*/ 7737 h 5392467"/>
              <a:gd name="connsiteX4199" fmla="*/ 3820892 w 6096001"/>
              <a:gd name="connsiteY4199" fmla="*/ 7737 h 5392467"/>
              <a:gd name="connsiteX4200" fmla="*/ 3834432 w 6096001"/>
              <a:gd name="connsiteY4200" fmla="*/ 3868 h 5392467"/>
              <a:gd name="connsiteX4201" fmla="*/ 3849903 w 6096001"/>
              <a:gd name="connsiteY4201" fmla="*/ 1935 h 5392467"/>
              <a:gd name="connsiteX4202" fmla="*/ 3863443 w 6096001"/>
              <a:gd name="connsiteY4202" fmla="*/ 0 h 5392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</a:cxnLst>
            <a:rect l="l" t="t" r="r" b="b"/>
            <a:pathLst>
              <a:path w="6096001" h="5392467">
                <a:moveTo>
                  <a:pt x="2497968" y="5359400"/>
                </a:moveTo>
                <a:cubicBezTo>
                  <a:pt x="2497968" y="5359400"/>
                  <a:pt x="2499901" y="5361333"/>
                  <a:pt x="2499901" y="5361333"/>
                </a:cubicBezTo>
                <a:cubicBezTo>
                  <a:pt x="2497968" y="5361333"/>
                  <a:pt x="2496032" y="5363268"/>
                  <a:pt x="2490229" y="5365201"/>
                </a:cubicBezTo>
                <a:cubicBezTo>
                  <a:pt x="2494099" y="5361333"/>
                  <a:pt x="2496032" y="5359400"/>
                  <a:pt x="2497968" y="5359400"/>
                </a:cubicBezTo>
                <a:close/>
                <a:moveTo>
                  <a:pt x="2350974" y="5357464"/>
                </a:moveTo>
                <a:cubicBezTo>
                  <a:pt x="2343240" y="5359400"/>
                  <a:pt x="2343240" y="5359400"/>
                  <a:pt x="2343240" y="5367136"/>
                </a:cubicBezTo>
                <a:cubicBezTo>
                  <a:pt x="2349041" y="5367136"/>
                  <a:pt x="2350974" y="5363268"/>
                  <a:pt x="2350974" y="5357464"/>
                </a:cubicBezTo>
                <a:close/>
                <a:moveTo>
                  <a:pt x="2462686" y="5341466"/>
                </a:moveTo>
                <a:lnTo>
                  <a:pt x="2466220" y="5342526"/>
                </a:lnTo>
                <a:lnTo>
                  <a:pt x="2461218" y="5345862"/>
                </a:lnTo>
                <a:lnTo>
                  <a:pt x="2459331" y="5348881"/>
                </a:lnTo>
                <a:lnTo>
                  <a:pt x="2457350" y="5349730"/>
                </a:lnTo>
                <a:lnTo>
                  <a:pt x="2460736" y="5342109"/>
                </a:lnTo>
                <a:close/>
                <a:moveTo>
                  <a:pt x="2484427" y="5334257"/>
                </a:moveTo>
                <a:cubicBezTo>
                  <a:pt x="2480559" y="5336190"/>
                  <a:pt x="2478626" y="5336190"/>
                  <a:pt x="2472823" y="5340058"/>
                </a:cubicBezTo>
                <a:cubicBezTo>
                  <a:pt x="2482492" y="5341991"/>
                  <a:pt x="2482492" y="5341991"/>
                  <a:pt x="2484427" y="5334257"/>
                </a:cubicBezTo>
                <a:close/>
                <a:moveTo>
                  <a:pt x="2345173" y="5328454"/>
                </a:moveTo>
                <a:cubicBezTo>
                  <a:pt x="2329700" y="5332322"/>
                  <a:pt x="2329700" y="5332322"/>
                  <a:pt x="2327765" y="5341991"/>
                </a:cubicBezTo>
                <a:cubicBezTo>
                  <a:pt x="2335501" y="5341991"/>
                  <a:pt x="2341304" y="5336190"/>
                  <a:pt x="2345173" y="5328454"/>
                </a:cubicBezTo>
                <a:close/>
                <a:moveTo>
                  <a:pt x="2507636" y="5314916"/>
                </a:moveTo>
                <a:lnTo>
                  <a:pt x="2507637" y="5314916"/>
                </a:lnTo>
                <a:lnTo>
                  <a:pt x="2501533" y="5317968"/>
                </a:lnTo>
                <a:close/>
                <a:moveTo>
                  <a:pt x="3360577" y="5311048"/>
                </a:moveTo>
                <a:cubicBezTo>
                  <a:pt x="3358641" y="5316849"/>
                  <a:pt x="3354773" y="5320717"/>
                  <a:pt x="3348972" y="5324585"/>
                </a:cubicBezTo>
                <a:cubicBezTo>
                  <a:pt x="3352840" y="5322652"/>
                  <a:pt x="3354773" y="5318782"/>
                  <a:pt x="3354773" y="5312981"/>
                </a:cubicBezTo>
                <a:cubicBezTo>
                  <a:pt x="3356708" y="5312981"/>
                  <a:pt x="3358641" y="5311048"/>
                  <a:pt x="3360577" y="5311048"/>
                </a:cubicBezTo>
                <a:close/>
                <a:moveTo>
                  <a:pt x="2532779" y="5305244"/>
                </a:moveTo>
                <a:cubicBezTo>
                  <a:pt x="2534715" y="5305244"/>
                  <a:pt x="2536648" y="5305244"/>
                  <a:pt x="2538583" y="5307179"/>
                </a:cubicBezTo>
                <a:cubicBezTo>
                  <a:pt x="2538583" y="5307179"/>
                  <a:pt x="2538583" y="5311048"/>
                  <a:pt x="2536648" y="5311048"/>
                </a:cubicBezTo>
                <a:cubicBezTo>
                  <a:pt x="2536648" y="5311048"/>
                  <a:pt x="2532779" y="5311048"/>
                  <a:pt x="2532779" y="5311048"/>
                </a:cubicBezTo>
                <a:cubicBezTo>
                  <a:pt x="2532779" y="5309112"/>
                  <a:pt x="2532779" y="5307179"/>
                  <a:pt x="2532779" y="5305244"/>
                </a:cubicBezTo>
                <a:close/>
                <a:moveTo>
                  <a:pt x="3319961" y="5291706"/>
                </a:moveTo>
                <a:cubicBezTo>
                  <a:pt x="3314158" y="5295575"/>
                  <a:pt x="3312222" y="5299443"/>
                  <a:pt x="3314158" y="5305244"/>
                </a:cubicBezTo>
                <a:cubicBezTo>
                  <a:pt x="3314158" y="5299443"/>
                  <a:pt x="3321894" y="5297508"/>
                  <a:pt x="3319961" y="5291706"/>
                </a:cubicBezTo>
                <a:close/>
                <a:moveTo>
                  <a:pt x="2292950" y="5291706"/>
                </a:moveTo>
                <a:cubicBezTo>
                  <a:pt x="2289082" y="5297508"/>
                  <a:pt x="2287149" y="5303311"/>
                  <a:pt x="2285216" y="5309112"/>
                </a:cubicBezTo>
                <a:cubicBezTo>
                  <a:pt x="2287149" y="5307179"/>
                  <a:pt x="2291017" y="5305244"/>
                  <a:pt x="2294885" y="5303311"/>
                </a:cubicBezTo>
                <a:cubicBezTo>
                  <a:pt x="2294885" y="5303311"/>
                  <a:pt x="2296821" y="5305244"/>
                  <a:pt x="2296821" y="5305244"/>
                </a:cubicBezTo>
                <a:cubicBezTo>
                  <a:pt x="2294885" y="5309112"/>
                  <a:pt x="2292950" y="5311048"/>
                  <a:pt x="2291017" y="5314916"/>
                </a:cubicBezTo>
                <a:cubicBezTo>
                  <a:pt x="2291017" y="5314916"/>
                  <a:pt x="2292950" y="5316849"/>
                  <a:pt x="2292950" y="5316849"/>
                </a:cubicBezTo>
                <a:cubicBezTo>
                  <a:pt x="2298754" y="5312981"/>
                  <a:pt x="2304557" y="5307179"/>
                  <a:pt x="2312291" y="5297508"/>
                </a:cubicBezTo>
                <a:cubicBezTo>
                  <a:pt x="2312291" y="5297508"/>
                  <a:pt x="2312291" y="5295575"/>
                  <a:pt x="2312291" y="5295575"/>
                </a:cubicBezTo>
                <a:cubicBezTo>
                  <a:pt x="2308423" y="5297508"/>
                  <a:pt x="2304557" y="5297508"/>
                  <a:pt x="2300689" y="5299443"/>
                </a:cubicBezTo>
                <a:cubicBezTo>
                  <a:pt x="2296821" y="5295575"/>
                  <a:pt x="2294885" y="5293639"/>
                  <a:pt x="2292950" y="5291706"/>
                </a:cubicBezTo>
                <a:close/>
                <a:moveTo>
                  <a:pt x="2265875" y="5285905"/>
                </a:moveTo>
                <a:cubicBezTo>
                  <a:pt x="2258138" y="5293639"/>
                  <a:pt x="2258138" y="5293639"/>
                  <a:pt x="2265875" y="5301376"/>
                </a:cubicBezTo>
                <a:cubicBezTo>
                  <a:pt x="2267808" y="5293639"/>
                  <a:pt x="2267808" y="5291706"/>
                  <a:pt x="2265875" y="5285905"/>
                </a:cubicBezTo>
                <a:close/>
                <a:moveTo>
                  <a:pt x="2625618" y="5278166"/>
                </a:moveTo>
                <a:cubicBezTo>
                  <a:pt x="2625618" y="5278166"/>
                  <a:pt x="2627551" y="5280102"/>
                  <a:pt x="2627551" y="5280102"/>
                </a:cubicBezTo>
                <a:cubicBezTo>
                  <a:pt x="2619814" y="5287838"/>
                  <a:pt x="2612078" y="5295575"/>
                  <a:pt x="2600473" y="5293639"/>
                </a:cubicBezTo>
                <a:cubicBezTo>
                  <a:pt x="2608209" y="5287838"/>
                  <a:pt x="2615946" y="5283970"/>
                  <a:pt x="2625618" y="5278166"/>
                </a:cubicBezTo>
                <a:close/>
                <a:moveTo>
                  <a:pt x="2263939" y="5270430"/>
                </a:moveTo>
                <a:cubicBezTo>
                  <a:pt x="2262007" y="5272365"/>
                  <a:pt x="2258138" y="5274298"/>
                  <a:pt x="2256203" y="5278166"/>
                </a:cubicBezTo>
                <a:cubicBezTo>
                  <a:pt x="2260071" y="5276233"/>
                  <a:pt x="2263939" y="5276233"/>
                  <a:pt x="2265875" y="5274298"/>
                </a:cubicBezTo>
                <a:cubicBezTo>
                  <a:pt x="2263939" y="5272365"/>
                  <a:pt x="2263939" y="5272365"/>
                  <a:pt x="2263939" y="5270430"/>
                </a:cubicBezTo>
                <a:close/>
                <a:moveTo>
                  <a:pt x="2273611" y="5266564"/>
                </a:moveTo>
                <a:cubicBezTo>
                  <a:pt x="2273611" y="5266564"/>
                  <a:pt x="2271676" y="5268497"/>
                  <a:pt x="2271676" y="5268497"/>
                </a:cubicBezTo>
                <a:cubicBezTo>
                  <a:pt x="2271676" y="5270430"/>
                  <a:pt x="2273611" y="5272365"/>
                  <a:pt x="2275544" y="5274298"/>
                </a:cubicBezTo>
                <a:cubicBezTo>
                  <a:pt x="2275544" y="5274298"/>
                  <a:pt x="2275544" y="5272365"/>
                  <a:pt x="2277479" y="5272365"/>
                </a:cubicBezTo>
                <a:cubicBezTo>
                  <a:pt x="2275544" y="5270430"/>
                  <a:pt x="2275544" y="5268497"/>
                  <a:pt x="2273611" y="5266564"/>
                </a:cubicBezTo>
                <a:close/>
                <a:moveTo>
                  <a:pt x="3416665" y="5249156"/>
                </a:moveTo>
                <a:cubicBezTo>
                  <a:pt x="3416665" y="5253024"/>
                  <a:pt x="3414730" y="5256892"/>
                  <a:pt x="3412797" y="5260760"/>
                </a:cubicBezTo>
                <a:cubicBezTo>
                  <a:pt x="3410862" y="5254957"/>
                  <a:pt x="3414730" y="5251088"/>
                  <a:pt x="3416665" y="5249156"/>
                </a:cubicBezTo>
                <a:close/>
                <a:moveTo>
                  <a:pt x="2677838" y="5249156"/>
                </a:moveTo>
                <a:cubicBezTo>
                  <a:pt x="2677838" y="5249156"/>
                  <a:pt x="2679771" y="5249156"/>
                  <a:pt x="2683639" y="5251088"/>
                </a:cubicBezTo>
                <a:cubicBezTo>
                  <a:pt x="2675903" y="5254957"/>
                  <a:pt x="2672037" y="5260760"/>
                  <a:pt x="2666233" y="5264629"/>
                </a:cubicBezTo>
                <a:cubicBezTo>
                  <a:pt x="2654628" y="5268497"/>
                  <a:pt x="2644959" y="5274298"/>
                  <a:pt x="2631419" y="5278166"/>
                </a:cubicBezTo>
                <a:cubicBezTo>
                  <a:pt x="2635287" y="5274298"/>
                  <a:pt x="2639155" y="5270430"/>
                  <a:pt x="2644959" y="5266564"/>
                </a:cubicBezTo>
                <a:cubicBezTo>
                  <a:pt x="2654628" y="5260760"/>
                  <a:pt x="2666233" y="5254957"/>
                  <a:pt x="2677838" y="5249156"/>
                </a:cubicBezTo>
                <a:close/>
                <a:moveTo>
                  <a:pt x="1467088" y="5239486"/>
                </a:moveTo>
                <a:lnTo>
                  <a:pt x="1467713" y="5240111"/>
                </a:lnTo>
                <a:lnTo>
                  <a:pt x="1461787" y="5243853"/>
                </a:lnTo>
                <a:lnTo>
                  <a:pt x="1461287" y="5243354"/>
                </a:lnTo>
                <a:cubicBezTo>
                  <a:pt x="1463222" y="5241419"/>
                  <a:pt x="1465155" y="5241419"/>
                  <a:pt x="1467088" y="5239486"/>
                </a:cubicBezTo>
                <a:close/>
                <a:moveTo>
                  <a:pt x="3429777" y="5233934"/>
                </a:moveTo>
                <a:lnTo>
                  <a:pt x="3430203" y="5234005"/>
                </a:lnTo>
                <a:lnTo>
                  <a:pt x="3420533" y="5245287"/>
                </a:lnTo>
                <a:cubicBezTo>
                  <a:pt x="3422467" y="5243353"/>
                  <a:pt x="3423918" y="5240452"/>
                  <a:pt x="3425611" y="5237793"/>
                </a:cubicBezTo>
                <a:close/>
                <a:moveTo>
                  <a:pt x="2716520" y="5222078"/>
                </a:moveTo>
                <a:cubicBezTo>
                  <a:pt x="2716520" y="5233683"/>
                  <a:pt x="2710717" y="5239486"/>
                  <a:pt x="2687510" y="5243354"/>
                </a:cubicBezTo>
                <a:cubicBezTo>
                  <a:pt x="2697179" y="5235618"/>
                  <a:pt x="2706849" y="5229814"/>
                  <a:pt x="2716520" y="5222078"/>
                </a:cubicBezTo>
                <a:close/>
                <a:moveTo>
                  <a:pt x="2739730" y="5214341"/>
                </a:moveTo>
                <a:cubicBezTo>
                  <a:pt x="2739730" y="5214341"/>
                  <a:pt x="2741663" y="5216277"/>
                  <a:pt x="2741663" y="5216277"/>
                </a:cubicBezTo>
                <a:cubicBezTo>
                  <a:pt x="2739730" y="5216277"/>
                  <a:pt x="2737795" y="5218209"/>
                  <a:pt x="2735862" y="5220145"/>
                </a:cubicBezTo>
                <a:cubicBezTo>
                  <a:pt x="2735862" y="5220145"/>
                  <a:pt x="2733926" y="5218209"/>
                  <a:pt x="2733926" y="5218209"/>
                </a:cubicBezTo>
                <a:cubicBezTo>
                  <a:pt x="2735862" y="5216277"/>
                  <a:pt x="2737795" y="5214341"/>
                  <a:pt x="2739730" y="5214341"/>
                </a:cubicBezTo>
                <a:close/>
                <a:moveTo>
                  <a:pt x="3424402" y="5212408"/>
                </a:moveTo>
                <a:cubicBezTo>
                  <a:pt x="3426337" y="5212408"/>
                  <a:pt x="3428270" y="5212408"/>
                  <a:pt x="3428270" y="5212408"/>
                </a:cubicBezTo>
                <a:cubicBezTo>
                  <a:pt x="3426337" y="5214341"/>
                  <a:pt x="3426337" y="5216277"/>
                  <a:pt x="3424402" y="5216277"/>
                </a:cubicBezTo>
                <a:cubicBezTo>
                  <a:pt x="3424402" y="5214341"/>
                  <a:pt x="3424402" y="5214341"/>
                  <a:pt x="3424402" y="5212408"/>
                </a:cubicBezTo>
                <a:close/>
                <a:moveTo>
                  <a:pt x="2755203" y="5202736"/>
                </a:moveTo>
                <a:cubicBezTo>
                  <a:pt x="2753268" y="5206605"/>
                  <a:pt x="2755203" y="5208540"/>
                  <a:pt x="2753268" y="5208540"/>
                </a:cubicBezTo>
                <a:cubicBezTo>
                  <a:pt x="2753268" y="5208540"/>
                  <a:pt x="2751335" y="5210473"/>
                  <a:pt x="2749399" y="5210473"/>
                </a:cubicBezTo>
                <a:cubicBezTo>
                  <a:pt x="2749399" y="5208540"/>
                  <a:pt x="2747464" y="5208540"/>
                  <a:pt x="2749399" y="5206605"/>
                </a:cubicBezTo>
                <a:cubicBezTo>
                  <a:pt x="2749399" y="5204672"/>
                  <a:pt x="2751335" y="5204672"/>
                  <a:pt x="2755203" y="5202736"/>
                </a:cubicBezTo>
                <a:close/>
                <a:moveTo>
                  <a:pt x="3265806" y="5185330"/>
                </a:moveTo>
                <a:cubicBezTo>
                  <a:pt x="3260002" y="5189199"/>
                  <a:pt x="3258069" y="5193067"/>
                  <a:pt x="3260002" y="5198871"/>
                </a:cubicBezTo>
                <a:cubicBezTo>
                  <a:pt x="3260002" y="5195000"/>
                  <a:pt x="3265806" y="5193067"/>
                  <a:pt x="3265806" y="5185330"/>
                </a:cubicBezTo>
                <a:close/>
                <a:moveTo>
                  <a:pt x="2726190" y="5179529"/>
                </a:moveTo>
                <a:cubicBezTo>
                  <a:pt x="2726190" y="5181462"/>
                  <a:pt x="2726190" y="5185330"/>
                  <a:pt x="2726190" y="5185330"/>
                </a:cubicBezTo>
                <a:cubicBezTo>
                  <a:pt x="2728125" y="5185330"/>
                  <a:pt x="2730058" y="5187263"/>
                  <a:pt x="2731993" y="5185330"/>
                </a:cubicBezTo>
                <a:cubicBezTo>
                  <a:pt x="2731993" y="5185330"/>
                  <a:pt x="2731993" y="5181462"/>
                  <a:pt x="2733926" y="5181462"/>
                </a:cubicBezTo>
                <a:cubicBezTo>
                  <a:pt x="2731993" y="5179529"/>
                  <a:pt x="2730058" y="5179529"/>
                  <a:pt x="2726190" y="5179529"/>
                </a:cubicBezTo>
                <a:close/>
                <a:moveTo>
                  <a:pt x="2784214" y="5177594"/>
                </a:moveTo>
                <a:cubicBezTo>
                  <a:pt x="2788082" y="5177594"/>
                  <a:pt x="2791950" y="5177594"/>
                  <a:pt x="2797754" y="5177594"/>
                </a:cubicBezTo>
                <a:cubicBezTo>
                  <a:pt x="2790015" y="5187263"/>
                  <a:pt x="2790015" y="5187263"/>
                  <a:pt x="2784214" y="5177594"/>
                </a:cubicBezTo>
                <a:close/>
                <a:moveTo>
                  <a:pt x="2753268" y="5167922"/>
                </a:moveTo>
                <a:cubicBezTo>
                  <a:pt x="2747464" y="5171790"/>
                  <a:pt x="2741663" y="5173726"/>
                  <a:pt x="2735862" y="5177594"/>
                </a:cubicBezTo>
                <a:cubicBezTo>
                  <a:pt x="2745531" y="5179529"/>
                  <a:pt x="2751335" y="5173726"/>
                  <a:pt x="2755203" y="5169857"/>
                </a:cubicBezTo>
                <a:cubicBezTo>
                  <a:pt x="2755203" y="5169857"/>
                  <a:pt x="2753268" y="5167922"/>
                  <a:pt x="2753268" y="5167922"/>
                </a:cubicBezTo>
                <a:close/>
                <a:moveTo>
                  <a:pt x="2838602" y="5151491"/>
                </a:moveTo>
                <a:lnTo>
                  <a:pt x="2840101" y="5153312"/>
                </a:lnTo>
                <a:lnTo>
                  <a:pt x="2838852" y="5156078"/>
                </a:lnTo>
                <a:cubicBezTo>
                  <a:pt x="2836918" y="5156803"/>
                  <a:pt x="2834500" y="5156320"/>
                  <a:pt x="2832566" y="5156320"/>
                </a:cubicBezTo>
                <a:close/>
                <a:moveTo>
                  <a:pt x="3383786" y="5148583"/>
                </a:moveTo>
                <a:cubicBezTo>
                  <a:pt x="3376050" y="5154384"/>
                  <a:pt x="3368313" y="5162121"/>
                  <a:pt x="3366378" y="5171790"/>
                </a:cubicBezTo>
                <a:cubicBezTo>
                  <a:pt x="3366378" y="5173726"/>
                  <a:pt x="3366378" y="5177594"/>
                  <a:pt x="3364445" y="5179529"/>
                </a:cubicBezTo>
                <a:cubicBezTo>
                  <a:pt x="3364445" y="5177594"/>
                  <a:pt x="3366378" y="5175661"/>
                  <a:pt x="3368313" y="5173726"/>
                </a:cubicBezTo>
                <a:cubicBezTo>
                  <a:pt x="3368313" y="5173726"/>
                  <a:pt x="3370246" y="5175661"/>
                  <a:pt x="3370246" y="5175661"/>
                </a:cubicBezTo>
                <a:cubicBezTo>
                  <a:pt x="3366378" y="5179529"/>
                  <a:pt x="3364445" y="5181462"/>
                  <a:pt x="3362510" y="5185330"/>
                </a:cubicBezTo>
                <a:cubicBezTo>
                  <a:pt x="3360577" y="5183395"/>
                  <a:pt x="3360577" y="5183395"/>
                  <a:pt x="3360577" y="5183395"/>
                </a:cubicBezTo>
                <a:cubicBezTo>
                  <a:pt x="3358641" y="5187263"/>
                  <a:pt x="3358641" y="5189199"/>
                  <a:pt x="3356708" y="5191132"/>
                </a:cubicBezTo>
                <a:cubicBezTo>
                  <a:pt x="3354773" y="5195000"/>
                  <a:pt x="3352840" y="5198871"/>
                  <a:pt x="3354773" y="5202736"/>
                </a:cubicBezTo>
                <a:cubicBezTo>
                  <a:pt x="3356708" y="5202736"/>
                  <a:pt x="3358641" y="5202736"/>
                  <a:pt x="3358641" y="5202736"/>
                </a:cubicBezTo>
                <a:cubicBezTo>
                  <a:pt x="3368313" y="5189199"/>
                  <a:pt x="3377983" y="5177594"/>
                  <a:pt x="3387654" y="5164054"/>
                </a:cubicBezTo>
                <a:cubicBezTo>
                  <a:pt x="3389587" y="5160188"/>
                  <a:pt x="3391520" y="5154384"/>
                  <a:pt x="3393456" y="5150516"/>
                </a:cubicBezTo>
                <a:cubicBezTo>
                  <a:pt x="3389587" y="5146648"/>
                  <a:pt x="3387654" y="5146648"/>
                  <a:pt x="3383786" y="5148583"/>
                </a:cubicBezTo>
                <a:close/>
                <a:moveTo>
                  <a:pt x="3430203" y="5131175"/>
                </a:moveTo>
                <a:cubicBezTo>
                  <a:pt x="3420533" y="5133110"/>
                  <a:pt x="3420533" y="5133110"/>
                  <a:pt x="3416665" y="5144713"/>
                </a:cubicBezTo>
                <a:cubicBezTo>
                  <a:pt x="3424402" y="5142780"/>
                  <a:pt x="3426337" y="5136978"/>
                  <a:pt x="3430203" y="5131175"/>
                </a:cubicBezTo>
                <a:close/>
                <a:moveTo>
                  <a:pt x="3418598" y="5117637"/>
                </a:moveTo>
                <a:cubicBezTo>
                  <a:pt x="3416665" y="5117637"/>
                  <a:pt x="3416665" y="5119570"/>
                  <a:pt x="3414730" y="5121505"/>
                </a:cubicBezTo>
                <a:cubicBezTo>
                  <a:pt x="3414730" y="5121505"/>
                  <a:pt x="3416665" y="5121505"/>
                  <a:pt x="3416665" y="5121505"/>
                </a:cubicBezTo>
                <a:cubicBezTo>
                  <a:pt x="3418598" y="5119570"/>
                  <a:pt x="3418598" y="5119570"/>
                  <a:pt x="3418598" y="5117637"/>
                </a:cubicBezTo>
                <a:close/>
                <a:moveTo>
                  <a:pt x="3042975" y="5114379"/>
                </a:moveTo>
                <a:lnTo>
                  <a:pt x="3047250" y="5121505"/>
                </a:lnTo>
                <a:cubicBezTo>
                  <a:pt x="3045317" y="5121505"/>
                  <a:pt x="3043382" y="5123438"/>
                  <a:pt x="3041449" y="5123438"/>
                </a:cubicBezTo>
                <a:lnTo>
                  <a:pt x="3041449" y="5122665"/>
                </a:lnTo>
                <a:lnTo>
                  <a:pt x="3043382" y="5121505"/>
                </a:lnTo>
                <a:lnTo>
                  <a:pt x="3041449" y="5120538"/>
                </a:lnTo>
                <a:lnTo>
                  <a:pt x="3041449" y="5116669"/>
                </a:lnTo>
                <a:close/>
                <a:moveTo>
                  <a:pt x="3034689" y="5107009"/>
                </a:moveTo>
                <a:lnTo>
                  <a:pt x="3037581" y="5109901"/>
                </a:lnTo>
                <a:lnTo>
                  <a:pt x="3033713" y="5108933"/>
                </a:lnTo>
                <a:lnTo>
                  <a:pt x="3033713" y="5107965"/>
                </a:lnTo>
                <a:close/>
                <a:moveTo>
                  <a:pt x="3532710" y="5104097"/>
                </a:moveTo>
                <a:cubicBezTo>
                  <a:pt x="3526909" y="5102164"/>
                  <a:pt x="3523041" y="5104097"/>
                  <a:pt x="3519173" y="5107965"/>
                </a:cubicBezTo>
                <a:cubicBezTo>
                  <a:pt x="3509501" y="5113769"/>
                  <a:pt x="3503700" y="5123438"/>
                  <a:pt x="3497896" y="5138911"/>
                </a:cubicBezTo>
                <a:cubicBezTo>
                  <a:pt x="3503700" y="5136978"/>
                  <a:pt x="3509501" y="5135043"/>
                  <a:pt x="3509501" y="5125374"/>
                </a:cubicBezTo>
                <a:cubicBezTo>
                  <a:pt x="3509501" y="5125374"/>
                  <a:pt x="3511436" y="5123438"/>
                  <a:pt x="3513372" y="5121505"/>
                </a:cubicBezTo>
                <a:cubicBezTo>
                  <a:pt x="3521106" y="5119570"/>
                  <a:pt x="3528842" y="5109901"/>
                  <a:pt x="3532710" y="5104097"/>
                </a:cubicBezTo>
                <a:close/>
                <a:moveTo>
                  <a:pt x="2907995" y="5100229"/>
                </a:moveTo>
                <a:cubicBezTo>
                  <a:pt x="2907995" y="5100229"/>
                  <a:pt x="2907995" y="5102164"/>
                  <a:pt x="2907995" y="5102164"/>
                </a:cubicBezTo>
                <a:cubicBezTo>
                  <a:pt x="2909931" y="5102164"/>
                  <a:pt x="2909931" y="5102164"/>
                  <a:pt x="2911864" y="5102164"/>
                </a:cubicBezTo>
                <a:cubicBezTo>
                  <a:pt x="2911864" y="5102164"/>
                  <a:pt x="2913799" y="5100229"/>
                  <a:pt x="2911864" y="5100229"/>
                </a:cubicBezTo>
                <a:cubicBezTo>
                  <a:pt x="2911864" y="5100229"/>
                  <a:pt x="2909931" y="5100229"/>
                  <a:pt x="2907995" y="5100229"/>
                </a:cubicBezTo>
                <a:close/>
                <a:moveTo>
                  <a:pt x="2853840" y="5100229"/>
                </a:moveTo>
                <a:cubicBezTo>
                  <a:pt x="2838369" y="5109901"/>
                  <a:pt x="2824829" y="5121505"/>
                  <a:pt x="2813224" y="5131175"/>
                </a:cubicBezTo>
                <a:cubicBezTo>
                  <a:pt x="2813224" y="5133110"/>
                  <a:pt x="2815160" y="5133110"/>
                  <a:pt x="2815160" y="5135043"/>
                </a:cubicBezTo>
                <a:cubicBezTo>
                  <a:pt x="2817093" y="5135043"/>
                  <a:pt x="2819028" y="5135043"/>
                  <a:pt x="2820961" y="5133110"/>
                </a:cubicBezTo>
                <a:cubicBezTo>
                  <a:pt x="2830630" y="5125374"/>
                  <a:pt x="2842237" y="5117637"/>
                  <a:pt x="2851907" y="5109901"/>
                </a:cubicBezTo>
                <a:cubicBezTo>
                  <a:pt x="2851907" y="5107965"/>
                  <a:pt x="2851907" y="5106032"/>
                  <a:pt x="2853840" y="5100229"/>
                </a:cubicBezTo>
                <a:close/>
                <a:moveTo>
                  <a:pt x="1813294" y="5100229"/>
                </a:moveTo>
                <a:cubicBezTo>
                  <a:pt x="1813294" y="5100229"/>
                  <a:pt x="1813294" y="5100229"/>
                  <a:pt x="1813294" y="5102164"/>
                </a:cubicBezTo>
                <a:cubicBezTo>
                  <a:pt x="1811361" y="5104097"/>
                  <a:pt x="1811361" y="5106032"/>
                  <a:pt x="1809425" y="5106032"/>
                </a:cubicBezTo>
                <a:cubicBezTo>
                  <a:pt x="1811361" y="5104097"/>
                  <a:pt x="1811361" y="5102164"/>
                  <a:pt x="1813294" y="5100229"/>
                </a:cubicBezTo>
                <a:close/>
                <a:moveTo>
                  <a:pt x="2140158" y="5094428"/>
                </a:moveTo>
                <a:cubicBezTo>
                  <a:pt x="2138223" y="5096361"/>
                  <a:pt x="2136290" y="5098296"/>
                  <a:pt x="2136290" y="5102164"/>
                </a:cubicBezTo>
                <a:cubicBezTo>
                  <a:pt x="2138223" y="5100229"/>
                  <a:pt x="2140158" y="5098296"/>
                  <a:pt x="2142091" y="5096361"/>
                </a:cubicBezTo>
                <a:cubicBezTo>
                  <a:pt x="2142091" y="5096361"/>
                  <a:pt x="2140158" y="5094428"/>
                  <a:pt x="2140158" y="5094428"/>
                </a:cubicBezTo>
                <a:close/>
                <a:moveTo>
                  <a:pt x="1806100" y="5093330"/>
                </a:moveTo>
                <a:lnTo>
                  <a:pt x="1797821" y="5100229"/>
                </a:lnTo>
                <a:lnTo>
                  <a:pt x="1796901" y="5098849"/>
                </a:lnTo>
                <a:close/>
                <a:moveTo>
                  <a:pt x="1808141" y="5091629"/>
                </a:moveTo>
                <a:lnTo>
                  <a:pt x="1807492" y="5092495"/>
                </a:lnTo>
                <a:lnTo>
                  <a:pt x="1806100" y="5093330"/>
                </a:lnTo>
                <a:close/>
                <a:moveTo>
                  <a:pt x="1375502" y="5087606"/>
                </a:moveTo>
                <a:lnTo>
                  <a:pt x="1369543" y="5095551"/>
                </a:lnTo>
                <a:lnTo>
                  <a:pt x="1364583" y="5096361"/>
                </a:lnTo>
                <a:cubicBezTo>
                  <a:pt x="1365550" y="5090558"/>
                  <a:pt x="1368934" y="5088625"/>
                  <a:pt x="1372802" y="5087900"/>
                </a:cubicBezTo>
                <a:close/>
                <a:moveTo>
                  <a:pt x="2863512" y="5080888"/>
                </a:moveTo>
                <a:cubicBezTo>
                  <a:pt x="2859643" y="5080888"/>
                  <a:pt x="2855775" y="5080888"/>
                  <a:pt x="2853840" y="5082823"/>
                </a:cubicBezTo>
                <a:cubicBezTo>
                  <a:pt x="2842237" y="5090559"/>
                  <a:pt x="2832566" y="5098296"/>
                  <a:pt x="2820961" y="5104097"/>
                </a:cubicBezTo>
                <a:cubicBezTo>
                  <a:pt x="2811291" y="5107965"/>
                  <a:pt x="2805488" y="5113769"/>
                  <a:pt x="2799687" y="5119570"/>
                </a:cubicBezTo>
                <a:cubicBezTo>
                  <a:pt x="2807423" y="5125374"/>
                  <a:pt x="2807423" y="5125374"/>
                  <a:pt x="2809356" y="5123438"/>
                </a:cubicBezTo>
                <a:cubicBezTo>
                  <a:pt x="2817093" y="5117637"/>
                  <a:pt x="2822896" y="5111836"/>
                  <a:pt x="2830630" y="5106032"/>
                </a:cubicBezTo>
                <a:cubicBezTo>
                  <a:pt x="2840302" y="5098296"/>
                  <a:pt x="2848039" y="5086691"/>
                  <a:pt x="2863512" y="5088626"/>
                </a:cubicBezTo>
                <a:cubicBezTo>
                  <a:pt x="2865447" y="5088626"/>
                  <a:pt x="2867380" y="5086691"/>
                  <a:pt x="2867380" y="5084756"/>
                </a:cubicBezTo>
                <a:cubicBezTo>
                  <a:pt x="2867380" y="5082823"/>
                  <a:pt x="2865447" y="5080888"/>
                  <a:pt x="2863512" y="5080888"/>
                </a:cubicBezTo>
                <a:close/>
                <a:moveTo>
                  <a:pt x="2811291" y="5080888"/>
                </a:moveTo>
                <a:cubicBezTo>
                  <a:pt x="2807423" y="5086691"/>
                  <a:pt x="2805488" y="5090559"/>
                  <a:pt x="2803555" y="5096361"/>
                </a:cubicBezTo>
                <a:cubicBezTo>
                  <a:pt x="2811291" y="5096361"/>
                  <a:pt x="2815160" y="5088626"/>
                  <a:pt x="2819028" y="5084756"/>
                </a:cubicBezTo>
                <a:cubicBezTo>
                  <a:pt x="2817093" y="5084756"/>
                  <a:pt x="2813224" y="5082823"/>
                  <a:pt x="2811291" y="5080888"/>
                </a:cubicBezTo>
                <a:close/>
                <a:moveTo>
                  <a:pt x="2820237" y="5078470"/>
                </a:moveTo>
                <a:cubicBezTo>
                  <a:pt x="2819028" y="5079437"/>
                  <a:pt x="2819028" y="5081855"/>
                  <a:pt x="2819028" y="5086691"/>
                </a:cubicBezTo>
                <a:cubicBezTo>
                  <a:pt x="2820961" y="5084756"/>
                  <a:pt x="2824829" y="5080888"/>
                  <a:pt x="2828697" y="5078955"/>
                </a:cubicBezTo>
                <a:cubicBezTo>
                  <a:pt x="2823863" y="5077987"/>
                  <a:pt x="2821445" y="5077503"/>
                  <a:pt x="2820237" y="5078470"/>
                </a:cubicBezTo>
                <a:close/>
                <a:moveTo>
                  <a:pt x="3546248" y="5075086"/>
                </a:moveTo>
                <a:cubicBezTo>
                  <a:pt x="3544315" y="5077019"/>
                  <a:pt x="3544315" y="5080888"/>
                  <a:pt x="3544315" y="5082823"/>
                </a:cubicBezTo>
                <a:cubicBezTo>
                  <a:pt x="3544315" y="5080888"/>
                  <a:pt x="3546248" y="5078955"/>
                  <a:pt x="3548183" y="5077019"/>
                </a:cubicBezTo>
                <a:cubicBezTo>
                  <a:pt x="3548183" y="5075086"/>
                  <a:pt x="3546248" y="5075086"/>
                  <a:pt x="3546248" y="5075086"/>
                </a:cubicBezTo>
                <a:close/>
                <a:moveTo>
                  <a:pt x="1420672" y="5075086"/>
                </a:moveTo>
                <a:cubicBezTo>
                  <a:pt x="1416803" y="5077019"/>
                  <a:pt x="1412935" y="5080888"/>
                  <a:pt x="1409067" y="5082823"/>
                </a:cubicBezTo>
                <a:cubicBezTo>
                  <a:pt x="1409067" y="5082823"/>
                  <a:pt x="1411002" y="5084756"/>
                  <a:pt x="1411002" y="5084756"/>
                </a:cubicBezTo>
                <a:cubicBezTo>
                  <a:pt x="1414870" y="5082823"/>
                  <a:pt x="1416803" y="5078955"/>
                  <a:pt x="1422605" y="5077019"/>
                </a:cubicBezTo>
                <a:cubicBezTo>
                  <a:pt x="1420672" y="5075086"/>
                  <a:pt x="1420672" y="5075086"/>
                  <a:pt x="1420672" y="5075086"/>
                </a:cubicBezTo>
                <a:close/>
                <a:moveTo>
                  <a:pt x="3261937" y="5061549"/>
                </a:moveTo>
                <a:cubicBezTo>
                  <a:pt x="3254201" y="5067350"/>
                  <a:pt x="3252265" y="5075086"/>
                  <a:pt x="3250333" y="5082823"/>
                </a:cubicBezTo>
                <a:cubicBezTo>
                  <a:pt x="3256134" y="5077019"/>
                  <a:pt x="3261937" y="5069285"/>
                  <a:pt x="3261937" y="5061549"/>
                </a:cubicBezTo>
                <a:close/>
                <a:moveTo>
                  <a:pt x="2896391" y="5055745"/>
                </a:moveTo>
                <a:cubicBezTo>
                  <a:pt x="2894458" y="5059613"/>
                  <a:pt x="2890589" y="5063482"/>
                  <a:pt x="2890589" y="5065417"/>
                </a:cubicBezTo>
                <a:cubicBezTo>
                  <a:pt x="2890589" y="5071218"/>
                  <a:pt x="2888654" y="5073153"/>
                  <a:pt x="2884788" y="5075086"/>
                </a:cubicBezTo>
                <a:cubicBezTo>
                  <a:pt x="2877049" y="5080888"/>
                  <a:pt x="2869313" y="5086691"/>
                  <a:pt x="2861579" y="5092495"/>
                </a:cubicBezTo>
                <a:cubicBezTo>
                  <a:pt x="2863512" y="5094428"/>
                  <a:pt x="2863512" y="5094428"/>
                  <a:pt x="2863512" y="5096361"/>
                </a:cubicBezTo>
                <a:cubicBezTo>
                  <a:pt x="2865447" y="5096361"/>
                  <a:pt x="2867380" y="5096361"/>
                  <a:pt x="2869313" y="5096361"/>
                </a:cubicBezTo>
                <a:cubicBezTo>
                  <a:pt x="2871248" y="5096361"/>
                  <a:pt x="2873181" y="5092495"/>
                  <a:pt x="2875116" y="5092495"/>
                </a:cubicBezTo>
                <a:cubicBezTo>
                  <a:pt x="2888654" y="5094428"/>
                  <a:pt x="2894458" y="5084756"/>
                  <a:pt x="2904127" y="5078955"/>
                </a:cubicBezTo>
                <a:cubicBezTo>
                  <a:pt x="2904127" y="5077019"/>
                  <a:pt x="2904127" y="5077019"/>
                  <a:pt x="2907995" y="5073153"/>
                </a:cubicBezTo>
                <a:cubicBezTo>
                  <a:pt x="2907995" y="5073153"/>
                  <a:pt x="2906063" y="5071218"/>
                  <a:pt x="2906063" y="5071218"/>
                </a:cubicBezTo>
                <a:cubicBezTo>
                  <a:pt x="2904127" y="5069285"/>
                  <a:pt x="2902194" y="5065417"/>
                  <a:pt x="2900259" y="5063482"/>
                </a:cubicBezTo>
                <a:cubicBezTo>
                  <a:pt x="2900259" y="5063482"/>
                  <a:pt x="2898326" y="5065417"/>
                  <a:pt x="2896391" y="5065417"/>
                </a:cubicBezTo>
                <a:cubicBezTo>
                  <a:pt x="2896391" y="5063482"/>
                  <a:pt x="2898326" y="5061549"/>
                  <a:pt x="2898326" y="5059613"/>
                </a:cubicBezTo>
                <a:cubicBezTo>
                  <a:pt x="2898326" y="5057678"/>
                  <a:pt x="2896391" y="5057678"/>
                  <a:pt x="2896391" y="5055745"/>
                </a:cubicBezTo>
                <a:close/>
                <a:moveTo>
                  <a:pt x="1870196" y="5051697"/>
                </a:moveTo>
                <a:lnTo>
                  <a:pt x="1830702" y="5080888"/>
                </a:lnTo>
                <a:cubicBezTo>
                  <a:pt x="1826834" y="5084756"/>
                  <a:pt x="1822965" y="5086691"/>
                  <a:pt x="1815229" y="5086691"/>
                </a:cubicBezTo>
                <a:cubicBezTo>
                  <a:pt x="1813294" y="5086691"/>
                  <a:pt x="1811361" y="5088626"/>
                  <a:pt x="1809425" y="5090559"/>
                </a:cubicBezTo>
                <a:lnTo>
                  <a:pt x="1808141" y="5091629"/>
                </a:lnTo>
                <a:lnTo>
                  <a:pt x="1813294" y="5084756"/>
                </a:lnTo>
                <a:lnTo>
                  <a:pt x="1814721" y="5079526"/>
                </a:lnTo>
                <a:lnTo>
                  <a:pt x="1822965" y="5075086"/>
                </a:lnTo>
                <a:lnTo>
                  <a:pt x="1846700" y="5060844"/>
                </a:lnTo>
                <a:lnTo>
                  <a:pt x="1849075" y="5061306"/>
                </a:lnTo>
                <a:cubicBezTo>
                  <a:pt x="1851976" y="5061064"/>
                  <a:pt x="1854877" y="5059614"/>
                  <a:pt x="1857777" y="5055745"/>
                </a:cubicBezTo>
                <a:cubicBezTo>
                  <a:pt x="1859713" y="5053812"/>
                  <a:pt x="1865516" y="5051877"/>
                  <a:pt x="1867449" y="5051877"/>
                </a:cubicBezTo>
                <a:close/>
                <a:moveTo>
                  <a:pt x="2871248" y="5044140"/>
                </a:moveTo>
                <a:cubicBezTo>
                  <a:pt x="2869313" y="5055745"/>
                  <a:pt x="2851907" y="5053812"/>
                  <a:pt x="2853840" y="5071218"/>
                </a:cubicBezTo>
                <a:cubicBezTo>
                  <a:pt x="2863512" y="5067350"/>
                  <a:pt x="2869313" y="5063482"/>
                  <a:pt x="2877049" y="5059613"/>
                </a:cubicBezTo>
                <a:cubicBezTo>
                  <a:pt x="2875116" y="5053812"/>
                  <a:pt x="2875116" y="5049944"/>
                  <a:pt x="2875116" y="5046076"/>
                </a:cubicBezTo>
                <a:cubicBezTo>
                  <a:pt x="2873181" y="5044140"/>
                  <a:pt x="2873181" y="5044140"/>
                  <a:pt x="2871248" y="5044140"/>
                </a:cubicBezTo>
                <a:close/>
                <a:moveTo>
                  <a:pt x="3325762" y="5042207"/>
                </a:moveTo>
                <a:cubicBezTo>
                  <a:pt x="3319961" y="5046076"/>
                  <a:pt x="3314158" y="5053812"/>
                  <a:pt x="3310289" y="5061549"/>
                </a:cubicBezTo>
                <a:cubicBezTo>
                  <a:pt x="3310289" y="5063482"/>
                  <a:pt x="3310289" y="5063482"/>
                  <a:pt x="3310289" y="5065417"/>
                </a:cubicBezTo>
                <a:cubicBezTo>
                  <a:pt x="3308354" y="5073153"/>
                  <a:pt x="3306421" y="5078955"/>
                  <a:pt x="3302553" y="5084756"/>
                </a:cubicBezTo>
                <a:cubicBezTo>
                  <a:pt x="3300620" y="5088626"/>
                  <a:pt x="3298685" y="5092495"/>
                  <a:pt x="3300620" y="5096361"/>
                </a:cubicBezTo>
                <a:cubicBezTo>
                  <a:pt x="3302553" y="5096361"/>
                  <a:pt x="3304486" y="5096361"/>
                  <a:pt x="3304486" y="5096361"/>
                </a:cubicBezTo>
                <a:cubicBezTo>
                  <a:pt x="3308354" y="5092495"/>
                  <a:pt x="3310289" y="5088626"/>
                  <a:pt x="3314158" y="5084756"/>
                </a:cubicBezTo>
                <a:cubicBezTo>
                  <a:pt x="3312222" y="5086691"/>
                  <a:pt x="3310289" y="5086691"/>
                  <a:pt x="3308354" y="5088626"/>
                </a:cubicBezTo>
                <a:cubicBezTo>
                  <a:pt x="3310289" y="5084756"/>
                  <a:pt x="3312222" y="5082823"/>
                  <a:pt x="3316093" y="5082823"/>
                </a:cubicBezTo>
                <a:cubicBezTo>
                  <a:pt x="3321894" y="5073153"/>
                  <a:pt x="3327695" y="5065417"/>
                  <a:pt x="3333499" y="5057678"/>
                </a:cubicBezTo>
                <a:cubicBezTo>
                  <a:pt x="3335432" y="5053812"/>
                  <a:pt x="3337367" y="5049944"/>
                  <a:pt x="3335432" y="5044140"/>
                </a:cubicBezTo>
                <a:cubicBezTo>
                  <a:pt x="3331564" y="5040272"/>
                  <a:pt x="3329631" y="5040272"/>
                  <a:pt x="3325762" y="5042207"/>
                </a:cubicBezTo>
                <a:close/>
                <a:moveTo>
                  <a:pt x="2886721" y="5034471"/>
                </a:moveTo>
                <a:cubicBezTo>
                  <a:pt x="2884788" y="5034471"/>
                  <a:pt x="2884788" y="5042207"/>
                  <a:pt x="2882853" y="5042207"/>
                </a:cubicBezTo>
                <a:cubicBezTo>
                  <a:pt x="2884788" y="5042207"/>
                  <a:pt x="2884788" y="5042207"/>
                  <a:pt x="2884788" y="5044140"/>
                </a:cubicBezTo>
                <a:cubicBezTo>
                  <a:pt x="2886721" y="5044140"/>
                  <a:pt x="2888654" y="5042207"/>
                  <a:pt x="2890589" y="5040272"/>
                </a:cubicBezTo>
                <a:cubicBezTo>
                  <a:pt x="2890589" y="5038339"/>
                  <a:pt x="2890589" y="5036404"/>
                  <a:pt x="2886721" y="5034471"/>
                </a:cubicBezTo>
                <a:close/>
                <a:moveTo>
                  <a:pt x="3817024" y="5005460"/>
                </a:moveTo>
                <a:cubicBezTo>
                  <a:pt x="3789946" y="5018998"/>
                  <a:pt x="3762868" y="5028667"/>
                  <a:pt x="3737726" y="5048009"/>
                </a:cubicBezTo>
                <a:cubicBezTo>
                  <a:pt x="3764803" y="5040272"/>
                  <a:pt x="3803486" y="5018998"/>
                  <a:pt x="3817024" y="5005460"/>
                </a:cubicBezTo>
                <a:close/>
                <a:moveTo>
                  <a:pt x="2993097" y="4991920"/>
                </a:moveTo>
                <a:cubicBezTo>
                  <a:pt x="2991162" y="4991920"/>
                  <a:pt x="2989229" y="4993853"/>
                  <a:pt x="2987293" y="4993853"/>
                </a:cubicBezTo>
                <a:cubicBezTo>
                  <a:pt x="2987293" y="4993853"/>
                  <a:pt x="2987293" y="4995788"/>
                  <a:pt x="2987293" y="4995788"/>
                </a:cubicBezTo>
                <a:cubicBezTo>
                  <a:pt x="2989229" y="4995788"/>
                  <a:pt x="2991162" y="4993853"/>
                  <a:pt x="2993097" y="4993853"/>
                </a:cubicBezTo>
                <a:cubicBezTo>
                  <a:pt x="2993097" y="4993853"/>
                  <a:pt x="2993097" y="4991920"/>
                  <a:pt x="2993097" y="4991920"/>
                </a:cubicBezTo>
                <a:close/>
                <a:moveTo>
                  <a:pt x="2991162" y="4962909"/>
                </a:moveTo>
                <a:cubicBezTo>
                  <a:pt x="2991162" y="4964842"/>
                  <a:pt x="2989229" y="4964842"/>
                  <a:pt x="2991162" y="4966778"/>
                </a:cubicBezTo>
                <a:cubicBezTo>
                  <a:pt x="2993097" y="4964842"/>
                  <a:pt x="2993097" y="4964842"/>
                  <a:pt x="2995030" y="4964842"/>
                </a:cubicBezTo>
                <a:cubicBezTo>
                  <a:pt x="2993097" y="4962909"/>
                  <a:pt x="2993097" y="4962909"/>
                  <a:pt x="2991162" y="4962909"/>
                </a:cubicBezTo>
                <a:close/>
                <a:moveTo>
                  <a:pt x="3155561" y="4947436"/>
                </a:moveTo>
                <a:cubicBezTo>
                  <a:pt x="3153626" y="4947436"/>
                  <a:pt x="3153626" y="4949369"/>
                  <a:pt x="3153626" y="4949369"/>
                </a:cubicBezTo>
                <a:cubicBezTo>
                  <a:pt x="3153626" y="4949369"/>
                  <a:pt x="3155561" y="4949369"/>
                  <a:pt x="3157494" y="4947436"/>
                </a:cubicBezTo>
                <a:cubicBezTo>
                  <a:pt x="3157494" y="4947436"/>
                  <a:pt x="3155561" y="4947436"/>
                  <a:pt x="3155561" y="4947436"/>
                </a:cubicBezTo>
                <a:close/>
                <a:moveTo>
                  <a:pt x="3083492" y="4945704"/>
                </a:moveTo>
                <a:lnTo>
                  <a:pt x="3070460" y="4957106"/>
                </a:lnTo>
                <a:cubicBezTo>
                  <a:pt x="3070460" y="4957106"/>
                  <a:pt x="3070460" y="4959041"/>
                  <a:pt x="3068527" y="4959041"/>
                </a:cubicBezTo>
                <a:cubicBezTo>
                  <a:pt x="3068527" y="4957106"/>
                  <a:pt x="3070460" y="4953237"/>
                  <a:pt x="3072395" y="4951302"/>
                </a:cubicBezTo>
                <a:cubicBezTo>
                  <a:pt x="3072395" y="4951302"/>
                  <a:pt x="3072395" y="4951302"/>
                  <a:pt x="3074328" y="4949369"/>
                </a:cubicBezTo>
                <a:close/>
                <a:moveTo>
                  <a:pt x="3085930" y="4943571"/>
                </a:moveTo>
                <a:lnTo>
                  <a:pt x="3084000" y="4945501"/>
                </a:lnTo>
                <a:lnTo>
                  <a:pt x="3083492" y="4945704"/>
                </a:lnTo>
                <a:close/>
                <a:moveTo>
                  <a:pt x="3085933" y="4943567"/>
                </a:moveTo>
                <a:lnTo>
                  <a:pt x="3085933" y="4943568"/>
                </a:lnTo>
                <a:lnTo>
                  <a:pt x="3085930" y="4943571"/>
                </a:lnTo>
                <a:close/>
                <a:moveTo>
                  <a:pt x="3242596" y="4931963"/>
                </a:moveTo>
                <a:cubicBezTo>
                  <a:pt x="3242596" y="4931963"/>
                  <a:pt x="3240661" y="4933896"/>
                  <a:pt x="3238728" y="4933896"/>
                </a:cubicBezTo>
                <a:cubicBezTo>
                  <a:pt x="3236792" y="4935832"/>
                  <a:pt x="3232927" y="4935832"/>
                  <a:pt x="3229058" y="4937764"/>
                </a:cubicBezTo>
                <a:cubicBezTo>
                  <a:pt x="3229058" y="4939700"/>
                  <a:pt x="3229058" y="4939700"/>
                  <a:pt x="3229058" y="4941633"/>
                </a:cubicBezTo>
                <a:cubicBezTo>
                  <a:pt x="3229058" y="4943568"/>
                  <a:pt x="3230991" y="4945501"/>
                  <a:pt x="3232927" y="4945501"/>
                </a:cubicBezTo>
                <a:cubicBezTo>
                  <a:pt x="3234860" y="4945501"/>
                  <a:pt x="3236792" y="4943568"/>
                  <a:pt x="3238728" y="4943568"/>
                </a:cubicBezTo>
                <a:cubicBezTo>
                  <a:pt x="3238728" y="4945501"/>
                  <a:pt x="3236792" y="4945501"/>
                  <a:pt x="3236792" y="4947436"/>
                </a:cubicBezTo>
                <a:cubicBezTo>
                  <a:pt x="3244529" y="4947436"/>
                  <a:pt x="3250333" y="4943568"/>
                  <a:pt x="3254201" y="4939700"/>
                </a:cubicBezTo>
                <a:cubicBezTo>
                  <a:pt x="3250333" y="4935832"/>
                  <a:pt x="3246464" y="4933896"/>
                  <a:pt x="3242596" y="4931963"/>
                </a:cubicBezTo>
                <a:close/>
                <a:moveTo>
                  <a:pt x="3151693" y="4922291"/>
                </a:moveTo>
                <a:cubicBezTo>
                  <a:pt x="3149758" y="4924227"/>
                  <a:pt x="3147825" y="4924227"/>
                  <a:pt x="3145892" y="4926160"/>
                </a:cubicBezTo>
                <a:cubicBezTo>
                  <a:pt x="3145892" y="4926160"/>
                  <a:pt x="3147825" y="4928095"/>
                  <a:pt x="3147825" y="4928095"/>
                </a:cubicBezTo>
                <a:cubicBezTo>
                  <a:pt x="3147825" y="4928095"/>
                  <a:pt x="3149758" y="4926160"/>
                  <a:pt x="3149758" y="4926160"/>
                </a:cubicBezTo>
                <a:cubicBezTo>
                  <a:pt x="3149758" y="4924227"/>
                  <a:pt x="3149758" y="4924227"/>
                  <a:pt x="3151693" y="4922291"/>
                </a:cubicBezTo>
                <a:close/>
                <a:moveTo>
                  <a:pt x="1720458" y="4875875"/>
                </a:moveTo>
                <a:cubicBezTo>
                  <a:pt x="1718523" y="4877808"/>
                  <a:pt x="1716590" y="4877808"/>
                  <a:pt x="1714654" y="4879743"/>
                </a:cubicBezTo>
                <a:cubicBezTo>
                  <a:pt x="1716590" y="4879743"/>
                  <a:pt x="1716590" y="4881676"/>
                  <a:pt x="1716590" y="4881676"/>
                </a:cubicBezTo>
                <a:cubicBezTo>
                  <a:pt x="1720458" y="4881676"/>
                  <a:pt x="1722391" y="4879743"/>
                  <a:pt x="1722391" y="4877808"/>
                </a:cubicBezTo>
                <a:cubicBezTo>
                  <a:pt x="1720458" y="4877808"/>
                  <a:pt x="1720458" y="4875875"/>
                  <a:pt x="1720458" y="4875875"/>
                </a:cubicBezTo>
                <a:close/>
                <a:moveTo>
                  <a:pt x="1142160" y="4850730"/>
                </a:moveTo>
                <a:cubicBezTo>
                  <a:pt x="1136359" y="4852665"/>
                  <a:pt x="1130557" y="4852665"/>
                  <a:pt x="1134426" y="4860402"/>
                </a:cubicBezTo>
                <a:cubicBezTo>
                  <a:pt x="1136359" y="4860402"/>
                  <a:pt x="1138291" y="4860402"/>
                  <a:pt x="1138291" y="4858466"/>
                </a:cubicBezTo>
                <a:cubicBezTo>
                  <a:pt x="1140227" y="4856533"/>
                  <a:pt x="1140227" y="4854598"/>
                  <a:pt x="1142160" y="4852665"/>
                </a:cubicBezTo>
                <a:cubicBezTo>
                  <a:pt x="1142160" y="4852665"/>
                  <a:pt x="1142160" y="4850730"/>
                  <a:pt x="1142160" y="4850730"/>
                </a:cubicBezTo>
                <a:close/>
                <a:moveTo>
                  <a:pt x="1417287" y="4781345"/>
                </a:moveTo>
                <a:cubicBezTo>
                  <a:pt x="1414386" y="4783037"/>
                  <a:pt x="1411969" y="4785938"/>
                  <a:pt x="1409067" y="4786905"/>
                </a:cubicBezTo>
                <a:cubicBezTo>
                  <a:pt x="1403263" y="4788840"/>
                  <a:pt x="1401330" y="4792708"/>
                  <a:pt x="1405199" y="4798510"/>
                </a:cubicBezTo>
                <a:cubicBezTo>
                  <a:pt x="1412935" y="4792708"/>
                  <a:pt x="1420672" y="4788840"/>
                  <a:pt x="1428408" y="4783037"/>
                </a:cubicBezTo>
                <a:cubicBezTo>
                  <a:pt x="1423572" y="4779168"/>
                  <a:pt x="1420188" y="4779652"/>
                  <a:pt x="1417287" y="4781345"/>
                </a:cubicBezTo>
                <a:close/>
                <a:moveTo>
                  <a:pt x="1449682" y="4765631"/>
                </a:moveTo>
                <a:cubicBezTo>
                  <a:pt x="1445814" y="4767564"/>
                  <a:pt x="1441946" y="4769499"/>
                  <a:pt x="1438078" y="4771432"/>
                </a:cubicBezTo>
                <a:cubicBezTo>
                  <a:pt x="1440013" y="4771432"/>
                  <a:pt x="1440013" y="4773367"/>
                  <a:pt x="1440013" y="4773367"/>
                </a:cubicBezTo>
                <a:cubicBezTo>
                  <a:pt x="1441946" y="4771432"/>
                  <a:pt x="1443881" y="4771432"/>
                  <a:pt x="1445814" y="4769499"/>
                </a:cubicBezTo>
                <a:cubicBezTo>
                  <a:pt x="1447749" y="4767564"/>
                  <a:pt x="1447749" y="4767564"/>
                  <a:pt x="1449682" y="4765631"/>
                </a:cubicBezTo>
                <a:close/>
                <a:moveTo>
                  <a:pt x="1507706" y="4734685"/>
                </a:moveTo>
                <a:cubicBezTo>
                  <a:pt x="1498037" y="4738553"/>
                  <a:pt x="1490298" y="4742421"/>
                  <a:pt x="1480628" y="4746289"/>
                </a:cubicBezTo>
                <a:cubicBezTo>
                  <a:pt x="1482564" y="4746289"/>
                  <a:pt x="1482564" y="4746289"/>
                  <a:pt x="1482564" y="4746289"/>
                </a:cubicBezTo>
                <a:cubicBezTo>
                  <a:pt x="1480628" y="4752091"/>
                  <a:pt x="1474827" y="4752091"/>
                  <a:pt x="1470957" y="4752091"/>
                </a:cubicBezTo>
                <a:cubicBezTo>
                  <a:pt x="1470957" y="4752091"/>
                  <a:pt x="1469024" y="4754026"/>
                  <a:pt x="1467088" y="4754026"/>
                </a:cubicBezTo>
                <a:cubicBezTo>
                  <a:pt x="1469024" y="4759827"/>
                  <a:pt x="1465155" y="4763695"/>
                  <a:pt x="1461287" y="4765631"/>
                </a:cubicBezTo>
                <a:cubicBezTo>
                  <a:pt x="1455486" y="4769499"/>
                  <a:pt x="1447749" y="4775300"/>
                  <a:pt x="1441946" y="4779168"/>
                </a:cubicBezTo>
                <a:cubicBezTo>
                  <a:pt x="1420672" y="4794641"/>
                  <a:pt x="1397462" y="4808181"/>
                  <a:pt x="1378121" y="4825587"/>
                </a:cubicBezTo>
                <a:cubicBezTo>
                  <a:pt x="1383922" y="4823652"/>
                  <a:pt x="1391661" y="4821719"/>
                  <a:pt x="1397462" y="4817851"/>
                </a:cubicBezTo>
                <a:cubicBezTo>
                  <a:pt x="1409067" y="4812050"/>
                  <a:pt x="1418736" y="4798510"/>
                  <a:pt x="1432276" y="4796574"/>
                </a:cubicBezTo>
                <a:cubicBezTo>
                  <a:pt x="1434209" y="4796574"/>
                  <a:pt x="1434209" y="4794641"/>
                  <a:pt x="1436145" y="4794641"/>
                </a:cubicBezTo>
                <a:cubicBezTo>
                  <a:pt x="1440013" y="4790773"/>
                  <a:pt x="1443881" y="4786905"/>
                  <a:pt x="1449682" y="4783037"/>
                </a:cubicBezTo>
                <a:cubicBezTo>
                  <a:pt x="1465155" y="4771432"/>
                  <a:pt x="1482564" y="4757894"/>
                  <a:pt x="1499970" y="4746289"/>
                </a:cubicBezTo>
                <a:cubicBezTo>
                  <a:pt x="1505771" y="4742421"/>
                  <a:pt x="1509639" y="4738553"/>
                  <a:pt x="1511574" y="4734685"/>
                </a:cubicBezTo>
                <a:cubicBezTo>
                  <a:pt x="1509639" y="4734685"/>
                  <a:pt x="1509639" y="4734685"/>
                  <a:pt x="1507706" y="4734685"/>
                </a:cubicBezTo>
                <a:close/>
                <a:moveTo>
                  <a:pt x="1681775" y="4725015"/>
                </a:moveTo>
                <a:cubicBezTo>
                  <a:pt x="1683708" y="4725015"/>
                  <a:pt x="1683708" y="4726948"/>
                  <a:pt x="1683708" y="4732749"/>
                </a:cubicBezTo>
                <a:cubicBezTo>
                  <a:pt x="1683708" y="4728881"/>
                  <a:pt x="1683708" y="4726948"/>
                  <a:pt x="1683708" y="4725015"/>
                </a:cubicBezTo>
                <a:cubicBezTo>
                  <a:pt x="1683708" y="4725015"/>
                  <a:pt x="1681775" y="4725015"/>
                  <a:pt x="1681775" y="4725015"/>
                </a:cubicBezTo>
                <a:close/>
                <a:moveTo>
                  <a:pt x="1573464" y="4707607"/>
                </a:moveTo>
                <a:cubicBezTo>
                  <a:pt x="1569598" y="4707607"/>
                  <a:pt x="1567663" y="4709540"/>
                  <a:pt x="1565730" y="4709540"/>
                </a:cubicBezTo>
                <a:cubicBezTo>
                  <a:pt x="1565730" y="4711475"/>
                  <a:pt x="1563795" y="4711475"/>
                  <a:pt x="1563795" y="4711475"/>
                </a:cubicBezTo>
                <a:cubicBezTo>
                  <a:pt x="1561862" y="4713408"/>
                  <a:pt x="1561862" y="4713408"/>
                  <a:pt x="1559926" y="4715343"/>
                </a:cubicBezTo>
                <a:cubicBezTo>
                  <a:pt x="1559926" y="4717276"/>
                  <a:pt x="1561862" y="4717276"/>
                  <a:pt x="1561862" y="4719212"/>
                </a:cubicBezTo>
                <a:cubicBezTo>
                  <a:pt x="1567663" y="4721147"/>
                  <a:pt x="1571531" y="4715343"/>
                  <a:pt x="1573464" y="4707607"/>
                </a:cubicBezTo>
                <a:close/>
                <a:moveTo>
                  <a:pt x="1120886" y="4597363"/>
                </a:moveTo>
                <a:cubicBezTo>
                  <a:pt x="1120886" y="4599298"/>
                  <a:pt x="1120886" y="4603164"/>
                  <a:pt x="1120886" y="4605099"/>
                </a:cubicBezTo>
                <a:cubicBezTo>
                  <a:pt x="1120886" y="4608967"/>
                  <a:pt x="1122818" y="4612836"/>
                  <a:pt x="1126687" y="4610903"/>
                </a:cubicBezTo>
                <a:cubicBezTo>
                  <a:pt x="1128622" y="4608967"/>
                  <a:pt x="1130557" y="4607032"/>
                  <a:pt x="1132490" y="4605099"/>
                </a:cubicBezTo>
                <a:cubicBezTo>
                  <a:pt x="1128622" y="4601231"/>
                  <a:pt x="1124754" y="4599298"/>
                  <a:pt x="1120886" y="4597363"/>
                </a:cubicBezTo>
                <a:close/>
                <a:moveTo>
                  <a:pt x="1411002" y="4523868"/>
                </a:moveTo>
                <a:cubicBezTo>
                  <a:pt x="1409067" y="4525801"/>
                  <a:pt x="1409067" y="4527736"/>
                  <a:pt x="1407132" y="4529669"/>
                </a:cubicBezTo>
                <a:cubicBezTo>
                  <a:pt x="1409067" y="4527736"/>
                  <a:pt x="1411002" y="4525801"/>
                  <a:pt x="1411002" y="4525801"/>
                </a:cubicBezTo>
                <a:cubicBezTo>
                  <a:pt x="1411002" y="4523868"/>
                  <a:pt x="1411002" y="4523868"/>
                  <a:pt x="1411002" y="4523868"/>
                </a:cubicBezTo>
                <a:close/>
                <a:moveTo>
                  <a:pt x="1190514" y="4519997"/>
                </a:moveTo>
                <a:cubicBezTo>
                  <a:pt x="1188579" y="4518065"/>
                  <a:pt x="1184711" y="4519997"/>
                  <a:pt x="1182778" y="4523868"/>
                </a:cubicBezTo>
                <a:cubicBezTo>
                  <a:pt x="1182778" y="4523868"/>
                  <a:pt x="1180842" y="4525801"/>
                  <a:pt x="1180842" y="4527736"/>
                </a:cubicBezTo>
                <a:cubicBezTo>
                  <a:pt x="1184711" y="4523868"/>
                  <a:pt x="1188579" y="4521933"/>
                  <a:pt x="1190514" y="4519997"/>
                </a:cubicBezTo>
                <a:close/>
                <a:moveTo>
                  <a:pt x="1385857" y="4500659"/>
                </a:moveTo>
                <a:cubicBezTo>
                  <a:pt x="1385857" y="4502592"/>
                  <a:pt x="1385857" y="4502592"/>
                  <a:pt x="1385857" y="4504527"/>
                </a:cubicBezTo>
                <a:cubicBezTo>
                  <a:pt x="1387793" y="4502592"/>
                  <a:pt x="1387793" y="4502592"/>
                  <a:pt x="1389726" y="4502592"/>
                </a:cubicBezTo>
                <a:cubicBezTo>
                  <a:pt x="1389726" y="4500659"/>
                  <a:pt x="1389726" y="4500659"/>
                  <a:pt x="1387793" y="4500659"/>
                </a:cubicBezTo>
                <a:cubicBezTo>
                  <a:pt x="1387793" y="4500659"/>
                  <a:pt x="1385857" y="4500659"/>
                  <a:pt x="1385857" y="4500659"/>
                </a:cubicBezTo>
                <a:close/>
                <a:moveTo>
                  <a:pt x="1407132" y="4477449"/>
                </a:moveTo>
                <a:cubicBezTo>
                  <a:pt x="1405199" y="4479382"/>
                  <a:pt x="1403263" y="4479382"/>
                  <a:pt x="1401330" y="4481317"/>
                </a:cubicBezTo>
                <a:cubicBezTo>
                  <a:pt x="1401330" y="4483250"/>
                  <a:pt x="1401330" y="4485186"/>
                  <a:pt x="1397462" y="4485186"/>
                </a:cubicBezTo>
                <a:cubicBezTo>
                  <a:pt x="1401330" y="4490987"/>
                  <a:pt x="1405199" y="4487118"/>
                  <a:pt x="1405199" y="4485186"/>
                </a:cubicBezTo>
                <a:cubicBezTo>
                  <a:pt x="1407132" y="4483250"/>
                  <a:pt x="1407132" y="4481317"/>
                  <a:pt x="1407132" y="4477449"/>
                </a:cubicBezTo>
                <a:close/>
                <a:moveTo>
                  <a:pt x="1411002" y="4450371"/>
                </a:moveTo>
                <a:cubicBezTo>
                  <a:pt x="1387793" y="4465844"/>
                  <a:pt x="1366516" y="4483250"/>
                  <a:pt x="1345242" y="4500659"/>
                </a:cubicBezTo>
                <a:cubicBezTo>
                  <a:pt x="1351043" y="4498723"/>
                  <a:pt x="1351043" y="4502592"/>
                  <a:pt x="1351043" y="4506460"/>
                </a:cubicBezTo>
                <a:cubicBezTo>
                  <a:pt x="1351043" y="4508395"/>
                  <a:pt x="1351043" y="4508395"/>
                  <a:pt x="1351043" y="4510328"/>
                </a:cubicBezTo>
                <a:cubicBezTo>
                  <a:pt x="1351043" y="4510328"/>
                  <a:pt x="1351043" y="4510328"/>
                  <a:pt x="1352978" y="4510328"/>
                </a:cubicBezTo>
                <a:cubicBezTo>
                  <a:pt x="1360713" y="4510328"/>
                  <a:pt x="1364583" y="4506460"/>
                  <a:pt x="1368451" y="4500659"/>
                </a:cubicBezTo>
                <a:cubicBezTo>
                  <a:pt x="1372320" y="4496790"/>
                  <a:pt x="1376188" y="4494855"/>
                  <a:pt x="1381989" y="4494855"/>
                </a:cubicBezTo>
                <a:cubicBezTo>
                  <a:pt x="1387793" y="4492922"/>
                  <a:pt x="1387793" y="4485186"/>
                  <a:pt x="1391661" y="4481317"/>
                </a:cubicBezTo>
                <a:cubicBezTo>
                  <a:pt x="1393594" y="4479382"/>
                  <a:pt x="1393594" y="4479382"/>
                  <a:pt x="1395529" y="4477449"/>
                </a:cubicBezTo>
                <a:cubicBezTo>
                  <a:pt x="1397462" y="4475514"/>
                  <a:pt x="1397462" y="4471645"/>
                  <a:pt x="1399395" y="4469713"/>
                </a:cubicBezTo>
                <a:cubicBezTo>
                  <a:pt x="1401330" y="4469713"/>
                  <a:pt x="1401330" y="4471645"/>
                  <a:pt x="1401330" y="4471645"/>
                </a:cubicBezTo>
                <a:cubicBezTo>
                  <a:pt x="1401330" y="4469713"/>
                  <a:pt x="1403263" y="4465844"/>
                  <a:pt x="1403263" y="4461976"/>
                </a:cubicBezTo>
                <a:cubicBezTo>
                  <a:pt x="1409067" y="4460041"/>
                  <a:pt x="1409067" y="4454239"/>
                  <a:pt x="1411002" y="4450371"/>
                </a:cubicBezTo>
                <a:close/>
                <a:moveTo>
                  <a:pt x="1499970" y="4394283"/>
                </a:moveTo>
                <a:cubicBezTo>
                  <a:pt x="1492233" y="4398151"/>
                  <a:pt x="1486430" y="4402019"/>
                  <a:pt x="1484497" y="4411689"/>
                </a:cubicBezTo>
                <a:cubicBezTo>
                  <a:pt x="1488365" y="4405887"/>
                  <a:pt x="1499970" y="4405887"/>
                  <a:pt x="1499970" y="4394283"/>
                </a:cubicBezTo>
                <a:close/>
                <a:moveTo>
                  <a:pt x="1471440" y="4375907"/>
                </a:moveTo>
                <a:cubicBezTo>
                  <a:pt x="1470473" y="4376874"/>
                  <a:pt x="1469990" y="4378808"/>
                  <a:pt x="1469024" y="4380743"/>
                </a:cubicBezTo>
                <a:cubicBezTo>
                  <a:pt x="1470957" y="4378810"/>
                  <a:pt x="1474827" y="4378810"/>
                  <a:pt x="1476760" y="4376874"/>
                </a:cubicBezTo>
                <a:cubicBezTo>
                  <a:pt x="1473858" y="4374940"/>
                  <a:pt x="1472408" y="4374940"/>
                  <a:pt x="1471440" y="4375907"/>
                </a:cubicBezTo>
                <a:close/>
                <a:moveTo>
                  <a:pt x="1528980" y="4342062"/>
                </a:moveTo>
                <a:cubicBezTo>
                  <a:pt x="1523179" y="4343995"/>
                  <a:pt x="1517376" y="4345928"/>
                  <a:pt x="1513507" y="4351732"/>
                </a:cubicBezTo>
                <a:cubicBezTo>
                  <a:pt x="1515443" y="4349797"/>
                  <a:pt x="1519311" y="4347864"/>
                  <a:pt x="1523179" y="4345928"/>
                </a:cubicBezTo>
                <a:cubicBezTo>
                  <a:pt x="1525112" y="4345928"/>
                  <a:pt x="1527048" y="4343995"/>
                  <a:pt x="1528980" y="4342062"/>
                </a:cubicBezTo>
                <a:close/>
                <a:moveTo>
                  <a:pt x="1917736" y="4291775"/>
                </a:moveTo>
                <a:cubicBezTo>
                  <a:pt x="1917736" y="4293708"/>
                  <a:pt x="1919669" y="4293708"/>
                  <a:pt x="1919669" y="4293708"/>
                </a:cubicBezTo>
                <a:cubicBezTo>
                  <a:pt x="1921602" y="4291775"/>
                  <a:pt x="1919669" y="4291775"/>
                  <a:pt x="1921602" y="4291775"/>
                </a:cubicBezTo>
                <a:cubicBezTo>
                  <a:pt x="1919669" y="4291775"/>
                  <a:pt x="1919669" y="4291775"/>
                  <a:pt x="1917736" y="4291775"/>
                </a:cubicBezTo>
                <a:close/>
                <a:moveTo>
                  <a:pt x="1944812" y="4282103"/>
                </a:moveTo>
                <a:cubicBezTo>
                  <a:pt x="1944812" y="4284039"/>
                  <a:pt x="1942879" y="4285972"/>
                  <a:pt x="1942879" y="4287907"/>
                </a:cubicBezTo>
                <a:cubicBezTo>
                  <a:pt x="1942879" y="4285972"/>
                  <a:pt x="1944812" y="4284039"/>
                  <a:pt x="1946747" y="4282103"/>
                </a:cubicBezTo>
                <a:cubicBezTo>
                  <a:pt x="1946747" y="4282103"/>
                  <a:pt x="1944812" y="4282103"/>
                  <a:pt x="1944812" y="4282103"/>
                </a:cubicBezTo>
                <a:close/>
                <a:moveTo>
                  <a:pt x="4849836" y="4179598"/>
                </a:moveTo>
                <a:cubicBezTo>
                  <a:pt x="4847900" y="4179598"/>
                  <a:pt x="4844032" y="4179598"/>
                  <a:pt x="4836296" y="4181531"/>
                </a:cubicBezTo>
                <a:cubicBezTo>
                  <a:pt x="4840164" y="4183464"/>
                  <a:pt x="4842097" y="4183464"/>
                  <a:pt x="4844032" y="4183464"/>
                </a:cubicBezTo>
                <a:cubicBezTo>
                  <a:pt x="4844032" y="4183464"/>
                  <a:pt x="4844032" y="4185399"/>
                  <a:pt x="4844032" y="4185399"/>
                </a:cubicBezTo>
                <a:cubicBezTo>
                  <a:pt x="4847900" y="4183464"/>
                  <a:pt x="4851769" y="4181531"/>
                  <a:pt x="4855637" y="4181531"/>
                </a:cubicBezTo>
                <a:cubicBezTo>
                  <a:pt x="4853704" y="4181531"/>
                  <a:pt x="4851769" y="4179598"/>
                  <a:pt x="4849836" y="4179598"/>
                </a:cubicBezTo>
                <a:close/>
                <a:moveTo>
                  <a:pt x="4874978" y="4148652"/>
                </a:moveTo>
                <a:cubicBezTo>
                  <a:pt x="4869175" y="4152518"/>
                  <a:pt x="4863373" y="4154453"/>
                  <a:pt x="4857572" y="4156388"/>
                </a:cubicBezTo>
                <a:cubicBezTo>
                  <a:pt x="4855637" y="4156388"/>
                  <a:pt x="4855637" y="4158321"/>
                  <a:pt x="4855637" y="4158321"/>
                </a:cubicBezTo>
                <a:cubicBezTo>
                  <a:pt x="4855637" y="4162190"/>
                  <a:pt x="4855637" y="4164123"/>
                  <a:pt x="4855637" y="4169926"/>
                </a:cubicBezTo>
                <a:cubicBezTo>
                  <a:pt x="4859505" y="4167993"/>
                  <a:pt x="4865306" y="4166058"/>
                  <a:pt x="4865306" y="4164123"/>
                </a:cubicBezTo>
                <a:cubicBezTo>
                  <a:pt x="4865306" y="4158321"/>
                  <a:pt x="4869175" y="4156388"/>
                  <a:pt x="4873045" y="4156388"/>
                </a:cubicBezTo>
                <a:cubicBezTo>
                  <a:pt x="4874978" y="4156388"/>
                  <a:pt x="4876913" y="4156388"/>
                  <a:pt x="4876913" y="4156388"/>
                </a:cubicBezTo>
                <a:cubicBezTo>
                  <a:pt x="4876913" y="4156388"/>
                  <a:pt x="4878846" y="4154453"/>
                  <a:pt x="4878846" y="4154453"/>
                </a:cubicBezTo>
                <a:cubicBezTo>
                  <a:pt x="4876913" y="4154453"/>
                  <a:pt x="4873045" y="4154453"/>
                  <a:pt x="4871110" y="4152518"/>
                </a:cubicBezTo>
                <a:cubicBezTo>
                  <a:pt x="4874978" y="4150585"/>
                  <a:pt x="4876913" y="4150585"/>
                  <a:pt x="4878846" y="4148652"/>
                </a:cubicBezTo>
                <a:cubicBezTo>
                  <a:pt x="4878846" y="4148652"/>
                  <a:pt x="4876913" y="4148652"/>
                  <a:pt x="4874978" y="4148652"/>
                </a:cubicBezTo>
                <a:close/>
                <a:moveTo>
                  <a:pt x="5246050" y="4117154"/>
                </a:moveTo>
                <a:lnTo>
                  <a:pt x="5248259" y="4121574"/>
                </a:lnTo>
                <a:cubicBezTo>
                  <a:pt x="5246326" y="4123507"/>
                  <a:pt x="5242458" y="4121574"/>
                  <a:pt x="5242458" y="4119639"/>
                </a:cubicBezTo>
                <a:lnTo>
                  <a:pt x="5242458" y="4118672"/>
                </a:lnTo>
                <a:lnTo>
                  <a:pt x="5244393" y="4117706"/>
                </a:lnTo>
                <a:close/>
                <a:moveTo>
                  <a:pt x="5273404" y="4113838"/>
                </a:moveTo>
                <a:cubicBezTo>
                  <a:pt x="5271468" y="4113838"/>
                  <a:pt x="5269535" y="4113838"/>
                  <a:pt x="5269535" y="4115770"/>
                </a:cubicBezTo>
                <a:cubicBezTo>
                  <a:pt x="5271468" y="4113838"/>
                  <a:pt x="5273404" y="4113838"/>
                  <a:pt x="5275337" y="4113838"/>
                </a:cubicBezTo>
                <a:cubicBezTo>
                  <a:pt x="5275337" y="4113838"/>
                  <a:pt x="5273404" y="4113838"/>
                  <a:pt x="5273404" y="4113838"/>
                </a:cubicBezTo>
                <a:close/>
                <a:moveTo>
                  <a:pt x="5310151" y="4090628"/>
                </a:moveTo>
                <a:cubicBezTo>
                  <a:pt x="5306283" y="4092561"/>
                  <a:pt x="5300479" y="4094496"/>
                  <a:pt x="5296611" y="4096429"/>
                </a:cubicBezTo>
                <a:cubicBezTo>
                  <a:pt x="5302414" y="4100297"/>
                  <a:pt x="5306283" y="4098365"/>
                  <a:pt x="5310151" y="4090628"/>
                </a:cubicBezTo>
                <a:close/>
                <a:moveTo>
                  <a:pt x="5343030" y="4080959"/>
                </a:moveTo>
                <a:cubicBezTo>
                  <a:pt x="5339162" y="4082891"/>
                  <a:pt x="5335293" y="4082891"/>
                  <a:pt x="5331427" y="4084824"/>
                </a:cubicBezTo>
                <a:cubicBezTo>
                  <a:pt x="5331427" y="4084824"/>
                  <a:pt x="5331427" y="4086760"/>
                  <a:pt x="5331427" y="4086760"/>
                </a:cubicBezTo>
                <a:cubicBezTo>
                  <a:pt x="5331427" y="4088693"/>
                  <a:pt x="5327559" y="4088693"/>
                  <a:pt x="5329492" y="4090628"/>
                </a:cubicBezTo>
                <a:cubicBezTo>
                  <a:pt x="5335293" y="4088693"/>
                  <a:pt x="5343030" y="4086760"/>
                  <a:pt x="5348833" y="4084824"/>
                </a:cubicBezTo>
                <a:cubicBezTo>
                  <a:pt x="5348833" y="4084824"/>
                  <a:pt x="5348833" y="4084824"/>
                  <a:pt x="5348833" y="4082891"/>
                </a:cubicBezTo>
                <a:cubicBezTo>
                  <a:pt x="5346898" y="4082891"/>
                  <a:pt x="5346898" y="4082891"/>
                  <a:pt x="5346898" y="4082891"/>
                </a:cubicBezTo>
                <a:cubicBezTo>
                  <a:pt x="5344965" y="4082891"/>
                  <a:pt x="5344965" y="4080959"/>
                  <a:pt x="5344965" y="4080959"/>
                </a:cubicBezTo>
                <a:cubicBezTo>
                  <a:pt x="5344965" y="4080959"/>
                  <a:pt x="5343030" y="4080959"/>
                  <a:pt x="5343030" y="4080959"/>
                </a:cubicBezTo>
                <a:close/>
                <a:moveTo>
                  <a:pt x="5174764" y="4079023"/>
                </a:moveTo>
                <a:cubicBezTo>
                  <a:pt x="5165093" y="4079023"/>
                  <a:pt x="5155423" y="4086760"/>
                  <a:pt x="5145751" y="4082891"/>
                </a:cubicBezTo>
                <a:cubicBezTo>
                  <a:pt x="5128345" y="4084824"/>
                  <a:pt x="5109004" y="4088693"/>
                  <a:pt x="5091598" y="4092561"/>
                </a:cubicBezTo>
                <a:cubicBezTo>
                  <a:pt x="5089663" y="4094496"/>
                  <a:pt x="5089663" y="4092561"/>
                  <a:pt x="5087730" y="4090628"/>
                </a:cubicBezTo>
                <a:cubicBezTo>
                  <a:pt x="5089663" y="4090628"/>
                  <a:pt x="5089663" y="4088693"/>
                  <a:pt x="5091598" y="4088693"/>
                </a:cubicBezTo>
                <a:cubicBezTo>
                  <a:pt x="5091598" y="4086760"/>
                  <a:pt x="5091598" y="4086760"/>
                  <a:pt x="5091598" y="4086760"/>
                </a:cubicBezTo>
                <a:cubicBezTo>
                  <a:pt x="5076125" y="4088693"/>
                  <a:pt x="5064520" y="4094496"/>
                  <a:pt x="5049047" y="4094496"/>
                </a:cubicBezTo>
                <a:cubicBezTo>
                  <a:pt x="5049047" y="4096429"/>
                  <a:pt x="5049047" y="4098365"/>
                  <a:pt x="5050983" y="4100297"/>
                </a:cubicBezTo>
                <a:cubicBezTo>
                  <a:pt x="5045179" y="4102233"/>
                  <a:pt x="5037442" y="4102233"/>
                  <a:pt x="5031641" y="4104166"/>
                </a:cubicBezTo>
                <a:cubicBezTo>
                  <a:pt x="5023905" y="4106101"/>
                  <a:pt x="5018101" y="4106101"/>
                  <a:pt x="5012300" y="4108034"/>
                </a:cubicBezTo>
                <a:cubicBezTo>
                  <a:pt x="5004564" y="4109969"/>
                  <a:pt x="4998760" y="4109969"/>
                  <a:pt x="4991023" y="4111902"/>
                </a:cubicBezTo>
                <a:cubicBezTo>
                  <a:pt x="4985222" y="4111902"/>
                  <a:pt x="4977486" y="4113838"/>
                  <a:pt x="4971682" y="4115770"/>
                </a:cubicBezTo>
                <a:cubicBezTo>
                  <a:pt x="4963948" y="4115770"/>
                  <a:pt x="4958144" y="4117706"/>
                  <a:pt x="4952341" y="4119639"/>
                </a:cubicBezTo>
                <a:cubicBezTo>
                  <a:pt x="4946540" y="4121574"/>
                  <a:pt x="4936870" y="4119639"/>
                  <a:pt x="4933000" y="4127375"/>
                </a:cubicBezTo>
                <a:cubicBezTo>
                  <a:pt x="4934935" y="4127375"/>
                  <a:pt x="4936870" y="4127375"/>
                  <a:pt x="4938803" y="4127375"/>
                </a:cubicBezTo>
                <a:cubicBezTo>
                  <a:pt x="4967814" y="4121574"/>
                  <a:pt x="4996827" y="4115770"/>
                  <a:pt x="5025838" y="4109969"/>
                </a:cubicBezTo>
                <a:cubicBezTo>
                  <a:pt x="5035507" y="4108034"/>
                  <a:pt x="5045179" y="4106101"/>
                  <a:pt x="5054848" y="4104166"/>
                </a:cubicBezTo>
                <a:cubicBezTo>
                  <a:pt x="5056784" y="4104166"/>
                  <a:pt x="5058717" y="4104166"/>
                  <a:pt x="5062585" y="4106101"/>
                </a:cubicBezTo>
                <a:cubicBezTo>
                  <a:pt x="5058717" y="4108034"/>
                  <a:pt x="5056784" y="4109969"/>
                  <a:pt x="5054848" y="4109969"/>
                </a:cubicBezTo>
                <a:cubicBezTo>
                  <a:pt x="5043244" y="4111902"/>
                  <a:pt x="5033574" y="4115770"/>
                  <a:pt x="5021969" y="4117706"/>
                </a:cubicBezTo>
                <a:cubicBezTo>
                  <a:pt x="5010365" y="4119639"/>
                  <a:pt x="4998760" y="4119639"/>
                  <a:pt x="4987155" y="4123507"/>
                </a:cubicBezTo>
                <a:cubicBezTo>
                  <a:pt x="4965881" y="4129311"/>
                  <a:pt x="4942671" y="4135112"/>
                  <a:pt x="4919462" y="4137047"/>
                </a:cubicBezTo>
                <a:cubicBezTo>
                  <a:pt x="4909792" y="4138980"/>
                  <a:pt x="4902056" y="4140915"/>
                  <a:pt x="4892384" y="4142848"/>
                </a:cubicBezTo>
                <a:cubicBezTo>
                  <a:pt x="4892384" y="4144784"/>
                  <a:pt x="4892384" y="4144784"/>
                  <a:pt x="4892384" y="4144784"/>
                </a:cubicBezTo>
                <a:cubicBezTo>
                  <a:pt x="4892384" y="4146717"/>
                  <a:pt x="4890451" y="4148652"/>
                  <a:pt x="4890451" y="4148652"/>
                </a:cubicBezTo>
                <a:cubicBezTo>
                  <a:pt x="4890451" y="4148652"/>
                  <a:pt x="4890451" y="4150585"/>
                  <a:pt x="4890451" y="4150585"/>
                </a:cubicBezTo>
                <a:cubicBezTo>
                  <a:pt x="4894319" y="4150585"/>
                  <a:pt x="4898188" y="4150585"/>
                  <a:pt x="4902056" y="4150585"/>
                </a:cubicBezTo>
                <a:cubicBezTo>
                  <a:pt x="4902056" y="4150585"/>
                  <a:pt x="4902056" y="4152518"/>
                  <a:pt x="4902056" y="4152518"/>
                </a:cubicBezTo>
                <a:cubicBezTo>
                  <a:pt x="4894319" y="4156388"/>
                  <a:pt x="4886583" y="4158321"/>
                  <a:pt x="4878846" y="4160257"/>
                </a:cubicBezTo>
                <a:cubicBezTo>
                  <a:pt x="4892384" y="4158321"/>
                  <a:pt x="4907857" y="4154453"/>
                  <a:pt x="4921397" y="4152518"/>
                </a:cubicBezTo>
                <a:cubicBezTo>
                  <a:pt x="4927198" y="4150585"/>
                  <a:pt x="4934935" y="4146717"/>
                  <a:pt x="4942671" y="4148652"/>
                </a:cubicBezTo>
                <a:cubicBezTo>
                  <a:pt x="4944607" y="4148652"/>
                  <a:pt x="4944607" y="4148652"/>
                  <a:pt x="4944607" y="4148652"/>
                </a:cubicBezTo>
                <a:cubicBezTo>
                  <a:pt x="4963948" y="4135112"/>
                  <a:pt x="4987155" y="4140915"/>
                  <a:pt x="5004564" y="4129311"/>
                </a:cubicBezTo>
                <a:cubicBezTo>
                  <a:pt x="5008432" y="4125442"/>
                  <a:pt x="5014233" y="4125442"/>
                  <a:pt x="5020037" y="4127375"/>
                </a:cubicBezTo>
                <a:cubicBezTo>
                  <a:pt x="5020037" y="4129311"/>
                  <a:pt x="5020037" y="4131244"/>
                  <a:pt x="5018101" y="4133179"/>
                </a:cubicBezTo>
                <a:cubicBezTo>
                  <a:pt x="5020037" y="4133179"/>
                  <a:pt x="5021969" y="4133179"/>
                  <a:pt x="5023905" y="4133179"/>
                </a:cubicBezTo>
                <a:cubicBezTo>
                  <a:pt x="5027773" y="4131244"/>
                  <a:pt x="5033574" y="4131244"/>
                  <a:pt x="5037442" y="4131244"/>
                </a:cubicBezTo>
                <a:cubicBezTo>
                  <a:pt x="5039375" y="4131244"/>
                  <a:pt x="5041311" y="4129311"/>
                  <a:pt x="5043244" y="4127375"/>
                </a:cubicBezTo>
                <a:cubicBezTo>
                  <a:pt x="5043244" y="4125442"/>
                  <a:pt x="5041311" y="4123507"/>
                  <a:pt x="5039375" y="4121574"/>
                </a:cubicBezTo>
                <a:cubicBezTo>
                  <a:pt x="5041311" y="4121574"/>
                  <a:pt x="5041311" y="4119639"/>
                  <a:pt x="5041311" y="4119639"/>
                </a:cubicBezTo>
                <a:cubicBezTo>
                  <a:pt x="5050983" y="4115770"/>
                  <a:pt x="5060652" y="4113838"/>
                  <a:pt x="5066453" y="4104166"/>
                </a:cubicBezTo>
                <a:cubicBezTo>
                  <a:pt x="5066453" y="4102233"/>
                  <a:pt x="5070324" y="4100297"/>
                  <a:pt x="5074190" y="4100297"/>
                </a:cubicBezTo>
                <a:cubicBezTo>
                  <a:pt x="5081926" y="4098365"/>
                  <a:pt x="5087730" y="4096429"/>
                  <a:pt x="5093531" y="4096429"/>
                </a:cubicBezTo>
                <a:cubicBezTo>
                  <a:pt x="5110939" y="4092561"/>
                  <a:pt x="5130281" y="4088693"/>
                  <a:pt x="5147687" y="4086760"/>
                </a:cubicBezTo>
                <a:cubicBezTo>
                  <a:pt x="5155423" y="4086760"/>
                  <a:pt x="5165093" y="4084824"/>
                  <a:pt x="5176697" y="4079023"/>
                </a:cubicBezTo>
                <a:cubicBezTo>
                  <a:pt x="5176697" y="4079023"/>
                  <a:pt x="5174764" y="4079023"/>
                  <a:pt x="5174764" y="4079023"/>
                </a:cubicBezTo>
                <a:close/>
                <a:moveTo>
                  <a:pt x="5385581" y="4077088"/>
                </a:moveTo>
                <a:cubicBezTo>
                  <a:pt x="5377844" y="4073222"/>
                  <a:pt x="5373976" y="4080959"/>
                  <a:pt x="5368175" y="4080959"/>
                </a:cubicBezTo>
                <a:cubicBezTo>
                  <a:pt x="5372043" y="4080959"/>
                  <a:pt x="5377844" y="4082891"/>
                  <a:pt x="5385581" y="4077088"/>
                </a:cubicBezTo>
                <a:close/>
                <a:moveTo>
                  <a:pt x="5472615" y="4075155"/>
                </a:moveTo>
                <a:cubicBezTo>
                  <a:pt x="5474551" y="4075155"/>
                  <a:pt x="5476483" y="4075155"/>
                  <a:pt x="5476483" y="4075155"/>
                </a:cubicBezTo>
                <a:cubicBezTo>
                  <a:pt x="5476483" y="4075155"/>
                  <a:pt x="5476483" y="4075155"/>
                  <a:pt x="5476483" y="4077088"/>
                </a:cubicBezTo>
                <a:cubicBezTo>
                  <a:pt x="5476483" y="4077088"/>
                  <a:pt x="5474551" y="4077088"/>
                  <a:pt x="5472615" y="4077088"/>
                </a:cubicBezTo>
                <a:cubicBezTo>
                  <a:pt x="5472615" y="4077088"/>
                  <a:pt x="5472615" y="4075155"/>
                  <a:pt x="5472615" y="4075155"/>
                </a:cubicBezTo>
                <a:close/>
                <a:moveTo>
                  <a:pt x="5161224" y="4063550"/>
                </a:moveTo>
                <a:cubicBezTo>
                  <a:pt x="5161224" y="4063550"/>
                  <a:pt x="5161224" y="4065483"/>
                  <a:pt x="5161224" y="4065483"/>
                </a:cubicBezTo>
                <a:cubicBezTo>
                  <a:pt x="5157358" y="4067418"/>
                  <a:pt x="5155423" y="4069354"/>
                  <a:pt x="5151555" y="4071287"/>
                </a:cubicBezTo>
                <a:cubicBezTo>
                  <a:pt x="5147687" y="4067418"/>
                  <a:pt x="5149620" y="4065483"/>
                  <a:pt x="5151555" y="4065483"/>
                </a:cubicBezTo>
                <a:cubicBezTo>
                  <a:pt x="5153488" y="4065483"/>
                  <a:pt x="5157358" y="4063550"/>
                  <a:pt x="5161224" y="4063550"/>
                </a:cubicBezTo>
                <a:close/>
                <a:moveTo>
                  <a:pt x="5217315" y="4061617"/>
                </a:moveTo>
                <a:cubicBezTo>
                  <a:pt x="5215380" y="4061617"/>
                  <a:pt x="5211512" y="4061617"/>
                  <a:pt x="5207643" y="4063550"/>
                </a:cubicBezTo>
                <a:cubicBezTo>
                  <a:pt x="5197974" y="4063550"/>
                  <a:pt x="5188302" y="4065483"/>
                  <a:pt x="5180566" y="4071287"/>
                </a:cubicBezTo>
                <a:cubicBezTo>
                  <a:pt x="5182501" y="4071287"/>
                  <a:pt x="5186369" y="4071287"/>
                  <a:pt x="5188302" y="4071287"/>
                </a:cubicBezTo>
                <a:cubicBezTo>
                  <a:pt x="5192170" y="4071287"/>
                  <a:pt x="5194106" y="4069354"/>
                  <a:pt x="5197974" y="4069354"/>
                </a:cubicBezTo>
                <a:cubicBezTo>
                  <a:pt x="5203775" y="4065483"/>
                  <a:pt x="5211512" y="4063550"/>
                  <a:pt x="5217315" y="4061617"/>
                </a:cubicBezTo>
                <a:close/>
                <a:moveTo>
                  <a:pt x="5267600" y="4050013"/>
                </a:moveTo>
                <a:cubicBezTo>
                  <a:pt x="5259864" y="4051945"/>
                  <a:pt x="5250194" y="4051945"/>
                  <a:pt x="5242458" y="4055814"/>
                </a:cubicBezTo>
                <a:cubicBezTo>
                  <a:pt x="5236654" y="4057749"/>
                  <a:pt x="5232786" y="4059682"/>
                  <a:pt x="5226985" y="4059682"/>
                </a:cubicBezTo>
                <a:cubicBezTo>
                  <a:pt x="5228918" y="4061617"/>
                  <a:pt x="5228918" y="4061617"/>
                  <a:pt x="5226985" y="4063550"/>
                </a:cubicBezTo>
                <a:cubicBezTo>
                  <a:pt x="5236654" y="4061617"/>
                  <a:pt x="5248259" y="4059682"/>
                  <a:pt x="5257931" y="4057749"/>
                </a:cubicBezTo>
                <a:cubicBezTo>
                  <a:pt x="5257931" y="4057749"/>
                  <a:pt x="5259864" y="4057749"/>
                  <a:pt x="5261799" y="4057749"/>
                </a:cubicBezTo>
                <a:cubicBezTo>
                  <a:pt x="5265667" y="4055814"/>
                  <a:pt x="5271468" y="4055814"/>
                  <a:pt x="5275337" y="4053881"/>
                </a:cubicBezTo>
                <a:cubicBezTo>
                  <a:pt x="5279205" y="4051945"/>
                  <a:pt x="5281140" y="4051945"/>
                  <a:pt x="5285008" y="4050013"/>
                </a:cubicBezTo>
                <a:cubicBezTo>
                  <a:pt x="5277270" y="4050013"/>
                  <a:pt x="5271468" y="4048077"/>
                  <a:pt x="5267600" y="4050013"/>
                </a:cubicBezTo>
                <a:close/>
                <a:moveTo>
                  <a:pt x="5534507" y="4048077"/>
                </a:moveTo>
                <a:cubicBezTo>
                  <a:pt x="5534507" y="4048077"/>
                  <a:pt x="5534507" y="4048077"/>
                  <a:pt x="5536440" y="4048077"/>
                </a:cubicBezTo>
                <a:cubicBezTo>
                  <a:pt x="5538376" y="4050013"/>
                  <a:pt x="5540308" y="4050013"/>
                  <a:pt x="5542244" y="4051945"/>
                </a:cubicBezTo>
                <a:cubicBezTo>
                  <a:pt x="5536440" y="4051945"/>
                  <a:pt x="5532572" y="4053881"/>
                  <a:pt x="5528704" y="4053881"/>
                </a:cubicBezTo>
                <a:cubicBezTo>
                  <a:pt x="5530639" y="4051945"/>
                  <a:pt x="5530639" y="4051945"/>
                  <a:pt x="5532572" y="4050013"/>
                </a:cubicBezTo>
                <a:cubicBezTo>
                  <a:pt x="5532572" y="4050013"/>
                  <a:pt x="5534507" y="4050013"/>
                  <a:pt x="5534507" y="4048077"/>
                </a:cubicBezTo>
                <a:close/>
                <a:moveTo>
                  <a:pt x="5449406" y="4048077"/>
                </a:moveTo>
                <a:cubicBezTo>
                  <a:pt x="5441669" y="4050013"/>
                  <a:pt x="5435868" y="4050013"/>
                  <a:pt x="5428131" y="4051945"/>
                </a:cubicBezTo>
                <a:cubicBezTo>
                  <a:pt x="5426196" y="4051945"/>
                  <a:pt x="5422328" y="4053881"/>
                  <a:pt x="5420395" y="4053881"/>
                </a:cubicBezTo>
                <a:cubicBezTo>
                  <a:pt x="5418462" y="4055814"/>
                  <a:pt x="5416527" y="4055814"/>
                  <a:pt x="5414594" y="4057749"/>
                </a:cubicBezTo>
                <a:cubicBezTo>
                  <a:pt x="5426196" y="4055814"/>
                  <a:pt x="5439736" y="4051945"/>
                  <a:pt x="5449406" y="4048077"/>
                </a:cubicBezTo>
                <a:close/>
                <a:moveTo>
                  <a:pt x="5737587" y="4030671"/>
                </a:moveTo>
                <a:cubicBezTo>
                  <a:pt x="5739522" y="4030671"/>
                  <a:pt x="5739522" y="4030671"/>
                  <a:pt x="5741455" y="4032604"/>
                </a:cubicBezTo>
                <a:cubicBezTo>
                  <a:pt x="5739522" y="4034539"/>
                  <a:pt x="5739522" y="4034539"/>
                  <a:pt x="5739522" y="4034539"/>
                </a:cubicBezTo>
                <a:cubicBezTo>
                  <a:pt x="5737587" y="4034539"/>
                  <a:pt x="5737587" y="4032604"/>
                  <a:pt x="5735654" y="4032604"/>
                </a:cubicBezTo>
                <a:cubicBezTo>
                  <a:pt x="5735654" y="4032604"/>
                  <a:pt x="5735654" y="4030671"/>
                  <a:pt x="5737587" y="4030671"/>
                </a:cubicBezTo>
                <a:close/>
                <a:moveTo>
                  <a:pt x="5762732" y="4028736"/>
                </a:moveTo>
                <a:cubicBezTo>
                  <a:pt x="5760797" y="4030671"/>
                  <a:pt x="5760797" y="4032604"/>
                  <a:pt x="5758864" y="4034539"/>
                </a:cubicBezTo>
                <a:cubicBezTo>
                  <a:pt x="5758864" y="4034539"/>
                  <a:pt x="5756928" y="4034539"/>
                  <a:pt x="5756928" y="4034539"/>
                </a:cubicBezTo>
                <a:cubicBezTo>
                  <a:pt x="5753060" y="4032604"/>
                  <a:pt x="5754993" y="4030671"/>
                  <a:pt x="5754993" y="4030671"/>
                </a:cubicBezTo>
                <a:cubicBezTo>
                  <a:pt x="5756928" y="4030671"/>
                  <a:pt x="5758864" y="4028736"/>
                  <a:pt x="5762732" y="4028736"/>
                </a:cubicBezTo>
                <a:close/>
                <a:moveTo>
                  <a:pt x="5535958" y="4025110"/>
                </a:moveTo>
                <a:cubicBezTo>
                  <a:pt x="5531606" y="4025352"/>
                  <a:pt x="5527738" y="4026803"/>
                  <a:pt x="5524838" y="4030671"/>
                </a:cubicBezTo>
                <a:cubicBezTo>
                  <a:pt x="5520967" y="4034539"/>
                  <a:pt x="5513231" y="4034539"/>
                  <a:pt x="5507430" y="4036472"/>
                </a:cubicBezTo>
                <a:cubicBezTo>
                  <a:pt x="5517099" y="4036472"/>
                  <a:pt x="5524838" y="4036472"/>
                  <a:pt x="5532572" y="4036472"/>
                </a:cubicBezTo>
                <a:cubicBezTo>
                  <a:pt x="5538376" y="4034539"/>
                  <a:pt x="5544177" y="4034539"/>
                  <a:pt x="5549980" y="4032604"/>
                </a:cubicBezTo>
                <a:cubicBezTo>
                  <a:pt x="5551913" y="4032604"/>
                  <a:pt x="5551913" y="4028736"/>
                  <a:pt x="5549980" y="4026803"/>
                </a:cubicBezTo>
                <a:cubicBezTo>
                  <a:pt x="5545144" y="4025836"/>
                  <a:pt x="5540309" y="4024868"/>
                  <a:pt x="5535958" y="4025110"/>
                </a:cubicBezTo>
                <a:close/>
                <a:moveTo>
                  <a:pt x="5530639" y="4009395"/>
                </a:moveTo>
                <a:cubicBezTo>
                  <a:pt x="5522903" y="4009395"/>
                  <a:pt x="5517099" y="4011330"/>
                  <a:pt x="5509362" y="4011330"/>
                </a:cubicBezTo>
                <a:cubicBezTo>
                  <a:pt x="5501628" y="4013263"/>
                  <a:pt x="5493889" y="4015198"/>
                  <a:pt x="5486155" y="4015198"/>
                </a:cubicBezTo>
                <a:cubicBezTo>
                  <a:pt x="5486155" y="4015198"/>
                  <a:pt x="5488088" y="4013263"/>
                  <a:pt x="5488088" y="4013263"/>
                </a:cubicBezTo>
                <a:cubicBezTo>
                  <a:pt x="5484220" y="4015198"/>
                  <a:pt x="5478419" y="4015198"/>
                  <a:pt x="5474551" y="4015198"/>
                </a:cubicBezTo>
                <a:cubicBezTo>
                  <a:pt x="5468747" y="4015198"/>
                  <a:pt x="5462946" y="4013263"/>
                  <a:pt x="5457142" y="4015198"/>
                </a:cubicBezTo>
                <a:cubicBezTo>
                  <a:pt x="5453274" y="4015198"/>
                  <a:pt x="5449406" y="4019066"/>
                  <a:pt x="5443604" y="4020999"/>
                </a:cubicBezTo>
                <a:cubicBezTo>
                  <a:pt x="5439736" y="4020999"/>
                  <a:pt x="5435868" y="4022935"/>
                  <a:pt x="5432000" y="4022935"/>
                </a:cubicBezTo>
                <a:cubicBezTo>
                  <a:pt x="5422328" y="4024868"/>
                  <a:pt x="5412658" y="4024868"/>
                  <a:pt x="5402987" y="4026803"/>
                </a:cubicBezTo>
                <a:cubicBezTo>
                  <a:pt x="5401054" y="4028736"/>
                  <a:pt x="5401054" y="4028736"/>
                  <a:pt x="5401054" y="4030671"/>
                </a:cubicBezTo>
                <a:cubicBezTo>
                  <a:pt x="5414594" y="4034539"/>
                  <a:pt x="5424263" y="4026803"/>
                  <a:pt x="5433933" y="4022935"/>
                </a:cubicBezTo>
                <a:cubicBezTo>
                  <a:pt x="5435868" y="4028736"/>
                  <a:pt x="5432000" y="4030671"/>
                  <a:pt x="5430064" y="4030671"/>
                </a:cubicBezTo>
                <a:cubicBezTo>
                  <a:pt x="5418462" y="4034539"/>
                  <a:pt x="5404922" y="4036472"/>
                  <a:pt x="5393317" y="4040341"/>
                </a:cubicBezTo>
                <a:cubicBezTo>
                  <a:pt x="5385581" y="4042276"/>
                  <a:pt x="5379779" y="4044209"/>
                  <a:pt x="5372043" y="4048077"/>
                </a:cubicBezTo>
                <a:cubicBezTo>
                  <a:pt x="5377844" y="4048077"/>
                  <a:pt x="5385581" y="4046144"/>
                  <a:pt x="5391384" y="4044209"/>
                </a:cubicBezTo>
                <a:cubicBezTo>
                  <a:pt x="5406855" y="4038408"/>
                  <a:pt x="5422328" y="4034539"/>
                  <a:pt x="5437803" y="4030671"/>
                </a:cubicBezTo>
                <a:cubicBezTo>
                  <a:pt x="5451341" y="4026803"/>
                  <a:pt x="5464879" y="4024868"/>
                  <a:pt x="5476483" y="4019066"/>
                </a:cubicBezTo>
                <a:cubicBezTo>
                  <a:pt x="5484220" y="4015198"/>
                  <a:pt x="5493889" y="4015198"/>
                  <a:pt x="5503561" y="4013263"/>
                </a:cubicBezTo>
                <a:cubicBezTo>
                  <a:pt x="5511298" y="4011330"/>
                  <a:pt x="5520967" y="4009395"/>
                  <a:pt x="5530639" y="4009395"/>
                </a:cubicBezTo>
                <a:close/>
                <a:moveTo>
                  <a:pt x="5387514" y="4003593"/>
                </a:moveTo>
                <a:cubicBezTo>
                  <a:pt x="5385581" y="4003593"/>
                  <a:pt x="5385581" y="4005526"/>
                  <a:pt x="5383645" y="4005526"/>
                </a:cubicBezTo>
                <a:cubicBezTo>
                  <a:pt x="5383645" y="4005526"/>
                  <a:pt x="5385581" y="4005526"/>
                  <a:pt x="5385581" y="4005526"/>
                </a:cubicBezTo>
                <a:cubicBezTo>
                  <a:pt x="5385581" y="4005526"/>
                  <a:pt x="5387514" y="4003593"/>
                  <a:pt x="5387514" y="4003593"/>
                </a:cubicBezTo>
                <a:close/>
                <a:moveTo>
                  <a:pt x="5188302" y="4001658"/>
                </a:moveTo>
                <a:cubicBezTo>
                  <a:pt x="5188302" y="4007462"/>
                  <a:pt x="5188302" y="4009395"/>
                  <a:pt x="5188302" y="4013263"/>
                </a:cubicBezTo>
                <a:cubicBezTo>
                  <a:pt x="5188302" y="4017131"/>
                  <a:pt x="5190235" y="4019066"/>
                  <a:pt x="5194106" y="4015198"/>
                </a:cubicBezTo>
                <a:cubicBezTo>
                  <a:pt x="5192170" y="4011330"/>
                  <a:pt x="5190235" y="4007462"/>
                  <a:pt x="5188302" y="4001658"/>
                </a:cubicBezTo>
                <a:close/>
                <a:moveTo>
                  <a:pt x="5462946" y="3997790"/>
                </a:moveTo>
                <a:cubicBezTo>
                  <a:pt x="5462946" y="3997790"/>
                  <a:pt x="5461010" y="3999725"/>
                  <a:pt x="5461010" y="3999725"/>
                </a:cubicBezTo>
                <a:cubicBezTo>
                  <a:pt x="5462946" y="3999725"/>
                  <a:pt x="5464879" y="3999725"/>
                  <a:pt x="5466814" y="3999725"/>
                </a:cubicBezTo>
                <a:cubicBezTo>
                  <a:pt x="5466814" y="3997790"/>
                  <a:pt x="5466814" y="3997790"/>
                  <a:pt x="5466814" y="3997790"/>
                </a:cubicBezTo>
                <a:cubicBezTo>
                  <a:pt x="5464879" y="3997790"/>
                  <a:pt x="5464879" y="3997790"/>
                  <a:pt x="5462946" y="3997790"/>
                </a:cubicBezTo>
                <a:close/>
                <a:moveTo>
                  <a:pt x="5600265" y="3988120"/>
                </a:moveTo>
                <a:cubicBezTo>
                  <a:pt x="5598332" y="3990053"/>
                  <a:pt x="5596397" y="3991989"/>
                  <a:pt x="5592531" y="3991989"/>
                </a:cubicBezTo>
                <a:cubicBezTo>
                  <a:pt x="5594464" y="3988120"/>
                  <a:pt x="5594464" y="3988120"/>
                  <a:pt x="5600265" y="3988120"/>
                </a:cubicBezTo>
                <a:close/>
                <a:moveTo>
                  <a:pt x="5325624" y="3986187"/>
                </a:moveTo>
                <a:cubicBezTo>
                  <a:pt x="5319820" y="3988120"/>
                  <a:pt x="5315952" y="3988120"/>
                  <a:pt x="5310151" y="3988120"/>
                </a:cubicBezTo>
                <a:cubicBezTo>
                  <a:pt x="5310151" y="3990053"/>
                  <a:pt x="5310151" y="3990053"/>
                  <a:pt x="5310151" y="3990053"/>
                </a:cubicBezTo>
                <a:cubicBezTo>
                  <a:pt x="5314019" y="3990053"/>
                  <a:pt x="5319820" y="3990053"/>
                  <a:pt x="5323689" y="3990053"/>
                </a:cubicBezTo>
                <a:cubicBezTo>
                  <a:pt x="5323689" y="3990053"/>
                  <a:pt x="5325624" y="3988120"/>
                  <a:pt x="5325624" y="3986187"/>
                </a:cubicBezTo>
                <a:close/>
                <a:moveTo>
                  <a:pt x="5252127" y="3984252"/>
                </a:moveTo>
                <a:cubicBezTo>
                  <a:pt x="5248259" y="3986187"/>
                  <a:pt x="5244393" y="3988120"/>
                  <a:pt x="5240522" y="3990053"/>
                </a:cubicBezTo>
                <a:cubicBezTo>
                  <a:pt x="5240522" y="3990053"/>
                  <a:pt x="5242458" y="3991989"/>
                  <a:pt x="5242458" y="3991989"/>
                </a:cubicBezTo>
                <a:cubicBezTo>
                  <a:pt x="5248259" y="3995857"/>
                  <a:pt x="5252127" y="3993922"/>
                  <a:pt x="5255995" y="3986187"/>
                </a:cubicBezTo>
                <a:cubicBezTo>
                  <a:pt x="5255995" y="3986187"/>
                  <a:pt x="5254062" y="3984252"/>
                  <a:pt x="5252127" y="3984252"/>
                </a:cubicBezTo>
                <a:close/>
                <a:moveTo>
                  <a:pt x="5640883" y="3980384"/>
                </a:moveTo>
                <a:cubicBezTo>
                  <a:pt x="5640883" y="3980384"/>
                  <a:pt x="5640883" y="3980384"/>
                  <a:pt x="5638948" y="3982319"/>
                </a:cubicBezTo>
                <a:cubicBezTo>
                  <a:pt x="5635080" y="3982319"/>
                  <a:pt x="5631211" y="3982319"/>
                  <a:pt x="5629278" y="3982319"/>
                </a:cubicBezTo>
                <a:cubicBezTo>
                  <a:pt x="5633147" y="3982319"/>
                  <a:pt x="5637015" y="3980384"/>
                  <a:pt x="5640883" y="3980384"/>
                </a:cubicBezTo>
                <a:close/>
                <a:moveTo>
                  <a:pt x="5279205" y="3976516"/>
                </a:moveTo>
                <a:cubicBezTo>
                  <a:pt x="5277270" y="3978449"/>
                  <a:pt x="5277270" y="3980384"/>
                  <a:pt x="5277270" y="3982319"/>
                </a:cubicBezTo>
                <a:cubicBezTo>
                  <a:pt x="5277270" y="3984252"/>
                  <a:pt x="5273404" y="3984252"/>
                  <a:pt x="5275337" y="3986187"/>
                </a:cubicBezTo>
                <a:cubicBezTo>
                  <a:pt x="5281140" y="3984252"/>
                  <a:pt x="5288877" y="3982319"/>
                  <a:pt x="5294678" y="3982319"/>
                </a:cubicBezTo>
                <a:cubicBezTo>
                  <a:pt x="5294678" y="3980384"/>
                  <a:pt x="5294678" y="3980384"/>
                  <a:pt x="5294678" y="3978449"/>
                </a:cubicBezTo>
                <a:cubicBezTo>
                  <a:pt x="5290810" y="3976516"/>
                  <a:pt x="5286941" y="3976516"/>
                  <a:pt x="5283073" y="3976516"/>
                </a:cubicBezTo>
                <a:cubicBezTo>
                  <a:pt x="5281140" y="3976516"/>
                  <a:pt x="5281140" y="3976516"/>
                  <a:pt x="5279205" y="3976516"/>
                </a:cubicBezTo>
                <a:close/>
                <a:moveTo>
                  <a:pt x="5331427" y="3972647"/>
                </a:moveTo>
                <a:cubicBezTo>
                  <a:pt x="5323689" y="3968779"/>
                  <a:pt x="5319820" y="3976516"/>
                  <a:pt x="5314019" y="3976516"/>
                </a:cubicBezTo>
                <a:cubicBezTo>
                  <a:pt x="5315952" y="3976516"/>
                  <a:pt x="5317887" y="3976516"/>
                  <a:pt x="5319820" y="3976516"/>
                </a:cubicBezTo>
                <a:cubicBezTo>
                  <a:pt x="5323689" y="3976516"/>
                  <a:pt x="5327559" y="3974583"/>
                  <a:pt x="5331427" y="3972647"/>
                </a:cubicBezTo>
                <a:close/>
                <a:moveTo>
                  <a:pt x="5418462" y="3970714"/>
                </a:moveTo>
                <a:cubicBezTo>
                  <a:pt x="5418462" y="3970714"/>
                  <a:pt x="5418462" y="3972647"/>
                  <a:pt x="5420395" y="3972647"/>
                </a:cubicBezTo>
                <a:cubicBezTo>
                  <a:pt x="5420395" y="3972647"/>
                  <a:pt x="5422328" y="3970714"/>
                  <a:pt x="5422328" y="3970714"/>
                </a:cubicBezTo>
                <a:cubicBezTo>
                  <a:pt x="5420395" y="3970714"/>
                  <a:pt x="5420395" y="3970714"/>
                  <a:pt x="5418462" y="3970714"/>
                </a:cubicBezTo>
                <a:close/>
                <a:moveTo>
                  <a:pt x="5633147" y="3966846"/>
                </a:moveTo>
                <a:cubicBezTo>
                  <a:pt x="5623475" y="3968779"/>
                  <a:pt x="5615738" y="3970714"/>
                  <a:pt x="5606069" y="3972647"/>
                </a:cubicBezTo>
                <a:cubicBezTo>
                  <a:pt x="5608002" y="3972647"/>
                  <a:pt x="5608002" y="3972647"/>
                  <a:pt x="5608002" y="3972647"/>
                </a:cubicBezTo>
                <a:cubicBezTo>
                  <a:pt x="5602201" y="3974583"/>
                  <a:pt x="5596397" y="3974583"/>
                  <a:pt x="5592531" y="3974583"/>
                </a:cubicBezTo>
                <a:cubicBezTo>
                  <a:pt x="5590596" y="3974583"/>
                  <a:pt x="5590596" y="3974583"/>
                  <a:pt x="5588663" y="3974583"/>
                </a:cubicBezTo>
                <a:cubicBezTo>
                  <a:pt x="5588663" y="3974583"/>
                  <a:pt x="5586728" y="3976516"/>
                  <a:pt x="5584795" y="3978449"/>
                </a:cubicBezTo>
                <a:cubicBezTo>
                  <a:pt x="5606069" y="3974583"/>
                  <a:pt x="5627343" y="3970714"/>
                  <a:pt x="5646684" y="3966846"/>
                </a:cubicBezTo>
                <a:cubicBezTo>
                  <a:pt x="5642816" y="3966846"/>
                  <a:pt x="5637015" y="3966846"/>
                  <a:pt x="5633147" y="3966846"/>
                </a:cubicBezTo>
                <a:close/>
                <a:moveTo>
                  <a:pt x="5497758" y="3966846"/>
                </a:moveTo>
                <a:cubicBezTo>
                  <a:pt x="5493889" y="3970714"/>
                  <a:pt x="5491956" y="3972647"/>
                  <a:pt x="5490021" y="3974583"/>
                </a:cubicBezTo>
                <a:cubicBezTo>
                  <a:pt x="5491956" y="3974583"/>
                  <a:pt x="5493889" y="3974583"/>
                  <a:pt x="5495825" y="3974583"/>
                </a:cubicBezTo>
                <a:cubicBezTo>
                  <a:pt x="5493889" y="3974583"/>
                  <a:pt x="5491956" y="3976516"/>
                  <a:pt x="5490021" y="3976516"/>
                </a:cubicBezTo>
                <a:cubicBezTo>
                  <a:pt x="5490021" y="3976516"/>
                  <a:pt x="5488088" y="3978449"/>
                  <a:pt x="5486155" y="3980384"/>
                </a:cubicBezTo>
                <a:cubicBezTo>
                  <a:pt x="5490021" y="3980384"/>
                  <a:pt x="5493889" y="3980384"/>
                  <a:pt x="5497758" y="3980384"/>
                </a:cubicBezTo>
                <a:cubicBezTo>
                  <a:pt x="5497758" y="3980384"/>
                  <a:pt x="5499693" y="3980384"/>
                  <a:pt x="5499693" y="3980384"/>
                </a:cubicBezTo>
                <a:cubicBezTo>
                  <a:pt x="5501628" y="3980384"/>
                  <a:pt x="5505497" y="3980384"/>
                  <a:pt x="5507430" y="3980384"/>
                </a:cubicBezTo>
                <a:cubicBezTo>
                  <a:pt x="5515166" y="3980384"/>
                  <a:pt x="5520967" y="3980384"/>
                  <a:pt x="5528704" y="3980384"/>
                </a:cubicBezTo>
                <a:cubicBezTo>
                  <a:pt x="5532572" y="3980384"/>
                  <a:pt x="5536440" y="3978449"/>
                  <a:pt x="5540308" y="3980384"/>
                </a:cubicBezTo>
                <a:cubicBezTo>
                  <a:pt x="5546112" y="3978449"/>
                  <a:pt x="5553849" y="3976516"/>
                  <a:pt x="5559650" y="3972647"/>
                </a:cubicBezTo>
                <a:cubicBezTo>
                  <a:pt x="5553849" y="3972647"/>
                  <a:pt x="5549980" y="3972647"/>
                  <a:pt x="5544177" y="3974583"/>
                </a:cubicBezTo>
                <a:cubicBezTo>
                  <a:pt x="5544177" y="3974583"/>
                  <a:pt x="5542244" y="3974583"/>
                  <a:pt x="5542244" y="3974583"/>
                </a:cubicBezTo>
                <a:cubicBezTo>
                  <a:pt x="5526771" y="3968779"/>
                  <a:pt x="5511298" y="3970714"/>
                  <a:pt x="5497758" y="3966846"/>
                </a:cubicBezTo>
                <a:close/>
                <a:moveTo>
                  <a:pt x="5536198" y="3960318"/>
                </a:moveTo>
                <a:cubicBezTo>
                  <a:pt x="5530638" y="3960560"/>
                  <a:pt x="5524835" y="3962010"/>
                  <a:pt x="5517099" y="3964911"/>
                </a:cubicBezTo>
                <a:cubicBezTo>
                  <a:pt x="5528704" y="3962978"/>
                  <a:pt x="5540308" y="3964911"/>
                  <a:pt x="5553849" y="3962978"/>
                </a:cubicBezTo>
                <a:cubicBezTo>
                  <a:pt x="5547078" y="3961044"/>
                  <a:pt x="5541759" y="3960077"/>
                  <a:pt x="5536198" y="3960318"/>
                </a:cubicBezTo>
                <a:close/>
                <a:moveTo>
                  <a:pt x="5199907" y="3959110"/>
                </a:moveTo>
                <a:cubicBezTo>
                  <a:pt x="5197974" y="3961043"/>
                  <a:pt x="5194106" y="3962978"/>
                  <a:pt x="5192170" y="3964911"/>
                </a:cubicBezTo>
                <a:cubicBezTo>
                  <a:pt x="5196039" y="3964911"/>
                  <a:pt x="5199907" y="3962978"/>
                  <a:pt x="5201842" y="3962978"/>
                </a:cubicBezTo>
                <a:cubicBezTo>
                  <a:pt x="5201842" y="3961043"/>
                  <a:pt x="5201842" y="3961043"/>
                  <a:pt x="5201842" y="3959110"/>
                </a:cubicBezTo>
                <a:cubicBezTo>
                  <a:pt x="5201842" y="3959110"/>
                  <a:pt x="5199907" y="3959110"/>
                  <a:pt x="5199907" y="3959110"/>
                </a:cubicBezTo>
                <a:close/>
                <a:moveTo>
                  <a:pt x="5139950" y="3959110"/>
                </a:moveTo>
                <a:cubicBezTo>
                  <a:pt x="5136082" y="3961043"/>
                  <a:pt x="5130281" y="3962978"/>
                  <a:pt x="5126410" y="3964911"/>
                </a:cubicBezTo>
                <a:cubicBezTo>
                  <a:pt x="5128345" y="3964911"/>
                  <a:pt x="5132214" y="3964911"/>
                  <a:pt x="5134149" y="3964911"/>
                </a:cubicBezTo>
                <a:cubicBezTo>
                  <a:pt x="5136082" y="3962978"/>
                  <a:pt x="5139950" y="3962978"/>
                  <a:pt x="5141883" y="3962978"/>
                </a:cubicBezTo>
                <a:cubicBezTo>
                  <a:pt x="5141883" y="3961043"/>
                  <a:pt x="5139950" y="3961043"/>
                  <a:pt x="5139950" y="3959110"/>
                </a:cubicBezTo>
                <a:close/>
                <a:moveTo>
                  <a:pt x="5472615" y="3957174"/>
                </a:moveTo>
                <a:cubicBezTo>
                  <a:pt x="5468747" y="3961043"/>
                  <a:pt x="5462946" y="3961043"/>
                  <a:pt x="5457142" y="3961043"/>
                </a:cubicBezTo>
                <a:cubicBezTo>
                  <a:pt x="5462946" y="3964911"/>
                  <a:pt x="5470680" y="3961043"/>
                  <a:pt x="5476483" y="3964911"/>
                </a:cubicBezTo>
                <a:cubicBezTo>
                  <a:pt x="5474551" y="3966846"/>
                  <a:pt x="5474551" y="3968779"/>
                  <a:pt x="5472615" y="3968779"/>
                </a:cubicBezTo>
                <a:cubicBezTo>
                  <a:pt x="5462946" y="3968779"/>
                  <a:pt x="5451341" y="3970714"/>
                  <a:pt x="5441669" y="3970714"/>
                </a:cubicBezTo>
                <a:cubicBezTo>
                  <a:pt x="5435868" y="3972647"/>
                  <a:pt x="5428131" y="3974583"/>
                  <a:pt x="5422328" y="3976516"/>
                </a:cubicBezTo>
                <a:cubicBezTo>
                  <a:pt x="5414594" y="3978449"/>
                  <a:pt x="5404922" y="3980384"/>
                  <a:pt x="5397185" y="3982319"/>
                </a:cubicBezTo>
                <a:cubicBezTo>
                  <a:pt x="5389449" y="3986187"/>
                  <a:pt x="5381712" y="3988120"/>
                  <a:pt x="5372043" y="3988120"/>
                </a:cubicBezTo>
                <a:cubicBezTo>
                  <a:pt x="5364306" y="3990053"/>
                  <a:pt x="5356570" y="3991989"/>
                  <a:pt x="5348833" y="3995857"/>
                </a:cubicBezTo>
                <a:cubicBezTo>
                  <a:pt x="5343030" y="3997790"/>
                  <a:pt x="5335293" y="3999725"/>
                  <a:pt x="5327559" y="4001658"/>
                </a:cubicBezTo>
                <a:cubicBezTo>
                  <a:pt x="5319820" y="4003593"/>
                  <a:pt x="5310151" y="4005526"/>
                  <a:pt x="5300479" y="4007462"/>
                </a:cubicBezTo>
                <a:cubicBezTo>
                  <a:pt x="5300479" y="4007462"/>
                  <a:pt x="5298546" y="4009395"/>
                  <a:pt x="5298546" y="4009395"/>
                </a:cubicBezTo>
                <a:cubicBezTo>
                  <a:pt x="5296611" y="4007462"/>
                  <a:pt x="5296611" y="4007462"/>
                  <a:pt x="5296611" y="4007462"/>
                </a:cubicBezTo>
                <a:cubicBezTo>
                  <a:pt x="5292745" y="4007462"/>
                  <a:pt x="5286941" y="4009395"/>
                  <a:pt x="5283073" y="4011330"/>
                </a:cubicBezTo>
                <a:cubicBezTo>
                  <a:pt x="5275337" y="4013263"/>
                  <a:pt x="5269535" y="4013263"/>
                  <a:pt x="5261799" y="4013263"/>
                </a:cubicBezTo>
                <a:cubicBezTo>
                  <a:pt x="5259864" y="4013263"/>
                  <a:pt x="5257931" y="4011330"/>
                  <a:pt x="5255995" y="4009395"/>
                </a:cubicBezTo>
                <a:cubicBezTo>
                  <a:pt x="5259864" y="4005526"/>
                  <a:pt x="5263732" y="4003593"/>
                  <a:pt x="5269535" y="4003593"/>
                </a:cubicBezTo>
                <a:cubicBezTo>
                  <a:pt x="5273404" y="4003593"/>
                  <a:pt x="5277270" y="4001658"/>
                  <a:pt x="5281140" y="3999725"/>
                </a:cubicBezTo>
                <a:cubicBezTo>
                  <a:pt x="5281140" y="3997790"/>
                  <a:pt x="5281140" y="3995857"/>
                  <a:pt x="5283073" y="3991989"/>
                </a:cubicBezTo>
                <a:cubicBezTo>
                  <a:pt x="5273404" y="3993922"/>
                  <a:pt x="5265667" y="3993922"/>
                  <a:pt x="5259864" y="3997790"/>
                </a:cubicBezTo>
                <a:cubicBezTo>
                  <a:pt x="5250194" y="4001658"/>
                  <a:pt x="5240522" y="4005526"/>
                  <a:pt x="5228918" y="4003593"/>
                </a:cubicBezTo>
                <a:cubicBezTo>
                  <a:pt x="5225052" y="4003593"/>
                  <a:pt x="5223116" y="4003593"/>
                  <a:pt x="5221183" y="4003593"/>
                </a:cubicBezTo>
                <a:cubicBezTo>
                  <a:pt x="5217315" y="4005526"/>
                  <a:pt x="5215380" y="4007462"/>
                  <a:pt x="5219248" y="4015198"/>
                </a:cubicBezTo>
                <a:cubicBezTo>
                  <a:pt x="5207643" y="4019066"/>
                  <a:pt x="5197974" y="4022935"/>
                  <a:pt x="5184434" y="4026803"/>
                </a:cubicBezTo>
                <a:cubicBezTo>
                  <a:pt x="5188302" y="4026803"/>
                  <a:pt x="5190235" y="4026803"/>
                  <a:pt x="5190235" y="4026803"/>
                </a:cubicBezTo>
                <a:cubicBezTo>
                  <a:pt x="5194106" y="4026803"/>
                  <a:pt x="5196039" y="4026803"/>
                  <a:pt x="5197974" y="4026803"/>
                </a:cubicBezTo>
                <a:cubicBezTo>
                  <a:pt x="5199907" y="4026803"/>
                  <a:pt x="5199907" y="4026803"/>
                  <a:pt x="5199907" y="4026803"/>
                </a:cubicBezTo>
                <a:lnTo>
                  <a:pt x="5206097" y="4028350"/>
                </a:lnTo>
                <a:lnTo>
                  <a:pt x="5203775" y="4030671"/>
                </a:lnTo>
                <a:lnTo>
                  <a:pt x="5204792" y="4030875"/>
                </a:lnTo>
                <a:lnTo>
                  <a:pt x="5199907" y="4034539"/>
                </a:lnTo>
                <a:cubicBezTo>
                  <a:pt x="5197974" y="4034539"/>
                  <a:pt x="5197974" y="4034539"/>
                  <a:pt x="5197974" y="4034539"/>
                </a:cubicBezTo>
                <a:cubicBezTo>
                  <a:pt x="5190235" y="4038408"/>
                  <a:pt x="5184434" y="4040341"/>
                  <a:pt x="5178633" y="4042276"/>
                </a:cubicBezTo>
                <a:cubicBezTo>
                  <a:pt x="5168961" y="4042276"/>
                  <a:pt x="5161224" y="4044209"/>
                  <a:pt x="5153488" y="4046144"/>
                </a:cubicBezTo>
                <a:cubicBezTo>
                  <a:pt x="5147687" y="4051945"/>
                  <a:pt x="5139950" y="4053881"/>
                  <a:pt x="5134149" y="4055814"/>
                </a:cubicBezTo>
                <a:cubicBezTo>
                  <a:pt x="5124477" y="4059682"/>
                  <a:pt x="5112872" y="4061617"/>
                  <a:pt x="5101268" y="4065483"/>
                </a:cubicBezTo>
                <a:cubicBezTo>
                  <a:pt x="5101268" y="4067418"/>
                  <a:pt x="5103200" y="4067418"/>
                  <a:pt x="5103200" y="4069354"/>
                </a:cubicBezTo>
                <a:cubicBezTo>
                  <a:pt x="5101268" y="4069354"/>
                  <a:pt x="5099335" y="4071287"/>
                  <a:pt x="5097399" y="4071287"/>
                </a:cubicBezTo>
                <a:cubicBezTo>
                  <a:pt x="5097399" y="4071287"/>
                  <a:pt x="5095466" y="4069354"/>
                  <a:pt x="5095466" y="4069354"/>
                </a:cubicBezTo>
                <a:cubicBezTo>
                  <a:pt x="5095466" y="4067418"/>
                  <a:pt x="5097399" y="4067418"/>
                  <a:pt x="5097399" y="4067418"/>
                </a:cubicBezTo>
                <a:cubicBezTo>
                  <a:pt x="5079993" y="4073222"/>
                  <a:pt x="5064520" y="4077088"/>
                  <a:pt x="5047114" y="4082891"/>
                </a:cubicBezTo>
                <a:cubicBezTo>
                  <a:pt x="5041311" y="4084824"/>
                  <a:pt x="5033574" y="4086760"/>
                  <a:pt x="5025838" y="4088693"/>
                </a:cubicBezTo>
                <a:cubicBezTo>
                  <a:pt x="5023905" y="4090628"/>
                  <a:pt x="5021969" y="4090628"/>
                  <a:pt x="5020037" y="4090628"/>
                </a:cubicBezTo>
                <a:cubicBezTo>
                  <a:pt x="5020037" y="4092561"/>
                  <a:pt x="5021969" y="4092561"/>
                  <a:pt x="5021969" y="4092561"/>
                </a:cubicBezTo>
                <a:cubicBezTo>
                  <a:pt x="5047114" y="4088693"/>
                  <a:pt x="5070324" y="4084824"/>
                  <a:pt x="5095466" y="4080959"/>
                </a:cubicBezTo>
                <a:cubicBezTo>
                  <a:pt x="5109004" y="4077088"/>
                  <a:pt x="5124477" y="4075155"/>
                  <a:pt x="5138017" y="4075155"/>
                </a:cubicBezTo>
                <a:cubicBezTo>
                  <a:pt x="5138017" y="4075155"/>
                  <a:pt x="5139950" y="4075155"/>
                  <a:pt x="5139950" y="4075155"/>
                </a:cubicBezTo>
                <a:cubicBezTo>
                  <a:pt x="5141883" y="4075155"/>
                  <a:pt x="5143818" y="4073222"/>
                  <a:pt x="5145751" y="4073222"/>
                </a:cubicBezTo>
                <a:cubicBezTo>
                  <a:pt x="5147687" y="4073222"/>
                  <a:pt x="5149620" y="4071287"/>
                  <a:pt x="5151555" y="4071287"/>
                </a:cubicBezTo>
                <a:cubicBezTo>
                  <a:pt x="5163160" y="4067418"/>
                  <a:pt x="5174764" y="4067418"/>
                  <a:pt x="5186369" y="4065483"/>
                </a:cubicBezTo>
                <a:cubicBezTo>
                  <a:pt x="5190235" y="4065483"/>
                  <a:pt x="5197974" y="4063550"/>
                  <a:pt x="5199907" y="4059682"/>
                </a:cubicBezTo>
                <a:cubicBezTo>
                  <a:pt x="5203775" y="4053881"/>
                  <a:pt x="5207643" y="4051945"/>
                  <a:pt x="5211512" y="4050013"/>
                </a:cubicBezTo>
                <a:cubicBezTo>
                  <a:pt x="5217315" y="4048077"/>
                  <a:pt x="5221183" y="4044209"/>
                  <a:pt x="5226985" y="4046144"/>
                </a:cubicBezTo>
                <a:cubicBezTo>
                  <a:pt x="5228918" y="4046144"/>
                  <a:pt x="5232786" y="4046144"/>
                  <a:pt x="5234721" y="4044209"/>
                </a:cubicBezTo>
                <a:cubicBezTo>
                  <a:pt x="5240522" y="4040341"/>
                  <a:pt x="5248259" y="4040341"/>
                  <a:pt x="5255995" y="4038408"/>
                </a:cubicBezTo>
                <a:cubicBezTo>
                  <a:pt x="5265667" y="4036472"/>
                  <a:pt x="5275337" y="4032604"/>
                  <a:pt x="5285008" y="4030671"/>
                </a:cubicBezTo>
                <a:cubicBezTo>
                  <a:pt x="5271468" y="4028736"/>
                  <a:pt x="5259864" y="4032604"/>
                  <a:pt x="5246326" y="4034539"/>
                </a:cubicBezTo>
                <a:cubicBezTo>
                  <a:pt x="5234721" y="4036472"/>
                  <a:pt x="5234721" y="4036472"/>
                  <a:pt x="5223116" y="4030671"/>
                </a:cubicBezTo>
                <a:cubicBezTo>
                  <a:pt x="5219248" y="4032604"/>
                  <a:pt x="5217315" y="4032604"/>
                  <a:pt x="5213445" y="4032604"/>
                </a:cubicBezTo>
                <a:lnTo>
                  <a:pt x="5204792" y="4030875"/>
                </a:lnTo>
                <a:lnTo>
                  <a:pt x="5207643" y="4028736"/>
                </a:lnTo>
                <a:lnTo>
                  <a:pt x="5206097" y="4028350"/>
                </a:lnTo>
                <a:lnTo>
                  <a:pt x="5207643" y="4026803"/>
                </a:lnTo>
                <a:cubicBezTo>
                  <a:pt x="5215380" y="4022935"/>
                  <a:pt x="5226985" y="4022935"/>
                  <a:pt x="5232786" y="4015198"/>
                </a:cubicBezTo>
                <a:cubicBezTo>
                  <a:pt x="5234721" y="4015198"/>
                  <a:pt x="5236654" y="4015198"/>
                  <a:pt x="5238589" y="4015198"/>
                </a:cubicBezTo>
                <a:cubicBezTo>
                  <a:pt x="5242458" y="4015198"/>
                  <a:pt x="5246326" y="4015198"/>
                  <a:pt x="5250194" y="4015198"/>
                </a:cubicBezTo>
                <a:cubicBezTo>
                  <a:pt x="5246326" y="4019066"/>
                  <a:pt x="5240522" y="4020999"/>
                  <a:pt x="5236654" y="4024868"/>
                </a:cubicBezTo>
                <a:cubicBezTo>
                  <a:pt x="5240522" y="4022935"/>
                  <a:pt x="5246326" y="4022935"/>
                  <a:pt x="5252127" y="4020999"/>
                </a:cubicBezTo>
                <a:cubicBezTo>
                  <a:pt x="5254062" y="4019066"/>
                  <a:pt x="5255995" y="4020999"/>
                  <a:pt x="5257931" y="4020999"/>
                </a:cubicBezTo>
                <a:cubicBezTo>
                  <a:pt x="5265667" y="4026803"/>
                  <a:pt x="5271468" y="4024868"/>
                  <a:pt x="5279205" y="4020999"/>
                </a:cubicBezTo>
                <a:cubicBezTo>
                  <a:pt x="5286941" y="4015198"/>
                  <a:pt x="5296611" y="4015198"/>
                  <a:pt x="5306283" y="4015198"/>
                </a:cubicBezTo>
                <a:cubicBezTo>
                  <a:pt x="5310151" y="4015198"/>
                  <a:pt x="5314019" y="4017131"/>
                  <a:pt x="5317887" y="4015198"/>
                </a:cubicBezTo>
                <a:cubicBezTo>
                  <a:pt x="5333360" y="4011330"/>
                  <a:pt x="5346898" y="4007462"/>
                  <a:pt x="5362371" y="4009395"/>
                </a:cubicBezTo>
                <a:cubicBezTo>
                  <a:pt x="5368175" y="4005526"/>
                  <a:pt x="5364306" y="4003593"/>
                  <a:pt x="5368175" y="3993922"/>
                </a:cubicBezTo>
                <a:cubicBezTo>
                  <a:pt x="5368175" y="3993922"/>
                  <a:pt x="5370108" y="3991989"/>
                  <a:pt x="5370108" y="3991989"/>
                </a:cubicBezTo>
                <a:cubicBezTo>
                  <a:pt x="5387514" y="3991989"/>
                  <a:pt x="5401054" y="3991989"/>
                  <a:pt x="5416527" y="3984252"/>
                </a:cubicBezTo>
                <a:cubicBezTo>
                  <a:pt x="5422328" y="3982319"/>
                  <a:pt x="5430064" y="3980384"/>
                  <a:pt x="5437803" y="3980384"/>
                </a:cubicBezTo>
                <a:cubicBezTo>
                  <a:pt x="5453274" y="3978449"/>
                  <a:pt x="5466814" y="3978449"/>
                  <a:pt x="5482287" y="3976516"/>
                </a:cubicBezTo>
                <a:cubicBezTo>
                  <a:pt x="5482287" y="3976516"/>
                  <a:pt x="5482287" y="3974583"/>
                  <a:pt x="5482287" y="3974583"/>
                </a:cubicBezTo>
                <a:cubicBezTo>
                  <a:pt x="5470680" y="3976516"/>
                  <a:pt x="5459078" y="3978449"/>
                  <a:pt x="5445537" y="3976516"/>
                </a:cubicBezTo>
                <a:cubicBezTo>
                  <a:pt x="5457142" y="3974583"/>
                  <a:pt x="5470680" y="3972647"/>
                  <a:pt x="5484220" y="3970714"/>
                </a:cubicBezTo>
                <a:cubicBezTo>
                  <a:pt x="5486155" y="3968779"/>
                  <a:pt x="5488088" y="3968779"/>
                  <a:pt x="5490021" y="3966846"/>
                </a:cubicBezTo>
                <a:cubicBezTo>
                  <a:pt x="5488088" y="3966846"/>
                  <a:pt x="5488088" y="3966846"/>
                  <a:pt x="5486155" y="3966846"/>
                </a:cubicBezTo>
                <a:cubicBezTo>
                  <a:pt x="5488088" y="3964911"/>
                  <a:pt x="5488088" y="3962978"/>
                  <a:pt x="5490021" y="3962978"/>
                </a:cubicBezTo>
                <a:cubicBezTo>
                  <a:pt x="5490021" y="3962978"/>
                  <a:pt x="5493889" y="3961043"/>
                  <a:pt x="5495825" y="3961043"/>
                </a:cubicBezTo>
                <a:cubicBezTo>
                  <a:pt x="5497758" y="3961043"/>
                  <a:pt x="5497758" y="3961043"/>
                  <a:pt x="5499693" y="3961043"/>
                </a:cubicBezTo>
                <a:cubicBezTo>
                  <a:pt x="5499693" y="3961043"/>
                  <a:pt x="5501628" y="3961043"/>
                  <a:pt x="5501628" y="3961043"/>
                </a:cubicBezTo>
                <a:cubicBezTo>
                  <a:pt x="5507430" y="3961043"/>
                  <a:pt x="5513231" y="3961043"/>
                  <a:pt x="5519034" y="3961043"/>
                </a:cubicBezTo>
                <a:cubicBezTo>
                  <a:pt x="5517099" y="3959110"/>
                  <a:pt x="5517099" y="3959110"/>
                  <a:pt x="5517099" y="3957174"/>
                </a:cubicBezTo>
                <a:cubicBezTo>
                  <a:pt x="5511298" y="3957174"/>
                  <a:pt x="5507430" y="3957174"/>
                  <a:pt x="5501628" y="3957174"/>
                </a:cubicBezTo>
                <a:cubicBezTo>
                  <a:pt x="5495825" y="3959110"/>
                  <a:pt x="5488088" y="3959110"/>
                  <a:pt x="5482287" y="3957174"/>
                </a:cubicBezTo>
                <a:cubicBezTo>
                  <a:pt x="5478419" y="3957174"/>
                  <a:pt x="5476483" y="3957174"/>
                  <a:pt x="5472615" y="3957174"/>
                </a:cubicBezTo>
                <a:close/>
                <a:moveTo>
                  <a:pt x="5134149" y="3951373"/>
                </a:moveTo>
                <a:cubicBezTo>
                  <a:pt x="5132214" y="3953306"/>
                  <a:pt x="5130281" y="3957174"/>
                  <a:pt x="5128345" y="3959110"/>
                </a:cubicBezTo>
                <a:cubicBezTo>
                  <a:pt x="5130281" y="3959110"/>
                  <a:pt x="5130281" y="3959110"/>
                  <a:pt x="5130281" y="3957174"/>
                </a:cubicBezTo>
                <a:cubicBezTo>
                  <a:pt x="5132214" y="3957174"/>
                  <a:pt x="5136082" y="3955241"/>
                  <a:pt x="5138017" y="3955241"/>
                </a:cubicBezTo>
                <a:cubicBezTo>
                  <a:pt x="5138017" y="3953306"/>
                  <a:pt x="5136082" y="3953306"/>
                  <a:pt x="5134149" y="3951373"/>
                </a:cubicBezTo>
                <a:close/>
                <a:moveTo>
                  <a:pt x="5602201" y="3947505"/>
                </a:moveTo>
                <a:cubicBezTo>
                  <a:pt x="5598332" y="3951373"/>
                  <a:pt x="5594464" y="3955241"/>
                  <a:pt x="5590596" y="3959110"/>
                </a:cubicBezTo>
                <a:cubicBezTo>
                  <a:pt x="5600265" y="3957174"/>
                  <a:pt x="5611872" y="3955241"/>
                  <a:pt x="5621542" y="3951373"/>
                </a:cubicBezTo>
                <a:cubicBezTo>
                  <a:pt x="5617674" y="3951373"/>
                  <a:pt x="5615738" y="3949438"/>
                  <a:pt x="5611872" y="3949438"/>
                </a:cubicBezTo>
                <a:cubicBezTo>
                  <a:pt x="5609937" y="3947505"/>
                  <a:pt x="5606069" y="3947505"/>
                  <a:pt x="5602201" y="3947505"/>
                </a:cubicBezTo>
                <a:close/>
                <a:moveTo>
                  <a:pt x="5472615" y="3945570"/>
                </a:moveTo>
                <a:cubicBezTo>
                  <a:pt x="5462946" y="3945570"/>
                  <a:pt x="5453274" y="3945570"/>
                  <a:pt x="5443604" y="3947505"/>
                </a:cubicBezTo>
                <a:cubicBezTo>
                  <a:pt x="5439736" y="3947505"/>
                  <a:pt x="5437803" y="3947505"/>
                  <a:pt x="5430064" y="3949438"/>
                </a:cubicBezTo>
                <a:cubicBezTo>
                  <a:pt x="5443604" y="3951373"/>
                  <a:pt x="5455209" y="3949438"/>
                  <a:pt x="5466814" y="3949438"/>
                </a:cubicBezTo>
                <a:cubicBezTo>
                  <a:pt x="5468747" y="3949438"/>
                  <a:pt x="5470680" y="3947505"/>
                  <a:pt x="5474551" y="3947505"/>
                </a:cubicBezTo>
                <a:cubicBezTo>
                  <a:pt x="5474551" y="3947505"/>
                  <a:pt x="5472615" y="3945570"/>
                  <a:pt x="5472615" y="3945570"/>
                </a:cubicBezTo>
                <a:close/>
                <a:moveTo>
                  <a:pt x="5395252" y="3945570"/>
                </a:moveTo>
                <a:cubicBezTo>
                  <a:pt x="5393317" y="3945570"/>
                  <a:pt x="5389449" y="3945570"/>
                  <a:pt x="5385581" y="3947505"/>
                </a:cubicBezTo>
                <a:cubicBezTo>
                  <a:pt x="5387514" y="3947505"/>
                  <a:pt x="5389449" y="3947505"/>
                  <a:pt x="5391384" y="3947505"/>
                </a:cubicBezTo>
                <a:cubicBezTo>
                  <a:pt x="5393317" y="3945570"/>
                  <a:pt x="5393317" y="3945570"/>
                  <a:pt x="5395252" y="3945570"/>
                </a:cubicBezTo>
                <a:close/>
                <a:moveTo>
                  <a:pt x="5491956" y="3943637"/>
                </a:moveTo>
                <a:cubicBezTo>
                  <a:pt x="5491956" y="3943637"/>
                  <a:pt x="5491956" y="3945570"/>
                  <a:pt x="5491956" y="3945570"/>
                </a:cubicBezTo>
                <a:cubicBezTo>
                  <a:pt x="5491956" y="3945570"/>
                  <a:pt x="5493889" y="3945570"/>
                  <a:pt x="5493889" y="3945570"/>
                </a:cubicBezTo>
                <a:cubicBezTo>
                  <a:pt x="5493889" y="3945570"/>
                  <a:pt x="5495825" y="3943637"/>
                  <a:pt x="5495825" y="3943637"/>
                </a:cubicBezTo>
                <a:cubicBezTo>
                  <a:pt x="5495825" y="3943637"/>
                  <a:pt x="5493889" y="3943637"/>
                  <a:pt x="5491956" y="3943637"/>
                </a:cubicBezTo>
                <a:close/>
                <a:moveTo>
                  <a:pt x="5211512" y="3943637"/>
                </a:moveTo>
                <a:cubicBezTo>
                  <a:pt x="5207643" y="3945570"/>
                  <a:pt x="5201842" y="3945570"/>
                  <a:pt x="5197974" y="3947505"/>
                </a:cubicBezTo>
                <a:cubicBezTo>
                  <a:pt x="5197974" y="3949438"/>
                  <a:pt x="5197974" y="3951373"/>
                  <a:pt x="5199907" y="3953306"/>
                </a:cubicBezTo>
                <a:cubicBezTo>
                  <a:pt x="5199907" y="3953306"/>
                  <a:pt x="5201842" y="3953306"/>
                  <a:pt x="5201842" y="3953306"/>
                </a:cubicBezTo>
                <a:cubicBezTo>
                  <a:pt x="5211512" y="3953306"/>
                  <a:pt x="5219248" y="3951373"/>
                  <a:pt x="5228918" y="3943637"/>
                </a:cubicBezTo>
                <a:cubicBezTo>
                  <a:pt x="5221183" y="3943637"/>
                  <a:pt x="5215380" y="3941701"/>
                  <a:pt x="5211512" y="3943637"/>
                </a:cubicBezTo>
                <a:close/>
                <a:moveTo>
                  <a:pt x="5716313" y="3941701"/>
                </a:moveTo>
                <a:cubicBezTo>
                  <a:pt x="5718246" y="3941701"/>
                  <a:pt x="5718246" y="3941701"/>
                  <a:pt x="5720181" y="3941701"/>
                </a:cubicBezTo>
                <a:cubicBezTo>
                  <a:pt x="5720181" y="3941701"/>
                  <a:pt x="5720181" y="3943637"/>
                  <a:pt x="5720181" y="3943637"/>
                </a:cubicBezTo>
                <a:cubicBezTo>
                  <a:pt x="5718246" y="3943637"/>
                  <a:pt x="5718246" y="3941701"/>
                  <a:pt x="5716313" y="3941701"/>
                </a:cubicBezTo>
                <a:close/>
                <a:moveTo>
                  <a:pt x="5679566" y="3939768"/>
                </a:moveTo>
                <a:cubicBezTo>
                  <a:pt x="5679566" y="3939768"/>
                  <a:pt x="5681499" y="3941701"/>
                  <a:pt x="5681499" y="3941701"/>
                </a:cubicBezTo>
                <a:cubicBezTo>
                  <a:pt x="5685367" y="3939768"/>
                  <a:pt x="5687300" y="3939768"/>
                  <a:pt x="5691168" y="3939768"/>
                </a:cubicBezTo>
                <a:cubicBezTo>
                  <a:pt x="5687300" y="3937833"/>
                  <a:pt x="5683432" y="3937833"/>
                  <a:pt x="5679566" y="3939768"/>
                </a:cubicBezTo>
                <a:close/>
                <a:moveTo>
                  <a:pt x="5132214" y="3933965"/>
                </a:moveTo>
                <a:cubicBezTo>
                  <a:pt x="5130281" y="3933965"/>
                  <a:pt x="5126410" y="3935900"/>
                  <a:pt x="5124477" y="3935900"/>
                </a:cubicBezTo>
                <a:lnTo>
                  <a:pt x="5124475" y="3935900"/>
                </a:lnTo>
                <a:close/>
                <a:moveTo>
                  <a:pt x="5350766" y="3930097"/>
                </a:moveTo>
                <a:cubicBezTo>
                  <a:pt x="5344965" y="3932032"/>
                  <a:pt x="5339162" y="3932032"/>
                  <a:pt x="5335293" y="3935900"/>
                </a:cubicBezTo>
                <a:cubicBezTo>
                  <a:pt x="5343030" y="3937833"/>
                  <a:pt x="5350766" y="3937833"/>
                  <a:pt x="5358503" y="3935900"/>
                </a:cubicBezTo>
                <a:cubicBezTo>
                  <a:pt x="5358503" y="3935900"/>
                  <a:pt x="5360438" y="3935900"/>
                  <a:pt x="5360438" y="3935900"/>
                </a:cubicBezTo>
                <a:cubicBezTo>
                  <a:pt x="5362371" y="3935900"/>
                  <a:pt x="5364306" y="3935900"/>
                  <a:pt x="5366239" y="3935900"/>
                </a:cubicBezTo>
                <a:cubicBezTo>
                  <a:pt x="5368175" y="3933965"/>
                  <a:pt x="5372043" y="3933965"/>
                  <a:pt x="5373976" y="3933965"/>
                </a:cubicBezTo>
                <a:cubicBezTo>
                  <a:pt x="5372043" y="3932032"/>
                  <a:pt x="5372043" y="3932032"/>
                  <a:pt x="5370108" y="3932032"/>
                </a:cubicBezTo>
                <a:cubicBezTo>
                  <a:pt x="5364306" y="3928164"/>
                  <a:pt x="5358503" y="3928164"/>
                  <a:pt x="5350766" y="3930097"/>
                </a:cubicBezTo>
                <a:close/>
                <a:moveTo>
                  <a:pt x="5393317" y="3924295"/>
                </a:moveTo>
                <a:cubicBezTo>
                  <a:pt x="5389449" y="3924295"/>
                  <a:pt x="5385581" y="3926228"/>
                  <a:pt x="5381712" y="3926228"/>
                </a:cubicBezTo>
                <a:cubicBezTo>
                  <a:pt x="5383645" y="3926228"/>
                  <a:pt x="5383645" y="3928164"/>
                  <a:pt x="5385581" y="3930097"/>
                </a:cubicBezTo>
                <a:cubicBezTo>
                  <a:pt x="5389449" y="3930097"/>
                  <a:pt x="5393317" y="3928164"/>
                  <a:pt x="5399121" y="3928164"/>
                </a:cubicBezTo>
                <a:cubicBezTo>
                  <a:pt x="5397185" y="3928164"/>
                  <a:pt x="5395252" y="3926228"/>
                  <a:pt x="5393317" y="3924295"/>
                </a:cubicBezTo>
                <a:close/>
                <a:moveTo>
                  <a:pt x="5492736" y="3920206"/>
                </a:moveTo>
                <a:lnTo>
                  <a:pt x="5495825" y="3920427"/>
                </a:lnTo>
                <a:lnTo>
                  <a:pt x="5496049" y="3922450"/>
                </a:lnTo>
                <a:lnTo>
                  <a:pt x="5495825" y="3922360"/>
                </a:lnTo>
                <a:cubicBezTo>
                  <a:pt x="5495825" y="3922360"/>
                  <a:pt x="5495825" y="3922360"/>
                  <a:pt x="5493889" y="3922360"/>
                </a:cubicBezTo>
                <a:close/>
                <a:moveTo>
                  <a:pt x="5368175" y="3914624"/>
                </a:moveTo>
                <a:lnTo>
                  <a:pt x="5367745" y="3915053"/>
                </a:lnTo>
                <a:lnTo>
                  <a:pt x="5327559" y="3922360"/>
                </a:lnTo>
                <a:cubicBezTo>
                  <a:pt x="5331427" y="3924295"/>
                  <a:pt x="5335293" y="3924295"/>
                  <a:pt x="5339162" y="3920427"/>
                </a:cubicBezTo>
                <a:cubicBezTo>
                  <a:pt x="5339162" y="3920427"/>
                  <a:pt x="5341097" y="3920427"/>
                  <a:pt x="5341097" y="3920427"/>
                </a:cubicBezTo>
                <a:cubicBezTo>
                  <a:pt x="5343030" y="3920427"/>
                  <a:pt x="5343030" y="3920427"/>
                  <a:pt x="5343030" y="3920427"/>
                </a:cubicBezTo>
                <a:cubicBezTo>
                  <a:pt x="5348833" y="3920427"/>
                  <a:pt x="5356570" y="3918492"/>
                  <a:pt x="5364306" y="3918492"/>
                </a:cubicBezTo>
                <a:lnTo>
                  <a:pt x="5367745" y="3915053"/>
                </a:lnTo>
                <a:lnTo>
                  <a:pt x="5370108" y="3914624"/>
                </a:lnTo>
                <a:cubicBezTo>
                  <a:pt x="5370108" y="3914624"/>
                  <a:pt x="5370108" y="3914624"/>
                  <a:pt x="5368175" y="3914624"/>
                </a:cubicBezTo>
                <a:close/>
                <a:moveTo>
                  <a:pt x="5503561" y="3899153"/>
                </a:moveTo>
                <a:cubicBezTo>
                  <a:pt x="5503561" y="3899153"/>
                  <a:pt x="5503561" y="3901086"/>
                  <a:pt x="5503561" y="3901086"/>
                </a:cubicBezTo>
                <a:cubicBezTo>
                  <a:pt x="5503561" y="3901086"/>
                  <a:pt x="5505497" y="3899153"/>
                  <a:pt x="5507430" y="3899153"/>
                </a:cubicBezTo>
                <a:cubicBezTo>
                  <a:pt x="5507430" y="3899153"/>
                  <a:pt x="5505497" y="3899153"/>
                  <a:pt x="5505497" y="3899153"/>
                </a:cubicBezTo>
                <a:cubicBezTo>
                  <a:pt x="5505497" y="3899153"/>
                  <a:pt x="5503561" y="3899153"/>
                  <a:pt x="5503561" y="3899153"/>
                </a:cubicBezTo>
                <a:close/>
                <a:moveTo>
                  <a:pt x="5549980" y="3897218"/>
                </a:moveTo>
                <a:cubicBezTo>
                  <a:pt x="5546112" y="3897218"/>
                  <a:pt x="5542244" y="3897218"/>
                  <a:pt x="5538376" y="3899153"/>
                </a:cubicBezTo>
                <a:cubicBezTo>
                  <a:pt x="5536440" y="3901086"/>
                  <a:pt x="5532572" y="3901086"/>
                  <a:pt x="5530639" y="3903019"/>
                </a:cubicBezTo>
                <a:cubicBezTo>
                  <a:pt x="5528704" y="3903019"/>
                  <a:pt x="5528704" y="3904954"/>
                  <a:pt x="5526771" y="3906887"/>
                </a:cubicBezTo>
                <a:cubicBezTo>
                  <a:pt x="5519034" y="3906887"/>
                  <a:pt x="5511298" y="3906887"/>
                  <a:pt x="5505497" y="3901086"/>
                </a:cubicBezTo>
                <a:cubicBezTo>
                  <a:pt x="5501628" y="3908822"/>
                  <a:pt x="5493889" y="3912691"/>
                  <a:pt x="5484220" y="3910755"/>
                </a:cubicBezTo>
                <a:cubicBezTo>
                  <a:pt x="5480352" y="3910755"/>
                  <a:pt x="5478419" y="3910755"/>
                  <a:pt x="5476483" y="3910755"/>
                </a:cubicBezTo>
                <a:cubicBezTo>
                  <a:pt x="5461010" y="3914624"/>
                  <a:pt x="5445537" y="3912691"/>
                  <a:pt x="5430064" y="3910755"/>
                </a:cubicBezTo>
                <a:cubicBezTo>
                  <a:pt x="5428131" y="3912691"/>
                  <a:pt x="5428131" y="3912691"/>
                  <a:pt x="5428131" y="3912691"/>
                </a:cubicBezTo>
                <a:cubicBezTo>
                  <a:pt x="5424263" y="3918492"/>
                  <a:pt x="5416527" y="3918492"/>
                  <a:pt x="5410723" y="3920427"/>
                </a:cubicBezTo>
                <a:cubicBezTo>
                  <a:pt x="5412658" y="3920427"/>
                  <a:pt x="5414594" y="3922360"/>
                  <a:pt x="5416527" y="3924295"/>
                </a:cubicBezTo>
                <a:cubicBezTo>
                  <a:pt x="5418462" y="3924295"/>
                  <a:pt x="5422328" y="3924295"/>
                  <a:pt x="5424263" y="3924295"/>
                </a:cubicBezTo>
                <a:cubicBezTo>
                  <a:pt x="5428131" y="3922360"/>
                  <a:pt x="5433933" y="3922360"/>
                  <a:pt x="5437803" y="3920427"/>
                </a:cubicBezTo>
                <a:cubicBezTo>
                  <a:pt x="5451341" y="3916559"/>
                  <a:pt x="5466814" y="3916559"/>
                  <a:pt x="5482287" y="3914624"/>
                </a:cubicBezTo>
                <a:cubicBezTo>
                  <a:pt x="5486154" y="3913657"/>
                  <a:pt x="5488572" y="3914141"/>
                  <a:pt x="5490264" y="3915592"/>
                </a:cubicBezTo>
                <a:lnTo>
                  <a:pt x="5492736" y="3920206"/>
                </a:lnTo>
                <a:lnTo>
                  <a:pt x="5482287" y="3919460"/>
                </a:lnTo>
                <a:cubicBezTo>
                  <a:pt x="5477935" y="3919943"/>
                  <a:pt x="5473583" y="3921394"/>
                  <a:pt x="5468747" y="3924295"/>
                </a:cubicBezTo>
                <a:cubicBezTo>
                  <a:pt x="5464879" y="3928164"/>
                  <a:pt x="5457142" y="3928164"/>
                  <a:pt x="5451341" y="3930097"/>
                </a:cubicBezTo>
                <a:cubicBezTo>
                  <a:pt x="5461010" y="3930097"/>
                  <a:pt x="5468747" y="3930097"/>
                  <a:pt x="5476483" y="3930097"/>
                </a:cubicBezTo>
                <a:cubicBezTo>
                  <a:pt x="5482287" y="3928164"/>
                  <a:pt x="5488088" y="3928164"/>
                  <a:pt x="5493889" y="3926228"/>
                </a:cubicBezTo>
                <a:cubicBezTo>
                  <a:pt x="5495823" y="3926228"/>
                  <a:pt x="5496307" y="3925745"/>
                  <a:pt x="5496308" y="3924778"/>
                </a:cubicBezTo>
                <a:lnTo>
                  <a:pt x="5496049" y="3922450"/>
                </a:lnTo>
                <a:lnTo>
                  <a:pt x="5505497" y="3926228"/>
                </a:lnTo>
                <a:cubicBezTo>
                  <a:pt x="5519034" y="3910755"/>
                  <a:pt x="5536440" y="3910755"/>
                  <a:pt x="5555781" y="3916559"/>
                </a:cubicBezTo>
                <a:cubicBezTo>
                  <a:pt x="5553849" y="3918492"/>
                  <a:pt x="5551913" y="3918492"/>
                  <a:pt x="5549980" y="3920427"/>
                </a:cubicBezTo>
                <a:cubicBezTo>
                  <a:pt x="5567386" y="3920427"/>
                  <a:pt x="5582859" y="3920427"/>
                  <a:pt x="5598332" y="3918492"/>
                </a:cubicBezTo>
                <a:cubicBezTo>
                  <a:pt x="5600265" y="3916559"/>
                  <a:pt x="5604133" y="3914624"/>
                  <a:pt x="5608002" y="3912691"/>
                </a:cubicBezTo>
                <a:cubicBezTo>
                  <a:pt x="5594464" y="3903019"/>
                  <a:pt x="5582859" y="3916559"/>
                  <a:pt x="5573190" y="3912691"/>
                </a:cubicBezTo>
                <a:cubicBezTo>
                  <a:pt x="5575123" y="3908822"/>
                  <a:pt x="5577056" y="3904954"/>
                  <a:pt x="5578991" y="3903019"/>
                </a:cubicBezTo>
                <a:cubicBezTo>
                  <a:pt x="5577056" y="3904954"/>
                  <a:pt x="5575123" y="3904954"/>
                  <a:pt x="5573190" y="3904954"/>
                </a:cubicBezTo>
                <a:cubicBezTo>
                  <a:pt x="5569322" y="3904954"/>
                  <a:pt x="5567386" y="3904954"/>
                  <a:pt x="5565453" y="3901086"/>
                </a:cubicBezTo>
                <a:cubicBezTo>
                  <a:pt x="5565453" y="3899153"/>
                  <a:pt x="5563518" y="3899153"/>
                  <a:pt x="5563518" y="3897218"/>
                </a:cubicBezTo>
                <a:cubicBezTo>
                  <a:pt x="5559650" y="3897218"/>
                  <a:pt x="5555781" y="3897218"/>
                  <a:pt x="5551913" y="3897218"/>
                </a:cubicBezTo>
                <a:cubicBezTo>
                  <a:pt x="5551913" y="3897218"/>
                  <a:pt x="5549980" y="3897218"/>
                  <a:pt x="5549980" y="3897218"/>
                </a:cubicBezTo>
                <a:close/>
                <a:moveTo>
                  <a:pt x="5604133" y="3885613"/>
                </a:moveTo>
                <a:cubicBezTo>
                  <a:pt x="5600265" y="3885613"/>
                  <a:pt x="5594464" y="3887548"/>
                  <a:pt x="5590596" y="3887548"/>
                </a:cubicBezTo>
                <a:cubicBezTo>
                  <a:pt x="5582859" y="3887548"/>
                  <a:pt x="5580924" y="3891414"/>
                  <a:pt x="5577056" y="3897218"/>
                </a:cubicBezTo>
                <a:cubicBezTo>
                  <a:pt x="5578991" y="3899153"/>
                  <a:pt x="5580924" y="3899153"/>
                  <a:pt x="5582859" y="3901086"/>
                </a:cubicBezTo>
                <a:cubicBezTo>
                  <a:pt x="5586728" y="3899153"/>
                  <a:pt x="5590596" y="3897218"/>
                  <a:pt x="5602201" y="3895282"/>
                </a:cubicBezTo>
                <a:cubicBezTo>
                  <a:pt x="5613805" y="3891414"/>
                  <a:pt x="5621542" y="3895282"/>
                  <a:pt x="5629278" y="3903019"/>
                </a:cubicBezTo>
                <a:cubicBezTo>
                  <a:pt x="5633147" y="3901086"/>
                  <a:pt x="5638948" y="3897218"/>
                  <a:pt x="5642816" y="3895282"/>
                </a:cubicBezTo>
                <a:cubicBezTo>
                  <a:pt x="5638948" y="3893349"/>
                  <a:pt x="5635080" y="3893349"/>
                  <a:pt x="5631211" y="3891414"/>
                </a:cubicBezTo>
                <a:cubicBezTo>
                  <a:pt x="5629278" y="3891414"/>
                  <a:pt x="5627343" y="3889481"/>
                  <a:pt x="5625410" y="3889481"/>
                </a:cubicBezTo>
                <a:cubicBezTo>
                  <a:pt x="5621542" y="3889481"/>
                  <a:pt x="5619607" y="3889481"/>
                  <a:pt x="5617674" y="3889481"/>
                </a:cubicBezTo>
                <a:cubicBezTo>
                  <a:pt x="5617674" y="3887548"/>
                  <a:pt x="5619607" y="3887548"/>
                  <a:pt x="5619607" y="3887548"/>
                </a:cubicBezTo>
                <a:cubicBezTo>
                  <a:pt x="5615738" y="3887548"/>
                  <a:pt x="5609937" y="3887548"/>
                  <a:pt x="5604133" y="3885613"/>
                </a:cubicBezTo>
                <a:close/>
                <a:moveTo>
                  <a:pt x="5228918" y="3870140"/>
                </a:moveTo>
                <a:cubicBezTo>
                  <a:pt x="5225052" y="3870140"/>
                  <a:pt x="5223116" y="3870140"/>
                  <a:pt x="5219248" y="3872075"/>
                </a:cubicBezTo>
                <a:cubicBezTo>
                  <a:pt x="5221183" y="3872075"/>
                  <a:pt x="5221183" y="3872075"/>
                  <a:pt x="5221183" y="3872075"/>
                </a:cubicBezTo>
                <a:cubicBezTo>
                  <a:pt x="5223116" y="3872075"/>
                  <a:pt x="5226985" y="3870140"/>
                  <a:pt x="5228918" y="3870140"/>
                </a:cubicBezTo>
                <a:close/>
                <a:moveTo>
                  <a:pt x="5443604" y="3862403"/>
                </a:moveTo>
                <a:cubicBezTo>
                  <a:pt x="5441669" y="3864339"/>
                  <a:pt x="5441669" y="3864339"/>
                  <a:pt x="5441669" y="3864339"/>
                </a:cubicBezTo>
                <a:cubicBezTo>
                  <a:pt x="5443604" y="3864339"/>
                  <a:pt x="5443604" y="3864339"/>
                  <a:pt x="5445537" y="3864339"/>
                </a:cubicBezTo>
                <a:cubicBezTo>
                  <a:pt x="5445537" y="3864339"/>
                  <a:pt x="5443604" y="3864339"/>
                  <a:pt x="5443604" y="3862403"/>
                </a:cubicBezTo>
                <a:close/>
                <a:moveTo>
                  <a:pt x="5478177" y="3853701"/>
                </a:moveTo>
                <a:cubicBezTo>
                  <a:pt x="5473100" y="3854184"/>
                  <a:pt x="5467781" y="3855635"/>
                  <a:pt x="5461010" y="3858535"/>
                </a:cubicBezTo>
                <a:cubicBezTo>
                  <a:pt x="5464879" y="3858535"/>
                  <a:pt x="5470680" y="3858535"/>
                  <a:pt x="5474551" y="3858535"/>
                </a:cubicBezTo>
                <a:cubicBezTo>
                  <a:pt x="5480352" y="3856602"/>
                  <a:pt x="5488088" y="3856602"/>
                  <a:pt x="5493889" y="3854667"/>
                </a:cubicBezTo>
                <a:cubicBezTo>
                  <a:pt x="5488088" y="3853700"/>
                  <a:pt x="5483254" y="3853217"/>
                  <a:pt x="5478177" y="3853701"/>
                </a:cubicBezTo>
                <a:close/>
                <a:moveTo>
                  <a:pt x="5422328" y="3848866"/>
                </a:moveTo>
                <a:cubicBezTo>
                  <a:pt x="5422328" y="3850798"/>
                  <a:pt x="5422328" y="3848866"/>
                  <a:pt x="5424263" y="3848866"/>
                </a:cubicBezTo>
                <a:cubicBezTo>
                  <a:pt x="5424263" y="3848866"/>
                  <a:pt x="5424263" y="3850798"/>
                  <a:pt x="5424263" y="3850798"/>
                </a:cubicBezTo>
                <a:cubicBezTo>
                  <a:pt x="5424263" y="3850798"/>
                  <a:pt x="5422328" y="3850798"/>
                  <a:pt x="5422328" y="3848866"/>
                </a:cubicBezTo>
                <a:close/>
                <a:moveTo>
                  <a:pt x="5399121" y="3844997"/>
                </a:moveTo>
                <a:cubicBezTo>
                  <a:pt x="5395252" y="3844997"/>
                  <a:pt x="5389449" y="3846930"/>
                  <a:pt x="5385581" y="3846930"/>
                </a:cubicBezTo>
                <a:cubicBezTo>
                  <a:pt x="5366239" y="3850798"/>
                  <a:pt x="5344965" y="3850798"/>
                  <a:pt x="5327559" y="3860470"/>
                </a:cubicBezTo>
                <a:cubicBezTo>
                  <a:pt x="5323689" y="3862403"/>
                  <a:pt x="5321756" y="3862403"/>
                  <a:pt x="5317887" y="3862403"/>
                </a:cubicBezTo>
                <a:cubicBezTo>
                  <a:pt x="5315952" y="3862403"/>
                  <a:pt x="5312086" y="3856602"/>
                  <a:pt x="5314019" y="3852734"/>
                </a:cubicBezTo>
                <a:cubicBezTo>
                  <a:pt x="5314019" y="3850798"/>
                  <a:pt x="5315952" y="3850798"/>
                  <a:pt x="5315952" y="3848866"/>
                </a:cubicBezTo>
                <a:cubicBezTo>
                  <a:pt x="5315952" y="3848866"/>
                  <a:pt x="5314019" y="3848866"/>
                  <a:pt x="5314019" y="3848866"/>
                </a:cubicBezTo>
                <a:cubicBezTo>
                  <a:pt x="5304350" y="3848866"/>
                  <a:pt x="5292745" y="3852734"/>
                  <a:pt x="5283073" y="3854667"/>
                </a:cubicBezTo>
                <a:cubicBezTo>
                  <a:pt x="5273404" y="3856602"/>
                  <a:pt x="5265667" y="3860470"/>
                  <a:pt x="5255995" y="3862403"/>
                </a:cubicBezTo>
                <a:cubicBezTo>
                  <a:pt x="5250194" y="3870140"/>
                  <a:pt x="5250194" y="3872075"/>
                  <a:pt x="5236654" y="3872075"/>
                </a:cubicBezTo>
                <a:cubicBezTo>
                  <a:pt x="5226985" y="3875943"/>
                  <a:pt x="5211512" y="3879812"/>
                  <a:pt x="5184434" y="3885613"/>
                </a:cubicBezTo>
                <a:cubicBezTo>
                  <a:pt x="5184434" y="3885613"/>
                  <a:pt x="5182501" y="3885613"/>
                  <a:pt x="5180566" y="3885613"/>
                </a:cubicBezTo>
                <a:cubicBezTo>
                  <a:pt x="5172829" y="3889481"/>
                  <a:pt x="5163160" y="3889481"/>
                  <a:pt x="5155423" y="3891414"/>
                </a:cubicBezTo>
                <a:cubicBezTo>
                  <a:pt x="5153488" y="3891414"/>
                  <a:pt x="5149620" y="3893349"/>
                  <a:pt x="5147687" y="3893349"/>
                </a:cubicBezTo>
                <a:cubicBezTo>
                  <a:pt x="5151555" y="3895282"/>
                  <a:pt x="5153488" y="3895282"/>
                  <a:pt x="5155423" y="3897218"/>
                </a:cubicBezTo>
                <a:cubicBezTo>
                  <a:pt x="5151555" y="3899153"/>
                  <a:pt x="5149620" y="3903019"/>
                  <a:pt x="5145751" y="3904954"/>
                </a:cubicBezTo>
                <a:cubicBezTo>
                  <a:pt x="5147687" y="3908822"/>
                  <a:pt x="5151555" y="3906887"/>
                  <a:pt x="5155423" y="3906887"/>
                </a:cubicBezTo>
                <a:cubicBezTo>
                  <a:pt x="5155423" y="3906887"/>
                  <a:pt x="5153488" y="3908822"/>
                  <a:pt x="5153488" y="3908822"/>
                </a:cubicBezTo>
                <a:cubicBezTo>
                  <a:pt x="5143818" y="3912691"/>
                  <a:pt x="5134149" y="3916559"/>
                  <a:pt x="5124477" y="3918492"/>
                </a:cubicBezTo>
                <a:cubicBezTo>
                  <a:pt x="5114808" y="3920427"/>
                  <a:pt x="5105136" y="3922360"/>
                  <a:pt x="5097399" y="3926228"/>
                </a:cubicBezTo>
                <a:cubicBezTo>
                  <a:pt x="5109004" y="3932032"/>
                  <a:pt x="5120609" y="3930097"/>
                  <a:pt x="5132214" y="3926228"/>
                </a:cubicBezTo>
                <a:cubicBezTo>
                  <a:pt x="5139950" y="3924295"/>
                  <a:pt x="5139950" y="3924295"/>
                  <a:pt x="5147687" y="3928164"/>
                </a:cubicBezTo>
                <a:lnTo>
                  <a:pt x="5146929" y="3928488"/>
                </a:lnTo>
                <a:lnTo>
                  <a:pt x="5137774" y="3929131"/>
                </a:lnTo>
                <a:cubicBezTo>
                  <a:pt x="5133664" y="3930098"/>
                  <a:pt x="5129312" y="3932032"/>
                  <a:pt x="5122542" y="3935900"/>
                </a:cubicBezTo>
                <a:lnTo>
                  <a:pt x="5124475" y="3935900"/>
                </a:lnTo>
                <a:lnTo>
                  <a:pt x="5109004" y="3939768"/>
                </a:lnTo>
                <a:lnTo>
                  <a:pt x="5108290" y="3941911"/>
                </a:lnTo>
                <a:lnTo>
                  <a:pt x="5088581" y="3945339"/>
                </a:lnTo>
                <a:lnTo>
                  <a:pt x="5087730" y="3943637"/>
                </a:lnTo>
                <a:lnTo>
                  <a:pt x="5069255" y="3945483"/>
                </a:lnTo>
                <a:lnTo>
                  <a:pt x="5066453" y="3941701"/>
                </a:lnTo>
                <a:cubicBezTo>
                  <a:pt x="5066453" y="3943637"/>
                  <a:pt x="5066453" y="3943637"/>
                  <a:pt x="5066453" y="3943637"/>
                </a:cubicBezTo>
                <a:cubicBezTo>
                  <a:pt x="5066453" y="3943637"/>
                  <a:pt x="5068389" y="3945570"/>
                  <a:pt x="5068389" y="3945570"/>
                </a:cubicBezTo>
                <a:lnTo>
                  <a:pt x="5069255" y="3945483"/>
                </a:lnTo>
                <a:lnTo>
                  <a:pt x="5071290" y="3948230"/>
                </a:lnTo>
                <a:cubicBezTo>
                  <a:pt x="5072741" y="3948955"/>
                  <a:pt x="5074191" y="3948472"/>
                  <a:pt x="5076125" y="3947505"/>
                </a:cubicBezTo>
                <a:lnTo>
                  <a:pt x="5088581" y="3945339"/>
                </a:lnTo>
                <a:lnTo>
                  <a:pt x="5091598" y="3951373"/>
                </a:lnTo>
                <a:cubicBezTo>
                  <a:pt x="5097399" y="3951373"/>
                  <a:pt x="5101268" y="3949438"/>
                  <a:pt x="5107071" y="3947505"/>
                </a:cubicBezTo>
                <a:cubicBezTo>
                  <a:pt x="5110939" y="3945570"/>
                  <a:pt x="5116741" y="3945570"/>
                  <a:pt x="5120609" y="3947505"/>
                </a:cubicBezTo>
                <a:cubicBezTo>
                  <a:pt x="5120609" y="3947505"/>
                  <a:pt x="5120609" y="3945570"/>
                  <a:pt x="5120609" y="3945570"/>
                </a:cubicBezTo>
                <a:cubicBezTo>
                  <a:pt x="5116741" y="3945570"/>
                  <a:pt x="5110939" y="3945570"/>
                  <a:pt x="5107071" y="3945570"/>
                </a:cubicBezTo>
                <a:lnTo>
                  <a:pt x="5108290" y="3941911"/>
                </a:lnTo>
                <a:lnTo>
                  <a:pt x="5120609" y="3939768"/>
                </a:lnTo>
                <a:lnTo>
                  <a:pt x="5146929" y="3928488"/>
                </a:lnTo>
                <a:lnTo>
                  <a:pt x="5151555" y="3928164"/>
                </a:lnTo>
                <a:cubicBezTo>
                  <a:pt x="5161224" y="3926228"/>
                  <a:pt x="5168961" y="3924295"/>
                  <a:pt x="5176697" y="3922360"/>
                </a:cubicBezTo>
                <a:cubicBezTo>
                  <a:pt x="5174764" y="3922360"/>
                  <a:pt x="5170896" y="3920427"/>
                  <a:pt x="5167028" y="3918492"/>
                </a:cubicBezTo>
                <a:cubicBezTo>
                  <a:pt x="5178633" y="3912691"/>
                  <a:pt x="5188302" y="3910755"/>
                  <a:pt x="5197974" y="3908822"/>
                </a:cubicBezTo>
                <a:cubicBezTo>
                  <a:pt x="5199907" y="3906887"/>
                  <a:pt x="5201842" y="3908822"/>
                  <a:pt x="5203775" y="3908822"/>
                </a:cubicBezTo>
                <a:cubicBezTo>
                  <a:pt x="5211512" y="3914624"/>
                  <a:pt x="5217315" y="3912691"/>
                  <a:pt x="5225052" y="3908822"/>
                </a:cubicBezTo>
                <a:cubicBezTo>
                  <a:pt x="5232786" y="3903019"/>
                  <a:pt x="5242458" y="3903019"/>
                  <a:pt x="5252127" y="3903019"/>
                </a:cubicBezTo>
                <a:cubicBezTo>
                  <a:pt x="5254062" y="3903019"/>
                  <a:pt x="5254062" y="3903019"/>
                  <a:pt x="5255995" y="3903019"/>
                </a:cubicBezTo>
                <a:cubicBezTo>
                  <a:pt x="5257931" y="3901086"/>
                  <a:pt x="5259864" y="3901086"/>
                  <a:pt x="5261799" y="3901086"/>
                </a:cubicBezTo>
                <a:cubicBezTo>
                  <a:pt x="5277270" y="3897218"/>
                  <a:pt x="5294678" y="3893349"/>
                  <a:pt x="5310151" y="3889481"/>
                </a:cubicBezTo>
                <a:cubicBezTo>
                  <a:pt x="5310151" y="3889481"/>
                  <a:pt x="5310151" y="3887548"/>
                  <a:pt x="5310151" y="3887548"/>
                </a:cubicBezTo>
                <a:cubicBezTo>
                  <a:pt x="5310151" y="3887548"/>
                  <a:pt x="5312086" y="3885613"/>
                  <a:pt x="5312086" y="3885613"/>
                </a:cubicBezTo>
                <a:cubicBezTo>
                  <a:pt x="5315952" y="3885613"/>
                  <a:pt x="5321756" y="3885613"/>
                  <a:pt x="5327559" y="3885613"/>
                </a:cubicBezTo>
                <a:cubicBezTo>
                  <a:pt x="5335293" y="3883677"/>
                  <a:pt x="5344965" y="3881745"/>
                  <a:pt x="5352702" y="3879812"/>
                </a:cubicBezTo>
                <a:cubicBezTo>
                  <a:pt x="5354635" y="3879812"/>
                  <a:pt x="5354635" y="3877876"/>
                  <a:pt x="5356570" y="3877876"/>
                </a:cubicBezTo>
                <a:cubicBezTo>
                  <a:pt x="5362371" y="3875943"/>
                  <a:pt x="5370108" y="3874008"/>
                  <a:pt x="5377844" y="3874008"/>
                </a:cubicBezTo>
                <a:cubicBezTo>
                  <a:pt x="5383645" y="3872075"/>
                  <a:pt x="5389449" y="3872075"/>
                  <a:pt x="5395252" y="3872075"/>
                </a:cubicBezTo>
                <a:cubicBezTo>
                  <a:pt x="5402987" y="3868207"/>
                  <a:pt x="5410723" y="3864339"/>
                  <a:pt x="5418462" y="3862403"/>
                </a:cubicBezTo>
                <a:cubicBezTo>
                  <a:pt x="5424263" y="3862403"/>
                  <a:pt x="5428131" y="3860470"/>
                  <a:pt x="5432000" y="3860470"/>
                </a:cubicBezTo>
                <a:cubicBezTo>
                  <a:pt x="5432000" y="3860470"/>
                  <a:pt x="5432000" y="3858535"/>
                  <a:pt x="5432000" y="3856602"/>
                </a:cubicBezTo>
                <a:cubicBezTo>
                  <a:pt x="5432000" y="3856602"/>
                  <a:pt x="5435868" y="3854667"/>
                  <a:pt x="5437803" y="3854667"/>
                </a:cubicBezTo>
                <a:cubicBezTo>
                  <a:pt x="5445537" y="3852734"/>
                  <a:pt x="5453274" y="3852734"/>
                  <a:pt x="5461010" y="3852734"/>
                </a:cubicBezTo>
                <a:cubicBezTo>
                  <a:pt x="5461010" y="3850798"/>
                  <a:pt x="5459078" y="3848866"/>
                  <a:pt x="5459078" y="3844997"/>
                </a:cubicBezTo>
                <a:cubicBezTo>
                  <a:pt x="5455209" y="3844997"/>
                  <a:pt x="5453274" y="3846930"/>
                  <a:pt x="5451341" y="3846930"/>
                </a:cubicBezTo>
                <a:cubicBezTo>
                  <a:pt x="5439736" y="3850798"/>
                  <a:pt x="5428131" y="3852734"/>
                  <a:pt x="5416527" y="3846930"/>
                </a:cubicBezTo>
                <a:cubicBezTo>
                  <a:pt x="5414594" y="3846930"/>
                  <a:pt x="5410723" y="3844997"/>
                  <a:pt x="5408790" y="3844997"/>
                </a:cubicBezTo>
                <a:cubicBezTo>
                  <a:pt x="5402987" y="3844997"/>
                  <a:pt x="5401054" y="3846930"/>
                  <a:pt x="5399121" y="3854667"/>
                </a:cubicBezTo>
                <a:cubicBezTo>
                  <a:pt x="5404922" y="3858535"/>
                  <a:pt x="5412658" y="3854667"/>
                  <a:pt x="5418462" y="3858535"/>
                </a:cubicBezTo>
                <a:cubicBezTo>
                  <a:pt x="5416527" y="3860470"/>
                  <a:pt x="5416527" y="3862403"/>
                  <a:pt x="5414594" y="3862403"/>
                </a:cubicBezTo>
                <a:cubicBezTo>
                  <a:pt x="5399121" y="3864339"/>
                  <a:pt x="5383645" y="3866272"/>
                  <a:pt x="5368175" y="3866272"/>
                </a:cubicBezTo>
                <a:cubicBezTo>
                  <a:pt x="5368175" y="3866272"/>
                  <a:pt x="5366239" y="3866272"/>
                  <a:pt x="5366239" y="3864339"/>
                </a:cubicBezTo>
                <a:cubicBezTo>
                  <a:pt x="5368175" y="3858535"/>
                  <a:pt x="5372043" y="3862403"/>
                  <a:pt x="5375911" y="3862403"/>
                </a:cubicBezTo>
                <a:cubicBezTo>
                  <a:pt x="5379779" y="3860470"/>
                  <a:pt x="5383645" y="3860470"/>
                  <a:pt x="5387514" y="3860470"/>
                </a:cubicBezTo>
                <a:cubicBezTo>
                  <a:pt x="5391384" y="3856602"/>
                  <a:pt x="5395252" y="3852734"/>
                  <a:pt x="5397185" y="3848866"/>
                </a:cubicBezTo>
                <a:cubicBezTo>
                  <a:pt x="5397185" y="3846930"/>
                  <a:pt x="5397185" y="3844997"/>
                  <a:pt x="5399121" y="3844997"/>
                </a:cubicBezTo>
                <a:close/>
                <a:moveTo>
                  <a:pt x="5491956" y="3843062"/>
                </a:moveTo>
                <a:cubicBezTo>
                  <a:pt x="5491956" y="3843062"/>
                  <a:pt x="5490021" y="3844997"/>
                  <a:pt x="5490021" y="3844997"/>
                </a:cubicBezTo>
                <a:cubicBezTo>
                  <a:pt x="5490021" y="3846930"/>
                  <a:pt x="5491956" y="3846930"/>
                  <a:pt x="5493889" y="3846930"/>
                </a:cubicBezTo>
                <a:cubicBezTo>
                  <a:pt x="5493889" y="3846930"/>
                  <a:pt x="5493889" y="3844997"/>
                  <a:pt x="5493889" y="3844997"/>
                </a:cubicBezTo>
                <a:cubicBezTo>
                  <a:pt x="5493889" y="3844997"/>
                  <a:pt x="5491956" y="3843062"/>
                  <a:pt x="5491956" y="3843062"/>
                </a:cubicBezTo>
                <a:close/>
                <a:moveTo>
                  <a:pt x="5531847" y="3842579"/>
                </a:moveTo>
                <a:cubicBezTo>
                  <a:pt x="5530639" y="3842579"/>
                  <a:pt x="5529672" y="3843063"/>
                  <a:pt x="5528704" y="3844997"/>
                </a:cubicBezTo>
                <a:cubicBezTo>
                  <a:pt x="5530639" y="3843062"/>
                  <a:pt x="5534507" y="3843062"/>
                  <a:pt x="5536440" y="3843062"/>
                </a:cubicBezTo>
                <a:cubicBezTo>
                  <a:pt x="5534506" y="3843062"/>
                  <a:pt x="5533056" y="3842579"/>
                  <a:pt x="5531847" y="3842579"/>
                </a:cubicBezTo>
                <a:close/>
                <a:moveTo>
                  <a:pt x="5281140" y="3839194"/>
                </a:moveTo>
                <a:cubicBezTo>
                  <a:pt x="5277270" y="3841129"/>
                  <a:pt x="5273404" y="3841129"/>
                  <a:pt x="5269535" y="3843062"/>
                </a:cubicBezTo>
                <a:cubicBezTo>
                  <a:pt x="5271468" y="3843062"/>
                  <a:pt x="5273404" y="3843062"/>
                  <a:pt x="5275337" y="3843062"/>
                </a:cubicBezTo>
                <a:cubicBezTo>
                  <a:pt x="5277270" y="3843062"/>
                  <a:pt x="5279205" y="3841129"/>
                  <a:pt x="5281140" y="3839194"/>
                </a:cubicBezTo>
                <a:close/>
                <a:moveTo>
                  <a:pt x="5582859" y="3837261"/>
                </a:moveTo>
                <a:cubicBezTo>
                  <a:pt x="5575123" y="3839194"/>
                  <a:pt x="5565453" y="3839194"/>
                  <a:pt x="5553849" y="3843062"/>
                </a:cubicBezTo>
                <a:cubicBezTo>
                  <a:pt x="5549980" y="3843062"/>
                  <a:pt x="5548045" y="3844997"/>
                  <a:pt x="5544177" y="3846930"/>
                </a:cubicBezTo>
                <a:cubicBezTo>
                  <a:pt x="5542244" y="3848866"/>
                  <a:pt x="5540308" y="3850798"/>
                  <a:pt x="5538376" y="3852734"/>
                </a:cubicBezTo>
                <a:cubicBezTo>
                  <a:pt x="5549980" y="3852734"/>
                  <a:pt x="5561585" y="3852734"/>
                  <a:pt x="5571255" y="3850798"/>
                </a:cubicBezTo>
                <a:cubicBezTo>
                  <a:pt x="5571255" y="3848866"/>
                  <a:pt x="5573190" y="3848866"/>
                  <a:pt x="5573190" y="3848866"/>
                </a:cubicBezTo>
                <a:cubicBezTo>
                  <a:pt x="5575123" y="3848866"/>
                  <a:pt x="5575123" y="3848866"/>
                  <a:pt x="5577056" y="3848866"/>
                </a:cubicBezTo>
                <a:cubicBezTo>
                  <a:pt x="5578991" y="3846930"/>
                  <a:pt x="5578991" y="3846930"/>
                  <a:pt x="5580924" y="3846930"/>
                </a:cubicBezTo>
                <a:cubicBezTo>
                  <a:pt x="5584795" y="3844997"/>
                  <a:pt x="5590596" y="3843062"/>
                  <a:pt x="5596397" y="3841129"/>
                </a:cubicBezTo>
                <a:cubicBezTo>
                  <a:pt x="5596397" y="3839194"/>
                  <a:pt x="5598332" y="3839194"/>
                  <a:pt x="5598332" y="3839194"/>
                </a:cubicBezTo>
                <a:cubicBezTo>
                  <a:pt x="5594464" y="3837261"/>
                  <a:pt x="5588663" y="3835325"/>
                  <a:pt x="5582859" y="3837261"/>
                </a:cubicBezTo>
                <a:close/>
                <a:moveTo>
                  <a:pt x="5480352" y="3829524"/>
                </a:moveTo>
                <a:cubicBezTo>
                  <a:pt x="5474551" y="3829524"/>
                  <a:pt x="5468747" y="3831457"/>
                  <a:pt x="5462946" y="3833393"/>
                </a:cubicBezTo>
                <a:cubicBezTo>
                  <a:pt x="5457142" y="3835325"/>
                  <a:pt x="5449406" y="3837261"/>
                  <a:pt x="5443604" y="3839194"/>
                </a:cubicBezTo>
                <a:cubicBezTo>
                  <a:pt x="5439736" y="3839194"/>
                  <a:pt x="5439736" y="3839194"/>
                  <a:pt x="5437803" y="3839194"/>
                </a:cubicBezTo>
                <a:cubicBezTo>
                  <a:pt x="5437803" y="3839194"/>
                  <a:pt x="5437803" y="3841129"/>
                  <a:pt x="5437803" y="3841129"/>
                </a:cubicBezTo>
                <a:cubicBezTo>
                  <a:pt x="5437803" y="3841129"/>
                  <a:pt x="5439736" y="3841129"/>
                  <a:pt x="5439736" y="3841129"/>
                </a:cubicBezTo>
                <a:cubicBezTo>
                  <a:pt x="5441669" y="3841129"/>
                  <a:pt x="5441669" y="3839194"/>
                  <a:pt x="5443604" y="3839194"/>
                </a:cubicBezTo>
                <a:cubicBezTo>
                  <a:pt x="5445537" y="3839194"/>
                  <a:pt x="5449406" y="3841129"/>
                  <a:pt x="5451341" y="3841129"/>
                </a:cubicBezTo>
                <a:cubicBezTo>
                  <a:pt x="5453274" y="3841129"/>
                  <a:pt x="5457142" y="3843062"/>
                  <a:pt x="5459078" y="3843062"/>
                </a:cubicBezTo>
                <a:cubicBezTo>
                  <a:pt x="5462946" y="3843062"/>
                  <a:pt x="5464879" y="3841129"/>
                  <a:pt x="5464879" y="3837261"/>
                </a:cubicBezTo>
                <a:cubicBezTo>
                  <a:pt x="5466814" y="3837261"/>
                  <a:pt x="5468747" y="3837261"/>
                  <a:pt x="5470680" y="3837261"/>
                </a:cubicBezTo>
                <a:cubicBezTo>
                  <a:pt x="5470680" y="3837261"/>
                  <a:pt x="5472615" y="3835325"/>
                  <a:pt x="5472615" y="3835325"/>
                </a:cubicBezTo>
                <a:cubicBezTo>
                  <a:pt x="5474551" y="3833393"/>
                  <a:pt x="5478419" y="3831457"/>
                  <a:pt x="5480352" y="3829524"/>
                </a:cubicBezTo>
                <a:close/>
                <a:moveTo>
                  <a:pt x="5517099" y="3827589"/>
                </a:moveTo>
                <a:cubicBezTo>
                  <a:pt x="5507430" y="3829524"/>
                  <a:pt x="5497758" y="3829524"/>
                  <a:pt x="5488088" y="3829524"/>
                </a:cubicBezTo>
                <a:cubicBezTo>
                  <a:pt x="5490021" y="3831457"/>
                  <a:pt x="5490021" y="3833393"/>
                  <a:pt x="5491956" y="3835325"/>
                </a:cubicBezTo>
                <a:cubicBezTo>
                  <a:pt x="5513231" y="3835325"/>
                  <a:pt x="5534507" y="3833393"/>
                  <a:pt x="5555781" y="3833393"/>
                </a:cubicBezTo>
                <a:cubicBezTo>
                  <a:pt x="5549980" y="3829524"/>
                  <a:pt x="5542244" y="3829524"/>
                  <a:pt x="5534507" y="3829524"/>
                </a:cubicBezTo>
                <a:cubicBezTo>
                  <a:pt x="5528704" y="3829524"/>
                  <a:pt x="5522903" y="3831457"/>
                  <a:pt x="5517099" y="3827589"/>
                </a:cubicBezTo>
                <a:close/>
                <a:moveTo>
                  <a:pt x="5613805" y="3825656"/>
                </a:moveTo>
                <a:cubicBezTo>
                  <a:pt x="5611872" y="3825656"/>
                  <a:pt x="5611872" y="3827589"/>
                  <a:pt x="5606069" y="3829524"/>
                </a:cubicBezTo>
                <a:cubicBezTo>
                  <a:pt x="5609937" y="3829524"/>
                  <a:pt x="5609937" y="3831457"/>
                  <a:pt x="5611872" y="3831457"/>
                </a:cubicBezTo>
                <a:cubicBezTo>
                  <a:pt x="5613805" y="3831457"/>
                  <a:pt x="5613805" y="3831457"/>
                  <a:pt x="5613805" y="3831457"/>
                </a:cubicBezTo>
                <a:cubicBezTo>
                  <a:pt x="5617674" y="3829524"/>
                  <a:pt x="5621542" y="3827589"/>
                  <a:pt x="5625410" y="3825656"/>
                </a:cubicBezTo>
                <a:cubicBezTo>
                  <a:pt x="5621542" y="3825656"/>
                  <a:pt x="5617674" y="3825656"/>
                  <a:pt x="5613805" y="3825656"/>
                </a:cubicBezTo>
                <a:close/>
                <a:moveTo>
                  <a:pt x="5756928" y="3815984"/>
                </a:moveTo>
                <a:cubicBezTo>
                  <a:pt x="5756928" y="3815984"/>
                  <a:pt x="5756928" y="3817919"/>
                  <a:pt x="5756928" y="3817919"/>
                </a:cubicBezTo>
                <a:cubicBezTo>
                  <a:pt x="5758864" y="3815984"/>
                  <a:pt x="5760797" y="3815984"/>
                  <a:pt x="5762732" y="3815984"/>
                </a:cubicBezTo>
                <a:cubicBezTo>
                  <a:pt x="5760797" y="3815984"/>
                  <a:pt x="5758864" y="3815984"/>
                  <a:pt x="5756928" y="3815984"/>
                </a:cubicBezTo>
                <a:close/>
                <a:moveTo>
                  <a:pt x="5548045" y="3812118"/>
                </a:moveTo>
                <a:cubicBezTo>
                  <a:pt x="5548045" y="3812118"/>
                  <a:pt x="5549980" y="3814051"/>
                  <a:pt x="5549980" y="3814051"/>
                </a:cubicBezTo>
                <a:cubicBezTo>
                  <a:pt x="5549980" y="3814051"/>
                  <a:pt x="5551913" y="3812118"/>
                  <a:pt x="5551913" y="3812118"/>
                </a:cubicBezTo>
                <a:cubicBezTo>
                  <a:pt x="5551913" y="3812118"/>
                  <a:pt x="5549980" y="3812118"/>
                  <a:pt x="5549980" y="3812118"/>
                </a:cubicBezTo>
                <a:cubicBezTo>
                  <a:pt x="5549980" y="3812118"/>
                  <a:pt x="5548045" y="3812118"/>
                  <a:pt x="5548045" y="3812118"/>
                </a:cubicBezTo>
                <a:close/>
                <a:moveTo>
                  <a:pt x="5503561" y="3798578"/>
                </a:moveTo>
                <a:cubicBezTo>
                  <a:pt x="5501628" y="3800514"/>
                  <a:pt x="5497758" y="3800514"/>
                  <a:pt x="5495825" y="3800514"/>
                </a:cubicBezTo>
                <a:cubicBezTo>
                  <a:pt x="5470680" y="3796643"/>
                  <a:pt x="5445537" y="3806315"/>
                  <a:pt x="5422328" y="3812118"/>
                </a:cubicBezTo>
                <a:cubicBezTo>
                  <a:pt x="5406855" y="3815984"/>
                  <a:pt x="5393317" y="3819852"/>
                  <a:pt x="5377844" y="3821788"/>
                </a:cubicBezTo>
                <a:cubicBezTo>
                  <a:pt x="5377844" y="3821788"/>
                  <a:pt x="5375911" y="3823721"/>
                  <a:pt x="5375911" y="3823721"/>
                </a:cubicBezTo>
                <a:cubicBezTo>
                  <a:pt x="5368175" y="3825656"/>
                  <a:pt x="5362371" y="3825656"/>
                  <a:pt x="5354635" y="3825656"/>
                </a:cubicBezTo>
                <a:cubicBezTo>
                  <a:pt x="5350766" y="3825656"/>
                  <a:pt x="5346898" y="3827589"/>
                  <a:pt x="5343030" y="3825656"/>
                </a:cubicBezTo>
                <a:cubicBezTo>
                  <a:pt x="5339162" y="3823721"/>
                  <a:pt x="5335293" y="3823721"/>
                  <a:pt x="5331427" y="3823721"/>
                </a:cubicBezTo>
                <a:cubicBezTo>
                  <a:pt x="5331427" y="3825656"/>
                  <a:pt x="5331427" y="3825656"/>
                  <a:pt x="5331427" y="3827589"/>
                </a:cubicBezTo>
                <a:cubicBezTo>
                  <a:pt x="5325624" y="3829524"/>
                  <a:pt x="5321756" y="3827589"/>
                  <a:pt x="5317887" y="3825656"/>
                </a:cubicBezTo>
                <a:cubicBezTo>
                  <a:pt x="5314019" y="3827589"/>
                  <a:pt x="5310151" y="3827589"/>
                  <a:pt x="5306283" y="3829524"/>
                </a:cubicBezTo>
                <a:cubicBezTo>
                  <a:pt x="5308218" y="3831457"/>
                  <a:pt x="5308218" y="3831457"/>
                  <a:pt x="5308218" y="3833393"/>
                </a:cubicBezTo>
                <a:cubicBezTo>
                  <a:pt x="5304350" y="3835325"/>
                  <a:pt x="5298546" y="3835325"/>
                  <a:pt x="5296611" y="3835325"/>
                </a:cubicBezTo>
                <a:cubicBezTo>
                  <a:pt x="5292745" y="3837261"/>
                  <a:pt x="5290810" y="3841129"/>
                  <a:pt x="5288877" y="3843062"/>
                </a:cubicBezTo>
                <a:cubicBezTo>
                  <a:pt x="5306283" y="3843062"/>
                  <a:pt x="5323689" y="3841129"/>
                  <a:pt x="5341097" y="3839194"/>
                </a:cubicBezTo>
                <a:cubicBezTo>
                  <a:pt x="5343030" y="3839194"/>
                  <a:pt x="5343030" y="3839194"/>
                  <a:pt x="5344965" y="3839194"/>
                </a:cubicBezTo>
                <a:cubicBezTo>
                  <a:pt x="5350766" y="3837261"/>
                  <a:pt x="5356570" y="3835325"/>
                  <a:pt x="5362371" y="3831457"/>
                </a:cubicBezTo>
                <a:cubicBezTo>
                  <a:pt x="5364306" y="3831457"/>
                  <a:pt x="5366239" y="3831457"/>
                  <a:pt x="5368175" y="3831457"/>
                </a:cubicBezTo>
                <a:cubicBezTo>
                  <a:pt x="5385581" y="3833393"/>
                  <a:pt x="5404922" y="3827589"/>
                  <a:pt x="5422328" y="3823721"/>
                </a:cubicBezTo>
                <a:cubicBezTo>
                  <a:pt x="5437803" y="3819852"/>
                  <a:pt x="5453274" y="3817919"/>
                  <a:pt x="5468747" y="3815984"/>
                </a:cubicBezTo>
                <a:cubicBezTo>
                  <a:pt x="5482287" y="3814051"/>
                  <a:pt x="5495825" y="3810183"/>
                  <a:pt x="5503561" y="3798578"/>
                </a:cubicBezTo>
                <a:close/>
                <a:moveTo>
                  <a:pt x="5410723" y="3794710"/>
                </a:moveTo>
                <a:cubicBezTo>
                  <a:pt x="5406855" y="3796643"/>
                  <a:pt x="5401054" y="3796643"/>
                  <a:pt x="5395252" y="3796643"/>
                </a:cubicBezTo>
                <a:cubicBezTo>
                  <a:pt x="5395252" y="3796643"/>
                  <a:pt x="5397185" y="3796643"/>
                  <a:pt x="5399121" y="3796643"/>
                </a:cubicBezTo>
                <a:cubicBezTo>
                  <a:pt x="5399121" y="3796643"/>
                  <a:pt x="5401054" y="3796643"/>
                  <a:pt x="5401054" y="3796643"/>
                </a:cubicBezTo>
                <a:cubicBezTo>
                  <a:pt x="5404922" y="3796643"/>
                  <a:pt x="5406855" y="3794710"/>
                  <a:pt x="5410723" y="3794710"/>
                </a:cubicBezTo>
                <a:close/>
                <a:moveTo>
                  <a:pt x="5420395" y="3786973"/>
                </a:moveTo>
                <a:cubicBezTo>
                  <a:pt x="5416527" y="3788909"/>
                  <a:pt x="5412658" y="3788909"/>
                  <a:pt x="5408790" y="3790842"/>
                </a:cubicBezTo>
                <a:cubicBezTo>
                  <a:pt x="5410723" y="3790842"/>
                  <a:pt x="5412658" y="3792777"/>
                  <a:pt x="5414594" y="3794710"/>
                </a:cubicBezTo>
                <a:cubicBezTo>
                  <a:pt x="5416527" y="3792777"/>
                  <a:pt x="5418462" y="3788909"/>
                  <a:pt x="5420395" y="3786973"/>
                </a:cubicBezTo>
                <a:close/>
                <a:moveTo>
                  <a:pt x="5542244" y="3752159"/>
                </a:moveTo>
                <a:cubicBezTo>
                  <a:pt x="5522903" y="3756027"/>
                  <a:pt x="5503561" y="3754094"/>
                  <a:pt x="5484220" y="3761831"/>
                </a:cubicBezTo>
                <a:cubicBezTo>
                  <a:pt x="5482287" y="3763764"/>
                  <a:pt x="5476483" y="3763764"/>
                  <a:pt x="5472615" y="3763764"/>
                </a:cubicBezTo>
                <a:cubicBezTo>
                  <a:pt x="5445537" y="3761831"/>
                  <a:pt x="5420395" y="3767632"/>
                  <a:pt x="5395252" y="3775369"/>
                </a:cubicBezTo>
                <a:cubicBezTo>
                  <a:pt x="5391384" y="3777304"/>
                  <a:pt x="5385581" y="3781172"/>
                  <a:pt x="5379779" y="3783105"/>
                </a:cubicBezTo>
                <a:cubicBezTo>
                  <a:pt x="5395252" y="3783105"/>
                  <a:pt x="5410723" y="3781172"/>
                  <a:pt x="5424263" y="3779237"/>
                </a:cubicBezTo>
                <a:cubicBezTo>
                  <a:pt x="5430064" y="3775369"/>
                  <a:pt x="5439736" y="3775369"/>
                  <a:pt x="5447473" y="3773436"/>
                </a:cubicBezTo>
                <a:cubicBezTo>
                  <a:pt x="5468747" y="3769567"/>
                  <a:pt x="5488088" y="3767632"/>
                  <a:pt x="5509362" y="3769567"/>
                </a:cubicBezTo>
                <a:cubicBezTo>
                  <a:pt x="5509362" y="3769567"/>
                  <a:pt x="5511298" y="3769567"/>
                  <a:pt x="5511298" y="3769567"/>
                </a:cubicBezTo>
                <a:cubicBezTo>
                  <a:pt x="5526771" y="3767632"/>
                  <a:pt x="5540308" y="3767632"/>
                  <a:pt x="5555781" y="3765699"/>
                </a:cubicBezTo>
                <a:cubicBezTo>
                  <a:pt x="5557714" y="3765699"/>
                  <a:pt x="5557714" y="3765699"/>
                  <a:pt x="5557714" y="3765699"/>
                </a:cubicBezTo>
                <a:cubicBezTo>
                  <a:pt x="5565453" y="3763764"/>
                  <a:pt x="5573190" y="3761831"/>
                  <a:pt x="5580924" y="3757963"/>
                </a:cubicBezTo>
                <a:cubicBezTo>
                  <a:pt x="5582859" y="3756027"/>
                  <a:pt x="5582859" y="3756027"/>
                  <a:pt x="5584795" y="3756027"/>
                </a:cubicBezTo>
                <a:cubicBezTo>
                  <a:pt x="5571255" y="3754094"/>
                  <a:pt x="5557714" y="3754094"/>
                  <a:pt x="5542244" y="3752159"/>
                </a:cubicBezTo>
                <a:close/>
                <a:moveTo>
                  <a:pt x="5453274" y="3744423"/>
                </a:moveTo>
                <a:cubicBezTo>
                  <a:pt x="5447473" y="3742490"/>
                  <a:pt x="5441669" y="3746358"/>
                  <a:pt x="5435868" y="3748291"/>
                </a:cubicBezTo>
                <a:cubicBezTo>
                  <a:pt x="5437803" y="3748291"/>
                  <a:pt x="5441669" y="3746358"/>
                  <a:pt x="5443604" y="3746358"/>
                </a:cubicBezTo>
                <a:cubicBezTo>
                  <a:pt x="5447473" y="3746358"/>
                  <a:pt x="5449406" y="3748291"/>
                  <a:pt x="5453274" y="3748291"/>
                </a:cubicBezTo>
                <a:cubicBezTo>
                  <a:pt x="5453274" y="3746358"/>
                  <a:pt x="5453274" y="3746358"/>
                  <a:pt x="5453274" y="3744423"/>
                </a:cubicBezTo>
                <a:close/>
                <a:moveTo>
                  <a:pt x="5457142" y="3727017"/>
                </a:moveTo>
                <a:cubicBezTo>
                  <a:pt x="5451341" y="3728950"/>
                  <a:pt x="5443604" y="3730885"/>
                  <a:pt x="5435868" y="3732818"/>
                </a:cubicBezTo>
                <a:cubicBezTo>
                  <a:pt x="5430064" y="3734753"/>
                  <a:pt x="5424263" y="3734753"/>
                  <a:pt x="5418462" y="3736686"/>
                </a:cubicBezTo>
                <a:cubicBezTo>
                  <a:pt x="5410723" y="3738621"/>
                  <a:pt x="5401054" y="3740554"/>
                  <a:pt x="5393317" y="3744423"/>
                </a:cubicBezTo>
                <a:cubicBezTo>
                  <a:pt x="5397185" y="3744423"/>
                  <a:pt x="5402987" y="3744423"/>
                  <a:pt x="5406855" y="3744423"/>
                </a:cubicBezTo>
                <a:cubicBezTo>
                  <a:pt x="5416527" y="3742490"/>
                  <a:pt x="5424263" y="3740554"/>
                  <a:pt x="5433933" y="3742490"/>
                </a:cubicBezTo>
                <a:cubicBezTo>
                  <a:pt x="5433933" y="3742490"/>
                  <a:pt x="5435868" y="3742490"/>
                  <a:pt x="5435868" y="3742490"/>
                </a:cubicBezTo>
                <a:cubicBezTo>
                  <a:pt x="5435868" y="3738621"/>
                  <a:pt x="5437803" y="3738621"/>
                  <a:pt x="5439736" y="3738621"/>
                </a:cubicBezTo>
                <a:cubicBezTo>
                  <a:pt x="5449406" y="3734753"/>
                  <a:pt x="5461010" y="3732818"/>
                  <a:pt x="5470680" y="3730885"/>
                </a:cubicBezTo>
                <a:cubicBezTo>
                  <a:pt x="5470680" y="3728950"/>
                  <a:pt x="5470680" y="3728950"/>
                  <a:pt x="5470680" y="3728950"/>
                </a:cubicBezTo>
                <a:cubicBezTo>
                  <a:pt x="5470680" y="3728950"/>
                  <a:pt x="5468747" y="3727017"/>
                  <a:pt x="5466814" y="3727017"/>
                </a:cubicBezTo>
                <a:cubicBezTo>
                  <a:pt x="5462946" y="3728950"/>
                  <a:pt x="5461010" y="3727017"/>
                  <a:pt x="5457142" y="3727017"/>
                </a:cubicBezTo>
                <a:close/>
                <a:moveTo>
                  <a:pt x="5511298" y="3651587"/>
                </a:moveTo>
                <a:cubicBezTo>
                  <a:pt x="5511298" y="3653520"/>
                  <a:pt x="5511298" y="3653520"/>
                  <a:pt x="5511298" y="3655455"/>
                </a:cubicBezTo>
                <a:cubicBezTo>
                  <a:pt x="5511298" y="3655455"/>
                  <a:pt x="5513231" y="3655455"/>
                  <a:pt x="5513231" y="3655455"/>
                </a:cubicBezTo>
                <a:cubicBezTo>
                  <a:pt x="5515166" y="3653520"/>
                  <a:pt x="5515166" y="3653520"/>
                  <a:pt x="5515166" y="3651587"/>
                </a:cubicBezTo>
                <a:cubicBezTo>
                  <a:pt x="5513231" y="3651587"/>
                  <a:pt x="5511298" y="3651587"/>
                  <a:pt x="5511298" y="3651587"/>
                </a:cubicBezTo>
                <a:close/>
                <a:moveTo>
                  <a:pt x="5627343" y="3614840"/>
                </a:moveTo>
                <a:cubicBezTo>
                  <a:pt x="5633147" y="3618708"/>
                  <a:pt x="5637015" y="3616773"/>
                  <a:pt x="5642816" y="3614840"/>
                </a:cubicBezTo>
                <a:cubicBezTo>
                  <a:pt x="5638948" y="3614840"/>
                  <a:pt x="5637015" y="3614840"/>
                  <a:pt x="5633147" y="3614840"/>
                </a:cubicBezTo>
                <a:cubicBezTo>
                  <a:pt x="5633147" y="3614840"/>
                  <a:pt x="5631211" y="3614840"/>
                  <a:pt x="5631211" y="3614840"/>
                </a:cubicBezTo>
                <a:cubicBezTo>
                  <a:pt x="5629278" y="3614840"/>
                  <a:pt x="5627343" y="3614840"/>
                  <a:pt x="5627343" y="3614840"/>
                </a:cubicBezTo>
                <a:close/>
                <a:moveTo>
                  <a:pt x="5967745" y="3345999"/>
                </a:moveTo>
                <a:cubicBezTo>
                  <a:pt x="5967745" y="3345999"/>
                  <a:pt x="5967745" y="3347932"/>
                  <a:pt x="5967745" y="3347932"/>
                </a:cubicBezTo>
                <a:cubicBezTo>
                  <a:pt x="5967745" y="3349865"/>
                  <a:pt x="5967745" y="3349865"/>
                  <a:pt x="5965812" y="3353733"/>
                </a:cubicBezTo>
                <a:cubicBezTo>
                  <a:pt x="5963876" y="3349865"/>
                  <a:pt x="5963876" y="3347932"/>
                  <a:pt x="5963876" y="3347932"/>
                </a:cubicBezTo>
                <a:cubicBezTo>
                  <a:pt x="5965812" y="3345999"/>
                  <a:pt x="5967745" y="3345999"/>
                  <a:pt x="5967745" y="3345999"/>
                </a:cubicBezTo>
                <a:close/>
                <a:moveTo>
                  <a:pt x="5910690" y="3319888"/>
                </a:moveTo>
                <a:cubicBezTo>
                  <a:pt x="5909239" y="3320372"/>
                  <a:pt x="5907789" y="3321822"/>
                  <a:pt x="5905855" y="3324723"/>
                </a:cubicBezTo>
                <a:cubicBezTo>
                  <a:pt x="5909723" y="3326658"/>
                  <a:pt x="5913591" y="3326658"/>
                  <a:pt x="5915524" y="3320855"/>
                </a:cubicBezTo>
                <a:cubicBezTo>
                  <a:pt x="5913590" y="3319888"/>
                  <a:pt x="5912140" y="3319405"/>
                  <a:pt x="5910690" y="3319888"/>
                </a:cubicBezTo>
                <a:close/>
                <a:moveTo>
                  <a:pt x="5942844" y="3319163"/>
                </a:moveTo>
                <a:cubicBezTo>
                  <a:pt x="5934866" y="3319888"/>
                  <a:pt x="5926163" y="3321822"/>
                  <a:pt x="5919393" y="3324723"/>
                </a:cubicBezTo>
                <a:cubicBezTo>
                  <a:pt x="5923261" y="3332459"/>
                  <a:pt x="5929065" y="3326658"/>
                  <a:pt x="5932933" y="3326658"/>
                </a:cubicBezTo>
                <a:cubicBezTo>
                  <a:pt x="5938734" y="3326658"/>
                  <a:pt x="5942602" y="3326658"/>
                  <a:pt x="5948403" y="3326658"/>
                </a:cubicBezTo>
                <a:cubicBezTo>
                  <a:pt x="5954207" y="3326658"/>
                  <a:pt x="5958075" y="3326658"/>
                  <a:pt x="5961943" y="3320855"/>
                </a:cubicBezTo>
                <a:cubicBezTo>
                  <a:pt x="5958075" y="3318920"/>
                  <a:pt x="5950822" y="3318437"/>
                  <a:pt x="5942844" y="3319163"/>
                </a:cubicBezTo>
                <a:close/>
                <a:moveTo>
                  <a:pt x="5938734" y="3305381"/>
                </a:moveTo>
                <a:cubicBezTo>
                  <a:pt x="5936801" y="3307317"/>
                  <a:pt x="5936801" y="3309250"/>
                  <a:pt x="5936801" y="3309250"/>
                </a:cubicBezTo>
                <a:cubicBezTo>
                  <a:pt x="5936801" y="3309250"/>
                  <a:pt x="5938734" y="3311185"/>
                  <a:pt x="5938734" y="3313118"/>
                </a:cubicBezTo>
                <a:cubicBezTo>
                  <a:pt x="5940669" y="3309250"/>
                  <a:pt x="5940669" y="3307317"/>
                  <a:pt x="5940669" y="3307317"/>
                </a:cubicBezTo>
                <a:cubicBezTo>
                  <a:pt x="5940669" y="3307317"/>
                  <a:pt x="5938734" y="3305381"/>
                  <a:pt x="5938734" y="3305381"/>
                </a:cubicBezTo>
                <a:close/>
                <a:moveTo>
                  <a:pt x="5718246" y="3301513"/>
                </a:moveTo>
                <a:cubicBezTo>
                  <a:pt x="5716313" y="3303448"/>
                  <a:pt x="5714378" y="3305381"/>
                  <a:pt x="5710509" y="3305381"/>
                </a:cubicBezTo>
                <a:cubicBezTo>
                  <a:pt x="5714378" y="3305381"/>
                  <a:pt x="5716313" y="3305381"/>
                  <a:pt x="5720181" y="3305381"/>
                </a:cubicBezTo>
                <a:cubicBezTo>
                  <a:pt x="5720181" y="3303448"/>
                  <a:pt x="5720181" y="3303448"/>
                  <a:pt x="5718246" y="3301513"/>
                </a:cubicBezTo>
                <a:close/>
                <a:moveTo>
                  <a:pt x="5954207" y="3299580"/>
                </a:moveTo>
                <a:cubicBezTo>
                  <a:pt x="5952272" y="3299580"/>
                  <a:pt x="5950339" y="3299580"/>
                  <a:pt x="5946470" y="3301513"/>
                </a:cubicBezTo>
                <a:cubicBezTo>
                  <a:pt x="5946470" y="3301513"/>
                  <a:pt x="5946470" y="3303448"/>
                  <a:pt x="5946470" y="3303448"/>
                </a:cubicBezTo>
                <a:cubicBezTo>
                  <a:pt x="5950339" y="3303448"/>
                  <a:pt x="5952272" y="3303448"/>
                  <a:pt x="5954207" y="3303448"/>
                </a:cubicBezTo>
                <a:cubicBezTo>
                  <a:pt x="5954207" y="3301513"/>
                  <a:pt x="5954207" y="3301513"/>
                  <a:pt x="5954207" y="3299580"/>
                </a:cubicBezTo>
                <a:close/>
                <a:moveTo>
                  <a:pt x="5830425" y="3295712"/>
                </a:moveTo>
                <a:cubicBezTo>
                  <a:pt x="5828490" y="3295712"/>
                  <a:pt x="5828490" y="3297645"/>
                  <a:pt x="5826557" y="3299580"/>
                </a:cubicBezTo>
                <a:cubicBezTo>
                  <a:pt x="5826557" y="3299580"/>
                  <a:pt x="5828490" y="3301513"/>
                  <a:pt x="5828490" y="3301513"/>
                </a:cubicBezTo>
                <a:cubicBezTo>
                  <a:pt x="5828490" y="3299580"/>
                  <a:pt x="5830425" y="3297645"/>
                  <a:pt x="5832358" y="3297645"/>
                </a:cubicBezTo>
                <a:cubicBezTo>
                  <a:pt x="5830425" y="3297645"/>
                  <a:pt x="5830425" y="3295712"/>
                  <a:pt x="5830425" y="3295712"/>
                </a:cubicBezTo>
                <a:close/>
                <a:moveTo>
                  <a:pt x="5911656" y="3266699"/>
                </a:moveTo>
                <a:cubicBezTo>
                  <a:pt x="5911656" y="3268634"/>
                  <a:pt x="5911656" y="3268634"/>
                  <a:pt x="5911656" y="3270570"/>
                </a:cubicBezTo>
                <a:cubicBezTo>
                  <a:pt x="5915524" y="3268634"/>
                  <a:pt x="5917460" y="3268634"/>
                  <a:pt x="5919393" y="3266699"/>
                </a:cubicBezTo>
                <a:cubicBezTo>
                  <a:pt x="5915524" y="3264766"/>
                  <a:pt x="5913591" y="3266699"/>
                  <a:pt x="5911656" y="3266699"/>
                </a:cubicBezTo>
                <a:close/>
                <a:moveTo>
                  <a:pt x="5822689" y="3266699"/>
                </a:moveTo>
                <a:cubicBezTo>
                  <a:pt x="5822689" y="3266699"/>
                  <a:pt x="5822689" y="3268634"/>
                  <a:pt x="5822689" y="3270570"/>
                </a:cubicBezTo>
                <a:cubicBezTo>
                  <a:pt x="5824622" y="3270570"/>
                  <a:pt x="5826557" y="3270570"/>
                  <a:pt x="5828490" y="3270570"/>
                </a:cubicBezTo>
                <a:cubicBezTo>
                  <a:pt x="5828490" y="3268634"/>
                  <a:pt x="5828490" y="3268634"/>
                  <a:pt x="5828490" y="3266699"/>
                </a:cubicBezTo>
                <a:cubicBezTo>
                  <a:pt x="5826557" y="3266699"/>
                  <a:pt x="5824622" y="3266699"/>
                  <a:pt x="5822689" y="3266699"/>
                </a:cubicBezTo>
                <a:close/>
                <a:moveTo>
                  <a:pt x="5843963" y="3255094"/>
                </a:moveTo>
                <a:cubicBezTo>
                  <a:pt x="5838159" y="3255094"/>
                  <a:pt x="5834293" y="3257029"/>
                  <a:pt x="5830425" y="3260898"/>
                </a:cubicBezTo>
                <a:cubicBezTo>
                  <a:pt x="5830425" y="3260898"/>
                  <a:pt x="5830425" y="3262831"/>
                  <a:pt x="5830425" y="3264766"/>
                </a:cubicBezTo>
                <a:cubicBezTo>
                  <a:pt x="5834293" y="3264766"/>
                  <a:pt x="5840095" y="3264766"/>
                  <a:pt x="5843963" y="3264766"/>
                </a:cubicBezTo>
                <a:cubicBezTo>
                  <a:pt x="5845898" y="3264766"/>
                  <a:pt x="5845898" y="3260898"/>
                  <a:pt x="5847831" y="3258965"/>
                </a:cubicBezTo>
                <a:cubicBezTo>
                  <a:pt x="5845898" y="3257029"/>
                  <a:pt x="5845898" y="3255094"/>
                  <a:pt x="5843963" y="3255094"/>
                </a:cubicBezTo>
                <a:close/>
                <a:moveTo>
                  <a:pt x="5780138" y="3255094"/>
                </a:moveTo>
                <a:cubicBezTo>
                  <a:pt x="5776270" y="3264766"/>
                  <a:pt x="5766600" y="3253161"/>
                  <a:pt x="5762732" y="3266699"/>
                </a:cubicBezTo>
                <a:cubicBezTo>
                  <a:pt x="5772401" y="3266699"/>
                  <a:pt x="5778203" y="3264766"/>
                  <a:pt x="5780138" y="3255094"/>
                </a:cubicBezTo>
                <a:close/>
                <a:moveTo>
                  <a:pt x="5896183" y="3251228"/>
                </a:moveTo>
                <a:cubicBezTo>
                  <a:pt x="5898118" y="3253161"/>
                  <a:pt x="5900051" y="3255094"/>
                  <a:pt x="5900051" y="3255094"/>
                </a:cubicBezTo>
                <a:cubicBezTo>
                  <a:pt x="5894250" y="3264766"/>
                  <a:pt x="5888447" y="3268634"/>
                  <a:pt x="5880710" y="3262831"/>
                </a:cubicBezTo>
                <a:cubicBezTo>
                  <a:pt x="5880710" y="3262831"/>
                  <a:pt x="5878777" y="3262831"/>
                  <a:pt x="5876842" y="3262831"/>
                </a:cubicBezTo>
                <a:cubicBezTo>
                  <a:pt x="5872976" y="3262831"/>
                  <a:pt x="5872976" y="3266699"/>
                  <a:pt x="5874909" y="3270570"/>
                </a:cubicBezTo>
                <a:cubicBezTo>
                  <a:pt x="5882645" y="3272503"/>
                  <a:pt x="5888447" y="3274436"/>
                  <a:pt x="5896183" y="3268634"/>
                </a:cubicBezTo>
                <a:cubicBezTo>
                  <a:pt x="5901987" y="3262831"/>
                  <a:pt x="5909723" y="3257029"/>
                  <a:pt x="5917460" y="3251228"/>
                </a:cubicBezTo>
                <a:cubicBezTo>
                  <a:pt x="5909723" y="3251228"/>
                  <a:pt x="5903920" y="3251228"/>
                  <a:pt x="5896183" y="3251228"/>
                </a:cubicBezTo>
                <a:close/>
                <a:moveTo>
                  <a:pt x="5930997" y="3249293"/>
                </a:moveTo>
                <a:lnTo>
                  <a:pt x="5926416" y="3253872"/>
                </a:lnTo>
                <a:lnTo>
                  <a:pt x="5927996" y="3249793"/>
                </a:lnTo>
                <a:close/>
                <a:moveTo>
                  <a:pt x="5778203" y="3243489"/>
                </a:moveTo>
                <a:cubicBezTo>
                  <a:pt x="5772401" y="3245425"/>
                  <a:pt x="5766600" y="3247360"/>
                  <a:pt x="5762732" y="3247360"/>
                </a:cubicBezTo>
                <a:cubicBezTo>
                  <a:pt x="5754993" y="3245425"/>
                  <a:pt x="5747259" y="3245425"/>
                  <a:pt x="5741455" y="3249293"/>
                </a:cubicBezTo>
                <a:cubicBezTo>
                  <a:pt x="5741455" y="3249293"/>
                  <a:pt x="5741455" y="3251228"/>
                  <a:pt x="5741455" y="3253161"/>
                </a:cubicBezTo>
                <a:cubicBezTo>
                  <a:pt x="5743391" y="3253161"/>
                  <a:pt x="5745324" y="3251228"/>
                  <a:pt x="5749192" y="3251228"/>
                </a:cubicBezTo>
                <a:cubicBezTo>
                  <a:pt x="5747259" y="3251228"/>
                  <a:pt x="5745324" y="3253161"/>
                  <a:pt x="5743391" y="3253161"/>
                </a:cubicBezTo>
                <a:cubicBezTo>
                  <a:pt x="5749192" y="3253161"/>
                  <a:pt x="5753060" y="3253161"/>
                  <a:pt x="5756928" y="3253161"/>
                </a:cubicBezTo>
                <a:cubicBezTo>
                  <a:pt x="5760797" y="3253161"/>
                  <a:pt x="5762732" y="3251228"/>
                  <a:pt x="5766600" y="3251228"/>
                </a:cubicBezTo>
                <a:cubicBezTo>
                  <a:pt x="5784006" y="3251228"/>
                  <a:pt x="5803347" y="3251228"/>
                  <a:pt x="5822689" y="3251228"/>
                </a:cubicBezTo>
                <a:cubicBezTo>
                  <a:pt x="5824622" y="3251228"/>
                  <a:pt x="5826557" y="3249293"/>
                  <a:pt x="5828490" y="3249293"/>
                </a:cubicBezTo>
                <a:cubicBezTo>
                  <a:pt x="5822689" y="3247360"/>
                  <a:pt x="5816885" y="3245425"/>
                  <a:pt x="5813017" y="3245425"/>
                </a:cubicBezTo>
                <a:cubicBezTo>
                  <a:pt x="5805280" y="3243489"/>
                  <a:pt x="5797544" y="3243489"/>
                  <a:pt x="5789807" y="3243489"/>
                </a:cubicBezTo>
                <a:cubicBezTo>
                  <a:pt x="5785941" y="3243489"/>
                  <a:pt x="5782073" y="3243489"/>
                  <a:pt x="5778203" y="3243489"/>
                </a:cubicBezTo>
                <a:close/>
                <a:moveTo>
                  <a:pt x="5768533" y="3231887"/>
                </a:moveTo>
                <a:cubicBezTo>
                  <a:pt x="5766600" y="3231887"/>
                  <a:pt x="5766600" y="3233820"/>
                  <a:pt x="5766600" y="3235755"/>
                </a:cubicBezTo>
                <a:cubicBezTo>
                  <a:pt x="5770466" y="3235755"/>
                  <a:pt x="5774334" y="3237688"/>
                  <a:pt x="5776270" y="3237688"/>
                </a:cubicBezTo>
                <a:cubicBezTo>
                  <a:pt x="5787874" y="3237688"/>
                  <a:pt x="5799479" y="3239623"/>
                  <a:pt x="5811084" y="3235755"/>
                </a:cubicBezTo>
                <a:cubicBezTo>
                  <a:pt x="5811084" y="3235755"/>
                  <a:pt x="5813017" y="3235755"/>
                  <a:pt x="5813017" y="3235755"/>
                </a:cubicBezTo>
                <a:cubicBezTo>
                  <a:pt x="5822689" y="3241556"/>
                  <a:pt x="5832358" y="3237688"/>
                  <a:pt x="5840095" y="3235755"/>
                </a:cubicBezTo>
                <a:cubicBezTo>
                  <a:pt x="5842028" y="3235755"/>
                  <a:pt x="5843963" y="3235755"/>
                  <a:pt x="5845898" y="3235755"/>
                </a:cubicBezTo>
                <a:cubicBezTo>
                  <a:pt x="5826557" y="3235755"/>
                  <a:pt x="5805280" y="3233820"/>
                  <a:pt x="5785941" y="3231887"/>
                </a:cubicBezTo>
                <a:cubicBezTo>
                  <a:pt x="5780138" y="3231887"/>
                  <a:pt x="5774334" y="3231887"/>
                  <a:pt x="5768533" y="3231887"/>
                </a:cubicBezTo>
                <a:close/>
                <a:moveTo>
                  <a:pt x="5861369" y="3164194"/>
                </a:moveTo>
                <a:cubicBezTo>
                  <a:pt x="5861369" y="3164194"/>
                  <a:pt x="5863304" y="3164194"/>
                  <a:pt x="5863304" y="3164194"/>
                </a:cubicBezTo>
                <a:cubicBezTo>
                  <a:pt x="5863304" y="3166127"/>
                  <a:pt x="5863304" y="3166127"/>
                  <a:pt x="5863304" y="3168060"/>
                </a:cubicBezTo>
                <a:cubicBezTo>
                  <a:pt x="5863304" y="3166127"/>
                  <a:pt x="5861369" y="3166127"/>
                  <a:pt x="5861369" y="3164194"/>
                </a:cubicBezTo>
                <a:close/>
                <a:moveTo>
                  <a:pt x="5664090" y="3150654"/>
                </a:moveTo>
                <a:cubicBezTo>
                  <a:pt x="5660224" y="3152589"/>
                  <a:pt x="5662157" y="3156455"/>
                  <a:pt x="5662157" y="3158390"/>
                </a:cubicBezTo>
                <a:cubicBezTo>
                  <a:pt x="5664090" y="3156455"/>
                  <a:pt x="5666026" y="3154522"/>
                  <a:pt x="5664090" y="3150654"/>
                </a:cubicBezTo>
                <a:close/>
                <a:moveTo>
                  <a:pt x="5567386" y="3111971"/>
                </a:moveTo>
                <a:cubicBezTo>
                  <a:pt x="5567386" y="3111971"/>
                  <a:pt x="5569322" y="3113907"/>
                  <a:pt x="5569322" y="3113907"/>
                </a:cubicBezTo>
                <a:cubicBezTo>
                  <a:pt x="5573190" y="3115839"/>
                  <a:pt x="5577056" y="3115839"/>
                  <a:pt x="5580924" y="3115839"/>
                </a:cubicBezTo>
                <a:cubicBezTo>
                  <a:pt x="5582859" y="3115839"/>
                  <a:pt x="5584795" y="3115839"/>
                  <a:pt x="5586728" y="3113907"/>
                </a:cubicBezTo>
                <a:cubicBezTo>
                  <a:pt x="5580924" y="3111971"/>
                  <a:pt x="5575123" y="3111971"/>
                  <a:pt x="5567386" y="3111971"/>
                </a:cubicBezTo>
                <a:close/>
                <a:moveTo>
                  <a:pt x="5370108" y="3071355"/>
                </a:moveTo>
                <a:cubicBezTo>
                  <a:pt x="5368175" y="3071355"/>
                  <a:pt x="5366239" y="3073291"/>
                  <a:pt x="5364306" y="3075224"/>
                </a:cubicBezTo>
                <a:cubicBezTo>
                  <a:pt x="5364306" y="3075224"/>
                  <a:pt x="5364306" y="3077159"/>
                  <a:pt x="5364306" y="3077159"/>
                </a:cubicBezTo>
                <a:cubicBezTo>
                  <a:pt x="5372043" y="3075224"/>
                  <a:pt x="5379779" y="3075224"/>
                  <a:pt x="5387514" y="3073291"/>
                </a:cubicBezTo>
                <a:cubicBezTo>
                  <a:pt x="5381712" y="3073291"/>
                  <a:pt x="5375911" y="3071355"/>
                  <a:pt x="5370108" y="3071355"/>
                </a:cubicBezTo>
                <a:close/>
                <a:moveTo>
                  <a:pt x="5416527" y="3063619"/>
                </a:moveTo>
                <a:cubicBezTo>
                  <a:pt x="5412658" y="3065555"/>
                  <a:pt x="5406855" y="3067487"/>
                  <a:pt x="5402987" y="3071355"/>
                </a:cubicBezTo>
                <a:cubicBezTo>
                  <a:pt x="5402987" y="3071355"/>
                  <a:pt x="5402987" y="3073291"/>
                  <a:pt x="5402987" y="3073291"/>
                </a:cubicBezTo>
                <a:cubicBezTo>
                  <a:pt x="5414594" y="3073291"/>
                  <a:pt x="5416527" y="3071355"/>
                  <a:pt x="5416527" y="3063619"/>
                </a:cubicBezTo>
                <a:close/>
                <a:moveTo>
                  <a:pt x="5470680" y="3059751"/>
                </a:moveTo>
                <a:cubicBezTo>
                  <a:pt x="5466814" y="3061686"/>
                  <a:pt x="5462946" y="3061686"/>
                  <a:pt x="5459078" y="3065555"/>
                </a:cubicBezTo>
                <a:cubicBezTo>
                  <a:pt x="5462946" y="3065555"/>
                  <a:pt x="5464879" y="3065555"/>
                  <a:pt x="5468747" y="3065555"/>
                </a:cubicBezTo>
                <a:cubicBezTo>
                  <a:pt x="5468747" y="3065555"/>
                  <a:pt x="5470680" y="3063619"/>
                  <a:pt x="5470680" y="3059751"/>
                </a:cubicBezTo>
                <a:close/>
                <a:moveTo>
                  <a:pt x="5556265" y="3057817"/>
                </a:moveTo>
                <a:cubicBezTo>
                  <a:pt x="5554815" y="3058301"/>
                  <a:pt x="5553849" y="3059751"/>
                  <a:pt x="5553849" y="3063619"/>
                </a:cubicBezTo>
                <a:cubicBezTo>
                  <a:pt x="5555781" y="3063619"/>
                  <a:pt x="5557714" y="3063619"/>
                  <a:pt x="5557714" y="3063619"/>
                </a:cubicBezTo>
                <a:cubicBezTo>
                  <a:pt x="5559650" y="3061686"/>
                  <a:pt x="5559650" y="3061686"/>
                  <a:pt x="5561585" y="3061686"/>
                </a:cubicBezTo>
                <a:cubicBezTo>
                  <a:pt x="5561585" y="3059751"/>
                  <a:pt x="5561585" y="3059751"/>
                  <a:pt x="5561585" y="3057818"/>
                </a:cubicBezTo>
                <a:cubicBezTo>
                  <a:pt x="5559650" y="3057818"/>
                  <a:pt x="5557716" y="3057334"/>
                  <a:pt x="5556265" y="3057817"/>
                </a:cubicBezTo>
                <a:close/>
                <a:moveTo>
                  <a:pt x="5681499" y="2937902"/>
                </a:moveTo>
                <a:cubicBezTo>
                  <a:pt x="5681499" y="2937902"/>
                  <a:pt x="5683432" y="2937902"/>
                  <a:pt x="5685367" y="2937902"/>
                </a:cubicBezTo>
                <a:cubicBezTo>
                  <a:pt x="5685367" y="2945639"/>
                  <a:pt x="5683432" y="2941770"/>
                  <a:pt x="5681499" y="2941770"/>
                </a:cubicBezTo>
                <a:cubicBezTo>
                  <a:pt x="5681499" y="2939837"/>
                  <a:pt x="5681499" y="2939837"/>
                  <a:pt x="5681499" y="2937902"/>
                </a:cubicBezTo>
                <a:close/>
                <a:moveTo>
                  <a:pt x="128691" y="2382815"/>
                </a:moveTo>
                <a:cubicBezTo>
                  <a:pt x="122890" y="2386684"/>
                  <a:pt x="119019" y="2390552"/>
                  <a:pt x="113218" y="2396353"/>
                </a:cubicBezTo>
                <a:cubicBezTo>
                  <a:pt x="115154" y="2392485"/>
                  <a:pt x="119019" y="2390552"/>
                  <a:pt x="122890" y="2388616"/>
                </a:cubicBezTo>
                <a:cubicBezTo>
                  <a:pt x="122890" y="2388616"/>
                  <a:pt x="122890" y="2390552"/>
                  <a:pt x="122890" y="2390552"/>
                </a:cubicBezTo>
                <a:cubicBezTo>
                  <a:pt x="124823" y="2386684"/>
                  <a:pt x="126756" y="2384748"/>
                  <a:pt x="128691" y="2382815"/>
                </a:cubicBezTo>
                <a:close/>
                <a:moveTo>
                  <a:pt x="5683432" y="1839331"/>
                </a:moveTo>
                <a:cubicBezTo>
                  <a:pt x="5685367" y="1839331"/>
                  <a:pt x="5685367" y="1841267"/>
                  <a:pt x="5685367" y="1841267"/>
                </a:cubicBezTo>
                <a:cubicBezTo>
                  <a:pt x="5683432" y="1843200"/>
                  <a:pt x="5681499" y="1843200"/>
                  <a:pt x="5679566" y="1845135"/>
                </a:cubicBezTo>
                <a:cubicBezTo>
                  <a:pt x="5677630" y="1845135"/>
                  <a:pt x="5677630" y="1843200"/>
                  <a:pt x="5677630" y="1843200"/>
                </a:cubicBezTo>
                <a:cubicBezTo>
                  <a:pt x="5679566" y="1841267"/>
                  <a:pt x="5681499" y="1841267"/>
                  <a:pt x="5683432" y="1839331"/>
                </a:cubicBezTo>
                <a:close/>
                <a:moveTo>
                  <a:pt x="5644749" y="1810321"/>
                </a:moveTo>
                <a:cubicBezTo>
                  <a:pt x="5648620" y="1819992"/>
                  <a:pt x="5648620" y="1819992"/>
                  <a:pt x="5638948" y="1823858"/>
                </a:cubicBezTo>
                <a:lnTo>
                  <a:pt x="5632854" y="1825383"/>
                </a:lnTo>
                <a:lnTo>
                  <a:pt x="5631521" y="1814730"/>
                </a:lnTo>
                <a:close/>
                <a:moveTo>
                  <a:pt x="5584795" y="1796783"/>
                </a:moveTo>
                <a:cubicBezTo>
                  <a:pt x="5584795" y="1796783"/>
                  <a:pt x="5582859" y="1798716"/>
                  <a:pt x="5582859" y="1798716"/>
                </a:cubicBezTo>
                <a:cubicBezTo>
                  <a:pt x="5582859" y="1800651"/>
                  <a:pt x="5584795" y="1800651"/>
                  <a:pt x="5586728" y="1800651"/>
                </a:cubicBezTo>
                <a:cubicBezTo>
                  <a:pt x="5586728" y="1800651"/>
                  <a:pt x="5584795" y="1798716"/>
                  <a:pt x="5584795" y="1796783"/>
                </a:cubicBezTo>
                <a:close/>
                <a:moveTo>
                  <a:pt x="5663912" y="1792035"/>
                </a:moveTo>
                <a:lnTo>
                  <a:pt x="5659256" y="1799925"/>
                </a:lnTo>
                <a:cubicBezTo>
                  <a:pt x="5655871" y="1804034"/>
                  <a:pt x="5651519" y="1807419"/>
                  <a:pt x="5644749" y="1810321"/>
                </a:cubicBezTo>
                <a:cubicBezTo>
                  <a:pt x="5646684" y="1806452"/>
                  <a:pt x="5650553" y="1800651"/>
                  <a:pt x="5652488" y="1796783"/>
                </a:cubicBezTo>
                <a:lnTo>
                  <a:pt x="5653777" y="1795492"/>
                </a:lnTo>
                <a:lnTo>
                  <a:pt x="5656356" y="1800651"/>
                </a:lnTo>
                <a:cubicBezTo>
                  <a:pt x="5658289" y="1798716"/>
                  <a:pt x="5660224" y="1796783"/>
                  <a:pt x="5662157" y="1794848"/>
                </a:cubicBezTo>
                <a:cubicBezTo>
                  <a:pt x="5662157" y="1794848"/>
                  <a:pt x="5662157" y="1792912"/>
                  <a:pt x="5662157" y="1792912"/>
                </a:cubicBezTo>
                <a:close/>
                <a:moveTo>
                  <a:pt x="5667959" y="1785178"/>
                </a:moveTo>
                <a:lnTo>
                  <a:pt x="5673762" y="1785178"/>
                </a:lnTo>
                <a:cubicBezTo>
                  <a:pt x="5673762" y="1785178"/>
                  <a:pt x="5673762" y="1787111"/>
                  <a:pt x="5673762" y="1787111"/>
                </a:cubicBezTo>
                <a:lnTo>
                  <a:pt x="5663912" y="1792035"/>
                </a:lnTo>
                <a:close/>
                <a:moveTo>
                  <a:pt x="5638948" y="1783243"/>
                </a:moveTo>
                <a:cubicBezTo>
                  <a:pt x="5635080" y="1781310"/>
                  <a:pt x="5633147" y="1783243"/>
                  <a:pt x="5631211" y="1785178"/>
                </a:cubicBezTo>
                <a:cubicBezTo>
                  <a:pt x="5633147" y="1785178"/>
                  <a:pt x="5633147" y="1787111"/>
                  <a:pt x="5633147" y="1787111"/>
                </a:cubicBezTo>
                <a:cubicBezTo>
                  <a:pt x="5629278" y="1789046"/>
                  <a:pt x="5625410" y="1792912"/>
                  <a:pt x="5621542" y="1794848"/>
                </a:cubicBezTo>
                <a:cubicBezTo>
                  <a:pt x="5615738" y="1798716"/>
                  <a:pt x="5608002" y="1802584"/>
                  <a:pt x="5602201" y="1808388"/>
                </a:cubicBezTo>
                <a:cubicBezTo>
                  <a:pt x="5602201" y="1808388"/>
                  <a:pt x="5600265" y="1810321"/>
                  <a:pt x="5600265" y="1810321"/>
                </a:cubicBezTo>
                <a:cubicBezTo>
                  <a:pt x="5602201" y="1812254"/>
                  <a:pt x="5602201" y="1812254"/>
                  <a:pt x="5604133" y="1812254"/>
                </a:cubicBezTo>
                <a:cubicBezTo>
                  <a:pt x="5609937" y="1806452"/>
                  <a:pt x="5617674" y="1804517"/>
                  <a:pt x="5621542" y="1796783"/>
                </a:cubicBezTo>
                <a:cubicBezTo>
                  <a:pt x="5623475" y="1798716"/>
                  <a:pt x="5623475" y="1800651"/>
                  <a:pt x="5625410" y="1802584"/>
                </a:cubicBezTo>
                <a:cubicBezTo>
                  <a:pt x="5627343" y="1802584"/>
                  <a:pt x="5629278" y="1800651"/>
                  <a:pt x="5633147" y="1800651"/>
                </a:cubicBezTo>
                <a:cubicBezTo>
                  <a:pt x="5633147" y="1798716"/>
                  <a:pt x="5633147" y="1794848"/>
                  <a:pt x="5635080" y="1790979"/>
                </a:cubicBezTo>
                <a:cubicBezTo>
                  <a:pt x="5637015" y="1789046"/>
                  <a:pt x="5637015" y="1785178"/>
                  <a:pt x="5638948" y="1783243"/>
                </a:cubicBezTo>
                <a:close/>
                <a:moveTo>
                  <a:pt x="5646684" y="1761969"/>
                </a:moveTo>
                <a:cubicBezTo>
                  <a:pt x="5646684" y="1761969"/>
                  <a:pt x="5646684" y="1763902"/>
                  <a:pt x="5646684" y="1763902"/>
                </a:cubicBezTo>
                <a:cubicBezTo>
                  <a:pt x="5650553" y="1763902"/>
                  <a:pt x="5652488" y="1763902"/>
                  <a:pt x="5652488" y="1761969"/>
                </a:cubicBezTo>
                <a:cubicBezTo>
                  <a:pt x="5650553" y="1761969"/>
                  <a:pt x="5648620" y="1761969"/>
                  <a:pt x="5646684" y="1761969"/>
                </a:cubicBezTo>
                <a:close/>
                <a:moveTo>
                  <a:pt x="5573190" y="1742627"/>
                </a:moveTo>
                <a:cubicBezTo>
                  <a:pt x="5563518" y="1738759"/>
                  <a:pt x="5559650" y="1746496"/>
                  <a:pt x="5551913" y="1748429"/>
                </a:cubicBezTo>
                <a:cubicBezTo>
                  <a:pt x="5551913" y="1748429"/>
                  <a:pt x="5551913" y="1750364"/>
                  <a:pt x="5551913" y="1752297"/>
                </a:cubicBezTo>
                <a:cubicBezTo>
                  <a:pt x="5561585" y="1754232"/>
                  <a:pt x="5567386" y="1750364"/>
                  <a:pt x="5573190" y="1742627"/>
                </a:cubicBezTo>
                <a:close/>
                <a:moveTo>
                  <a:pt x="5524838" y="1742627"/>
                </a:moveTo>
                <a:cubicBezTo>
                  <a:pt x="5522903" y="1744560"/>
                  <a:pt x="5522903" y="1744560"/>
                  <a:pt x="5522903" y="1744560"/>
                </a:cubicBezTo>
                <a:cubicBezTo>
                  <a:pt x="5522903" y="1744560"/>
                  <a:pt x="5522903" y="1744560"/>
                  <a:pt x="5524838" y="1744560"/>
                </a:cubicBezTo>
                <a:cubicBezTo>
                  <a:pt x="5524838" y="1744560"/>
                  <a:pt x="5522903" y="1742627"/>
                  <a:pt x="5524838" y="1742627"/>
                </a:cubicBezTo>
                <a:close/>
                <a:moveTo>
                  <a:pt x="5731784" y="1711681"/>
                </a:moveTo>
                <a:cubicBezTo>
                  <a:pt x="5731784" y="1711681"/>
                  <a:pt x="5733719" y="1713616"/>
                  <a:pt x="5733719" y="1713616"/>
                </a:cubicBezTo>
                <a:cubicBezTo>
                  <a:pt x="5729851" y="1717482"/>
                  <a:pt x="5727918" y="1719418"/>
                  <a:pt x="5725982" y="1721353"/>
                </a:cubicBezTo>
                <a:cubicBezTo>
                  <a:pt x="5725982" y="1719418"/>
                  <a:pt x="5724049" y="1719418"/>
                  <a:pt x="5724049" y="1717482"/>
                </a:cubicBezTo>
                <a:cubicBezTo>
                  <a:pt x="5725982" y="1715549"/>
                  <a:pt x="5729851" y="1713616"/>
                  <a:pt x="5731784" y="1711681"/>
                </a:cubicBezTo>
                <a:close/>
                <a:moveTo>
                  <a:pt x="5588663" y="1698144"/>
                </a:moveTo>
                <a:cubicBezTo>
                  <a:pt x="5578991" y="1703945"/>
                  <a:pt x="5567386" y="1709748"/>
                  <a:pt x="5557714" y="1715549"/>
                </a:cubicBezTo>
                <a:cubicBezTo>
                  <a:pt x="5557714" y="1717482"/>
                  <a:pt x="5555781" y="1721353"/>
                  <a:pt x="5553849" y="1723286"/>
                </a:cubicBezTo>
                <a:cubicBezTo>
                  <a:pt x="5553849" y="1725219"/>
                  <a:pt x="5553849" y="1727154"/>
                  <a:pt x="5555781" y="1729087"/>
                </a:cubicBezTo>
                <a:cubicBezTo>
                  <a:pt x="5555781" y="1727154"/>
                  <a:pt x="5557714" y="1725219"/>
                  <a:pt x="5557714" y="1723286"/>
                </a:cubicBezTo>
                <a:cubicBezTo>
                  <a:pt x="5559650" y="1723286"/>
                  <a:pt x="5561585" y="1725219"/>
                  <a:pt x="5563518" y="1725219"/>
                </a:cubicBezTo>
                <a:cubicBezTo>
                  <a:pt x="5565453" y="1723286"/>
                  <a:pt x="5565453" y="1721353"/>
                  <a:pt x="5567386" y="1719418"/>
                </a:cubicBezTo>
                <a:cubicBezTo>
                  <a:pt x="5571255" y="1719418"/>
                  <a:pt x="5573190" y="1721353"/>
                  <a:pt x="5577056" y="1721353"/>
                </a:cubicBezTo>
                <a:cubicBezTo>
                  <a:pt x="5578991" y="1719418"/>
                  <a:pt x="5580924" y="1717482"/>
                  <a:pt x="5582859" y="1713616"/>
                </a:cubicBezTo>
                <a:cubicBezTo>
                  <a:pt x="5582859" y="1719418"/>
                  <a:pt x="5580924" y="1721353"/>
                  <a:pt x="5578991" y="1723286"/>
                </a:cubicBezTo>
                <a:cubicBezTo>
                  <a:pt x="5580924" y="1725219"/>
                  <a:pt x="5584795" y="1727154"/>
                  <a:pt x="5586728" y="1729087"/>
                </a:cubicBezTo>
                <a:cubicBezTo>
                  <a:pt x="5582859" y="1732958"/>
                  <a:pt x="5578991" y="1736824"/>
                  <a:pt x="5575123" y="1740692"/>
                </a:cubicBezTo>
                <a:cubicBezTo>
                  <a:pt x="5578991" y="1740692"/>
                  <a:pt x="5584795" y="1740692"/>
                  <a:pt x="5590596" y="1740692"/>
                </a:cubicBezTo>
                <a:cubicBezTo>
                  <a:pt x="5578991" y="1744560"/>
                  <a:pt x="5569322" y="1752297"/>
                  <a:pt x="5563518" y="1763902"/>
                </a:cubicBezTo>
                <a:cubicBezTo>
                  <a:pt x="5567386" y="1767770"/>
                  <a:pt x="5569322" y="1769705"/>
                  <a:pt x="5571255" y="1773573"/>
                </a:cubicBezTo>
                <a:cubicBezTo>
                  <a:pt x="5573190" y="1771638"/>
                  <a:pt x="5575123" y="1769705"/>
                  <a:pt x="5577056" y="1767770"/>
                </a:cubicBezTo>
                <a:cubicBezTo>
                  <a:pt x="5578991" y="1773573"/>
                  <a:pt x="5577056" y="1777442"/>
                  <a:pt x="5575123" y="1779374"/>
                </a:cubicBezTo>
                <a:cubicBezTo>
                  <a:pt x="5575123" y="1781310"/>
                  <a:pt x="5577056" y="1783243"/>
                  <a:pt x="5577056" y="1785178"/>
                </a:cubicBezTo>
                <a:cubicBezTo>
                  <a:pt x="5580924" y="1783243"/>
                  <a:pt x="5582859" y="1781310"/>
                  <a:pt x="5584795" y="1777442"/>
                </a:cubicBezTo>
                <a:cubicBezTo>
                  <a:pt x="5586728" y="1773573"/>
                  <a:pt x="5592531" y="1769705"/>
                  <a:pt x="5598332" y="1765837"/>
                </a:cubicBezTo>
                <a:cubicBezTo>
                  <a:pt x="5594464" y="1763902"/>
                  <a:pt x="5592531" y="1763902"/>
                  <a:pt x="5592531" y="1760033"/>
                </a:cubicBezTo>
                <a:cubicBezTo>
                  <a:pt x="5596397" y="1754232"/>
                  <a:pt x="5600265" y="1748429"/>
                  <a:pt x="5604133" y="1742627"/>
                </a:cubicBezTo>
                <a:cubicBezTo>
                  <a:pt x="5609937" y="1744560"/>
                  <a:pt x="5613805" y="1740692"/>
                  <a:pt x="5617674" y="1736824"/>
                </a:cubicBezTo>
                <a:cubicBezTo>
                  <a:pt x="5609937" y="1736824"/>
                  <a:pt x="5602201" y="1736824"/>
                  <a:pt x="5594464" y="1738759"/>
                </a:cubicBezTo>
                <a:cubicBezTo>
                  <a:pt x="5596397" y="1732958"/>
                  <a:pt x="5596397" y="1727154"/>
                  <a:pt x="5598332" y="1721353"/>
                </a:cubicBezTo>
                <a:cubicBezTo>
                  <a:pt x="5594464" y="1719418"/>
                  <a:pt x="5592531" y="1717482"/>
                  <a:pt x="5590596" y="1715549"/>
                </a:cubicBezTo>
                <a:cubicBezTo>
                  <a:pt x="5588663" y="1713616"/>
                  <a:pt x="5586728" y="1709748"/>
                  <a:pt x="5588663" y="1707813"/>
                </a:cubicBezTo>
                <a:cubicBezTo>
                  <a:pt x="5590596" y="1703945"/>
                  <a:pt x="5590596" y="1702012"/>
                  <a:pt x="5588663" y="1698144"/>
                </a:cubicBezTo>
                <a:close/>
                <a:moveTo>
                  <a:pt x="5684596" y="1686440"/>
                </a:moveTo>
                <a:lnTo>
                  <a:pt x="5679566" y="1702012"/>
                </a:lnTo>
                <a:cubicBezTo>
                  <a:pt x="5679566" y="1711681"/>
                  <a:pt x="5671829" y="1713616"/>
                  <a:pt x="5662157" y="1719418"/>
                </a:cubicBezTo>
                <a:cubicBezTo>
                  <a:pt x="5664090" y="1715549"/>
                  <a:pt x="5664090" y="1715549"/>
                  <a:pt x="5664090" y="1713616"/>
                </a:cubicBezTo>
                <a:cubicBezTo>
                  <a:pt x="5664090" y="1713616"/>
                  <a:pt x="5664090" y="1711681"/>
                  <a:pt x="5664090" y="1711681"/>
                </a:cubicBezTo>
                <a:cubicBezTo>
                  <a:pt x="5664090" y="1711681"/>
                  <a:pt x="5662157" y="1711681"/>
                  <a:pt x="5662157" y="1709748"/>
                </a:cubicBezTo>
                <a:lnTo>
                  <a:pt x="5661103" y="1711066"/>
                </a:lnTo>
                <a:lnTo>
                  <a:pt x="5667959" y="1696208"/>
                </a:lnTo>
                <a:cubicBezTo>
                  <a:pt x="5669894" y="1696208"/>
                  <a:pt x="5671829" y="1696208"/>
                  <a:pt x="5673762" y="1698144"/>
                </a:cubicBezTo>
                <a:cubicBezTo>
                  <a:pt x="5674730" y="1693308"/>
                  <a:pt x="5678114" y="1690890"/>
                  <a:pt x="5681499" y="1688956"/>
                </a:cubicBezTo>
                <a:close/>
                <a:moveTo>
                  <a:pt x="5747259" y="1680735"/>
                </a:moveTo>
                <a:lnTo>
                  <a:pt x="5740888" y="1691885"/>
                </a:lnTo>
                <a:lnTo>
                  <a:pt x="5739522" y="1692340"/>
                </a:lnTo>
                <a:lnTo>
                  <a:pt x="5734407" y="1687225"/>
                </a:lnTo>
                <a:lnTo>
                  <a:pt x="5736620" y="1682911"/>
                </a:lnTo>
                <a:cubicBezTo>
                  <a:pt x="5739038" y="1680736"/>
                  <a:pt x="5742423" y="1679769"/>
                  <a:pt x="5747259" y="1680735"/>
                </a:cubicBezTo>
                <a:close/>
                <a:moveTo>
                  <a:pt x="5739522" y="1620778"/>
                </a:moveTo>
                <a:cubicBezTo>
                  <a:pt x="5749192" y="1622714"/>
                  <a:pt x="5743391" y="1628515"/>
                  <a:pt x="5743391" y="1632383"/>
                </a:cubicBezTo>
                <a:lnTo>
                  <a:pt x="5748547" y="1632383"/>
                </a:lnTo>
                <a:lnTo>
                  <a:pt x="5741455" y="1640120"/>
                </a:lnTo>
                <a:cubicBezTo>
                  <a:pt x="5745324" y="1642053"/>
                  <a:pt x="5747259" y="1642053"/>
                  <a:pt x="5747259" y="1642053"/>
                </a:cubicBezTo>
                <a:cubicBezTo>
                  <a:pt x="5745324" y="1651724"/>
                  <a:pt x="5743391" y="1661394"/>
                  <a:pt x="5741455" y="1671066"/>
                </a:cubicBezTo>
                <a:cubicBezTo>
                  <a:pt x="5737587" y="1672999"/>
                  <a:pt x="5733719" y="1674934"/>
                  <a:pt x="5731784" y="1678802"/>
                </a:cubicBezTo>
                <a:cubicBezTo>
                  <a:pt x="5730817" y="1681703"/>
                  <a:pt x="5731785" y="1684120"/>
                  <a:pt x="5733478" y="1686296"/>
                </a:cubicBezTo>
                <a:lnTo>
                  <a:pt x="5734407" y="1687225"/>
                </a:lnTo>
                <a:lnTo>
                  <a:pt x="5731784" y="1692340"/>
                </a:lnTo>
                <a:cubicBezTo>
                  <a:pt x="5735654" y="1692340"/>
                  <a:pt x="5737587" y="1694275"/>
                  <a:pt x="5739522" y="1694275"/>
                </a:cubicBezTo>
                <a:lnTo>
                  <a:pt x="5740888" y="1691885"/>
                </a:lnTo>
                <a:lnTo>
                  <a:pt x="5756928" y="1686539"/>
                </a:lnTo>
                <a:cubicBezTo>
                  <a:pt x="5756928" y="1690407"/>
                  <a:pt x="5756928" y="1690407"/>
                  <a:pt x="5756928" y="1692340"/>
                </a:cubicBezTo>
                <a:cubicBezTo>
                  <a:pt x="5753060" y="1698144"/>
                  <a:pt x="5735654" y="1707813"/>
                  <a:pt x="5725982" y="1709748"/>
                </a:cubicBezTo>
                <a:cubicBezTo>
                  <a:pt x="5724049" y="1711681"/>
                  <a:pt x="5722114" y="1711681"/>
                  <a:pt x="5720181" y="1713616"/>
                </a:cubicBezTo>
                <a:cubicBezTo>
                  <a:pt x="5714378" y="1715549"/>
                  <a:pt x="5710509" y="1717482"/>
                  <a:pt x="5704708" y="1721353"/>
                </a:cubicBezTo>
                <a:cubicBezTo>
                  <a:pt x="5704708" y="1711681"/>
                  <a:pt x="5706641" y="1702012"/>
                  <a:pt x="5706641" y="1692340"/>
                </a:cubicBezTo>
                <a:cubicBezTo>
                  <a:pt x="5706641" y="1690407"/>
                  <a:pt x="5708576" y="1690407"/>
                  <a:pt x="5710509" y="1688472"/>
                </a:cubicBezTo>
                <a:cubicBezTo>
                  <a:pt x="5710509" y="1688472"/>
                  <a:pt x="5710509" y="1686539"/>
                  <a:pt x="5710509" y="1684603"/>
                </a:cubicBezTo>
                <a:cubicBezTo>
                  <a:pt x="5704708" y="1684603"/>
                  <a:pt x="5696972" y="1682670"/>
                  <a:pt x="5689235" y="1682670"/>
                </a:cubicBezTo>
                <a:lnTo>
                  <a:pt x="5684596" y="1686440"/>
                </a:lnTo>
                <a:lnTo>
                  <a:pt x="5684642" y="1686297"/>
                </a:lnTo>
                <a:cubicBezTo>
                  <a:pt x="5688268" y="1682187"/>
                  <a:pt x="5693103" y="1678802"/>
                  <a:pt x="5696972" y="1674934"/>
                </a:cubicBezTo>
                <a:cubicBezTo>
                  <a:pt x="5696972" y="1674934"/>
                  <a:pt x="5698907" y="1674934"/>
                  <a:pt x="5698907" y="1674934"/>
                </a:cubicBezTo>
                <a:cubicBezTo>
                  <a:pt x="5708576" y="1661394"/>
                  <a:pt x="5720181" y="1649789"/>
                  <a:pt x="5729851" y="1636251"/>
                </a:cubicBezTo>
                <a:cubicBezTo>
                  <a:pt x="5733719" y="1630448"/>
                  <a:pt x="5735654" y="1626582"/>
                  <a:pt x="5739522" y="1620778"/>
                </a:cubicBezTo>
                <a:close/>
                <a:moveTo>
                  <a:pt x="5784006" y="1613042"/>
                </a:moveTo>
                <a:lnTo>
                  <a:pt x="5790991" y="1616035"/>
                </a:lnTo>
                <a:lnTo>
                  <a:pt x="5789807" y="1616910"/>
                </a:lnTo>
                <a:cubicBezTo>
                  <a:pt x="5782073" y="1622714"/>
                  <a:pt x="5774334" y="1628515"/>
                  <a:pt x="5766600" y="1632383"/>
                </a:cubicBezTo>
                <a:lnTo>
                  <a:pt x="5761693" y="1631401"/>
                </a:lnTo>
                <a:lnTo>
                  <a:pt x="5770951" y="1621262"/>
                </a:lnTo>
                <a:cubicBezTo>
                  <a:pt x="5775303" y="1618360"/>
                  <a:pt x="5780138" y="1615942"/>
                  <a:pt x="5784006" y="1613042"/>
                </a:cubicBezTo>
                <a:close/>
                <a:moveTo>
                  <a:pt x="5770466" y="1603834"/>
                </a:moveTo>
                <a:lnTo>
                  <a:pt x="5770466" y="1618843"/>
                </a:lnTo>
                <a:cubicBezTo>
                  <a:pt x="5768533" y="1624647"/>
                  <a:pt x="5760797" y="1626582"/>
                  <a:pt x="5756928" y="1630448"/>
                </a:cubicBezTo>
                <a:lnTo>
                  <a:pt x="5761693" y="1631401"/>
                </a:lnTo>
                <a:lnTo>
                  <a:pt x="5760797" y="1632383"/>
                </a:lnTo>
                <a:lnTo>
                  <a:pt x="5748547" y="1632383"/>
                </a:lnTo>
                <a:lnTo>
                  <a:pt x="5762732" y="1616910"/>
                </a:lnTo>
                <a:cubicBezTo>
                  <a:pt x="5762732" y="1614977"/>
                  <a:pt x="5762732" y="1614977"/>
                  <a:pt x="5762732" y="1613042"/>
                </a:cubicBezTo>
                <a:cubicBezTo>
                  <a:pt x="5760797" y="1614977"/>
                  <a:pt x="5756928" y="1614977"/>
                  <a:pt x="5754993" y="1616910"/>
                </a:cubicBezTo>
                <a:cubicBezTo>
                  <a:pt x="5754993" y="1614977"/>
                  <a:pt x="5754993" y="1614977"/>
                  <a:pt x="5754993" y="1613042"/>
                </a:cubicBezTo>
                <a:lnTo>
                  <a:pt x="5757403" y="1610934"/>
                </a:lnTo>
                <a:close/>
                <a:moveTo>
                  <a:pt x="5814235" y="1598856"/>
                </a:moveTo>
                <a:lnTo>
                  <a:pt x="5824622" y="1603372"/>
                </a:lnTo>
                <a:cubicBezTo>
                  <a:pt x="5811084" y="1607241"/>
                  <a:pt x="5803347" y="1614977"/>
                  <a:pt x="5797544" y="1618843"/>
                </a:cubicBezTo>
                <a:lnTo>
                  <a:pt x="5790991" y="1616035"/>
                </a:lnTo>
                <a:close/>
                <a:moveTo>
                  <a:pt x="5834293" y="1584031"/>
                </a:moveTo>
                <a:cubicBezTo>
                  <a:pt x="5834293" y="1584031"/>
                  <a:pt x="5834293" y="1585964"/>
                  <a:pt x="5834293" y="1585964"/>
                </a:cubicBezTo>
                <a:lnTo>
                  <a:pt x="5831678" y="1585964"/>
                </a:lnTo>
                <a:close/>
                <a:moveTo>
                  <a:pt x="5846918" y="1573903"/>
                </a:moveTo>
                <a:lnTo>
                  <a:pt x="5847831" y="1574359"/>
                </a:lnTo>
                <a:cubicBezTo>
                  <a:pt x="5845898" y="1576295"/>
                  <a:pt x="5843963" y="1578227"/>
                  <a:pt x="5842028" y="1580163"/>
                </a:cubicBezTo>
                <a:lnTo>
                  <a:pt x="5840732" y="1578866"/>
                </a:lnTo>
                <a:close/>
                <a:moveTo>
                  <a:pt x="5818820" y="1572426"/>
                </a:moveTo>
                <a:cubicBezTo>
                  <a:pt x="5814952" y="1576295"/>
                  <a:pt x="5811084" y="1578227"/>
                  <a:pt x="5807216" y="1578227"/>
                </a:cubicBezTo>
                <a:cubicBezTo>
                  <a:pt x="5809149" y="1580163"/>
                  <a:pt x="5809149" y="1582096"/>
                  <a:pt x="5809149" y="1585964"/>
                </a:cubicBezTo>
                <a:cubicBezTo>
                  <a:pt x="5813017" y="1582096"/>
                  <a:pt x="5816885" y="1576295"/>
                  <a:pt x="5818820" y="1572426"/>
                </a:cubicBezTo>
                <a:close/>
                <a:moveTo>
                  <a:pt x="5843963" y="1560822"/>
                </a:moveTo>
                <a:cubicBezTo>
                  <a:pt x="5840095" y="1562754"/>
                  <a:pt x="5836226" y="1564690"/>
                  <a:pt x="5832358" y="1566623"/>
                </a:cubicBezTo>
                <a:cubicBezTo>
                  <a:pt x="5830425" y="1570491"/>
                  <a:pt x="5828490" y="1572426"/>
                  <a:pt x="5830425" y="1578227"/>
                </a:cubicBezTo>
                <a:cubicBezTo>
                  <a:pt x="5832358" y="1578227"/>
                  <a:pt x="5832358" y="1578227"/>
                  <a:pt x="5834293" y="1578227"/>
                </a:cubicBezTo>
                <a:cubicBezTo>
                  <a:pt x="5838159" y="1572426"/>
                  <a:pt x="5840095" y="1566623"/>
                  <a:pt x="5843963" y="1560822"/>
                </a:cubicBezTo>
                <a:close/>
                <a:moveTo>
                  <a:pt x="5876842" y="1555018"/>
                </a:moveTo>
                <a:cubicBezTo>
                  <a:pt x="5876842" y="1555018"/>
                  <a:pt x="5876842" y="1555018"/>
                  <a:pt x="5878777" y="1556953"/>
                </a:cubicBezTo>
                <a:cubicBezTo>
                  <a:pt x="5876842" y="1558886"/>
                  <a:pt x="5874909" y="1558886"/>
                  <a:pt x="5872976" y="1560822"/>
                </a:cubicBezTo>
                <a:cubicBezTo>
                  <a:pt x="5872976" y="1556953"/>
                  <a:pt x="5874909" y="1556953"/>
                  <a:pt x="5876842" y="1555018"/>
                </a:cubicBezTo>
                <a:close/>
                <a:moveTo>
                  <a:pt x="5890595" y="1530009"/>
                </a:moveTo>
                <a:lnTo>
                  <a:pt x="5882645" y="1539547"/>
                </a:lnTo>
                <a:cubicBezTo>
                  <a:pt x="5878777" y="1545349"/>
                  <a:pt x="5872976" y="1545349"/>
                  <a:pt x="5869108" y="1545349"/>
                </a:cubicBezTo>
                <a:lnTo>
                  <a:pt x="5875713" y="1538142"/>
                </a:lnTo>
                <a:lnTo>
                  <a:pt x="5884578" y="1531809"/>
                </a:lnTo>
                <a:close/>
                <a:moveTo>
                  <a:pt x="5987086" y="1481524"/>
                </a:moveTo>
                <a:cubicBezTo>
                  <a:pt x="5981285" y="1485392"/>
                  <a:pt x="5979352" y="1487325"/>
                  <a:pt x="5977417" y="1489260"/>
                </a:cubicBezTo>
                <a:cubicBezTo>
                  <a:pt x="5973548" y="1485392"/>
                  <a:pt x="5975481" y="1483457"/>
                  <a:pt x="5987086" y="1481524"/>
                </a:cubicBezTo>
                <a:close/>
                <a:moveTo>
                  <a:pt x="5468747" y="1429303"/>
                </a:moveTo>
                <a:cubicBezTo>
                  <a:pt x="5466814" y="1431236"/>
                  <a:pt x="5464879" y="1431236"/>
                  <a:pt x="5464879" y="1431236"/>
                </a:cubicBezTo>
                <a:cubicBezTo>
                  <a:pt x="5464879" y="1433172"/>
                  <a:pt x="5462946" y="1433172"/>
                  <a:pt x="5462946" y="1435104"/>
                </a:cubicBezTo>
                <a:cubicBezTo>
                  <a:pt x="5464879" y="1435104"/>
                  <a:pt x="5466814" y="1435104"/>
                  <a:pt x="5468747" y="1435104"/>
                </a:cubicBezTo>
                <a:cubicBezTo>
                  <a:pt x="5468747" y="1433172"/>
                  <a:pt x="5468747" y="1431236"/>
                  <a:pt x="5468747" y="1429303"/>
                </a:cubicBezTo>
                <a:close/>
                <a:moveTo>
                  <a:pt x="5488088" y="1419631"/>
                </a:moveTo>
                <a:cubicBezTo>
                  <a:pt x="5486155" y="1419631"/>
                  <a:pt x="5484220" y="1421567"/>
                  <a:pt x="5482287" y="1421567"/>
                </a:cubicBezTo>
                <a:cubicBezTo>
                  <a:pt x="5480352" y="1427368"/>
                  <a:pt x="5476483" y="1429303"/>
                  <a:pt x="5472615" y="1433172"/>
                </a:cubicBezTo>
                <a:cubicBezTo>
                  <a:pt x="5474551" y="1433172"/>
                  <a:pt x="5478419" y="1435104"/>
                  <a:pt x="5482287" y="1435104"/>
                </a:cubicBezTo>
                <a:cubicBezTo>
                  <a:pt x="5482287" y="1435104"/>
                  <a:pt x="5484220" y="1435104"/>
                  <a:pt x="5484220" y="1435104"/>
                </a:cubicBezTo>
                <a:cubicBezTo>
                  <a:pt x="5486155" y="1433172"/>
                  <a:pt x="5488088" y="1433172"/>
                  <a:pt x="5490021" y="1431236"/>
                </a:cubicBezTo>
                <a:cubicBezTo>
                  <a:pt x="5493889" y="1429303"/>
                  <a:pt x="5495825" y="1425435"/>
                  <a:pt x="5495825" y="1419631"/>
                </a:cubicBezTo>
                <a:cubicBezTo>
                  <a:pt x="5491956" y="1419631"/>
                  <a:pt x="5490021" y="1421567"/>
                  <a:pt x="5488088" y="1419631"/>
                </a:cubicBezTo>
                <a:close/>
                <a:moveTo>
                  <a:pt x="5476483" y="1408027"/>
                </a:moveTo>
                <a:cubicBezTo>
                  <a:pt x="5474551" y="1409962"/>
                  <a:pt x="5472615" y="1411895"/>
                  <a:pt x="5472615" y="1411895"/>
                </a:cubicBezTo>
                <a:cubicBezTo>
                  <a:pt x="5472615" y="1413830"/>
                  <a:pt x="5474551" y="1413830"/>
                  <a:pt x="5474551" y="1413830"/>
                </a:cubicBezTo>
                <a:cubicBezTo>
                  <a:pt x="5474551" y="1411895"/>
                  <a:pt x="5476483" y="1409962"/>
                  <a:pt x="5476483" y="1408027"/>
                </a:cubicBezTo>
                <a:close/>
                <a:moveTo>
                  <a:pt x="5975481" y="1390621"/>
                </a:moveTo>
                <a:cubicBezTo>
                  <a:pt x="5973548" y="1392554"/>
                  <a:pt x="5973548" y="1396422"/>
                  <a:pt x="5971613" y="1398357"/>
                </a:cubicBezTo>
                <a:cubicBezTo>
                  <a:pt x="5971613" y="1400290"/>
                  <a:pt x="5973548" y="1400290"/>
                  <a:pt x="5973548" y="1400290"/>
                </a:cubicBezTo>
                <a:cubicBezTo>
                  <a:pt x="5975481" y="1398357"/>
                  <a:pt x="5975481" y="1396422"/>
                  <a:pt x="5979352" y="1392554"/>
                </a:cubicBezTo>
                <a:cubicBezTo>
                  <a:pt x="5977417" y="1392554"/>
                  <a:pt x="5977417" y="1390621"/>
                  <a:pt x="5975481" y="1390621"/>
                </a:cubicBezTo>
                <a:close/>
                <a:moveTo>
                  <a:pt x="5987086" y="1385301"/>
                </a:moveTo>
                <a:lnTo>
                  <a:pt x="5987086" y="1390621"/>
                </a:lnTo>
                <a:lnTo>
                  <a:pt x="5982327" y="1387795"/>
                </a:lnTo>
                <a:lnTo>
                  <a:pt x="5981285" y="1386752"/>
                </a:lnTo>
                <a:close/>
                <a:moveTo>
                  <a:pt x="6021900" y="1379338"/>
                </a:moveTo>
                <a:lnTo>
                  <a:pt x="6021900" y="1380949"/>
                </a:lnTo>
                <a:lnTo>
                  <a:pt x="6020519" y="1380489"/>
                </a:lnTo>
                <a:close/>
                <a:moveTo>
                  <a:pt x="5529913" y="1372488"/>
                </a:moveTo>
                <a:cubicBezTo>
                  <a:pt x="5526770" y="1373213"/>
                  <a:pt x="5523869" y="1375148"/>
                  <a:pt x="5520967" y="1379016"/>
                </a:cubicBezTo>
                <a:cubicBezTo>
                  <a:pt x="5519034" y="1379016"/>
                  <a:pt x="5515166" y="1379016"/>
                  <a:pt x="5513231" y="1380949"/>
                </a:cubicBezTo>
                <a:cubicBezTo>
                  <a:pt x="5511298" y="1382884"/>
                  <a:pt x="5509362" y="1384817"/>
                  <a:pt x="5507430" y="1386752"/>
                </a:cubicBezTo>
                <a:cubicBezTo>
                  <a:pt x="5505497" y="1386752"/>
                  <a:pt x="5503561" y="1384817"/>
                  <a:pt x="5501628" y="1382884"/>
                </a:cubicBezTo>
                <a:cubicBezTo>
                  <a:pt x="5499693" y="1384817"/>
                  <a:pt x="5497758" y="1386752"/>
                  <a:pt x="5495825" y="1388685"/>
                </a:cubicBezTo>
                <a:cubicBezTo>
                  <a:pt x="5493889" y="1386752"/>
                  <a:pt x="5493889" y="1386752"/>
                  <a:pt x="5493889" y="1386752"/>
                </a:cubicBezTo>
                <a:cubicBezTo>
                  <a:pt x="5488088" y="1392554"/>
                  <a:pt x="5484220" y="1400290"/>
                  <a:pt x="5478419" y="1406094"/>
                </a:cubicBezTo>
                <a:cubicBezTo>
                  <a:pt x="5480352" y="1408027"/>
                  <a:pt x="5482287" y="1408027"/>
                  <a:pt x="5484220" y="1409962"/>
                </a:cubicBezTo>
                <a:cubicBezTo>
                  <a:pt x="5484220" y="1411895"/>
                  <a:pt x="5484220" y="1415763"/>
                  <a:pt x="5484220" y="1417699"/>
                </a:cubicBezTo>
                <a:cubicBezTo>
                  <a:pt x="5490021" y="1413830"/>
                  <a:pt x="5493889" y="1409962"/>
                  <a:pt x="5499693" y="1404158"/>
                </a:cubicBezTo>
                <a:cubicBezTo>
                  <a:pt x="5501628" y="1404158"/>
                  <a:pt x="5503561" y="1402225"/>
                  <a:pt x="5505497" y="1400290"/>
                </a:cubicBezTo>
                <a:cubicBezTo>
                  <a:pt x="5505497" y="1402225"/>
                  <a:pt x="5505497" y="1402225"/>
                  <a:pt x="5505497" y="1402225"/>
                </a:cubicBezTo>
                <a:cubicBezTo>
                  <a:pt x="5511298" y="1398357"/>
                  <a:pt x="5517099" y="1396422"/>
                  <a:pt x="5522903" y="1392554"/>
                </a:cubicBezTo>
                <a:cubicBezTo>
                  <a:pt x="5528704" y="1390621"/>
                  <a:pt x="5536440" y="1384817"/>
                  <a:pt x="5538376" y="1377081"/>
                </a:cubicBezTo>
                <a:cubicBezTo>
                  <a:pt x="5538376" y="1375148"/>
                  <a:pt x="5540308" y="1375148"/>
                  <a:pt x="5540308" y="1373212"/>
                </a:cubicBezTo>
                <a:cubicBezTo>
                  <a:pt x="5536440" y="1372246"/>
                  <a:pt x="5533056" y="1371763"/>
                  <a:pt x="5529913" y="1372488"/>
                </a:cubicBezTo>
                <a:close/>
                <a:moveTo>
                  <a:pt x="5546112" y="1369344"/>
                </a:moveTo>
                <a:cubicBezTo>
                  <a:pt x="5544177" y="1369344"/>
                  <a:pt x="5544177" y="1371279"/>
                  <a:pt x="5540308" y="1375148"/>
                </a:cubicBezTo>
                <a:cubicBezTo>
                  <a:pt x="5542244" y="1375148"/>
                  <a:pt x="5544177" y="1375148"/>
                  <a:pt x="5546112" y="1375148"/>
                </a:cubicBezTo>
                <a:cubicBezTo>
                  <a:pt x="5546112" y="1375148"/>
                  <a:pt x="5548045" y="1373212"/>
                  <a:pt x="5548045" y="1371279"/>
                </a:cubicBezTo>
                <a:cubicBezTo>
                  <a:pt x="5548045" y="1369344"/>
                  <a:pt x="5546112" y="1369344"/>
                  <a:pt x="5546112" y="1369344"/>
                </a:cubicBezTo>
                <a:close/>
                <a:moveTo>
                  <a:pt x="5971613" y="1361607"/>
                </a:moveTo>
                <a:cubicBezTo>
                  <a:pt x="5961943" y="1363543"/>
                  <a:pt x="5961943" y="1363543"/>
                  <a:pt x="5960011" y="1371279"/>
                </a:cubicBezTo>
                <a:cubicBezTo>
                  <a:pt x="5963876" y="1367411"/>
                  <a:pt x="5967745" y="1365478"/>
                  <a:pt x="5971613" y="1361607"/>
                </a:cubicBezTo>
                <a:close/>
                <a:moveTo>
                  <a:pt x="6023836" y="1351938"/>
                </a:moveTo>
                <a:lnTo>
                  <a:pt x="6024801" y="1351938"/>
                </a:lnTo>
                <a:lnTo>
                  <a:pt x="6025769" y="1353873"/>
                </a:lnTo>
                <a:lnTo>
                  <a:pt x="6027853" y="1352236"/>
                </a:lnTo>
                <a:lnTo>
                  <a:pt x="6029637" y="1355806"/>
                </a:lnTo>
                <a:cubicBezTo>
                  <a:pt x="6029637" y="1357739"/>
                  <a:pt x="6025769" y="1359675"/>
                  <a:pt x="6023836" y="1363543"/>
                </a:cubicBezTo>
                <a:cubicBezTo>
                  <a:pt x="6021900" y="1363543"/>
                  <a:pt x="6021900" y="1361607"/>
                  <a:pt x="6019967" y="1361607"/>
                </a:cubicBezTo>
                <a:cubicBezTo>
                  <a:pt x="6021900" y="1357739"/>
                  <a:pt x="6021900" y="1355806"/>
                  <a:pt x="6023836" y="1351938"/>
                </a:cubicBezTo>
                <a:close/>
                <a:moveTo>
                  <a:pt x="6019967" y="1342269"/>
                </a:moveTo>
                <a:lnTo>
                  <a:pt x="6020353" y="1343041"/>
                </a:lnTo>
                <a:lnTo>
                  <a:pt x="6012406" y="1347015"/>
                </a:lnTo>
                <a:lnTo>
                  <a:pt x="6010295" y="1344202"/>
                </a:lnTo>
                <a:cubicBezTo>
                  <a:pt x="6014164" y="1344202"/>
                  <a:pt x="6018032" y="1342269"/>
                  <a:pt x="6019967" y="1342269"/>
                </a:cubicBezTo>
                <a:close/>
                <a:moveTo>
                  <a:pt x="6033505" y="1336465"/>
                </a:moveTo>
                <a:lnTo>
                  <a:pt x="6036149" y="1345717"/>
                </a:lnTo>
                <a:lnTo>
                  <a:pt x="6027853" y="1352236"/>
                </a:lnTo>
                <a:lnTo>
                  <a:pt x="6027704" y="1351938"/>
                </a:lnTo>
                <a:lnTo>
                  <a:pt x="6024801" y="1351938"/>
                </a:lnTo>
                <a:lnTo>
                  <a:pt x="6020353" y="1343041"/>
                </a:lnTo>
                <a:close/>
                <a:moveTo>
                  <a:pt x="5608002" y="1324860"/>
                </a:moveTo>
                <a:cubicBezTo>
                  <a:pt x="5606069" y="1324860"/>
                  <a:pt x="5606069" y="1326796"/>
                  <a:pt x="5604133" y="1326796"/>
                </a:cubicBezTo>
                <a:cubicBezTo>
                  <a:pt x="5604133" y="1328729"/>
                  <a:pt x="5606069" y="1328729"/>
                  <a:pt x="5606069" y="1328729"/>
                </a:cubicBezTo>
                <a:cubicBezTo>
                  <a:pt x="5606069" y="1326796"/>
                  <a:pt x="5608002" y="1326796"/>
                  <a:pt x="5608002" y="1324860"/>
                </a:cubicBezTo>
                <a:close/>
                <a:moveTo>
                  <a:pt x="6095397" y="1307454"/>
                </a:moveTo>
                <a:cubicBezTo>
                  <a:pt x="6096364" y="1310355"/>
                  <a:pt x="6096364" y="1312289"/>
                  <a:pt x="6093946" y="1310597"/>
                </a:cubicBezTo>
                <a:lnTo>
                  <a:pt x="6092743" y="1309401"/>
                </a:lnTo>
                <a:close/>
                <a:moveTo>
                  <a:pt x="5642816" y="1303586"/>
                </a:moveTo>
                <a:cubicBezTo>
                  <a:pt x="5635080" y="1305519"/>
                  <a:pt x="5627343" y="1307454"/>
                  <a:pt x="5623475" y="1315191"/>
                </a:cubicBezTo>
                <a:cubicBezTo>
                  <a:pt x="5621542" y="1317124"/>
                  <a:pt x="5617674" y="1319059"/>
                  <a:pt x="5613805" y="1320992"/>
                </a:cubicBezTo>
                <a:cubicBezTo>
                  <a:pt x="5615738" y="1324860"/>
                  <a:pt x="5611872" y="1326796"/>
                  <a:pt x="5609937" y="1330664"/>
                </a:cubicBezTo>
                <a:cubicBezTo>
                  <a:pt x="5615738" y="1334532"/>
                  <a:pt x="5621542" y="1332597"/>
                  <a:pt x="5627343" y="1328729"/>
                </a:cubicBezTo>
                <a:cubicBezTo>
                  <a:pt x="5635080" y="1322927"/>
                  <a:pt x="5642816" y="1315191"/>
                  <a:pt x="5642816" y="1303586"/>
                </a:cubicBezTo>
                <a:close/>
                <a:moveTo>
                  <a:pt x="6077989" y="1291981"/>
                </a:moveTo>
                <a:cubicBezTo>
                  <a:pt x="6082341" y="1297784"/>
                  <a:pt x="6085726" y="1302014"/>
                  <a:pt x="6088325" y="1305006"/>
                </a:cubicBezTo>
                <a:lnTo>
                  <a:pt x="6092743" y="1309401"/>
                </a:lnTo>
                <a:lnTo>
                  <a:pt x="6066386" y="1328729"/>
                </a:lnTo>
                <a:cubicBezTo>
                  <a:pt x="6056715" y="1334532"/>
                  <a:pt x="6050911" y="1348070"/>
                  <a:pt x="6037373" y="1350003"/>
                </a:cubicBezTo>
                <a:lnTo>
                  <a:pt x="6036149" y="1345717"/>
                </a:lnTo>
                <a:lnTo>
                  <a:pt x="6052846" y="1332597"/>
                </a:lnTo>
                <a:cubicBezTo>
                  <a:pt x="6052846" y="1332597"/>
                  <a:pt x="6052846" y="1330664"/>
                  <a:pt x="6050911" y="1330664"/>
                </a:cubicBezTo>
                <a:cubicBezTo>
                  <a:pt x="6045110" y="1332597"/>
                  <a:pt x="6037373" y="1334532"/>
                  <a:pt x="6031570" y="1334532"/>
                </a:cubicBezTo>
                <a:cubicBezTo>
                  <a:pt x="6031570" y="1332597"/>
                  <a:pt x="6031570" y="1330664"/>
                  <a:pt x="6033505" y="1330664"/>
                </a:cubicBezTo>
                <a:cubicBezTo>
                  <a:pt x="6048978" y="1317124"/>
                  <a:pt x="6062516" y="1303586"/>
                  <a:pt x="6077989" y="1291981"/>
                </a:cubicBezTo>
                <a:close/>
                <a:moveTo>
                  <a:pt x="5644749" y="1251363"/>
                </a:moveTo>
                <a:cubicBezTo>
                  <a:pt x="5640883" y="1255234"/>
                  <a:pt x="5638948" y="1259102"/>
                  <a:pt x="5635080" y="1262968"/>
                </a:cubicBezTo>
                <a:cubicBezTo>
                  <a:pt x="5640883" y="1268772"/>
                  <a:pt x="5642816" y="1272640"/>
                  <a:pt x="5638948" y="1276508"/>
                </a:cubicBezTo>
                <a:cubicBezTo>
                  <a:pt x="5637015" y="1280376"/>
                  <a:pt x="5633147" y="1282309"/>
                  <a:pt x="5629278" y="1286178"/>
                </a:cubicBezTo>
                <a:cubicBezTo>
                  <a:pt x="5627343" y="1288113"/>
                  <a:pt x="5625410" y="1291981"/>
                  <a:pt x="5623475" y="1295850"/>
                </a:cubicBezTo>
                <a:cubicBezTo>
                  <a:pt x="5631211" y="1297782"/>
                  <a:pt x="5638948" y="1299718"/>
                  <a:pt x="5644749" y="1301651"/>
                </a:cubicBezTo>
                <a:cubicBezTo>
                  <a:pt x="5652488" y="1297782"/>
                  <a:pt x="5652488" y="1297782"/>
                  <a:pt x="5660224" y="1305519"/>
                </a:cubicBezTo>
                <a:cubicBezTo>
                  <a:pt x="5652488" y="1324860"/>
                  <a:pt x="5637015" y="1340333"/>
                  <a:pt x="5615738" y="1346137"/>
                </a:cubicBezTo>
                <a:cubicBezTo>
                  <a:pt x="5592531" y="1353873"/>
                  <a:pt x="5575123" y="1367411"/>
                  <a:pt x="5557714" y="1382884"/>
                </a:cubicBezTo>
                <a:cubicBezTo>
                  <a:pt x="5557714" y="1384817"/>
                  <a:pt x="5557714" y="1386752"/>
                  <a:pt x="5559650" y="1390621"/>
                </a:cubicBezTo>
                <a:cubicBezTo>
                  <a:pt x="5555781" y="1392554"/>
                  <a:pt x="5553849" y="1394489"/>
                  <a:pt x="5551913" y="1396422"/>
                </a:cubicBezTo>
                <a:cubicBezTo>
                  <a:pt x="5542244" y="1400290"/>
                  <a:pt x="5532572" y="1404158"/>
                  <a:pt x="5522903" y="1409962"/>
                </a:cubicBezTo>
                <a:cubicBezTo>
                  <a:pt x="5520967" y="1408027"/>
                  <a:pt x="5519034" y="1406094"/>
                  <a:pt x="5517099" y="1402225"/>
                </a:cubicBezTo>
                <a:cubicBezTo>
                  <a:pt x="5513231" y="1404158"/>
                  <a:pt x="5507430" y="1408027"/>
                  <a:pt x="5503561" y="1409962"/>
                </a:cubicBezTo>
                <a:cubicBezTo>
                  <a:pt x="5501628" y="1413830"/>
                  <a:pt x="5501628" y="1415763"/>
                  <a:pt x="5501628" y="1417699"/>
                </a:cubicBezTo>
                <a:cubicBezTo>
                  <a:pt x="5501628" y="1417699"/>
                  <a:pt x="5503561" y="1417699"/>
                  <a:pt x="5503561" y="1417699"/>
                </a:cubicBezTo>
                <a:cubicBezTo>
                  <a:pt x="5503561" y="1419631"/>
                  <a:pt x="5503561" y="1419631"/>
                  <a:pt x="5503561" y="1419631"/>
                </a:cubicBezTo>
                <a:lnTo>
                  <a:pt x="5502112" y="1421083"/>
                </a:lnTo>
                <a:lnTo>
                  <a:pt x="5501628" y="1419631"/>
                </a:lnTo>
                <a:cubicBezTo>
                  <a:pt x="5501628" y="1419631"/>
                  <a:pt x="5501628" y="1419631"/>
                  <a:pt x="5501628" y="1421567"/>
                </a:cubicBezTo>
                <a:lnTo>
                  <a:pt x="5502112" y="1421083"/>
                </a:lnTo>
                <a:lnTo>
                  <a:pt x="5503561" y="1425435"/>
                </a:lnTo>
                <a:cubicBezTo>
                  <a:pt x="5524838" y="1413830"/>
                  <a:pt x="5548045" y="1402225"/>
                  <a:pt x="5573190" y="1388685"/>
                </a:cubicBezTo>
                <a:cubicBezTo>
                  <a:pt x="5602201" y="1373212"/>
                  <a:pt x="5627343" y="1380949"/>
                  <a:pt x="5644749" y="1396422"/>
                </a:cubicBezTo>
                <a:cubicBezTo>
                  <a:pt x="5646684" y="1392554"/>
                  <a:pt x="5648620" y="1390621"/>
                  <a:pt x="5650553" y="1386752"/>
                </a:cubicBezTo>
                <a:cubicBezTo>
                  <a:pt x="5642816" y="1384817"/>
                  <a:pt x="5637015" y="1384817"/>
                  <a:pt x="5631211" y="1382884"/>
                </a:cubicBezTo>
                <a:cubicBezTo>
                  <a:pt x="5629278" y="1379016"/>
                  <a:pt x="5633147" y="1377081"/>
                  <a:pt x="5635080" y="1375148"/>
                </a:cubicBezTo>
                <a:cubicBezTo>
                  <a:pt x="5638948" y="1373212"/>
                  <a:pt x="5642816" y="1371279"/>
                  <a:pt x="5646684" y="1367411"/>
                </a:cubicBezTo>
                <a:cubicBezTo>
                  <a:pt x="5642816" y="1361607"/>
                  <a:pt x="5640883" y="1355806"/>
                  <a:pt x="5637015" y="1350003"/>
                </a:cubicBezTo>
                <a:cubicBezTo>
                  <a:pt x="5648620" y="1346137"/>
                  <a:pt x="5656356" y="1336465"/>
                  <a:pt x="5664090" y="1328729"/>
                </a:cubicBezTo>
                <a:cubicBezTo>
                  <a:pt x="5666026" y="1322927"/>
                  <a:pt x="5660224" y="1319059"/>
                  <a:pt x="5664090" y="1313255"/>
                </a:cubicBezTo>
                <a:cubicBezTo>
                  <a:pt x="5664090" y="1313255"/>
                  <a:pt x="5664090" y="1311323"/>
                  <a:pt x="5664090" y="1311323"/>
                </a:cubicBezTo>
                <a:cubicBezTo>
                  <a:pt x="5673762" y="1293914"/>
                  <a:pt x="5673762" y="1278444"/>
                  <a:pt x="5662157" y="1261035"/>
                </a:cubicBezTo>
                <a:cubicBezTo>
                  <a:pt x="5660224" y="1262968"/>
                  <a:pt x="5656356" y="1262968"/>
                  <a:pt x="5654421" y="1262968"/>
                </a:cubicBezTo>
                <a:cubicBezTo>
                  <a:pt x="5652488" y="1259102"/>
                  <a:pt x="5648620" y="1255234"/>
                  <a:pt x="5644749" y="1251363"/>
                </a:cubicBezTo>
                <a:close/>
                <a:moveTo>
                  <a:pt x="5635080" y="1241694"/>
                </a:moveTo>
                <a:cubicBezTo>
                  <a:pt x="5633147" y="1241694"/>
                  <a:pt x="5631211" y="1243629"/>
                  <a:pt x="5629278" y="1247497"/>
                </a:cubicBezTo>
                <a:cubicBezTo>
                  <a:pt x="5633147" y="1251363"/>
                  <a:pt x="5637015" y="1253299"/>
                  <a:pt x="5640883" y="1255234"/>
                </a:cubicBezTo>
                <a:cubicBezTo>
                  <a:pt x="5640883" y="1253299"/>
                  <a:pt x="5640883" y="1249430"/>
                  <a:pt x="5640883" y="1247497"/>
                </a:cubicBezTo>
                <a:cubicBezTo>
                  <a:pt x="5640883" y="1243629"/>
                  <a:pt x="5638948" y="1239761"/>
                  <a:pt x="5635080" y="1241694"/>
                </a:cubicBezTo>
                <a:close/>
                <a:moveTo>
                  <a:pt x="5573190" y="1013469"/>
                </a:moveTo>
                <a:cubicBezTo>
                  <a:pt x="5571255" y="1013469"/>
                  <a:pt x="5569322" y="1013469"/>
                  <a:pt x="5569322" y="1015404"/>
                </a:cubicBezTo>
                <a:cubicBezTo>
                  <a:pt x="5569322" y="1017337"/>
                  <a:pt x="5567386" y="1019273"/>
                  <a:pt x="5565453" y="1021206"/>
                </a:cubicBezTo>
                <a:cubicBezTo>
                  <a:pt x="5565453" y="1021206"/>
                  <a:pt x="5565453" y="1023141"/>
                  <a:pt x="5565453" y="1023141"/>
                </a:cubicBezTo>
                <a:cubicBezTo>
                  <a:pt x="5571255" y="1021206"/>
                  <a:pt x="5577056" y="1021206"/>
                  <a:pt x="5573190" y="1013469"/>
                </a:cubicBezTo>
                <a:close/>
                <a:moveTo>
                  <a:pt x="4991023" y="986394"/>
                </a:moveTo>
                <a:cubicBezTo>
                  <a:pt x="4989090" y="988327"/>
                  <a:pt x="4987155" y="990260"/>
                  <a:pt x="4985222" y="990260"/>
                </a:cubicBezTo>
                <a:cubicBezTo>
                  <a:pt x="4987155" y="990260"/>
                  <a:pt x="4987155" y="992195"/>
                  <a:pt x="4987155" y="992195"/>
                </a:cubicBezTo>
                <a:cubicBezTo>
                  <a:pt x="4989090" y="990260"/>
                  <a:pt x="4991023" y="990260"/>
                  <a:pt x="4992959" y="988327"/>
                </a:cubicBezTo>
                <a:cubicBezTo>
                  <a:pt x="4991023" y="988327"/>
                  <a:pt x="4991023" y="986394"/>
                  <a:pt x="4991023" y="986394"/>
                </a:cubicBezTo>
                <a:close/>
                <a:moveTo>
                  <a:pt x="5462946" y="965117"/>
                </a:moveTo>
                <a:cubicBezTo>
                  <a:pt x="5457142" y="965117"/>
                  <a:pt x="5453274" y="967052"/>
                  <a:pt x="5451341" y="967052"/>
                </a:cubicBezTo>
                <a:cubicBezTo>
                  <a:pt x="5441669" y="970921"/>
                  <a:pt x="5428131" y="970921"/>
                  <a:pt x="5428131" y="986394"/>
                </a:cubicBezTo>
                <a:cubicBezTo>
                  <a:pt x="5428131" y="988327"/>
                  <a:pt x="5426196" y="988327"/>
                  <a:pt x="5424263" y="990260"/>
                </a:cubicBezTo>
                <a:cubicBezTo>
                  <a:pt x="5418462" y="997998"/>
                  <a:pt x="5418462" y="999931"/>
                  <a:pt x="5426196" y="1009601"/>
                </a:cubicBezTo>
                <a:cubicBezTo>
                  <a:pt x="5433933" y="1005733"/>
                  <a:pt x="5439736" y="1001864"/>
                  <a:pt x="5445537" y="996063"/>
                </a:cubicBezTo>
                <a:cubicBezTo>
                  <a:pt x="5451341" y="990260"/>
                  <a:pt x="5457142" y="984458"/>
                  <a:pt x="5461010" y="978657"/>
                </a:cubicBezTo>
                <a:cubicBezTo>
                  <a:pt x="5462946" y="976722"/>
                  <a:pt x="5462946" y="970921"/>
                  <a:pt x="5462946" y="965117"/>
                </a:cubicBezTo>
                <a:close/>
                <a:moveTo>
                  <a:pt x="5468747" y="943843"/>
                </a:moveTo>
                <a:cubicBezTo>
                  <a:pt x="5466814" y="945776"/>
                  <a:pt x="5466814" y="947711"/>
                  <a:pt x="5466814" y="949644"/>
                </a:cubicBezTo>
                <a:cubicBezTo>
                  <a:pt x="5466814" y="951579"/>
                  <a:pt x="5468747" y="953512"/>
                  <a:pt x="5468747" y="955448"/>
                </a:cubicBezTo>
                <a:cubicBezTo>
                  <a:pt x="5470680" y="953512"/>
                  <a:pt x="5472615" y="953512"/>
                  <a:pt x="5472615" y="951579"/>
                </a:cubicBezTo>
                <a:cubicBezTo>
                  <a:pt x="5472615" y="949644"/>
                  <a:pt x="5472615" y="947711"/>
                  <a:pt x="5472615" y="945776"/>
                </a:cubicBezTo>
                <a:cubicBezTo>
                  <a:pt x="5472615" y="945776"/>
                  <a:pt x="5472615" y="943843"/>
                  <a:pt x="5470680" y="943843"/>
                </a:cubicBezTo>
                <a:cubicBezTo>
                  <a:pt x="5470680" y="941908"/>
                  <a:pt x="5470680" y="943843"/>
                  <a:pt x="5468747" y="943843"/>
                </a:cubicBezTo>
                <a:close/>
                <a:moveTo>
                  <a:pt x="5298546" y="878083"/>
                </a:moveTo>
                <a:cubicBezTo>
                  <a:pt x="5288877" y="880018"/>
                  <a:pt x="5281140" y="883884"/>
                  <a:pt x="5281140" y="893556"/>
                </a:cubicBezTo>
                <a:cubicBezTo>
                  <a:pt x="5281140" y="893556"/>
                  <a:pt x="5283073" y="895488"/>
                  <a:pt x="5283073" y="895488"/>
                </a:cubicBezTo>
                <a:cubicBezTo>
                  <a:pt x="5285008" y="891623"/>
                  <a:pt x="5288877" y="887754"/>
                  <a:pt x="5290810" y="883884"/>
                </a:cubicBezTo>
                <a:cubicBezTo>
                  <a:pt x="5290810" y="881951"/>
                  <a:pt x="5294678" y="880018"/>
                  <a:pt x="5298546" y="878083"/>
                </a:cubicBezTo>
                <a:close/>
                <a:moveTo>
                  <a:pt x="999037" y="876150"/>
                </a:moveTo>
                <a:cubicBezTo>
                  <a:pt x="999037" y="876150"/>
                  <a:pt x="999037" y="878083"/>
                  <a:pt x="999037" y="878083"/>
                </a:cubicBezTo>
                <a:cubicBezTo>
                  <a:pt x="999037" y="876150"/>
                  <a:pt x="1000972" y="876150"/>
                  <a:pt x="1000972" y="876150"/>
                </a:cubicBezTo>
                <a:cubicBezTo>
                  <a:pt x="999037" y="876150"/>
                  <a:pt x="999037" y="876150"/>
                  <a:pt x="999037" y="876150"/>
                </a:cubicBezTo>
                <a:close/>
                <a:moveTo>
                  <a:pt x="886860" y="860677"/>
                </a:moveTo>
                <a:cubicBezTo>
                  <a:pt x="886860" y="862609"/>
                  <a:pt x="886860" y="864545"/>
                  <a:pt x="886860" y="864545"/>
                </a:cubicBezTo>
                <a:cubicBezTo>
                  <a:pt x="886860" y="864545"/>
                  <a:pt x="888793" y="864545"/>
                  <a:pt x="890728" y="864545"/>
                </a:cubicBezTo>
                <a:cubicBezTo>
                  <a:pt x="890728" y="862609"/>
                  <a:pt x="892661" y="862609"/>
                  <a:pt x="892661" y="860677"/>
                </a:cubicBezTo>
                <a:cubicBezTo>
                  <a:pt x="890728" y="860677"/>
                  <a:pt x="888793" y="860677"/>
                  <a:pt x="886860" y="860677"/>
                </a:cubicBezTo>
                <a:close/>
                <a:moveTo>
                  <a:pt x="5321756" y="854873"/>
                </a:moveTo>
                <a:cubicBezTo>
                  <a:pt x="5314019" y="854873"/>
                  <a:pt x="5306283" y="858741"/>
                  <a:pt x="5304350" y="866478"/>
                </a:cubicBezTo>
                <a:cubicBezTo>
                  <a:pt x="5306283" y="868413"/>
                  <a:pt x="5308218" y="870346"/>
                  <a:pt x="5310151" y="872281"/>
                </a:cubicBezTo>
                <a:cubicBezTo>
                  <a:pt x="5315952" y="868413"/>
                  <a:pt x="5319820" y="862609"/>
                  <a:pt x="5321756" y="854873"/>
                </a:cubicBezTo>
                <a:close/>
                <a:moveTo>
                  <a:pt x="1873250" y="835532"/>
                </a:moveTo>
                <a:cubicBezTo>
                  <a:pt x="1871317" y="837467"/>
                  <a:pt x="1867449" y="839400"/>
                  <a:pt x="1865516" y="841335"/>
                </a:cubicBezTo>
                <a:cubicBezTo>
                  <a:pt x="1865516" y="841335"/>
                  <a:pt x="1865516" y="843268"/>
                  <a:pt x="1865516" y="843268"/>
                </a:cubicBezTo>
                <a:cubicBezTo>
                  <a:pt x="1869384" y="841335"/>
                  <a:pt x="1875186" y="839400"/>
                  <a:pt x="1879054" y="837467"/>
                </a:cubicBezTo>
                <a:cubicBezTo>
                  <a:pt x="1877119" y="837467"/>
                  <a:pt x="1875186" y="835532"/>
                  <a:pt x="1873250" y="835532"/>
                </a:cubicBezTo>
                <a:close/>
                <a:moveTo>
                  <a:pt x="1902263" y="827795"/>
                </a:moveTo>
                <a:cubicBezTo>
                  <a:pt x="1892592" y="825862"/>
                  <a:pt x="1888726" y="829731"/>
                  <a:pt x="1882922" y="835532"/>
                </a:cubicBezTo>
                <a:cubicBezTo>
                  <a:pt x="1882922" y="835532"/>
                  <a:pt x="1882922" y="835532"/>
                  <a:pt x="1884855" y="835532"/>
                </a:cubicBezTo>
                <a:cubicBezTo>
                  <a:pt x="1888726" y="839400"/>
                  <a:pt x="1884855" y="841335"/>
                  <a:pt x="1882922" y="843268"/>
                </a:cubicBezTo>
                <a:cubicBezTo>
                  <a:pt x="1882922" y="843268"/>
                  <a:pt x="1880987" y="845204"/>
                  <a:pt x="1880987" y="845204"/>
                </a:cubicBezTo>
                <a:cubicBezTo>
                  <a:pt x="1888726" y="841335"/>
                  <a:pt x="1896460" y="837467"/>
                  <a:pt x="1902263" y="827795"/>
                </a:cubicBezTo>
                <a:close/>
                <a:moveTo>
                  <a:pt x="1718523" y="816190"/>
                </a:moveTo>
                <a:cubicBezTo>
                  <a:pt x="1689512" y="821994"/>
                  <a:pt x="1689512" y="821994"/>
                  <a:pt x="1677907" y="835532"/>
                </a:cubicBezTo>
                <a:cubicBezTo>
                  <a:pt x="1691447" y="829731"/>
                  <a:pt x="1703050" y="823929"/>
                  <a:pt x="1718523" y="816190"/>
                </a:cubicBezTo>
                <a:close/>
                <a:moveTo>
                  <a:pt x="1991231" y="792983"/>
                </a:moveTo>
                <a:cubicBezTo>
                  <a:pt x="1987363" y="796849"/>
                  <a:pt x="1983494" y="798784"/>
                  <a:pt x="1979626" y="802653"/>
                </a:cubicBezTo>
                <a:cubicBezTo>
                  <a:pt x="1981562" y="802653"/>
                  <a:pt x="1985430" y="800720"/>
                  <a:pt x="1989298" y="800720"/>
                </a:cubicBezTo>
                <a:cubicBezTo>
                  <a:pt x="1991231" y="800720"/>
                  <a:pt x="1991231" y="798784"/>
                  <a:pt x="1993166" y="792983"/>
                </a:cubicBezTo>
                <a:cubicBezTo>
                  <a:pt x="1993166" y="792983"/>
                  <a:pt x="1991231" y="792983"/>
                  <a:pt x="1991231" y="792983"/>
                </a:cubicBezTo>
                <a:close/>
                <a:moveTo>
                  <a:pt x="1037719" y="781378"/>
                </a:moveTo>
                <a:cubicBezTo>
                  <a:pt x="1035784" y="781378"/>
                  <a:pt x="1033851" y="781378"/>
                  <a:pt x="1033851" y="783311"/>
                </a:cubicBezTo>
                <a:cubicBezTo>
                  <a:pt x="1033851" y="783311"/>
                  <a:pt x="1035784" y="785247"/>
                  <a:pt x="1035784" y="785247"/>
                </a:cubicBezTo>
                <a:cubicBezTo>
                  <a:pt x="1037719" y="785247"/>
                  <a:pt x="1037719" y="783311"/>
                  <a:pt x="1037719" y="781378"/>
                </a:cubicBezTo>
                <a:close/>
                <a:moveTo>
                  <a:pt x="1782350" y="777510"/>
                </a:moveTo>
                <a:cubicBezTo>
                  <a:pt x="1772678" y="783311"/>
                  <a:pt x="1763009" y="789115"/>
                  <a:pt x="1753337" y="794916"/>
                </a:cubicBezTo>
                <a:cubicBezTo>
                  <a:pt x="1753337" y="796849"/>
                  <a:pt x="1755272" y="798784"/>
                  <a:pt x="1755272" y="798784"/>
                </a:cubicBezTo>
                <a:cubicBezTo>
                  <a:pt x="1764942" y="792983"/>
                  <a:pt x="1774611" y="785247"/>
                  <a:pt x="1784283" y="779443"/>
                </a:cubicBezTo>
                <a:cubicBezTo>
                  <a:pt x="1782350" y="779443"/>
                  <a:pt x="1782350" y="777510"/>
                  <a:pt x="1782350" y="777510"/>
                </a:cubicBezTo>
                <a:close/>
                <a:moveTo>
                  <a:pt x="4911725" y="767838"/>
                </a:moveTo>
                <a:cubicBezTo>
                  <a:pt x="4907857" y="771707"/>
                  <a:pt x="4903989" y="773642"/>
                  <a:pt x="4900121" y="777510"/>
                </a:cubicBezTo>
                <a:cubicBezTo>
                  <a:pt x="4898188" y="779443"/>
                  <a:pt x="4896252" y="781378"/>
                  <a:pt x="4894319" y="781378"/>
                </a:cubicBezTo>
                <a:cubicBezTo>
                  <a:pt x="4886583" y="781378"/>
                  <a:pt x="4882715" y="783311"/>
                  <a:pt x="4878846" y="787180"/>
                </a:cubicBezTo>
                <a:cubicBezTo>
                  <a:pt x="4865306" y="798784"/>
                  <a:pt x="4849836" y="808454"/>
                  <a:pt x="4834363" y="820059"/>
                </a:cubicBezTo>
                <a:cubicBezTo>
                  <a:pt x="4830494" y="821994"/>
                  <a:pt x="4828559" y="825862"/>
                  <a:pt x="4826626" y="827795"/>
                </a:cubicBezTo>
                <a:cubicBezTo>
                  <a:pt x="4834363" y="827795"/>
                  <a:pt x="4838231" y="823929"/>
                  <a:pt x="4844032" y="820059"/>
                </a:cubicBezTo>
                <a:cubicBezTo>
                  <a:pt x="4845965" y="821994"/>
                  <a:pt x="4845965" y="823929"/>
                  <a:pt x="4847900" y="825862"/>
                </a:cubicBezTo>
                <a:cubicBezTo>
                  <a:pt x="4851769" y="823929"/>
                  <a:pt x="4857572" y="821994"/>
                  <a:pt x="4855637" y="816190"/>
                </a:cubicBezTo>
                <a:cubicBezTo>
                  <a:pt x="4853704" y="814257"/>
                  <a:pt x="4855637" y="810389"/>
                  <a:pt x="4857572" y="810389"/>
                </a:cubicBezTo>
                <a:cubicBezTo>
                  <a:pt x="4867242" y="804588"/>
                  <a:pt x="4876913" y="798784"/>
                  <a:pt x="4886583" y="792983"/>
                </a:cubicBezTo>
                <a:cubicBezTo>
                  <a:pt x="4896252" y="789115"/>
                  <a:pt x="4903989" y="785247"/>
                  <a:pt x="4911725" y="779443"/>
                </a:cubicBezTo>
                <a:cubicBezTo>
                  <a:pt x="4917529" y="777510"/>
                  <a:pt x="4917529" y="773642"/>
                  <a:pt x="4911725" y="767838"/>
                </a:cubicBezTo>
                <a:close/>
                <a:moveTo>
                  <a:pt x="5325624" y="762037"/>
                </a:moveTo>
                <a:cubicBezTo>
                  <a:pt x="5323689" y="763970"/>
                  <a:pt x="5323689" y="763970"/>
                  <a:pt x="5321756" y="765905"/>
                </a:cubicBezTo>
                <a:cubicBezTo>
                  <a:pt x="5323689" y="765905"/>
                  <a:pt x="5325624" y="767838"/>
                  <a:pt x="5325624" y="765905"/>
                </a:cubicBezTo>
                <a:cubicBezTo>
                  <a:pt x="5325624" y="765905"/>
                  <a:pt x="5327559" y="765905"/>
                  <a:pt x="5327559" y="763970"/>
                </a:cubicBezTo>
                <a:cubicBezTo>
                  <a:pt x="5327559" y="763970"/>
                  <a:pt x="5325624" y="762037"/>
                  <a:pt x="5325624" y="762037"/>
                </a:cubicBezTo>
                <a:close/>
                <a:moveTo>
                  <a:pt x="4902056" y="762037"/>
                </a:moveTo>
                <a:cubicBezTo>
                  <a:pt x="4900121" y="763970"/>
                  <a:pt x="4898188" y="763970"/>
                  <a:pt x="4898188" y="765905"/>
                </a:cubicBezTo>
                <a:cubicBezTo>
                  <a:pt x="4898188" y="767838"/>
                  <a:pt x="4898188" y="767838"/>
                  <a:pt x="4898188" y="767838"/>
                </a:cubicBezTo>
                <a:cubicBezTo>
                  <a:pt x="4900121" y="765905"/>
                  <a:pt x="4900121" y="763970"/>
                  <a:pt x="4902056" y="762037"/>
                </a:cubicBezTo>
                <a:close/>
                <a:moveTo>
                  <a:pt x="5401054" y="756234"/>
                </a:moveTo>
                <a:cubicBezTo>
                  <a:pt x="5395252" y="760102"/>
                  <a:pt x="5391384" y="763970"/>
                  <a:pt x="5385581" y="767838"/>
                </a:cubicBezTo>
                <a:cubicBezTo>
                  <a:pt x="5387514" y="767838"/>
                  <a:pt x="5389449" y="767838"/>
                  <a:pt x="5389449" y="767838"/>
                </a:cubicBezTo>
                <a:cubicBezTo>
                  <a:pt x="5391384" y="765905"/>
                  <a:pt x="5395252" y="763970"/>
                  <a:pt x="5397185" y="762037"/>
                </a:cubicBezTo>
                <a:cubicBezTo>
                  <a:pt x="5399121" y="760102"/>
                  <a:pt x="5401054" y="758169"/>
                  <a:pt x="5401054" y="756234"/>
                </a:cubicBezTo>
                <a:close/>
                <a:moveTo>
                  <a:pt x="1834568" y="756234"/>
                </a:moveTo>
                <a:cubicBezTo>
                  <a:pt x="1834568" y="756234"/>
                  <a:pt x="1832635" y="758169"/>
                  <a:pt x="1832635" y="758169"/>
                </a:cubicBezTo>
                <a:cubicBezTo>
                  <a:pt x="1834568" y="758169"/>
                  <a:pt x="1834568" y="758169"/>
                  <a:pt x="1836503" y="756234"/>
                </a:cubicBezTo>
                <a:cubicBezTo>
                  <a:pt x="1836503" y="756234"/>
                  <a:pt x="1834568" y="756234"/>
                  <a:pt x="1834568" y="756234"/>
                </a:cubicBezTo>
                <a:close/>
                <a:moveTo>
                  <a:pt x="1828767" y="748497"/>
                </a:moveTo>
                <a:cubicBezTo>
                  <a:pt x="1826834" y="748497"/>
                  <a:pt x="1824898" y="750432"/>
                  <a:pt x="1822965" y="750432"/>
                </a:cubicBezTo>
                <a:lnTo>
                  <a:pt x="1824898" y="750432"/>
                </a:lnTo>
                <a:cubicBezTo>
                  <a:pt x="1819097" y="754301"/>
                  <a:pt x="1813294" y="758169"/>
                  <a:pt x="1809425" y="763970"/>
                </a:cubicBezTo>
                <a:cubicBezTo>
                  <a:pt x="1813294" y="765905"/>
                  <a:pt x="1817162" y="767838"/>
                  <a:pt x="1819097" y="767838"/>
                </a:cubicBezTo>
                <a:cubicBezTo>
                  <a:pt x="1821030" y="763970"/>
                  <a:pt x="1822965" y="760102"/>
                  <a:pt x="1822965" y="756234"/>
                </a:cubicBezTo>
                <a:cubicBezTo>
                  <a:pt x="1824898" y="754301"/>
                  <a:pt x="1824898" y="752365"/>
                  <a:pt x="1826834" y="750432"/>
                </a:cubicBezTo>
                <a:cubicBezTo>
                  <a:pt x="1826834" y="750432"/>
                  <a:pt x="1828767" y="750432"/>
                  <a:pt x="1828767" y="748497"/>
                </a:cubicBezTo>
                <a:close/>
                <a:moveTo>
                  <a:pt x="5397185" y="742696"/>
                </a:moveTo>
                <a:cubicBezTo>
                  <a:pt x="5397185" y="744629"/>
                  <a:pt x="5395252" y="746564"/>
                  <a:pt x="5393317" y="748497"/>
                </a:cubicBezTo>
                <a:cubicBezTo>
                  <a:pt x="5395252" y="746564"/>
                  <a:pt x="5397185" y="746564"/>
                  <a:pt x="5399121" y="744629"/>
                </a:cubicBezTo>
                <a:cubicBezTo>
                  <a:pt x="5399121" y="742696"/>
                  <a:pt x="5399121" y="742696"/>
                  <a:pt x="5397185" y="742696"/>
                </a:cubicBezTo>
                <a:close/>
                <a:moveTo>
                  <a:pt x="2122235" y="705949"/>
                </a:moveTo>
                <a:lnTo>
                  <a:pt x="2122752" y="705949"/>
                </a:lnTo>
                <a:cubicBezTo>
                  <a:pt x="2122752" y="707882"/>
                  <a:pt x="2122752" y="707882"/>
                  <a:pt x="2122752" y="709815"/>
                </a:cubicBezTo>
                <a:lnTo>
                  <a:pt x="2121769" y="707852"/>
                </a:lnTo>
                <a:close/>
                <a:moveTo>
                  <a:pt x="5445537" y="702080"/>
                </a:moveTo>
                <a:cubicBezTo>
                  <a:pt x="5443604" y="704013"/>
                  <a:pt x="5443604" y="704013"/>
                  <a:pt x="5441669" y="705949"/>
                </a:cubicBezTo>
                <a:cubicBezTo>
                  <a:pt x="5443604" y="707882"/>
                  <a:pt x="5445537" y="707882"/>
                  <a:pt x="5445537" y="707882"/>
                </a:cubicBezTo>
                <a:cubicBezTo>
                  <a:pt x="5445537" y="707882"/>
                  <a:pt x="5447473" y="705949"/>
                  <a:pt x="5447473" y="704013"/>
                </a:cubicBezTo>
                <a:cubicBezTo>
                  <a:pt x="5447473" y="702080"/>
                  <a:pt x="5445537" y="702080"/>
                  <a:pt x="5445537" y="702080"/>
                </a:cubicBezTo>
                <a:close/>
                <a:moveTo>
                  <a:pt x="1832635" y="700145"/>
                </a:moveTo>
                <a:cubicBezTo>
                  <a:pt x="1822965" y="700145"/>
                  <a:pt x="1815229" y="702080"/>
                  <a:pt x="1805557" y="707882"/>
                </a:cubicBezTo>
                <a:cubicBezTo>
                  <a:pt x="1809425" y="709815"/>
                  <a:pt x="1811361" y="709815"/>
                  <a:pt x="1813294" y="711750"/>
                </a:cubicBezTo>
                <a:cubicBezTo>
                  <a:pt x="1811361" y="711750"/>
                  <a:pt x="1811361" y="713685"/>
                  <a:pt x="1811361" y="713685"/>
                </a:cubicBezTo>
                <a:cubicBezTo>
                  <a:pt x="1776546" y="727223"/>
                  <a:pt x="1741732" y="742696"/>
                  <a:pt x="1706918" y="756234"/>
                </a:cubicBezTo>
                <a:cubicBezTo>
                  <a:pt x="1704985" y="756234"/>
                  <a:pt x="1704985" y="758169"/>
                  <a:pt x="1703050" y="758169"/>
                </a:cubicBezTo>
                <a:cubicBezTo>
                  <a:pt x="1703050" y="762037"/>
                  <a:pt x="1699181" y="765905"/>
                  <a:pt x="1697248" y="769774"/>
                </a:cubicBezTo>
                <a:cubicBezTo>
                  <a:pt x="1693380" y="775575"/>
                  <a:pt x="1689512" y="783311"/>
                  <a:pt x="1689512" y="789115"/>
                </a:cubicBezTo>
                <a:cubicBezTo>
                  <a:pt x="1693380" y="787180"/>
                  <a:pt x="1697248" y="785247"/>
                  <a:pt x="1701117" y="783311"/>
                </a:cubicBezTo>
                <a:cubicBezTo>
                  <a:pt x="1703050" y="781378"/>
                  <a:pt x="1706918" y="779443"/>
                  <a:pt x="1710786" y="777510"/>
                </a:cubicBezTo>
                <a:cubicBezTo>
                  <a:pt x="1712721" y="777510"/>
                  <a:pt x="1712721" y="775575"/>
                  <a:pt x="1714654" y="775575"/>
                </a:cubicBezTo>
                <a:cubicBezTo>
                  <a:pt x="1718523" y="773642"/>
                  <a:pt x="1722391" y="771707"/>
                  <a:pt x="1726259" y="769774"/>
                </a:cubicBezTo>
                <a:cubicBezTo>
                  <a:pt x="1728194" y="769774"/>
                  <a:pt x="1728194" y="767838"/>
                  <a:pt x="1730127" y="767838"/>
                </a:cubicBezTo>
                <a:cubicBezTo>
                  <a:pt x="1733996" y="765905"/>
                  <a:pt x="1737864" y="763970"/>
                  <a:pt x="1741732" y="762037"/>
                </a:cubicBezTo>
                <a:cubicBezTo>
                  <a:pt x="1768810" y="740761"/>
                  <a:pt x="1801689" y="734959"/>
                  <a:pt x="1830702" y="719486"/>
                </a:cubicBezTo>
                <a:cubicBezTo>
                  <a:pt x="1832635" y="717553"/>
                  <a:pt x="1834568" y="717553"/>
                  <a:pt x="1836503" y="715618"/>
                </a:cubicBezTo>
                <a:cubicBezTo>
                  <a:pt x="1842307" y="711750"/>
                  <a:pt x="1848108" y="709815"/>
                  <a:pt x="1853909" y="705949"/>
                </a:cubicBezTo>
                <a:cubicBezTo>
                  <a:pt x="1850043" y="707882"/>
                  <a:pt x="1848108" y="707882"/>
                  <a:pt x="1844240" y="707882"/>
                </a:cubicBezTo>
                <a:cubicBezTo>
                  <a:pt x="1840371" y="707882"/>
                  <a:pt x="1838436" y="711750"/>
                  <a:pt x="1836503" y="713685"/>
                </a:cubicBezTo>
                <a:cubicBezTo>
                  <a:pt x="1836503" y="709815"/>
                  <a:pt x="1834568" y="705949"/>
                  <a:pt x="1832635" y="700145"/>
                </a:cubicBezTo>
                <a:close/>
                <a:moveTo>
                  <a:pt x="5372043" y="694344"/>
                </a:moveTo>
                <a:cubicBezTo>
                  <a:pt x="5370108" y="698212"/>
                  <a:pt x="5366239" y="700145"/>
                  <a:pt x="5364306" y="700145"/>
                </a:cubicBezTo>
                <a:cubicBezTo>
                  <a:pt x="5366239" y="700145"/>
                  <a:pt x="5366239" y="702080"/>
                  <a:pt x="5366239" y="702080"/>
                </a:cubicBezTo>
                <a:cubicBezTo>
                  <a:pt x="5368175" y="700145"/>
                  <a:pt x="5370108" y="698212"/>
                  <a:pt x="5372043" y="694344"/>
                </a:cubicBezTo>
                <a:close/>
                <a:moveTo>
                  <a:pt x="1981562" y="690476"/>
                </a:moveTo>
                <a:cubicBezTo>
                  <a:pt x="1971890" y="694344"/>
                  <a:pt x="1962220" y="696277"/>
                  <a:pt x="1952551" y="698212"/>
                </a:cubicBezTo>
                <a:cubicBezTo>
                  <a:pt x="1950615" y="698212"/>
                  <a:pt x="1948680" y="702080"/>
                  <a:pt x="1948680" y="707882"/>
                </a:cubicBezTo>
                <a:cubicBezTo>
                  <a:pt x="1956419" y="704013"/>
                  <a:pt x="1966088" y="702080"/>
                  <a:pt x="1973825" y="698212"/>
                </a:cubicBezTo>
                <a:cubicBezTo>
                  <a:pt x="1977693" y="696277"/>
                  <a:pt x="1979626" y="692409"/>
                  <a:pt x="1981562" y="690476"/>
                </a:cubicBezTo>
                <a:close/>
                <a:moveTo>
                  <a:pt x="1860437" y="685157"/>
                </a:moveTo>
                <a:cubicBezTo>
                  <a:pt x="1858745" y="685640"/>
                  <a:pt x="1855844" y="688542"/>
                  <a:pt x="1850043" y="694344"/>
                </a:cubicBezTo>
                <a:cubicBezTo>
                  <a:pt x="1855844" y="692409"/>
                  <a:pt x="1859713" y="690476"/>
                  <a:pt x="1863581" y="690476"/>
                </a:cubicBezTo>
                <a:cubicBezTo>
                  <a:pt x="1862613" y="686607"/>
                  <a:pt x="1862129" y="684673"/>
                  <a:pt x="1860437" y="685157"/>
                </a:cubicBezTo>
                <a:close/>
                <a:moveTo>
                  <a:pt x="1735931" y="684672"/>
                </a:moveTo>
                <a:cubicBezTo>
                  <a:pt x="1728194" y="684672"/>
                  <a:pt x="1720458" y="684672"/>
                  <a:pt x="1714654" y="686607"/>
                </a:cubicBezTo>
                <a:cubicBezTo>
                  <a:pt x="1716590" y="688540"/>
                  <a:pt x="1716590" y="690476"/>
                  <a:pt x="1718523" y="692409"/>
                </a:cubicBezTo>
                <a:cubicBezTo>
                  <a:pt x="1724326" y="690476"/>
                  <a:pt x="1730127" y="690476"/>
                  <a:pt x="1735931" y="688540"/>
                </a:cubicBezTo>
                <a:cubicBezTo>
                  <a:pt x="1735931" y="688540"/>
                  <a:pt x="1735931" y="688540"/>
                  <a:pt x="1735931" y="684672"/>
                </a:cubicBezTo>
                <a:close/>
                <a:moveTo>
                  <a:pt x="5414594" y="663398"/>
                </a:moveTo>
                <a:cubicBezTo>
                  <a:pt x="5410723" y="665331"/>
                  <a:pt x="5404922" y="667266"/>
                  <a:pt x="5399121" y="671134"/>
                </a:cubicBezTo>
                <a:cubicBezTo>
                  <a:pt x="5404922" y="663398"/>
                  <a:pt x="5404922" y="663398"/>
                  <a:pt x="5414594" y="663398"/>
                </a:cubicBezTo>
                <a:close/>
                <a:moveTo>
                  <a:pt x="1726259" y="663398"/>
                </a:moveTo>
                <a:cubicBezTo>
                  <a:pt x="1722391" y="665331"/>
                  <a:pt x="1720458" y="667266"/>
                  <a:pt x="1716590" y="669199"/>
                </a:cubicBezTo>
                <a:cubicBezTo>
                  <a:pt x="1712721" y="671134"/>
                  <a:pt x="1710786" y="675003"/>
                  <a:pt x="1708853" y="678871"/>
                </a:cubicBezTo>
                <a:cubicBezTo>
                  <a:pt x="1708853" y="680804"/>
                  <a:pt x="1710786" y="680804"/>
                  <a:pt x="1710786" y="682739"/>
                </a:cubicBezTo>
                <a:cubicBezTo>
                  <a:pt x="1710786" y="680804"/>
                  <a:pt x="1712721" y="680804"/>
                  <a:pt x="1712721" y="678871"/>
                </a:cubicBezTo>
                <a:cubicBezTo>
                  <a:pt x="1712721" y="676936"/>
                  <a:pt x="1714654" y="676936"/>
                  <a:pt x="1714654" y="676936"/>
                </a:cubicBezTo>
                <a:cubicBezTo>
                  <a:pt x="1722391" y="675003"/>
                  <a:pt x="1726259" y="669199"/>
                  <a:pt x="1726259" y="663398"/>
                </a:cubicBezTo>
                <a:close/>
                <a:moveTo>
                  <a:pt x="1163436" y="653726"/>
                </a:moveTo>
                <a:cubicBezTo>
                  <a:pt x="1147963" y="653726"/>
                  <a:pt x="1147963" y="653726"/>
                  <a:pt x="1118950" y="669199"/>
                </a:cubicBezTo>
                <a:cubicBezTo>
                  <a:pt x="1136359" y="669199"/>
                  <a:pt x="1149896" y="665331"/>
                  <a:pt x="1163436" y="653726"/>
                </a:cubicBezTo>
                <a:close/>
                <a:moveTo>
                  <a:pt x="3539475" y="647925"/>
                </a:moveTo>
                <a:lnTo>
                  <a:pt x="3542382" y="647925"/>
                </a:lnTo>
                <a:cubicBezTo>
                  <a:pt x="3538514" y="651793"/>
                  <a:pt x="3534646" y="653726"/>
                  <a:pt x="3530777" y="655661"/>
                </a:cubicBezTo>
                <a:lnTo>
                  <a:pt x="3526574" y="654461"/>
                </a:lnTo>
                <a:lnTo>
                  <a:pt x="3532710" y="649858"/>
                </a:lnTo>
                <a:close/>
                <a:moveTo>
                  <a:pt x="3563656" y="634385"/>
                </a:moveTo>
                <a:cubicBezTo>
                  <a:pt x="3563656" y="636320"/>
                  <a:pt x="3563656" y="638253"/>
                  <a:pt x="3563656" y="638253"/>
                </a:cubicBezTo>
                <a:cubicBezTo>
                  <a:pt x="3561723" y="640188"/>
                  <a:pt x="3559788" y="640188"/>
                  <a:pt x="3557855" y="642121"/>
                </a:cubicBezTo>
                <a:cubicBezTo>
                  <a:pt x="3557855" y="642121"/>
                  <a:pt x="3557855" y="640188"/>
                  <a:pt x="3557855" y="640188"/>
                </a:cubicBezTo>
                <a:cubicBezTo>
                  <a:pt x="3557855" y="638253"/>
                  <a:pt x="3559788" y="636320"/>
                  <a:pt x="3563656" y="634385"/>
                </a:cubicBezTo>
                <a:close/>
                <a:moveTo>
                  <a:pt x="3534646" y="632452"/>
                </a:moveTo>
                <a:cubicBezTo>
                  <a:pt x="3534646" y="632452"/>
                  <a:pt x="3532710" y="636320"/>
                  <a:pt x="3534646" y="636320"/>
                </a:cubicBezTo>
                <a:cubicBezTo>
                  <a:pt x="3534646" y="638253"/>
                  <a:pt x="3536579" y="640188"/>
                  <a:pt x="3538514" y="642121"/>
                </a:cubicBezTo>
                <a:cubicBezTo>
                  <a:pt x="3538514" y="640188"/>
                  <a:pt x="3540447" y="638253"/>
                  <a:pt x="3540447" y="636320"/>
                </a:cubicBezTo>
                <a:cubicBezTo>
                  <a:pt x="3538514" y="634385"/>
                  <a:pt x="3536579" y="632452"/>
                  <a:pt x="3534646" y="632452"/>
                </a:cubicBezTo>
                <a:close/>
                <a:moveTo>
                  <a:pt x="5248259" y="624715"/>
                </a:moveTo>
                <a:cubicBezTo>
                  <a:pt x="5248259" y="624715"/>
                  <a:pt x="5250194" y="626651"/>
                  <a:pt x="5250194" y="626651"/>
                </a:cubicBezTo>
                <a:cubicBezTo>
                  <a:pt x="5248259" y="628584"/>
                  <a:pt x="5246326" y="628584"/>
                  <a:pt x="5244393" y="630519"/>
                </a:cubicBezTo>
                <a:cubicBezTo>
                  <a:pt x="5244393" y="630519"/>
                  <a:pt x="5244393" y="630519"/>
                  <a:pt x="5242458" y="628584"/>
                </a:cubicBezTo>
                <a:cubicBezTo>
                  <a:pt x="5244393" y="628584"/>
                  <a:pt x="5246326" y="626651"/>
                  <a:pt x="5248259" y="624715"/>
                </a:cubicBezTo>
                <a:close/>
                <a:moveTo>
                  <a:pt x="2076333" y="616979"/>
                </a:moveTo>
                <a:cubicBezTo>
                  <a:pt x="2074397" y="620847"/>
                  <a:pt x="2076333" y="622780"/>
                  <a:pt x="2076333" y="624715"/>
                </a:cubicBezTo>
                <a:cubicBezTo>
                  <a:pt x="2078265" y="622780"/>
                  <a:pt x="2080201" y="618914"/>
                  <a:pt x="2076333" y="616979"/>
                </a:cubicBezTo>
                <a:close/>
                <a:moveTo>
                  <a:pt x="1991231" y="611178"/>
                </a:moveTo>
                <a:cubicBezTo>
                  <a:pt x="1983494" y="609242"/>
                  <a:pt x="1977693" y="613111"/>
                  <a:pt x="1969957" y="616979"/>
                </a:cubicBezTo>
                <a:cubicBezTo>
                  <a:pt x="1969957" y="616979"/>
                  <a:pt x="1971890" y="616979"/>
                  <a:pt x="1971890" y="616979"/>
                </a:cubicBezTo>
                <a:cubicBezTo>
                  <a:pt x="1975760" y="616979"/>
                  <a:pt x="1981562" y="616979"/>
                  <a:pt x="1985430" y="615046"/>
                </a:cubicBezTo>
                <a:cubicBezTo>
                  <a:pt x="1987363" y="613111"/>
                  <a:pt x="1989298" y="613111"/>
                  <a:pt x="1991231" y="611178"/>
                </a:cubicBezTo>
                <a:close/>
                <a:moveTo>
                  <a:pt x="1821030" y="603441"/>
                </a:moveTo>
                <a:lnTo>
                  <a:pt x="1820451" y="607623"/>
                </a:lnTo>
                <a:lnTo>
                  <a:pt x="1817162" y="609242"/>
                </a:lnTo>
                <a:lnTo>
                  <a:pt x="1816673" y="606553"/>
                </a:lnTo>
                <a:close/>
                <a:moveTo>
                  <a:pt x="3523041" y="601506"/>
                </a:moveTo>
                <a:cubicBezTo>
                  <a:pt x="3521106" y="601506"/>
                  <a:pt x="3519173" y="603441"/>
                  <a:pt x="3519173" y="603441"/>
                </a:cubicBezTo>
                <a:cubicBezTo>
                  <a:pt x="3519173" y="605374"/>
                  <a:pt x="3521106" y="605374"/>
                  <a:pt x="3521106" y="607309"/>
                </a:cubicBezTo>
                <a:cubicBezTo>
                  <a:pt x="3521106" y="607309"/>
                  <a:pt x="3523041" y="605374"/>
                  <a:pt x="3524974" y="603441"/>
                </a:cubicBezTo>
                <a:cubicBezTo>
                  <a:pt x="3524974" y="603441"/>
                  <a:pt x="3523041" y="601506"/>
                  <a:pt x="3523041" y="601506"/>
                </a:cubicBezTo>
                <a:close/>
                <a:moveTo>
                  <a:pt x="1478696" y="599573"/>
                </a:moveTo>
                <a:cubicBezTo>
                  <a:pt x="1474827" y="601506"/>
                  <a:pt x="1470957" y="601506"/>
                  <a:pt x="1467088" y="603441"/>
                </a:cubicBezTo>
                <a:cubicBezTo>
                  <a:pt x="1469024" y="605374"/>
                  <a:pt x="1472892" y="605374"/>
                  <a:pt x="1474827" y="605374"/>
                </a:cubicBezTo>
                <a:cubicBezTo>
                  <a:pt x="1474827" y="605374"/>
                  <a:pt x="1476760" y="605374"/>
                  <a:pt x="1476760" y="605374"/>
                </a:cubicBezTo>
                <a:cubicBezTo>
                  <a:pt x="1478696" y="605374"/>
                  <a:pt x="1480628" y="603441"/>
                  <a:pt x="1480628" y="601506"/>
                </a:cubicBezTo>
                <a:cubicBezTo>
                  <a:pt x="1478696" y="601506"/>
                  <a:pt x="1478696" y="599573"/>
                  <a:pt x="1478696" y="599573"/>
                </a:cubicBezTo>
                <a:close/>
                <a:moveTo>
                  <a:pt x="3473721" y="589901"/>
                </a:moveTo>
                <a:lnTo>
                  <a:pt x="3478555" y="589901"/>
                </a:lnTo>
                <a:cubicBezTo>
                  <a:pt x="3478555" y="589901"/>
                  <a:pt x="3478555" y="591836"/>
                  <a:pt x="3478555" y="591836"/>
                </a:cubicBezTo>
                <a:lnTo>
                  <a:pt x="3473778" y="590243"/>
                </a:lnTo>
                <a:close/>
                <a:moveTo>
                  <a:pt x="1420672" y="580232"/>
                </a:moveTo>
                <a:cubicBezTo>
                  <a:pt x="1412935" y="584100"/>
                  <a:pt x="1405199" y="587968"/>
                  <a:pt x="1391661" y="595705"/>
                </a:cubicBezTo>
                <a:cubicBezTo>
                  <a:pt x="1407132" y="593769"/>
                  <a:pt x="1416803" y="591836"/>
                  <a:pt x="1428408" y="589901"/>
                </a:cubicBezTo>
                <a:cubicBezTo>
                  <a:pt x="1428408" y="584100"/>
                  <a:pt x="1428408" y="580232"/>
                  <a:pt x="1420672" y="580232"/>
                </a:cubicBezTo>
                <a:close/>
                <a:moveTo>
                  <a:pt x="3492895" y="576352"/>
                </a:moveTo>
                <a:lnTo>
                  <a:pt x="3491611" y="580714"/>
                </a:lnTo>
                <a:cubicBezTo>
                  <a:pt x="3490644" y="581681"/>
                  <a:pt x="3489194" y="581198"/>
                  <a:pt x="3486294" y="580232"/>
                </a:cubicBezTo>
                <a:lnTo>
                  <a:pt x="3488472" y="578053"/>
                </a:lnTo>
                <a:close/>
                <a:moveTo>
                  <a:pt x="4145820" y="562823"/>
                </a:moveTo>
                <a:cubicBezTo>
                  <a:pt x="4141955" y="564758"/>
                  <a:pt x="4140019" y="564758"/>
                  <a:pt x="4138086" y="566691"/>
                </a:cubicBezTo>
                <a:cubicBezTo>
                  <a:pt x="4132283" y="570560"/>
                  <a:pt x="4124546" y="572495"/>
                  <a:pt x="4118745" y="576363"/>
                </a:cubicBezTo>
                <a:cubicBezTo>
                  <a:pt x="4126479" y="576363"/>
                  <a:pt x="4134216" y="576363"/>
                  <a:pt x="4141955" y="574428"/>
                </a:cubicBezTo>
                <a:cubicBezTo>
                  <a:pt x="4143888" y="572495"/>
                  <a:pt x="4147756" y="572495"/>
                  <a:pt x="4149689" y="570560"/>
                </a:cubicBezTo>
                <a:cubicBezTo>
                  <a:pt x="4151624" y="570560"/>
                  <a:pt x="4151624" y="568627"/>
                  <a:pt x="4151624" y="568627"/>
                </a:cubicBezTo>
                <a:cubicBezTo>
                  <a:pt x="4149689" y="566691"/>
                  <a:pt x="4147756" y="564758"/>
                  <a:pt x="4145820" y="562823"/>
                </a:cubicBezTo>
                <a:close/>
                <a:moveTo>
                  <a:pt x="1494166" y="562823"/>
                </a:moveTo>
                <a:cubicBezTo>
                  <a:pt x="1470957" y="566691"/>
                  <a:pt x="1470957" y="566691"/>
                  <a:pt x="1463222" y="572495"/>
                </a:cubicBezTo>
                <a:cubicBezTo>
                  <a:pt x="1486430" y="570560"/>
                  <a:pt x="1486430" y="570560"/>
                  <a:pt x="1494166" y="562823"/>
                </a:cubicBezTo>
                <a:close/>
                <a:moveTo>
                  <a:pt x="4027842" y="560890"/>
                </a:moveTo>
                <a:cubicBezTo>
                  <a:pt x="4023974" y="562823"/>
                  <a:pt x="4018170" y="564758"/>
                  <a:pt x="4014302" y="566691"/>
                </a:cubicBezTo>
                <a:cubicBezTo>
                  <a:pt x="4012369" y="568627"/>
                  <a:pt x="4010434" y="568627"/>
                  <a:pt x="4008501" y="570560"/>
                </a:cubicBezTo>
                <a:cubicBezTo>
                  <a:pt x="4008501" y="572495"/>
                  <a:pt x="4008501" y="572495"/>
                  <a:pt x="4008501" y="574428"/>
                </a:cubicBezTo>
                <a:cubicBezTo>
                  <a:pt x="4010434" y="574428"/>
                  <a:pt x="4012369" y="572495"/>
                  <a:pt x="4014302" y="572495"/>
                </a:cubicBezTo>
                <a:cubicBezTo>
                  <a:pt x="4020103" y="570560"/>
                  <a:pt x="4025907" y="570560"/>
                  <a:pt x="4027842" y="560890"/>
                </a:cubicBezTo>
                <a:close/>
                <a:moveTo>
                  <a:pt x="2269743" y="560890"/>
                </a:moveTo>
                <a:cubicBezTo>
                  <a:pt x="2267808" y="562823"/>
                  <a:pt x="2267808" y="562823"/>
                  <a:pt x="2267808" y="562823"/>
                </a:cubicBezTo>
                <a:cubicBezTo>
                  <a:pt x="2267808" y="562823"/>
                  <a:pt x="2267808" y="564758"/>
                  <a:pt x="2267808" y="564758"/>
                </a:cubicBezTo>
                <a:cubicBezTo>
                  <a:pt x="2267808" y="564758"/>
                  <a:pt x="2269743" y="564758"/>
                  <a:pt x="2269743" y="564758"/>
                </a:cubicBezTo>
                <a:cubicBezTo>
                  <a:pt x="2269743" y="562823"/>
                  <a:pt x="2269743" y="562823"/>
                  <a:pt x="2269743" y="560890"/>
                </a:cubicBezTo>
                <a:close/>
                <a:moveTo>
                  <a:pt x="4167097" y="551218"/>
                </a:moveTo>
                <a:cubicBezTo>
                  <a:pt x="4165162" y="551218"/>
                  <a:pt x="4165162" y="551218"/>
                  <a:pt x="4163229" y="555087"/>
                </a:cubicBezTo>
                <a:cubicBezTo>
                  <a:pt x="4163229" y="555087"/>
                  <a:pt x="4161296" y="557022"/>
                  <a:pt x="4161296" y="557022"/>
                </a:cubicBezTo>
                <a:cubicBezTo>
                  <a:pt x="4167097" y="558955"/>
                  <a:pt x="4165162" y="549285"/>
                  <a:pt x="4167097" y="551218"/>
                </a:cubicBezTo>
                <a:close/>
                <a:moveTo>
                  <a:pt x="4029775" y="551218"/>
                </a:moveTo>
                <a:cubicBezTo>
                  <a:pt x="4027842" y="553154"/>
                  <a:pt x="4027842" y="553154"/>
                  <a:pt x="4029775" y="555087"/>
                </a:cubicBezTo>
                <a:lnTo>
                  <a:pt x="4028324" y="553636"/>
                </a:lnTo>
                <a:lnTo>
                  <a:pt x="4028163" y="552832"/>
                </a:lnTo>
                <a:close/>
                <a:moveTo>
                  <a:pt x="4027840" y="551216"/>
                </a:moveTo>
                <a:lnTo>
                  <a:pt x="4027842" y="551218"/>
                </a:lnTo>
                <a:lnTo>
                  <a:pt x="4027841" y="551219"/>
                </a:lnTo>
                <a:close/>
                <a:moveTo>
                  <a:pt x="3540447" y="547350"/>
                </a:moveTo>
                <a:cubicBezTo>
                  <a:pt x="3540447" y="549285"/>
                  <a:pt x="3540447" y="549285"/>
                  <a:pt x="3542382" y="551218"/>
                </a:cubicBezTo>
                <a:cubicBezTo>
                  <a:pt x="3540447" y="553154"/>
                  <a:pt x="3536579" y="553154"/>
                  <a:pt x="3534646" y="555087"/>
                </a:cubicBezTo>
                <a:cubicBezTo>
                  <a:pt x="3534646" y="555087"/>
                  <a:pt x="3534646" y="553154"/>
                  <a:pt x="3532710" y="553154"/>
                </a:cubicBezTo>
                <a:cubicBezTo>
                  <a:pt x="3534646" y="549285"/>
                  <a:pt x="3538514" y="547350"/>
                  <a:pt x="3540447" y="547350"/>
                </a:cubicBezTo>
                <a:close/>
                <a:moveTo>
                  <a:pt x="3548183" y="541549"/>
                </a:moveTo>
                <a:cubicBezTo>
                  <a:pt x="3548183" y="541549"/>
                  <a:pt x="3550119" y="543484"/>
                  <a:pt x="3550119" y="543484"/>
                </a:cubicBezTo>
                <a:cubicBezTo>
                  <a:pt x="3548183" y="545417"/>
                  <a:pt x="3548183" y="547350"/>
                  <a:pt x="3546248" y="547350"/>
                </a:cubicBezTo>
                <a:cubicBezTo>
                  <a:pt x="3546248" y="547350"/>
                  <a:pt x="3544315" y="545417"/>
                  <a:pt x="3544315" y="545417"/>
                </a:cubicBezTo>
                <a:cubicBezTo>
                  <a:pt x="3546248" y="543484"/>
                  <a:pt x="3548183" y="543484"/>
                  <a:pt x="3548183" y="541549"/>
                </a:cubicBezTo>
                <a:close/>
                <a:moveTo>
                  <a:pt x="1641157" y="539614"/>
                </a:moveTo>
                <a:cubicBezTo>
                  <a:pt x="1639225" y="539614"/>
                  <a:pt x="1637292" y="541549"/>
                  <a:pt x="1637292" y="541549"/>
                </a:cubicBezTo>
                <a:cubicBezTo>
                  <a:pt x="1635356" y="541549"/>
                  <a:pt x="1637292" y="543484"/>
                  <a:pt x="1637292" y="547350"/>
                </a:cubicBezTo>
                <a:cubicBezTo>
                  <a:pt x="1639225" y="545417"/>
                  <a:pt x="1641157" y="545417"/>
                  <a:pt x="1643093" y="543484"/>
                </a:cubicBezTo>
                <a:cubicBezTo>
                  <a:pt x="1643093" y="543484"/>
                  <a:pt x="1641157" y="539614"/>
                  <a:pt x="1641157" y="539614"/>
                </a:cubicBezTo>
                <a:close/>
                <a:moveTo>
                  <a:pt x="1604410" y="537681"/>
                </a:moveTo>
                <a:cubicBezTo>
                  <a:pt x="1602477" y="539614"/>
                  <a:pt x="1602477" y="543484"/>
                  <a:pt x="1602477" y="547350"/>
                </a:cubicBezTo>
                <a:cubicBezTo>
                  <a:pt x="1606346" y="547350"/>
                  <a:pt x="1610214" y="547350"/>
                  <a:pt x="1612147" y="545417"/>
                </a:cubicBezTo>
                <a:cubicBezTo>
                  <a:pt x="1614082" y="543484"/>
                  <a:pt x="1614082" y="539614"/>
                  <a:pt x="1614082" y="537681"/>
                </a:cubicBezTo>
                <a:cubicBezTo>
                  <a:pt x="1610214" y="537681"/>
                  <a:pt x="1606346" y="535745"/>
                  <a:pt x="1604410" y="537681"/>
                </a:cubicBezTo>
                <a:close/>
                <a:moveTo>
                  <a:pt x="4130347" y="528009"/>
                </a:moveTo>
                <a:cubicBezTo>
                  <a:pt x="4124546" y="526076"/>
                  <a:pt x="4122613" y="528009"/>
                  <a:pt x="4118745" y="535745"/>
                </a:cubicBezTo>
                <a:cubicBezTo>
                  <a:pt x="4124546" y="533812"/>
                  <a:pt x="4128415" y="531879"/>
                  <a:pt x="4130347" y="528009"/>
                </a:cubicBezTo>
                <a:close/>
                <a:moveTo>
                  <a:pt x="4199976" y="520275"/>
                </a:moveTo>
                <a:cubicBezTo>
                  <a:pt x="4190307" y="524143"/>
                  <a:pt x="4184503" y="528009"/>
                  <a:pt x="4176767" y="531879"/>
                </a:cubicBezTo>
                <a:cubicBezTo>
                  <a:pt x="4176767" y="535745"/>
                  <a:pt x="4176767" y="537681"/>
                  <a:pt x="4176767" y="541549"/>
                </a:cubicBezTo>
                <a:cubicBezTo>
                  <a:pt x="4176767" y="541549"/>
                  <a:pt x="4178702" y="541549"/>
                  <a:pt x="4178702" y="541549"/>
                </a:cubicBezTo>
                <a:cubicBezTo>
                  <a:pt x="4178702" y="541549"/>
                  <a:pt x="4176767" y="543484"/>
                  <a:pt x="4176767" y="543484"/>
                </a:cubicBezTo>
                <a:cubicBezTo>
                  <a:pt x="4176767" y="545417"/>
                  <a:pt x="4176767" y="545417"/>
                  <a:pt x="4176767" y="547350"/>
                </a:cubicBezTo>
                <a:cubicBezTo>
                  <a:pt x="4178702" y="549285"/>
                  <a:pt x="4178702" y="549285"/>
                  <a:pt x="4180635" y="549285"/>
                </a:cubicBezTo>
                <a:cubicBezTo>
                  <a:pt x="4182570" y="537681"/>
                  <a:pt x="4201911" y="537681"/>
                  <a:pt x="4199976" y="520275"/>
                </a:cubicBezTo>
                <a:close/>
                <a:moveTo>
                  <a:pt x="4112941" y="518339"/>
                </a:moveTo>
                <a:cubicBezTo>
                  <a:pt x="4111009" y="518339"/>
                  <a:pt x="4109073" y="520275"/>
                  <a:pt x="4105205" y="520275"/>
                </a:cubicBezTo>
                <a:cubicBezTo>
                  <a:pt x="4107138" y="520275"/>
                  <a:pt x="4107138" y="522208"/>
                  <a:pt x="4107138" y="522208"/>
                </a:cubicBezTo>
                <a:cubicBezTo>
                  <a:pt x="4109073" y="522208"/>
                  <a:pt x="4111009" y="520275"/>
                  <a:pt x="4112941" y="518339"/>
                </a:cubicBezTo>
                <a:close/>
                <a:moveTo>
                  <a:pt x="4234790" y="504802"/>
                </a:moveTo>
                <a:cubicBezTo>
                  <a:pt x="4232855" y="506735"/>
                  <a:pt x="4228989" y="510603"/>
                  <a:pt x="4225121" y="512538"/>
                </a:cubicBezTo>
                <a:cubicBezTo>
                  <a:pt x="4232855" y="514471"/>
                  <a:pt x="4232855" y="514471"/>
                  <a:pt x="4234790" y="504802"/>
                </a:cubicBezTo>
                <a:close/>
                <a:moveTo>
                  <a:pt x="4917188" y="495811"/>
                </a:moveTo>
                <a:lnTo>
                  <a:pt x="4913661" y="502866"/>
                </a:lnTo>
                <a:cubicBezTo>
                  <a:pt x="4913661" y="502866"/>
                  <a:pt x="4911725" y="500933"/>
                  <a:pt x="4911725" y="500933"/>
                </a:cubicBezTo>
                <a:lnTo>
                  <a:pt x="4914633" y="498025"/>
                </a:lnTo>
                <a:close/>
                <a:moveTo>
                  <a:pt x="4252196" y="495130"/>
                </a:moveTo>
                <a:cubicBezTo>
                  <a:pt x="4242527" y="495130"/>
                  <a:pt x="4238659" y="502866"/>
                  <a:pt x="4234790" y="506735"/>
                </a:cubicBezTo>
                <a:cubicBezTo>
                  <a:pt x="4236723" y="506735"/>
                  <a:pt x="4238659" y="508670"/>
                  <a:pt x="4242527" y="508670"/>
                </a:cubicBezTo>
                <a:cubicBezTo>
                  <a:pt x="4246395" y="504802"/>
                  <a:pt x="4248330" y="500933"/>
                  <a:pt x="4252196" y="495130"/>
                </a:cubicBezTo>
                <a:close/>
                <a:moveTo>
                  <a:pt x="4184503" y="495130"/>
                </a:moveTo>
                <a:cubicBezTo>
                  <a:pt x="4182570" y="495130"/>
                  <a:pt x="4180635" y="498998"/>
                  <a:pt x="4178702" y="498998"/>
                </a:cubicBezTo>
                <a:cubicBezTo>
                  <a:pt x="4165162" y="497065"/>
                  <a:pt x="4159361" y="506735"/>
                  <a:pt x="4149689" y="512538"/>
                </a:cubicBezTo>
                <a:cubicBezTo>
                  <a:pt x="4145820" y="514471"/>
                  <a:pt x="4143888" y="518339"/>
                  <a:pt x="4140019" y="524143"/>
                </a:cubicBezTo>
                <a:cubicBezTo>
                  <a:pt x="4141955" y="526076"/>
                  <a:pt x="4141955" y="528009"/>
                  <a:pt x="4143888" y="529944"/>
                </a:cubicBezTo>
                <a:cubicBezTo>
                  <a:pt x="4147756" y="528009"/>
                  <a:pt x="4153557" y="526076"/>
                  <a:pt x="4157425" y="526076"/>
                </a:cubicBezTo>
                <a:cubicBezTo>
                  <a:pt x="4157425" y="526076"/>
                  <a:pt x="4159361" y="526076"/>
                  <a:pt x="4159361" y="526076"/>
                </a:cubicBezTo>
                <a:cubicBezTo>
                  <a:pt x="4159361" y="528009"/>
                  <a:pt x="4159361" y="528009"/>
                  <a:pt x="4159361" y="528009"/>
                </a:cubicBezTo>
                <a:cubicBezTo>
                  <a:pt x="4161296" y="528009"/>
                  <a:pt x="4161296" y="528009"/>
                  <a:pt x="4163229" y="529944"/>
                </a:cubicBezTo>
                <a:cubicBezTo>
                  <a:pt x="4163229" y="528009"/>
                  <a:pt x="4163229" y="526076"/>
                  <a:pt x="4163229" y="526076"/>
                </a:cubicBezTo>
                <a:cubicBezTo>
                  <a:pt x="4163229" y="520275"/>
                  <a:pt x="4165162" y="518339"/>
                  <a:pt x="4169030" y="516406"/>
                </a:cubicBezTo>
                <a:cubicBezTo>
                  <a:pt x="4176767" y="510603"/>
                  <a:pt x="4184503" y="504802"/>
                  <a:pt x="4192240" y="498998"/>
                </a:cubicBezTo>
                <a:cubicBezTo>
                  <a:pt x="4190307" y="497065"/>
                  <a:pt x="4190307" y="497065"/>
                  <a:pt x="4190307" y="495130"/>
                </a:cubicBezTo>
                <a:cubicBezTo>
                  <a:pt x="4188371" y="495130"/>
                  <a:pt x="4186438" y="495130"/>
                  <a:pt x="4184503" y="495130"/>
                </a:cubicBezTo>
                <a:close/>
                <a:moveTo>
                  <a:pt x="4143888" y="489329"/>
                </a:moveTo>
                <a:cubicBezTo>
                  <a:pt x="4141955" y="489329"/>
                  <a:pt x="4138086" y="491262"/>
                  <a:pt x="4136151" y="491262"/>
                </a:cubicBezTo>
                <a:cubicBezTo>
                  <a:pt x="4136151" y="491262"/>
                  <a:pt x="4136151" y="493197"/>
                  <a:pt x="4136151" y="493197"/>
                </a:cubicBezTo>
                <a:cubicBezTo>
                  <a:pt x="4138086" y="491262"/>
                  <a:pt x="4141955" y="491262"/>
                  <a:pt x="4143888" y="491262"/>
                </a:cubicBezTo>
                <a:cubicBezTo>
                  <a:pt x="4143888" y="489329"/>
                  <a:pt x="4143888" y="489329"/>
                  <a:pt x="4143888" y="489329"/>
                </a:cubicBezTo>
                <a:close/>
                <a:moveTo>
                  <a:pt x="4128415" y="489329"/>
                </a:moveTo>
                <a:cubicBezTo>
                  <a:pt x="4122613" y="493197"/>
                  <a:pt x="4118745" y="495130"/>
                  <a:pt x="4114877" y="497065"/>
                </a:cubicBezTo>
                <a:cubicBezTo>
                  <a:pt x="4114877" y="497065"/>
                  <a:pt x="4116810" y="498998"/>
                  <a:pt x="4116810" y="498998"/>
                </a:cubicBezTo>
                <a:cubicBezTo>
                  <a:pt x="4120678" y="497065"/>
                  <a:pt x="4126479" y="498998"/>
                  <a:pt x="4128415" y="489329"/>
                </a:cubicBezTo>
                <a:close/>
                <a:moveTo>
                  <a:pt x="3488227" y="485460"/>
                </a:moveTo>
                <a:cubicBezTo>
                  <a:pt x="3488227" y="485460"/>
                  <a:pt x="3486294" y="485460"/>
                  <a:pt x="3486294" y="487393"/>
                </a:cubicBezTo>
                <a:cubicBezTo>
                  <a:pt x="3484358" y="489329"/>
                  <a:pt x="3482423" y="489329"/>
                  <a:pt x="3480490" y="491262"/>
                </a:cubicBezTo>
                <a:cubicBezTo>
                  <a:pt x="3480490" y="489329"/>
                  <a:pt x="3482423" y="487393"/>
                  <a:pt x="3482423" y="487393"/>
                </a:cubicBezTo>
                <a:cubicBezTo>
                  <a:pt x="3484358" y="485460"/>
                  <a:pt x="3486294" y="485460"/>
                  <a:pt x="3488227" y="485460"/>
                </a:cubicBezTo>
                <a:close/>
                <a:moveTo>
                  <a:pt x="4136151" y="471920"/>
                </a:moveTo>
                <a:cubicBezTo>
                  <a:pt x="4132283" y="473856"/>
                  <a:pt x="4130347" y="475789"/>
                  <a:pt x="4128415" y="477724"/>
                </a:cubicBezTo>
                <a:cubicBezTo>
                  <a:pt x="4134216" y="481592"/>
                  <a:pt x="4136151" y="477724"/>
                  <a:pt x="4138086" y="473856"/>
                </a:cubicBezTo>
                <a:cubicBezTo>
                  <a:pt x="4138086" y="473856"/>
                  <a:pt x="4136151" y="473856"/>
                  <a:pt x="4136151" y="471920"/>
                </a:cubicBezTo>
                <a:close/>
                <a:moveTo>
                  <a:pt x="4247120" y="469019"/>
                </a:moveTo>
                <a:cubicBezTo>
                  <a:pt x="4245911" y="468536"/>
                  <a:pt x="4245427" y="469020"/>
                  <a:pt x="4244460" y="469987"/>
                </a:cubicBezTo>
                <a:cubicBezTo>
                  <a:pt x="4236723" y="475789"/>
                  <a:pt x="4230922" y="481592"/>
                  <a:pt x="4223186" y="487393"/>
                </a:cubicBezTo>
                <a:cubicBezTo>
                  <a:pt x="4213514" y="495130"/>
                  <a:pt x="4205780" y="504802"/>
                  <a:pt x="4190307" y="504802"/>
                </a:cubicBezTo>
                <a:cubicBezTo>
                  <a:pt x="4188371" y="504802"/>
                  <a:pt x="4186438" y="506735"/>
                  <a:pt x="4186438" y="508670"/>
                </a:cubicBezTo>
                <a:cubicBezTo>
                  <a:pt x="4186438" y="510603"/>
                  <a:pt x="4188371" y="512538"/>
                  <a:pt x="4190307" y="512538"/>
                </a:cubicBezTo>
                <a:cubicBezTo>
                  <a:pt x="4194172" y="512538"/>
                  <a:pt x="4198043" y="512538"/>
                  <a:pt x="4199976" y="510603"/>
                </a:cubicBezTo>
                <a:cubicBezTo>
                  <a:pt x="4211581" y="502866"/>
                  <a:pt x="4221253" y="495130"/>
                  <a:pt x="4232855" y="489329"/>
                </a:cubicBezTo>
                <a:cubicBezTo>
                  <a:pt x="4240592" y="483525"/>
                  <a:pt x="4246395" y="479657"/>
                  <a:pt x="4254132" y="473856"/>
                </a:cubicBezTo>
                <a:cubicBezTo>
                  <a:pt x="4250264" y="470954"/>
                  <a:pt x="4248329" y="469503"/>
                  <a:pt x="4247120" y="469019"/>
                </a:cubicBezTo>
                <a:close/>
                <a:moveTo>
                  <a:pt x="4238659" y="458383"/>
                </a:moveTo>
                <a:cubicBezTo>
                  <a:pt x="4236723" y="458383"/>
                  <a:pt x="4234790" y="458383"/>
                  <a:pt x="4232855" y="460316"/>
                </a:cubicBezTo>
                <a:cubicBezTo>
                  <a:pt x="4223186" y="468052"/>
                  <a:pt x="4211581" y="475789"/>
                  <a:pt x="4201911" y="483525"/>
                </a:cubicBezTo>
                <a:cubicBezTo>
                  <a:pt x="4201911" y="483525"/>
                  <a:pt x="4201911" y="483525"/>
                  <a:pt x="4201911" y="485460"/>
                </a:cubicBezTo>
                <a:cubicBezTo>
                  <a:pt x="4201911" y="485460"/>
                  <a:pt x="4201911" y="489329"/>
                  <a:pt x="4199976" y="495130"/>
                </a:cubicBezTo>
                <a:cubicBezTo>
                  <a:pt x="4205780" y="491262"/>
                  <a:pt x="4209648" y="487393"/>
                  <a:pt x="4215449" y="483525"/>
                </a:cubicBezTo>
                <a:cubicBezTo>
                  <a:pt x="4213514" y="483525"/>
                  <a:pt x="4213514" y="485460"/>
                  <a:pt x="4211581" y="485460"/>
                </a:cubicBezTo>
                <a:cubicBezTo>
                  <a:pt x="4209648" y="483525"/>
                  <a:pt x="4209648" y="483525"/>
                  <a:pt x="4209648" y="481592"/>
                </a:cubicBezTo>
                <a:cubicBezTo>
                  <a:pt x="4213514" y="475789"/>
                  <a:pt x="4217382" y="475789"/>
                  <a:pt x="4223186" y="475789"/>
                </a:cubicBezTo>
                <a:cubicBezTo>
                  <a:pt x="4228989" y="471920"/>
                  <a:pt x="4234790" y="466119"/>
                  <a:pt x="4240592" y="462251"/>
                </a:cubicBezTo>
                <a:cubicBezTo>
                  <a:pt x="4240592" y="460316"/>
                  <a:pt x="4238659" y="460316"/>
                  <a:pt x="4238659" y="458383"/>
                </a:cubicBezTo>
                <a:close/>
                <a:moveTo>
                  <a:pt x="2836434" y="448711"/>
                </a:moveTo>
                <a:cubicBezTo>
                  <a:pt x="2834501" y="448711"/>
                  <a:pt x="2832566" y="448711"/>
                  <a:pt x="2832566" y="450646"/>
                </a:cubicBezTo>
                <a:cubicBezTo>
                  <a:pt x="2832566" y="452579"/>
                  <a:pt x="2832566" y="454514"/>
                  <a:pt x="2828697" y="454514"/>
                </a:cubicBezTo>
                <a:cubicBezTo>
                  <a:pt x="2822896" y="452579"/>
                  <a:pt x="2820961" y="456450"/>
                  <a:pt x="2817093" y="458383"/>
                </a:cubicBezTo>
                <a:cubicBezTo>
                  <a:pt x="2815160" y="460316"/>
                  <a:pt x="2815160" y="464184"/>
                  <a:pt x="2819028" y="464184"/>
                </a:cubicBezTo>
                <a:cubicBezTo>
                  <a:pt x="2819028" y="466119"/>
                  <a:pt x="2820961" y="466119"/>
                  <a:pt x="2822896" y="466119"/>
                </a:cubicBezTo>
                <a:cubicBezTo>
                  <a:pt x="2824829" y="464184"/>
                  <a:pt x="2826764" y="464184"/>
                  <a:pt x="2828697" y="462251"/>
                </a:cubicBezTo>
                <a:cubicBezTo>
                  <a:pt x="2830630" y="460316"/>
                  <a:pt x="2834501" y="458383"/>
                  <a:pt x="2836434" y="456450"/>
                </a:cubicBezTo>
                <a:cubicBezTo>
                  <a:pt x="2836434" y="456450"/>
                  <a:pt x="2838369" y="454514"/>
                  <a:pt x="2838369" y="454514"/>
                </a:cubicBezTo>
                <a:cubicBezTo>
                  <a:pt x="2840302" y="452579"/>
                  <a:pt x="2840302" y="452579"/>
                  <a:pt x="2838369" y="450646"/>
                </a:cubicBezTo>
                <a:cubicBezTo>
                  <a:pt x="2836434" y="450646"/>
                  <a:pt x="2836434" y="448711"/>
                  <a:pt x="2836434" y="448711"/>
                </a:cubicBezTo>
                <a:close/>
                <a:moveTo>
                  <a:pt x="4221253" y="435173"/>
                </a:moveTo>
                <a:cubicBezTo>
                  <a:pt x="4215449" y="435173"/>
                  <a:pt x="4211581" y="433240"/>
                  <a:pt x="4211581" y="442910"/>
                </a:cubicBezTo>
                <a:cubicBezTo>
                  <a:pt x="4215449" y="439041"/>
                  <a:pt x="4217382" y="437108"/>
                  <a:pt x="4221253" y="435173"/>
                </a:cubicBezTo>
                <a:close/>
                <a:moveTo>
                  <a:pt x="4316024" y="415832"/>
                </a:moveTo>
                <a:cubicBezTo>
                  <a:pt x="4308287" y="413899"/>
                  <a:pt x="4302484" y="419700"/>
                  <a:pt x="4296682" y="423568"/>
                </a:cubicBezTo>
                <a:cubicBezTo>
                  <a:pt x="4296682" y="423568"/>
                  <a:pt x="4298615" y="425504"/>
                  <a:pt x="4298615" y="425504"/>
                </a:cubicBezTo>
                <a:cubicBezTo>
                  <a:pt x="4304417" y="421635"/>
                  <a:pt x="4310220" y="417767"/>
                  <a:pt x="4316024" y="415832"/>
                </a:cubicBezTo>
                <a:close/>
                <a:moveTo>
                  <a:pt x="4263560" y="406645"/>
                </a:moveTo>
                <a:cubicBezTo>
                  <a:pt x="4261867" y="406645"/>
                  <a:pt x="4259933" y="409063"/>
                  <a:pt x="4256065" y="413899"/>
                </a:cubicBezTo>
                <a:cubicBezTo>
                  <a:pt x="4259933" y="413899"/>
                  <a:pt x="4263801" y="413899"/>
                  <a:pt x="4269605" y="413899"/>
                </a:cubicBezTo>
                <a:cubicBezTo>
                  <a:pt x="4266703" y="409063"/>
                  <a:pt x="4265252" y="406645"/>
                  <a:pt x="4263560" y="406645"/>
                </a:cubicBezTo>
                <a:close/>
                <a:moveTo>
                  <a:pt x="4319890" y="406162"/>
                </a:moveTo>
                <a:cubicBezTo>
                  <a:pt x="4319890" y="408095"/>
                  <a:pt x="4319890" y="410031"/>
                  <a:pt x="4319890" y="411964"/>
                </a:cubicBezTo>
                <a:cubicBezTo>
                  <a:pt x="4321825" y="413899"/>
                  <a:pt x="4323758" y="413899"/>
                  <a:pt x="4327626" y="413899"/>
                </a:cubicBezTo>
                <a:cubicBezTo>
                  <a:pt x="4327626" y="410031"/>
                  <a:pt x="4329561" y="408095"/>
                  <a:pt x="4325693" y="406162"/>
                </a:cubicBezTo>
                <a:cubicBezTo>
                  <a:pt x="4323758" y="406162"/>
                  <a:pt x="4321825" y="406162"/>
                  <a:pt x="4319890" y="406162"/>
                </a:cubicBezTo>
                <a:close/>
                <a:moveTo>
                  <a:pt x="4304417" y="381018"/>
                </a:moveTo>
                <a:cubicBezTo>
                  <a:pt x="4302484" y="382953"/>
                  <a:pt x="4300548" y="382953"/>
                  <a:pt x="4300548" y="382953"/>
                </a:cubicBezTo>
                <a:cubicBezTo>
                  <a:pt x="4298615" y="384886"/>
                  <a:pt x="4300548" y="386821"/>
                  <a:pt x="4298615" y="388754"/>
                </a:cubicBezTo>
                <a:cubicBezTo>
                  <a:pt x="4302484" y="386821"/>
                  <a:pt x="4304417" y="386821"/>
                  <a:pt x="4304417" y="384886"/>
                </a:cubicBezTo>
                <a:cubicBezTo>
                  <a:pt x="4306352" y="384886"/>
                  <a:pt x="4304417" y="382953"/>
                  <a:pt x="4304417" y="381018"/>
                </a:cubicBezTo>
                <a:close/>
                <a:moveTo>
                  <a:pt x="4316024" y="373281"/>
                </a:moveTo>
                <a:cubicBezTo>
                  <a:pt x="4316024" y="373281"/>
                  <a:pt x="4314088" y="375216"/>
                  <a:pt x="4314088" y="379085"/>
                </a:cubicBezTo>
                <a:cubicBezTo>
                  <a:pt x="4316024" y="377149"/>
                  <a:pt x="4317957" y="375216"/>
                  <a:pt x="4317957" y="375216"/>
                </a:cubicBezTo>
                <a:cubicBezTo>
                  <a:pt x="4317957" y="375216"/>
                  <a:pt x="4316024" y="373281"/>
                  <a:pt x="4316024" y="373281"/>
                </a:cubicBezTo>
                <a:close/>
                <a:moveTo>
                  <a:pt x="4366309" y="350074"/>
                </a:moveTo>
                <a:cubicBezTo>
                  <a:pt x="4343099" y="353940"/>
                  <a:pt x="4337298" y="359743"/>
                  <a:pt x="4337298" y="369415"/>
                </a:cubicBezTo>
                <a:cubicBezTo>
                  <a:pt x="4346967" y="363612"/>
                  <a:pt x="4356639" y="355875"/>
                  <a:pt x="4366309" y="350074"/>
                </a:cubicBezTo>
                <a:close/>
                <a:moveTo>
                  <a:pt x="4780207" y="321061"/>
                </a:moveTo>
                <a:cubicBezTo>
                  <a:pt x="4780207" y="322996"/>
                  <a:pt x="4778272" y="322996"/>
                  <a:pt x="4778272" y="322996"/>
                </a:cubicBezTo>
                <a:cubicBezTo>
                  <a:pt x="4780207" y="324929"/>
                  <a:pt x="4780207" y="326864"/>
                  <a:pt x="4782140" y="328797"/>
                </a:cubicBezTo>
                <a:cubicBezTo>
                  <a:pt x="4782140" y="328797"/>
                  <a:pt x="4782140" y="328797"/>
                  <a:pt x="4784075" y="326864"/>
                </a:cubicBezTo>
                <a:cubicBezTo>
                  <a:pt x="4784075" y="324929"/>
                  <a:pt x="4782140" y="322996"/>
                  <a:pt x="4780207" y="321061"/>
                </a:cubicBezTo>
                <a:close/>
                <a:moveTo>
                  <a:pt x="4795680" y="317192"/>
                </a:moveTo>
                <a:cubicBezTo>
                  <a:pt x="4795680" y="317192"/>
                  <a:pt x="4795680" y="319128"/>
                  <a:pt x="4795680" y="319128"/>
                </a:cubicBezTo>
                <a:cubicBezTo>
                  <a:pt x="4795680" y="321061"/>
                  <a:pt x="4791812" y="322996"/>
                  <a:pt x="4787944" y="324929"/>
                </a:cubicBezTo>
                <a:lnTo>
                  <a:pt x="4787138" y="323317"/>
                </a:lnTo>
                <a:lnTo>
                  <a:pt x="4787420" y="320497"/>
                </a:lnTo>
                <a:close/>
                <a:moveTo>
                  <a:pt x="4420464" y="313324"/>
                </a:moveTo>
                <a:cubicBezTo>
                  <a:pt x="4406924" y="317192"/>
                  <a:pt x="4397255" y="322996"/>
                  <a:pt x="4385650" y="326864"/>
                </a:cubicBezTo>
                <a:cubicBezTo>
                  <a:pt x="4381782" y="330733"/>
                  <a:pt x="4375980" y="334601"/>
                  <a:pt x="4370177" y="340402"/>
                </a:cubicBezTo>
                <a:cubicBezTo>
                  <a:pt x="4374045" y="342335"/>
                  <a:pt x="4375980" y="342335"/>
                  <a:pt x="4375980" y="342335"/>
                </a:cubicBezTo>
                <a:cubicBezTo>
                  <a:pt x="4387583" y="336534"/>
                  <a:pt x="4399190" y="330733"/>
                  <a:pt x="4408859" y="324929"/>
                </a:cubicBezTo>
                <a:cubicBezTo>
                  <a:pt x="4412728" y="322996"/>
                  <a:pt x="4416596" y="319128"/>
                  <a:pt x="4420464" y="313324"/>
                </a:cubicBezTo>
                <a:close/>
                <a:moveTo>
                  <a:pt x="4453343" y="299786"/>
                </a:moveTo>
                <a:cubicBezTo>
                  <a:pt x="4441741" y="299786"/>
                  <a:pt x="4435937" y="305588"/>
                  <a:pt x="4428201" y="313324"/>
                </a:cubicBezTo>
                <a:cubicBezTo>
                  <a:pt x="4428201" y="313324"/>
                  <a:pt x="4430134" y="315260"/>
                  <a:pt x="4430134" y="315260"/>
                </a:cubicBezTo>
                <a:cubicBezTo>
                  <a:pt x="4437870" y="309456"/>
                  <a:pt x="4445607" y="303655"/>
                  <a:pt x="4453343" y="299786"/>
                </a:cubicBezTo>
                <a:close/>
                <a:moveTo>
                  <a:pt x="4787944" y="295918"/>
                </a:moveTo>
                <a:cubicBezTo>
                  <a:pt x="4787944" y="301719"/>
                  <a:pt x="4787944" y="305588"/>
                  <a:pt x="4787944" y="311391"/>
                </a:cubicBezTo>
                <a:cubicBezTo>
                  <a:pt x="4795680" y="303655"/>
                  <a:pt x="4795680" y="303655"/>
                  <a:pt x="4787944" y="295918"/>
                </a:cubicBezTo>
                <a:close/>
                <a:moveTo>
                  <a:pt x="4517168" y="282378"/>
                </a:moveTo>
                <a:cubicBezTo>
                  <a:pt x="4515235" y="282378"/>
                  <a:pt x="4515235" y="284313"/>
                  <a:pt x="4515235" y="286246"/>
                </a:cubicBezTo>
                <a:cubicBezTo>
                  <a:pt x="4517168" y="288182"/>
                  <a:pt x="4519103" y="288182"/>
                  <a:pt x="4521036" y="288182"/>
                </a:cubicBezTo>
                <a:cubicBezTo>
                  <a:pt x="4521036" y="286246"/>
                  <a:pt x="4521036" y="284313"/>
                  <a:pt x="4521036" y="282378"/>
                </a:cubicBezTo>
                <a:cubicBezTo>
                  <a:pt x="4521036" y="282378"/>
                  <a:pt x="4517168" y="282378"/>
                  <a:pt x="4517168" y="282378"/>
                </a:cubicBezTo>
                <a:close/>
                <a:moveTo>
                  <a:pt x="4764734" y="276577"/>
                </a:moveTo>
                <a:lnTo>
                  <a:pt x="4765701" y="277543"/>
                </a:lnTo>
                <a:lnTo>
                  <a:pt x="4764734" y="278510"/>
                </a:lnTo>
                <a:lnTo>
                  <a:pt x="4764033" y="277208"/>
                </a:lnTo>
                <a:close/>
                <a:moveTo>
                  <a:pt x="4567455" y="268840"/>
                </a:moveTo>
                <a:cubicBezTo>
                  <a:pt x="4559719" y="272709"/>
                  <a:pt x="4555851" y="274642"/>
                  <a:pt x="4548114" y="278510"/>
                </a:cubicBezTo>
                <a:cubicBezTo>
                  <a:pt x="4559719" y="282378"/>
                  <a:pt x="4559719" y="282378"/>
                  <a:pt x="4567455" y="268840"/>
                </a:cubicBezTo>
                <a:close/>
                <a:moveTo>
                  <a:pt x="4572774" y="254576"/>
                </a:moveTo>
                <a:cubicBezTo>
                  <a:pt x="4571324" y="255301"/>
                  <a:pt x="4571324" y="257236"/>
                  <a:pt x="4571324" y="261104"/>
                </a:cubicBezTo>
                <a:cubicBezTo>
                  <a:pt x="4575192" y="259171"/>
                  <a:pt x="4577127" y="257236"/>
                  <a:pt x="4582928" y="255300"/>
                </a:cubicBezTo>
                <a:cubicBezTo>
                  <a:pt x="4577126" y="254334"/>
                  <a:pt x="4574225" y="253851"/>
                  <a:pt x="4572774" y="254576"/>
                </a:cubicBezTo>
                <a:close/>
                <a:moveTo>
                  <a:pt x="4727987" y="253367"/>
                </a:moveTo>
                <a:cubicBezTo>
                  <a:pt x="4718315" y="253367"/>
                  <a:pt x="4714447" y="259171"/>
                  <a:pt x="4710579" y="266905"/>
                </a:cubicBezTo>
                <a:cubicBezTo>
                  <a:pt x="4726052" y="264972"/>
                  <a:pt x="4726052" y="264972"/>
                  <a:pt x="4727987" y="253367"/>
                </a:cubicBezTo>
                <a:close/>
                <a:moveTo>
                  <a:pt x="4596469" y="243698"/>
                </a:moveTo>
                <a:cubicBezTo>
                  <a:pt x="4592600" y="245631"/>
                  <a:pt x="4586797" y="247566"/>
                  <a:pt x="4582928" y="249499"/>
                </a:cubicBezTo>
                <a:cubicBezTo>
                  <a:pt x="4590665" y="253367"/>
                  <a:pt x="4596469" y="255300"/>
                  <a:pt x="4596469" y="243698"/>
                </a:cubicBezTo>
                <a:close/>
                <a:moveTo>
                  <a:pt x="4563587" y="230158"/>
                </a:moveTo>
                <a:lnTo>
                  <a:pt x="4557367" y="234824"/>
                </a:lnTo>
                <a:lnTo>
                  <a:pt x="4555372" y="235482"/>
                </a:lnTo>
                <a:lnTo>
                  <a:pt x="4555078" y="235188"/>
                </a:lnTo>
                <a:lnTo>
                  <a:pt x="4561177" y="231122"/>
                </a:lnTo>
                <a:close/>
                <a:moveTo>
                  <a:pt x="4712514" y="228225"/>
                </a:moveTo>
                <a:cubicBezTo>
                  <a:pt x="4706710" y="228225"/>
                  <a:pt x="4704777" y="232093"/>
                  <a:pt x="4704777" y="237894"/>
                </a:cubicBezTo>
                <a:cubicBezTo>
                  <a:pt x="4712514" y="235961"/>
                  <a:pt x="4712514" y="235961"/>
                  <a:pt x="4712514" y="228225"/>
                </a:cubicBezTo>
                <a:close/>
                <a:moveTo>
                  <a:pt x="3863443" y="0"/>
                </a:moveTo>
                <a:cubicBezTo>
                  <a:pt x="3865376" y="0"/>
                  <a:pt x="3869244" y="1935"/>
                  <a:pt x="3869244" y="3868"/>
                </a:cubicBezTo>
                <a:cubicBezTo>
                  <a:pt x="3869244" y="5801"/>
                  <a:pt x="3867311" y="5801"/>
                  <a:pt x="3867311" y="7737"/>
                </a:cubicBezTo>
                <a:cubicBezTo>
                  <a:pt x="3867311" y="9670"/>
                  <a:pt x="3865376" y="9670"/>
                  <a:pt x="3865376" y="9670"/>
                </a:cubicBezTo>
                <a:cubicBezTo>
                  <a:pt x="3859574" y="11605"/>
                  <a:pt x="3859574" y="17406"/>
                  <a:pt x="3859574" y="21274"/>
                </a:cubicBezTo>
                <a:cubicBezTo>
                  <a:pt x="3859574" y="27078"/>
                  <a:pt x="3859574" y="29011"/>
                  <a:pt x="3853771" y="32879"/>
                </a:cubicBezTo>
                <a:cubicBezTo>
                  <a:pt x="3846034" y="38683"/>
                  <a:pt x="3836365" y="44484"/>
                  <a:pt x="3826693" y="50288"/>
                </a:cubicBezTo>
                <a:cubicBezTo>
                  <a:pt x="3817024" y="58024"/>
                  <a:pt x="3805419" y="63825"/>
                  <a:pt x="3795749" y="71562"/>
                </a:cubicBezTo>
                <a:cubicBezTo>
                  <a:pt x="3793816" y="73495"/>
                  <a:pt x="3791881" y="75430"/>
                  <a:pt x="3791881" y="79298"/>
                </a:cubicBezTo>
                <a:cubicBezTo>
                  <a:pt x="3789946" y="83166"/>
                  <a:pt x="3791881" y="85099"/>
                  <a:pt x="3795749" y="87035"/>
                </a:cubicBezTo>
                <a:cubicBezTo>
                  <a:pt x="3797682" y="87035"/>
                  <a:pt x="3797682" y="87035"/>
                  <a:pt x="3799618" y="88970"/>
                </a:cubicBezTo>
                <a:cubicBezTo>
                  <a:pt x="3801551" y="88970"/>
                  <a:pt x="3801551" y="90903"/>
                  <a:pt x="3801551" y="92836"/>
                </a:cubicBezTo>
                <a:cubicBezTo>
                  <a:pt x="3801551" y="92836"/>
                  <a:pt x="3799618" y="94771"/>
                  <a:pt x="3799618" y="94771"/>
                </a:cubicBezTo>
                <a:cubicBezTo>
                  <a:pt x="3795749" y="94771"/>
                  <a:pt x="3793816" y="94771"/>
                  <a:pt x="3789946" y="96704"/>
                </a:cubicBezTo>
                <a:cubicBezTo>
                  <a:pt x="3784145" y="98639"/>
                  <a:pt x="3780276" y="100572"/>
                  <a:pt x="3774475" y="104441"/>
                </a:cubicBezTo>
                <a:cubicBezTo>
                  <a:pt x="3770607" y="106376"/>
                  <a:pt x="3766736" y="104441"/>
                  <a:pt x="3764803" y="106376"/>
                </a:cubicBezTo>
                <a:cubicBezTo>
                  <a:pt x="3762868" y="108309"/>
                  <a:pt x="3762868" y="110244"/>
                  <a:pt x="3760935" y="112177"/>
                </a:cubicBezTo>
                <a:cubicBezTo>
                  <a:pt x="3759000" y="116045"/>
                  <a:pt x="3755134" y="117981"/>
                  <a:pt x="3751266" y="119914"/>
                </a:cubicBezTo>
                <a:cubicBezTo>
                  <a:pt x="3747397" y="121849"/>
                  <a:pt x="3745462" y="123782"/>
                  <a:pt x="3745462" y="125717"/>
                </a:cubicBezTo>
                <a:cubicBezTo>
                  <a:pt x="3745462" y="129586"/>
                  <a:pt x="3743527" y="131519"/>
                  <a:pt x="3739658" y="133454"/>
                </a:cubicBezTo>
                <a:cubicBezTo>
                  <a:pt x="3733857" y="135387"/>
                  <a:pt x="3729989" y="139255"/>
                  <a:pt x="3726121" y="141190"/>
                </a:cubicBezTo>
                <a:cubicBezTo>
                  <a:pt x="3722253" y="145059"/>
                  <a:pt x="3722253" y="148927"/>
                  <a:pt x="3722253" y="154728"/>
                </a:cubicBezTo>
                <a:cubicBezTo>
                  <a:pt x="3722253" y="156663"/>
                  <a:pt x="3726121" y="158596"/>
                  <a:pt x="3728056" y="158596"/>
                </a:cubicBezTo>
                <a:cubicBezTo>
                  <a:pt x="3728056" y="160532"/>
                  <a:pt x="3729989" y="160532"/>
                  <a:pt x="3729989" y="160532"/>
                </a:cubicBezTo>
                <a:cubicBezTo>
                  <a:pt x="3729989" y="162465"/>
                  <a:pt x="3729989" y="164400"/>
                  <a:pt x="3728056" y="164400"/>
                </a:cubicBezTo>
                <a:cubicBezTo>
                  <a:pt x="3728056" y="166333"/>
                  <a:pt x="3726121" y="166333"/>
                  <a:pt x="3724188" y="166333"/>
                </a:cubicBezTo>
                <a:cubicBezTo>
                  <a:pt x="3722253" y="166333"/>
                  <a:pt x="3720320" y="166333"/>
                  <a:pt x="3720320" y="168266"/>
                </a:cubicBezTo>
                <a:cubicBezTo>
                  <a:pt x="3720320" y="172136"/>
                  <a:pt x="3718384" y="174069"/>
                  <a:pt x="3714516" y="176005"/>
                </a:cubicBezTo>
                <a:cubicBezTo>
                  <a:pt x="3708715" y="177938"/>
                  <a:pt x="3702911" y="181806"/>
                  <a:pt x="3697110" y="185674"/>
                </a:cubicBezTo>
                <a:cubicBezTo>
                  <a:pt x="3693242" y="187607"/>
                  <a:pt x="3689374" y="191475"/>
                  <a:pt x="3687441" y="195343"/>
                </a:cubicBezTo>
                <a:cubicBezTo>
                  <a:pt x="3685505" y="199212"/>
                  <a:pt x="3683572" y="199212"/>
                  <a:pt x="3679702" y="201147"/>
                </a:cubicBezTo>
                <a:cubicBezTo>
                  <a:pt x="3673901" y="199212"/>
                  <a:pt x="3668099" y="203080"/>
                  <a:pt x="3662296" y="206948"/>
                </a:cubicBezTo>
                <a:cubicBezTo>
                  <a:pt x="3658427" y="210817"/>
                  <a:pt x="3652624" y="212752"/>
                  <a:pt x="3648758" y="214685"/>
                </a:cubicBezTo>
                <a:cubicBezTo>
                  <a:pt x="3641022" y="218553"/>
                  <a:pt x="3637153" y="224357"/>
                  <a:pt x="3635218" y="232093"/>
                </a:cubicBezTo>
                <a:cubicBezTo>
                  <a:pt x="3635218" y="235961"/>
                  <a:pt x="3633283" y="235961"/>
                  <a:pt x="3631350" y="237894"/>
                </a:cubicBezTo>
                <a:cubicBezTo>
                  <a:pt x="3623613" y="243698"/>
                  <a:pt x="3615877" y="247566"/>
                  <a:pt x="3608140" y="253367"/>
                </a:cubicBezTo>
                <a:cubicBezTo>
                  <a:pt x="3606207" y="253367"/>
                  <a:pt x="3606207" y="257236"/>
                  <a:pt x="3606207" y="259171"/>
                </a:cubicBezTo>
                <a:cubicBezTo>
                  <a:pt x="3606207" y="259171"/>
                  <a:pt x="3606207" y="263039"/>
                  <a:pt x="3606207" y="263039"/>
                </a:cubicBezTo>
                <a:cubicBezTo>
                  <a:pt x="3602339" y="266905"/>
                  <a:pt x="3598471" y="270776"/>
                  <a:pt x="3594602" y="276577"/>
                </a:cubicBezTo>
                <a:cubicBezTo>
                  <a:pt x="3592667" y="278510"/>
                  <a:pt x="3590734" y="280445"/>
                  <a:pt x="3586866" y="282378"/>
                </a:cubicBezTo>
                <a:cubicBezTo>
                  <a:pt x="3584931" y="284313"/>
                  <a:pt x="3582998" y="286246"/>
                  <a:pt x="3582998" y="288182"/>
                </a:cubicBezTo>
                <a:cubicBezTo>
                  <a:pt x="3582998" y="295918"/>
                  <a:pt x="3584931" y="305588"/>
                  <a:pt x="3586866" y="311391"/>
                </a:cubicBezTo>
                <a:cubicBezTo>
                  <a:pt x="3588799" y="315260"/>
                  <a:pt x="3592667" y="319128"/>
                  <a:pt x="3594602" y="322996"/>
                </a:cubicBezTo>
                <a:cubicBezTo>
                  <a:pt x="3594602" y="322996"/>
                  <a:pt x="3594602" y="326864"/>
                  <a:pt x="3594602" y="326864"/>
                </a:cubicBezTo>
                <a:cubicBezTo>
                  <a:pt x="3586866" y="332665"/>
                  <a:pt x="3579129" y="338469"/>
                  <a:pt x="3569458" y="342335"/>
                </a:cubicBezTo>
                <a:cubicBezTo>
                  <a:pt x="3567525" y="342335"/>
                  <a:pt x="3565589" y="342335"/>
                  <a:pt x="3563656" y="342335"/>
                </a:cubicBezTo>
                <a:cubicBezTo>
                  <a:pt x="3561723" y="342335"/>
                  <a:pt x="3559788" y="344270"/>
                  <a:pt x="3559788" y="350074"/>
                </a:cubicBezTo>
                <a:cubicBezTo>
                  <a:pt x="3557855" y="350074"/>
                  <a:pt x="3559788" y="352007"/>
                  <a:pt x="3561723" y="352007"/>
                </a:cubicBezTo>
                <a:cubicBezTo>
                  <a:pt x="3561723" y="352007"/>
                  <a:pt x="3563656" y="352007"/>
                  <a:pt x="3563656" y="352007"/>
                </a:cubicBezTo>
                <a:cubicBezTo>
                  <a:pt x="3563656" y="355875"/>
                  <a:pt x="3563656" y="359743"/>
                  <a:pt x="3561723" y="361676"/>
                </a:cubicBezTo>
                <a:cubicBezTo>
                  <a:pt x="3561723" y="363612"/>
                  <a:pt x="3557855" y="363612"/>
                  <a:pt x="3555920" y="363612"/>
                </a:cubicBezTo>
                <a:cubicBezTo>
                  <a:pt x="3553987" y="363612"/>
                  <a:pt x="3552052" y="363612"/>
                  <a:pt x="3552052" y="365544"/>
                </a:cubicBezTo>
                <a:cubicBezTo>
                  <a:pt x="3552052" y="367480"/>
                  <a:pt x="3550119" y="369415"/>
                  <a:pt x="3548183" y="371348"/>
                </a:cubicBezTo>
                <a:cubicBezTo>
                  <a:pt x="3546248" y="375216"/>
                  <a:pt x="3542382" y="377149"/>
                  <a:pt x="3538514" y="379085"/>
                </a:cubicBezTo>
                <a:cubicBezTo>
                  <a:pt x="3534646" y="381018"/>
                  <a:pt x="3532710" y="382953"/>
                  <a:pt x="3532710" y="386821"/>
                </a:cubicBezTo>
                <a:cubicBezTo>
                  <a:pt x="3532710" y="392622"/>
                  <a:pt x="3530777" y="396491"/>
                  <a:pt x="3524974" y="398426"/>
                </a:cubicBezTo>
                <a:cubicBezTo>
                  <a:pt x="3519173" y="402294"/>
                  <a:pt x="3513372" y="406162"/>
                  <a:pt x="3511436" y="411964"/>
                </a:cubicBezTo>
                <a:cubicBezTo>
                  <a:pt x="3509501" y="413899"/>
                  <a:pt x="3505633" y="415832"/>
                  <a:pt x="3503700" y="417767"/>
                </a:cubicBezTo>
                <a:cubicBezTo>
                  <a:pt x="3501764" y="421635"/>
                  <a:pt x="3497896" y="423568"/>
                  <a:pt x="3494030" y="425504"/>
                </a:cubicBezTo>
                <a:cubicBezTo>
                  <a:pt x="3490162" y="427437"/>
                  <a:pt x="3490162" y="433240"/>
                  <a:pt x="3486294" y="435173"/>
                </a:cubicBezTo>
                <a:cubicBezTo>
                  <a:pt x="3484358" y="437108"/>
                  <a:pt x="3484358" y="439041"/>
                  <a:pt x="3488227" y="439041"/>
                </a:cubicBezTo>
                <a:cubicBezTo>
                  <a:pt x="3492095" y="439041"/>
                  <a:pt x="3494030" y="439041"/>
                  <a:pt x="3495963" y="435173"/>
                </a:cubicBezTo>
                <a:cubicBezTo>
                  <a:pt x="3497896" y="433240"/>
                  <a:pt x="3497896" y="431305"/>
                  <a:pt x="3499831" y="431305"/>
                </a:cubicBezTo>
                <a:cubicBezTo>
                  <a:pt x="3501764" y="429370"/>
                  <a:pt x="3505633" y="431305"/>
                  <a:pt x="3505633" y="433240"/>
                </a:cubicBezTo>
                <a:cubicBezTo>
                  <a:pt x="3505633" y="437108"/>
                  <a:pt x="3505633" y="439041"/>
                  <a:pt x="3505633" y="440974"/>
                </a:cubicBezTo>
                <a:cubicBezTo>
                  <a:pt x="3505633" y="442910"/>
                  <a:pt x="3505633" y="442910"/>
                  <a:pt x="3503700" y="444845"/>
                </a:cubicBezTo>
                <a:cubicBezTo>
                  <a:pt x="3499831" y="450646"/>
                  <a:pt x="3495963" y="456450"/>
                  <a:pt x="3492095" y="462251"/>
                </a:cubicBezTo>
                <a:cubicBezTo>
                  <a:pt x="3486294" y="468052"/>
                  <a:pt x="3478555" y="471920"/>
                  <a:pt x="3470821" y="475789"/>
                </a:cubicBezTo>
                <a:cubicBezTo>
                  <a:pt x="3470821" y="475789"/>
                  <a:pt x="3470821" y="475789"/>
                  <a:pt x="3472754" y="475789"/>
                </a:cubicBezTo>
                <a:cubicBezTo>
                  <a:pt x="3476622" y="475789"/>
                  <a:pt x="3480490" y="475789"/>
                  <a:pt x="3484358" y="473856"/>
                </a:cubicBezTo>
                <a:cubicBezTo>
                  <a:pt x="3497896" y="469987"/>
                  <a:pt x="3511436" y="466119"/>
                  <a:pt x="3524974" y="460316"/>
                </a:cubicBezTo>
                <a:cubicBezTo>
                  <a:pt x="3524974" y="462251"/>
                  <a:pt x="3524974" y="464184"/>
                  <a:pt x="3524974" y="466119"/>
                </a:cubicBezTo>
                <a:cubicBezTo>
                  <a:pt x="3517237" y="469987"/>
                  <a:pt x="3511436" y="475789"/>
                  <a:pt x="3501764" y="473856"/>
                </a:cubicBezTo>
                <a:cubicBezTo>
                  <a:pt x="3499831" y="471920"/>
                  <a:pt x="3495963" y="473856"/>
                  <a:pt x="3494030" y="475789"/>
                </a:cubicBezTo>
                <a:cubicBezTo>
                  <a:pt x="3488227" y="477724"/>
                  <a:pt x="3486294" y="481592"/>
                  <a:pt x="3480490" y="479657"/>
                </a:cubicBezTo>
                <a:cubicBezTo>
                  <a:pt x="3478555" y="477724"/>
                  <a:pt x="3476622" y="479657"/>
                  <a:pt x="3474689" y="481592"/>
                </a:cubicBezTo>
                <a:cubicBezTo>
                  <a:pt x="3466952" y="485460"/>
                  <a:pt x="3459214" y="491262"/>
                  <a:pt x="3449544" y="493197"/>
                </a:cubicBezTo>
                <a:cubicBezTo>
                  <a:pt x="3449544" y="493197"/>
                  <a:pt x="3447611" y="493197"/>
                  <a:pt x="3447611" y="493197"/>
                </a:cubicBezTo>
                <a:cubicBezTo>
                  <a:pt x="3445676" y="495130"/>
                  <a:pt x="3445676" y="497065"/>
                  <a:pt x="3443743" y="498998"/>
                </a:cubicBezTo>
                <a:cubicBezTo>
                  <a:pt x="3441808" y="500933"/>
                  <a:pt x="3439875" y="500933"/>
                  <a:pt x="3437939" y="502866"/>
                </a:cubicBezTo>
                <a:cubicBezTo>
                  <a:pt x="3437939" y="502866"/>
                  <a:pt x="3437939" y="504802"/>
                  <a:pt x="3437939" y="504802"/>
                </a:cubicBezTo>
                <a:cubicBezTo>
                  <a:pt x="3439875" y="506735"/>
                  <a:pt x="3441808" y="506735"/>
                  <a:pt x="3443743" y="508670"/>
                </a:cubicBezTo>
                <a:cubicBezTo>
                  <a:pt x="3441808" y="512538"/>
                  <a:pt x="3437939" y="514471"/>
                  <a:pt x="3434071" y="516406"/>
                </a:cubicBezTo>
                <a:cubicBezTo>
                  <a:pt x="3453412" y="510603"/>
                  <a:pt x="3499831" y="498998"/>
                  <a:pt x="3497896" y="502866"/>
                </a:cubicBezTo>
                <a:cubicBezTo>
                  <a:pt x="3495963" y="508670"/>
                  <a:pt x="3490162" y="510603"/>
                  <a:pt x="3488227" y="514471"/>
                </a:cubicBezTo>
                <a:cubicBezTo>
                  <a:pt x="3492095" y="512538"/>
                  <a:pt x="3497896" y="510603"/>
                  <a:pt x="3501764" y="508670"/>
                </a:cubicBezTo>
                <a:cubicBezTo>
                  <a:pt x="3524974" y="500933"/>
                  <a:pt x="3546248" y="493197"/>
                  <a:pt x="3569458" y="487393"/>
                </a:cubicBezTo>
                <a:cubicBezTo>
                  <a:pt x="3567525" y="491262"/>
                  <a:pt x="3565589" y="493197"/>
                  <a:pt x="3563656" y="495130"/>
                </a:cubicBezTo>
                <a:cubicBezTo>
                  <a:pt x="3565589" y="495130"/>
                  <a:pt x="3567525" y="497065"/>
                  <a:pt x="3571393" y="498998"/>
                </a:cubicBezTo>
                <a:cubicBezTo>
                  <a:pt x="3559788" y="502866"/>
                  <a:pt x="3550119" y="506735"/>
                  <a:pt x="3538514" y="510603"/>
                </a:cubicBezTo>
                <a:cubicBezTo>
                  <a:pt x="3536579" y="510603"/>
                  <a:pt x="3536579" y="510603"/>
                  <a:pt x="3534646" y="510603"/>
                </a:cubicBezTo>
                <a:cubicBezTo>
                  <a:pt x="3526909" y="510603"/>
                  <a:pt x="3519173" y="510603"/>
                  <a:pt x="3515304" y="518339"/>
                </a:cubicBezTo>
                <a:cubicBezTo>
                  <a:pt x="3513372" y="522208"/>
                  <a:pt x="3509501" y="526076"/>
                  <a:pt x="3503700" y="524143"/>
                </a:cubicBezTo>
                <a:cubicBezTo>
                  <a:pt x="3505633" y="522208"/>
                  <a:pt x="3505633" y="520275"/>
                  <a:pt x="3509501" y="516406"/>
                </a:cubicBezTo>
                <a:cubicBezTo>
                  <a:pt x="3499831" y="520275"/>
                  <a:pt x="3494030" y="520275"/>
                  <a:pt x="3488227" y="528009"/>
                </a:cubicBezTo>
                <a:cubicBezTo>
                  <a:pt x="3486294" y="531879"/>
                  <a:pt x="3480490" y="533812"/>
                  <a:pt x="3476622" y="535745"/>
                </a:cubicBezTo>
                <a:cubicBezTo>
                  <a:pt x="3476622" y="537681"/>
                  <a:pt x="3474689" y="537681"/>
                  <a:pt x="3472754" y="539614"/>
                </a:cubicBezTo>
                <a:cubicBezTo>
                  <a:pt x="3470821" y="539614"/>
                  <a:pt x="3470821" y="541549"/>
                  <a:pt x="3470821" y="541549"/>
                </a:cubicBezTo>
                <a:cubicBezTo>
                  <a:pt x="3470821" y="543484"/>
                  <a:pt x="3470821" y="545417"/>
                  <a:pt x="3472754" y="547350"/>
                </a:cubicBezTo>
                <a:cubicBezTo>
                  <a:pt x="3484358" y="543484"/>
                  <a:pt x="3495963" y="537681"/>
                  <a:pt x="3505633" y="533812"/>
                </a:cubicBezTo>
                <a:cubicBezTo>
                  <a:pt x="3517237" y="528009"/>
                  <a:pt x="3528842" y="524143"/>
                  <a:pt x="3540447" y="520275"/>
                </a:cubicBezTo>
                <a:cubicBezTo>
                  <a:pt x="3552052" y="516406"/>
                  <a:pt x="3563656" y="514471"/>
                  <a:pt x="3575261" y="510603"/>
                </a:cubicBezTo>
                <a:cubicBezTo>
                  <a:pt x="3575261" y="512538"/>
                  <a:pt x="3575261" y="514471"/>
                  <a:pt x="3577197" y="518339"/>
                </a:cubicBezTo>
                <a:cubicBezTo>
                  <a:pt x="3575261" y="520275"/>
                  <a:pt x="3573328" y="522208"/>
                  <a:pt x="3571393" y="522208"/>
                </a:cubicBezTo>
                <a:cubicBezTo>
                  <a:pt x="3561723" y="526076"/>
                  <a:pt x="3550119" y="529944"/>
                  <a:pt x="3540447" y="533812"/>
                </a:cubicBezTo>
                <a:cubicBezTo>
                  <a:pt x="3536579" y="535745"/>
                  <a:pt x="3534646" y="537681"/>
                  <a:pt x="3532710" y="543484"/>
                </a:cubicBezTo>
                <a:cubicBezTo>
                  <a:pt x="3532710" y="551218"/>
                  <a:pt x="3526909" y="553154"/>
                  <a:pt x="3524974" y="560890"/>
                </a:cubicBezTo>
                <a:cubicBezTo>
                  <a:pt x="3524974" y="562823"/>
                  <a:pt x="3524974" y="564758"/>
                  <a:pt x="3524974" y="566691"/>
                </a:cubicBezTo>
                <a:cubicBezTo>
                  <a:pt x="3519173" y="560890"/>
                  <a:pt x="3511436" y="574428"/>
                  <a:pt x="3505633" y="562823"/>
                </a:cubicBezTo>
                <a:cubicBezTo>
                  <a:pt x="3501764" y="564758"/>
                  <a:pt x="3499831" y="566691"/>
                  <a:pt x="3495963" y="568627"/>
                </a:cubicBezTo>
                <a:cubicBezTo>
                  <a:pt x="3495963" y="568627"/>
                  <a:pt x="3495963" y="570560"/>
                  <a:pt x="3497896" y="574428"/>
                </a:cubicBezTo>
                <a:lnTo>
                  <a:pt x="3492895" y="576352"/>
                </a:lnTo>
                <a:lnTo>
                  <a:pt x="3494030" y="572495"/>
                </a:lnTo>
                <a:lnTo>
                  <a:pt x="3488472" y="578053"/>
                </a:lnTo>
                <a:lnTo>
                  <a:pt x="3472754" y="584100"/>
                </a:lnTo>
                <a:lnTo>
                  <a:pt x="3473721" y="589901"/>
                </a:lnTo>
                <a:lnTo>
                  <a:pt x="3472754" y="589901"/>
                </a:lnTo>
                <a:lnTo>
                  <a:pt x="3473778" y="590243"/>
                </a:lnTo>
                <a:lnTo>
                  <a:pt x="3474689" y="595705"/>
                </a:lnTo>
                <a:cubicBezTo>
                  <a:pt x="3474689" y="601506"/>
                  <a:pt x="3472754" y="605374"/>
                  <a:pt x="3470821" y="609242"/>
                </a:cubicBezTo>
                <a:cubicBezTo>
                  <a:pt x="3468885" y="613111"/>
                  <a:pt x="3466952" y="615046"/>
                  <a:pt x="3463084" y="615046"/>
                </a:cubicBezTo>
                <a:cubicBezTo>
                  <a:pt x="3459214" y="615046"/>
                  <a:pt x="3455348" y="615046"/>
                  <a:pt x="3451479" y="616979"/>
                </a:cubicBezTo>
                <a:cubicBezTo>
                  <a:pt x="3447611" y="618914"/>
                  <a:pt x="3443743" y="618914"/>
                  <a:pt x="3441808" y="622780"/>
                </a:cubicBezTo>
                <a:cubicBezTo>
                  <a:pt x="3439875" y="630519"/>
                  <a:pt x="3434071" y="628584"/>
                  <a:pt x="3428270" y="628584"/>
                </a:cubicBezTo>
                <a:cubicBezTo>
                  <a:pt x="3420533" y="628584"/>
                  <a:pt x="3414730" y="632452"/>
                  <a:pt x="3410862" y="638253"/>
                </a:cubicBezTo>
                <a:cubicBezTo>
                  <a:pt x="3408929" y="638253"/>
                  <a:pt x="3408929" y="640188"/>
                  <a:pt x="3408929" y="644057"/>
                </a:cubicBezTo>
                <a:cubicBezTo>
                  <a:pt x="3414730" y="642121"/>
                  <a:pt x="3418598" y="640188"/>
                  <a:pt x="3422466" y="638253"/>
                </a:cubicBezTo>
                <a:cubicBezTo>
                  <a:pt x="3424402" y="640188"/>
                  <a:pt x="3424402" y="647925"/>
                  <a:pt x="3428270" y="644057"/>
                </a:cubicBezTo>
                <a:cubicBezTo>
                  <a:pt x="3432138" y="638253"/>
                  <a:pt x="3437939" y="638253"/>
                  <a:pt x="3441808" y="636320"/>
                </a:cubicBezTo>
                <a:cubicBezTo>
                  <a:pt x="3451479" y="632452"/>
                  <a:pt x="3461149" y="628584"/>
                  <a:pt x="3470821" y="622780"/>
                </a:cubicBezTo>
                <a:cubicBezTo>
                  <a:pt x="3476622" y="618914"/>
                  <a:pt x="3482423" y="615046"/>
                  <a:pt x="3486294" y="607309"/>
                </a:cubicBezTo>
                <a:cubicBezTo>
                  <a:pt x="3484358" y="605374"/>
                  <a:pt x="3482423" y="605374"/>
                  <a:pt x="3482423" y="603441"/>
                </a:cubicBezTo>
                <a:cubicBezTo>
                  <a:pt x="3480490" y="601506"/>
                  <a:pt x="3480490" y="597637"/>
                  <a:pt x="3480490" y="595705"/>
                </a:cubicBezTo>
                <a:cubicBezTo>
                  <a:pt x="3480490" y="595705"/>
                  <a:pt x="3484358" y="593769"/>
                  <a:pt x="3486294" y="593769"/>
                </a:cubicBezTo>
                <a:cubicBezTo>
                  <a:pt x="3495963" y="593769"/>
                  <a:pt x="3497896" y="591836"/>
                  <a:pt x="3497896" y="580232"/>
                </a:cubicBezTo>
                <a:cubicBezTo>
                  <a:pt x="3501764" y="576363"/>
                  <a:pt x="3505633" y="574428"/>
                  <a:pt x="3509501" y="570560"/>
                </a:cubicBezTo>
                <a:cubicBezTo>
                  <a:pt x="3515304" y="572495"/>
                  <a:pt x="3519173" y="574428"/>
                  <a:pt x="3523041" y="576363"/>
                </a:cubicBezTo>
                <a:cubicBezTo>
                  <a:pt x="3524974" y="587968"/>
                  <a:pt x="3509501" y="584100"/>
                  <a:pt x="3509501" y="597637"/>
                </a:cubicBezTo>
                <a:cubicBezTo>
                  <a:pt x="3517237" y="591836"/>
                  <a:pt x="3524974" y="587968"/>
                  <a:pt x="3532710" y="582164"/>
                </a:cubicBezTo>
                <a:cubicBezTo>
                  <a:pt x="3538514" y="568627"/>
                  <a:pt x="3548183" y="558955"/>
                  <a:pt x="3557855" y="560890"/>
                </a:cubicBezTo>
                <a:cubicBezTo>
                  <a:pt x="3557855" y="553154"/>
                  <a:pt x="3557855" y="553154"/>
                  <a:pt x="3559788" y="549285"/>
                </a:cubicBezTo>
                <a:cubicBezTo>
                  <a:pt x="3563656" y="555087"/>
                  <a:pt x="3567525" y="558955"/>
                  <a:pt x="3573328" y="566691"/>
                </a:cubicBezTo>
                <a:cubicBezTo>
                  <a:pt x="3569458" y="570560"/>
                  <a:pt x="3563656" y="572495"/>
                  <a:pt x="3559788" y="576363"/>
                </a:cubicBezTo>
                <a:cubicBezTo>
                  <a:pt x="3561723" y="578296"/>
                  <a:pt x="3561723" y="578296"/>
                  <a:pt x="3561723" y="580232"/>
                </a:cubicBezTo>
                <a:cubicBezTo>
                  <a:pt x="3573328" y="582164"/>
                  <a:pt x="3582998" y="578296"/>
                  <a:pt x="3592667" y="570560"/>
                </a:cubicBezTo>
                <a:cubicBezTo>
                  <a:pt x="3592667" y="570560"/>
                  <a:pt x="3592667" y="570560"/>
                  <a:pt x="3592667" y="568627"/>
                </a:cubicBezTo>
                <a:cubicBezTo>
                  <a:pt x="3590734" y="566691"/>
                  <a:pt x="3586866" y="566691"/>
                  <a:pt x="3582998" y="564758"/>
                </a:cubicBezTo>
                <a:cubicBezTo>
                  <a:pt x="3586866" y="558955"/>
                  <a:pt x="3586866" y="558955"/>
                  <a:pt x="3606207" y="558955"/>
                </a:cubicBezTo>
                <a:cubicBezTo>
                  <a:pt x="3608140" y="562823"/>
                  <a:pt x="3610075" y="568627"/>
                  <a:pt x="3612008" y="572495"/>
                </a:cubicBezTo>
                <a:cubicBezTo>
                  <a:pt x="3612008" y="574428"/>
                  <a:pt x="3610075" y="574428"/>
                  <a:pt x="3608140" y="576363"/>
                </a:cubicBezTo>
                <a:cubicBezTo>
                  <a:pt x="3606207" y="572495"/>
                  <a:pt x="3604272" y="568627"/>
                  <a:pt x="3602339" y="564758"/>
                </a:cubicBezTo>
                <a:cubicBezTo>
                  <a:pt x="3600406" y="566691"/>
                  <a:pt x="3598471" y="570560"/>
                  <a:pt x="3598471" y="570560"/>
                </a:cubicBezTo>
                <a:cubicBezTo>
                  <a:pt x="3602339" y="578296"/>
                  <a:pt x="3596535" y="578296"/>
                  <a:pt x="3592667" y="580232"/>
                </a:cubicBezTo>
                <a:cubicBezTo>
                  <a:pt x="3588799" y="582164"/>
                  <a:pt x="3581065" y="580232"/>
                  <a:pt x="3577197" y="587968"/>
                </a:cubicBezTo>
                <a:cubicBezTo>
                  <a:pt x="3577197" y="587968"/>
                  <a:pt x="3575261" y="587968"/>
                  <a:pt x="3575261" y="587968"/>
                </a:cubicBezTo>
                <a:cubicBezTo>
                  <a:pt x="3571393" y="584100"/>
                  <a:pt x="3567525" y="587968"/>
                  <a:pt x="3565589" y="589901"/>
                </a:cubicBezTo>
                <a:cubicBezTo>
                  <a:pt x="3557855" y="595705"/>
                  <a:pt x="3548183" y="599573"/>
                  <a:pt x="3540447" y="605374"/>
                </a:cubicBezTo>
                <a:cubicBezTo>
                  <a:pt x="3538514" y="601506"/>
                  <a:pt x="3536579" y="597637"/>
                  <a:pt x="3534646" y="595705"/>
                </a:cubicBezTo>
                <a:cubicBezTo>
                  <a:pt x="3528842" y="597637"/>
                  <a:pt x="3530777" y="605374"/>
                  <a:pt x="3528842" y="609242"/>
                </a:cubicBezTo>
                <a:cubicBezTo>
                  <a:pt x="3524974" y="611178"/>
                  <a:pt x="3519173" y="611178"/>
                  <a:pt x="3513372" y="613111"/>
                </a:cubicBezTo>
                <a:cubicBezTo>
                  <a:pt x="3513372" y="609242"/>
                  <a:pt x="3513372" y="609242"/>
                  <a:pt x="3515304" y="605374"/>
                </a:cubicBezTo>
                <a:cubicBezTo>
                  <a:pt x="3513372" y="605374"/>
                  <a:pt x="3511436" y="605374"/>
                  <a:pt x="3511436" y="605374"/>
                </a:cubicBezTo>
                <a:cubicBezTo>
                  <a:pt x="3509501" y="616979"/>
                  <a:pt x="3497896" y="615046"/>
                  <a:pt x="3492095" y="622780"/>
                </a:cubicBezTo>
                <a:cubicBezTo>
                  <a:pt x="3490162" y="624715"/>
                  <a:pt x="3488227" y="626651"/>
                  <a:pt x="3486294" y="630519"/>
                </a:cubicBezTo>
                <a:cubicBezTo>
                  <a:pt x="3488227" y="630519"/>
                  <a:pt x="3490162" y="630519"/>
                  <a:pt x="3492095" y="630519"/>
                </a:cubicBezTo>
                <a:cubicBezTo>
                  <a:pt x="3505633" y="624715"/>
                  <a:pt x="3519173" y="618914"/>
                  <a:pt x="3532710" y="613111"/>
                </a:cubicBezTo>
                <a:cubicBezTo>
                  <a:pt x="3536579" y="611178"/>
                  <a:pt x="3538514" y="611178"/>
                  <a:pt x="3542382" y="611178"/>
                </a:cubicBezTo>
                <a:cubicBezTo>
                  <a:pt x="3552052" y="607309"/>
                  <a:pt x="3563656" y="603441"/>
                  <a:pt x="3573328" y="599573"/>
                </a:cubicBezTo>
                <a:cubicBezTo>
                  <a:pt x="3575261" y="597637"/>
                  <a:pt x="3577197" y="597637"/>
                  <a:pt x="3579129" y="597637"/>
                </a:cubicBezTo>
                <a:cubicBezTo>
                  <a:pt x="3581065" y="601506"/>
                  <a:pt x="3582998" y="603441"/>
                  <a:pt x="3584931" y="605374"/>
                </a:cubicBezTo>
                <a:cubicBezTo>
                  <a:pt x="3584931" y="611178"/>
                  <a:pt x="3579129" y="611178"/>
                  <a:pt x="3569458" y="605374"/>
                </a:cubicBezTo>
                <a:cubicBezTo>
                  <a:pt x="3569458" y="616979"/>
                  <a:pt x="3567525" y="624715"/>
                  <a:pt x="3555920" y="624715"/>
                </a:cubicBezTo>
                <a:cubicBezTo>
                  <a:pt x="3557855" y="636320"/>
                  <a:pt x="3553987" y="642121"/>
                  <a:pt x="3546248" y="645990"/>
                </a:cubicBezTo>
                <a:lnTo>
                  <a:pt x="3539475" y="647925"/>
                </a:lnTo>
                <a:lnTo>
                  <a:pt x="3524974" y="647925"/>
                </a:lnTo>
                <a:cubicBezTo>
                  <a:pt x="3523041" y="638253"/>
                  <a:pt x="3523041" y="638253"/>
                  <a:pt x="3517237" y="640188"/>
                </a:cubicBezTo>
                <a:cubicBezTo>
                  <a:pt x="3513372" y="642121"/>
                  <a:pt x="3507568" y="644057"/>
                  <a:pt x="3503700" y="645990"/>
                </a:cubicBezTo>
                <a:cubicBezTo>
                  <a:pt x="3503700" y="645990"/>
                  <a:pt x="3503700" y="647925"/>
                  <a:pt x="3503700" y="647925"/>
                </a:cubicBezTo>
                <a:lnTo>
                  <a:pt x="3526574" y="654461"/>
                </a:lnTo>
                <a:lnTo>
                  <a:pt x="3524974" y="655661"/>
                </a:lnTo>
                <a:cubicBezTo>
                  <a:pt x="3528842" y="657594"/>
                  <a:pt x="3530777" y="659530"/>
                  <a:pt x="3532710" y="663398"/>
                </a:cubicBezTo>
                <a:cubicBezTo>
                  <a:pt x="3534646" y="661463"/>
                  <a:pt x="3534646" y="661463"/>
                  <a:pt x="3536579" y="661463"/>
                </a:cubicBezTo>
                <a:cubicBezTo>
                  <a:pt x="3536579" y="663398"/>
                  <a:pt x="3534646" y="665331"/>
                  <a:pt x="3534646" y="665331"/>
                </a:cubicBezTo>
                <a:cubicBezTo>
                  <a:pt x="3536579" y="667266"/>
                  <a:pt x="3536579" y="669199"/>
                  <a:pt x="3538514" y="671134"/>
                </a:cubicBezTo>
                <a:cubicBezTo>
                  <a:pt x="3658427" y="605374"/>
                  <a:pt x="3786078" y="551218"/>
                  <a:pt x="3917598" y="508670"/>
                </a:cubicBezTo>
                <a:cubicBezTo>
                  <a:pt x="3946609" y="500933"/>
                  <a:pt x="3971751" y="514471"/>
                  <a:pt x="3985291" y="537681"/>
                </a:cubicBezTo>
                <a:cubicBezTo>
                  <a:pt x="3985291" y="537681"/>
                  <a:pt x="3987224" y="537681"/>
                  <a:pt x="3987224" y="537681"/>
                </a:cubicBezTo>
                <a:cubicBezTo>
                  <a:pt x="3987224" y="537681"/>
                  <a:pt x="3987224" y="539614"/>
                  <a:pt x="3987224" y="539614"/>
                </a:cubicBezTo>
                <a:cubicBezTo>
                  <a:pt x="3987224" y="541549"/>
                  <a:pt x="3989160" y="543484"/>
                  <a:pt x="3989160" y="545417"/>
                </a:cubicBezTo>
                <a:cubicBezTo>
                  <a:pt x="3991093" y="543484"/>
                  <a:pt x="3993028" y="543484"/>
                  <a:pt x="3994961" y="541549"/>
                </a:cubicBezTo>
                <a:cubicBezTo>
                  <a:pt x="3996896" y="539614"/>
                  <a:pt x="3996896" y="539614"/>
                  <a:pt x="3998829" y="539614"/>
                </a:cubicBezTo>
                <a:cubicBezTo>
                  <a:pt x="3998829" y="539614"/>
                  <a:pt x="4000764" y="537681"/>
                  <a:pt x="4002697" y="537681"/>
                </a:cubicBezTo>
                <a:cubicBezTo>
                  <a:pt x="3998829" y="535745"/>
                  <a:pt x="3996896" y="535745"/>
                  <a:pt x="3994961" y="535745"/>
                </a:cubicBezTo>
                <a:cubicBezTo>
                  <a:pt x="4000764" y="529944"/>
                  <a:pt x="4008501" y="526076"/>
                  <a:pt x="4016237" y="529944"/>
                </a:cubicBezTo>
                <a:cubicBezTo>
                  <a:pt x="4018170" y="529944"/>
                  <a:pt x="4020103" y="528009"/>
                  <a:pt x="4022039" y="528009"/>
                </a:cubicBezTo>
                <a:cubicBezTo>
                  <a:pt x="4025907" y="526076"/>
                  <a:pt x="4027842" y="524143"/>
                  <a:pt x="4031711" y="522208"/>
                </a:cubicBezTo>
                <a:cubicBezTo>
                  <a:pt x="4029775" y="533812"/>
                  <a:pt x="4023974" y="535745"/>
                  <a:pt x="4018170" y="539614"/>
                </a:cubicBezTo>
                <a:cubicBezTo>
                  <a:pt x="4020103" y="539614"/>
                  <a:pt x="4023974" y="541549"/>
                  <a:pt x="4025907" y="541549"/>
                </a:cubicBezTo>
                <a:lnTo>
                  <a:pt x="4027840" y="551216"/>
                </a:lnTo>
                <a:lnTo>
                  <a:pt x="4025423" y="548559"/>
                </a:lnTo>
                <a:cubicBezTo>
                  <a:pt x="4024456" y="548801"/>
                  <a:pt x="4023005" y="550252"/>
                  <a:pt x="4020103" y="553154"/>
                </a:cubicBezTo>
                <a:cubicBezTo>
                  <a:pt x="4022039" y="553154"/>
                  <a:pt x="4022039" y="553154"/>
                  <a:pt x="4022039" y="553154"/>
                </a:cubicBezTo>
                <a:lnTo>
                  <a:pt x="4027841" y="551219"/>
                </a:lnTo>
                <a:lnTo>
                  <a:pt x="4028163" y="552832"/>
                </a:lnTo>
                <a:lnTo>
                  <a:pt x="4027842" y="553154"/>
                </a:lnTo>
                <a:lnTo>
                  <a:pt x="4028324" y="553636"/>
                </a:lnTo>
                <a:lnTo>
                  <a:pt x="4029775" y="560890"/>
                </a:lnTo>
                <a:cubicBezTo>
                  <a:pt x="4037512" y="555087"/>
                  <a:pt x="4043313" y="549285"/>
                  <a:pt x="4051052" y="545417"/>
                </a:cubicBezTo>
                <a:cubicBezTo>
                  <a:pt x="4051052" y="545417"/>
                  <a:pt x="4052985" y="543484"/>
                  <a:pt x="4052985" y="543484"/>
                </a:cubicBezTo>
                <a:cubicBezTo>
                  <a:pt x="4060721" y="537681"/>
                  <a:pt x="4068458" y="529944"/>
                  <a:pt x="4076194" y="524143"/>
                </a:cubicBezTo>
                <a:cubicBezTo>
                  <a:pt x="4076194" y="524143"/>
                  <a:pt x="4078127" y="522208"/>
                  <a:pt x="4078127" y="520275"/>
                </a:cubicBezTo>
                <a:cubicBezTo>
                  <a:pt x="4078127" y="522208"/>
                  <a:pt x="4080063" y="522208"/>
                  <a:pt x="4080063" y="522208"/>
                </a:cubicBezTo>
                <a:cubicBezTo>
                  <a:pt x="4083931" y="520275"/>
                  <a:pt x="4085864" y="520275"/>
                  <a:pt x="4085864" y="514471"/>
                </a:cubicBezTo>
                <a:cubicBezTo>
                  <a:pt x="4085864" y="512538"/>
                  <a:pt x="4091667" y="508670"/>
                  <a:pt x="4095536" y="504802"/>
                </a:cubicBezTo>
                <a:cubicBezTo>
                  <a:pt x="4097468" y="502866"/>
                  <a:pt x="4097468" y="500933"/>
                  <a:pt x="4099404" y="498998"/>
                </a:cubicBezTo>
                <a:cubicBezTo>
                  <a:pt x="4099404" y="498998"/>
                  <a:pt x="4097468" y="497065"/>
                  <a:pt x="4095536" y="497065"/>
                </a:cubicBezTo>
                <a:cubicBezTo>
                  <a:pt x="4087799" y="500933"/>
                  <a:pt x="4080063" y="504802"/>
                  <a:pt x="4072326" y="510603"/>
                </a:cubicBezTo>
                <a:cubicBezTo>
                  <a:pt x="4070391" y="514471"/>
                  <a:pt x="4066522" y="516406"/>
                  <a:pt x="4062654" y="520275"/>
                </a:cubicBezTo>
                <a:cubicBezTo>
                  <a:pt x="4062654" y="520275"/>
                  <a:pt x="4064589" y="522208"/>
                  <a:pt x="4066522" y="524143"/>
                </a:cubicBezTo>
                <a:cubicBezTo>
                  <a:pt x="4064589" y="529944"/>
                  <a:pt x="4060721" y="537681"/>
                  <a:pt x="4052985" y="537681"/>
                </a:cubicBezTo>
                <a:cubicBezTo>
                  <a:pt x="4047181" y="537681"/>
                  <a:pt x="4043313" y="541549"/>
                  <a:pt x="4039445" y="545417"/>
                </a:cubicBezTo>
                <a:cubicBezTo>
                  <a:pt x="4037512" y="545417"/>
                  <a:pt x="4037512" y="543484"/>
                  <a:pt x="4037512" y="543484"/>
                </a:cubicBezTo>
                <a:cubicBezTo>
                  <a:pt x="4043313" y="539614"/>
                  <a:pt x="4049116" y="535745"/>
                  <a:pt x="4054920" y="529944"/>
                </a:cubicBezTo>
                <a:cubicBezTo>
                  <a:pt x="4049116" y="528009"/>
                  <a:pt x="4045248" y="526076"/>
                  <a:pt x="4037512" y="522208"/>
                </a:cubicBezTo>
                <a:cubicBezTo>
                  <a:pt x="4041380" y="520275"/>
                  <a:pt x="4045248" y="518339"/>
                  <a:pt x="4049116" y="516406"/>
                </a:cubicBezTo>
                <a:cubicBezTo>
                  <a:pt x="4051052" y="516406"/>
                  <a:pt x="4051052" y="514471"/>
                  <a:pt x="4052985" y="514471"/>
                </a:cubicBezTo>
                <a:cubicBezTo>
                  <a:pt x="4062654" y="510603"/>
                  <a:pt x="4064589" y="510603"/>
                  <a:pt x="4056853" y="500933"/>
                </a:cubicBezTo>
                <a:cubicBezTo>
                  <a:pt x="4064589" y="495130"/>
                  <a:pt x="4072326" y="489329"/>
                  <a:pt x="4081995" y="483525"/>
                </a:cubicBezTo>
                <a:cubicBezTo>
                  <a:pt x="4089732" y="479657"/>
                  <a:pt x="4093600" y="468052"/>
                  <a:pt x="4105205" y="471920"/>
                </a:cubicBezTo>
                <a:cubicBezTo>
                  <a:pt x="4109073" y="468052"/>
                  <a:pt x="4114877" y="462251"/>
                  <a:pt x="4118745" y="458383"/>
                </a:cubicBezTo>
                <a:cubicBezTo>
                  <a:pt x="4124546" y="454514"/>
                  <a:pt x="4128415" y="448711"/>
                  <a:pt x="4134216" y="442910"/>
                </a:cubicBezTo>
                <a:cubicBezTo>
                  <a:pt x="4140019" y="439041"/>
                  <a:pt x="4143888" y="437108"/>
                  <a:pt x="4149689" y="433240"/>
                </a:cubicBezTo>
                <a:cubicBezTo>
                  <a:pt x="4149689" y="433240"/>
                  <a:pt x="4151624" y="435173"/>
                  <a:pt x="4151624" y="435173"/>
                </a:cubicBezTo>
                <a:cubicBezTo>
                  <a:pt x="4149689" y="439041"/>
                  <a:pt x="4149689" y="444845"/>
                  <a:pt x="4147756" y="448711"/>
                </a:cubicBezTo>
                <a:cubicBezTo>
                  <a:pt x="4155492" y="442910"/>
                  <a:pt x="4163229" y="440974"/>
                  <a:pt x="4167097" y="433240"/>
                </a:cubicBezTo>
                <a:cubicBezTo>
                  <a:pt x="4169030" y="425504"/>
                  <a:pt x="4174834" y="419700"/>
                  <a:pt x="4178702" y="411964"/>
                </a:cubicBezTo>
                <a:cubicBezTo>
                  <a:pt x="4186438" y="425504"/>
                  <a:pt x="4190307" y="427437"/>
                  <a:pt x="4201911" y="417767"/>
                </a:cubicBezTo>
                <a:cubicBezTo>
                  <a:pt x="4205780" y="415832"/>
                  <a:pt x="4209648" y="411964"/>
                  <a:pt x="4213514" y="410031"/>
                </a:cubicBezTo>
                <a:cubicBezTo>
                  <a:pt x="4219317" y="415832"/>
                  <a:pt x="4223186" y="419700"/>
                  <a:pt x="4227054" y="425504"/>
                </a:cubicBezTo>
                <a:cubicBezTo>
                  <a:pt x="4230922" y="419700"/>
                  <a:pt x="4234790" y="413899"/>
                  <a:pt x="4238659" y="408095"/>
                </a:cubicBezTo>
                <a:cubicBezTo>
                  <a:pt x="4238659" y="406162"/>
                  <a:pt x="4238659" y="404227"/>
                  <a:pt x="4236723" y="402294"/>
                </a:cubicBezTo>
                <a:cubicBezTo>
                  <a:pt x="4236723" y="402294"/>
                  <a:pt x="4238659" y="402294"/>
                  <a:pt x="4238659" y="402294"/>
                </a:cubicBezTo>
                <a:cubicBezTo>
                  <a:pt x="4254132" y="390689"/>
                  <a:pt x="4269605" y="381018"/>
                  <a:pt x="4285078" y="369415"/>
                </a:cubicBezTo>
                <a:cubicBezTo>
                  <a:pt x="4285078" y="369415"/>
                  <a:pt x="4287011" y="367480"/>
                  <a:pt x="4287011" y="367480"/>
                </a:cubicBezTo>
                <a:cubicBezTo>
                  <a:pt x="4290879" y="363612"/>
                  <a:pt x="4292814" y="357810"/>
                  <a:pt x="4296682" y="357810"/>
                </a:cubicBezTo>
                <a:cubicBezTo>
                  <a:pt x="4302484" y="357810"/>
                  <a:pt x="4310220" y="359743"/>
                  <a:pt x="4316024" y="361676"/>
                </a:cubicBezTo>
                <a:cubicBezTo>
                  <a:pt x="4316024" y="357810"/>
                  <a:pt x="4314088" y="353940"/>
                  <a:pt x="4314088" y="348139"/>
                </a:cubicBezTo>
                <a:cubicBezTo>
                  <a:pt x="4323758" y="340402"/>
                  <a:pt x="4335365" y="334601"/>
                  <a:pt x="4346967" y="326864"/>
                </a:cubicBezTo>
                <a:cubicBezTo>
                  <a:pt x="4348903" y="326864"/>
                  <a:pt x="4348903" y="328797"/>
                  <a:pt x="4348903" y="328797"/>
                </a:cubicBezTo>
                <a:cubicBezTo>
                  <a:pt x="4346967" y="332665"/>
                  <a:pt x="4343099" y="334601"/>
                  <a:pt x="4341166" y="338469"/>
                </a:cubicBezTo>
                <a:cubicBezTo>
                  <a:pt x="4343099" y="338469"/>
                  <a:pt x="4343099" y="340402"/>
                  <a:pt x="4343099" y="340402"/>
                </a:cubicBezTo>
                <a:cubicBezTo>
                  <a:pt x="4352771" y="334601"/>
                  <a:pt x="4362440" y="328797"/>
                  <a:pt x="4372112" y="322996"/>
                </a:cubicBezTo>
                <a:cubicBezTo>
                  <a:pt x="4372112" y="322996"/>
                  <a:pt x="4370177" y="319128"/>
                  <a:pt x="4370177" y="317192"/>
                </a:cubicBezTo>
                <a:cubicBezTo>
                  <a:pt x="4370177" y="315260"/>
                  <a:pt x="4372112" y="315260"/>
                  <a:pt x="4372112" y="315260"/>
                </a:cubicBezTo>
                <a:cubicBezTo>
                  <a:pt x="4372112" y="317192"/>
                  <a:pt x="4374045" y="321061"/>
                  <a:pt x="4375980" y="322996"/>
                </a:cubicBezTo>
                <a:cubicBezTo>
                  <a:pt x="4379849" y="317192"/>
                  <a:pt x="4389518" y="315260"/>
                  <a:pt x="4391451" y="307523"/>
                </a:cubicBezTo>
                <a:cubicBezTo>
                  <a:pt x="4391451" y="307523"/>
                  <a:pt x="4395322" y="305588"/>
                  <a:pt x="4395322" y="305588"/>
                </a:cubicBezTo>
                <a:cubicBezTo>
                  <a:pt x="4403058" y="307523"/>
                  <a:pt x="4406924" y="303655"/>
                  <a:pt x="4412728" y="299786"/>
                </a:cubicBezTo>
                <a:cubicBezTo>
                  <a:pt x="4418531" y="297851"/>
                  <a:pt x="4422399" y="295918"/>
                  <a:pt x="4426265" y="288182"/>
                </a:cubicBezTo>
                <a:cubicBezTo>
                  <a:pt x="4430134" y="280445"/>
                  <a:pt x="4439805" y="276577"/>
                  <a:pt x="4447542" y="274642"/>
                </a:cubicBezTo>
                <a:cubicBezTo>
                  <a:pt x="4445607" y="278510"/>
                  <a:pt x="4443674" y="280445"/>
                  <a:pt x="4439805" y="284313"/>
                </a:cubicBezTo>
                <a:cubicBezTo>
                  <a:pt x="4443674" y="284313"/>
                  <a:pt x="4449475" y="282378"/>
                  <a:pt x="4453343" y="282378"/>
                </a:cubicBezTo>
                <a:cubicBezTo>
                  <a:pt x="4453343" y="286246"/>
                  <a:pt x="4455278" y="288182"/>
                  <a:pt x="4455278" y="290115"/>
                </a:cubicBezTo>
                <a:cubicBezTo>
                  <a:pt x="4463015" y="286246"/>
                  <a:pt x="4470751" y="282378"/>
                  <a:pt x="4478488" y="278510"/>
                </a:cubicBezTo>
                <a:cubicBezTo>
                  <a:pt x="4480421" y="280445"/>
                  <a:pt x="4480421" y="282378"/>
                  <a:pt x="4482356" y="284313"/>
                </a:cubicBezTo>
                <a:cubicBezTo>
                  <a:pt x="4482356" y="282378"/>
                  <a:pt x="4484289" y="282378"/>
                  <a:pt x="4484289" y="282378"/>
                </a:cubicBezTo>
                <a:cubicBezTo>
                  <a:pt x="4486225" y="268840"/>
                  <a:pt x="4499762" y="268840"/>
                  <a:pt x="4507499" y="264972"/>
                </a:cubicBezTo>
                <a:cubicBezTo>
                  <a:pt x="4517168" y="261104"/>
                  <a:pt x="4526840" y="257236"/>
                  <a:pt x="4534577" y="251434"/>
                </a:cubicBezTo>
                <a:cubicBezTo>
                  <a:pt x="4538445" y="247566"/>
                  <a:pt x="4538445" y="245631"/>
                  <a:pt x="4534577" y="241763"/>
                </a:cubicBezTo>
                <a:cubicBezTo>
                  <a:pt x="4532641" y="239830"/>
                  <a:pt x="4530708" y="235961"/>
                  <a:pt x="4536509" y="234026"/>
                </a:cubicBezTo>
                <a:cubicBezTo>
                  <a:pt x="4540378" y="234026"/>
                  <a:pt x="4542313" y="228225"/>
                  <a:pt x="4546181" y="226290"/>
                </a:cubicBezTo>
                <a:cubicBezTo>
                  <a:pt x="4559719" y="218553"/>
                  <a:pt x="4573259" y="212752"/>
                  <a:pt x="4586797" y="208884"/>
                </a:cubicBezTo>
                <a:cubicBezTo>
                  <a:pt x="4580993" y="210817"/>
                  <a:pt x="4577127" y="214685"/>
                  <a:pt x="4573259" y="216620"/>
                </a:cubicBezTo>
                <a:cubicBezTo>
                  <a:pt x="4567455" y="218553"/>
                  <a:pt x="4571324" y="226290"/>
                  <a:pt x="4565523" y="228225"/>
                </a:cubicBezTo>
                <a:lnTo>
                  <a:pt x="4561177" y="231122"/>
                </a:lnTo>
                <a:lnTo>
                  <a:pt x="4553918" y="234026"/>
                </a:lnTo>
                <a:lnTo>
                  <a:pt x="4555078" y="235188"/>
                </a:lnTo>
                <a:lnTo>
                  <a:pt x="4553918" y="235961"/>
                </a:lnTo>
                <a:lnTo>
                  <a:pt x="4555372" y="235482"/>
                </a:lnTo>
                <a:lnTo>
                  <a:pt x="4555851" y="235961"/>
                </a:lnTo>
                <a:lnTo>
                  <a:pt x="4557367" y="234824"/>
                </a:lnTo>
                <a:lnTo>
                  <a:pt x="4575918" y="228708"/>
                </a:lnTo>
                <a:cubicBezTo>
                  <a:pt x="4582929" y="225323"/>
                  <a:pt x="4589698" y="221455"/>
                  <a:pt x="4596469" y="218553"/>
                </a:cubicBezTo>
                <a:cubicBezTo>
                  <a:pt x="4611939" y="210817"/>
                  <a:pt x="4625479" y="201147"/>
                  <a:pt x="4640952" y="197279"/>
                </a:cubicBezTo>
                <a:cubicBezTo>
                  <a:pt x="4656425" y="193411"/>
                  <a:pt x="4668028" y="179871"/>
                  <a:pt x="4685436" y="181806"/>
                </a:cubicBezTo>
                <a:cubicBezTo>
                  <a:pt x="4675767" y="187607"/>
                  <a:pt x="4666095" y="193411"/>
                  <a:pt x="4658358" y="197279"/>
                </a:cubicBezTo>
                <a:cubicBezTo>
                  <a:pt x="4648686" y="203080"/>
                  <a:pt x="4637084" y="208884"/>
                  <a:pt x="4629348" y="220488"/>
                </a:cubicBezTo>
                <a:cubicBezTo>
                  <a:pt x="4642885" y="214685"/>
                  <a:pt x="4656425" y="206948"/>
                  <a:pt x="4669963" y="201147"/>
                </a:cubicBezTo>
                <a:cubicBezTo>
                  <a:pt x="4671896" y="203080"/>
                  <a:pt x="4671896" y="205015"/>
                  <a:pt x="4673831" y="206948"/>
                </a:cubicBezTo>
                <a:cubicBezTo>
                  <a:pt x="4677700" y="206948"/>
                  <a:pt x="4683503" y="205015"/>
                  <a:pt x="4689304" y="203080"/>
                </a:cubicBezTo>
                <a:cubicBezTo>
                  <a:pt x="4689304" y="205015"/>
                  <a:pt x="4691237" y="208884"/>
                  <a:pt x="4691237" y="210817"/>
                </a:cubicBezTo>
                <a:cubicBezTo>
                  <a:pt x="4706710" y="208884"/>
                  <a:pt x="4720250" y="205015"/>
                  <a:pt x="4733788" y="197279"/>
                </a:cubicBezTo>
                <a:cubicBezTo>
                  <a:pt x="4731855" y="208884"/>
                  <a:pt x="4722183" y="208884"/>
                  <a:pt x="4712514" y="214685"/>
                </a:cubicBezTo>
                <a:cubicBezTo>
                  <a:pt x="4722183" y="220488"/>
                  <a:pt x="4729920" y="224357"/>
                  <a:pt x="4739592" y="228225"/>
                </a:cubicBezTo>
                <a:cubicBezTo>
                  <a:pt x="4737656" y="234026"/>
                  <a:pt x="4727987" y="226290"/>
                  <a:pt x="4726052" y="232093"/>
                </a:cubicBezTo>
                <a:cubicBezTo>
                  <a:pt x="4733788" y="241763"/>
                  <a:pt x="4739592" y="241763"/>
                  <a:pt x="4749261" y="235961"/>
                </a:cubicBezTo>
                <a:cubicBezTo>
                  <a:pt x="4755062" y="230158"/>
                  <a:pt x="4762801" y="226290"/>
                  <a:pt x="4770538" y="220488"/>
                </a:cubicBezTo>
                <a:cubicBezTo>
                  <a:pt x="4772471" y="234026"/>
                  <a:pt x="4758931" y="234026"/>
                  <a:pt x="4756998" y="243698"/>
                </a:cubicBezTo>
                <a:cubicBezTo>
                  <a:pt x="4762801" y="239830"/>
                  <a:pt x="4766669" y="235961"/>
                  <a:pt x="4774404" y="232093"/>
                </a:cubicBezTo>
                <a:cubicBezTo>
                  <a:pt x="4768602" y="237894"/>
                  <a:pt x="4766669" y="241763"/>
                  <a:pt x="4762801" y="245631"/>
                </a:cubicBezTo>
                <a:cubicBezTo>
                  <a:pt x="4766669" y="247566"/>
                  <a:pt x="4770538" y="247566"/>
                  <a:pt x="4774404" y="249499"/>
                </a:cubicBezTo>
                <a:cubicBezTo>
                  <a:pt x="4772471" y="261104"/>
                  <a:pt x="4751196" y="253367"/>
                  <a:pt x="4755062" y="268840"/>
                </a:cubicBezTo>
                <a:cubicBezTo>
                  <a:pt x="4760866" y="266906"/>
                  <a:pt x="4761350" y="269324"/>
                  <a:pt x="4761350" y="272225"/>
                </a:cubicBezTo>
                <a:lnTo>
                  <a:pt x="4764033" y="277208"/>
                </a:lnTo>
                <a:lnTo>
                  <a:pt x="4745393" y="293983"/>
                </a:lnTo>
                <a:cubicBezTo>
                  <a:pt x="4745393" y="293983"/>
                  <a:pt x="4745393" y="295918"/>
                  <a:pt x="4745393" y="295918"/>
                </a:cubicBezTo>
                <a:cubicBezTo>
                  <a:pt x="4749261" y="295918"/>
                  <a:pt x="4753129" y="295918"/>
                  <a:pt x="4756998" y="293983"/>
                </a:cubicBezTo>
                <a:cubicBezTo>
                  <a:pt x="4758931" y="297851"/>
                  <a:pt x="4760866" y="299786"/>
                  <a:pt x="4762801" y="301719"/>
                </a:cubicBezTo>
                <a:cubicBezTo>
                  <a:pt x="4766669" y="295918"/>
                  <a:pt x="4768602" y="290115"/>
                  <a:pt x="4772471" y="284313"/>
                </a:cubicBezTo>
                <a:cubicBezTo>
                  <a:pt x="4770538" y="286246"/>
                  <a:pt x="4766669" y="288182"/>
                  <a:pt x="4762801" y="290115"/>
                </a:cubicBezTo>
                <a:cubicBezTo>
                  <a:pt x="4762801" y="290115"/>
                  <a:pt x="4760866" y="288182"/>
                  <a:pt x="4760866" y="288182"/>
                </a:cubicBezTo>
                <a:cubicBezTo>
                  <a:pt x="4762801" y="284313"/>
                  <a:pt x="4764734" y="282378"/>
                  <a:pt x="4766669" y="278510"/>
                </a:cubicBezTo>
                <a:lnTo>
                  <a:pt x="4765701" y="277543"/>
                </a:lnTo>
                <a:lnTo>
                  <a:pt x="4784075" y="259171"/>
                </a:lnTo>
                <a:cubicBezTo>
                  <a:pt x="4791812" y="263039"/>
                  <a:pt x="4786011" y="268840"/>
                  <a:pt x="4787944" y="272709"/>
                </a:cubicBezTo>
                <a:cubicBezTo>
                  <a:pt x="4789879" y="280445"/>
                  <a:pt x="4778272" y="276577"/>
                  <a:pt x="4780207" y="284313"/>
                </a:cubicBezTo>
                <a:cubicBezTo>
                  <a:pt x="4787944" y="292050"/>
                  <a:pt x="4791812" y="280445"/>
                  <a:pt x="4799548" y="282378"/>
                </a:cubicBezTo>
                <a:cubicBezTo>
                  <a:pt x="4799548" y="286246"/>
                  <a:pt x="4799548" y="288182"/>
                  <a:pt x="4797613" y="292050"/>
                </a:cubicBezTo>
                <a:cubicBezTo>
                  <a:pt x="4799548" y="293983"/>
                  <a:pt x="4803417" y="293983"/>
                  <a:pt x="4805350" y="293983"/>
                </a:cubicBezTo>
                <a:cubicBezTo>
                  <a:pt x="4799548" y="301719"/>
                  <a:pt x="4791812" y="309456"/>
                  <a:pt x="4787944" y="315260"/>
                </a:cubicBezTo>
                <a:lnTo>
                  <a:pt x="4787420" y="320497"/>
                </a:lnTo>
                <a:lnTo>
                  <a:pt x="4786011" y="321061"/>
                </a:lnTo>
                <a:lnTo>
                  <a:pt x="4787138" y="323317"/>
                </a:lnTo>
                <a:lnTo>
                  <a:pt x="4786011" y="334601"/>
                </a:lnTo>
                <a:cubicBezTo>
                  <a:pt x="4795680" y="326864"/>
                  <a:pt x="4805350" y="319128"/>
                  <a:pt x="4815021" y="313324"/>
                </a:cubicBezTo>
                <a:cubicBezTo>
                  <a:pt x="4824691" y="307523"/>
                  <a:pt x="4834363" y="299786"/>
                  <a:pt x="4844032" y="293983"/>
                </a:cubicBezTo>
                <a:cubicBezTo>
                  <a:pt x="4845965" y="292050"/>
                  <a:pt x="4849836" y="292050"/>
                  <a:pt x="4851769" y="292050"/>
                </a:cubicBezTo>
                <a:cubicBezTo>
                  <a:pt x="4847900" y="293983"/>
                  <a:pt x="4845965" y="297851"/>
                  <a:pt x="4842097" y="299786"/>
                </a:cubicBezTo>
                <a:cubicBezTo>
                  <a:pt x="4842097" y="301719"/>
                  <a:pt x="4844032" y="301719"/>
                  <a:pt x="4844032" y="303655"/>
                </a:cubicBezTo>
                <a:cubicBezTo>
                  <a:pt x="4849836" y="301719"/>
                  <a:pt x="4853704" y="297851"/>
                  <a:pt x="4859505" y="295918"/>
                </a:cubicBezTo>
                <a:cubicBezTo>
                  <a:pt x="4847900" y="313324"/>
                  <a:pt x="4828559" y="321061"/>
                  <a:pt x="4816954" y="332665"/>
                </a:cubicBezTo>
                <a:cubicBezTo>
                  <a:pt x="4815021" y="340402"/>
                  <a:pt x="4813086" y="348139"/>
                  <a:pt x="4811153" y="355875"/>
                </a:cubicBezTo>
                <a:cubicBezTo>
                  <a:pt x="4815021" y="359743"/>
                  <a:pt x="4816954" y="365544"/>
                  <a:pt x="4818890" y="369415"/>
                </a:cubicBezTo>
                <a:cubicBezTo>
                  <a:pt x="4820823" y="375216"/>
                  <a:pt x="4832427" y="369415"/>
                  <a:pt x="4828559" y="379085"/>
                </a:cubicBezTo>
                <a:cubicBezTo>
                  <a:pt x="4840164" y="384886"/>
                  <a:pt x="4849836" y="375216"/>
                  <a:pt x="4861438" y="373281"/>
                </a:cubicBezTo>
                <a:cubicBezTo>
                  <a:pt x="4857572" y="377149"/>
                  <a:pt x="4855637" y="379085"/>
                  <a:pt x="4853704" y="382953"/>
                </a:cubicBezTo>
                <a:cubicBezTo>
                  <a:pt x="4869175" y="377149"/>
                  <a:pt x="4880779" y="363612"/>
                  <a:pt x="4900121" y="357810"/>
                </a:cubicBezTo>
                <a:cubicBezTo>
                  <a:pt x="4898188" y="369415"/>
                  <a:pt x="4886583" y="369415"/>
                  <a:pt x="4880779" y="375216"/>
                </a:cubicBezTo>
                <a:cubicBezTo>
                  <a:pt x="4873045" y="381018"/>
                  <a:pt x="4867242" y="388754"/>
                  <a:pt x="4859505" y="396491"/>
                </a:cubicBezTo>
                <a:cubicBezTo>
                  <a:pt x="4874978" y="396491"/>
                  <a:pt x="4878846" y="388754"/>
                  <a:pt x="4886583" y="382953"/>
                </a:cubicBezTo>
                <a:cubicBezTo>
                  <a:pt x="4894319" y="379085"/>
                  <a:pt x="4902056" y="375216"/>
                  <a:pt x="4911725" y="369415"/>
                </a:cubicBezTo>
                <a:cubicBezTo>
                  <a:pt x="4903989" y="388754"/>
                  <a:pt x="4888516" y="398426"/>
                  <a:pt x="4874978" y="410031"/>
                </a:cubicBezTo>
                <a:cubicBezTo>
                  <a:pt x="4874978" y="415832"/>
                  <a:pt x="4876913" y="419700"/>
                  <a:pt x="4876913" y="425504"/>
                </a:cubicBezTo>
                <a:cubicBezTo>
                  <a:pt x="4878846" y="425504"/>
                  <a:pt x="4882715" y="423568"/>
                  <a:pt x="4886583" y="421635"/>
                </a:cubicBezTo>
                <a:cubicBezTo>
                  <a:pt x="4886583" y="425504"/>
                  <a:pt x="4884648" y="429370"/>
                  <a:pt x="4884648" y="435173"/>
                </a:cubicBezTo>
                <a:cubicBezTo>
                  <a:pt x="4898188" y="427437"/>
                  <a:pt x="4907857" y="419700"/>
                  <a:pt x="4919462" y="411964"/>
                </a:cubicBezTo>
                <a:cubicBezTo>
                  <a:pt x="4921397" y="411964"/>
                  <a:pt x="4921397" y="413899"/>
                  <a:pt x="4921397" y="413899"/>
                </a:cubicBezTo>
                <a:cubicBezTo>
                  <a:pt x="4917529" y="419700"/>
                  <a:pt x="4913661" y="423568"/>
                  <a:pt x="4907857" y="431305"/>
                </a:cubicBezTo>
                <a:cubicBezTo>
                  <a:pt x="4911725" y="431305"/>
                  <a:pt x="4913661" y="431305"/>
                  <a:pt x="4919462" y="431305"/>
                </a:cubicBezTo>
                <a:cubicBezTo>
                  <a:pt x="4911725" y="439041"/>
                  <a:pt x="4903989" y="446778"/>
                  <a:pt x="4894319" y="456450"/>
                </a:cubicBezTo>
                <a:cubicBezTo>
                  <a:pt x="4900121" y="456450"/>
                  <a:pt x="4903989" y="456450"/>
                  <a:pt x="4907857" y="456450"/>
                </a:cubicBezTo>
                <a:cubicBezTo>
                  <a:pt x="4905924" y="460316"/>
                  <a:pt x="4903989" y="462251"/>
                  <a:pt x="4902056" y="466119"/>
                </a:cubicBezTo>
                <a:cubicBezTo>
                  <a:pt x="4913661" y="464184"/>
                  <a:pt x="4909792" y="479657"/>
                  <a:pt x="4921397" y="481592"/>
                </a:cubicBezTo>
                <a:cubicBezTo>
                  <a:pt x="4917529" y="483525"/>
                  <a:pt x="4913661" y="487393"/>
                  <a:pt x="4911725" y="489329"/>
                </a:cubicBezTo>
                <a:cubicBezTo>
                  <a:pt x="4913661" y="491262"/>
                  <a:pt x="4913661" y="491262"/>
                  <a:pt x="4913661" y="491262"/>
                </a:cubicBezTo>
                <a:cubicBezTo>
                  <a:pt x="4917529" y="487393"/>
                  <a:pt x="4923330" y="485460"/>
                  <a:pt x="4927198" y="483525"/>
                </a:cubicBezTo>
                <a:cubicBezTo>
                  <a:pt x="4927198" y="483525"/>
                  <a:pt x="4929131" y="485460"/>
                  <a:pt x="4929131" y="485460"/>
                </a:cubicBezTo>
                <a:lnTo>
                  <a:pt x="4917188" y="495811"/>
                </a:lnTo>
                <a:lnTo>
                  <a:pt x="4917529" y="495130"/>
                </a:lnTo>
                <a:lnTo>
                  <a:pt x="4914633" y="498025"/>
                </a:lnTo>
                <a:lnTo>
                  <a:pt x="4900121" y="510603"/>
                </a:lnTo>
                <a:cubicBezTo>
                  <a:pt x="4898188" y="508670"/>
                  <a:pt x="4894319" y="506735"/>
                  <a:pt x="4892384" y="504802"/>
                </a:cubicBezTo>
                <a:cubicBezTo>
                  <a:pt x="4882715" y="510603"/>
                  <a:pt x="4892384" y="514471"/>
                  <a:pt x="4890451" y="520275"/>
                </a:cubicBezTo>
                <a:cubicBezTo>
                  <a:pt x="4878846" y="526076"/>
                  <a:pt x="4882715" y="535745"/>
                  <a:pt x="4882715" y="547350"/>
                </a:cubicBezTo>
                <a:cubicBezTo>
                  <a:pt x="4888516" y="551218"/>
                  <a:pt x="4894319" y="555087"/>
                  <a:pt x="4902056" y="558955"/>
                </a:cubicBezTo>
                <a:cubicBezTo>
                  <a:pt x="4894319" y="568627"/>
                  <a:pt x="4886583" y="576363"/>
                  <a:pt x="4880779" y="584100"/>
                </a:cubicBezTo>
                <a:cubicBezTo>
                  <a:pt x="4880779" y="584100"/>
                  <a:pt x="4880779" y="586033"/>
                  <a:pt x="4880779" y="586033"/>
                </a:cubicBezTo>
                <a:cubicBezTo>
                  <a:pt x="4884648" y="586033"/>
                  <a:pt x="4888516" y="586033"/>
                  <a:pt x="4890451" y="584100"/>
                </a:cubicBezTo>
                <a:cubicBezTo>
                  <a:pt x="4905924" y="574428"/>
                  <a:pt x="4919462" y="562823"/>
                  <a:pt x="4934935" y="553154"/>
                </a:cubicBezTo>
                <a:cubicBezTo>
                  <a:pt x="4938803" y="551218"/>
                  <a:pt x="4940738" y="549285"/>
                  <a:pt x="4944607" y="549285"/>
                </a:cubicBezTo>
                <a:cubicBezTo>
                  <a:pt x="4946540" y="547350"/>
                  <a:pt x="4950408" y="549285"/>
                  <a:pt x="4950408" y="547350"/>
                </a:cubicBezTo>
                <a:cubicBezTo>
                  <a:pt x="4958144" y="535745"/>
                  <a:pt x="4971682" y="535745"/>
                  <a:pt x="4983289" y="529944"/>
                </a:cubicBezTo>
                <a:cubicBezTo>
                  <a:pt x="5006496" y="520275"/>
                  <a:pt x="4770538" y="818126"/>
                  <a:pt x="4789879" y="804588"/>
                </a:cubicBezTo>
                <a:cubicBezTo>
                  <a:pt x="4795680" y="800720"/>
                  <a:pt x="4803417" y="792983"/>
                  <a:pt x="4815021" y="796849"/>
                </a:cubicBezTo>
                <a:cubicBezTo>
                  <a:pt x="4816954" y="796849"/>
                  <a:pt x="4822758" y="794916"/>
                  <a:pt x="4824691" y="792983"/>
                </a:cubicBezTo>
                <a:cubicBezTo>
                  <a:pt x="4830494" y="785247"/>
                  <a:pt x="4836296" y="787180"/>
                  <a:pt x="4842097" y="789115"/>
                </a:cubicBezTo>
                <a:cubicBezTo>
                  <a:pt x="4847900" y="785247"/>
                  <a:pt x="4851769" y="781378"/>
                  <a:pt x="4857572" y="779443"/>
                </a:cubicBezTo>
                <a:cubicBezTo>
                  <a:pt x="4863373" y="775575"/>
                  <a:pt x="4871110" y="775575"/>
                  <a:pt x="4869175" y="763970"/>
                </a:cubicBezTo>
                <a:cubicBezTo>
                  <a:pt x="4869175" y="762037"/>
                  <a:pt x="4873045" y="758169"/>
                  <a:pt x="4874978" y="756234"/>
                </a:cubicBezTo>
                <a:cubicBezTo>
                  <a:pt x="4880779" y="752365"/>
                  <a:pt x="4888516" y="748497"/>
                  <a:pt x="4894319" y="744629"/>
                </a:cubicBezTo>
                <a:cubicBezTo>
                  <a:pt x="4896252" y="748497"/>
                  <a:pt x="4898188" y="750432"/>
                  <a:pt x="4900121" y="752365"/>
                </a:cubicBezTo>
                <a:cubicBezTo>
                  <a:pt x="4903989" y="744629"/>
                  <a:pt x="4913661" y="742696"/>
                  <a:pt x="4915594" y="733024"/>
                </a:cubicBezTo>
                <a:cubicBezTo>
                  <a:pt x="4915594" y="729156"/>
                  <a:pt x="4925265" y="723355"/>
                  <a:pt x="4929131" y="725290"/>
                </a:cubicBezTo>
                <a:cubicBezTo>
                  <a:pt x="4940738" y="729156"/>
                  <a:pt x="4946540" y="723355"/>
                  <a:pt x="4950408" y="715618"/>
                </a:cubicBezTo>
                <a:cubicBezTo>
                  <a:pt x="4958144" y="715618"/>
                  <a:pt x="4963948" y="715618"/>
                  <a:pt x="4971682" y="715618"/>
                </a:cubicBezTo>
                <a:cubicBezTo>
                  <a:pt x="4969749" y="711750"/>
                  <a:pt x="4967814" y="709815"/>
                  <a:pt x="4965881" y="707882"/>
                </a:cubicBezTo>
                <a:cubicBezTo>
                  <a:pt x="4983289" y="700145"/>
                  <a:pt x="4998760" y="690476"/>
                  <a:pt x="5016166" y="680804"/>
                </a:cubicBezTo>
                <a:cubicBezTo>
                  <a:pt x="5014233" y="682739"/>
                  <a:pt x="5012300" y="684672"/>
                  <a:pt x="5008432" y="688540"/>
                </a:cubicBezTo>
                <a:cubicBezTo>
                  <a:pt x="5020037" y="684672"/>
                  <a:pt x="5031641" y="684672"/>
                  <a:pt x="5039375" y="673067"/>
                </a:cubicBezTo>
                <a:cubicBezTo>
                  <a:pt x="5039375" y="673067"/>
                  <a:pt x="5041311" y="671134"/>
                  <a:pt x="5041311" y="671134"/>
                </a:cubicBezTo>
                <a:cubicBezTo>
                  <a:pt x="5052916" y="673067"/>
                  <a:pt x="5054848" y="663398"/>
                  <a:pt x="5060652" y="657594"/>
                </a:cubicBezTo>
                <a:cubicBezTo>
                  <a:pt x="5064520" y="651793"/>
                  <a:pt x="5070324" y="647925"/>
                  <a:pt x="5078058" y="647925"/>
                </a:cubicBezTo>
                <a:cubicBezTo>
                  <a:pt x="5078058" y="651793"/>
                  <a:pt x="5079993" y="653726"/>
                  <a:pt x="5079993" y="655661"/>
                </a:cubicBezTo>
                <a:cubicBezTo>
                  <a:pt x="5087730" y="653726"/>
                  <a:pt x="5091598" y="649858"/>
                  <a:pt x="5095466" y="642121"/>
                </a:cubicBezTo>
                <a:cubicBezTo>
                  <a:pt x="5097399" y="636320"/>
                  <a:pt x="5105136" y="632452"/>
                  <a:pt x="5114808" y="632452"/>
                </a:cubicBezTo>
                <a:cubicBezTo>
                  <a:pt x="5112872" y="636320"/>
                  <a:pt x="5110939" y="638253"/>
                  <a:pt x="5105136" y="644057"/>
                </a:cubicBezTo>
                <a:cubicBezTo>
                  <a:pt x="5120609" y="640188"/>
                  <a:pt x="5132214" y="636320"/>
                  <a:pt x="5147687" y="630519"/>
                </a:cubicBezTo>
                <a:cubicBezTo>
                  <a:pt x="5141883" y="634385"/>
                  <a:pt x="5139950" y="638253"/>
                  <a:pt x="5136082" y="640188"/>
                </a:cubicBezTo>
                <a:cubicBezTo>
                  <a:pt x="5138017" y="642121"/>
                  <a:pt x="5139950" y="642121"/>
                  <a:pt x="5139950" y="642121"/>
                </a:cubicBezTo>
                <a:cubicBezTo>
                  <a:pt x="5153488" y="634385"/>
                  <a:pt x="5168961" y="628584"/>
                  <a:pt x="5184434" y="620847"/>
                </a:cubicBezTo>
                <a:cubicBezTo>
                  <a:pt x="5203775" y="611178"/>
                  <a:pt x="5223116" y="603441"/>
                  <a:pt x="5242458" y="593769"/>
                </a:cubicBezTo>
                <a:cubicBezTo>
                  <a:pt x="5242458" y="591836"/>
                  <a:pt x="5244393" y="593769"/>
                  <a:pt x="5244393" y="593769"/>
                </a:cubicBezTo>
                <a:cubicBezTo>
                  <a:pt x="5232786" y="601506"/>
                  <a:pt x="5219248" y="609242"/>
                  <a:pt x="5207643" y="616979"/>
                </a:cubicBezTo>
                <a:cubicBezTo>
                  <a:pt x="5211512" y="620847"/>
                  <a:pt x="5215380" y="622780"/>
                  <a:pt x="5221183" y="620847"/>
                </a:cubicBezTo>
                <a:cubicBezTo>
                  <a:pt x="5234721" y="615046"/>
                  <a:pt x="5246326" y="611178"/>
                  <a:pt x="5259864" y="605374"/>
                </a:cubicBezTo>
                <a:cubicBezTo>
                  <a:pt x="5263732" y="603441"/>
                  <a:pt x="5267600" y="603441"/>
                  <a:pt x="5271468" y="603441"/>
                </a:cubicBezTo>
                <a:cubicBezTo>
                  <a:pt x="5267600" y="616979"/>
                  <a:pt x="5254062" y="620847"/>
                  <a:pt x="5244393" y="626651"/>
                </a:cubicBezTo>
                <a:cubicBezTo>
                  <a:pt x="5242458" y="628584"/>
                  <a:pt x="5240522" y="628584"/>
                  <a:pt x="5238589" y="630519"/>
                </a:cubicBezTo>
                <a:cubicBezTo>
                  <a:pt x="5240522" y="630519"/>
                  <a:pt x="5240522" y="632452"/>
                  <a:pt x="5240522" y="632452"/>
                </a:cubicBezTo>
                <a:cubicBezTo>
                  <a:pt x="5257931" y="624715"/>
                  <a:pt x="5273404" y="616979"/>
                  <a:pt x="5290810" y="609242"/>
                </a:cubicBezTo>
                <a:cubicBezTo>
                  <a:pt x="5294678" y="613111"/>
                  <a:pt x="5298546" y="620847"/>
                  <a:pt x="5308218" y="618914"/>
                </a:cubicBezTo>
                <a:cubicBezTo>
                  <a:pt x="5306283" y="615046"/>
                  <a:pt x="5304350" y="615046"/>
                  <a:pt x="5304350" y="613111"/>
                </a:cubicBezTo>
                <a:cubicBezTo>
                  <a:pt x="5302414" y="611178"/>
                  <a:pt x="5300479" y="607309"/>
                  <a:pt x="5300479" y="605374"/>
                </a:cubicBezTo>
                <a:cubicBezTo>
                  <a:pt x="5302414" y="601506"/>
                  <a:pt x="5306283" y="599573"/>
                  <a:pt x="5308218" y="599573"/>
                </a:cubicBezTo>
                <a:cubicBezTo>
                  <a:pt x="5317887" y="601506"/>
                  <a:pt x="5321756" y="595705"/>
                  <a:pt x="5329492" y="593769"/>
                </a:cubicBezTo>
                <a:cubicBezTo>
                  <a:pt x="5337229" y="591836"/>
                  <a:pt x="5343030" y="587968"/>
                  <a:pt x="5350766" y="584100"/>
                </a:cubicBezTo>
                <a:cubicBezTo>
                  <a:pt x="5356570" y="580232"/>
                  <a:pt x="5362371" y="578296"/>
                  <a:pt x="5370108" y="576363"/>
                </a:cubicBezTo>
                <a:cubicBezTo>
                  <a:pt x="5368175" y="578296"/>
                  <a:pt x="5366239" y="582164"/>
                  <a:pt x="5364306" y="586033"/>
                </a:cubicBezTo>
                <a:cubicBezTo>
                  <a:pt x="5393317" y="580232"/>
                  <a:pt x="5412658" y="558955"/>
                  <a:pt x="5439736" y="549285"/>
                </a:cubicBezTo>
                <a:cubicBezTo>
                  <a:pt x="5439736" y="553154"/>
                  <a:pt x="5441669" y="557022"/>
                  <a:pt x="5441669" y="560890"/>
                </a:cubicBezTo>
                <a:cubicBezTo>
                  <a:pt x="5441669" y="562823"/>
                  <a:pt x="5439736" y="562823"/>
                  <a:pt x="5439736" y="562823"/>
                </a:cubicBezTo>
                <a:cubicBezTo>
                  <a:pt x="5435868" y="558955"/>
                  <a:pt x="5432000" y="560890"/>
                  <a:pt x="5428131" y="562823"/>
                </a:cubicBezTo>
                <a:cubicBezTo>
                  <a:pt x="5414594" y="568627"/>
                  <a:pt x="5402987" y="576363"/>
                  <a:pt x="5389449" y="582164"/>
                </a:cubicBezTo>
                <a:cubicBezTo>
                  <a:pt x="5387514" y="584100"/>
                  <a:pt x="5383645" y="586033"/>
                  <a:pt x="5381712" y="586033"/>
                </a:cubicBezTo>
                <a:cubicBezTo>
                  <a:pt x="5370108" y="587968"/>
                  <a:pt x="5362371" y="595705"/>
                  <a:pt x="5352702" y="605374"/>
                </a:cubicBezTo>
                <a:cubicBezTo>
                  <a:pt x="5358503" y="605374"/>
                  <a:pt x="5360438" y="605374"/>
                  <a:pt x="5362371" y="605374"/>
                </a:cubicBezTo>
                <a:cubicBezTo>
                  <a:pt x="5370108" y="603441"/>
                  <a:pt x="5379779" y="597637"/>
                  <a:pt x="5387514" y="595705"/>
                </a:cubicBezTo>
                <a:cubicBezTo>
                  <a:pt x="5391384" y="595705"/>
                  <a:pt x="5395252" y="595705"/>
                  <a:pt x="5397185" y="597637"/>
                </a:cubicBezTo>
                <a:cubicBezTo>
                  <a:pt x="5401054" y="601506"/>
                  <a:pt x="5402987" y="603441"/>
                  <a:pt x="5406855" y="607309"/>
                </a:cubicBezTo>
                <a:cubicBezTo>
                  <a:pt x="5399121" y="611178"/>
                  <a:pt x="5387514" y="611178"/>
                  <a:pt x="5391384" y="626651"/>
                </a:cubicBezTo>
                <a:cubicBezTo>
                  <a:pt x="5385581" y="622780"/>
                  <a:pt x="5381712" y="618914"/>
                  <a:pt x="5377844" y="616979"/>
                </a:cubicBezTo>
                <a:cubicBezTo>
                  <a:pt x="5372043" y="620847"/>
                  <a:pt x="5370108" y="628584"/>
                  <a:pt x="5362371" y="630519"/>
                </a:cubicBezTo>
                <a:cubicBezTo>
                  <a:pt x="5360438" y="630519"/>
                  <a:pt x="5358503" y="638253"/>
                  <a:pt x="5356570" y="642121"/>
                </a:cubicBezTo>
                <a:cubicBezTo>
                  <a:pt x="5354635" y="642121"/>
                  <a:pt x="5350766" y="642121"/>
                  <a:pt x="5346898" y="642121"/>
                </a:cubicBezTo>
                <a:cubicBezTo>
                  <a:pt x="5346898" y="645990"/>
                  <a:pt x="5348833" y="649858"/>
                  <a:pt x="5350766" y="655661"/>
                </a:cubicBezTo>
                <a:cubicBezTo>
                  <a:pt x="5358503" y="644057"/>
                  <a:pt x="5366239" y="649858"/>
                  <a:pt x="5375911" y="649858"/>
                </a:cubicBezTo>
                <a:cubicBezTo>
                  <a:pt x="5372043" y="653726"/>
                  <a:pt x="5372043" y="655661"/>
                  <a:pt x="5370108" y="657594"/>
                </a:cubicBezTo>
                <a:cubicBezTo>
                  <a:pt x="5360438" y="663398"/>
                  <a:pt x="5354635" y="669199"/>
                  <a:pt x="5350766" y="678871"/>
                </a:cubicBezTo>
                <a:cubicBezTo>
                  <a:pt x="5348833" y="682739"/>
                  <a:pt x="5343030" y="686607"/>
                  <a:pt x="5339162" y="688540"/>
                </a:cubicBezTo>
                <a:cubicBezTo>
                  <a:pt x="5325624" y="698212"/>
                  <a:pt x="5315952" y="709815"/>
                  <a:pt x="5308218" y="727223"/>
                </a:cubicBezTo>
                <a:cubicBezTo>
                  <a:pt x="5314019" y="723355"/>
                  <a:pt x="5319820" y="719486"/>
                  <a:pt x="5325624" y="717553"/>
                </a:cubicBezTo>
                <a:cubicBezTo>
                  <a:pt x="5333360" y="715618"/>
                  <a:pt x="5339162" y="713685"/>
                  <a:pt x="5339162" y="702080"/>
                </a:cubicBezTo>
                <a:cubicBezTo>
                  <a:pt x="5341097" y="704013"/>
                  <a:pt x="5341097" y="704013"/>
                  <a:pt x="5343030" y="704013"/>
                </a:cubicBezTo>
                <a:cubicBezTo>
                  <a:pt x="5343030" y="702080"/>
                  <a:pt x="5341097" y="700145"/>
                  <a:pt x="5341097" y="698212"/>
                </a:cubicBezTo>
                <a:cubicBezTo>
                  <a:pt x="5344965" y="692409"/>
                  <a:pt x="5346898" y="688540"/>
                  <a:pt x="5350766" y="684672"/>
                </a:cubicBezTo>
                <a:cubicBezTo>
                  <a:pt x="5352702" y="682739"/>
                  <a:pt x="5354635" y="678871"/>
                  <a:pt x="5358503" y="678871"/>
                </a:cubicBezTo>
                <a:cubicBezTo>
                  <a:pt x="5368175" y="676936"/>
                  <a:pt x="5375911" y="673067"/>
                  <a:pt x="5385581" y="671134"/>
                </a:cubicBezTo>
                <a:cubicBezTo>
                  <a:pt x="5385581" y="669199"/>
                  <a:pt x="5383645" y="669199"/>
                  <a:pt x="5381712" y="667266"/>
                </a:cubicBezTo>
                <a:cubicBezTo>
                  <a:pt x="5385581" y="661463"/>
                  <a:pt x="5389449" y="665331"/>
                  <a:pt x="5391384" y="669199"/>
                </a:cubicBezTo>
                <a:cubicBezTo>
                  <a:pt x="5391384" y="671134"/>
                  <a:pt x="5391384" y="671134"/>
                  <a:pt x="5391384" y="671134"/>
                </a:cubicBezTo>
                <a:cubicBezTo>
                  <a:pt x="5393317" y="671134"/>
                  <a:pt x="5397185" y="671134"/>
                  <a:pt x="5399121" y="671134"/>
                </a:cubicBezTo>
                <a:cubicBezTo>
                  <a:pt x="5401054" y="671134"/>
                  <a:pt x="5402987" y="671134"/>
                  <a:pt x="5404922" y="671134"/>
                </a:cubicBezTo>
                <a:cubicBezTo>
                  <a:pt x="5404922" y="671134"/>
                  <a:pt x="5406855" y="671134"/>
                  <a:pt x="5406855" y="671134"/>
                </a:cubicBezTo>
                <a:cubicBezTo>
                  <a:pt x="5414594" y="667266"/>
                  <a:pt x="5422328" y="665331"/>
                  <a:pt x="5430064" y="665331"/>
                </a:cubicBezTo>
                <a:cubicBezTo>
                  <a:pt x="5428131" y="665331"/>
                  <a:pt x="5426196" y="667266"/>
                  <a:pt x="5424263" y="669199"/>
                </a:cubicBezTo>
                <a:cubicBezTo>
                  <a:pt x="5422328" y="669199"/>
                  <a:pt x="5420395" y="671134"/>
                  <a:pt x="5418462" y="671134"/>
                </a:cubicBezTo>
                <a:cubicBezTo>
                  <a:pt x="5424263" y="671134"/>
                  <a:pt x="5428131" y="671134"/>
                  <a:pt x="5433933" y="671134"/>
                </a:cubicBezTo>
                <a:cubicBezTo>
                  <a:pt x="5449406" y="669199"/>
                  <a:pt x="5464879" y="667266"/>
                  <a:pt x="5480352" y="665331"/>
                </a:cubicBezTo>
                <a:cubicBezTo>
                  <a:pt x="5484220" y="665331"/>
                  <a:pt x="5488088" y="663398"/>
                  <a:pt x="5490021" y="661463"/>
                </a:cubicBezTo>
                <a:cubicBezTo>
                  <a:pt x="5493889" y="657594"/>
                  <a:pt x="5497758" y="653726"/>
                  <a:pt x="5503561" y="651793"/>
                </a:cubicBezTo>
                <a:cubicBezTo>
                  <a:pt x="5515166" y="649858"/>
                  <a:pt x="5528704" y="649858"/>
                  <a:pt x="5540308" y="647925"/>
                </a:cubicBezTo>
                <a:cubicBezTo>
                  <a:pt x="5540308" y="653726"/>
                  <a:pt x="5542244" y="657594"/>
                  <a:pt x="5542244" y="663398"/>
                </a:cubicBezTo>
                <a:cubicBezTo>
                  <a:pt x="5548045" y="665331"/>
                  <a:pt x="5553849" y="665331"/>
                  <a:pt x="5561585" y="667266"/>
                </a:cubicBezTo>
                <a:cubicBezTo>
                  <a:pt x="5559650" y="673067"/>
                  <a:pt x="5555781" y="676936"/>
                  <a:pt x="5555781" y="680804"/>
                </a:cubicBezTo>
                <a:cubicBezTo>
                  <a:pt x="5555781" y="684672"/>
                  <a:pt x="5559650" y="690476"/>
                  <a:pt x="5559650" y="694344"/>
                </a:cubicBezTo>
                <a:cubicBezTo>
                  <a:pt x="5559650" y="698212"/>
                  <a:pt x="5561585" y="704013"/>
                  <a:pt x="5559650" y="707882"/>
                </a:cubicBezTo>
                <a:cubicBezTo>
                  <a:pt x="5557714" y="717553"/>
                  <a:pt x="5553849" y="729156"/>
                  <a:pt x="5548045" y="738828"/>
                </a:cubicBezTo>
                <a:cubicBezTo>
                  <a:pt x="5548045" y="738828"/>
                  <a:pt x="5549980" y="738828"/>
                  <a:pt x="5549980" y="738828"/>
                </a:cubicBezTo>
                <a:cubicBezTo>
                  <a:pt x="5549980" y="738828"/>
                  <a:pt x="5548045" y="740761"/>
                  <a:pt x="5548045" y="740761"/>
                </a:cubicBezTo>
                <a:cubicBezTo>
                  <a:pt x="5546112" y="744629"/>
                  <a:pt x="5542244" y="748497"/>
                  <a:pt x="5540308" y="752365"/>
                </a:cubicBezTo>
                <a:cubicBezTo>
                  <a:pt x="5530639" y="765905"/>
                  <a:pt x="5526771" y="779443"/>
                  <a:pt x="5528704" y="794916"/>
                </a:cubicBezTo>
                <a:cubicBezTo>
                  <a:pt x="5530639" y="808454"/>
                  <a:pt x="5528704" y="821994"/>
                  <a:pt x="5522903" y="835532"/>
                </a:cubicBezTo>
                <a:cubicBezTo>
                  <a:pt x="5517099" y="851005"/>
                  <a:pt x="5513231" y="868413"/>
                  <a:pt x="5511298" y="885819"/>
                </a:cubicBezTo>
                <a:cubicBezTo>
                  <a:pt x="5509362" y="891623"/>
                  <a:pt x="5509362" y="895488"/>
                  <a:pt x="5507430" y="901292"/>
                </a:cubicBezTo>
                <a:cubicBezTo>
                  <a:pt x="5519034" y="899359"/>
                  <a:pt x="5530639" y="897424"/>
                  <a:pt x="5544177" y="893556"/>
                </a:cubicBezTo>
                <a:cubicBezTo>
                  <a:pt x="5530639" y="903225"/>
                  <a:pt x="5528704" y="905160"/>
                  <a:pt x="5519034" y="907093"/>
                </a:cubicBezTo>
                <a:cubicBezTo>
                  <a:pt x="5513231" y="909029"/>
                  <a:pt x="5509362" y="909029"/>
                  <a:pt x="5503561" y="910964"/>
                </a:cubicBezTo>
                <a:cubicBezTo>
                  <a:pt x="5501628" y="914830"/>
                  <a:pt x="5499693" y="920633"/>
                  <a:pt x="5497758" y="926435"/>
                </a:cubicBezTo>
                <a:cubicBezTo>
                  <a:pt x="5497758" y="930303"/>
                  <a:pt x="5493889" y="932238"/>
                  <a:pt x="5493889" y="934171"/>
                </a:cubicBezTo>
                <a:cubicBezTo>
                  <a:pt x="5490021" y="959316"/>
                  <a:pt x="5476483" y="982523"/>
                  <a:pt x="5468747" y="1005733"/>
                </a:cubicBezTo>
                <a:cubicBezTo>
                  <a:pt x="5470680" y="1005733"/>
                  <a:pt x="5474551" y="1003800"/>
                  <a:pt x="5476483" y="1003800"/>
                </a:cubicBezTo>
                <a:cubicBezTo>
                  <a:pt x="5478419" y="1003800"/>
                  <a:pt x="5482287" y="1003800"/>
                  <a:pt x="5484220" y="1001864"/>
                </a:cubicBezTo>
                <a:cubicBezTo>
                  <a:pt x="5501628" y="990260"/>
                  <a:pt x="5520967" y="988327"/>
                  <a:pt x="5538376" y="982523"/>
                </a:cubicBezTo>
                <a:cubicBezTo>
                  <a:pt x="5542244" y="980590"/>
                  <a:pt x="5548045" y="980590"/>
                  <a:pt x="5553849" y="980590"/>
                </a:cubicBezTo>
                <a:cubicBezTo>
                  <a:pt x="5567386" y="982523"/>
                  <a:pt x="5580924" y="986394"/>
                  <a:pt x="5594464" y="990260"/>
                </a:cubicBezTo>
                <a:cubicBezTo>
                  <a:pt x="5594464" y="990260"/>
                  <a:pt x="5594464" y="992195"/>
                  <a:pt x="5594464" y="992195"/>
                </a:cubicBezTo>
                <a:cubicBezTo>
                  <a:pt x="5594464" y="994128"/>
                  <a:pt x="5592531" y="996063"/>
                  <a:pt x="5592531" y="996063"/>
                </a:cubicBezTo>
                <a:cubicBezTo>
                  <a:pt x="5584795" y="999931"/>
                  <a:pt x="5577056" y="1005733"/>
                  <a:pt x="5567386" y="1009601"/>
                </a:cubicBezTo>
                <a:cubicBezTo>
                  <a:pt x="5577056" y="1013469"/>
                  <a:pt x="5582859" y="1011536"/>
                  <a:pt x="5588663" y="1003800"/>
                </a:cubicBezTo>
                <a:cubicBezTo>
                  <a:pt x="5590596" y="1001864"/>
                  <a:pt x="5594464" y="999931"/>
                  <a:pt x="5596397" y="999931"/>
                </a:cubicBezTo>
                <a:cubicBezTo>
                  <a:pt x="5606069" y="1003800"/>
                  <a:pt x="5611872" y="997998"/>
                  <a:pt x="5617674" y="992195"/>
                </a:cubicBezTo>
                <a:cubicBezTo>
                  <a:pt x="5623475" y="984458"/>
                  <a:pt x="5631211" y="984458"/>
                  <a:pt x="5638948" y="984458"/>
                </a:cubicBezTo>
                <a:cubicBezTo>
                  <a:pt x="5638948" y="992195"/>
                  <a:pt x="5629278" y="994128"/>
                  <a:pt x="5625410" y="997998"/>
                </a:cubicBezTo>
                <a:cubicBezTo>
                  <a:pt x="5619607" y="1003800"/>
                  <a:pt x="5609937" y="1003800"/>
                  <a:pt x="5608002" y="1013469"/>
                </a:cubicBezTo>
                <a:cubicBezTo>
                  <a:pt x="5615738" y="1011536"/>
                  <a:pt x="5623475" y="1011536"/>
                  <a:pt x="5633147" y="1011536"/>
                </a:cubicBezTo>
                <a:cubicBezTo>
                  <a:pt x="5629278" y="1015404"/>
                  <a:pt x="5627343" y="1019273"/>
                  <a:pt x="5623475" y="1021206"/>
                </a:cubicBezTo>
                <a:cubicBezTo>
                  <a:pt x="5615738" y="1025074"/>
                  <a:pt x="5609937" y="1028942"/>
                  <a:pt x="5611872" y="1040547"/>
                </a:cubicBezTo>
                <a:cubicBezTo>
                  <a:pt x="5602201" y="1034746"/>
                  <a:pt x="5602201" y="1034746"/>
                  <a:pt x="5578991" y="1057955"/>
                </a:cubicBezTo>
                <a:cubicBezTo>
                  <a:pt x="5582859" y="1059888"/>
                  <a:pt x="5584795" y="1059888"/>
                  <a:pt x="5588663" y="1059888"/>
                </a:cubicBezTo>
                <a:cubicBezTo>
                  <a:pt x="5578991" y="1069560"/>
                  <a:pt x="5567386" y="1077294"/>
                  <a:pt x="5557714" y="1086966"/>
                </a:cubicBezTo>
                <a:cubicBezTo>
                  <a:pt x="5559650" y="1086966"/>
                  <a:pt x="5561585" y="1088899"/>
                  <a:pt x="5563518" y="1088899"/>
                </a:cubicBezTo>
                <a:cubicBezTo>
                  <a:pt x="5565453" y="1086966"/>
                  <a:pt x="5569322" y="1085033"/>
                  <a:pt x="5571255" y="1083098"/>
                </a:cubicBezTo>
                <a:cubicBezTo>
                  <a:pt x="5578991" y="1079230"/>
                  <a:pt x="5584795" y="1073428"/>
                  <a:pt x="5594464" y="1067625"/>
                </a:cubicBezTo>
                <a:cubicBezTo>
                  <a:pt x="5586728" y="1075361"/>
                  <a:pt x="5580924" y="1081162"/>
                  <a:pt x="5573190" y="1086966"/>
                </a:cubicBezTo>
                <a:cubicBezTo>
                  <a:pt x="5573190" y="1086966"/>
                  <a:pt x="5575123" y="1086966"/>
                  <a:pt x="5577056" y="1086966"/>
                </a:cubicBezTo>
                <a:cubicBezTo>
                  <a:pt x="5577056" y="1088899"/>
                  <a:pt x="5577056" y="1092767"/>
                  <a:pt x="5577056" y="1094703"/>
                </a:cubicBezTo>
                <a:cubicBezTo>
                  <a:pt x="5580924" y="1090834"/>
                  <a:pt x="5584795" y="1088899"/>
                  <a:pt x="5586728" y="1085033"/>
                </a:cubicBezTo>
                <a:cubicBezTo>
                  <a:pt x="5590596" y="1079230"/>
                  <a:pt x="5598332" y="1075361"/>
                  <a:pt x="5604133" y="1071493"/>
                </a:cubicBezTo>
                <a:cubicBezTo>
                  <a:pt x="5611872" y="1065692"/>
                  <a:pt x="5621542" y="1059888"/>
                  <a:pt x="5629278" y="1054087"/>
                </a:cubicBezTo>
                <a:cubicBezTo>
                  <a:pt x="5631211" y="1052152"/>
                  <a:pt x="5635080" y="1052152"/>
                  <a:pt x="5638948" y="1054087"/>
                </a:cubicBezTo>
                <a:cubicBezTo>
                  <a:pt x="5633147" y="1057955"/>
                  <a:pt x="5627343" y="1061824"/>
                  <a:pt x="5621542" y="1065692"/>
                </a:cubicBezTo>
                <a:cubicBezTo>
                  <a:pt x="5613805" y="1071493"/>
                  <a:pt x="5608002" y="1075361"/>
                  <a:pt x="5602201" y="1081162"/>
                </a:cubicBezTo>
                <a:cubicBezTo>
                  <a:pt x="5600265" y="1083098"/>
                  <a:pt x="5596397" y="1086966"/>
                  <a:pt x="5594464" y="1086966"/>
                </a:cubicBezTo>
                <a:cubicBezTo>
                  <a:pt x="5582859" y="1086966"/>
                  <a:pt x="5580924" y="1092767"/>
                  <a:pt x="5578991" y="1100504"/>
                </a:cubicBezTo>
                <a:cubicBezTo>
                  <a:pt x="5580924" y="1102439"/>
                  <a:pt x="5582859" y="1106307"/>
                  <a:pt x="5584795" y="1108240"/>
                </a:cubicBezTo>
                <a:cubicBezTo>
                  <a:pt x="5584795" y="1114044"/>
                  <a:pt x="5584795" y="1117912"/>
                  <a:pt x="5582859" y="1123713"/>
                </a:cubicBezTo>
                <a:cubicBezTo>
                  <a:pt x="5582859" y="1125649"/>
                  <a:pt x="5580924" y="1129517"/>
                  <a:pt x="5578991" y="1129517"/>
                </a:cubicBezTo>
                <a:cubicBezTo>
                  <a:pt x="5575123" y="1131450"/>
                  <a:pt x="5575123" y="1127582"/>
                  <a:pt x="5573190" y="1123713"/>
                </a:cubicBezTo>
                <a:cubicBezTo>
                  <a:pt x="5569322" y="1123713"/>
                  <a:pt x="5563518" y="1125649"/>
                  <a:pt x="5557714" y="1125649"/>
                </a:cubicBezTo>
                <a:cubicBezTo>
                  <a:pt x="5559650" y="1119845"/>
                  <a:pt x="5563518" y="1115977"/>
                  <a:pt x="5565453" y="1112109"/>
                </a:cubicBezTo>
                <a:cubicBezTo>
                  <a:pt x="5563518" y="1110176"/>
                  <a:pt x="5561585" y="1110176"/>
                  <a:pt x="5559650" y="1110176"/>
                </a:cubicBezTo>
                <a:cubicBezTo>
                  <a:pt x="5553849" y="1114044"/>
                  <a:pt x="5548045" y="1115977"/>
                  <a:pt x="5546112" y="1121780"/>
                </a:cubicBezTo>
                <a:cubicBezTo>
                  <a:pt x="5549980" y="1125649"/>
                  <a:pt x="5553849" y="1127582"/>
                  <a:pt x="5549980" y="1133385"/>
                </a:cubicBezTo>
                <a:cubicBezTo>
                  <a:pt x="5548045" y="1133385"/>
                  <a:pt x="5546112" y="1133385"/>
                  <a:pt x="5544177" y="1133385"/>
                </a:cubicBezTo>
                <a:cubicBezTo>
                  <a:pt x="5542244" y="1135318"/>
                  <a:pt x="5542244" y="1135318"/>
                  <a:pt x="5540308" y="1137253"/>
                </a:cubicBezTo>
                <a:cubicBezTo>
                  <a:pt x="5542244" y="1137253"/>
                  <a:pt x="5546112" y="1139186"/>
                  <a:pt x="5548045" y="1139186"/>
                </a:cubicBezTo>
                <a:cubicBezTo>
                  <a:pt x="5549980" y="1139186"/>
                  <a:pt x="5553849" y="1137253"/>
                  <a:pt x="5557714" y="1135318"/>
                </a:cubicBezTo>
                <a:cubicBezTo>
                  <a:pt x="5559650" y="1146923"/>
                  <a:pt x="5553849" y="1156595"/>
                  <a:pt x="5553849" y="1168199"/>
                </a:cubicBezTo>
                <a:cubicBezTo>
                  <a:pt x="5555781" y="1168199"/>
                  <a:pt x="5555781" y="1168199"/>
                  <a:pt x="5555781" y="1168199"/>
                </a:cubicBezTo>
                <a:cubicBezTo>
                  <a:pt x="5559650" y="1168199"/>
                  <a:pt x="5561585" y="1162396"/>
                  <a:pt x="5563518" y="1158528"/>
                </a:cubicBezTo>
                <a:cubicBezTo>
                  <a:pt x="5563518" y="1160463"/>
                  <a:pt x="5565453" y="1160463"/>
                  <a:pt x="5565453" y="1162396"/>
                </a:cubicBezTo>
                <a:cubicBezTo>
                  <a:pt x="5565453" y="1166264"/>
                  <a:pt x="5565453" y="1170132"/>
                  <a:pt x="5563518" y="1174001"/>
                </a:cubicBezTo>
                <a:cubicBezTo>
                  <a:pt x="5565453" y="1174001"/>
                  <a:pt x="5569322" y="1174001"/>
                  <a:pt x="5571255" y="1175934"/>
                </a:cubicBezTo>
                <a:cubicBezTo>
                  <a:pt x="5577056" y="1177869"/>
                  <a:pt x="5582859" y="1183670"/>
                  <a:pt x="5588663" y="1187538"/>
                </a:cubicBezTo>
                <a:cubicBezTo>
                  <a:pt x="5590596" y="1189474"/>
                  <a:pt x="5588663" y="1191407"/>
                  <a:pt x="5588663" y="1195275"/>
                </a:cubicBezTo>
                <a:cubicBezTo>
                  <a:pt x="5594464" y="1197210"/>
                  <a:pt x="5598332" y="1197210"/>
                  <a:pt x="5602201" y="1199143"/>
                </a:cubicBezTo>
                <a:cubicBezTo>
                  <a:pt x="5604133" y="1201078"/>
                  <a:pt x="5608002" y="1203011"/>
                  <a:pt x="5608002" y="1204947"/>
                </a:cubicBezTo>
                <a:cubicBezTo>
                  <a:pt x="5608002" y="1214616"/>
                  <a:pt x="5615738" y="1216551"/>
                  <a:pt x="5621542" y="1218484"/>
                </a:cubicBezTo>
                <a:cubicBezTo>
                  <a:pt x="5623475" y="1220420"/>
                  <a:pt x="5627343" y="1220420"/>
                  <a:pt x="5629278" y="1220420"/>
                </a:cubicBezTo>
                <a:cubicBezTo>
                  <a:pt x="5637015" y="1222353"/>
                  <a:pt x="5640883" y="1226221"/>
                  <a:pt x="5642816" y="1233957"/>
                </a:cubicBezTo>
                <a:cubicBezTo>
                  <a:pt x="5644749" y="1239761"/>
                  <a:pt x="5644749" y="1245562"/>
                  <a:pt x="5646684" y="1251363"/>
                </a:cubicBezTo>
                <a:cubicBezTo>
                  <a:pt x="5654421" y="1255234"/>
                  <a:pt x="5660224" y="1255234"/>
                  <a:pt x="5669894" y="1249430"/>
                </a:cubicBezTo>
                <a:cubicBezTo>
                  <a:pt x="5669894" y="1257167"/>
                  <a:pt x="5669894" y="1262968"/>
                  <a:pt x="5669894" y="1268772"/>
                </a:cubicBezTo>
                <a:cubicBezTo>
                  <a:pt x="5677630" y="1272640"/>
                  <a:pt x="5681499" y="1278444"/>
                  <a:pt x="5683432" y="1286178"/>
                </a:cubicBezTo>
                <a:cubicBezTo>
                  <a:pt x="5683432" y="1290046"/>
                  <a:pt x="5685367" y="1295850"/>
                  <a:pt x="5685367" y="1299718"/>
                </a:cubicBezTo>
                <a:cubicBezTo>
                  <a:pt x="5683432" y="1301651"/>
                  <a:pt x="5681499" y="1305519"/>
                  <a:pt x="5679566" y="1307454"/>
                </a:cubicBezTo>
                <a:cubicBezTo>
                  <a:pt x="5685367" y="1313255"/>
                  <a:pt x="5689235" y="1315191"/>
                  <a:pt x="5696972" y="1313255"/>
                </a:cubicBezTo>
                <a:cubicBezTo>
                  <a:pt x="5700840" y="1311323"/>
                  <a:pt x="5706641" y="1313255"/>
                  <a:pt x="5710509" y="1313255"/>
                </a:cubicBezTo>
                <a:lnTo>
                  <a:pt x="5699632" y="1331389"/>
                </a:lnTo>
                <a:lnTo>
                  <a:pt x="5698907" y="1332597"/>
                </a:lnTo>
                <a:cubicBezTo>
                  <a:pt x="5693103" y="1342269"/>
                  <a:pt x="5689235" y="1350003"/>
                  <a:pt x="5695036" y="1359675"/>
                </a:cubicBezTo>
                <a:cubicBezTo>
                  <a:pt x="5693103" y="1361607"/>
                  <a:pt x="5691168" y="1361607"/>
                  <a:pt x="5691168" y="1363543"/>
                </a:cubicBezTo>
                <a:cubicBezTo>
                  <a:pt x="5683432" y="1382884"/>
                  <a:pt x="5666026" y="1390621"/>
                  <a:pt x="5650553" y="1400290"/>
                </a:cubicBezTo>
                <a:cubicBezTo>
                  <a:pt x="5648620" y="1402225"/>
                  <a:pt x="5646684" y="1404158"/>
                  <a:pt x="5642816" y="1406094"/>
                </a:cubicBezTo>
                <a:cubicBezTo>
                  <a:pt x="5648620" y="1409962"/>
                  <a:pt x="5650553" y="1406094"/>
                  <a:pt x="5654421" y="1404158"/>
                </a:cubicBezTo>
                <a:cubicBezTo>
                  <a:pt x="5656356" y="1404158"/>
                  <a:pt x="5658289" y="1402225"/>
                  <a:pt x="5662157" y="1400290"/>
                </a:cubicBezTo>
                <a:cubicBezTo>
                  <a:pt x="5666026" y="1398357"/>
                  <a:pt x="5669894" y="1400290"/>
                  <a:pt x="5669894" y="1400290"/>
                </a:cubicBezTo>
                <a:cubicBezTo>
                  <a:pt x="5669894" y="1404158"/>
                  <a:pt x="5671829" y="1408027"/>
                  <a:pt x="5669894" y="1409962"/>
                </a:cubicBezTo>
                <a:cubicBezTo>
                  <a:pt x="5667959" y="1413830"/>
                  <a:pt x="5664090" y="1415763"/>
                  <a:pt x="5660224" y="1417699"/>
                </a:cubicBezTo>
                <a:cubicBezTo>
                  <a:pt x="5656356" y="1421567"/>
                  <a:pt x="5652488" y="1423500"/>
                  <a:pt x="5648620" y="1427368"/>
                </a:cubicBezTo>
                <a:cubicBezTo>
                  <a:pt x="5648620" y="1431236"/>
                  <a:pt x="5650553" y="1435104"/>
                  <a:pt x="5650553" y="1438973"/>
                </a:cubicBezTo>
                <a:cubicBezTo>
                  <a:pt x="5720181" y="1408027"/>
                  <a:pt x="5787874" y="1375148"/>
                  <a:pt x="5855568" y="1342269"/>
                </a:cubicBezTo>
                <a:cubicBezTo>
                  <a:pt x="5872976" y="1332597"/>
                  <a:pt x="5890382" y="1332597"/>
                  <a:pt x="5905855" y="1338398"/>
                </a:cubicBezTo>
                <a:cubicBezTo>
                  <a:pt x="5907788" y="1336465"/>
                  <a:pt x="5909723" y="1332597"/>
                  <a:pt x="5909723" y="1330664"/>
                </a:cubicBezTo>
                <a:cubicBezTo>
                  <a:pt x="5909723" y="1328729"/>
                  <a:pt x="5915524" y="1328729"/>
                  <a:pt x="5921328" y="1326796"/>
                </a:cubicBezTo>
                <a:cubicBezTo>
                  <a:pt x="5917460" y="1332597"/>
                  <a:pt x="5917460" y="1334532"/>
                  <a:pt x="5915524" y="1338398"/>
                </a:cubicBezTo>
                <a:cubicBezTo>
                  <a:pt x="5919393" y="1340333"/>
                  <a:pt x="5921328" y="1340333"/>
                  <a:pt x="5925194" y="1342269"/>
                </a:cubicBezTo>
                <a:cubicBezTo>
                  <a:pt x="5923261" y="1344202"/>
                  <a:pt x="5923261" y="1344202"/>
                  <a:pt x="5921328" y="1346137"/>
                </a:cubicBezTo>
                <a:cubicBezTo>
                  <a:pt x="5923261" y="1348070"/>
                  <a:pt x="5925194" y="1348070"/>
                  <a:pt x="5927129" y="1350003"/>
                </a:cubicBezTo>
                <a:cubicBezTo>
                  <a:pt x="5929065" y="1348070"/>
                  <a:pt x="5930997" y="1346137"/>
                  <a:pt x="5930997" y="1344202"/>
                </a:cubicBezTo>
                <a:cubicBezTo>
                  <a:pt x="5934866" y="1334532"/>
                  <a:pt x="5940669" y="1334532"/>
                  <a:pt x="5946470" y="1332597"/>
                </a:cubicBezTo>
                <a:cubicBezTo>
                  <a:pt x="5946470" y="1332597"/>
                  <a:pt x="5948403" y="1332597"/>
                  <a:pt x="5950339" y="1332597"/>
                </a:cubicBezTo>
                <a:cubicBezTo>
                  <a:pt x="5956142" y="1332597"/>
                  <a:pt x="5963876" y="1324860"/>
                  <a:pt x="5967745" y="1336465"/>
                </a:cubicBezTo>
                <a:cubicBezTo>
                  <a:pt x="5969680" y="1342269"/>
                  <a:pt x="5973548" y="1348070"/>
                  <a:pt x="5971613" y="1355806"/>
                </a:cubicBezTo>
                <a:cubicBezTo>
                  <a:pt x="5969680" y="1361607"/>
                  <a:pt x="5971613" y="1367411"/>
                  <a:pt x="5973548" y="1371279"/>
                </a:cubicBezTo>
                <a:cubicBezTo>
                  <a:pt x="5973548" y="1373212"/>
                  <a:pt x="5977417" y="1373212"/>
                  <a:pt x="5981285" y="1375148"/>
                </a:cubicBezTo>
                <a:cubicBezTo>
                  <a:pt x="5979352" y="1369344"/>
                  <a:pt x="5979352" y="1363543"/>
                  <a:pt x="5977417" y="1359675"/>
                </a:cubicBezTo>
                <a:cubicBezTo>
                  <a:pt x="5977417" y="1357739"/>
                  <a:pt x="5979352" y="1357739"/>
                  <a:pt x="5979352" y="1357739"/>
                </a:cubicBezTo>
                <a:cubicBezTo>
                  <a:pt x="5981285" y="1359675"/>
                  <a:pt x="5983218" y="1361607"/>
                  <a:pt x="5985153" y="1365478"/>
                </a:cubicBezTo>
                <a:cubicBezTo>
                  <a:pt x="5990954" y="1361607"/>
                  <a:pt x="5994822" y="1357739"/>
                  <a:pt x="5998691" y="1353873"/>
                </a:cubicBezTo>
                <a:cubicBezTo>
                  <a:pt x="5998691" y="1348070"/>
                  <a:pt x="5996758" y="1342269"/>
                  <a:pt x="5990954" y="1338398"/>
                </a:cubicBezTo>
                <a:cubicBezTo>
                  <a:pt x="5985153" y="1336465"/>
                  <a:pt x="5979352" y="1334532"/>
                  <a:pt x="5969680" y="1332597"/>
                </a:cubicBezTo>
                <a:cubicBezTo>
                  <a:pt x="5985153" y="1315191"/>
                  <a:pt x="6004494" y="1305519"/>
                  <a:pt x="6021900" y="1290046"/>
                </a:cubicBezTo>
                <a:cubicBezTo>
                  <a:pt x="6019967" y="1297782"/>
                  <a:pt x="6019967" y="1303586"/>
                  <a:pt x="6018032" y="1313255"/>
                </a:cubicBezTo>
                <a:cubicBezTo>
                  <a:pt x="6014164" y="1309387"/>
                  <a:pt x="6014164" y="1307454"/>
                  <a:pt x="6012228" y="1305519"/>
                </a:cubicBezTo>
                <a:cubicBezTo>
                  <a:pt x="6002559" y="1307454"/>
                  <a:pt x="6010295" y="1315191"/>
                  <a:pt x="6008363" y="1320992"/>
                </a:cubicBezTo>
                <a:cubicBezTo>
                  <a:pt x="6006427" y="1322927"/>
                  <a:pt x="6004494" y="1324860"/>
                  <a:pt x="6000626" y="1328729"/>
                </a:cubicBezTo>
                <a:cubicBezTo>
                  <a:pt x="6004494" y="1330664"/>
                  <a:pt x="6006427" y="1332597"/>
                  <a:pt x="6008363" y="1336465"/>
                </a:cubicBezTo>
                <a:cubicBezTo>
                  <a:pt x="6010295" y="1338398"/>
                  <a:pt x="6010295" y="1342269"/>
                  <a:pt x="6010295" y="1348070"/>
                </a:cubicBezTo>
                <a:lnTo>
                  <a:pt x="6012406" y="1347015"/>
                </a:lnTo>
                <a:lnTo>
                  <a:pt x="6016099" y="1351938"/>
                </a:lnTo>
                <a:cubicBezTo>
                  <a:pt x="6012228" y="1359675"/>
                  <a:pt x="6008363" y="1367411"/>
                  <a:pt x="6002559" y="1377081"/>
                </a:cubicBezTo>
                <a:cubicBezTo>
                  <a:pt x="6014164" y="1375148"/>
                  <a:pt x="6019967" y="1369344"/>
                  <a:pt x="6025769" y="1363543"/>
                </a:cubicBezTo>
                <a:cubicBezTo>
                  <a:pt x="6031570" y="1359675"/>
                  <a:pt x="6037373" y="1353873"/>
                  <a:pt x="6045110" y="1350003"/>
                </a:cubicBezTo>
                <a:cubicBezTo>
                  <a:pt x="6045110" y="1351938"/>
                  <a:pt x="6045110" y="1353873"/>
                  <a:pt x="6043177" y="1355806"/>
                </a:cubicBezTo>
                <a:cubicBezTo>
                  <a:pt x="6039306" y="1361607"/>
                  <a:pt x="6035438" y="1367411"/>
                  <a:pt x="6031570" y="1371279"/>
                </a:cubicBezTo>
                <a:lnTo>
                  <a:pt x="6021900" y="1379338"/>
                </a:lnTo>
                <a:lnTo>
                  <a:pt x="6021900" y="1375148"/>
                </a:lnTo>
                <a:cubicBezTo>
                  <a:pt x="6019967" y="1375148"/>
                  <a:pt x="6018032" y="1375148"/>
                  <a:pt x="6016099" y="1375148"/>
                </a:cubicBezTo>
                <a:cubicBezTo>
                  <a:pt x="6016099" y="1375148"/>
                  <a:pt x="6016099" y="1379016"/>
                  <a:pt x="6016099" y="1379016"/>
                </a:cubicBezTo>
                <a:lnTo>
                  <a:pt x="6020519" y="1380489"/>
                </a:lnTo>
                <a:lnTo>
                  <a:pt x="6019967" y="1380949"/>
                </a:lnTo>
                <a:cubicBezTo>
                  <a:pt x="6018032" y="1382884"/>
                  <a:pt x="6016099" y="1380949"/>
                  <a:pt x="6014164" y="1382884"/>
                </a:cubicBezTo>
                <a:cubicBezTo>
                  <a:pt x="6002559" y="1390621"/>
                  <a:pt x="6000626" y="1390621"/>
                  <a:pt x="5989021" y="1384817"/>
                </a:cubicBezTo>
                <a:lnTo>
                  <a:pt x="5987086" y="1385301"/>
                </a:lnTo>
                <a:lnTo>
                  <a:pt x="5987086" y="1377081"/>
                </a:lnTo>
                <a:cubicBezTo>
                  <a:pt x="5985153" y="1377081"/>
                  <a:pt x="5985153" y="1377081"/>
                  <a:pt x="5983218" y="1377081"/>
                </a:cubicBezTo>
                <a:cubicBezTo>
                  <a:pt x="5980317" y="1381916"/>
                  <a:pt x="5978867" y="1384334"/>
                  <a:pt x="5979350" y="1386027"/>
                </a:cubicBezTo>
                <a:lnTo>
                  <a:pt x="5982327" y="1387795"/>
                </a:lnTo>
                <a:lnTo>
                  <a:pt x="5987086" y="1392554"/>
                </a:lnTo>
                <a:cubicBezTo>
                  <a:pt x="5992890" y="1396422"/>
                  <a:pt x="5992890" y="1400290"/>
                  <a:pt x="5989021" y="1406094"/>
                </a:cubicBezTo>
                <a:cubicBezTo>
                  <a:pt x="5983218" y="1411895"/>
                  <a:pt x="5977417" y="1417699"/>
                  <a:pt x="5971613" y="1421567"/>
                </a:cubicBezTo>
                <a:cubicBezTo>
                  <a:pt x="5967745" y="1425435"/>
                  <a:pt x="5961943" y="1427368"/>
                  <a:pt x="5958075" y="1431236"/>
                </a:cubicBezTo>
                <a:cubicBezTo>
                  <a:pt x="5954207" y="1435104"/>
                  <a:pt x="5950339" y="1438973"/>
                  <a:pt x="5946470" y="1442841"/>
                </a:cubicBezTo>
                <a:cubicBezTo>
                  <a:pt x="5944535" y="1446709"/>
                  <a:pt x="5942602" y="1450577"/>
                  <a:pt x="5940669" y="1454446"/>
                </a:cubicBezTo>
                <a:cubicBezTo>
                  <a:pt x="5940669" y="1454446"/>
                  <a:pt x="5942602" y="1456379"/>
                  <a:pt x="5942602" y="1456379"/>
                </a:cubicBezTo>
                <a:cubicBezTo>
                  <a:pt x="5958075" y="1446709"/>
                  <a:pt x="5971613" y="1435104"/>
                  <a:pt x="5987086" y="1423500"/>
                </a:cubicBezTo>
                <a:cubicBezTo>
                  <a:pt x="5989021" y="1425435"/>
                  <a:pt x="5989021" y="1427368"/>
                  <a:pt x="5992890" y="1429303"/>
                </a:cubicBezTo>
                <a:cubicBezTo>
                  <a:pt x="5996758" y="1425435"/>
                  <a:pt x="5998691" y="1421567"/>
                  <a:pt x="6002559" y="1417699"/>
                </a:cubicBezTo>
                <a:cubicBezTo>
                  <a:pt x="6006427" y="1423500"/>
                  <a:pt x="6010295" y="1427368"/>
                  <a:pt x="6016099" y="1423500"/>
                </a:cubicBezTo>
                <a:cubicBezTo>
                  <a:pt x="6004494" y="1435104"/>
                  <a:pt x="5994822" y="1446709"/>
                  <a:pt x="5983218" y="1458314"/>
                </a:cubicBezTo>
                <a:cubicBezTo>
                  <a:pt x="5967745" y="1473787"/>
                  <a:pt x="5954207" y="1491193"/>
                  <a:pt x="5936801" y="1504733"/>
                </a:cubicBezTo>
                <a:cubicBezTo>
                  <a:pt x="5929065" y="1511502"/>
                  <a:pt x="5921328" y="1518271"/>
                  <a:pt x="5912866" y="1523347"/>
                </a:cubicBezTo>
                <a:lnTo>
                  <a:pt x="5890595" y="1530009"/>
                </a:lnTo>
                <a:lnTo>
                  <a:pt x="5892317" y="1527943"/>
                </a:lnTo>
                <a:cubicBezTo>
                  <a:pt x="5894250" y="1526007"/>
                  <a:pt x="5894250" y="1524074"/>
                  <a:pt x="5898118" y="1522139"/>
                </a:cubicBezTo>
                <a:cubicBezTo>
                  <a:pt x="5894250" y="1522139"/>
                  <a:pt x="5892317" y="1522139"/>
                  <a:pt x="5890382" y="1522139"/>
                </a:cubicBezTo>
                <a:lnTo>
                  <a:pt x="5875713" y="1538142"/>
                </a:lnTo>
                <a:lnTo>
                  <a:pt x="5871041" y="1541480"/>
                </a:lnTo>
                <a:cubicBezTo>
                  <a:pt x="5867172" y="1551151"/>
                  <a:pt x="5862337" y="1559371"/>
                  <a:pt x="5856293" y="1566382"/>
                </a:cubicBezTo>
                <a:lnTo>
                  <a:pt x="5846918" y="1573903"/>
                </a:lnTo>
                <a:lnTo>
                  <a:pt x="5843963" y="1572426"/>
                </a:lnTo>
                <a:cubicBezTo>
                  <a:pt x="5842028" y="1574359"/>
                  <a:pt x="5842028" y="1576295"/>
                  <a:pt x="5840095" y="1578227"/>
                </a:cubicBezTo>
                <a:lnTo>
                  <a:pt x="5840732" y="1578866"/>
                </a:lnTo>
                <a:lnTo>
                  <a:pt x="5834293" y="1584031"/>
                </a:lnTo>
                <a:cubicBezTo>
                  <a:pt x="5832358" y="1582096"/>
                  <a:pt x="5830425" y="1580163"/>
                  <a:pt x="5828490" y="1580163"/>
                </a:cubicBezTo>
                <a:cubicBezTo>
                  <a:pt x="5828490" y="1582096"/>
                  <a:pt x="5828490" y="1584031"/>
                  <a:pt x="5828490" y="1585964"/>
                </a:cubicBezTo>
                <a:lnTo>
                  <a:pt x="5831678" y="1585964"/>
                </a:lnTo>
                <a:lnTo>
                  <a:pt x="5814235" y="1598856"/>
                </a:lnTo>
                <a:lnTo>
                  <a:pt x="5813501" y="1598537"/>
                </a:lnTo>
                <a:cubicBezTo>
                  <a:pt x="5810600" y="1599987"/>
                  <a:pt x="5808182" y="1603371"/>
                  <a:pt x="5805280" y="1605305"/>
                </a:cubicBezTo>
                <a:cubicBezTo>
                  <a:pt x="5805280" y="1599504"/>
                  <a:pt x="5803347" y="1591768"/>
                  <a:pt x="5803347" y="1585964"/>
                </a:cubicBezTo>
                <a:lnTo>
                  <a:pt x="5770466" y="1603834"/>
                </a:lnTo>
                <a:lnTo>
                  <a:pt x="5770466" y="1599504"/>
                </a:lnTo>
                <a:lnTo>
                  <a:pt x="5757403" y="1610934"/>
                </a:lnTo>
                <a:lnTo>
                  <a:pt x="5714378" y="1634316"/>
                </a:lnTo>
                <a:cubicBezTo>
                  <a:pt x="5708576" y="1638184"/>
                  <a:pt x="5700840" y="1643988"/>
                  <a:pt x="5695036" y="1647856"/>
                </a:cubicBezTo>
                <a:cubicBezTo>
                  <a:pt x="5683432" y="1655593"/>
                  <a:pt x="5671829" y="1663329"/>
                  <a:pt x="5660224" y="1671066"/>
                </a:cubicBezTo>
                <a:cubicBezTo>
                  <a:pt x="5658289" y="1672999"/>
                  <a:pt x="5654421" y="1672999"/>
                  <a:pt x="5650553" y="1672999"/>
                </a:cubicBezTo>
                <a:cubicBezTo>
                  <a:pt x="5646684" y="1672999"/>
                  <a:pt x="5644749" y="1672999"/>
                  <a:pt x="5642816" y="1672999"/>
                </a:cubicBezTo>
                <a:cubicBezTo>
                  <a:pt x="5642816" y="1674934"/>
                  <a:pt x="5640883" y="1674934"/>
                  <a:pt x="5640883" y="1674934"/>
                </a:cubicBezTo>
                <a:cubicBezTo>
                  <a:pt x="5640883" y="1676867"/>
                  <a:pt x="5638948" y="1678802"/>
                  <a:pt x="5638948" y="1682670"/>
                </a:cubicBezTo>
                <a:cubicBezTo>
                  <a:pt x="5638948" y="1686539"/>
                  <a:pt x="5637015" y="1688472"/>
                  <a:pt x="5635080" y="1690407"/>
                </a:cubicBezTo>
                <a:cubicBezTo>
                  <a:pt x="5633147" y="1692340"/>
                  <a:pt x="5633147" y="1692340"/>
                  <a:pt x="5631211" y="1694275"/>
                </a:cubicBezTo>
                <a:cubicBezTo>
                  <a:pt x="5637015" y="1694275"/>
                  <a:pt x="5640883" y="1694275"/>
                  <a:pt x="5644749" y="1698144"/>
                </a:cubicBezTo>
                <a:cubicBezTo>
                  <a:pt x="5637015" y="1703945"/>
                  <a:pt x="5637015" y="1703945"/>
                  <a:pt x="5625410" y="1700077"/>
                </a:cubicBezTo>
                <a:cubicBezTo>
                  <a:pt x="5623475" y="1702012"/>
                  <a:pt x="5621542" y="1703945"/>
                  <a:pt x="5619607" y="1705878"/>
                </a:cubicBezTo>
                <a:cubicBezTo>
                  <a:pt x="5617674" y="1698144"/>
                  <a:pt x="5615738" y="1694275"/>
                  <a:pt x="5617674" y="1690407"/>
                </a:cubicBezTo>
                <a:cubicBezTo>
                  <a:pt x="5617674" y="1688472"/>
                  <a:pt x="5617674" y="1688472"/>
                  <a:pt x="5617674" y="1688472"/>
                </a:cubicBezTo>
                <a:cubicBezTo>
                  <a:pt x="5613805" y="1690407"/>
                  <a:pt x="5608002" y="1694275"/>
                  <a:pt x="5604133" y="1696208"/>
                </a:cubicBezTo>
                <a:cubicBezTo>
                  <a:pt x="5606069" y="1709748"/>
                  <a:pt x="5613805" y="1721353"/>
                  <a:pt x="5623475" y="1731022"/>
                </a:cubicBezTo>
                <a:cubicBezTo>
                  <a:pt x="5625410" y="1731022"/>
                  <a:pt x="5625410" y="1732958"/>
                  <a:pt x="5625410" y="1732958"/>
                </a:cubicBezTo>
                <a:cubicBezTo>
                  <a:pt x="5627343" y="1731022"/>
                  <a:pt x="5629278" y="1729087"/>
                  <a:pt x="5631211" y="1727154"/>
                </a:cubicBezTo>
                <a:cubicBezTo>
                  <a:pt x="5635080" y="1727154"/>
                  <a:pt x="5638948" y="1729087"/>
                  <a:pt x="5644749" y="1731022"/>
                </a:cubicBezTo>
                <a:cubicBezTo>
                  <a:pt x="5646684" y="1729087"/>
                  <a:pt x="5646684" y="1729087"/>
                  <a:pt x="5648620" y="1727154"/>
                </a:cubicBezTo>
                <a:cubicBezTo>
                  <a:pt x="5646684" y="1727154"/>
                  <a:pt x="5644749" y="1727154"/>
                  <a:pt x="5640883" y="1725219"/>
                </a:cubicBezTo>
                <a:cubicBezTo>
                  <a:pt x="5640883" y="1719418"/>
                  <a:pt x="5646684" y="1719418"/>
                  <a:pt x="5650553" y="1717482"/>
                </a:cubicBezTo>
                <a:cubicBezTo>
                  <a:pt x="5650553" y="1717482"/>
                  <a:pt x="5652488" y="1717482"/>
                  <a:pt x="5654421" y="1719418"/>
                </a:cubicBezTo>
                <a:lnTo>
                  <a:pt x="5661103" y="1711066"/>
                </a:lnTo>
                <a:lnTo>
                  <a:pt x="5656356" y="1721353"/>
                </a:lnTo>
                <a:cubicBezTo>
                  <a:pt x="5658289" y="1725219"/>
                  <a:pt x="5660224" y="1729087"/>
                  <a:pt x="5664090" y="1734891"/>
                </a:cubicBezTo>
                <a:cubicBezTo>
                  <a:pt x="5664090" y="1734891"/>
                  <a:pt x="5662157" y="1736824"/>
                  <a:pt x="5660224" y="1740692"/>
                </a:cubicBezTo>
                <a:cubicBezTo>
                  <a:pt x="5662157" y="1740692"/>
                  <a:pt x="5662157" y="1742627"/>
                  <a:pt x="5664090" y="1744560"/>
                </a:cubicBezTo>
                <a:cubicBezTo>
                  <a:pt x="5666026" y="1744560"/>
                  <a:pt x="5666026" y="1746496"/>
                  <a:pt x="5667959" y="1748429"/>
                </a:cubicBezTo>
                <a:cubicBezTo>
                  <a:pt x="5667959" y="1750364"/>
                  <a:pt x="5666026" y="1752297"/>
                  <a:pt x="5666026" y="1752297"/>
                </a:cubicBezTo>
                <a:cubicBezTo>
                  <a:pt x="5666026" y="1752297"/>
                  <a:pt x="5664090" y="1754232"/>
                  <a:pt x="5664090" y="1754232"/>
                </a:cubicBezTo>
                <a:cubicBezTo>
                  <a:pt x="5664090" y="1761969"/>
                  <a:pt x="5664090" y="1771638"/>
                  <a:pt x="5664090" y="1779374"/>
                </a:cubicBezTo>
                <a:cubicBezTo>
                  <a:pt x="5664090" y="1779374"/>
                  <a:pt x="5666026" y="1779374"/>
                  <a:pt x="5666026" y="1779374"/>
                </a:cubicBezTo>
                <a:cubicBezTo>
                  <a:pt x="5666026" y="1779374"/>
                  <a:pt x="5666026" y="1781310"/>
                  <a:pt x="5666026" y="1781310"/>
                </a:cubicBezTo>
                <a:cubicBezTo>
                  <a:pt x="5666026" y="1781310"/>
                  <a:pt x="5664090" y="1783243"/>
                  <a:pt x="5664090" y="1785178"/>
                </a:cubicBezTo>
                <a:lnTo>
                  <a:pt x="5667959" y="1785178"/>
                </a:lnTo>
                <a:cubicBezTo>
                  <a:pt x="5660224" y="1785178"/>
                  <a:pt x="5662157" y="1790979"/>
                  <a:pt x="5658289" y="1792912"/>
                </a:cubicBezTo>
                <a:cubicBezTo>
                  <a:pt x="5656356" y="1794848"/>
                  <a:pt x="5656356" y="1794848"/>
                  <a:pt x="5654421" y="1794848"/>
                </a:cubicBezTo>
                <a:lnTo>
                  <a:pt x="5653777" y="1795492"/>
                </a:lnTo>
                <a:lnTo>
                  <a:pt x="5652488" y="1792912"/>
                </a:lnTo>
                <a:cubicBezTo>
                  <a:pt x="5650553" y="1792912"/>
                  <a:pt x="5648620" y="1792912"/>
                  <a:pt x="5648620" y="1792912"/>
                </a:cubicBezTo>
                <a:cubicBezTo>
                  <a:pt x="5642816" y="1798716"/>
                  <a:pt x="5637015" y="1806452"/>
                  <a:pt x="5631211" y="1812254"/>
                </a:cubicBezTo>
                <a:lnTo>
                  <a:pt x="5631521" y="1814730"/>
                </a:lnTo>
                <a:lnTo>
                  <a:pt x="5621542" y="1818057"/>
                </a:lnTo>
                <a:cubicBezTo>
                  <a:pt x="5625410" y="1819992"/>
                  <a:pt x="5627343" y="1821925"/>
                  <a:pt x="5631211" y="1825794"/>
                </a:cubicBezTo>
                <a:lnTo>
                  <a:pt x="5632854" y="1825383"/>
                </a:lnTo>
                <a:lnTo>
                  <a:pt x="5633147" y="1827726"/>
                </a:lnTo>
                <a:cubicBezTo>
                  <a:pt x="5633147" y="1831595"/>
                  <a:pt x="5633147" y="1835463"/>
                  <a:pt x="5633147" y="1839331"/>
                </a:cubicBezTo>
                <a:cubicBezTo>
                  <a:pt x="5638948" y="1835463"/>
                  <a:pt x="5642816" y="1831595"/>
                  <a:pt x="5646684" y="1829662"/>
                </a:cubicBezTo>
                <a:cubicBezTo>
                  <a:pt x="5648620" y="1829662"/>
                  <a:pt x="5652488" y="1829662"/>
                  <a:pt x="5654421" y="1829662"/>
                </a:cubicBezTo>
                <a:cubicBezTo>
                  <a:pt x="5652488" y="1833530"/>
                  <a:pt x="5650553" y="1837398"/>
                  <a:pt x="5648620" y="1841267"/>
                </a:cubicBezTo>
                <a:cubicBezTo>
                  <a:pt x="5654421" y="1837398"/>
                  <a:pt x="5660224" y="1833530"/>
                  <a:pt x="5667959" y="1831595"/>
                </a:cubicBezTo>
                <a:cubicBezTo>
                  <a:pt x="5669894" y="1831595"/>
                  <a:pt x="5669894" y="1829662"/>
                  <a:pt x="5671829" y="1829662"/>
                </a:cubicBezTo>
                <a:cubicBezTo>
                  <a:pt x="5671829" y="1827726"/>
                  <a:pt x="5673762" y="1827726"/>
                  <a:pt x="5673762" y="1825794"/>
                </a:cubicBezTo>
                <a:cubicBezTo>
                  <a:pt x="5675697" y="1816122"/>
                  <a:pt x="5683432" y="1816122"/>
                  <a:pt x="5689235" y="1814189"/>
                </a:cubicBezTo>
                <a:cubicBezTo>
                  <a:pt x="5687300" y="1816122"/>
                  <a:pt x="5685367" y="1819992"/>
                  <a:pt x="5683432" y="1821925"/>
                </a:cubicBezTo>
                <a:cubicBezTo>
                  <a:pt x="5689235" y="1821925"/>
                  <a:pt x="5695036" y="1823858"/>
                  <a:pt x="5700840" y="1823858"/>
                </a:cubicBezTo>
                <a:cubicBezTo>
                  <a:pt x="5706641" y="1823858"/>
                  <a:pt x="5708576" y="1829662"/>
                  <a:pt x="5704708" y="1833530"/>
                </a:cubicBezTo>
                <a:cubicBezTo>
                  <a:pt x="5700840" y="1839331"/>
                  <a:pt x="5695036" y="1841267"/>
                  <a:pt x="5691168" y="1845135"/>
                </a:cubicBezTo>
                <a:cubicBezTo>
                  <a:pt x="5687300" y="1843200"/>
                  <a:pt x="5685367" y="1841267"/>
                  <a:pt x="5683432" y="1839331"/>
                </a:cubicBezTo>
                <a:cubicBezTo>
                  <a:pt x="5681499" y="1839331"/>
                  <a:pt x="5675697" y="1835463"/>
                  <a:pt x="5671829" y="1833530"/>
                </a:cubicBezTo>
                <a:cubicBezTo>
                  <a:pt x="5666026" y="1837398"/>
                  <a:pt x="5660224" y="1843200"/>
                  <a:pt x="5658289" y="1850936"/>
                </a:cubicBezTo>
                <a:cubicBezTo>
                  <a:pt x="5662157" y="1850936"/>
                  <a:pt x="5664090" y="1852871"/>
                  <a:pt x="5666026" y="1852871"/>
                </a:cubicBezTo>
                <a:cubicBezTo>
                  <a:pt x="5664090" y="1862541"/>
                  <a:pt x="5660224" y="1870277"/>
                  <a:pt x="5646684" y="1870277"/>
                </a:cubicBezTo>
                <a:cubicBezTo>
                  <a:pt x="5646684" y="1866409"/>
                  <a:pt x="5648620" y="1862541"/>
                  <a:pt x="5650553" y="1856740"/>
                </a:cubicBezTo>
                <a:cubicBezTo>
                  <a:pt x="5640883" y="1854804"/>
                  <a:pt x="5637015" y="1860608"/>
                  <a:pt x="5631211" y="1864476"/>
                </a:cubicBezTo>
                <a:cubicBezTo>
                  <a:pt x="5629278" y="1866409"/>
                  <a:pt x="5627343" y="1868344"/>
                  <a:pt x="5623475" y="1870277"/>
                </a:cubicBezTo>
                <a:cubicBezTo>
                  <a:pt x="5617674" y="1887686"/>
                  <a:pt x="5613805" y="1907027"/>
                  <a:pt x="5604133" y="1924433"/>
                </a:cubicBezTo>
                <a:cubicBezTo>
                  <a:pt x="5596397" y="1937971"/>
                  <a:pt x="5594464" y="1951511"/>
                  <a:pt x="5588663" y="1965049"/>
                </a:cubicBezTo>
                <a:cubicBezTo>
                  <a:pt x="5580924" y="1982457"/>
                  <a:pt x="5573190" y="1999863"/>
                  <a:pt x="5565453" y="2015336"/>
                </a:cubicBezTo>
                <a:cubicBezTo>
                  <a:pt x="5571255" y="2013400"/>
                  <a:pt x="5577056" y="2011468"/>
                  <a:pt x="5582859" y="2011468"/>
                </a:cubicBezTo>
                <a:cubicBezTo>
                  <a:pt x="5584795" y="2011468"/>
                  <a:pt x="5586728" y="2013400"/>
                  <a:pt x="5588663" y="2013400"/>
                </a:cubicBezTo>
                <a:cubicBezTo>
                  <a:pt x="5580924" y="2019204"/>
                  <a:pt x="5571255" y="2023072"/>
                  <a:pt x="5561585" y="2025005"/>
                </a:cubicBezTo>
                <a:cubicBezTo>
                  <a:pt x="5555781" y="2038545"/>
                  <a:pt x="5549980" y="2052083"/>
                  <a:pt x="5544177" y="2065623"/>
                </a:cubicBezTo>
                <a:cubicBezTo>
                  <a:pt x="5544177" y="2065623"/>
                  <a:pt x="5542244" y="2067556"/>
                  <a:pt x="5542244" y="2069491"/>
                </a:cubicBezTo>
                <a:cubicBezTo>
                  <a:pt x="5546112" y="2065623"/>
                  <a:pt x="5551913" y="2061755"/>
                  <a:pt x="5559650" y="2063688"/>
                </a:cubicBezTo>
                <a:cubicBezTo>
                  <a:pt x="5551913" y="2067556"/>
                  <a:pt x="5549980" y="2075293"/>
                  <a:pt x="5546112" y="2081096"/>
                </a:cubicBezTo>
                <a:cubicBezTo>
                  <a:pt x="5544177" y="2084962"/>
                  <a:pt x="5540308" y="2086897"/>
                  <a:pt x="5536440" y="2088830"/>
                </a:cubicBezTo>
                <a:cubicBezTo>
                  <a:pt x="5534507" y="2088830"/>
                  <a:pt x="5532572" y="2090766"/>
                  <a:pt x="5530639" y="2092698"/>
                </a:cubicBezTo>
                <a:cubicBezTo>
                  <a:pt x="5519034" y="2119776"/>
                  <a:pt x="5509362" y="2144921"/>
                  <a:pt x="5497758" y="2170064"/>
                </a:cubicBezTo>
                <a:cubicBezTo>
                  <a:pt x="5495825" y="2177800"/>
                  <a:pt x="5491956" y="2185537"/>
                  <a:pt x="5490021" y="2193273"/>
                </a:cubicBezTo>
                <a:cubicBezTo>
                  <a:pt x="5488088" y="2197142"/>
                  <a:pt x="5488088" y="2201010"/>
                  <a:pt x="5488088" y="2206811"/>
                </a:cubicBezTo>
                <a:cubicBezTo>
                  <a:pt x="5495825" y="2202943"/>
                  <a:pt x="5499693" y="2202943"/>
                  <a:pt x="5503561" y="2201010"/>
                </a:cubicBezTo>
                <a:cubicBezTo>
                  <a:pt x="5517099" y="2195206"/>
                  <a:pt x="5530639" y="2187470"/>
                  <a:pt x="5546112" y="2183602"/>
                </a:cubicBezTo>
                <a:cubicBezTo>
                  <a:pt x="5567386" y="2177800"/>
                  <a:pt x="5658289" y="2129448"/>
                  <a:pt x="5679566" y="2123645"/>
                </a:cubicBezTo>
                <a:cubicBezTo>
                  <a:pt x="5693103" y="2121712"/>
                  <a:pt x="5706641" y="2115908"/>
                  <a:pt x="5720181" y="2113975"/>
                </a:cubicBezTo>
                <a:cubicBezTo>
                  <a:pt x="5731784" y="2112040"/>
                  <a:pt x="5745324" y="2113975"/>
                  <a:pt x="5756928" y="2113975"/>
                </a:cubicBezTo>
                <a:cubicBezTo>
                  <a:pt x="5766600" y="2113975"/>
                  <a:pt x="5774334" y="2115908"/>
                  <a:pt x="5782073" y="2121712"/>
                </a:cubicBezTo>
                <a:cubicBezTo>
                  <a:pt x="5789807" y="2127513"/>
                  <a:pt x="5799479" y="2131381"/>
                  <a:pt x="5811084" y="2129448"/>
                </a:cubicBezTo>
                <a:cubicBezTo>
                  <a:pt x="5822689" y="2127513"/>
                  <a:pt x="5828490" y="2135250"/>
                  <a:pt x="5836226" y="2141053"/>
                </a:cubicBezTo>
                <a:cubicBezTo>
                  <a:pt x="5838159" y="2144921"/>
                  <a:pt x="5842028" y="2146854"/>
                  <a:pt x="5845898" y="2148789"/>
                </a:cubicBezTo>
                <a:cubicBezTo>
                  <a:pt x="5859436" y="2154591"/>
                  <a:pt x="5872976" y="2164262"/>
                  <a:pt x="5882645" y="2175867"/>
                </a:cubicBezTo>
                <a:cubicBezTo>
                  <a:pt x="5888447" y="2181669"/>
                  <a:pt x="5896183" y="2185537"/>
                  <a:pt x="5898118" y="2195206"/>
                </a:cubicBezTo>
                <a:cubicBezTo>
                  <a:pt x="5898118" y="2197142"/>
                  <a:pt x="5900051" y="2199075"/>
                  <a:pt x="5901987" y="2199075"/>
                </a:cubicBezTo>
                <a:cubicBezTo>
                  <a:pt x="5917460" y="2202943"/>
                  <a:pt x="5921328" y="2218416"/>
                  <a:pt x="5929065" y="2230020"/>
                </a:cubicBezTo>
                <a:cubicBezTo>
                  <a:pt x="5932933" y="2237757"/>
                  <a:pt x="5936801" y="2245494"/>
                  <a:pt x="5942602" y="2251297"/>
                </a:cubicBezTo>
                <a:cubicBezTo>
                  <a:pt x="5954207" y="2260966"/>
                  <a:pt x="5960011" y="2276439"/>
                  <a:pt x="5967745" y="2289977"/>
                </a:cubicBezTo>
                <a:cubicBezTo>
                  <a:pt x="5971613" y="2295781"/>
                  <a:pt x="5975481" y="2299649"/>
                  <a:pt x="5979352" y="2305450"/>
                </a:cubicBezTo>
                <a:cubicBezTo>
                  <a:pt x="5985153" y="2313187"/>
                  <a:pt x="5990954" y="2318990"/>
                  <a:pt x="5992890" y="2326727"/>
                </a:cubicBezTo>
                <a:cubicBezTo>
                  <a:pt x="5994822" y="2334461"/>
                  <a:pt x="5998691" y="2342200"/>
                  <a:pt x="6000626" y="2349937"/>
                </a:cubicBezTo>
                <a:cubicBezTo>
                  <a:pt x="6002559" y="2355738"/>
                  <a:pt x="6000626" y="2363474"/>
                  <a:pt x="6000626" y="2371211"/>
                </a:cubicBezTo>
                <a:cubicBezTo>
                  <a:pt x="6000626" y="2373143"/>
                  <a:pt x="5998691" y="2375079"/>
                  <a:pt x="6000626" y="2377012"/>
                </a:cubicBezTo>
                <a:cubicBezTo>
                  <a:pt x="6014164" y="2400222"/>
                  <a:pt x="6010295" y="2423431"/>
                  <a:pt x="6008363" y="2446640"/>
                </a:cubicBezTo>
                <a:cubicBezTo>
                  <a:pt x="6008363" y="2462114"/>
                  <a:pt x="6000626" y="2475651"/>
                  <a:pt x="5990954" y="2489191"/>
                </a:cubicBezTo>
                <a:cubicBezTo>
                  <a:pt x="5987086" y="2493059"/>
                  <a:pt x="5985153" y="2500796"/>
                  <a:pt x="5981285" y="2508533"/>
                </a:cubicBezTo>
                <a:cubicBezTo>
                  <a:pt x="5981285" y="2510466"/>
                  <a:pt x="5981285" y="2512401"/>
                  <a:pt x="5979352" y="2514334"/>
                </a:cubicBezTo>
                <a:cubicBezTo>
                  <a:pt x="5971613" y="2525938"/>
                  <a:pt x="5963876" y="2537543"/>
                  <a:pt x="5956142" y="2547213"/>
                </a:cubicBezTo>
                <a:cubicBezTo>
                  <a:pt x="5942602" y="2564621"/>
                  <a:pt x="5929065" y="2583962"/>
                  <a:pt x="5913591" y="2599435"/>
                </a:cubicBezTo>
                <a:cubicBezTo>
                  <a:pt x="5892317" y="2620710"/>
                  <a:pt x="5869108" y="2638115"/>
                  <a:pt x="5847831" y="2655524"/>
                </a:cubicBezTo>
                <a:cubicBezTo>
                  <a:pt x="5845898" y="2657457"/>
                  <a:pt x="5843963" y="2657457"/>
                  <a:pt x="5842028" y="2659392"/>
                </a:cubicBezTo>
                <a:cubicBezTo>
                  <a:pt x="5820753" y="2684535"/>
                  <a:pt x="5716313" y="2736755"/>
                  <a:pt x="5693103" y="2759964"/>
                </a:cubicBezTo>
                <a:cubicBezTo>
                  <a:pt x="5677630" y="2775438"/>
                  <a:pt x="5660224" y="2788978"/>
                  <a:pt x="5642816" y="2804451"/>
                </a:cubicBezTo>
                <a:cubicBezTo>
                  <a:pt x="5621542" y="2823789"/>
                  <a:pt x="5598332" y="2843131"/>
                  <a:pt x="5577056" y="2862472"/>
                </a:cubicBezTo>
                <a:cubicBezTo>
                  <a:pt x="5578991" y="2862472"/>
                  <a:pt x="5578991" y="2864407"/>
                  <a:pt x="5580924" y="2866340"/>
                </a:cubicBezTo>
                <a:cubicBezTo>
                  <a:pt x="5586728" y="2862472"/>
                  <a:pt x="5592531" y="2858604"/>
                  <a:pt x="5598332" y="2854735"/>
                </a:cubicBezTo>
                <a:cubicBezTo>
                  <a:pt x="5598332" y="2862472"/>
                  <a:pt x="5596397" y="2866340"/>
                  <a:pt x="5592531" y="2868276"/>
                </a:cubicBezTo>
                <a:cubicBezTo>
                  <a:pt x="5590596" y="2868276"/>
                  <a:pt x="5586728" y="2870208"/>
                  <a:pt x="5582859" y="2870208"/>
                </a:cubicBezTo>
                <a:cubicBezTo>
                  <a:pt x="5577056" y="2872144"/>
                  <a:pt x="5571255" y="2872144"/>
                  <a:pt x="5569322" y="2881813"/>
                </a:cubicBezTo>
                <a:cubicBezTo>
                  <a:pt x="5567386" y="2883749"/>
                  <a:pt x="5563518" y="2885682"/>
                  <a:pt x="5561585" y="2887617"/>
                </a:cubicBezTo>
                <a:cubicBezTo>
                  <a:pt x="5561585" y="2887617"/>
                  <a:pt x="5559650" y="2889550"/>
                  <a:pt x="5559650" y="2889550"/>
                </a:cubicBezTo>
                <a:cubicBezTo>
                  <a:pt x="5561585" y="2891485"/>
                  <a:pt x="5563518" y="2891485"/>
                  <a:pt x="5563518" y="2893418"/>
                </a:cubicBezTo>
                <a:cubicBezTo>
                  <a:pt x="5571255" y="2889550"/>
                  <a:pt x="5577056" y="2885682"/>
                  <a:pt x="5584795" y="2883749"/>
                </a:cubicBezTo>
                <a:cubicBezTo>
                  <a:pt x="5586728" y="2881813"/>
                  <a:pt x="5588663" y="2883749"/>
                  <a:pt x="5592531" y="2885682"/>
                </a:cubicBezTo>
                <a:cubicBezTo>
                  <a:pt x="5586728" y="2887617"/>
                  <a:pt x="5582859" y="2889550"/>
                  <a:pt x="5580924" y="2889550"/>
                </a:cubicBezTo>
                <a:cubicBezTo>
                  <a:pt x="5577056" y="2889550"/>
                  <a:pt x="5575123" y="2889550"/>
                  <a:pt x="5573190" y="2893418"/>
                </a:cubicBezTo>
                <a:cubicBezTo>
                  <a:pt x="5571255" y="2895351"/>
                  <a:pt x="5567386" y="2897287"/>
                  <a:pt x="5563518" y="2897287"/>
                </a:cubicBezTo>
                <a:cubicBezTo>
                  <a:pt x="5563518" y="2897287"/>
                  <a:pt x="5561585" y="2897287"/>
                  <a:pt x="5561585" y="2897287"/>
                </a:cubicBezTo>
                <a:cubicBezTo>
                  <a:pt x="5561585" y="2899219"/>
                  <a:pt x="5561585" y="2899219"/>
                  <a:pt x="5561585" y="2899219"/>
                </a:cubicBezTo>
                <a:cubicBezTo>
                  <a:pt x="5555781" y="2899219"/>
                  <a:pt x="5548045" y="2901155"/>
                  <a:pt x="5542244" y="2901155"/>
                </a:cubicBezTo>
                <a:cubicBezTo>
                  <a:pt x="5538376" y="2901155"/>
                  <a:pt x="5534507" y="2903090"/>
                  <a:pt x="5530639" y="2903090"/>
                </a:cubicBezTo>
                <a:cubicBezTo>
                  <a:pt x="5530639" y="2905023"/>
                  <a:pt x="5528704" y="2905023"/>
                  <a:pt x="5526771" y="2906956"/>
                </a:cubicBezTo>
                <a:cubicBezTo>
                  <a:pt x="5546112" y="2910824"/>
                  <a:pt x="5565453" y="2912759"/>
                  <a:pt x="5584795" y="2910824"/>
                </a:cubicBezTo>
                <a:cubicBezTo>
                  <a:pt x="5580924" y="2910824"/>
                  <a:pt x="5578991" y="2912759"/>
                  <a:pt x="5577056" y="2912759"/>
                </a:cubicBezTo>
                <a:cubicBezTo>
                  <a:pt x="5590596" y="2912759"/>
                  <a:pt x="5604133" y="2914692"/>
                  <a:pt x="5617674" y="2916628"/>
                </a:cubicBezTo>
                <a:cubicBezTo>
                  <a:pt x="5619607" y="2916628"/>
                  <a:pt x="5621542" y="2916628"/>
                  <a:pt x="5623475" y="2916628"/>
                </a:cubicBezTo>
                <a:cubicBezTo>
                  <a:pt x="5625410" y="2916628"/>
                  <a:pt x="5625410" y="2916628"/>
                  <a:pt x="5627343" y="2916628"/>
                </a:cubicBezTo>
                <a:cubicBezTo>
                  <a:pt x="5637015" y="2914692"/>
                  <a:pt x="5642816" y="2914692"/>
                  <a:pt x="5648620" y="2905023"/>
                </a:cubicBezTo>
                <a:cubicBezTo>
                  <a:pt x="5650553" y="2901155"/>
                  <a:pt x="5656356" y="2899219"/>
                  <a:pt x="5662157" y="2899219"/>
                </a:cubicBezTo>
                <a:cubicBezTo>
                  <a:pt x="5660224" y="2901155"/>
                  <a:pt x="5658289" y="2903090"/>
                  <a:pt x="5656356" y="2905023"/>
                </a:cubicBezTo>
                <a:cubicBezTo>
                  <a:pt x="5658289" y="2905023"/>
                  <a:pt x="5658289" y="2906956"/>
                  <a:pt x="5658289" y="2906956"/>
                </a:cubicBezTo>
                <a:cubicBezTo>
                  <a:pt x="5667959" y="2908891"/>
                  <a:pt x="5675697" y="2910824"/>
                  <a:pt x="5685367" y="2910824"/>
                </a:cubicBezTo>
                <a:cubicBezTo>
                  <a:pt x="5698907" y="2910824"/>
                  <a:pt x="5700840" y="2908891"/>
                  <a:pt x="5696972" y="2891485"/>
                </a:cubicBezTo>
                <a:cubicBezTo>
                  <a:pt x="5700840" y="2883749"/>
                  <a:pt x="5706641" y="2889550"/>
                  <a:pt x="5712445" y="2891485"/>
                </a:cubicBezTo>
                <a:cubicBezTo>
                  <a:pt x="5708576" y="2893418"/>
                  <a:pt x="5706641" y="2893418"/>
                  <a:pt x="5702773" y="2895351"/>
                </a:cubicBezTo>
                <a:cubicBezTo>
                  <a:pt x="5704708" y="2897287"/>
                  <a:pt x="5706641" y="2899219"/>
                  <a:pt x="5708576" y="2901155"/>
                </a:cubicBezTo>
                <a:cubicBezTo>
                  <a:pt x="5708576" y="2903090"/>
                  <a:pt x="5706641" y="2905023"/>
                  <a:pt x="5704708" y="2908891"/>
                </a:cubicBezTo>
                <a:cubicBezTo>
                  <a:pt x="5714378" y="2910824"/>
                  <a:pt x="5724049" y="2908891"/>
                  <a:pt x="5733719" y="2908891"/>
                </a:cubicBezTo>
                <a:cubicBezTo>
                  <a:pt x="5733719" y="2910824"/>
                  <a:pt x="5733719" y="2912759"/>
                  <a:pt x="5733719" y="2916628"/>
                </a:cubicBezTo>
                <a:cubicBezTo>
                  <a:pt x="5720181" y="2918561"/>
                  <a:pt x="5706641" y="2920496"/>
                  <a:pt x="5693103" y="2922429"/>
                </a:cubicBezTo>
                <a:cubicBezTo>
                  <a:pt x="5677630" y="2924364"/>
                  <a:pt x="5662157" y="2924364"/>
                  <a:pt x="5646684" y="2926297"/>
                </a:cubicBezTo>
                <a:cubicBezTo>
                  <a:pt x="5648620" y="2928232"/>
                  <a:pt x="5650553" y="2928232"/>
                  <a:pt x="5650553" y="2930165"/>
                </a:cubicBezTo>
                <a:cubicBezTo>
                  <a:pt x="5652488" y="2932101"/>
                  <a:pt x="5652488" y="2932101"/>
                  <a:pt x="5654421" y="2934034"/>
                </a:cubicBezTo>
                <a:cubicBezTo>
                  <a:pt x="5662157" y="2934034"/>
                  <a:pt x="5667959" y="2932101"/>
                  <a:pt x="5673762" y="2932101"/>
                </a:cubicBezTo>
                <a:cubicBezTo>
                  <a:pt x="5669894" y="2934034"/>
                  <a:pt x="5664090" y="2937902"/>
                  <a:pt x="5658289" y="2939837"/>
                </a:cubicBezTo>
                <a:cubicBezTo>
                  <a:pt x="5658289" y="2941770"/>
                  <a:pt x="5658289" y="2945639"/>
                  <a:pt x="5658289" y="2947574"/>
                </a:cubicBezTo>
                <a:cubicBezTo>
                  <a:pt x="5656356" y="2951442"/>
                  <a:pt x="5654421" y="2955310"/>
                  <a:pt x="5652488" y="2959178"/>
                </a:cubicBezTo>
                <a:cubicBezTo>
                  <a:pt x="5654421" y="2959178"/>
                  <a:pt x="5658289" y="2959178"/>
                  <a:pt x="5660224" y="2959178"/>
                </a:cubicBezTo>
                <a:cubicBezTo>
                  <a:pt x="5660224" y="2961111"/>
                  <a:pt x="5658289" y="2963047"/>
                  <a:pt x="5658289" y="2963047"/>
                </a:cubicBezTo>
                <a:cubicBezTo>
                  <a:pt x="5667959" y="2963047"/>
                  <a:pt x="5675697" y="2959178"/>
                  <a:pt x="5687300" y="2963047"/>
                </a:cubicBezTo>
                <a:cubicBezTo>
                  <a:pt x="5650553" y="2976584"/>
                  <a:pt x="5617674" y="2978520"/>
                  <a:pt x="5582859" y="2988189"/>
                </a:cubicBezTo>
                <a:cubicBezTo>
                  <a:pt x="5586728" y="2993991"/>
                  <a:pt x="5588663" y="2999794"/>
                  <a:pt x="5590596" y="3003662"/>
                </a:cubicBezTo>
                <a:cubicBezTo>
                  <a:pt x="5590596" y="3005595"/>
                  <a:pt x="5592531" y="3007531"/>
                  <a:pt x="5594464" y="3007531"/>
                </a:cubicBezTo>
                <a:cubicBezTo>
                  <a:pt x="5600265" y="3007531"/>
                  <a:pt x="5608002" y="3009464"/>
                  <a:pt x="5613805" y="3009464"/>
                </a:cubicBezTo>
                <a:cubicBezTo>
                  <a:pt x="5646684" y="3011399"/>
                  <a:pt x="5681499" y="3013332"/>
                  <a:pt x="5714378" y="3017200"/>
                </a:cubicBezTo>
                <a:cubicBezTo>
                  <a:pt x="5716313" y="3015267"/>
                  <a:pt x="5718246" y="3011399"/>
                  <a:pt x="5722114" y="3009464"/>
                </a:cubicBezTo>
                <a:cubicBezTo>
                  <a:pt x="5722114" y="3013332"/>
                  <a:pt x="5720181" y="3017200"/>
                  <a:pt x="5720181" y="3019135"/>
                </a:cubicBezTo>
                <a:cubicBezTo>
                  <a:pt x="5729851" y="3021068"/>
                  <a:pt x="5737587" y="3023003"/>
                  <a:pt x="5747259" y="3024936"/>
                </a:cubicBezTo>
                <a:cubicBezTo>
                  <a:pt x="5753060" y="3024936"/>
                  <a:pt x="5756928" y="3024936"/>
                  <a:pt x="5762732" y="3024936"/>
                </a:cubicBezTo>
                <a:cubicBezTo>
                  <a:pt x="5758864" y="3026872"/>
                  <a:pt x="5756928" y="3028805"/>
                  <a:pt x="5754993" y="3028805"/>
                </a:cubicBezTo>
                <a:cubicBezTo>
                  <a:pt x="5756928" y="3028805"/>
                  <a:pt x="5758864" y="3032673"/>
                  <a:pt x="5764665" y="3036541"/>
                </a:cubicBezTo>
                <a:cubicBezTo>
                  <a:pt x="5754993" y="3036541"/>
                  <a:pt x="5749192" y="3036541"/>
                  <a:pt x="5745324" y="3036541"/>
                </a:cubicBezTo>
                <a:cubicBezTo>
                  <a:pt x="5689235" y="3030740"/>
                  <a:pt x="5635080" y="3026872"/>
                  <a:pt x="5578991" y="3021068"/>
                </a:cubicBezTo>
                <a:cubicBezTo>
                  <a:pt x="5577056" y="3021068"/>
                  <a:pt x="5577056" y="3021068"/>
                  <a:pt x="5575123" y="3021068"/>
                </a:cubicBezTo>
                <a:cubicBezTo>
                  <a:pt x="5577056" y="3021068"/>
                  <a:pt x="5578991" y="3023003"/>
                  <a:pt x="5577056" y="3026872"/>
                </a:cubicBezTo>
                <a:cubicBezTo>
                  <a:pt x="5567386" y="3026872"/>
                  <a:pt x="5555781" y="3024936"/>
                  <a:pt x="5544177" y="3024936"/>
                </a:cubicBezTo>
                <a:cubicBezTo>
                  <a:pt x="5548045" y="3026872"/>
                  <a:pt x="5549980" y="3028805"/>
                  <a:pt x="5551913" y="3032673"/>
                </a:cubicBezTo>
                <a:cubicBezTo>
                  <a:pt x="5530639" y="3032673"/>
                  <a:pt x="5509362" y="3036541"/>
                  <a:pt x="5490021" y="3034608"/>
                </a:cubicBezTo>
                <a:cubicBezTo>
                  <a:pt x="5488088" y="3036541"/>
                  <a:pt x="5484220" y="3038476"/>
                  <a:pt x="5480352" y="3038476"/>
                </a:cubicBezTo>
                <a:cubicBezTo>
                  <a:pt x="5478419" y="3038476"/>
                  <a:pt x="5480352" y="3036541"/>
                  <a:pt x="5480352" y="3034608"/>
                </a:cubicBezTo>
                <a:cubicBezTo>
                  <a:pt x="5478419" y="3034608"/>
                  <a:pt x="5478419" y="3034608"/>
                  <a:pt x="5476483" y="3034608"/>
                </a:cubicBezTo>
                <a:cubicBezTo>
                  <a:pt x="5474551" y="3038476"/>
                  <a:pt x="5474551" y="3044278"/>
                  <a:pt x="5474551" y="3048146"/>
                </a:cubicBezTo>
                <a:cubicBezTo>
                  <a:pt x="5482287" y="3048146"/>
                  <a:pt x="5490021" y="3048146"/>
                  <a:pt x="5497758" y="3048146"/>
                </a:cubicBezTo>
                <a:cubicBezTo>
                  <a:pt x="5507430" y="3044278"/>
                  <a:pt x="5515166" y="3042345"/>
                  <a:pt x="5524838" y="3044278"/>
                </a:cubicBezTo>
                <a:cubicBezTo>
                  <a:pt x="5526771" y="3044278"/>
                  <a:pt x="5528704" y="3042345"/>
                  <a:pt x="5530639" y="3040409"/>
                </a:cubicBezTo>
                <a:cubicBezTo>
                  <a:pt x="5536440" y="3034608"/>
                  <a:pt x="5542244" y="3038476"/>
                  <a:pt x="5548045" y="3036541"/>
                </a:cubicBezTo>
                <a:cubicBezTo>
                  <a:pt x="5548045" y="3038476"/>
                  <a:pt x="5548045" y="3038476"/>
                  <a:pt x="5548045" y="3040409"/>
                </a:cubicBezTo>
                <a:cubicBezTo>
                  <a:pt x="5549980" y="3040409"/>
                  <a:pt x="5549980" y="3042345"/>
                  <a:pt x="5551913" y="3042345"/>
                </a:cubicBezTo>
                <a:cubicBezTo>
                  <a:pt x="5555781" y="3040409"/>
                  <a:pt x="5559650" y="3040409"/>
                  <a:pt x="5563518" y="3040409"/>
                </a:cubicBezTo>
                <a:cubicBezTo>
                  <a:pt x="5565453" y="3040409"/>
                  <a:pt x="5567386" y="3040409"/>
                  <a:pt x="5569322" y="3040409"/>
                </a:cubicBezTo>
                <a:cubicBezTo>
                  <a:pt x="5578991" y="3040409"/>
                  <a:pt x="5590596" y="3040409"/>
                  <a:pt x="5600265" y="3042345"/>
                </a:cubicBezTo>
                <a:cubicBezTo>
                  <a:pt x="5600265" y="3042345"/>
                  <a:pt x="5600265" y="3040409"/>
                  <a:pt x="5600265" y="3040409"/>
                </a:cubicBezTo>
                <a:cubicBezTo>
                  <a:pt x="5600265" y="3042345"/>
                  <a:pt x="5602201" y="3042345"/>
                  <a:pt x="5602201" y="3042345"/>
                </a:cubicBezTo>
                <a:cubicBezTo>
                  <a:pt x="5602201" y="3042345"/>
                  <a:pt x="5602201" y="3044278"/>
                  <a:pt x="5602201" y="3044278"/>
                </a:cubicBezTo>
                <a:cubicBezTo>
                  <a:pt x="5606069" y="3044278"/>
                  <a:pt x="5611872" y="3046213"/>
                  <a:pt x="5617674" y="3046213"/>
                </a:cubicBezTo>
                <a:cubicBezTo>
                  <a:pt x="5615738" y="3046213"/>
                  <a:pt x="5615738" y="3044278"/>
                  <a:pt x="5613805" y="3044278"/>
                </a:cubicBezTo>
                <a:cubicBezTo>
                  <a:pt x="5619607" y="3040409"/>
                  <a:pt x="5625410" y="3038476"/>
                  <a:pt x="5633147" y="3036541"/>
                </a:cubicBezTo>
                <a:cubicBezTo>
                  <a:pt x="5631211" y="3040409"/>
                  <a:pt x="5629278" y="3044278"/>
                  <a:pt x="5627343" y="3046213"/>
                </a:cubicBezTo>
                <a:cubicBezTo>
                  <a:pt x="5637015" y="3048146"/>
                  <a:pt x="5648620" y="3050081"/>
                  <a:pt x="5658289" y="3050081"/>
                </a:cubicBezTo>
                <a:cubicBezTo>
                  <a:pt x="5669894" y="3052014"/>
                  <a:pt x="5683432" y="3052014"/>
                  <a:pt x="5696972" y="3052014"/>
                </a:cubicBezTo>
                <a:cubicBezTo>
                  <a:pt x="5710509" y="3052014"/>
                  <a:pt x="5724049" y="3053950"/>
                  <a:pt x="5735654" y="3057818"/>
                </a:cubicBezTo>
                <a:cubicBezTo>
                  <a:pt x="5735654" y="3057818"/>
                  <a:pt x="5735654" y="3055883"/>
                  <a:pt x="5735654" y="3055883"/>
                </a:cubicBezTo>
                <a:cubicBezTo>
                  <a:pt x="5735654" y="3055883"/>
                  <a:pt x="5737587" y="3057818"/>
                  <a:pt x="5737587" y="3057818"/>
                </a:cubicBezTo>
                <a:cubicBezTo>
                  <a:pt x="5739522" y="3061686"/>
                  <a:pt x="5741455" y="3057818"/>
                  <a:pt x="5743391" y="3057818"/>
                </a:cubicBezTo>
                <a:cubicBezTo>
                  <a:pt x="5745324" y="3055883"/>
                  <a:pt x="5749192" y="3053950"/>
                  <a:pt x="5751125" y="3061686"/>
                </a:cubicBezTo>
                <a:cubicBezTo>
                  <a:pt x="5745324" y="3063619"/>
                  <a:pt x="5741455" y="3063619"/>
                  <a:pt x="5735654" y="3065555"/>
                </a:cubicBezTo>
                <a:cubicBezTo>
                  <a:pt x="5735654" y="3065555"/>
                  <a:pt x="5733719" y="3067487"/>
                  <a:pt x="5731784" y="3067487"/>
                </a:cubicBezTo>
                <a:cubicBezTo>
                  <a:pt x="5735654" y="3071355"/>
                  <a:pt x="5739522" y="3075224"/>
                  <a:pt x="5745324" y="3077159"/>
                </a:cubicBezTo>
                <a:cubicBezTo>
                  <a:pt x="5753060" y="3079092"/>
                  <a:pt x="5760797" y="3079092"/>
                  <a:pt x="5768533" y="3079092"/>
                </a:cubicBezTo>
                <a:cubicBezTo>
                  <a:pt x="5772401" y="3082960"/>
                  <a:pt x="5776270" y="3086828"/>
                  <a:pt x="5782073" y="3092630"/>
                </a:cubicBezTo>
                <a:cubicBezTo>
                  <a:pt x="5776270" y="3096498"/>
                  <a:pt x="5774334" y="3098433"/>
                  <a:pt x="5770466" y="3098433"/>
                </a:cubicBezTo>
                <a:cubicBezTo>
                  <a:pt x="5733719" y="3100366"/>
                  <a:pt x="5698907" y="3102302"/>
                  <a:pt x="5662157" y="3106170"/>
                </a:cubicBezTo>
                <a:cubicBezTo>
                  <a:pt x="5652488" y="3108103"/>
                  <a:pt x="5642816" y="3111971"/>
                  <a:pt x="5633147" y="3111971"/>
                </a:cubicBezTo>
                <a:cubicBezTo>
                  <a:pt x="5629278" y="3111971"/>
                  <a:pt x="5627343" y="3111971"/>
                  <a:pt x="5623475" y="3111971"/>
                </a:cubicBezTo>
                <a:cubicBezTo>
                  <a:pt x="5627343" y="3113907"/>
                  <a:pt x="5631211" y="3115839"/>
                  <a:pt x="5635080" y="3115839"/>
                </a:cubicBezTo>
                <a:cubicBezTo>
                  <a:pt x="5638948" y="3113907"/>
                  <a:pt x="5642816" y="3113907"/>
                  <a:pt x="5648620" y="3113907"/>
                </a:cubicBezTo>
                <a:cubicBezTo>
                  <a:pt x="5646684" y="3115839"/>
                  <a:pt x="5646684" y="3117775"/>
                  <a:pt x="5644749" y="3117775"/>
                </a:cubicBezTo>
                <a:cubicBezTo>
                  <a:pt x="5646684" y="3119708"/>
                  <a:pt x="5646684" y="3119708"/>
                  <a:pt x="5648620" y="3119708"/>
                </a:cubicBezTo>
                <a:cubicBezTo>
                  <a:pt x="5656356" y="3121643"/>
                  <a:pt x="5658289" y="3129379"/>
                  <a:pt x="5652488" y="3137116"/>
                </a:cubicBezTo>
                <a:cubicBezTo>
                  <a:pt x="5650553" y="3139049"/>
                  <a:pt x="5646684" y="3139049"/>
                  <a:pt x="5644749" y="3140984"/>
                </a:cubicBezTo>
                <a:cubicBezTo>
                  <a:pt x="5644749" y="3142917"/>
                  <a:pt x="5642816" y="3142917"/>
                  <a:pt x="5642816" y="3144852"/>
                </a:cubicBezTo>
                <a:cubicBezTo>
                  <a:pt x="5646684" y="3144852"/>
                  <a:pt x="5648620" y="3144852"/>
                  <a:pt x="5652488" y="3144852"/>
                </a:cubicBezTo>
                <a:cubicBezTo>
                  <a:pt x="5654421" y="3142917"/>
                  <a:pt x="5656356" y="3140984"/>
                  <a:pt x="5658289" y="3139049"/>
                </a:cubicBezTo>
                <a:cubicBezTo>
                  <a:pt x="5662157" y="3135181"/>
                  <a:pt x="5667959" y="3137116"/>
                  <a:pt x="5669894" y="3139049"/>
                </a:cubicBezTo>
                <a:cubicBezTo>
                  <a:pt x="5669894" y="3137116"/>
                  <a:pt x="5669894" y="3137116"/>
                  <a:pt x="5669894" y="3137116"/>
                </a:cubicBezTo>
                <a:cubicBezTo>
                  <a:pt x="5673762" y="3135181"/>
                  <a:pt x="5675697" y="3135181"/>
                  <a:pt x="5677630" y="3135181"/>
                </a:cubicBezTo>
                <a:cubicBezTo>
                  <a:pt x="5677630" y="3135181"/>
                  <a:pt x="5677630" y="3137116"/>
                  <a:pt x="5677630" y="3137116"/>
                </a:cubicBezTo>
                <a:lnTo>
                  <a:pt x="5681499" y="3137116"/>
                </a:lnTo>
                <a:cubicBezTo>
                  <a:pt x="5691168" y="3139049"/>
                  <a:pt x="5698907" y="3139049"/>
                  <a:pt x="5708576" y="3139049"/>
                </a:cubicBezTo>
                <a:cubicBezTo>
                  <a:pt x="5743391" y="3135181"/>
                  <a:pt x="5776270" y="3133248"/>
                  <a:pt x="5809149" y="3135181"/>
                </a:cubicBezTo>
                <a:cubicBezTo>
                  <a:pt x="5816885" y="3135181"/>
                  <a:pt x="5822689" y="3133248"/>
                  <a:pt x="5830425" y="3131312"/>
                </a:cubicBezTo>
                <a:cubicBezTo>
                  <a:pt x="5845898" y="3127444"/>
                  <a:pt x="5861369" y="3123576"/>
                  <a:pt x="5876842" y="3119708"/>
                </a:cubicBezTo>
                <a:cubicBezTo>
                  <a:pt x="5882645" y="3119708"/>
                  <a:pt x="5888447" y="3121643"/>
                  <a:pt x="5894250" y="3123576"/>
                </a:cubicBezTo>
                <a:cubicBezTo>
                  <a:pt x="5894250" y="3125511"/>
                  <a:pt x="5896183" y="3127444"/>
                  <a:pt x="5896183" y="3129379"/>
                </a:cubicBezTo>
                <a:cubicBezTo>
                  <a:pt x="5894250" y="3131312"/>
                  <a:pt x="5894250" y="3133248"/>
                  <a:pt x="5892317" y="3135181"/>
                </a:cubicBezTo>
                <a:cubicBezTo>
                  <a:pt x="5886514" y="3139049"/>
                  <a:pt x="5874909" y="3133248"/>
                  <a:pt x="5871041" y="3144852"/>
                </a:cubicBezTo>
                <a:cubicBezTo>
                  <a:pt x="5872976" y="3152589"/>
                  <a:pt x="5876842" y="3152589"/>
                  <a:pt x="5882645" y="3152589"/>
                </a:cubicBezTo>
                <a:cubicBezTo>
                  <a:pt x="5907788" y="3152589"/>
                  <a:pt x="5930997" y="3154522"/>
                  <a:pt x="5956142" y="3162259"/>
                </a:cubicBezTo>
                <a:cubicBezTo>
                  <a:pt x="5932933" y="3160326"/>
                  <a:pt x="5907788" y="3160326"/>
                  <a:pt x="5884578" y="3160326"/>
                </a:cubicBezTo>
                <a:cubicBezTo>
                  <a:pt x="5872976" y="3160326"/>
                  <a:pt x="5863304" y="3160326"/>
                  <a:pt x="5853635" y="3162259"/>
                </a:cubicBezTo>
                <a:cubicBezTo>
                  <a:pt x="5842028" y="3164194"/>
                  <a:pt x="5832358" y="3166127"/>
                  <a:pt x="5820753" y="3164194"/>
                </a:cubicBezTo>
                <a:cubicBezTo>
                  <a:pt x="5814952" y="3164194"/>
                  <a:pt x="5809149" y="3168060"/>
                  <a:pt x="5797544" y="3169995"/>
                </a:cubicBezTo>
                <a:cubicBezTo>
                  <a:pt x="5805280" y="3173863"/>
                  <a:pt x="5807216" y="3175796"/>
                  <a:pt x="5809149" y="3175796"/>
                </a:cubicBezTo>
                <a:cubicBezTo>
                  <a:pt x="5824622" y="3181600"/>
                  <a:pt x="5843963" y="3171930"/>
                  <a:pt x="5855568" y="3189336"/>
                </a:cubicBezTo>
                <a:cubicBezTo>
                  <a:pt x="5869108" y="3189336"/>
                  <a:pt x="5884578" y="3189336"/>
                  <a:pt x="5898118" y="3189336"/>
                </a:cubicBezTo>
                <a:cubicBezTo>
                  <a:pt x="5938734" y="3191269"/>
                  <a:pt x="5977417" y="3193204"/>
                  <a:pt x="6018032" y="3195137"/>
                </a:cubicBezTo>
                <a:cubicBezTo>
                  <a:pt x="6025769" y="3195137"/>
                  <a:pt x="6033505" y="3197073"/>
                  <a:pt x="6043177" y="3199006"/>
                </a:cubicBezTo>
                <a:cubicBezTo>
                  <a:pt x="6039306" y="3202874"/>
                  <a:pt x="6039306" y="3204809"/>
                  <a:pt x="6037373" y="3204809"/>
                </a:cubicBezTo>
                <a:cubicBezTo>
                  <a:pt x="6010295" y="3208678"/>
                  <a:pt x="5983218" y="3218347"/>
                  <a:pt x="5956142" y="3218347"/>
                </a:cubicBezTo>
                <a:cubicBezTo>
                  <a:pt x="5938734" y="3218347"/>
                  <a:pt x="5919393" y="3218347"/>
                  <a:pt x="5901987" y="3218347"/>
                </a:cubicBezTo>
                <a:cubicBezTo>
                  <a:pt x="5900051" y="3218347"/>
                  <a:pt x="5900051" y="3218347"/>
                  <a:pt x="5898118" y="3218347"/>
                </a:cubicBezTo>
                <a:cubicBezTo>
                  <a:pt x="5896183" y="3220282"/>
                  <a:pt x="5892317" y="3220282"/>
                  <a:pt x="5890382" y="3222215"/>
                </a:cubicBezTo>
                <a:cubicBezTo>
                  <a:pt x="5890382" y="3220282"/>
                  <a:pt x="5890382" y="3220282"/>
                  <a:pt x="5890382" y="3218347"/>
                </a:cubicBezTo>
                <a:lnTo>
                  <a:pt x="5853635" y="3218347"/>
                </a:lnTo>
                <a:cubicBezTo>
                  <a:pt x="5849766" y="3226084"/>
                  <a:pt x="5845898" y="3228019"/>
                  <a:pt x="5838159" y="3228019"/>
                </a:cubicBezTo>
                <a:cubicBezTo>
                  <a:pt x="5832358" y="3228019"/>
                  <a:pt x="5828490" y="3228019"/>
                  <a:pt x="5822689" y="3228019"/>
                </a:cubicBezTo>
                <a:cubicBezTo>
                  <a:pt x="5822689" y="3229952"/>
                  <a:pt x="5822689" y="3231887"/>
                  <a:pt x="5822689" y="3231887"/>
                </a:cubicBezTo>
                <a:cubicBezTo>
                  <a:pt x="5832358" y="3231887"/>
                  <a:pt x="5842028" y="3233820"/>
                  <a:pt x="5851699" y="3233820"/>
                </a:cubicBezTo>
                <a:cubicBezTo>
                  <a:pt x="5857501" y="3235755"/>
                  <a:pt x="5863304" y="3235755"/>
                  <a:pt x="5869108" y="3235755"/>
                </a:cubicBezTo>
                <a:cubicBezTo>
                  <a:pt x="5871041" y="3235755"/>
                  <a:pt x="5874909" y="3237688"/>
                  <a:pt x="5874909" y="3235755"/>
                </a:cubicBezTo>
                <a:cubicBezTo>
                  <a:pt x="5882645" y="3226084"/>
                  <a:pt x="5890382" y="3229952"/>
                  <a:pt x="5898118" y="3229952"/>
                </a:cubicBezTo>
                <a:cubicBezTo>
                  <a:pt x="5903920" y="3229952"/>
                  <a:pt x="5909723" y="3228019"/>
                  <a:pt x="5915524" y="3228019"/>
                </a:cubicBezTo>
                <a:cubicBezTo>
                  <a:pt x="5923261" y="3228019"/>
                  <a:pt x="5932933" y="3228019"/>
                  <a:pt x="5942602" y="3229952"/>
                </a:cubicBezTo>
                <a:cubicBezTo>
                  <a:pt x="5938734" y="3229952"/>
                  <a:pt x="5936801" y="3231887"/>
                  <a:pt x="5930997" y="3233820"/>
                </a:cubicBezTo>
                <a:cubicBezTo>
                  <a:pt x="5934866" y="3233820"/>
                  <a:pt x="5936801" y="3235755"/>
                  <a:pt x="5942602" y="3235755"/>
                </a:cubicBezTo>
                <a:cubicBezTo>
                  <a:pt x="5937768" y="3236722"/>
                  <a:pt x="5933899" y="3238655"/>
                  <a:pt x="5930998" y="3242040"/>
                </a:cubicBezTo>
                <a:lnTo>
                  <a:pt x="5927996" y="3249793"/>
                </a:lnTo>
                <a:lnTo>
                  <a:pt x="5926645" y="3250018"/>
                </a:lnTo>
                <a:cubicBezTo>
                  <a:pt x="5925678" y="3250743"/>
                  <a:pt x="5925194" y="3252194"/>
                  <a:pt x="5925194" y="3255094"/>
                </a:cubicBezTo>
                <a:lnTo>
                  <a:pt x="5926416" y="3253872"/>
                </a:lnTo>
                <a:lnTo>
                  <a:pt x="5925194" y="3257029"/>
                </a:lnTo>
                <a:cubicBezTo>
                  <a:pt x="5946470" y="3258965"/>
                  <a:pt x="5967745" y="3260898"/>
                  <a:pt x="5989021" y="3262831"/>
                </a:cubicBezTo>
                <a:cubicBezTo>
                  <a:pt x="5989021" y="3266699"/>
                  <a:pt x="5987086" y="3268634"/>
                  <a:pt x="5987086" y="3270570"/>
                </a:cubicBezTo>
                <a:cubicBezTo>
                  <a:pt x="5987086" y="3272503"/>
                  <a:pt x="5985153" y="3274436"/>
                  <a:pt x="5983218" y="3276371"/>
                </a:cubicBezTo>
                <a:cubicBezTo>
                  <a:pt x="5981285" y="3280239"/>
                  <a:pt x="5977417" y="3284107"/>
                  <a:pt x="5973548" y="3280239"/>
                </a:cubicBezTo>
                <a:cubicBezTo>
                  <a:pt x="5965812" y="3272503"/>
                  <a:pt x="5960011" y="3280239"/>
                  <a:pt x="5952272" y="3282172"/>
                </a:cubicBezTo>
                <a:cubicBezTo>
                  <a:pt x="5954207" y="3287975"/>
                  <a:pt x="5956142" y="3291844"/>
                  <a:pt x="5958075" y="3297645"/>
                </a:cubicBezTo>
                <a:cubicBezTo>
                  <a:pt x="5960011" y="3301513"/>
                  <a:pt x="5969680" y="3303448"/>
                  <a:pt x="5973548" y="3301513"/>
                </a:cubicBezTo>
                <a:cubicBezTo>
                  <a:pt x="5979352" y="3299580"/>
                  <a:pt x="5979352" y="3299580"/>
                  <a:pt x="5985153" y="3301513"/>
                </a:cubicBezTo>
                <a:cubicBezTo>
                  <a:pt x="5981285" y="3305381"/>
                  <a:pt x="5977417" y="3307317"/>
                  <a:pt x="5973548" y="3309250"/>
                </a:cubicBezTo>
                <a:cubicBezTo>
                  <a:pt x="5975481" y="3313118"/>
                  <a:pt x="5975481" y="3316986"/>
                  <a:pt x="5977417" y="3320855"/>
                </a:cubicBezTo>
                <a:cubicBezTo>
                  <a:pt x="5983218" y="3318922"/>
                  <a:pt x="5989021" y="3316986"/>
                  <a:pt x="5994822" y="3316986"/>
                </a:cubicBezTo>
                <a:cubicBezTo>
                  <a:pt x="6006427" y="3316986"/>
                  <a:pt x="6018032" y="3315053"/>
                  <a:pt x="6027704" y="3322790"/>
                </a:cubicBezTo>
                <a:cubicBezTo>
                  <a:pt x="6023836" y="3322790"/>
                  <a:pt x="6019967" y="3322790"/>
                  <a:pt x="6016099" y="3322790"/>
                </a:cubicBezTo>
                <a:cubicBezTo>
                  <a:pt x="6012228" y="3322790"/>
                  <a:pt x="6008363" y="3324723"/>
                  <a:pt x="6004494" y="3324723"/>
                </a:cubicBezTo>
                <a:cubicBezTo>
                  <a:pt x="6002559" y="3326658"/>
                  <a:pt x="5998691" y="3326658"/>
                  <a:pt x="5996758" y="3326658"/>
                </a:cubicBezTo>
                <a:cubicBezTo>
                  <a:pt x="5989021" y="3326658"/>
                  <a:pt x="5987086" y="3328591"/>
                  <a:pt x="5985153" y="3340196"/>
                </a:cubicBezTo>
                <a:cubicBezTo>
                  <a:pt x="5979352" y="3338263"/>
                  <a:pt x="5975481" y="3334395"/>
                  <a:pt x="5971613" y="3330527"/>
                </a:cubicBezTo>
                <a:cubicBezTo>
                  <a:pt x="5971613" y="3332459"/>
                  <a:pt x="5969680" y="3336328"/>
                  <a:pt x="5967745" y="3338263"/>
                </a:cubicBezTo>
                <a:cubicBezTo>
                  <a:pt x="5954207" y="3340196"/>
                  <a:pt x="5938734" y="3340196"/>
                  <a:pt x="5925194" y="3342129"/>
                </a:cubicBezTo>
                <a:cubicBezTo>
                  <a:pt x="5923261" y="3342129"/>
                  <a:pt x="5923261" y="3342129"/>
                  <a:pt x="5921328" y="3344064"/>
                </a:cubicBezTo>
                <a:cubicBezTo>
                  <a:pt x="5929065" y="3351801"/>
                  <a:pt x="5940669" y="3344064"/>
                  <a:pt x="5948403" y="3349865"/>
                </a:cubicBezTo>
                <a:cubicBezTo>
                  <a:pt x="5934866" y="3349865"/>
                  <a:pt x="5923261" y="3351801"/>
                  <a:pt x="5909723" y="3351801"/>
                </a:cubicBezTo>
                <a:cubicBezTo>
                  <a:pt x="5909723" y="3359537"/>
                  <a:pt x="5909723" y="3365338"/>
                  <a:pt x="5907788" y="3373075"/>
                </a:cubicBezTo>
                <a:cubicBezTo>
                  <a:pt x="5929065" y="3375010"/>
                  <a:pt x="5948403" y="3375010"/>
                  <a:pt x="5969680" y="3376943"/>
                </a:cubicBezTo>
                <a:cubicBezTo>
                  <a:pt x="6048978" y="3382747"/>
                  <a:pt x="6021900" y="3473649"/>
                  <a:pt x="5942602" y="3477518"/>
                </a:cubicBezTo>
                <a:cubicBezTo>
                  <a:pt x="5907788" y="3479451"/>
                  <a:pt x="5900051" y="3502660"/>
                  <a:pt x="5867172" y="3504595"/>
                </a:cubicBezTo>
                <a:cubicBezTo>
                  <a:pt x="5861369" y="3520068"/>
                  <a:pt x="5847831" y="3535539"/>
                  <a:pt x="5824622" y="3541343"/>
                </a:cubicBezTo>
                <a:cubicBezTo>
                  <a:pt x="5789807" y="3551012"/>
                  <a:pt x="5754993" y="3558749"/>
                  <a:pt x="5720181" y="3568420"/>
                </a:cubicBezTo>
                <a:cubicBezTo>
                  <a:pt x="5720181" y="3568420"/>
                  <a:pt x="5722114" y="3568420"/>
                  <a:pt x="5722114" y="3568420"/>
                </a:cubicBezTo>
                <a:cubicBezTo>
                  <a:pt x="5735654" y="3568420"/>
                  <a:pt x="5749192" y="3568420"/>
                  <a:pt x="5762732" y="3568420"/>
                </a:cubicBezTo>
                <a:cubicBezTo>
                  <a:pt x="5784006" y="3568420"/>
                  <a:pt x="5803347" y="3566485"/>
                  <a:pt x="5824622" y="3564552"/>
                </a:cubicBezTo>
                <a:cubicBezTo>
                  <a:pt x="5828490" y="3564552"/>
                  <a:pt x="5830425" y="3562617"/>
                  <a:pt x="5834293" y="3562617"/>
                </a:cubicBezTo>
                <a:cubicBezTo>
                  <a:pt x="5845898" y="3562617"/>
                  <a:pt x="5857501" y="3570353"/>
                  <a:pt x="5855568" y="3576157"/>
                </a:cubicBezTo>
                <a:cubicBezTo>
                  <a:pt x="5851699" y="3585826"/>
                  <a:pt x="5843963" y="3583894"/>
                  <a:pt x="5836226" y="3583894"/>
                </a:cubicBezTo>
                <a:cubicBezTo>
                  <a:pt x="5811084" y="3585826"/>
                  <a:pt x="5787874" y="3587762"/>
                  <a:pt x="5762732" y="3589695"/>
                </a:cubicBezTo>
                <a:cubicBezTo>
                  <a:pt x="5754993" y="3589695"/>
                  <a:pt x="5749192" y="3589695"/>
                  <a:pt x="5741455" y="3589695"/>
                </a:cubicBezTo>
                <a:cubicBezTo>
                  <a:pt x="5727918" y="3587762"/>
                  <a:pt x="5716313" y="3589695"/>
                  <a:pt x="5702773" y="3593563"/>
                </a:cubicBezTo>
                <a:cubicBezTo>
                  <a:pt x="5708576" y="3593563"/>
                  <a:pt x="5712445" y="3595498"/>
                  <a:pt x="5716313" y="3597431"/>
                </a:cubicBezTo>
                <a:cubicBezTo>
                  <a:pt x="5716313" y="3597431"/>
                  <a:pt x="5718246" y="3597431"/>
                  <a:pt x="5718246" y="3597431"/>
                </a:cubicBezTo>
                <a:cubicBezTo>
                  <a:pt x="5733719" y="3595498"/>
                  <a:pt x="5749192" y="3593563"/>
                  <a:pt x="5762732" y="3589695"/>
                </a:cubicBezTo>
                <a:cubicBezTo>
                  <a:pt x="5758864" y="3593563"/>
                  <a:pt x="5753060" y="3597431"/>
                  <a:pt x="5749192" y="3599367"/>
                </a:cubicBezTo>
                <a:cubicBezTo>
                  <a:pt x="5754993" y="3601299"/>
                  <a:pt x="5762732" y="3603235"/>
                  <a:pt x="5768533" y="3605168"/>
                </a:cubicBezTo>
                <a:cubicBezTo>
                  <a:pt x="5770466" y="3607103"/>
                  <a:pt x="5772401" y="3607103"/>
                  <a:pt x="5774334" y="3607103"/>
                </a:cubicBezTo>
                <a:cubicBezTo>
                  <a:pt x="5776270" y="3610969"/>
                  <a:pt x="5782073" y="3610969"/>
                  <a:pt x="5785941" y="3610969"/>
                </a:cubicBezTo>
                <a:cubicBezTo>
                  <a:pt x="5789807" y="3614840"/>
                  <a:pt x="5793676" y="3616773"/>
                  <a:pt x="5797544" y="3620641"/>
                </a:cubicBezTo>
                <a:cubicBezTo>
                  <a:pt x="5803347" y="3626444"/>
                  <a:pt x="5803347" y="3632246"/>
                  <a:pt x="5799479" y="3639982"/>
                </a:cubicBezTo>
                <a:cubicBezTo>
                  <a:pt x="5795611" y="3641915"/>
                  <a:pt x="5793676" y="3641915"/>
                  <a:pt x="5789807" y="3641915"/>
                </a:cubicBezTo>
                <a:cubicBezTo>
                  <a:pt x="5789807" y="3638049"/>
                  <a:pt x="5791743" y="3634178"/>
                  <a:pt x="5793676" y="3630310"/>
                </a:cubicBezTo>
                <a:cubicBezTo>
                  <a:pt x="5787874" y="3622574"/>
                  <a:pt x="5782073" y="3616773"/>
                  <a:pt x="5772401" y="3616773"/>
                </a:cubicBezTo>
                <a:cubicBezTo>
                  <a:pt x="5768533" y="3616773"/>
                  <a:pt x="5766600" y="3614840"/>
                  <a:pt x="5762732" y="3612904"/>
                </a:cubicBezTo>
                <a:cubicBezTo>
                  <a:pt x="5758864" y="3610969"/>
                  <a:pt x="5754993" y="3607103"/>
                  <a:pt x="5749192" y="3607103"/>
                </a:cubicBezTo>
                <a:cubicBezTo>
                  <a:pt x="5739522" y="3607103"/>
                  <a:pt x="5731784" y="3605168"/>
                  <a:pt x="5722114" y="3605168"/>
                </a:cubicBezTo>
                <a:cubicBezTo>
                  <a:pt x="5710509" y="3605168"/>
                  <a:pt x="5696972" y="3607103"/>
                  <a:pt x="5687300" y="3616773"/>
                </a:cubicBezTo>
                <a:cubicBezTo>
                  <a:pt x="5681499" y="3612904"/>
                  <a:pt x="5677630" y="3610969"/>
                  <a:pt x="5671829" y="3610969"/>
                </a:cubicBezTo>
                <a:cubicBezTo>
                  <a:pt x="5669894" y="3612904"/>
                  <a:pt x="5667959" y="3612904"/>
                  <a:pt x="5667959" y="3614840"/>
                </a:cubicBezTo>
                <a:cubicBezTo>
                  <a:pt x="5666026" y="3618708"/>
                  <a:pt x="5666026" y="3622574"/>
                  <a:pt x="5666026" y="3624509"/>
                </a:cubicBezTo>
                <a:cubicBezTo>
                  <a:pt x="5671829" y="3624509"/>
                  <a:pt x="5675697" y="3626444"/>
                  <a:pt x="5681499" y="3628377"/>
                </a:cubicBezTo>
                <a:cubicBezTo>
                  <a:pt x="5677630" y="3630310"/>
                  <a:pt x="5673762" y="3630310"/>
                  <a:pt x="5669894" y="3632246"/>
                </a:cubicBezTo>
                <a:cubicBezTo>
                  <a:pt x="5671829" y="3634178"/>
                  <a:pt x="5673762" y="3634178"/>
                  <a:pt x="5675697" y="3636114"/>
                </a:cubicBezTo>
                <a:cubicBezTo>
                  <a:pt x="5679566" y="3641915"/>
                  <a:pt x="5685367" y="3647719"/>
                  <a:pt x="5689235" y="3653520"/>
                </a:cubicBezTo>
                <a:cubicBezTo>
                  <a:pt x="5687300" y="3661256"/>
                  <a:pt x="5679566" y="3653520"/>
                  <a:pt x="5675697" y="3659323"/>
                </a:cubicBezTo>
                <a:cubicBezTo>
                  <a:pt x="5677630" y="3661256"/>
                  <a:pt x="5679566" y="3663192"/>
                  <a:pt x="5681499" y="3665125"/>
                </a:cubicBezTo>
                <a:cubicBezTo>
                  <a:pt x="5693103" y="3663192"/>
                  <a:pt x="5704708" y="3659323"/>
                  <a:pt x="5716313" y="3657388"/>
                </a:cubicBezTo>
                <a:cubicBezTo>
                  <a:pt x="5725982" y="3655455"/>
                  <a:pt x="5737587" y="3653520"/>
                  <a:pt x="5747259" y="3653520"/>
                </a:cubicBezTo>
                <a:cubicBezTo>
                  <a:pt x="5747259" y="3657388"/>
                  <a:pt x="5747259" y="3659323"/>
                  <a:pt x="5747259" y="3663192"/>
                </a:cubicBezTo>
                <a:cubicBezTo>
                  <a:pt x="5727918" y="3670928"/>
                  <a:pt x="5708576" y="3670928"/>
                  <a:pt x="5689235" y="3670928"/>
                </a:cubicBezTo>
                <a:cubicBezTo>
                  <a:pt x="5691168" y="3672861"/>
                  <a:pt x="5693103" y="3674796"/>
                  <a:pt x="5695036" y="3676729"/>
                </a:cubicBezTo>
                <a:cubicBezTo>
                  <a:pt x="5696972" y="3676729"/>
                  <a:pt x="5696972" y="3678665"/>
                  <a:pt x="5696972" y="3678665"/>
                </a:cubicBezTo>
                <a:cubicBezTo>
                  <a:pt x="5698907" y="3678665"/>
                  <a:pt x="5700840" y="3678665"/>
                  <a:pt x="5702773" y="3678665"/>
                </a:cubicBezTo>
                <a:cubicBezTo>
                  <a:pt x="5702773" y="3680598"/>
                  <a:pt x="5702773" y="3682533"/>
                  <a:pt x="5704708" y="3684466"/>
                </a:cubicBezTo>
                <a:cubicBezTo>
                  <a:pt x="5708576" y="3684466"/>
                  <a:pt x="5710509" y="3684466"/>
                  <a:pt x="5712445" y="3684466"/>
                </a:cubicBezTo>
                <a:cubicBezTo>
                  <a:pt x="5710509" y="3688334"/>
                  <a:pt x="5712445" y="3692202"/>
                  <a:pt x="5716313" y="3692202"/>
                </a:cubicBezTo>
                <a:cubicBezTo>
                  <a:pt x="5716313" y="3692202"/>
                  <a:pt x="5718246" y="3692202"/>
                  <a:pt x="5718246" y="3692202"/>
                </a:cubicBezTo>
                <a:cubicBezTo>
                  <a:pt x="5722114" y="3688334"/>
                  <a:pt x="5727918" y="3686401"/>
                  <a:pt x="5731784" y="3686401"/>
                </a:cubicBezTo>
                <a:cubicBezTo>
                  <a:pt x="5739522" y="3686401"/>
                  <a:pt x="5745324" y="3688334"/>
                  <a:pt x="5753060" y="3686401"/>
                </a:cubicBezTo>
                <a:cubicBezTo>
                  <a:pt x="5785941" y="3678665"/>
                  <a:pt x="5820753" y="3672861"/>
                  <a:pt x="5853635" y="3668993"/>
                </a:cubicBezTo>
                <a:cubicBezTo>
                  <a:pt x="5890382" y="3665125"/>
                  <a:pt x="5927129" y="3667060"/>
                  <a:pt x="5963876" y="3670928"/>
                </a:cubicBezTo>
                <a:cubicBezTo>
                  <a:pt x="5965812" y="3678665"/>
                  <a:pt x="5960011" y="3678665"/>
                  <a:pt x="5956142" y="3678665"/>
                </a:cubicBezTo>
                <a:cubicBezTo>
                  <a:pt x="5942602" y="3680598"/>
                  <a:pt x="5930997" y="3682533"/>
                  <a:pt x="5919393" y="3686401"/>
                </a:cubicBezTo>
                <a:cubicBezTo>
                  <a:pt x="5911656" y="3690269"/>
                  <a:pt x="5905855" y="3682533"/>
                  <a:pt x="5900051" y="3682533"/>
                </a:cubicBezTo>
                <a:cubicBezTo>
                  <a:pt x="5896183" y="3682533"/>
                  <a:pt x="5892317" y="3694138"/>
                  <a:pt x="5884578" y="3686401"/>
                </a:cubicBezTo>
                <a:cubicBezTo>
                  <a:pt x="5882645" y="3684466"/>
                  <a:pt x="5876842" y="3682533"/>
                  <a:pt x="5872976" y="3684466"/>
                </a:cubicBezTo>
                <a:cubicBezTo>
                  <a:pt x="5865237" y="3688334"/>
                  <a:pt x="5859436" y="3688334"/>
                  <a:pt x="5851699" y="3684466"/>
                </a:cubicBezTo>
                <a:cubicBezTo>
                  <a:pt x="5842028" y="3678665"/>
                  <a:pt x="5830425" y="3678665"/>
                  <a:pt x="5822689" y="3686401"/>
                </a:cubicBezTo>
                <a:cubicBezTo>
                  <a:pt x="5813017" y="3696071"/>
                  <a:pt x="5799479" y="3694138"/>
                  <a:pt x="5787874" y="3696071"/>
                </a:cubicBezTo>
                <a:cubicBezTo>
                  <a:pt x="5776270" y="3698004"/>
                  <a:pt x="5762732" y="3698004"/>
                  <a:pt x="5751125" y="3699939"/>
                </a:cubicBezTo>
                <a:cubicBezTo>
                  <a:pt x="5756928" y="3699939"/>
                  <a:pt x="5762732" y="3701874"/>
                  <a:pt x="5768533" y="3703807"/>
                </a:cubicBezTo>
                <a:cubicBezTo>
                  <a:pt x="5774334" y="3705742"/>
                  <a:pt x="5778203" y="3705742"/>
                  <a:pt x="5784006" y="3705742"/>
                </a:cubicBezTo>
                <a:cubicBezTo>
                  <a:pt x="5797544" y="3703807"/>
                  <a:pt x="5811084" y="3709608"/>
                  <a:pt x="5822689" y="3713479"/>
                </a:cubicBezTo>
                <a:cubicBezTo>
                  <a:pt x="5824622" y="3715412"/>
                  <a:pt x="5826557" y="3715412"/>
                  <a:pt x="5828490" y="3715412"/>
                </a:cubicBezTo>
                <a:cubicBezTo>
                  <a:pt x="5830425" y="3719280"/>
                  <a:pt x="5836226" y="3719280"/>
                  <a:pt x="5840095" y="3719280"/>
                </a:cubicBezTo>
                <a:cubicBezTo>
                  <a:pt x="5843963" y="3723148"/>
                  <a:pt x="5847831" y="3725084"/>
                  <a:pt x="5851699" y="3728950"/>
                </a:cubicBezTo>
                <a:cubicBezTo>
                  <a:pt x="5857501" y="3734753"/>
                  <a:pt x="5857501" y="3740554"/>
                  <a:pt x="5853635" y="3748291"/>
                </a:cubicBezTo>
                <a:cubicBezTo>
                  <a:pt x="5849766" y="3750226"/>
                  <a:pt x="5847831" y="3750226"/>
                  <a:pt x="5843963" y="3750226"/>
                </a:cubicBezTo>
                <a:cubicBezTo>
                  <a:pt x="5843963" y="3746358"/>
                  <a:pt x="5845898" y="3742490"/>
                  <a:pt x="5847831" y="3738621"/>
                </a:cubicBezTo>
                <a:cubicBezTo>
                  <a:pt x="5842028" y="3730885"/>
                  <a:pt x="5836226" y="3725084"/>
                  <a:pt x="5826557" y="3725084"/>
                </a:cubicBezTo>
                <a:cubicBezTo>
                  <a:pt x="5822689" y="3725084"/>
                  <a:pt x="5820753" y="3723148"/>
                  <a:pt x="5816885" y="3721213"/>
                </a:cubicBezTo>
                <a:cubicBezTo>
                  <a:pt x="5813017" y="3719280"/>
                  <a:pt x="5809149" y="3715412"/>
                  <a:pt x="5803347" y="3715412"/>
                </a:cubicBezTo>
                <a:cubicBezTo>
                  <a:pt x="5785941" y="3715412"/>
                  <a:pt x="5770466" y="3711544"/>
                  <a:pt x="5754993" y="3713479"/>
                </a:cubicBezTo>
                <a:cubicBezTo>
                  <a:pt x="5749192" y="3713479"/>
                  <a:pt x="5743391" y="3715412"/>
                  <a:pt x="5737587" y="3711544"/>
                </a:cubicBezTo>
                <a:cubicBezTo>
                  <a:pt x="5739522" y="3711544"/>
                  <a:pt x="5741455" y="3709608"/>
                  <a:pt x="5743391" y="3709608"/>
                </a:cubicBezTo>
                <a:cubicBezTo>
                  <a:pt x="5743391" y="3709608"/>
                  <a:pt x="5743391" y="3707675"/>
                  <a:pt x="5743391" y="3707675"/>
                </a:cubicBezTo>
                <a:cubicBezTo>
                  <a:pt x="5739522" y="3707675"/>
                  <a:pt x="5733719" y="3707675"/>
                  <a:pt x="5729851" y="3707675"/>
                </a:cubicBezTo>
                <a:cubicBezTo>
                  <a:pt x="5716313" y="3711544"/>
                  <a:pt x="5702773" y="3715412"/>
                  <a:pt x="5689235" y="3717345"/>
                </a:cubicBezTo>
                <a:cubicBezTo>
                  <a:pt x="5687300" y="3719280"/>
                  <a:pt x="5685367" y="3721213"/>
                  <a:pt x="5685367" y="3723148"/>
                </a:cubicBezTo>
                <a:cubicBezTo>
                  <a:pt x="5685367" y="3725084"/>
                  <a:pt x="5683432" y="3728950"/>
                  <a:pt x="5683432" y="3730885"/>
                </a:cubicBezTo>
                <a:cubicBezTo>
                  <a:pt x="5673762" y="3728950"/>
                  <a:pt x="5667959" y="3727017"/>
                  <a:pt x="5660224" y="3725084"/>
                </a:cubicBezTo>
                <a:cubicBezTo>
                  <a:pt x="5658289" y="3725084"/>
                  <a:pt x="5656356" y="3727017"/>
                  <a:pt x="5654421" y="3728950"/>
                </a:cubicBezTo>
                <a:cubicBezTo>
                  <a:pt x="5652488" y="3734753"/>
                  <a:pt x="5650553" y="3736686"/>
                  <a:pt x="5644749" y="3736686"/>
                </a:cubicBezTo>
                <a:cubicBezTo>
                  <a:pt x="5640883" y="3738621"/>
                  <a:pt x="5635080" y="3738621"/>
                  <a:pt x="5631211" y="3738621"/>
                </a:cubicBezTo>
                <a:cubicBezTo>
                  <a:pt x="5621542" y="3736686"/>
                  <a:pt x="5613805" y="3738621"/>
                  <a:pt x="5606069" y="3742490"/>
                </a:cubicBezTo>
                <a:cubicBezTo>
                  <a:pt x="5625410" y="3742490"/>
                  <a:pt x="5646684" y="3740554"/>
                  <a:pt x="5666026" y="3736686"/>
                </a:cubicBezTo>
                <a:cubicBezTo>
                  <a:pt x="5675697" y="3734753"/>
                  <a:pt x="5685367" y="3732818"/>
                  <a:pt x="5695036" y="3736686"/>
                </a:cubicBezTo>
                <a:cubicBezTo>
                  <a:pt x="5695036" y="3738621"/>
                  <a:pt x="5695036" y="3740554"/>
                  <a:pt x="5695036" y="3740554"/>
                </a:cubicBezTo>
                <a:cubicBezTo>
                  <a:pt x="5671829" y="3756027"/>
                  <a:pt x="5650553" y="3769567"/>
                  <a:pt x="5621542" y="3769567"/>
                </a:cubicBezTo>
                <a:cubicBezTo>
                  <a:pt x="5598332" y="3769567"/>
                  <a:pt x="5577056" y="3775369"/>
                  <a:pt x="5553849" y="3781172"/>
                </a:cubicBezTo>
                <a:cubicBezTo>
                  <a:pt x="5567386" y="3781172"/>
                  <a:pt x="5580924" y="3781172"/>
                  <a:pt x="5598332" y="3779237"/>
                </a:cubicBezTo>
                <a:cubicBezTo>
                  <a:pt x="5590596" y="3790842"/>
                  <a:pt x="5577056" y="3785038"/>
                  <a:pt x="5573190" y="3792777"/>
                </a:cubicBezTo>
                <a:cubicBezTo>
                  <a:pt x="5569322" y="3800514"/>
                  <a:pt x="5563518" y="3804379"/>
                  <a:pt x="5557714" y="3806315"/>
                </a:cubicBezTo>
                <a:cubicBezTo>
                  <a:pt x="5580924" y="3806315"/>
                  <a:pt x="5606069" y="3806315"/>
                  <a:pt x="5629278" y="3806315"/>
                </a:cubicBezTo>
                <a:cubicBezTo>
                  <a:pt x="5637015" y="3806315"/>
                  <a:pt x="5642816" y="3804379"/>
                  <a:pt x="5650553" y="3804379"/>
                </a:cubicBezTo>
                <a:cubicBezTo>
                  <a:pt x="5652488" y="3808248"/>
                  <a:pt x="5650553" y="3812118"/>
                  <a:pt x="5646684" y="3812118"/>
                </a:cubicBezTo>
                <a:cubicBezTo>
                  <a:pt x="5650553" y="3812118"/>
                  <a:pt x="5652488" y="3812118"/>
                  <a:pt x="5656356" y="3814051"/>
                </a:cubicBezTo>
                <a:cubicBezTo>
                  <a:pt x="5660224" y="3815984"/>
                  <a:pt x="5664090" y="3817919"/>
                  <a:pt x="5669894" y="3819852"/>
                </a:cubicBezTo>
                <a:cubicBezTo>
                  <a:pt x="5671829" y="3815984"/>
                  <a:pt x="5673762" y="3808248"/>
                  <a:pt x="5675697" y="3808248"/>
                </a:cubicBezTo>
                <a:cubicBezTo>
                  <a:pt x="5679566" y="3806315"/>
                  <a:pt x="5685367" y="3806315"/>
                  <a:pt x="5691168" y="3804379"/>
                </a:cubicBezTo>
                <a:cubicBezTo>
                  <a:pt x="5691168" y="3804379"/>
                  <a:pt x="5689235" y="3804379"/>
                  <a:pt x="5687300" y="3804379"/>
                </a:cubicBezTo>
                <a:cubicBezTo>
                  <a:pt x="5681499" y="3804379"/>
                  <a:pt x="5675697" y="3804379"/>
                  <a:pt x="5669894" y="3802446"/>
                </a:cubicBezTo>
                <a:cubicBezTo>
                  <a:pt x="5687300" y="3800514"/>
                  <a:pt x="5702773" y="3798578"/>
                  <a:pt x="5718246" y="3796643"/>
                </a:cubicBezTo>
                <a:cubicBezTo>
                  <a:pt x="5731784" y="3790842"/>
                  <a:pt x="5747259" y="3786973"/>
                  <a:pt x="5762732" y="3786973"/>
                </a:cubicBezTo>
                <a:cubicBezTo>
                  <a:pt x="5782073" y="3786973"/>
                  <a:pt x="5801412" y="3786973"/>
                  <a:pt x="5820753" y="3781172"/>
                </a:cubicBezTo>
                <a:cubicBezTo>
                  <a:pt x="5822689" y="3781172"/>
                  <a:pt x="5826557" y="3781172"/>
                  <a:pt x="5828490" y="3783105"/>
                </a:cubicBezTo>
                <a:cubicBezTo>
                  <a:pt x="5830425" y="3785038"/>
                  <a:pt x="5830425" y="3790842"/>
                  <a:pt x="5832358" y="3796643"/>
                </a:cubicBezTo>
                <a:cubicBezTo>
                  <a:pt x="5840095" y="3798578"/>
                  <a:pt x="5853635" y="3792777"/>
                  <a:pt x="5867172" y="3796643"/>
                </a:cubicBezTo>
                <a:cubicBezTo>
                  <a:pt x="5861369" y="3804379"/>
                  <a:pt x="5853635" y="3802446"/>
                  <a:pt x="5847831" y="3804379"/>
                </a:cubicBezTo>
                <a:cubicBezTo>
                  <a:pt x="5840095" y="3806315"/>
                  <a:pt x="5834293" y="3806315"/>
                  <a:pt x="5826557" y="3808248"/>
                </a:cubicBezTo>
                <a:cubicBezTo>
                  <a:pt x="5818820" y="3810183"/>
                  <a:pt x="5813017" y="3812118"/>
                  <a:pt x="5805280" y="3814051"/>
                </a:cubicBezTo>
                <a:cubicBezTo>
                  <a:pt x="5797544" y="3815984"/>
                  <a:pt x="5791743" y="3815984"/>
                  <a:pt x="5784006" y="3817919"/>
                </a:cubicBezTo>
                <a:cubicBezTo>
                  <a:pt x="5776270" y="3819852"/>
                  <a:pt x="5770466" y="3823721"/>
                  <a:pt x="5762732" y="3823721"/>
                </a:cubicBezTo>
                <a:cubicBezTo>
                  <a:pt x="5756928" y="3823721"/>
                  <a:pt x="5749192" y="3823721"/>
                  <a:pt x="5739522" y="3823721"/>
                </a:cubicBezTo>
                <a:cubicBezTo>
                  <a:pt x="5749192" y="3835325"/>
                  <a:pt x="5760797" y="3825656"/>
                  <a:pt x="5768533" y="3831457"/>
                </a:cubicBezTo>
                <a:cubicBezTo>
                  <a:pt x="5766600" y="3831457"/>
                  <a:pt x="5766600" y="3833393"/>
                  <a:pt x="5764665" y="3833393"/>
                </a:cubicBezTo>
                <a:cubicBezTo>
                  <a:pt x="5768533" y="3833393"/>
                  <a:pt x="5770466" y="3833393"/>
                  <a:pt x="5774334" y="3833393"/>
                </a:cubicBezTo>
                <a:cubicBezTo>
                  <a:pt x="5766600" y="3837261"/>
                  <a:pt x="5756928" y="3839194"/>
                  <a:pt x="5747259" y="3839194"/>
                </a:cubicBezTo>
                <a:cubicBezTo>
                  <a:pt x="5727918" y="3843062"/>
                  <a:pt x="5708576" y="3852734"/>
                  <a:pt x="5689235" y="3848866"/>
                </a:cubicBezTo>
                <a:cubicBezTo>
                  <a:pt x="5683432" y="3848866"/>
                  <a:pt x="5677630" y="3850798"/>
                  <a:pt x="5671829" y="3852734"/>
                </a:cubicBezTo>
                <a:cubicBezTo>
                  <a:pt x="5662157" y="3856602"/>
                  <a:pt x="5654421" y="3854667"/>
                  <a:pt x="5646684" y="3854667"/>
                </a:cubicBezTo>
                <a:cubicBezTo>
                  <a:pt x="5644749" y="3856602"/>
                  <a:pt x="5644749" y="3858535"/>
                  <a:pt x="5642816" y="3860470"/>
                </a:cubicBezTo>
                <a:cubicBezTo>
                  <a:pt x="5642816" y="3860470"/>
                  <a:pt x="5644749" y="3862403"/>
                  <a:pt x="5644749" y="3862403"/>
                </a:cubicBezTo>
                <a:cubicBezTo>
                  <a:pt x="5656356" y="3860470"/>
                  <a:pt x="5666026" y="3858535"/>
                  <a:pt x="5679566" y="3856602"/>
                </a:cubicBezTo>
                <a:cubicBezTo>
                  <a:pt x="5671829" y="3864339"/>
                  <a:pt x="5666026" y="3864339"/>
                  <a:pt x="5660224" y="3866272"/>
                </a:cubicBezTo>
                <a:cubicBezTo>
                  <a:pt x="5656356" y="3866272"/>
                  <a:pt x="5654421" y="3868207"/>
                  <a:pt x="5650553" y="3868207"/>
                </a:cubicBezTo>
                <a:cubicBezTo>
                  <a:pt x="5652488" y="3868207"/>
                  <a:pt x="5652488" y="3870140"/>
                  <a:pt x="5654421" y="3870140"/>
                </a:cubicBezTo>
                <a:cubicBezTo>
                  <a:pt x="5658289" y="3872075"/>
                  <a:pt x="5662157" y="3872075"/>
                  <a:pt x="5666026" y="3874008"/>
                </a:cubicBezTo>
                <a:cubicBezTo>
                  <a:pt x="5671829" y="3874008"/>
                  <a:pt x="5675697" y="3872075"/>
                  <a:pt x="5679566" y="3872075"/>
                </a:cubicBezTo>
                <a:cubicBezTo>
                  <a:pt x="5714378" y="3866272"/>
                  <a:pt x="5751125" y="3860470"/>
                  <a:pt x="5785941" y="3854667"/>
                </a:cubicBezTo>
                <a:cubicBezTo>
                  <a:pt x="5793676" y="3852734"/>
                  <a:pt x="5803347" y="3852734"/>
                  <a:pt x="5811084" y="3852734"/>
                </a:cubicBezTo>
                <a:cubicBezTo>
                  <a:pt x="5813017" y="3852734"/>
                  <a:pt x="5816885" y="3854667"/>
                  <a:pt x="5820753" y="3856602"/>
                </a:cubicBezTo>
                <a:cubicBezTo>
                  <a:pt x="5818820" y="3856602"/>
                  <a:pt x="5814952" y="3856602"/>
                  <a:pt x="5811084" y="3858535"/>
                </a:cubicBezTo>
                <a:cubicBezTo>
                  <a:pt x="5830425" y="3856602"/>
                  <a:pt x="5849766" y="3852734"/>
                  <a:pt x="5869108" y="3850798"/>
                </a:cubicBezTo>
                <a:cubicBezTo>
                  <a:pt x="5882645" y="3848866"/>
                  <a:pt x="5898118" y="3848866"/>
                  <a:pt x="5913591" y="3846930"/>
                </a:cubicBezTo>
                <a:cubicBezTo>
                  <a:pt x="5913591" y="3852734"/>
                  <a:pt x="5909723" y="3854667"/>
                  <a:pt x="5907788" y="3854667"/>
                </a:cubicBezTo>
                <a:cubicBezTo>
                  <a:pt x="5884578" y="3858535"/>
                  <a:pt x="5859436" y="3862403"/>
                  <a:pt x="5836226" y="3866272"/>
                </a:cubicBezTo>
                <a:cubicBezTo>
                  <a:pt x="5816885" y="3870140"/>
                  <a:pt x="5797544" y="3870140"/>
                  <a:pt x="5778203" y="3872075"/>
                </a:cubicBezTo>
                <a:cubicBezTo>
                  <a:pt x="5758864" y="3874008"/>
                  <a:pt x="5741455" y="3877876"/>
                  <a:pt x="5722114" y="3881745"/>
                </a:cubicBezTo>
                <a:cubicBezTo>
                  <a:pt x="5708576" y="3885613"/>
                  <a:pt x="5693103" y="3885613"/>
                  <a:pt x="5679566" y="3883677"/>
                </a:cubicBezTo>
                <a:cubicBezTo>
                  <a:pt x="5675697" y="3885613"/>
                  <a:pt x="5673762" y="3885613"/>
                  <a:pt x="5669894" y="3887548"/>
                </a:cubicBezTo>
                <a:cubicBezTo>
                  <a:pt x="5662157" y="3889481"/>
                  <a:pt x="5654421" y="3889481"/>
                  <a:pt x="5646684" y="3895282"/>
                </a:cubicBezTo>
                <a:cubicBezTo>
                  <a:pt x="5666026" y="3893349"/>
                  <a:pt x="5687300" y="3891414"/>
                  <a:pt x="5708576" y="3889481"/>
                </a:cubicBezTo>
                <a:cubicBezTo>
                  <a:pt x="5714378" y="3885613"/>
                  <a:pt x="5720181" y="3883677"/>
                  <a:pt x="5727918" y="3883677"/>
                </a:cubicBezTo>
                <a:cubicBezTo>
                  <a:pt x="5737587" y="3883677"/>
                  <a:pt x="5747259" y="3881745"/>
                  <a:pt x="5756928" y="3881745"/>
                </a:cubicBezTo>
                <a:cubicBezTo>
                  <a:pt x="5772401" y="3879812"/>
                  <a:pt x="5787874" y="3877876"/>
                  <a:pt x="5803347" y="3874008"/>
                </a:cubicBezTo>
                <a:cubicBezTo>
                  <a:pt x="5809149" y="3872075"/>
                  <a:pt x="5816885" y="3870140"/>
                  <a:pt x="5826557" y="3872075"/>
                </a:cubicBezTo>
                <a:cubicBezTo>
                  <a:pt x="5822689" y="3874008"/>
                  <a:pt x="5822689" y="3875943"/>
                  <a:pt x="5820753" y="3875943"/>
                </a:cubicBezTo>
                <a:cubicBezTo>
                  <a:pt x="5805280" y="3879812"/>
                  <a:pt x="5791743" y="3883677"/>
                  <a:pt x="5776270" y="3885613"/>
                </a:cubicBezTo>
                <a:cubicBezTo>
                  <a:pt x="5758864" y="3887548"/>
                  <a:pt x="5743391" y="3891414"/>
                  <a:pt x="5725982" y="3895282"/>
                </a:cubicBezTo>
                <a:cubicBezTo>
                  <a:pt x="5718246" y="3895282"/>
                  <a:pt x="5708576" y="3897218"/>
                  <a:pt x="5698907" y="3899153"/>
                </a:cubicBezTo>
                <a:cubicBezTo>
                  <a:pt x="5698907" y="3897218"/>
                  <a:pt x="5700840" y="3897218"/>
                  <a:pt x="5700840" y="3895282"/>
                </a:cubicBezTo>
                <a:cubicBezTo>
                  <a:pt x="5685367" y="3897218"/>
                  <a:pt x="5669894" y="3901086"/>
                  <a:pt x="5654421" y="3904954"/>
                </a:cubicBezTo>
                <a:cubicBezTo>
                  <a:pt x="5656356" y="3904954"/>
                  <a:pt x="5656356" y="3904954"/>
                  <a:pt x="5656356" y="3904954"/>
                </a:cubicBezTo>
                <a:cubicBezTo>
                  <a:pt x="5667959" y="3906887"/>
                  <a:pt x="5681499" y="3908822"/>
                  <a:pt x="5693103" y="3910755"/>
                </a:cubicBezTo>
                <a:cubicBezTo>
                  <a:pt x="5696972" y="3910755"/>
                  <a:pt x="5700840" y="3910755"/>
                  <a:pt x="5704708" y="3910755"/>
                </a:cubicBezTo>
                <a:cubicBezTo>
                  <a:pt x="5704708" y="3912691"/>
                  <a:pt x="5704708" y="3912691"/>
                  <a:pt x="5704708" y="3914624"/>
                </a:cubicBezTo>
                <a:cubicBezTo>
                  <a:pt x="5704708" y="3916559"/>
                  <a:pt x="5706641" y="3918492"/>
                  <a:pt x="5706641" y="3920427"/>
                </a:cubicBezTo>
                <a:cubicBezTo>
                  <a:pt x="5702773" y="3924295"/>
                  <a:pt x="5698907" y="3926228"/>
                  <a:pt x="5695036" y="3928164"/>
                </a:cubicBezTo>
                <a:cubicBezTo>
                  <a:pt x="5704708" y="3926228"/>
                  <a:pt x="5716313" y="3924295"/>
                  <a:pt x="5727918" y="3922360"/>
                </a:cubicBezTo>
                <a:cubicBezTo>
                  <a:pt x="5727918" y="3922360"/>
                  <a:pt x="5725982" y="3920427"/>
                  <a:pt x="5725982" y="3920427"/>
                </a:cubicBezTo>
                <a:cubicBezTo>
                  <a:pt x="5741455" y="3912691"/>
                  <a:pt x="5758864" y="3908822"/>
                  <a:pt x="5778203" y="3906887"/>
                </a:cubicBezTo>
                <a:cubicBezTo>
                  <a:pt x="5776270" y="3908822"/>
                  <a:pt x="5774334" y="3910755"/>
                  <a:pt x="5774334" y="3910755"/>
                </a:cubicBezTo>
                <a:cubicBezTo>
                  <a:pt x="5770466" y="3910755"/>
                  <a:pt x="5768533" y="3912691"/>
                  <a:pt x="5764665" y="3912691"/>
                </a:cubicBezTo>
                <a:cubicBezTo>
                  <a:pt x="5762732" y="3914624"/>
                  <a:pt x="5760797" y="3914624"/>
                  <a:pt x="5756928" y="3914624"/>
                </a:cubicBezTo>
                <a:cubicBezTo>
                  <a:pt x="5753060" y="3914624"/>
                  <a:pt x="5749192" y="3916559"/>
                  <a:pt x="5745324" y="3918492"/>
                </a:cubicBezTo>
                <a:cubicBezTo>
                  <a:pt x="5745324" y="3918492"/>
                  <a:pt x="5743391" y="3918492"/>
                  <a:pt x="5743391" y="3918492"/>
                </a:cubicBezTo>
                <a:cubicBezTo>
                  <a:pt x="5737587" y="3928164"/>
                  <a:pt x="5729851" y="3930097"/>
                  <a:pt x="5720181" y="3932032"/>
                </a:cubicBezTo>
                <a:cubicBezTo>
                  <a:pt x="5708576" y="3933965"/>
                  <a:pt x="5698907" y="3935900"/>
                  <a:pt x="5687300" y="3941701"/>
                </a:cubicBezTo>
                <a:cubicBezTo>
                  <a:pt x="5696972" y="3945570"/>
                  <a:pt x="5704708" y="3933965"/>
                  <a:pt x="5712445" y="3943637"/>
                </a:cubicBezTo>
                <a:cubicBezTo>
                  <a:pt x="5712445" y="3947505"/>
                  <a:pt x="5708576" y="3947505"/>
                  <a:pt x="5706641" y="3947505"/>
                </a:cubicBezTo>
                <a:cubicBezTo>
                  <a:pt x="5700840" y="3947505"/>
                  <a:pt x="5696972" y="3949438"/>
                  <a:pt x="5693103" y="3949438"/>
                </a:cubicBezTo>
                <a:cubicBezTo>
                  <a:pt x="5693103" y="3953306"/>
                  <a:pt x="5691168" y="3957174"/>
                  <a:pt x="5687300" y="3961043"/>
                </a:cubicBezTo>
                <a:cubicBezTo>
                  <a:pt x="5691168" y="3962978"/>
                  <a:pt x="5695036" y="3966846"/>
                  <a:pt x="5698907" y="3968779"/>
                </a:cubicBezTo>
                <a:cubicBezTo>
                  <a:pt x="5702773" y="3970714"/>
                  <a:pt x="5708576" y="3972647"/>
                  <a:pt x="5712445" y="3974583"/>
                </a:cubicBezTo>
                <a:cubicBezTo>
                  <a:pt x="5710509" y="3980384"/>
                  <a:pt x="5700840" y="3976516"/>
                  <a:pt x="5702773" y="3984252"/>
                </a:cubicBezTo>
                <a:cubicBezTo>
                  <a:pt x="5698907" y="3986187"/>
                  <a:pt x="5696972" y="3988120"/>
                  <a:pt x="5693103" y="3988120"/>
                </a:cubicBezTo>
                <a:cubicBezTo>
                  <a:pt x="5685367" y="3986187"/>
                  <a:pt x="5679566" y="3984252"/>
                  <a:pt x="5671829" y="3982319"/>
                </a:cubicBezTo>
                <a:cubicBezTo>
                  <a:pt x="5660224" y="3976516"/>
                  <a:pt x="5648620" y="3976516"/>
                  <a:pt x="5635080" y="3978449"/>
                </a:cubicBezTo>
                <a:cubicBezTo>
                  <a:pt x="5631211" y="3978449"/>
                  <a:pt x="5627343" y="3978449"/>
                  <a:pt x="5623475" y="3978449"/>
                </a:cubicBezTo>
                <a:cubicBezTo>
                  <a:pt x="5621542" y="3980384"/>
                  <a:pt x="5617674" y="3978449"/>
                  <a:pt x="5617674" y="3980384"/>
                </a:cubicBezTo>
                <a:cubicBezTo>
                  <a:pt x="5613805" y="3988120"/>
                  <a:pt x="5606069" y="3986187"/>
                  <a:pt x="5598332" y="3986187"/>
                </a:cubicBezTo>
                <a:cubicBezTo>
                  <a:pt x="5592531" y="3986187"/>
                  <a:pt x="5586728" y="3986187"/>
                  <a:pt x="5580924" y="3986187"/>
                </a:cubicBezTo>
                <a:cubicBezTo>
                  <a:pt x="5580924" y="3986187"/>
                  <a:pt x="5578991" y="3986187"/>
                  <a:pt x="5578991" y="3986187"/>
                </a:cubicBezTo>
                <a:cubicBezTo>
                  <a:pt x="5575123" y="3988120"/>
                  <a:pt x="5569322" y="3988120"/>
                  <a:pt x="5563518" y="3990053"/>
                </a:cubicBezTo>
                <a:cubicBezTo>
                  <a:pt x="5548045" y="3993922"/>
                  <a:pt x="5532572" y="3997790"/>
                  <a:pt x="5519034" y="4001658"/>
                </a:cubicBezTo>
                <a:cubicBezTo>
                  <a:pt x="5519034" y="4001658"/>
                  <a:pt x="5517099" y="4003593"/>
                  <a:pt x="5515166" y="4003593"/>
                </a:cubicBezTo>
                <a:cubicBezTo>
                  <a:pt x="5519034" y="4003593"/>
                  <a:pt x="5522903" y="4001658"/>
                  <a:pt x="5526771" y="4001658"/>
                </a:cubicBezTo>
                <a:cubicBezTo>
                  <a:pt x="5534507" y="3999725"/>
                  <a:pt x="5536440" y="4003593"/>
                  <a:pt x="5538376" y="4009395"/>
                </a:cubicBezTo>
                <a:cubicBezTo>
                  <a:pt x="5540308" y="4009395"/>
                  <a:pt x="5540308" y="4009395"/>
                  <a:pt x="5540308" y="4009395"/>
                </a:cubicBezTo>
                <a:cubicBezTo>
                  <a:pt x="5553849" y="4013263"/>
                  <a:pt x="5565453" y="4015198"/>
                  <a:pt x="5577056" y="4007462"/>
                </a:cubicBezTo>
                <a:cubicBezTo>
                  <a:pt x="5578991" y="4005526"/>
                  <a:pt x="5582859" y="4005526"/>
                  <a:pt x="5586728" y="4005526"/>
                </a:cubicBezTo>
                <a:cubicBezTo>
                  <a:pt x="5592531" y="4007462"/>
                  <a:pt x="5600265" y="4007462"/>
                  <a:pt x="5606069" y="4007462"/>
                </a:cubicBezTo>
                <a:cubicBezTo>
                  <a:pt x="5613805" y="4005526"/>
                  <a:pt x="5619607" y="4003593"/>
                  <a:pt x="5627343" y="4001658"/>
                </a:cubicBezTo>
                <a:cubicBezTo>
                  <a:pt x="5652488" y="3995857"/>
                  <a:pt x="5675697" y="3991989"/>
                  <a:pt x="5700840" y="3988120"/>
                </a:cubicBezTo>
                <a:cubicBezTo>
                  <a:pt x="5702773" y="3988120"/>
                  <a:pt x="5706641" y="3986187"/>
                  <a:pt x="5712445" y="3986187"/>
                </a:cubicBezTo>
                <a:cubicBezTo>
                  <a:pt x="5706641" y="3993922"/>
                  <a:pt x="5702773" y="3995857"/>
                  <a:pt x="5696972" y="3997790"/>
                </a:cubicBezTo>
                <a:cubicBezTo>
                  <a:pt x="5696972" y="3999725"/>
                  <a:pt x="5695036" y="3999725"/>
                  <a:pt x="5693103" y="3999725"/>
                </a:cubicBezTo>
                <a:cubicBezTo>
                  <a:pt x="5698907" y="3999725"/>
                  <a:pt x="5704708" y="4001658"/>
                  <a:pt x="5710509" y="4001658"/>
                </a:cubicBezTo>
                <a:cubicBezTo>
                  <a:pt x="5725982" y="4003593"/>
                  <a:pt x="5739522" y="4005526"/>
                  <a:pt x="5753060" y="4007462"/>
                </a:cubicBezTo>
                <a:cubicBezTo>
                  <a:pt x="5754993" y="4007462"/>
                  <a:pt x="5756928" y="4009395"/>
                  <a:pt x="5758864" y="4011330"/>
                </a:cubicBezTo>
                <a:cubicBezTo>
                  <a:pt x="5758864" y="4013263"/>
                  <a:pt x="5760797" y="4015198"/>
                  <a:pt x="5760797" y="4017131"/>
                </a:cubicBezTo>
                <a:cubicBezTo>
                  <a:pt x="5754993" y="4020999"/>
                  <a:pt x="5749192" y="4024868"/>
                  <a:pt x="5743391" y="4028736"/>
                </a:cubicBezTo>
                <a:cubicBezTo>
                  <a:pt x="5729851" y="4024868"/>
                  <a:pt x="5714378" y="4024868"/>
                  <a:pt x="5698907" y="4028736"/>
                </a:cubicBezTo>
                <a:cubicBezTo>
                  <a:pt x="5704708" y="4032604"/>
                  <a:pt x="5710509" y="4030671"/>
                  <a:pt x="5716313" y="4030671"/>
                </a:cubicBezTo>
                <a:cubicBezTo>
                  <a:pt x="5722114" y="4030671"/>
                  <a:pt x="5725982" y="4032604"/>
                  <a:pt x="5733719" y="4034539"/>
                </a:cubicBezTo>
                <a:cubicBezTo>
                  <a:pt x="5729851" y="4036472"/>
                  <a:pt x="5729851" y="4038408"/>
                  <a:pt x="5727918" y="4038408"/>
                </a:cubicBezTo>
                <a:cubicBezTo>
                  <a:pt x="5712445" y="4038408"/>
                  <a:pt x="5695036" y="4040341"/>
                  <a:pt x="5679566" y="4040341"/>
                </a:cubicBezTo>
                <a:cubicBezTo>
                  <a:pt x="5673762" y="4040341"/>
                  <a:pt x="5666026" y="4038408"/>
                  <a:pt x="5658289" y="4036472"/>
                </a:cubicBezTo>
                <a:cubicBezTo>
                  <a:pt x="5650553" y="4034539"/>
                  <a:pt x="5642816" y="4034539"/>
                  <a:pt x="5635080" y="4038408"/>
                </a:cubicBezTo>
                <a:cubicBezTo>
                  <a:pt x="5625410" y="4044209"/>
                  <a:pt x="5613805" y="4044209"/>
                  <a:pt x="5604133" y="4044209"/>
                </a:cubicBezTo>
                <a:cubicBezTo>
                  <a:pt x="5575123" y="4046144"/>
                  <a:pt x="5544177" y="4046144"/>
                  <a:pt x="5515166" y="4048077"/>
                </a:cubicBezTo>
                <a:cubicBezTo>
                  <a:pt x="5505497" y="4051945"/>
                  <a:pt x="5491956" y="4048077"/>
                  <a:pt x="5484220" y="4059682"/>
                </a:cubicBezTo>
                <a:cubicBezTo>
                  <a:pt x="5476483" y="4061617"/>
                  <a:pt x="5470680" y="4063550"/>
                  <a:pt x="5462946" y="4065483"/>
                </a:cubicBezTo>
                <a:cubicBezTo>
                  <a:pt x="5455209" y="4067418"/>
                  <a:pt x="5445537" y="4069354"/>
                  <a:pt x="5437803" y="4071287"/>
                </a:cubicBezTo>
                <a:cubicBezTo>
                  <a:pt x="5430064" y="4075155"/>
                  <a:pt x="5422328" y="4077088"/>
                  <a:pt x="5412658" y="4077088"/>
                </a:cubicBezTo>
                <a:cubicBezTo>
                  <a:pt x="5404922" y="4079023"/>
                  <a:pt x="5397185" y="4080959"/>
                  <a:pt x="5389449" y="4084824"/>
                </a:cubicBezTo>
                <a:cubicBezTo>
                  <a:pt x="5383645" y="4086760"/>
                  <a:pt x="5375911" y="4088693"/>
                  <a:pt x="5368175" y="4090628"/>
                </a:cubicBezTo>
                <a:cubicBezTo>
                  <a:pt x="5354635" y="4094496"/>
                  <a:pt x="5339162" y="4096429"/>
                  <a:pt x="5323689" y="4102233"/>
                </a:cubicBezTo>
                <a:cubicBezTo>
                  <a:pt x="5315952" y="4104166"/>
                  <a:pt x="5310151" y="4104166"/>
                  <a:pt x="5302414" y="4104166"/>
                </a:cubicBezTo>
                <a:cubicBezTo>
                  <a:pt x="5300479" y="4104166"/>
                  <a:pt x="5300479" y="4104166"/>
                  <a:pt x="5298546" y="4102233"/>
                </a:cubicBezTo>
                <a:cubicBezTo>
                  <a:pt x="5296611" y="4102233"/>
                  <a:pt x="5294678" y="4104166"/>
                  <a:pt x="5292745" y="4104166"/>
                </a:cubicBezTo>
                <a:cubicBezTo>
                  <a:pt x="5283073" y="4111902"/>
                  <a:pt x="5273404" y="4119639"/>
                  <a:pt x="5259864" y="4119639"/>
                </a:cubicBezTo>
                <a:cubicBezTo>
                  <a:pt x="5255995" y="4119639"/>
                  <a:pt x="5254062" y="4117706"/>
                  <a:pt x="5250194" y="4117706"/>
                </a:cubicBezTo>
                <a:lnTo>
                  <a:pt x="5253096" y="4114805"/>
                </a:lnTo>
                <a:lnTo>
                  <a:pt x="5255995" y="4113838"/>
                </a:lnTo>
                <a:cubicBezTo>
                  <a:pt x="5255995" y="4113838"/>
                  <a:pt x="5254062" y="4113838"/>
                  <a:pt x="5254062" y="4113838"/>
                </a:cubicBezTo>
                <a:lnTo>
                  <a:pt x="5253096" y="4114805"/>
                </a:lnTo>
                <a:lnTo>
                  <a:pt x="5246050" y="4117154"/>
                </a:lnTo>
                <a:lnTo>
                  <a:pt x="5244393" y="4113838"/>
                </a:lnTo>
                <a:cubicBezTo>
                  <a:pt x="5244393" y="4113838"/>
                  <a:pt x="5242458" y="4113838"/>
                  <a:pt x="5242458" y="4113838"/>
                </a:cubicBezTo>
                <a:lnTo>
                  <a:pt x="5242458" y="4118672"/>
                </a:lnTo>
                <a:lnTo>
                  <a:pt x="5240522" y="4119639"/>
                </a:lnTo>
                <a:cubicBezTo>
                  <a:pt x="5242458" y="4119639"/>
                  <a:pt x="5242458" y="4119639"/>
                  <a:pt x="5242458" y="4119639"/>
                </a:cubicBezTo>
                <a:cubicBezTo>
                  <a:pt x="5244393" y="4121574"/>
                  <a:pt x="5244393" y="4121574"/>
                  <a:pt x="5246326" y="4123507"/>
                </a:cubicBezTo>
                <a:cubicBezTo>
                  <a:pt x="5244393" y="4127375"/>
                  <a:pt x="5242458" y="4129311"/>
                  <a:pt x="5238589" y="4129311"/>
                </a:cubicBezTo>
                <a:cubicBezTo>
                  <a:pt x="5232786" y="4129311"/>
                  <a:pt x="5226985" y="4129311"/>
                  <a:pt x="5223116" y="4133179"/>
                </a:cubicBezTo>
                <a:cubicBezTo>
                  <a:pt x="5221183" y="4135112"/>
                  <a:pt x="5221183" y="4135112"/>
                  <a:pt x="5219248" y="4135112"/>
                </a:cubicBezTo>
                <a:cubicBezTo>
                  <a:pt x="5213445" y="4137047"/>
                  <a:pt x="5203775" y="4133179"/>
                  <a:pt x="5197974" y="4138980"/>
                </a:cubicBezTo>
                <a:cubicBezTo>
                  <a:pt x="5192170" y="4144784"/>
                  <a:pt x="5186369" y="4146717"/>
                  <a:pt x="5180566" y="4148652"/>
                </a:cubicBezTo>
                <a:cubicBezTo>
                  <a:pt x="5178633" y="4150585"/>
                  <a:pt x="5176697" y="4152518"/>
                  <a:pt x="5174764" y="4156388"/>
                </a:cubicBezTo>
                <a:cubicBezTo>
                  <a:pt x="5151555" y="4166058"/>
                  <a:pt x="5126410" y="4177663"/>
                  <a:pt x="5101268" y="4189267"/>
                </a:cubicBezTo>
                <a:cubicBezTo>
                  <a:pt x="5099335" y="4189267"/>
                  <a:pt x="5097399" y="4189267"/>
                  <a:pt x="5095466" y="4191200"/>
                </a:cubicBezTo>
                <a:cubicBezTo>
                  <a:pt x="5081926" y="4204741"/>
                  <a:pt x="5064520" y="4208609"/>
                  <a:pt x="5049047" y="4214410"/>
                </a:cubicBezTo>
                <a:cubicBezTo>
                  <a:pt x="5043244" y="4216345"/>
                  <a:pt x="5039375" y="4220214"/>
                  <a:pt x="5035507" y="4224082"/>
                </a:cubicBezTo>
                <a:cubicBezTo>
                  <a:pt x="5031641" y="4231818"/>
                  <a:pt x="5023905" y="4235687"/>
                  <a:pt x="5014233" y="4241488"/>
                </a:cubicBezTo>
                <a:cubicBezTo>
                  <a:pt x="5031641" y="4241488"/>
                  <a:pt x="5045179" y="4237620"/>
                  <a:pt x="5058717" y="4229883"/>
                </a:cubicBezTo>
                <a:cubicBezTo>
                  <a:pt x="5068389" y="4224082"/>
                  <a:pt x="5076125" y="4222146"/>
                  <a:pt x="5085794" y="4220214"/>
                </a:cubicBezTo>
                <a:cubicBezTo>
                  <a:pt x="5087730" y="4220214"/>
                  <a:pt x="5091598" y="4218278"/>
                  <a:pt x="5093531" y="4218278"/>
                </a:cubicBezTo>
                <a:cubicBezTo>
                  <a:pt x="5116741" y="4210542"/>
                  <a:pt x="5138017" y="4204741"/>
                  <a:pt x="5161224" y="4197004"/>
                </a:cubicBezTo>
                <a:cubicBezTo>
                  <a:pt x="5167028" y="4195069"/>
                  <a:pt x="5172829" y="4195069"/>
                  <a:pt x="5180566" y="4195069"/>
                </a:cubicBezTo>
                <a:cubicBezTo>
                  <a:pt x="5188302" y="4189267"/>
                  <a:pt x="5199907" y="4185399"/>
                  <a:pt x="5211512" y="4181531"/>
                </a:cubicBezTo>
                <a:cubicBezTo>
                  <a:pt x="5230853" y="4175727"/>
                  <a:pt x="5248259" y="4167993"/>
                  <a:pt x="5267600" y="4162190"/>
                </a:cubicBezTo>
                <a:cubicBezTo>
                  <a:pt x="5277270" y="4158321"/>
                  <a:pt x="5286941" y="4154453"/>
                  <a:pt x="5300479" y="4154453"/>
                </a:cubicBezTo>
                <a:cubicBezTo>
                  <a:pt x="5296611" y="4158321"/>
                  <a:pt x="5292745" y="4162190"/>
                  <a:pt x="5288877" y="4166058"/>
                </a:cubicBezTo>
                <a:cubicBezTo>
                  <a:pt x="5294678" y="4166058"/>
                  <a:pt x="5298546" y="4166058"/>
                  <a:pt x="5304350" y="4166058"/>
                </a:cubicBezTo>
                <a:cubicBezTo>
                  <a:pt x="5304350" y="4169926"/>
                  <a:pt x="5302414" y="4171859"/>
                  <a:pt x="5302414" y="4177663"/>
                </a:cubicBezTo>
                <a:cubicBezTo>
                  <a:pt x="5298546" y="4175727"/>
                  <a:pt x="5294678" y="4175727"/>
                  <a:pt x="5292745" y="4173794"/>
                </a:cubicBezTo>
                <a:cubicBezTo>
                  <a:pt x="5290810" y="4175727"/>
                  <a:pt x="5288877" y="4175727"/>
                  <a:pt x="5288877" y="4175727"/>
                </a:cubicBezTo>
                <a:cubicBezTo>
                  <a:pt x="5283073" y="4185399"/>
                  <a:pt x="5273404" y="4193136"/>
                  <a:pt x="5261799" y="4197004"/>
                </a:cubicBezTo>
                <a:cubicBezTo>
                  <a:pt x="5238589" y="4204741"/>
                  <a:pt x="5215380" y="4210542"/>
                  <a:pt x="5192170" y="4218278"/>
                </a:cubicBezTo>
                <a:cubicBezTo>
                  <a:pt x="5188302" y="4218278"/>
                  <a:pt x="5182501" y="4220214"/>
                  <a:pt x="5182501" y="4214410"/>
                </a:cubicBezTo>
                <a:cubicBezTo>
                  <a:pt x="5170896" y="4216345"/>
                  <a:pt x="5159291" y="4218278"/>
                  <a:pt x="5149620" y="4222146"/>
                </a:cubicBezTo>
                <a:cubicBezTo>
                  <a:pt x="5143818" y="4224082"/>
                  <a:pt x="5136082" y="4226015"/>
                  <a:pt x="5132214" y="4231818"/>
                </a:cubicBezTo>
                <a:cubicBezTo>
                  <a:pt x="5126410" y="4237620"/>
                  <a:pt x="5120609" y="4241488"/>
                  <a:pt x="5112872" y="4243423"/>
                </a:cubicBezTo>
                <a:cubicBezTo>
                  <a:pt x="5118676" y="4241488"/>
                  <a:pt x="5124477" y="4241488"/>
                  <a:pt x="5130281" y="4239552"/>
                </a:cubicBezTo>
                <a:cubicBezTo>
                  <a:pt x="5122542" y="4249224"/>
                  <a:pt x="5118676" y="4251157"/>
                  <a:pt x="5109004" y="4251157"/>
                </a:cubicBezTo>
                <a:cubicBezTo>
                  <a:pt x="5107071" y="4253093"/>
                  <a:pt x="5105136" y="4251157"/>
                  <a:pt x="5101268" y="4249224"/>
                </a:cubicBezTo>
                <a:cubicBezTo>
                  <a:pt x="5097399" y="4251157"/>
                  <a:pt x="5091598" y="4253093"/>
                  <a:pt x="5085794" y="4255028"/>
                </a:cubicBezTo>
                <a:cubicBezTo>
                  <a:pt x="5085794" y="4255028"/>
                  <a:pt x="5085794" y="4256961"/>
                  <a:pt x="5085794" y="4256961"/>
                </a:cubicBezTo>
                <a:cubicBezTo>
                  <a:pt x="5079993" y="4258894"/>
                  <a:pt x="5074190" y="4264697"/>
                  <a:pt x="5066453" y="4262762"/>
                </a:cubicBezTo>
                <a:cubicBezTo>
                  <a:pt x="5066453" y="4262762"/>
                  <a:pt x="5068389" y="4260829"/>
                  <a:pt x="5068389" y="4260829"/>
                </a:cubicBezTo>
                <a:cubicBezTo>
                  <a:pt x="5054848" y="4266633"/>
                  <a:pt x="5039375" y="4270499"/>
                  <a:pt x="5025838" y="4276302"/>
                </a:cubicBezTo>
                <a:cubicBezTo>
                  <a:pt x="4998760" y="4285972"/>
                  <a:pt x="4971682" y="4297576"/>
                  <a:pt x="4944607" y="4307248"/>
                </a:cubicBezTo>
                <a:cubicBezTo>
                  <a:pt x="4905924" y="4322721"/>
                  <a:pt x="4867242" y="4336259"/>
                  <a:pt x="4828559" y="4351732"/>
                </a:cubicBezTo>
                <a:cubicBezTo>
                  <a:pt x="4820823" y="4355600"/>
                  <a:pt x="4811153" y="4359468"/>
                  <a:pt x="4805350" y="4365270"/>
                </a:cubicBezTo>
                <a:cubicBezTo>
                  <a:pt x="4803417" y="4367205"/>
                  <a:pt x="4799548" y="4369138"/>
                  <a:pt x="4795680" y="4371073"/>
                </a:cubicBezTo>
                <a:cubicBezTo>
                  <a:pt x="4787944" y="4374941"/>
                  <a:pt x="4778272" y="4378810"/>
                  <a:pt x="4772471" y="4384611"/>
                </a:cubicBezTo>
                <a:cubicBezTo>
                  <a:pt x="4768602" y="4388479"/>
                  <a:pt x="4760866" y="4390414"/>
                  <a:pt x="4753129" y="4394283"/>
                </a:cubicBezTo>
                <a:cubicBezTo>
                  <a:pt x="4718315" y="4407820"/>
                  <a:pt x="4683503" y="4423293"/>
                  <a:pt x="4648686" y="4438766"/>
                </a:cubicBezTo>
                <a:cubicBezTo>
                  <a:pt x="4637084" y="4442635"/>
                  <a:pt x="4627412" y="4448436"/>
                  <a:pt x="4617743" y="4454239"/>
                </a:cubicBezTo>
                <a:cubicBezTo>
                  <a:pt x="4598402" y="4463909"/>
                  <a:pt x="4577127" y="4473581"/>
                  <a:pt x="4557786" y="4483250"/>
                </a:cubicBezTo>
                <a:cubicBezTo>
                  <a:pt x="4553918" y="4485186"/>
                  <a:pt x="4550050" y="4487118"/>
                  <a:pt x="4548114" y="4490987"/>
                </a:cubicBezTo>
                <a:cubicBezTo>
                  <a:pt x="4550050" y="4492922"/>
                  <a:pt x="4551982" y="4492922"/>
                  <a:pt x="4553918" y="4494855"/>
                </a:cubicBezTo>
                <a:cubicBezTo>
                  <a:pt x="4550050" y="4496790"/>
                  <a:pt x="4546181" y="4500659"/>
                  <a:pt x="4540378" y="4498723"/>
                </a:cubicBezTo>
                <a:cubicBezTo>
                  <a:pt x="4530708" y="4494855"/>
                  <a:pt x="4521036" y="4500659"/>
                  <a:pt x="4517168" y="4506460"/>
                </a:cubicBezTo>
                <a:cubicBezTo>
                  <a:pt x="4509434" y="4518065"/>
                  <a:pt x="4497827" y="4523868"/>
                  <a:pt x="4486225" y="4529669"/>
                </a:cubicBezTo>
                <a:cubicBezTo>
                  <a:pt x="4470751" y="4539339"/>
                  <a:pt x="4453343" y="4547075"/>
                  <a:pt x="4435937" y="4556747"/>
                </a:cubicBezTo>
                <a:cubicBezTo>
                  <a:pt x="4418531" y="4568352"/>
                  <a:pt x="4399190" y="4578021"/>
                  <a:pt x="4381782" y="4587693"/>
                </a:cubicBezTo>
                <a:cubicBezTo>
                  <a:pt x="4379849" y="4589626"/>
                  <a:pt x="4375980" y="4591561"/>
                  <a:pt x="4374045" y="4593494"/>
                </a:cubicBezTo>
                <a:cubicBezTo>
                  <a:pt x="4366309" y="4599298"/>
                  <a:pt x="4356639" y="4607032"/>
                  <a:pt x="4346967" y="4610903"/>
                </a:cubicBezTo>
                <a:cubicBezTo>
                  <a:pt x="4319890" y="4622505"/>
                  <a:pt x="4261868" y="4748222"/>
                  <a:pt x="4234790" y="4763695"/>
                </a:cubicBezTo>
                <a:cubicBezTo>
                  <a:pt x="4225121" y="4767564"/>
                  <a:pt x="4213514" y="4773367"/>
                  <a:pt x="4203844" y="4777233"/>
                </a:cubicBezTo>
                <a:cubicBezTo>
                  <a:pt x="4201911" y="4779168"/>
                  <a:pt x="4198043" y="4779168"/>
                  <a:pt x="4196108" y="4779168"/>
                </a:cubicBezTo>
                <a:cubicBezTo>
                  <a:pt x="4190307" y="4777233"/>
                  <a:pt x="4186438" y="4777233"/>
                  <a:pt x="4182570" y="4779168"/>
                </a:cubicBezTo>
                <a:cubicBezTo>
                  <a:pt x="4180635" y="4779168"/>
                  <a:pt x="4180635" y="4781101"/>
                  <a:pt x="4178702" y="4781101"/>
                </a:cubicBezTo>
                <a:cubicBezTo>
                  <a:pt x="4178702" y="4783037"/>
                  <a:pt x="4176767" y="4783037"/>
                  <a:pt x="4176767" y="4783037"/>
                </a:cubicBezTo>
                <a:cubicBezTo>
                  <a:pt x="4151624" y="4798510"/>
                  <a:pt x="4124546" y="4812050"/>
                  <a:pt x="4099404" y="4827520"/>
                </a:cubicBezTo>
                <a:cubicBezTo>
                  <a:pt x="4083931" y="4835257"/>
                  <a:pt x="4068458" y="4844929"/>
                  <a:pt x="4052985" y="4852665"/>
                </a:cubicBezTo>
                <a:cubicBezTo>
                  <a:pt x="4033643" y="4862335"/>
                  <a:pt x="4018170" y="4873939"/>
                  <a:pt x="4002697" y="4887477"/>
                </a:cubicBezTo>
                <a:cubicBezTo>
                  <a:pt x="3991093" y="4899084"/>
                  <a:pt x="3977555" y="4908754"/>
                  <a:pt x="3964015" y="4918426"/>
                </a:cubicBezTo>
                <a:cubicBezTo>
                  <a:pt x="3944676" y="4933896"/>
                  <a:pt x="3923399" y="4949369"/>
                  <a:pt x="3904058" y="4964842"/>
                </a:cubicBezTo>
                <a:cubicBezTo>
                  <a:pt x="3884717" y="4980315"/>
                  <a:pt x="3865376" y="4993853"/>
                  <a:pt x="3844101" y="5005460"/>
                </a:cubicBezTo>
                <a:cubicBezTo>
                  <a:pt x="3832497" y="5011261"/>
                  <a:pt x="3820892" y="5018998"/>
                  <a:pt x="3809287" y="5026734"/>
                </a:cubicBezTo>
                <a:cubicBezTo>
                  <a:pt x="3786078" y="5042207"/>
                  <a:pt x="3760935" y="5053812"/>
                  <a:pt x="3733857" y="5063482"/>
                </a:cubicBezTo>
                <a:cubicBezTo>
                  <a:pt x="3729989" y="5063482"/>
                  <a:pt x="3728056" y="5065417"/>
                  <a:pt x="3724188" y="5065417"/>
                </a:cubicBezTo>
                <a:cubicBezTo>
                  <a:pt x="3704847" y="5065417"/>
                  <a:pt x="3687441" y="5077019"/>
                  <a:pt x="3670032" y="5082823"/>
                </a:cubicBezTo>
                <a:cubicBezTo>
                  <a:pt x="3650691" y="5088626"/>
                  <a:pt x="3633283" y="5094428"/>
                  <a:pt x="3615877" y="5096361"/>
                </a:cubicBezTo>
                <a:cubicBezTo>
                  <a:pt x="3608140" y="5098296"/>
                  <a:pt x="3598471" y="5098296"/>
                  <a:pt x="3590734" y="5096361"/>
                </a:cubicBezTo>
                <a:cubicBezTo>
                  <a:pt x="3590734" y="5096361"/>
                  <a:pt x="3588799" y="5098296"/>
                  <a:pt x="3586866" y="5100229"/>
                </a:cubicBezTo>
                <a:cubicBezTo>
                  <a:pt x="3579129" y="5106032"/>
                  <a:pt x="3573328" y="5113769"/>
                  <a:pt x="3567525" y="5123438"/>
                </a:cubicBezTo>
                <a:cubicBezTo>
                  <a:pt x="3555920" y="5133110"/>
                  <a:pt x="3550119" y="5146648"/>
                  <a:pt x="3540447" y="5156320"/>
                </a:cubicBezTo>
                <a:cubicBezTo>
                  <a:pt x="3538514" y="5156320"/>
                  <a:pt x="3538514" y="5158253"/>
                  <a:pt x="3536579" y="5160188"/>
                </a:cubicBezTo>
                <a:cubicBezTo>
                  <a:pt x="3517237" y="5177594"/>
                  <a:pt x="3501764" y="5198871"/>
                  <a:pt x="3484358" y="5218209"/>
                </a:cubicBezTo>
                <a:cubicBezTo>
                  <a:pt x="3482423" y="5220145"/>
                  <a:pt x="3480490" y="5220145"/>
                  <a:pt x="3478555" y="5222078"/>
                </a:cubicBezTo>
                <a:cubicBezTo>
                  <a:pt x="3478555" y="5218209"/>
                  <a:pt x="3482423" y="5216277"/>
                  <a:pt x="3484358" y="5212408"/>
                </a:cubicBezTo>
                <a:cubicBezTo>
                  <a:pt x="3505633" y="5185330"/>
                  <a:pt x="3524974" y="5160188"/>
                  <a:pt x="3546248" y="5135043"/>
                </a:cubicBezTo>
                <a:cubicBezTo>
                  <a:pt x="3557855" y="5119570"/>
                  <a:pt x="3569458" y="5106032"/>
                  <a:pt x="3581065" y="5092495"/>
                </a:cubicBezTo>
                <a:cubicBezTo>
                  <a:pt x="3577197" y="5092495"/>
                  <a:pt x="3571393" y="5092495"/>
                  <a:pt x="3567525" y="5092495"/>
                </a:cubicBezTo>
                <a:cubicBezTo>
                  <a:pt x="3565589" y="5098296"/>
                  <a:pt x="3561723" y="5102164"/>
                  <a:pt x="3555920" y="5102164"/>
                </a:cubicBezTo>
                <a:cubicBezTo>
                  <a:pt x="3557855" y="5098296"/>
                  <a:pt x="3559788" y="5096361"/>
                  <a:pt x="3561723" y="5092495"/>
                </a:cubicBezTo>
                <a:cubicBezTo>
                  <a:pt x="3559788" y="5092495"/>
                  <a:pt x="3559788" y="5092495"/>
                  <a:pt x="3557855" y="5092495"/>
                </a:cubicBezTo>
                <a:cubicBezTo>
                  <a:pt x="3553987" y="5096361"/>
                  <a:pt x="3550119" y="5100229"/>
                  <a:pt x="3548183" y="5106032"/>
                </a:cubicBezTo>
                <a:cubicBezTo>
                  <a:pt x="3548183" y="5111836"/>
                  <a:pt x="3546248" y="5113769"/>
                  <a:pt x="3542382" y="5115702"/>
                </a:cubicBezTo>
                <a:cubicBezTo>
                  <a:pt x="3534646" y="5117637"/>
                  <a:pt x="3530777" y="5123438"/>
                  <a:pt x="3526909" y="5129242"/>
                </a:cubicBezTo>
                <a:cubicBezTo>
                  <a:pt x="3513372" y="5144713"/>
                  <a:pt x="3503700" y="5162121"/>
                  <a:pt x="3490162" y="5175661"/>
                </a:cubicBezTo>
                <a:cubicBezTo>
                  <a:pt x="3486294" y="5181462"/>
                  <a:pt x="3478555" y="5185330"/>
                  <a:pt x="3478555" y="5195000"/>
                </a:cubicBezTo>
                <a:cubicBezTo>
                  <a:pt x="3472754" y="5195000"/>
                  <a:pt x="3470821" y="5200804"/>
                  <a:pt x="3468885" y="5204672"/>
                </a:cubicBezTo>
                <a:cubicBezTo>
                  <a:pt x="3463084" y="5208540"/>
                  <a:pt x="3459214" y="5212408"/>
                  <a:pt x="3455348" y="5218209"/>
                </a:cubicBezTo>
                <a:cubicBezTo>
                  <a:pt x="3449544" y="5224013"/>
                  <a:pt x="3445676" y="5229814"/>
                  <a:pt x="3439875" y="5235618"/>
                </a:cubicBezTo>
                <a:lnTo>
                  <a:pt x="3430203" y="5234005"/>
                </a:lnTo>
                <a:lnTo>
                  <a:pt x="3432138" y="5231747"/>
                </a:lnTo>
                <a:lnTo>
                  <a:pt x="3429777" y="5233934"/>
                </a:lnTo>
                <a:lnTo>
                  <a:pt x="3428270" y="5233683"/>
                </a:lnTo>
                <a:cubicBezTo>
                  <a:pt x="3434071" y="5218209"/>
                  <a:pt x="3443743" y="5206605"/>
                  <a:pt x="3453412" y="5195000"/>
                </a:cubicBezTo>
                <a:cubicBezTo>
                  <a:pt x="3466952" y="5173726"/>
                  <a:pt x="3482423" y="5154384"/>
                  <a:pt x="3497896" y="5135043"/>
                </a:cubicBezTo>
                <a:cubicBezTo>
                  <a:pt x="3497896" y="5135043"/>
                  <a:pt x="3497896" y="5133110"/>
                  <a:pt x="3499831" y="5129242"/>
                </a:cubicBezTo>
                <a:cubicBezTo>
                  <a:pt x="3492095" y="5133110"/>
                  <a:pt x="3490162" y="5138911"/>
                  <a:pt x="3486294" y="5142780"/>
                </a:cubicBezTo>
                <a:cubicBezTo>
                  <a:pt x="3488227" y="5138911"/>
                  <a:pt x="3488227" y="5133110"/>
                  <a:pt x="3488227" y="5129242"/>
                </a:cubicBezTo>
                <a:cubicBezTo>
                  <a:pt x="3486294" y="5129242"/>
                  <a:pt x="3484358" y="5129242"/>
                  <a:pt x="3484358" y="5129242"/>
                </a:cubicBezTo>
                <a:cubicBezTo>
                  <a:pt x="3474689" y="5125374"/>
                  <a:pt x="3468885" y="5129242"/>
                  <a:pt x="3463084" y="5136978"/>
                </a:cubicBezTo>
                <a:cubicBezTo>
                  <a:pt x="3451479" y="5152451"/>
                  <a:pt x="3439875" y="5167922"/>
                  <a:pt x="3428270" y="5183395"/>
                </a:cubicBezTo>
                <a:cubicBezTo>
                  <a:pt x="3426337" y="5185330"/>
                  <a:pt x="3426337" y="5185330"/>
                  <a:pt x="3426337" y="5189199"/>
                </a:cubicBezTo>
                <a:cubicBezTo>
                  <a:pt x="3434071" y="5185330"/>
                  <a:pt x="3436006" y="5175661"/>
                  <a:pt x="3443743" y="5173726"/>
                </a:cubicBezTo>
                <a:cubicBezTo>
                  <a:pt x="3443743" y="5183395"/>
                  <a:pt x="3443743" y="5183395"/>
                  <a:pt x="3439875" y="5191132"/>
                </a:cubicBezTo>
                <a:cubicBezTo>
                  <a:pt x="3443743" y="5187263"/>
                  <a:pt x="3447611" y="5185330"/>
                  <a:pt x="3449544" y="5181462"/>
                </a:cubicBezTo>
                <a:cubicBezTo>
                  <a:pt x="3455348" y="5171790"/>
                  <a:pt x="3463084" y="5162121"/>
                  <a:pt x="3470821" y="5152451"/>
                </a:cubicBezTo>
                <a:cubicBezTo>
                  <a:pt x="3474689" y="5148583"/>
                  <a:pt x="3478555" y="5142780"/>
                  <a:pt x="3484358" y="5142780"/>
                </a:cubicBezTo>
                <a:cubicBezTo>
                  <a:pt x="3470821" y="5162121"/>
                  <a:pt x="3455348" y="5181462"/>
                  <a:pt x="3441808" y="5200804"/>
                </a:cubicBezTo>
                <a:cubicBezTo>
                  <a:pt x="3439875" y="5202736"/>
                  <a:pt x="3436006" y="5204672"/>
                  <a:pt x="3434071" y="5206605"/>
                </a:cubicBezTo>
                <a:cubicBezTo>
                  <a:pt x="3434071" y="5204672"/>
                  <a:pt x="3434071" y="5204672"/>
                  <a:pt x="3434071" y="5202736"/>
                </a:cubicBezTo>
                <a:cubicBezTo>
                  <a:pt x="3436006" y="5200804"/>
                  <a:pt x="3437939" y="5196935"/>
                  <a:pt x="3437939" y="5193067"/>
                </a:cubicBezTo>
                <a:cubicBezTo>
                  <a:pt x="3434071" y="5195000"/>
                  <a:pt x="3432138" y="5198871"/>
                  <a:pt x="3432138" y="5202736"/>
                </a:cubicBezTo>
                <a:cubicBezTo>
                  <a:pt x="3426337" y="5204672"/>
                  <a:pt x="3420533" y="5210473"/>
                  <a:pt x="3422466" y="5218209"/>
                </a:cubicBezTo>
                <a:cubicBezTo>
                  <a:pt x="3424402" y="5216277"/>
                  <a:pt x="3426337" y="5216277"/>
                  <a:pt x="3428270" y="5214341"/>
                </a:cubicBezTo>
                <a:cubicBezTo>
                  <a:pt x="3422466" y="5229814"/>
                  <a:pt x="3412797" y="5243354"/>
                  <a:pt x="3399257" y="5253024"/>
                </a:cubicBezTo>
                <a:cubicBezTo>
                  <a:pt x="3401192" y="5251088"/>
                  <a:pt x="3401192" y="5251088"/>
                  <a:pt x="3401192" y="5249156"/>
                </a:cubicBezTo>
                <a:cubicBezTo>
                  <a:pt x="3399257" y="5251088"/>
                  <a:pt x="3395389" y="5253024"/>
                  <a:pt x="3393456" y="5254957"/>
                </a:cubicBezTo>
                <a:cubicBezTo>
                  <a:pt x="3389587" y="5260760"/>
                  <a:pt x="3385719" y="5266564"/>
                  <a:pt x="3381851" y="5272365"/>
                </a:cubicBezTo>
                <a:cubicBezTo>
                  <a:pt x="3376050" y="5280102"/>
                  <a:pt x="3370246" y="5287838"/>
                  <a:pt x="3364445" y="5295575"/>
                </a:cubicBezTo>
                <a:cubicBezTo>
                  <a:pt x="3366378" y="5293639"/>
                  <a:pt x="3368313" y="5293639"/>
                  <a:pt x="3372179" y="5291706"/>
                </a:cubicBezTo>
                <a:cubicBezTo>
                  <a:pt x="3372179" y="5301376"/>
                  <a:pt x="3366378" y="5305244"/>
                  <a:pt x="3362510" y="5311048"/>
                </a:cubicBezTo>
                <a:cubicBezTo>
                  <a:pt x="3362510" y="5307179"/>
                  <a:pt x="3360577" y="5305244"/>
                  <a:pt x="3360577" y="5303311"/>
                </a:cubicBezTo>
                <a:cubicBezTo>
                  <a:pt x="3358641" y="5307179"/>
                  <a:pt x="3356708" y="5309112"/>
                  <a:pt x="3354773" y="5312981"/>
                </a:cubicBezTo>
                <a:cubicBezTo>
                  <a:pt x="3347037" y="5316849"/>
                  <a:pt x="3347037" y="5316849"/>
                  <a:pt x="3348972" y="5324585"/>
                </a:cubicBezTo>
                <a:cubicBezTo>
                  <a:pt x="3345104" y="5326521"/>
                  <a:pt x="3343168" y="5328454"/>
                  <a:pt x="3339302" y="5328454"/>
                </a:cubicBezTo>
                <a:cubicBezTo>
                  <a:pt x="3335432" y="5328454"/>
                  <a:pt x="3331564" y="5326521"/>
                  <a:pt x="3331564" y="5322652"/>
                </a:cubicBezTo>
                <a:cubicBezTo>
                  <a:pt x="3331564" y="5318782"/>
                  <a:pt x="3331564" y="5316849"/>
                  <a:pt x="3331564" y="5314916"/>
                </a:cubicBezTo>
                <a:cubicBezTo>
                  <a:pt x="3331564" y="5312981"/>
                  <a:pt x="3329631" y="5309112"/>
                  <a:pt x="3329631" y="5309112"/>
                </a:cubicBezTo>
                <a:cubicBezTo>
                  <a:pt x="3319961" y="5307179"/>
                  <a:pt x="3327695" y="5301376"/>
                  <a:pt x="3323827" y="5297508"/>
                </a:cubicBezTo>
                <a:cubicBezTo>
                  <a:pt x="3319961" y="5299443"/>
                  <a:pt x="3316093" y="5303311"/>
                  <a:pt x="3310289" y="5309112"/>
                </a:cubicBezTo>
                <a:cubicBezTo>
                  <a:pt x="3310289" y="5305244"/>
                  <a:pt x="3310289" y="5303311"/>
                  <a:pt x="3310289" y="5301376"/>
                </a:cubicBezTo>
                <a:cubicBezTo>
                  <a:pt x="3310289" y="5299443"/>
                  <a:pt x="3312222" y="5295575"/>
                  <a:pt x="3314158" y="5293639"/>
                </a:cubicBezTo>
                <a:cubicBezTo>
                  <a:pt x="3312222" y="5289771"/>
                  <a:pt x="3308354" y="5293639"/>
                  <a:pt x="3306421" y="5293639"/>
                </a:cubicBezTo>
                <a:cubicBezTo>
                  <a:pt x="3304486" y="5293639"/>
                  <a:pt x="3302553" y="5291706"/>
                  <a:pt x="3302553" y="5289771"/>
                </a:cubicBezTo>
                <a:cubicBezTo>
                  <a:pt x="3302553" y="5291706"/>
                  <a:pt x="3300620" y="5291706"/>
                  <a:pt x="3300620" y="5293639"/>
                </a:cubicBezTo>
                <a:cubicBezTo>
                  <a:pt x="3296752" y="5297508"/>
                  <a:pt x="3292883" y="5297508"/>
                  <a:pt x="3290948" y="5293639"/>
                </a:cubicBezTo>
                <a:cubicBezTo>
                  <a:pt x="3290948" y="5291706"/>
                  <a:pt x="3290948" y="5287838"/>
                  <a:pt x="3290948" y="5285905"/>
                </a:cubicBezTo>
                <a:cubicBezTo>
                  <a:pt x="3292883" y="5278166"/>
                  <a:pt x="3296752" y="5272365"/>
                  <a:pt x="3298685" y="5264629"/>
                </a:cubicBezTo>
                <a:cubicBezTo>
                  <a:pt x="3296752" y="5262696"/>
                  <a:pt x="3296752" y="5262696"/>
                  <a:pt x="3294816" y="5260760"/>
                </a:cubicBezTo>
                <a:cubicBezTo>
                  <a:pt x="3294816" y="5260760"/>
                  <a:pt x="3294816" y="5262696"/>
                  <a:pt x="3294816" y="5262696"/>
                </a:cubicBezTo>
                <a:cubicBezTo>
                  <a:pt x="3292883" y="5262696"/>
                  <a:pt x="3290948" y="5262696"/>
                  <a:pt x="3290948" y="5260760"/>
                </a:cubicBezTo>
                <a:cubicBezTo>
                  <a:pt x="3289013" y="5258827"/>
                  <a:pt x="3290948" y="5256892"/>
                  <a:pt x="3290948" y="5256892"/>
                </a:cubicBezTo>
                <a:cubicBezTo>
                  <a:pt x="3283212" y="5247223"/>
                  <a:pt x="3279343" y="5235618"/>
                  <a:pt x="3277410" y="5224013"/>
                </a:cubicBezTo>
                <a:cubicBezTo>
                  <a:pt x="3275475" y="5222078"/>
                  <a:pt x="3275475" y="5222078"/>
                  <a:pt x="3275475" y="5220145"/>
                </a:cubicBezTo>
                <a:cubicBezTo>
                  <a:pt x="3275475" y="5218209"/>
                  <a:pt x="3275475" y="5218209"/>
                  <a:pt x="3275475" y="5216277"/>
                </a:cubicBezTo>
                <a:cubicBezTo>
                  <a:pt x="3275475" y="5214341"/>
                  <a:pt x="3275475" y="5212408"/>
                  <a:pt x="3275475" y="5210473"/>
                </a:cubicBezTo>
                <a:cubicBezTo>
                  <a:pt x="3273542" y="5210473"/>
                  <a:pt x="3273542" y="5208540"/>
                  <a:pt x="3273542" y="5208540"/>
                </a:cubicBezTo>
                <a:cubicBezTo>
                  <a:pt x="3263870" y="5206605"/>
                  <a:pt x="3271607" y="5200804"/>
                  <a:pt x="3267739" y="5196935"/>
                </a:cubicBezTo>
                <a:cubicBezTo>
                  <a:pt x="3263870" y="5198871"/>
                  <a:pt x="3260002" y="5202736"/>
                  <a:pt x="3254201" y="5208540"/>
                </a:cubicBezTo>
                <a:cubicBezTo>
                  <a:pt x="3254201" y="5204672"/>
                  <a:pt x="3254201" y="5202736"/>
                  <a:pt x="3254201" y="5200804"/>
                </a:cubicBezTo>
                <a:cubicBezTo>
                  <a:pt x="3254201" y="5198871"/>
                  <a:pt x="3254201" y="5198871"/>
                  <a:pt x="3254201" y="5198871"/>
                </a:cubicBezTo>
                <a:cubicBezTo>
                  <a:pt x="3254201" y="5200804"/>
                  <a:pt x="3252265" y="5200804"/>
                  <a:pt x="3252265" y="5200804"/>
                </a:cubicBezTo>
                <a:cubicBezTo>
                  <a:pt x="3250333" y="5198871"/>
                  <a:pt x="3250333" y="5198871"/>
                  <a:pt x="3250333" y="5196935"/>
                </a:cubicBezTo>
                <a:cubicBezTo>
                  <a:pt x="3252265" y="5195000"/>
                  <a:pt x="3252265" y="5195000"/>
                  <a:pt x="3254201" y="5193067"/>
                </a:cubicBezTo>
                <a:cubicBezTo>
                  <a:pt x="3254201" y="5193067"/>
                  <a:pt x="3256134" y="5195000"/>
                  <a:pt x="3256134" y="5195000"/>
                </a:cubicBezTo>
                <a:cubicBezTo>
                  <a:pt x="3256134" y="5196935"/>
                  <a:pt x="3256134" y="5196935"/>
                  <a:pt x="3256134" y="5196935"/>
                </a:cubicBezTo>
                <a:cubicBezTo>
                  <a:pt x="3256134" y="5195000"/>
                  <a:pt x="3258069" y="5193067"/>
                  <a:pt x="3258069" y="5191132"/>
                </a:cubicBezTo>
                <a:cubicBezTo>
                  <a:pt x="3256134" y="5187263"/>
                  <a:pt x="3252265" y="5191132"/>
                  <a:pt x="3250333" y="5191132"/>
                </a:cubicBezTo>
                <a:cubicBezTo>
                  <a:pt x="3248397" y="5191132"/>
                  <a:pt x="3246464" y="5189199"/>
                  <a:pt x="3246464" y="5187263"/>
                </a:cubicBezTo>
                <a:cubicBezTo>
                  <a:pt x="3246464" y="5189199"/>
                  <a:pt x="3244529" y="5189199"/>
                  <a:pt x="3244529" y="5191132"/>
                </a:cubicBezTo>
                <a:cubicBezTo>
                  <a:pt x="3240661" y="5195000"/>
                  <a:pt x="3236792" y="5195000"/>
                  <a:pt x="3234860" y="5191132"/>
                </a:cubicBezTo>
                <a:cubicBezTo>
                  <a:pt x="3234860" y="5189199"/>
                  <a:pt x="3234860" y="5185330"/>
                  <a:pt x="3234860" y="5183395"/>
                </a:cubicBezTo>
                <a:cubicBezTo>
                  <a:pt x="3236792" y="5175661"/>
                  <a:pt x="3240661" y="5169857"/>
                  <a:pt x="3242596" y="5162121"/>
                </a:cubicBezTo>
                <a:cubicBezTo>
                  <a:pt x="3232927" y="5148583"/>
                  <a:pt x="3225188" y="5133110"/>
                  <a:pt x="3223255" y="5117637"/>
                </a:cubicBezTo>
                <a:cubicBezTo>
                  <a:pt x="3221319" y="5115702"/>
                  <a:pt x="3221319" y="5111836"/>
                  <a:pt x="3221319" y="5107965"/>
                </a:cubicBezTo>
                <a:cubicBezTo>
                  <a:pt x="3215518" y="5113769"/>
                  <a:pt x="3207782" y="5117637"/>
                  <a:pt x="3201978" y="5121505"/>
                </a:cubicBezTo>
                <a:cubicBezTo>
                  <a:pt x="3201978" y="5117637"/>
                  <a:pt x="3201978" y="5115702"/>
                  <a:pt x="3203913" y="5113769"/>
                </a:cubicBezTo>
                <a:cubicBezTo>
                  <a:pt x="3209717" y="5107965"/>
                  <a:pt x="3215518" y="5102164"/>
                  <a:pt x="3221319" y="5098296"/>
                </a:cubicBezTo>
                <a:cubicBezTo>
                  <a:pt x="3221319" y="5094428"/>
                  <a:pt x="3223255" y="5088626"/>
                  <a:pt x="3225188" y="5082823"/>
                </a:cubicBezTo>
                <a:cubicBezTo>
                  <a:pt x="3227123" y="5080888"/>
                  <a:pt x="3227123" y="5078955"/>
                  <a:pt x="3227123" y="5077019"/>
                </a:cubicBezTo>
                <a:cubicBezTo>
                  <a:pt x="3225188" y="5077019"/>
                  <a:pt x="3225188" y="5077019"/>
                  <a:pt x="3225188" y="5077019"/>
                </a:cubicBezTo>
                <a:cubicBezTo>
                  <a:pt x="3213585" y="5077019"/>
                  <a:pt x="3203913" y="5073153"/>
                  <a:pt x="3198110" y="5063482"/>
                </a:cubicBezTo>
                <a:cubicBezTo>
                  <a:pt x="3201978" y="5055745"/>
                  <a:pt x="3209717" y="5049944"/>
                  <a:pt x="3215518" y="5042207"/>
                </a:cubicBezTo>
                <a:cubicBezTo>
                  <a:pt x="3215518" y="5040272"/>
                  <a:pt x="3217451" y="5038339"/>
                  <a:pt x="3217451" y="5036404"/>
                </a:cubicBezTo>
                <a:cubicBezTo>
                  <a:pt x="3215518" y="5034471"/>
                  <a:pt x="3213585" y="5032536"/>
                  <a:pt x="3211650" y="5028667"/>
                </a:cubicBezTo>
                <a:cubicBezTo>
                  <a:pt x="3213585" y="5026734"/>
                  <a:pt x="3217451" y="5024801"/>
                  <a:pt x="3219387" y="5024801"/>
                </a:cubicBezTo>
                <a:cubicBezTo>
                  <a:pt x="3219387" y="5024801"/>
                  <a:pt x="3219387" y="5022866"/>
                  <a:pt x="3219387" y="5022866"/>
                </a:cubicBezTo>
                <a:cubicBezTo>
                  <a:pt x="3219387" y="5020931"/>
                  <a:pt x="3217451" y="5018998"/>
                  <a:pt x="3215518" y="5018998"/>
                </a:cubicBezTo>
                <a:cubicBezTo>
                  <a:pt x="3211650" y="5017063"/>
                  <a:pt x="3205849" y="5015130"/>
                  <a:pt x="3203913" y="5009326"/>
                </a:cubicBezTo>
                <a:cubicBezTo>
                  <a:pt x="3201978" y="5005460"/>
                  <a:pt x="3200045" y="5003525"/>
                  <a:pt x="3196177" y="4999657"/>
                </a:cubicBezTo>
                <a:cubicBezTo>
                  <a:pt x="3188440" y="5005460"/>
                  <a:pt x="3178771" y="5013194"/>
                  <a:pt x="3167166" y="5015130"/>
                </a:cubicBezTo>
                <a:cubicBezTo>
                  <a:pt x="3172967" y="5009326"/>
                  <a:pt x="3178771" y="5003525"/>
                  <a:pt x="3184572" y="4999657"/>
                </a:cubicBezTo>
                <a:cubicBezTo>
                  <a:pt x="3184572" y="4997721"/>
                  <a:pt x="3184572" y="4995788"/>
                  <a:pt x="3184572" y="4995788"/>
                </a:cubicBezTo>
                <a:cubicBezTo>
                  <a:pt x="3190376" y="4989985"/>
                  <a:pt x="3198110" y="4982251"/>
                  <a:pt x="3203913" y="4974512"/>
                </a:cubicBezTo>
                <a:cubicBezTo>
                  <a:pt x="3209717" y="4968710"/>
                  <a:pt x="3213585" y="4962909"/>
                  <a:pt x="3219387" y="4959041"/>
                </a:cubicBezTo>
                <a:cubicBezTo>
                  <a:pt x="3217451" y="4957106"/>
                  <a:pt x="3215518" y="4955173"/>
                  <a:pt x="3213585" y="4953237"/>
                </a:cubicBezTo>
                <a:cubicBezTo>
                  <a:pt x="3213585" y="4953237"/>
                  <a:pt x="3211650" y="4955173"/>
                  <a:pt x="3211650" y="4955173"/>
                </a:cubicBezTo>
                <a:cubicBezTo>
                  <a:pt x="3200045" y="4966778"/>
                  <a:pt x="3188440" y="4976447"/>
                  <a:pt x="3176836" y="4988052"/>
                </a:cubicBezTo>
                <a:lnTo>
                  <a:pt x="3173291" y="4990416"/>
                </a:lnTo>
                <a:lnTo>
                  <a:pt x="3172967" y="4989985"/>
                </a:lnTo>
                <a:cubicBezTo>
                  <a:pt x="3172967" y="4989985"/>
                  <a:pt x="3171034" y="4989985"/>
                  <a:pt x="3171034" y="4991920"/>
                </a:cubicBezTo>
                <a:lnTo>
                  <a:pt x="3173291" y="4990416"/>
                </a:lnTo>
                <a:lnTo>
                  <a:pt x="3175144" y="4992887"/>
                </a:lnTo>
                <a:cubicBezTo>
                  <a:pt x="3174902" y="4993854"/>
                  <a:pt x="3173935" y="4994821"/>
                  <a:pt x="3172967" y="4995788"/>
                </a:cubicBezTo>
                <a:cubicBezTo>
                  <a:pt x="3165231" y="5005460"/>
                  <a:pt x="3155561" y="5011261"/>
                  <a:pt x="3145892" y="5017063"/>
                </a:cubicBezTo>
                <a:cubicBezTo>
                  <a:pt x="3145892" y="5013194"/>
                  <a:pt x="3145892" y="5011261"/>
                  <a:pt x="3147825" y="5009326"/>
                </a:cubicBezTo>
                <a:cubicBezTo>
                  <a:pt x="3153626" y="5005460"/>
                  <a:pt x="3157494" y="4997721"/>
                  <a:pt x="3165231" y="4993853"/>
                </a:cubicBezTo>
                <a:cubicBezTo>
                  <a:pt x="3167166" y="4989985"/>
                  <a:pt x="3167166" y="4988052"/>
                  <a:pt x="3169099" y="4986119"/>
                </a:cubicBezTo>
                <a:cubicBezTo>
                  <a:pt x="3176836" y="4978380"/>
                  <a:pt x="3182639" y="4968710"/>
                  <a:pt x="3192309" y="4962909"/>
                </a:cubicBezTo>
                <a:cubicBezTo>
                  <a:pt x="3196177" y="4960974"/>
                  <a:pt x="3200045" y="4955173"/>
                  <a:pt x="3203913" y="4951302"/>
                </a:cubicBezTo>
                <a:cubicBezTo>
                  <a:pt x="3205849" y="4949369"/>
                  <a:pt x="3205849" y="4949369"/>
                  <a:pt x="3205849" y="4949369"/>
                </a:cubicBezTo>
                <a:cubicBezTo>
                  <a:pt x="3201978" y="4947436"/>
                  <a:pt x="3200045" y="4943568"/>
                  <a:pt x="3196177" y="4941633"/>
                </a:cubicBezTo>
                <a:cubicBezTo>
                  <a:pt x="3190376" y="4945501"/>
                  <a:pt x="3186507" y="4945501"/>
                  <a:pt x="3180704" y="4947436"/>
                </a:cubicBezTo>
                <a:cubicBezTo>
                  <a:pt x="3178771" y="4949369"/>
                  <a:pt x="3176836" y="4951302"/>
                  <a:pt x="3174903" y="4953237"/>
                </a:cubicBezTo>
                <a:cubicBezTo>
                  <a:pt x="3172967" y="4957106"/>
                  <a:pt x="3174903" y="4959041"/>
                  <a:pt x="3176836" y="4960974"/>
                </a:cubicBezTo>
                <a:lnTo>
                  <a:pt x="3178771" y="4960974"/>
                </a:lnTo>
                <a:cubicBezTo>
                  <a:pt x="3182639" y="4966778"/>
                  <a:pt x="3180704" y="4972579"/>
                  <a:pt x="3171034" y="4972579"/>
                </a:cubicBezTo>
                <a:cubicBezTo>
                  <a:pt x="3171034" y="4972579"/>
                  <a:pt x="3169099" y="4972579"/>
                  <a:pt x="3167166" y="4972579"/>
                </a:cubicBezTo>
                <a:cubicBezTo>
                  <a:pt x="3165231" y="4974512"/>
                  <a:pt x="3163298" y="4976447"/>
                  <a:pt x="3161363" y="4978380"/>
                </a:cubicBezTo>
                <a:cubicBezTo>
                  <a:pt x="3151693" y="4984184"/>
                  <a:pt x="3142024" y="4991920"/>
                  <a:pt x="3134285" y="5001592"/>
                </a:cubicBezTo>
                <a:cubicBezTo>
                  <a:pt x="3130417" y="5007393"/>
                  <a:pt x="3124615" y="5011261"/>
                  <a:pt x="3114944" y="5013194"/>
                </a:cubicBezTo>
                <a:cubicBezTo>
                  <a:pt x="3114944" y="5001592"/>
                  <a:pt x="3122682" y="4993853"/>
                  <a:pt x="3130417" y="4988052"/>
                </a:cubicBezTo>
                <a:cubicBezTo>
                  <a:pt x="3136220" y="4984184"/>
                  <a:pt x="3142024" y="4976447"/>
                  <a:pt x="3149758" y="4976447"/>
                </a:cubicBezTo>
                <a:cubicBezTo>
                  <a:pt x="3151693" y="4974512"/>
                  <a:pt x="3153626" y="4972579"/>
                  <a:pt x="3155561" y="4970643"/>
                </a:cubicBezTo>
                <a:cubicBezTo>
                  <a:pt x="3157494" y="4970643"/>
                  <a:pt x="3157494" y="4968710"/>
                  <a:pt x="3157494" y="4968710"/>
                </a:cubicBezTo>
                <a:cubicBezTo>
                  <a:pt x="3153626" y="4966778"/>
                  <a:pt x="3149758" y="4962909"/>
                  <a:pt x="3145892" y="4957106"/>
                </a:cubicBezTo>
                <a:cubicBezTo>
                  <a:pt x="3147825" y="4949369"/>
                  <a:pt x="3151693" y="4945501"/>
                  <a:pt x="3157494" y="4939700"/>
                </a:cubicBezTo>
                <a:cubicBezTo>
                  <a:pt x="3153626" y="4939700"/>
                  <a:pt x="3151693" y="4937764"/>
                  <a:pt x="3147825" y="4937764"/>
                </a:cubicBezTo>
                <a:cubicBezTo>
                  <a:pt x="3142024" y="4941633"/>
                  <a:pt x="3138153" y="4947436"/>
                  <a:pt x="3132352" y="4953237"/>
                </a:cubicBezTo>
                <a:cubicBezTo>
                  <a:pt x="3128484" y="4947436"/>
                  <a:pt x="3124615" y="4941633"/>
                  <a:pt x="3116879" y="4951302"/>
                </a:cubicBezTo>
                <a:cubicBezTo>
                  <a:pt x="3116879" y="4949369"/>
                  <a:pt x="3116879" y="4947436"/>
                  <a:pt x="3116879" y="4945501"/>
                </a:cubicBezTo>
                <a:cubicBezTo>
                  <a:pt x="3118814" y="4941633"/>
                  <a:pt x="3122682" y="4937764"/>
                  <a:pt x="3126551" y="4931963"/>
                </a:cubicBezTo>
                <a:cubicBezTo>
                  <a:pt x="3120747" y="4935832"/>
                  <a:pt x="3114944" y="4939700"/>
                  <a:pt x="3109142" y="4941633"/>
                </a:cubicBezTo>
                <a:cubicBezTo>
                  <a:pt x="3103341" y="4933896"/>
                  <a:pt x="3111075" y="4931963"/>
                  <a:pt x="3113011" y="4926160"/>
                </a:cubicBezTo>
                <a:cubicBezTo>
                  <a:pt x="3109142" y="4928095"/>
                  <a:pt x="3107209" y="4930028"/>
                  <a:pt x="3103341" y="4931963"/>
                </a:cubicBezTo>
                <a:cubicBezTo>
                  <a:pt x="3103341" y="4930028"/>
                  <a:pt x="3105274" y="4928095"/>
                  <a:pt x="3105274" y="4926160"/>
                </a:cubicBezTo>
                <a:cubicBezTo>
                  <a:pt x="3097538" y="4930028"/>
                  <a:pt x="3091734" y="4933896"/>
                  <a:pt x="3087868" y="4941633"/>
                </a:cubicBezTo>
                <a:lnTo>
                  <a:pt x="3085933" y="4943567"/>
                </a:lnTo>
                <a:lnTo>
                  <a:pt x="3087384" y="4941150"/>
                </a:lnTo>
                <a:cubicBezTo>
                  <a:pt x="3088351" y="4940182"/>
                  <a:pt x="3089801" y="4938732"/>
                  <a:pt x="3091734" y="4935832"/>
                </a:cubicBezTo>
                <a:cubicBezTo>
                  <a:pt x="3089801" y="4935832"/>
                  <a:pt x="3089801" y="4937764"/>
                  <a:pt x="3087868" y="4937764"/>
                </a:cubicBezTo>
                <a:cubicBezTo>
                  <a:pt x="3084000" y="4935832"/>
                  <a:pt x="3080132" y="4933896"/>
                  <a:pt x="3076263" y="4930028"/>
                </a:cubicBezTo>
                <a:cubicBezTo>
                  <a:pt x="3076263" y="4930028"/>
                  <a:pt x="3074328" y="4930028"/>
                  <a:pt x="3074328" y="4930028"/>
                </a:cubicBezTo>
                <a:cubicBezTo>
                  <a:pt x="3070460" y="4931963"/>
                  <a:pt x="3068527" y="4933896"/>
                  <a:pt x="3064659" y="4935832"/>
                </a:cubicBezTo>
                <a:cubicBezTo>
                  <a:pt x="3064659" y="4933896"/>
                  <a:pt x="3064659" y="4933896"/>
                  <a:pt x="3064659" y="4933896"/>
                </a:cubicBezTo>
                <a:cubicBezTo>
                  <a:pt x="3045317" y="4949369"/>
                  <a:pt x="3024041" y="4960974"/>
                  <a:pt x="3006635" y="4976447"/>
                </a:cubicBezTo>
                <a:cubicBezTo>
                  <a:pt x="3004699" y="4978380"/>
                  <a:pt x="3002767" y="4980315"/>
                  <a:pt x="2998898" y="4984184"/>
                </a:cubicBezTo>
                <a:cubicBezTo>
                  <a:pt x="3006635" y="4982251"/>
                  <a:pt x="3010503" y="4982251"/>
                  <a:pt x="3012438" y="4986119"/>
                </a:cubicBezTo>
                <a:cubicBezTo>
                  <a:pt x="3018240" y="4978380"/>
                  <a:pt x="3025976" y="4974512"/>
                  <a:pt x="3033713" y="4970643"/>
                </a:cubicBezTo>
                <a:cubicBezTo>
                  <a:pt x="3031780" y="4976447"/>
                  <a:pt x="3029844" y="4980315"/>
                  <a:pt x="3027909" y="4986119"/>
                </a:cubicBezTo>
                <a:cubicBezTo>
                  <a:pt x="3029844" y="4988052"/>
                  <a:pt x="3031780" y="4988052"/>
                  <a:pt x="3033713" y="4986119"/>
                </a:cubicBezTo>
                <a:cubicBezTo>
                  <a:pt x="3035648" y="4984184"/>
                  <a:pt x="3039516" y="4980315"/>
                  <a:pt x="3041449" y="4976447"/>
                </a:cubicBezTo>
                <a:cubicBezTo>
                  <a:pt x="3041449" y="4976447"/>
                  <a:pt x="3041449" y="4974512"/>
                  <a:pt x="3041449" y="4974512"/>
                </a:cubicBezTo>
                <a:cubicBezTo>
                  <a:pt x="3043382" y="4972579"/>
                  <a:pt x="3043382" y="4972579"/>
                  <a:pt x="3045317" y="4972579"/>
                </a:cubicBezTo>
                <a:cubicBezTo>
                  <a:pt x="3047250" y="4970643"/>
                  <a:pt x="3051118" y="4968710"/>
                  <a:pt x="3053054" y="4966778"/>
                </a:cubicBezTo>
                <a:cubicBezTo>
                  <a:pt x="3054987" y="4964842"/>
                  <a:pt x="3056922" y="4962909"/>
                  <a:pt x="3060790" y="4962909"/>
                </a:cubicBezTo>
                <a:cubicBezTo>
                  <a:pt x="3064659" y="4960974"/>
                  <a:pt x="3066592" y="4959041"/>
                  <a:pt x="3068527" y="4959041"/>
                </a:cubicBezTo>
                <a:cubicBezTo>
                  <a:pt x="3066592" y="4968710"/>
                  <a:pt x="3058857" y="4972579"/>
                  <a:pt x="3053054" y="4978380"/>
                </a:cubicBezTo>
                <a:cubicBezTo>
                  <a:pt x="3051118" y="4978380"/>
                  <a:pt x="3051118" y="4978380"/>
                  <a:pt x="3049186" y="4978380"/>
                </a:cubicBezTo>
                <a:cubicBezTo>
                  <a:pt x="3049186" y="4978380"/>
                  <a:pt x="3049186" y="4978380"/>
                  <a:pt x="3047250" y="4978380"/>
                </a:cubicBezTo>
                <a:cubicBezTo>
                  <a:pt x="3045317" y="4984184"/>
                  <a:pt x="3043382" y="4988052"/>
                  <a:pt x="3043382" y="4995788"/>
                </a:cubicBezTo>
                <a:cubicBezTo>
                  <a:pt x="3049186" y="4989985"/>
                  <a:pt x="3054987" y="4984184"/>
                  <a:pt x="3058857" y="4980315"/>
                </a:cubicBezTo>
                <a:cubicBezTo>
                  <a:pt x="3064659" y="4976447"/>
                  <a:pt x="3068527" y="4972579"/>
                  <a:pt x="3074328" y="4966778"/>
                </a:cubicBezTo>
                <a:cubicBezTo>
                  <a:pt x="3076263" y="4968710"/>
                  <a:pt x="3076263" y="4970643"/>
                  <a:pt x="3078196" y="4972579"/>
                </a:cubicBezTo>
                <a:cubicBezTo>
                  <a:pt x="3066592" y="4988052"/>
                  <a:pt x="3053054" y="4999657"/>
                  <a:pt x="3051118" y="5018998"/>
                </a:cubicBezTo>
                <a:cubicBezTo>
                  <a:pt x="3047250" y="5018998"/>
                  <a:pt x="3045317" y="5018998"/>
                  <a:pt x="3043382" y="5018998"/>
                </a:cubicBezTo>
                <a:cubicBezTo>
                  <a:pt x="3039516" y="5024801"/>
                  <a:pt x="3035648" y="5028667"/>
                  <a:pt x="3031780" y="5034471"/>
                </a:cubicBezTo>
                <a:cubicBezTo>
                  <a:pt x="3031780" y="5036404"/>
                  <a:pt x="3031780" y="5038339"/>
                  <a:pt x="3033713" y="5040272"/>
                </a:cubicBezTo>
                <a:cubicBezTo>
                  <a:pt x="3035648" y="5036404"/>
                  <a:pt x="3037581" y="5032536"/>
                  <a:pt x="3039516" y="5028667"/>
                </a:cubicBezTo>
                <a:cubicBezTo>
                  <a:pt x="3039516" y="5028667"/>
                  <a:pt x="3041449" y="5026734"/>
                  <a:pt x="3043382" y="5026734"/>
                </a:cubicBezTo>
                <a:cubicBezTo>
                  <a:pt x="3045317" y="5028667"/>
                  <a:pt x="3047250" y="5032536"/>
                  <a:pt x="3049186" y="5034471"/>
                </a:cubicBezTo>
                <a:cubicBezTo>
                  <a:pt x="3047250" y="5044140"/>
                  <a:pt x="3039516" y="5049944"/>
                  <a:pt x="3041449" y="5059613"/>
                </a:cubicBezTo>
                <a:cubicBezTo>
                  <a:pt x="3043382" y="5067350"/>
                  <a:pt x="3043382" y="5075086"/>
                  <a:pt x="3043382" y="5084756"/>
                </a:cubicBezTo>
                <a:cubicBezTo>
                  <a:pt x="3045317" y="5084756"/>
                  <a:pt x="3047250" y="5086691"/>
                  <a:pt x="3049186" y="5088626"/>
                </a:cubicBezTo>
                <a:cubicBezTo>
                  <a:pt x="3050152" y="5089593"/>
                  <a:pt x="3048701" y="5092493"/>
                  <a:pt x="3045800" y="5096119"/>
                </a:cubicBezTo>
                <a:lnTo>
                  <a:pt x="3034689" y="5107009"/>
                </a:lnTo>
                <a:lnTo>
                  <a:pt x="3033713" y="5106032"/>
                </a:lnTo>
                <a:cubicBezTo>
                  <a:pt x="3033713" y="5106032"/>
                  <a:pt x="3033713" y="5104097"/>
                  <a:pt x="3033713" y="5104097"/>
                </a:cubicBezTo>
                <a:cubicBezTo>
                  <a:pt x="3031780" y="5106032"/>
                  <a:pt x="3031780" y="5106032"/>
                  <a:pt x="3029844" y="5107965"/>
                </a:cubicBezTo>
                <a:lnTo>
                  <a:pt x="3033713" y="5108933"/>
                </a:lnTo>
                <a:lnTo>
                  <a:pt x="3033713" y="5109901"/>
                </a:lnTo>
                <a:lnTo>
                  <a:pt x="3037581" y="5109901"/>
                </a:lnTo>
                <a:lnTo>
                  <a:pt x="3043382" y="5109901"/>
                </a:lnTo>
                <a:cubicBezTo>
                  <a:pt x="3043382" y="5111836"/>
                  <a:pt x="3043382" y="5113769"/>
                  <a:pt x="3043382" y="5113769"/>
                </a:cubicBezTo>
                <a:lnTo>
                  <a:pt x="3042975" y="5114379"/>
                </a:lnTo>
                <a:lnTo>
                  <a:pt x="3041449" y="5111836"/>
                </a:lnTo>
                <a:lnTo>
                  <a:pt x="3041449" y="5116669"/>
                </a:lnTo>
                <a:lnTo>
                  <a:pt x="3039516" y="5119570"/>
                </a:lnTo>
                <a:lnTo>
                  <a:pt x="3041449" y="5120538"/>
                </a:lnTo>
                <a:lnTo>
                  <a:pt x="3041449" y="5122665"/>
                </a:lnTo>
                <a:lnTo>
                  <a:pt x="3033713" y="5127307"/>
                </a:lnTo>
                <a:cubicBezTo>
                  <a:pt x="3033713" y="5125374"/>
                  <a:pt x="3031780" y="5125374"/>
                  <a:pt x="3031780" y="5125374"/>
                </a:cubicBezTo>
                <a:cubicBezTo>
                  <a:pt x="3016307" y="5135043"/>
                  <a:pt x="3004699" y="5148583"/>
                  <a:pt x="2991162" y="5160188"/>
                </a:cubicBezTo>
                <a:cubicBezTo>
                  <a:pt x="2983425" y="5165989"/>
                  <a:pt x="2977624" y="5169857"/>
                  <a:pt x="2969888" y="5171790"/>
                </a:cubicBezTo>
                <a:cubicBezTo>
                  <a:pt x="2966019" y="5171790"/>
                  <a:pt x="2960216" y="5175661"/>
                  <a:pt x="2956347" y="5177594"/>
                </a:cubicBezTo>
                <a:cubicBezTo>
                  <a:pt x="2946678" y="5177594"/>
                  <a:pt x="2942810" y="5169857"/>
                  <a:pt x="2938941" y="5164054"/>
                </a:cubicBezTo>
                <a:cubicBezTo>
                  <a:pt x="2935073" y="5156320"/>
                  <a:pt x="2927337" y="5148583"/>
                  <a:pt x="2929272" y="5138911"/>
                </a:cubicBezTo>
                <a:cubicBezTo>
                  <a:pt x="2931205" y="5135043"/>
                  <a:pt x="2927337" y="5129242"/>
                  <a:pt x="2925404" y="5123438"/>
                </a:cubicBezTo>
                <a:cubicBezTo>
                  <a:pt x="2917665" y="5123438"/>
                  <a:pt x="2909931" y="5127307"/>
                  <a:pt x="2900259" y="5127307"/>
                </a:cubicBezTo>
                <a:cubicBezTo>
                  <a:pt x="2900259" y="5125374"/>
                  <a:pt x="2898326" y="5123438"/>
                  <a:pt x="2898326" y="5121505"/>
                </a:cubicBezTo>
                <a:cubicBezTo>
                  <a:pt x="2898326" y="5121505"/>
                  <a:pt x="2898326" y="5119570"/>
                  <a:pt x="2898326" y="5117637"/>
                </a:cubicBezTo>
                <a:cubicBezTo>
                  <a:pt x="2894458" y="5121505"/>
                  <a:pt x="2892522" y="5123438"/>
                  <a:pt x="2888654" y="5127307"/>
                </a:cubicBezTo>
                <a:cubicBezTo>
                  <a:pt x="2882853" y="5131175"/>
                  <a:pt x="2878985" y="5133110"/>
                  <a:pt x="2873181" y="5136978"/>
                </a:cubicBezTo>
                <a:cubicBezTo>
                  <a:pt x="2873181" y="5136978"/>
                  <a:pt x="2871248" y="5135043"/>
                  <a:pt x="2871248" y="5135043"/>
                </a:cubicBezTo>
                <a:cubicBezTo>
                  <a:pt x="2873181" y="5131175"/>
                  <a:pt x="2873181" y="5125374"/>
                  <a:pt x="2875116" y="5121505"/>
                </a:cubicBezTo>
                <a:cubicBezTo>
                  <a:pt x="2867380" y="5127307"/>
                  <a:pt x="2859643" y="5127307"/>
                  <a:pt x="2855775" y="5136978"/>
                </a:cubicBezTo>
                <a:cubicBezTo>
                  <a:pt x="2853840" y="5144713"/>
                  <a:pt x="2848039" y="5150516"/>
                  <a:pt x="2844170" y="5158253"/>
                </a:cubicBezTo>
                <a:lnTo>
                  <a:pt x="2840101" y="5153312"/>
                </a:lnTo>
                <a:lnTo>
                  <a:pt x="2842237" y="5148583"/>
                </a:lnTo>
                <a:lnTo>
                  <a:pt x="2838602" y="5151491"/>
                </a:lnTo>
                <a:lnTo>
                  <a:pt x="2834016" y="5145923"/>
                </a:lnTo>
                <a:cubicBezTo>
                  <a:pt x="2830632" y="5145198"/>
                  <a:pt x="2826763" y="5147615"/>
                  <a:pt x="2820961" y="5152451"/>
                </a:cubicBezTo>
                <a:cubicBezTo>
                  <a:pt x="2819028" y="5154384"/>
                  <a:pt x="2815160" y="5158253"/>
                  <a:pt x="2811291" y="5160188"/>
                </a:cubicBezTo>
                <a:cubicBezTo>
                  <a:pt x="2805488" y="5156320"/>
                  <a:pt x="2801620" y="5152451"/>
                  <a:pt x="2797754" y="5146648"/>
                </a:cubicBezTo>
                <a:cubicBezTo>
                  <a:pt x="2793883" y="5152451"/>
                  <a:pt x="2790015" y="5158253"/>
                  <a:pt x="2786147" y="5164054"/>
                </a:cubicBezTo>
                <a:cubicBezTo>
                  <a:pt x="2788082" y="5165989"/>
                  <a:pt x="2788082" y="5167922"/>
                  <a:pt x="2790015" y="5169857"/>
                </a:cubicBezTo>
                <a:cubicBezTo>
                  <a:pt x="2790015" y="5169857"/>
                  <a:pt x="2788082" y="5169857"/>
                  <a:pt x="2788082" y="5169857"/>
                </a:cubicBezTo>
                <a:cubicBezTo>
                  <a:pt x="2772609" y="5181462"/>
                  <a:pt x="2757136" y="5191132"/>
                  <a:pt x="2741663" y="5202736"/>
                </a:cubicBezTo>
                <a:cubicBezTo>
                  <a:pt x="2741663" y="5202736"/>
                  <a:pt x="2739730" y="5204672"/>
                  <a:pt x="2739730" y="5204672"/>
                </a:cubicBezTo>
                <a:cubicBezTo>
                  <a:pt x="2735862" y="5208540"/>
                  <a:pt x="2733926" y="5214341"/>
                  <a:pt x="2730058" y="5214341"/>
                </a:cubicBezTo>
                <a:cubicBezTo>
                  <a:pt x="2724257" y="5214341"/>
                  <a:pt x="2716520" y="5212408"/>
                  <a:pt x="2710717" y="5210473"/>
                </a:cubicBezTo>
                <a:cubicBezTo>
                  <a:pt x="2710717" y="5214341"/>
                  <a:pt x="2712652" y="5218209"/>
                  <a:pt x="2712652" y="5224013"/>
                </a:cubicBezTo>
                <a:cubicBezTo>
                  <a:pt x="2702980" y="5231747"/>
                  <a:pt x="2691378" y="5237551"/>
                  <a:pt x="2679771" y="5245287"/>
                </a:cubicBezTo>
                <a:cubicBezTo>
                  <a:pt x="2677838" y="5245287"/>
                  <a:pt x="2677838" y="5243354"/>
                  <a:pt x="2677838" y="5243354"/>
                </a:cubicBezTo>
                <a:cubicBezTo>
                  <a:pt x="2679771" y="5239486"/>
                  <a:pt x="2683639" y="5237551"/>
                  <a:pt x="2685574" y="5233683"/>
                </a:cubicBezTo>
                <a:cubicBezTo>
                  <a:pt x="2683639" y="5233683"/>
                  <a:pt x="2683639" y="5231747"/>
                  <a:pt x="2683639" y="5231747"/>
                </a:cubicBezTo>
                <a:cubicBezTo>
                  <a:pt x="2673970" y="5237551"/>
                  <a:pt x="2664300" y="5243354"/>
                  <a:pt x="2654628" y="5249156"/>
                </a:cubicBezTo>
                <a:cubicBezTo>
                  <a:pt x="2654628" y="5249156"/>
                  <a:pt x="2656561" y="5253024"/>
                  <a:pt x="2656561" y="5254957"/>
                </a:cubicBezTo>
                <a:cubicBezTo>
                  <a:pt x="2656561" y="5256892"/>
                  <a:pt x="2654628" y="5256892"/>
                  <a:pt x="2654628" y="5256892"/>
                </a:cubicBezTo>
                <a:cubicBezTo>
                  <a:pt x="2654628" y="5254957"/>
                  <a:pt x="2652695" y="5251088"/>
                  <a:pt x="2650760" y="5249156"/>
                </a:cubicBezTo>
                <a:cubicBezTo>
                  <a:pt x="2646892" y="5254957"/>
                  <a:pt x="2637220" y="5256892"/>
                  <a:pt x="2635287" y="5264629"/>
                </a:cubicBezTo>
                <a:cubicBezTo>
                  <a:pt x="2635287" y="5264629"/>
                  <a:pt x="2631419" y="5266564"/>
                  <a:pt x="2631419" y="5266564"/>
                </a:cubicBezTo>
                <a:cubicBezTo>
                  <a:pt x="2623682" y="5264629"/>
                  <a:pt x="2619814" y="5268497"/>
                  <a:pt x="2614013" y="5272365"/>
                </a:cubicBezTo>
                <a:cubicBezTo>
                  <a:pt x="2608209" y="5276233"/>
                  <a:pt x="2604343" y="5278166"/>
                  <a:pt x="2600473" y="5285905"/>
                </a:cubicBezTo>
                <a:cubicBezTo>
                  <a:pt x="2596605" y="5293639"/>
                  <a:pt x="2586935" y="5295575"/>
                  <a:pt x="2579199" y="5299443"/>
                </a:cubicBezTo>
                <a:cubicBezTo>
                  <a:pt x="2581134" y="5297508"/>
                  <a:pt x="2583067" y="5293639"/>
                  <a:pt x="2586935" y="5289771"/>
                </a:cubicBezTo>
                <a:cubicBezTo>
                  <a:pt x="2583067" y="5289771"/>
                  <a:pt x="2577266" y="5291706"/>
                  <a:pt x="2573395" y="5291706"/>
                </a:cubicBezTo>
                <a:cubicBezTo>
                  <a:pt x="2573395" y="5287838"/>
                  <a:pt x="2571462" y="5285905"/>
                  <a:pt x="2571462" y="5283970"/>
                </a:cubicBezTo>
                <a:cubicBezTo>
                  <a:pt x="2563726" y="5287838"/>
                  <a:pt x="2555989" y="5291706"/>
                  <a:pt x="2548253" y="5295575"/>
                </a:cubicBezTo>
                <a:cubicBezTo>
                  <a:pt x="2546320" y="5293639"/>
                  <a:pt x="2546320" y="5291706"/>
                  <a:pt x="2544384" y="5289771"/>
                </a:cubicBezTo>
                <a:cubicBezTo>
                  <a:pt x="2544384" y="5291706"/>
                  <a:pt x="2542451" y="5291706"/>
                  <a:pt x="2542451" y="5291706"/>
                </a:cubicBezTo>
                <a:cubicBezTo>
                  <a:pt x="2540516" y="5305244"/>
                  <a:pt x="2526978" y="5303311"/>
                  <a:pt x="2519242" y="5309112"/>
                </a:cubicBezTo>
                <a:lnTo>
                  <a:pt x="2507636" y="5314916"/>
                </a:lnTo>
                <a:lnTo>
                  <a:pt x="2495066" y="5313223"/>
                </a:lnTo>
                <a:cubicBezTo>
                  <a:pt x="2492648" y="5314432"/>
                  <a:pt x="2491197" y="5317816"/>
                  <a:pt x="2488296" y="5324585"/>
                </a:cubicBezTo>
                <a:lnTo>
                  <a:pt x="2501533" y="5317968"/>
                </a:lnTo>
                <a:lnTo>
                  <a:pt x="2492164" y="5322652"/>
                </a:lnTo>
                <a:cubicBezTo>
                  <a:pt x="2488296" y="5326521"/>
                  <a:pt x="2490229" y="5328454"/>
                  <a:pt x="2494099" y="5332322"/>
                </a:cubicBezTo>
                <a:cubicBezTo>
                  <a:pt x="2496032" y="5334257"/>
                  <a:pt x="2497968" y="5338123"/>
                  <a:pt x="2492164" y="5340058"/>
                </a:cubicBezTo>
                <a:cubicBezTo>
                  <a:pt x="2488296" y="5340058"/>
                  <a:pt x="2486360" y="5345862"/>
                  <a:pt x="2482492" y="5347795"/>
                </a:cubicBezTo>
                <a:cubicBezTo>
                  <a:pt x="2468954" y="5355531"/>
                  <a:pt x="2455417" y="5361333"/>
                  <a:pt x="2441877" y="5365201"/>
                </a:cubicBezTo>
                <a:cubicBezTo>
                  <a:pt x="2447680" y="5363268"/>
                  <a:pt x="2451549" y="5359400"/>
                  <a:pt x="2455417" y="5357464"/>
                </a:cubicBezTo>
                <a:cubicBezTo>
                  <a:pt x="2457351" y="5356498"/>
                  <a:pt x="2457351" y="5354080"/>
                  <a:pt x="2457593" y="5351663"/>
                </a:cubicBezTo>
                <a:lnTo>
                  <a:pt x="2459331" y="5348881"/>
                </a:lnTo>
                <a:lnTo>
                  <a:pt x="2470890" y="5343927"/>
                </a:lnTo>
                <a:lnTo>
                  <a:pt x="2466220" y="5342526"/>
                </a:lnTo>
                <a:lnTo>
                  <a:pt x="2472823" y="5338123"/>
                </a:lnTo>
                <a:lnTo>
                  <a:pt x="2462686" y="5341466"/>
                </a:lnTo>
                <a:lnTo>
                  <a:pt x="2461218" y="5341025"/>
                </a:lnTo>
                <a:lnTo>
                  <a:pt x="2460736" y="5342109"/>
                </a:lnTo>
                <a:lnTo>
                  <a:pt x="2450823" y="5345378"/>
                </a:lnTo>
                <a:cubicBezTo>
                  <a:pt x="2443812" y="5348762"/>
                  <a:pt x="2437043" y="5352631"/>
                  <a:pt x="2430274" y="5355531"/>
                </a:cubicBezTo>
                <a:cubicBezTo>
                  <a:pt x="2414799" y="5363268"/>
                  <a:pt x="2401261" y="5372940"/>
                  <a:pt x="2385788" y="5376806"/>
                </a:cubicBezTo>
                <a:cubicBezTo>
                  <a:pt x="2370315" y="5380674"/>
                  <a:pt x="2358710" y="5394214"/>
                  <a:pt x="2341304" y="5392279"/>
                </a:cubicBezTo>
                <a:cubicBezTo>
                  <a:pt x="2349041" y="5386477"/>
                  <a:pt x="2358710" y="5380674"/>
                  <a:pt x="2366447" y="5376806"/>
                </a:cubicBezTo>
                <a:cubicBezTo>
                  <a:pt x="2376117" y="5371004"/>
                  <a:pt x="2387723" y="5365201"/>
                  <a:pt x="2395458" y="5353598"/>
                </a:cubicBezTo>
                <a:cubicBezTo>
                  <a:pt x="2381920" y="5359400"/>
                  <a:pt x="2368382" y="5367136"/>
                  <a:pt x="2354842" y="5372940"/>
                </a:cubicBezTo>
                <a:cubicBezTo>
                  <a:pt x="2352909" y="5371004"/>
                  <a:pt x="2352909" y="5369071"/>
                  <a:pt x="2350974" y="5367136"/>
                </a:cubicBezTo>
                <a:cubicBezTo>
                  <a:pt x="2347106" y="5367136"/>
                  <a:pt x="2341304" y="5369071"/>
                  <a:pt x="2335501" y="5371004"/>
                </a:cubicBezTo>
                <a:cubicBezTo>
                  <a:pt x="2335501" y="5369071"/>
                  <a:pt x="2333568" y="5365201"/>
                  <a:pt x="2333568" y="5363268"/>
                </a:cubicBezTo>
                <a:cubicBezTo>
                  <a:pt x="2318095" y="5363268"/>
                  <a:pt x="2304557" y="5369071"/>
                  <a:pt x="2291017" y="5376806"/>
                </a:cubicBezTo>
                <a:cubicBezTo>
                  <a:pt x="2292950" y="5365201"/>
                  <a:pt x="2302622" y="5365201"/>
                  <a:pt x="2312291" y="5359400"/>
                </a:cubicBezTo>
                <a:cubicBezTo>
                  <a:pt x="2302622" y="5353598"/>
                  <a:pt x="2294885" y="5349730"/>
                  <a:pt x="2285216" y="5345862"/>
                </a:cubicBezTo>
                <a:cubicBezTo>
                  <a:pt x="2287149" y="5340058"/>
                  <a:pt x="2296821" y="5347795"/>
                  <a:pt x="2298754" y="5341991"/>
                </a:cubicBezTo>
                <a:cubicBezTo>
                  <a:pt x="2291017" y="5334257"/>
                  <a:pt x="2285216" y="5334257"/>
                  <a:pt x="2275544" y="5340058"/>
                </a:cubicBezTo>
                <a:cubicBezTo>
                  <a:pt x="2269743" y="5343927"/>
                  <a:pt x="2262007" y="5349730"/>
                  <a:pt x="2254270" y="5355531"/>
                </a:cubicBezTo>
                <a:cubicBezTo>
                  <a:pt x="2252335" y="5341991"/>
                  <a:pt x="2265875" y="5341991"/>
                  <a:pt x="2267808" y="5332322"/>
                </a:cubicBezTo>
                <a:cubicBezTo>
                  <a:pt x="2262007" y="5336190"/>
                  <a:pt x="2258138" y="5340058"/>
                  <a:pt x="2250402" y="5343927"/>
                </a:cubicBezTo>
                <a:cubicBezTo>
                  <a:pt x="2254270" y="5338123"/>
                  <a:pt x="2256203" y="5334257"/>
                  <a:pt x="2260071" y="5330389"/>
                </a:cubicBezTo>
                <a:cubicBezTo>
                  <a:pt x="2256203" y="5328454"/>
                  <a:pt x="2252335" y="5328454"/>
                  <a:pt x="2248466" y="5326521"/>
                </a:cubicBezTo>
                <a:cubicBezTo>
                  <a:pt x="2250402" y="5314916"/>
                  <a:pt x="2271676" y="5322652"/>
                  <a:pt x="2267808" y="5307179"/>
                </a:cubicBezTo>
                <a:cubicBezTo>
                  <a:pt x="2256203" y="5311048"/>
                  <a:pt x="2265875" y="5297508"/>
                  <a:pt x="2258138" y="5297508"/>
                </a:cubicBezTo>
                <a:cubicBezTo>
                  <a:pt x="2250402" y="5303311"/>
                  <a:pt x="2244598" y="5311048"/>
                  <a:pt x="2238797" y="5316849"/>
                </a:cubicBezTo>
                <a:cubicBezTo>
                  <a:pt x="2231061" y="5312981"/>
                  <a:pt x="2236864" y="5307179"/>
                  <a:pt x="2234929" y="5303311"/>
                </a:cubicBezTo>
                <a:cubicBezTo>
                  <a:pt x="2232996" y="5295575"/>
                  <a:pt x="2244598" y="5299443"/>
                  <a:pt x="2242665" y="5291706"/>
                </a:cubicBezTo>
                <a:cubicBezTo>
                  <a:pt x="2234929" y="5283970"/>
                  <a:pt x="2231061" y="5295575"/>
                  <a:pt x="2223324" y="5293639"/>
                </a:cubicBezTo>
                <a:cubicBezTo>
                  <a:pt x="2223324" y="5291706"/>
                  <a:pt x="2223324" y="5287838"/>
                  <a:pt x="2225257" y="5283970"/>
                </a:cubicBezTo>
                <a:cubicBezTo>
                  <a:pt x="2223324" y="5282035"/>
                  <a:pt x="2219456" y="5282035"/>
                  <a:pt x="2217523" y="5282035"/>
                </a:cubicBezTo>
                <a:cubicBezTo>
                  <a:pt x="2223324" y="5274298"/>
                  <a:pt x="2231061" y="5266564"/>
                  <a:pt x="2234929" y="5260760"/>
                </a:cubicBezTo>
                <a:cubicBezTo>
                  <a:pt x="2234929" y="5253024"/>
                  <a:pt x="2236864" y="5247223"/>
                  <a:pt x="2236864" y="5241419"/>
                </a:cubicBezTo>
                <a:cubicBezTo>
                  <a:pt x="2227192" y="5249156"/>
                  <a:pt x="2217523" y="5254957"/>
                  <a:pt x="2207851" y="5262696"/>
                </a:cubicBezTo>
                <a:cubicBezTo>
                  <a:pt x="2200114" y="5268497"/>
                  <a:pt x="2190445" y="5276233"/>
                  <a:pt x="2180773" y="5282035"/>
                </a:cubicBezTo>
                <a:cubicBezTo>
                  <a:pt x="2178840" y="5283970"/>
                  <a:pt x="2174972" y="5283970"/>
                  <a:pt x="2173037" y="5283970"/>
                </a:cubicBezTo>
                <a:cubicBezTo>
                  <a:pt x="2176905" y="5282035"/>
                  <a:pt x="2178840" y="5278166"/>
                  <a:pt x="2182706" y="5276233"/>
                </a:cubicBezTo>
                <a:cubicBezTo>
                  <a:pt x="2182706" y="5276233"/>
                  <a:pt x="2180773" y="5274298"/>
                  <a:pt x="2180773" y="5274298"/>
                </a:cubicBezTo>
                <a:cubicBezTo>
                  <a:pt x="2174972" y="5276233"/>
                  <a:pt x="2171104" y="5280102"/>
                  <a:pt x="2165300" y="5282035"/>
                </a:cubicBezTo>
                <a:cubicBezTo>
                  <a:pt x="2176905" y="5266564"/>
                  <a:pt x="2196246" y="5256892"/>
                  <a:pt x="2207851" y="5245287"/>
                </a:cubicBezTo>
                <a:cubicBezTo>
                  <a:pt x="2209786" y="5237551"/>
                  <a:pt x="2211719" y="5229814"/>
                  <a:pt x="2213655" y="5222078"/>
                </a:cubicBezTo>
                <a:cubicBezTo>
                  <a:pt x="2209786" y="5218209"/>
                  <a:pt x="2207851" y="5212408"/>
                  <a:pt x="2205916" y="5208540"/>
                </a:cubicBezTo>
                <a:cubicBezTo>
                  <a:pt x="2203983" y="5202736"/>
                  <a:pt x="2192378" y="5208540"/>
                  <a:pt x="2196246" y="5198871"/>
                </a:cubicBezTo>
                <a:cubicBezTo>
                  <a:pt x="2182706" y="5193067"/>
                  <a:pt x="2174972" y="5202736"/>
                  <a:pt x="2163367" y="5204672"/>
                </a:cubicBezTo>
                <a:cubicBezTo>
                  <a:pt x="2167236" y="5200804"/>
                  <a:pt x="2169168" y="5198871"/>
                  <a:pt x="2171104" y="5195000"/>
                </a:cubicBezTo>
                <a:cubicBezTo>
                  <a:pt x="2153695" y="5200804"/>
                  <a:pt x="2142091" y="5214341"/>
                  <a:pt x="2124685" y="5220145"/>
                </a:cubicBezTo>
                <a:cubicBezTo>
                  <a:pt x="2126620" y="5208540"/>
                  <a:pt x="2138223" y="5208540"/>
                  <a:pt x="2144026" y="5202736"/>
                </a:cubicBezTo>
                <a:cubicBezTo>
                  <a:pt x="2151762" y="5196935"/>
                  <a:pt x="2157564" y="5189199"/>
                  <a:pt x="2165300" y="5181462"/>
                </a:cubicBezTo>
                <a:cubicBezTo>
                  <a:pt x="2149829" y="5181462"/>
                  <a:pt x="2145959" y="5189199"/>
                  <a:pt x="2138223" y="5195000"/>
                </a:cubicBezTo>
                <a:cubicBezTo>
                  <a:pt x="2130488" y="5200804"/>
                  <a:pt x="2122752" y="5204672"/>
                  <a:pt x="2113080" y="5210473"/>
                </a:cubicBezTo>
                <a:cubicBezTo>
                  <a:pt x="2120816" y="5191132"/>
                  <a:pt x="2136290" y="5181462"/>
                  <a:pt x="2149829" y="5169857"/>
                </a:cubicBezTo>
                <a:cubicBezTo>
                  <a:pt x="2149829" y="5164054"/>
                  <a:pt x="2147894" y="5160188"/>
                  <a:pt x="2147894" y="5154384"/>
                </a:cubicBezTo>
                <a:cubicBezTo>
                  <a:pt x="2145959" y="5154384"/>
                  <a:pt x="2142091" y="5156320"/>
                  <a:pt x="2138223" y="5158253"/>
                </a:cubicBezTo>
                <a:cubicBezTo>
                  <a:pt x="2138223" y="5154384"/>
                  <a:pt x="2140158" y="5150516"/>
                  <a:pt x="2140158" y="5144713"/>
                </a:cubicBezTo>
                <a:cubicBezTo>
                  <a:pt x="2128553" y="5152451"/>
                  <a:pt x="2118881" y="5160188"/>
                  <a:pt x="2107279" y="5167922"/>
                </a:cubicBezTo>
                <a:cubicBezTo>
                  <a:pt x="2105343" y="5167922"/>
                  <a:pt x="2105343" y="5165989"/>
                  <a:pt x="2105343" y="5165989"/>
                </a:cubicBezTo>
                <a:cubicBezTo>
                  <a:pt x="2109212" y="5160188"/>
                  <a:pt x="2113080" y="5156320"/>
                  <a:pt x="2118881" y="5148583"/>
                </a:cubicBezTo>
                <a:cubicBezTo>
                  <a:pt x="2115013" y="5148583"/>
                  <a:pt x="2113080" y="5148583"/>
                  <a:pt x="2107279" y="5148583"/>
                </a:cubicBezTo>
                <a:cubicBezTo>
                  <a:pt x="2115013" y="5138911"/>
                  <a:pt x="2122752" y="5131175"/>
                  <a:pt x="2132421" y="5121505"/>
                </a:cubicBezTo>
                <a:cubicBezTo>
                  <a:pt x="2126620" y="5121505"/>
                  <a:pt x="2122752" y="5121505"/>
                  <a:pt x="2118881" y="5121505"/>
                </a:cubicBezTo>
                <a:cubicBezTo>
                  <a:pt x="2120816" y="5117637"/>
                  <a:pt x="2122752" y="5115702"/>
                  <a:pt x="2124685" y="5111836"/>
                </a:cubicBezTo>
                <a:cubicBezTo>
                  <a:pt x="2113080" y="5113769"/>
                  <a:pt x="2116948" y="5098296"/>
                  <a:pt x="2105343" y="5096361"/>
                </a:cubicBezTo>
                <a:cubicBezTo>
                  <a:pt x="2109212" y="5094428"/>
                  <a:pt x="2113080" y="5090559"/>
                  <a:pt x="2115013" y="5088626"/>
                </a:cubicBezTo>
                <a:cubicBezTo>
                  <a:pt x="2113080" y="5086691"/>
                  <a:pt x="2113080" y="5086691"/>
                  <a:pt x="2113080" y="5086691"/>
                </a:cubicBezTo>
                <a:cubicBezTo>
                  <a:pt x="2109212" y="5090559"/>
                  <a:pt x="2103410" y="5092495"/>
                  <a:pt x="2099542" y="5094428"/>
                </a:cubicBezTo>
                <a:cubicBezTo>
                  <a:pt x="2099542" y="5094428"/>
                  <a:pt x="2097607" y="5092495"/>
                  <a:pt x="2097607" y="5092495"/>
                </a:cubicBezTo>
                <a:cubicBezTo>
                  <a:pt x="2107279" y="5084756"/>
                  <a:pt x="2116948" y="5077019"/>
                  <a:pt x="2126620" y="5067350"/>
                </a:cubicBezTo>
                <a:cubicBezTo>
                  <a:pt x="2128553" y="5069285"/>
                  <a:pt x="2132421" y="5071218"/>
                  <a:pt x="2134354" y="5073153"/>
                </a:cubicBezTo>
                <a:cubicBezTo>
                  <a:pt x="2144026" y="5067350"/>
                  <a:pt x="2134354" y="5063482"/>
                  <a:pt x="2136290" y="5057678"/>
                </a:cubicBezTo>
                <a:cubicBezTo>
                  <a:pt x="2147894" y="5051877"/>
                  <a:pt x="2144026" y="5042207"/>
                  <a:pt x="2144026" y="5030603"/>
                </a:cubicBezTo>
                <a:cubicBezTo>
                  <a:pt x="2138223" y="5026734"/>
                  <a:pt x="2132421" y="5022866"/>
                  <a:pt x="2124685" y="5018998"/>
                </a:cubicBezTo>
                <a:cubicBezTo>
                  <a:pt x="2130488" y="5009326"/>
                  <a:pt x="2138223" y="5001592"/>
                  <a:pt x="2144026" y="4993853"/>
                </a:cubicBezTo>
                <a:cubicBezTo>
                  <a:pt x="2144026" y="4993853"/>
                  <a:pt x="2144026" y="4991920"/>
                  <a:pt x="2144026" y="4991920"/>
                </a:cubicBezTo>
                <a:cubicBezTo>
                  <a:pt x="2140158" y="4991920"/>
                  <a:pt x="2136290" y="4991920"/>
                  <a:pt x="2134354" y="4993853"/>
                </a:cubicBezTo>
                <a:cubicBezTo>
                  <a:pt x="2118881" y="5003525"/>
                  <a:pt x="2105343" y="5015130"/>
                  <a:pt x="2089870" y="5024801"/>
                </a:cubicBezTo>
                <a:cubicBezTo>
                  <a:pt x="2086002" y="5026734"/>
                  <a:pt x="2084069" y="5028667"/>
                  <a:pt x="2080201" y="5028667"/>
                </a:cubicBezTo>
                <a:cubicBezTo>
                  <a:pt x="2078265" y="5030603"/>
                  <a:pt x="2074397" y="5028667"/>
                  <a:pt x="2074397" y="5030603"/>
                </a:cubicBezTo>
                <a:cubicBezTo>
                  <a:pt x="2066661" y="5042207"/>
                  <a:pt x="2053123" y="5042207"/>
                  <a:pt x="2041518" y="5048009"/>
                </a:cubicBezTo>
                <a:cubicBezTo>
                  <a:pt x="2020244" y="5057678"/>
                  <a:pt x="1911933" y="5030603"/>
                  <a:pt x="1892592" y="5044140"/>
                </a:cubicBezTo>
                <a:cubicBezTo>
                  <a:pt x="1889691" y="5046074"/>
                  <a:pt x="1886307" y="5048976"/>
                  <a:pt x="1882197" y="5050910"/>
                </a:cubicBezTo>
                <a:lnTo>
                  <a:pt x="1870196" y="5051697"/>
                </a:lnTo>
                <a:lnTo>
                  <a:pt x="1875186" y="5048009"/>
                </a:lnTo>
                <a:cubicBezTo>
                  <a:pt x="1879054" y="5046076"/>
                  <a:pt x="1880987" y="5042207"/>
                  <a:pt x="1882922" y="5042207"/>
                </a:cubicBezTo>
                <a:cubicBezTo>
                  <a:pt x="1882922" y="5042207"/>
                  <a:pt x="1880987" y="5040272"/>
                  <a:pt x="1880987" y="5040272"/>
                </a:cubicBezTo>
                <a:cubicBezTo>
                  <a:pt x="1875186" y="5042207"/>
                  <a:pt x="1871317" y="5046076"/>
                  <a:pt x="1865516" y="5048009"/>
                </a:cubicBezTo>
                <a:cubicBezTo>
                  <a:pt x="1863581" y="5046076"/>
                  <a:pt x="1863581" y="5044140"/>
                  <a:pt x="1861646" y="5042207"/>
                </a:cubicBezTo>
                <a:cubicBezTo>
                  <a:pt x="1857777" y="5044140"/>
                  <a:pt x="1851976" y="5046076"/>
                  <a:pt x="1853909" y="5051877"/>
                </a:cubicBezTo>
                <a:cubicBezTo>
                  <a:pt x="1855844" y="5053812"/>
                  <a:pt x="1853909" y="5057678"/>
                  <a:pt x="1851976" y="5057678"/>
                </a:cubicBezTo>
                <a:lnTo>
                  <a:pt x="1846700" y="5060844"/>
                </a:lnTo>
                <a:lnTo>
                  <a:pt x="1840371" y="5059613"/>
                </a:lnTo>
                <a:cubicBezTo>
                  <a:pt x="1834568" y="5063482"/>
                  <a:pt x="1830702" y="5067350"/>
                  <a:pt x="1824898" y="5069285"/>
                </a:cubicBezTo>
                <a:cubicBezTo>
                  <a:pt x="1821998" y="5071219"/>
                  <a:pt x="1818613" y="5072186"/>
                  <a:pt x="1816196" y="5074120"/>
                </a:cubicBezTo>
                <a:lnTo>
                  <a:pt x="1814721" y="5079526"/>
                </a:lnTo>
                <a:lnTo>
                  <a:pt x="1797821" y="5088626"/>
                </a:lnTo>
                <a:cubicBezTo>
                  <a:pt x="1794920" y="5090560"/>
                  <a:pt x="1793470" y="5092011"/>
                  <a:pt x="1793470" y="5093703"/>
                </a:cubicBezTo>
                <a:lnTo>
                  <a:pt x="1796901" y="5098849"/>
                </a:lnTo>
                <a:lnTo>
                  <a:pt x="1788151" y="5104097"/>
                </a:lnTo>
                <a:cubicBezTo>
                  <a:pt x="1786216" y="5100229"/>
                  <a:pt x="1784283" y="5098296"/>
                  <a:pt x="1782350" y="5096361"/>
                </a:cubicBezTo>
                <a:cubicBezTo>
                  <a:pt x="1780415" y="5104097"/>
                  <a:pt x="1770743" y="5106032"/>
                  <a:pt x="1768810" y="5115702"/>
                </a:cubicBezTo>
                <a:cubicBezTo>
                  <a:pt x="1768810" y="5119570"/>
                  <a:pt x="1759140" y="5125374"/>
                  <a:pt x="1755272" y="5123438"/>
                </a:cubicBezTo>
                <a:cubicBezTo>
                  <a:pt x="1743667" y="5119570"/>
                  <a:pt x="1737864" y="5125374"/>
                  <a:pt x="1733996" y="5133110"/>
                </a:cubicBezTo>
                <a:cubicBezTo>
                  <a:pt x="1726259" y="5135043"/>
                  <a:pt x="1720458" y="5135043"/>
                  <a:pt x="1712721" y="5135043"/>
                </a:cubicBezTo>
                <a:cubicBezTo>
                  <a:pt x="1714654" y="5138911"/>
                  <a:pt x="1716590" y="5140847"/>
                  <a:pt x="1718523" y="5142780"/>
                </a:cubicBezTo>
                <a:cubicBezTo>
                  <a:pt x="1701117" y="5152451"/>
                  <a:pt x="1685644" y="5162121"/>
                  <a:pt x="1668238" y="5171790"/>
                </a:cubicBezTo>
                <a:cubicBezTo>
                  <a:pt x="1670171" y="5169857"/>
                  <a:pt x="1672106" y="5167922"/>
                  <a:pt x="1675974" y="5164054"/>
                </a:cubicBezTo>
                <a:cubicBezTo>
                  <a:pt x="1664367" y="5167922"/>
                  <a:pt x="1652765" y="5167922"/>
                  <a:pt x="1645028" y="5179529"/>
                </a:cubicBezTo>
                <a:cubicBezTo>
                  <a:pt x="1645028" y="5179529"/>
                  <a:pt x="1643093" y="5181462"/>
                  <a:pt x="1643093" y="5181462"/>
                </a:cubicBezTo>
                <a:cubicBezTo>
                  <a:pt x="1631488" y="5179529"/>
                  <a:pt x="1629555" y="5189199"/>
                  <a:pt x="1623752" y="5195000"/>
                </a:cubicBezTo>
                <a:cubicBezTo>
                  <a:pt x="1619883" y="5200804"/>
                  <a:pt x="1614082" y="5204672"/>
                  <a:pt x="1606346" y="5204672"/>
                </a:cubicBezTo>
                <a:cubicBezTo>
                  <a:pt x="1606346" y="5200804"/>
                  <a:pt x="1604410" y="5198871"/>
                  <a:pt x="1604410" y="5196935"/>
                </a:cubicBezTo>
                <a:cubicBezTo>
                  <a:pt x="1596674" y="5198871"/>
                  <a:pt x="1592805" y="5202736"/>
                  <a:pt x="1588940" y="5210473"/>
                </a:cubicBezTo>
                <a:cubicBezTo>
                  <a:pt x="1587004" y="5216277"/>
                  <a:pt x="1579268" y="5220145"/>
                  <a:pt x="1569598" y="5220145"/>
                </a:cubicBezTo>
                <a:cubicBezTo>
                  <a:pt x="1571531" y="5216277"/>
                  <a:pt x="1575400" y="5214341"/>
                  <a:pt x="1579268" y="5208540"/>
                </a:cubicBezTo>
                <a:cubicBezTo>
                  <a:pt x="1563795" y="5212408"/>
                  <a:pt x="1552190" y="5216277"/>
                  <a:pt x="1536717" y="5222078"/>
                </a:cubicBezTo>
                <a:cubicBezTo>
                  <a:pt x="1540585" y="5218209"/>
                  <a:pt x="1542521" y="5214341"/>
                  <a:pt x="1546389" y="5212408"/>
                </a:cubicBezTo>
                <a:cubicBezTo>
                  <a:pt x="1544453" y="5210473"/>
                  <a:pt x="1542521" y="5210473"/>
                  <a:pt x="1542521" y="5210473"/>
                </a:cubicBezTo>
                <a:cubicBezTo>
                  <a:pt x="1527048" y="5218209"/>
                  <a:pt x="1513507" y="5224013"/>
                  <a:pt x="1498037" y="5231747"/>
                </a:cubicBezTo>
                <a:cubicBezTo>
                  <a:pt x="1478696" y="5241419"/>
                  <a:pt x="1459354" y="5249156"/>
                  <a:pt x="1440013" y="5258827"/>
                </a:cubicBezTo>
                <a:cubicBezTo>
                  <a:pt x="1440013" y="5258827"/>
                  <a:pt x="1438078" y="5258827"/>
                  <a:pt x="1438078" y="5258827"/>
                </a:cubicBezTo>
                <a:lnTo>
                  <a:pt x="1461787" y="5243853"/>
                </a:lnTo>
                <a:lnTo>
                  <a:pt x="1463222" y="5245287"/>
                </a:lnTo>
                <a:cubicBezTo>
                  <a:pt x="1465155" y="5243354"/>
                  <a:pt x="1467088" y="5243354"/>
                  <a:pt x="1469024" y="5241419"/>
                </a:cubicBezTo>
                <a:lnTo>
                  <a:pt x="1467713" y="5240111"/>
                </a:lnTo>
                <a:lnTo>
                  <a:pt x="1474827" y="5235618"/>
                </a:lnTo>
                <a:cubicBezTo>
                  <a:pt x="1470957" y="5231747"/>
                  <a:pt x="1467088" y="5229814"/>
                  <a:pt x="1461287" y="5231747"/>
                </a:cubicBezTo>
                <a:cubicBezTo>
                  <a:pt x="1447749" y="5237551"/>
                  <a:pt x="1436145" y="5241419"/>
                  <a:pt x="1422605" y="5247223"/>
                </a:cubicBezTo>
                <a:cubicBezTo>
                  <a:pt x="1418736" y="5249156"/>
                  <a:pt x="1414870" y="5249156"/>
                  <a:pt x="1411002" y="5249156"/>
                </a:cubicBezTo>
                <a:cubicBezTo>
                  <a:pt x="1416803" y="5235618"/>
                  <a:pt x="1428408" y="5231747"/>
                  <a:pt x="1438078" y="5225946"/>
                </a:cubicBezTo>
                <a:cubicBezTo>
                  <a:pt x="1440013" y="5224013"/>
                  <a:pt x="1441946" y="5224013"/>
                  <a:pt x="1443881" y="5222078"/>
                </a:cubicBezTo>
                <a:cubicBezTo>
                  <a:pt x="1441946" y="5222078"/>
                  <a:pt x="1441946" y="5220145"/>
                  <a:pt x="1441946" y="5220145"/>
                </a:cubicBezTo>
                <a:cubicBezTo>
                  <a:pt x="1424540" y="5227881"/>
                  <a:pt x="1409067" y="5235618"/>
                  <a:pt x="1391661" y="5243354"/>
                </a:cubicBezTo>
                <a:cubicBezTo>
                  <a:pt x="1387793" y="5239486"/>
                  <a:pt x="1383922" y="5231747"/>
                  <a:pt x="1374253" y="5233683"/>
                </a:cubicBezTo>
                <a:cubicBezTo>
                  <a:pt x="1376188" y="5237551"/>
                  <a:pt x="1378121" y="5237551"/>
                  <a:pt x="1378121" y="5239486"/>
                </a:cubicBezTo>
                <a:cubicBezTo>
                  <a:pt x="1380054" y="5241419"/>
                  <a:pt x="1381989" y="5245287"/>
                  <a:pt x="1381989" y="5247223"/>
                </a:cubicBezTo>
                <a:cubicBezTo>
                  <a:pt x="1380054" y="5251088"/>
                  <a:pt x="1376188" y="5253024"/>
                  <a:pt x="1374253" y="5253024"/>
                </a:cubicBezTo>
                <a:cubicBezTo>
                  <a:pt x="1364583" y="5251088"/>
                  <a:pt x="1360713" y="5256892"/>
                  <a:pt x="1352978" y="5258827"/>
                </a:cubicBezTo>
                <a:cubicBezTo>
                  <a:pt x="1345242" y="5260760"/>
                  <a:pt x="1337505" y="5264629"/>
                  <a:pt x="1331702" y="5268497"/>
                </a:cubicBezTo>
                <a:cubicBezTo>
                  <a:pt x="1325901" y="5272365"/>
                  <a:pt x="1320097" y="5274298"/>
                  <a:pt x="1312361" y="5276233"/>
                </a:cubicBezTo>
                <a:cubicBezTo>
                  <a:pt x="1314296" y="5274298"/>
                  <a:pt x="1316229" y="5270430"/>
                  <a:pt x="1318164" y="5266564"/>
                </a:cubicBezTo>
                <a:cubicBezTo>
                  <a:pt x="1289153" y="5272365"/>
                  <a:pt x="1269812" y="5293639"/>
                  <a:pt x="1242734" y="5303311"/>
                </a:cubicBezTo>
                <a:cubicBezTo>
                  <a:pt x="1242734" y="5299443"/>
                  <a:pt x="1240801" y="5295575"/>
                  <a:pt x="1240801" y="5291706"/>
                </a:cubicBezTo>
                <a:cubicBezTo>
                  <a:pt x="1240801" y="5289771"/>
                  <a:pt x="1242734" y="5289771"/>
                  <a:pt x="1242734" y="5289771"/>
                </a:cubicBezTo>
                <a:cubicBezTo>
                  <a:pt x="1246603" y="5293639"/>
                  <a:pt x="1250471" y="5291706"/>
                  <a:pt x="1254339" y="5289771"/>
                </a:cubicBezTo>
                <a:cubicBezTo>
                  <a:pt x="1267877" y="5283970"/>
                  <a:pt x="1279482" y="5276233"/>
                  <a:pt x="1293019" y="5270430"/>
                </a:cubicBezTo>
                <a:cubicBezTo>
                  <a:pt x="1294955" y="5268497"/>
                  <a:pt x="1298823" y="5266564"/>
                  <a:pt x="1300758" y="5266564"/>
                </a:cubicBezTo>
                <a:cubicBezTo>
                  <a:pt x="1312361" y="5264629"/>
                  <a:pt x="1320097" y="5256892"/>
                  <a:pt x="1329769" y="5247223"/>
                </a:cubicBezTo>
                <a:cubicBezTo>
                  <a:pt x="1323965" y="5247223"/>
                  <a:pt x="1322032" y="5247223"/>
                  <a:pt x="1320097" y="5247223"/>
                </a:cubicBezTo>
                <a:cubicBezTo>
                  <a:pt x="1312361" y="5249156"/>
                  <a:pt x="1302691" y="5253024"/>
                  <a:pt x="1294955" y="5256892"/>
                </a:cubicBezTo>
                <a:cubicBezTo>
                  <a:pt x="1291086" y="5256892"/>
                  <a:pt x="1287218" y="5256892"/>
                  <a:pt x="1285285" y="5254957"/>
                </a:cubicBezTo>
                <a:cubicBezTo>
                  <a:pt x="1281417" y="5253024"/>
                  <a:pt x="1279482" y="5251088"/>
                  <a:pt x="1275613" y="5247223"/>
                </a:cubicBezTo>
                <a:cubicBezTo>
                  <a:pt x="1283350" y="5243354"/>
                  <a:pt x="1294955" y="5243354"/>
                  <a:pt x="1291086" y="5227881"/>
                </a:cubicBezTo>
                <a:cubicBezTo>
                  <a:pt x="1296888" y="5231747"/>
                  <a:pt x="1300758" y="5235618"/>
                  <a:pt x="1304626" y="5237551"/>
                </a:cubicBezTo>
                <a:cubicBezTo>
                  <a:pt x="1310428" y="5233683"/>
                  <a:pt x="1312361" y="5225946"/>
                  <a:pt x="1320097" y="5224013"/>
                </a:cubicBezTo>
                <a:cubicBezTo>
                  <a:pt x="1322032" y="5224013"/>
                  <a:pt x="1323965" y="5216277"/>
                  <a:pt x="1325901" y="5212408"/>
                </a:cubicBezTo>
                <a:cubicBezTo>
                  <a:pt x="1327836" y="5212408"/>
                  <a:pt x="1331702" y="5212408"/>
                  <a:pt x="1335570" y="5212408"/>
                </a:cubicBezTo>
                <a:cubicBezTo>
                  <a:pt x="1335570" y="5208540"/>
                  <a:pt x="1333637" y="5204672"/>
                  <a:pt x="1331702" y="5198871"/>
                </a:cubicBezTo>
                <a:cubicBezTo>
                  <a:pt x="1323965" y="5210473"/>
                  <a:pt x="1316229" y="5204672"/>
                  <a:pt x="1306559" y="5204672"/>
                </a:cubicBezTo>
                <a:cubicBezTo>
                  <a:pt x="1310428" y="5200804"/>
                  <a:pt x="1310428" y="5198871"/>
                  <a:pt x="1312361" y="5196935"/>
                </a:cubicBezTo>
                <a:cubicBezTo>
                  <a:pt x="1322032" y="5191132"/>
                  <a:pt x="1327836" y="5185330"/>
                  <a:pt x="1331702" y="5175661"/>
                </a:cubicBezTo>
                <a:cubicBezTo>
                  <a:pt x="1333637" y="5171790"/>
                  <a:pt x="1339438" y="5169857"/>
                  <a:pt x="1343307" y="5165989"/>
                </a:cubicBezTo>
                <a:cubicBezTo>
                  <a:pt x="1356847" y="5156320"/>
                  <a:pt x="1366516" y="5144713"/>
                  <a:pt x="1374253" y="5127307"/>
                </a:cubicBezTo>
                <a:cubicBezTo>
                  <a:pt x="1368451" y="5131175"/>
                  <a:pt x="1362648" y="5135043"/>
                  <a:pt x="1356847" y="5136978"/>
                </a:cubicBezTo>
                <a:cubicBezTo>
                  <a:pt x="1349110" y="5138911"/>
                  <a:pt x="1341374" y="5140847"/>
                  <a:pt x="1343307" y="5152451"/>
                </a:cubicBezTo>
                <a:cubicBezTo>
                  <a:pt x="1337505" y="5148583"/>
                  <a:pt x="1331702" y="5152451"/>
                  <a:pt x="1325901" y="5156320"/>
                </a:cubicBezTo>
                <a:cubicBezTo>
                  <a:pt x="1316229" y="5164054"/>
                  <a:pt x="1306559" y="5171790"/>
                  <a:pt x="1294955" y="5181462"/>
                </a:cubicBezTo>
                <a:cubicBezTo>
                  <a:pt x="1298823" y="5183395"/>
                  <a:pt x="1300758" y="5185330"/>
                  <a:pt x="1302691" y="5187263"/>
                </a:cubicBezTo>
                <a:cubicBezTo>
                  <a:pt x="1298823" y="5193067"/>
                  <a:pt x="1294955" y="5189199"/>
                  <a:pt x="1293019" y="5185330"/>
                </a:cubicBezTo>
                <a:cubicBezTo>
                  <a:pt x="1291086" y="5183395"/>
                  <a:pt x="1291086" y="5179529"/>
                  <a:pt x="1291086" y="5175661"/>
                </a:cubicBezTo>
                <a:cubicBezTo>
                  <a:pt x="1279482" y="5183395"/>
                  <a:pt x="1267877" y="5191132"/>
                  <a:pt x="1252404" y="5191132"/>
                </a:cubicBezTo>
                <a:cubicBezTo>
                  <a:pt x="1254339" y="5191132"/>
                  <a:pt x="1256272" y="5189199"/>
                  <a:pt x="1258207" y="5187263"/>
                </a:cubicBezTo>
                <a:cubicBezTo>
                  <a:pt x="1264009" y="5183395"/>
                  <a:pt x="1269812" y="5181462"/>
                  <a:pt x="1275613" y="5177594"/>
                </a:cubicBezTo>
                <a:cubicBezTo>
                  <a:pt x="1283350" y="5173726"/>
                  <a:pt x="1289153" y="5165989"/>
                  <a:pt x="1293019" y="5156320"/>
                </a:cubicBezTo>
                <a:cubicBezTo>
                  <a:pt x="1296888" y="5150516"/>
                  <a:pt x="1300758" y="5148583"/>
                  <a:pt x="1306559" y="5142780"/>
                </a:cubicBezTo>
                <a:cubicBezTo>
                  <a:pt x="1310428" y="5146648"/>
                  <a:pt x="1310428" y="5148583"/>
                  <a:pt x="1312361" y="5150516"/>
                </a:cubicBezTo>
                <a:cubicBezTo>
                  <a:pt x="1320097" y="5148583"/>
                  <a:pt x="1320097" y="5142780"/>
                  <a:pt x="1318164" y="5138911"/>
                </a:cubicBezTo>
                <a:cubicBezTo>
                  <a:pt x="1325901" y="5131175"/>
                  <a:pt x="1331702" y="5125374"/>
                  <a:pt x="1337505" y="5117637"/>
                </a:cubicBezTo>
                <a:cubicBezTo>
                  <a:pt x="1339438" y="5115702"/>
                  <a:pt x="1343307" y="5111836"/>
                  <a:pt x="1345242" y="5111836"/>
                </a:cubicBezTo>
                <a:cubicBezTo>
                  <a:pt x="1352978" y="5111836"/>
                  <a:pt x="1358780" y="5107965"/>
                  <a:pt x="1364583" y="5102164"/>
                </a:cubicBezTo>
                <a:lnTo>
                  <a:pt x="1369543" y="5095551"/>
                </a:lnTo>
                <a:lnTo>
                  <a:pt x="1376429" y="5094427"/>
                </a:lnTo>
                <a:cubicBezTo>
                  <a:pt x="1379088" y="5092010"/>
                  <a:pt x="1381022" y="5088625"/>
                  <a:pt x="1383922" y="5086691"/>
                </a:cubicBezTo>
                <a:lnTo>
                  <a:pt x="1375502" y="5087606"/>
                </a:lnTo>
                <a:lnTo>
                  <a:pt x="1376188" y="5086691"/>
                </a:lnTo>
                <a:cubicBezTo>
                  <a:pt x="1376188" y="5086691"/>
                  <a:pt x="1374253" y="5084756"/>
                  <a:pt x="1374253" y="5084756"/>
                </a:cubicBezTo>
                <a:cubicBezTo>
                  <a:pt x="1368451" y="5088626"/>
                  <a:pt x="1360713" y="5092495"/>
                  <a:pt x="1354911" y="5096361"/>
                </a:cubicBezTo>
                <a:cubicBezTo>
                  <a:pt x="1352978" y="5096361"/>
                  <a:pt x="1351043" y="5098296"/>
                  <a:pt x="1349110" y="5100229"/>
                </a:cubicBezTo>
                <a:cubicBezTo>
                  <a:pt x="1339438" y="5107965"/>
                  <a:pt x="1327836" y="5113769"/>
                  <a:pt x="1316229" y="5107965"/>
                </a:cubicBezTo>
                <a:cubicBezTo>
                  <a:pt x="1308495" y="5113769"/>
                  <a:pt x="1318164" y="5119570"/>
                  <a:pt x="1310428" y="5123438"/>
                </a:cubicBezTo>
                <a:cubicBezTo>
                  <a:pt x="1304626" y="5125374"/>
                  <a:pt x="1298823" y="5125374"/>
                  <a:pt x="1293019" y="5127307"/>
                </a:cubicBezTo>
                <a:cubicBezTo>
                  <a:pt x="1294955" y="5121505"/>
                  <a:pt x="1296888" y="5117637"/>
                  <a:pt x="1298823" y="5111836"/>
                </a:cubicBezTo>
                <a:cubicBezTo>
                  <a:pt x="1281417" y="5119570"/>
                  <a:pt x="1265944" y="5127307"/>
                  <a:pt x="1252404" y="5135043"/>
                </a:cubicBezTo>
                <a:cubicBezTo>
                  <a:pt x="1252404" y="5135043"/>
                  <a:pt x="1250471" y="5133110"/>
                  <a:pt x="1250471" y="5133110"/>
                </a:cubicBezTo>
                <a:cubicBezTo>
                  <a:pt x="1258207" y="5123438"/>
                  <a:pt x="1269812" y="5119570"/>
                  <a:pt x="1279482" y="5111836"/>
                </a:cubicBezTo>
                <a:cubicBezTo>
                  <a:pt x="1287218" y="5104097"/>
                  <a:pt x="1298823" y="5098296"/>
                  <a:pt x="1306559" y="5088626"/>
                </a:cubicBezTo>
                <a:cubicBezTo>
                  <a:pt x="1296888" y="5094428"/>
                  <a:pt x="1285285" y="5102164"/>
                  <a:pt x="1275613" y="5107965"/>
                </a:cubicBezTo>
                <a:cubicBezTo>
                  <a:pt x="1275613" y="5106032"/>
                  <a:pt x="1275613" y="5106032"/>
                  <a:pt x="1275613" y="5106032"/>
                </a:cubicBezTo>
                <a:cubicBezTo>
                  <a:pt x="1279482" y="5102164"/>
                  <a:pt x="1285285" y="5098296"/>
                  <a:pt x="1289153" y="5094428"/>
                </a:cubicBezTo>
                <a:cubicBezTo>
                  <a:pt x="1293019" y="5090559"/>
                  <a:pt x="1298823" y="5088626"/>
                  <a:pt x="1302691" y="5082823"/>
                </a:cubicBezTo>
                <a:cubicBezTo>
                  <a:pt x="1283350" y="5094428"/>
                  <a:pt x="1264009" y="5104097"/>
                  <a:pt x="1244667" y="5115702"/>
                </a:cubicBezTo>
                <a:cubicBezTo>
                  <a:pt x="1242734" y="5115702"/>
                  <a:pt x="1242734" y="5115702"/>
                  <a:pt x="1240801" y="5113769"/>
                </a:cubicBezTo>
                <a:cubicBezTo>
                  <a:pt x="1242734" y="5111836"/>
                  <a:pt x="1244667" y="5109901"/>
                  <a:pt x="1246603" y="5107965"/>
                </a:cubicBezTo>
                <a:cubicBezTo>
                  <a:pt x="1256272" y="5100229"/>
                  <a:pt x="1267877" y="5092495"/>
                  <a:pt x="1277549" y="5084756"/>
                </a:cubicBezTo>
                <a:cubicBezTo>
                  <a:pt x="1279482" y="5082823"/>
                  <a:pt x="1283350" y="5082823"/>
                  <a:pt x="1283350" y="5080888"/>
                </a:cubicBezTo>
                <a:cubicBezTo>
                  <a:pt x="1283350" y="5067350"/>
                  <a:pt x="1296888" y="5071218"/>
                  <a:pt x="1302691" y="5067350"/>
                </a:cubicBezTo>
                <a:cubicBezTo>
                  <a:pt x="1304626" y="5065417"/>
                  <a:pt x="1306559" y="5075086"/>
                  <a:pt x="1310428" y="5069285"/>
                </a:cubicBezTo>
                <a:cubicBezTo>
                  <a:pt x="1312361" y="5065417"/>
                  <a:pt x="1314296" y="5061549"/>
                  <a:pt x="1316229" y="5059613"/>
                </a:cubicBezTo>
                <a:cubicBezTo>
                  <a:pt x="1325901" y="5055745"/>
                  <a:pt x="1325901" y="5044140"/>
                  <a:pt x="1331702" y="5038339"/>
                </a:cubicBezTo>
                <a:cubicBezTo>
                  <a:pt x="1337505" y="5034471"/>
                  <a:pt x="1341374" y="5036404"/>
                  <a:pt x="1345242" y="5036404"/>
                </a:cubicBezTo>
                <a:cubicBezTo>
                  <a:pt x="1349110" y="5026734"/>
                  <a:pt x="1352978" y="5018998"/>
                  <a:pt x="1358780" y="5011261"/>
                </a:cubicBezTo>
                <a:cubicBezTo>
                  <a:pt x="1362648" y="5007393"/>
                  <a:pt x="1364583" y="5003525"/>
                  <a:pt x="1370384" y="5003525"/>
                </a:cubicBezTo>
                <a:cubicBezTo>
                  <a:pt x="1378121" y="5003525"/>
                  <a:pt x="1383922" y="4999657"/>
                  <a:pt x="1387793" y="4991920"/>
                </a:cubicBezTo>
                <a:cubicBezTo>
                  <a:pt x="1385857" y="4989985"/>
                  <a:pt x="1383922" y="4988052"/>
                  <a:pt x="1381989" y="4986119"/>
                </a:cubicBezTo>
                <a:cubicBezTo>
                  <a:pt x="1393594" y="4978380"/>
                  <a:pt x="1409067" y="4978380"/>
                  <a:pt x="1412935" y="4964842"/>
                </a:cubicBezTo>
                <a:cubicBezTo>
                  <a:pt x="1409067" y="4962909"/>
                  <a:pt x="1407132" y="4959041"/>
                  <a:pt x="1403263" y="4957106"/>
                </a:cubicBezTo>
                <a:cubicBezTo>
                  <a:pt x="1397462" y="4957106"/>
                  <a:pt x="1407132" y="4970643"/>
                  <a:pt x="1395529" y="4970643"/>
                </a:cubicBezTo>
                <a:cubicBezTo>
                  <a:pt x="1395529" y="4966778"/>
                  <a:pt x="1393594" y="4964842"/>
                  <a:pt x="1393594" y="4960974"/>
                </a:cubicBezTo>
                <a:cubicBezTo>
                  <a:pt x="1389726" y="4964842"/>
                  <a:pt x="1385857" y="4966778"/>
                  <a:pt x="1381989" y="4968710"/>
                </a:cubicBezTo>
                <a:cubicBezTo>
                  <a:pt x="1380054" y="4970643"/>
                  <a:pt x="1376188" y="4972579"/>
                  <a:pt x="1372320" y="4972579"/>
                </a:cubicBezTo>
                <a:cubicBezTo>
                  <a:pt x="1360713" y="4976447"/>
                  <a:pt x="1351043" y="4980315"/>
                  <a:pt x="1343307" y="4989985"/>
                </a:cubicBezTo>
                <a:cubicBezTo>
                  <a:pt x="1339438" y="4993853"/>
                  <a:pt x="1333637" y="4995788"/>
                  <a:pt x="1327836" y="4995788"/>
                </a:cubicBezTo>
                <a:cubicBezTo>
                  <a:pt x="1312361" y="4993853"/>
                  <a:pt x="1304626" y="4995788"/>
                  <a:pt x="1291086" y="5005460"/>
                </a:cubicBezTo>
                <a:cubicBezTo>
                  <a:pt x="1291086" y="5005460"/>
                  <a:pt x="1289153" y="5005460"/>
                  <a:pt x="1287218" y="5005460"/>
                </a:cubicBezTo>
                <a:cubicBezTo>
                  <a:pt x="1291086" y="4999657"/>
                  <a:pt x="1291086" y="4991920"/>
                  <a:pt x="1298823" y="4993853"/>
                </a:cubicBezTo>
                <a:cubicBezTo>
                  <a:pt x="1298823" y="4993853"/>
                  <a:pt x="1300758" y="4991920"/>
                  <a:pt x="1300758" y="4989985"/>
                </a:cubicBezTo>
                <a:cubicBezTo>
                  <a:pt x="1300758" y="4980315"/>
                  <a:pt x="1306559" y="4976447"/>
                  <a:pt x="1312361" y="4972579"/>
                </a:cubicBezTo>
                <a:cubicBezTo>
                  <a:pt x="1318164" y="4968710"/>
                  <a:pt x="1325901" y="4964842"/>
                  <a:pt x="1331702" y="4960974"/>
                </a:cubicBezTo>
                <a:cubicBezTo>
                  <a:pt x="1339438" y="4955173"/>
                  <a:pt x="1345242" y="4949369"/>
                  <a:pt x="1351043" y="4943568"/>
                </a:cubicBezTo>
                <a:cubicBezTo>
                  <a:pt x="1337505" y="4947436"/>
                  <a:pt x="1325901" y="4951302"/>
                  <a:pt x="1312361" y="4955173"/>
                </a:cubicBezTo>
                <a:cubicBezTo>
                  <a:pt x="1308495" y="4957106"/>
                  <a:pt x="1306559" y="4959041"/>
                  <a:pt x="1304626" y="4960974"/>
                </a:cubicBezTo>
                <a:cubicBezTo>
                  <a:pt x="1294955" y="4968710"/>
                  <a:pt x="1283350" y="4976447"/>
                  <a:pt x="1273678" y="4984184"/>
                </a:cubicBezTo>
                <a:cubicBezTo>
                  <a:pt x="1271745" y="4986119"/>
                  <a:pt x="1271745" y="4991920"/>
                  <a:pt x="1269812" y="4995788"/>
                </a:cubicBezTo>
                <a:cubicBezTo>
                  <a:pt x="1269812" y="4995788"/>
                  <a:pt x="1265944" y="4995788"/>
                  <a:pt x="1264009" y="4997721"/>
                </a:cubicBezTo>
                <a:cubicBezTo>
                  <a:pt x="1262076" y="4993853"/>
                  <a:pt x="1260140" y="4991920"/>
                  <a:pt x="1258207" y="4989985"/>
                </a:cubicBezTo>
                <a:cubicBezTo>
                  <a:pt x="1265944" y="4984184"/>
                  <a:pt x="1271745" y="4976447"/>
                  <a:pt x="1279482" y="4970643"/>
                </a:cubicBezTo>
                <a:cubicBezTo>
                  <a:pt x="1281417" y="4970643"/>
                  <a:pt x="1283350" y="4968710"/>
                  <a:pt x="1285285" y="4968710"/>
                </a:cubicBezTo>
                <a:cubicBezTo>
                  <a:pt x="1293019" y="4966778"/>
                  <a:pt x="1294955" y="4964842"/>
                  <a:pt x="1294955" y="4959041"/>
                </a:cubicBezTo>
                <a:cubicBezTo>
                  <a:pt x="1289153" y="4960974"/>
                  <a:pt x="1283350" y="4962909"/>
                  <a:pt x="1277549" y="4964842"/>
                </a:cubicBezTo>
                <a:cubicBezTo>
                  <a:pt x="1275613" y="4966778"/>
                  <a:pt x="1273678" y="4968710"/>
                  <a:pt x="1271745" y="4970643"/>
                </a:cubicBezTo>
                <a:cubicBezTo>
                  <a:pt x="1269812" y="4968710"/>
                  <a:pt x="1269812" y="4968710"/>
                  <a:pt x="1267877" y="4966778"/>
                </a:cubicBezTo>
                <a:cubicBezTo>
                  <a:pt x="1264009" y="4966778"/>
                  <a:pt x="1258207" y="4968710"/>
                  <a:pt x="1254339" y="4962909"/>
                </a:cubicBezTo>
                <a:cubicBezTo>
                  <a:pt x="1258207" y="4959041"/>
                  <a:pt x="1264009" y="4957106"/>
                  <a:pt x="1267877" y="4955173"/>
                </a:cubicBezTo>
                <a:cubicBezTo>
                  <a:pt x="1267877" y="4953237"/>
                  <a:pt x="1267877" y="4953237"/>
                  <a:pt x="1267877" y="4953237"/>
                </a:cubicBezTo>
                <a:cubicBezTo>
                  <a:pt x="1267877" y="4953237"/>
                  <a:pt x="1269812" y="4953237"/>
                  <a:pt x="1269812" y="4953237"/>
                </a:cubicBezTo>
                <a:cubicBezTo>
                  <a:pt x="1273678" y="4951302"/>
                  <a:pt x="1277549" y="4949369"/>
                  <a:pt x="1281417" y="4945501"/>
                </a:cubicBezTo>
                <a:cubicBezTo>
                  <a:pt x="1283350" y="4943568"/>
                  <a:pt x="1289153" y="4945501"/>
                  <a:pt x="1293019" y="4945501"/>
                </a:cubicBezTo>
                <a:cubicBezTo>
                  <a:pt x="1293019" y="4937764"/>
                  <a:pt x="1294955" y="4931963"/>
                  <a:pt x="1302691" y="4926160"/>
                </a:cubicBezTo>
                <a:cubicBezTo>
                  <a:pt x="1300758" y="4926160"/>
                  <a:pt x="1300758" y="4924227"/>
                  <a:pt x="1298823" y="4924227"/>
                </a:cubicBezTo>
                <a:cubicBezTo>
                  <a:pt x="1285285" y="4931963"/>
                  <a:pt x="1273678" y="4941633"/>
                  <a:pt x="1260140" y="4951302"/>
                </a:cubicBezTo>
                <a:cubicBezTo>
                  <a:pt x="1256272" y="4943568"/>
                  <a:pt x="1262076" y="4941633"/>
                  <a:pt x="1265944" y="4939700"/>
                </a:cubicBezTo>
                <a:cubicBezTo>
                  <a:pt x="1273678" y="4935832"/>
                  <a:pt x="1279482" y="4930028"/>
                  <a:pt x="1279482" y="4922291"/>
                </a:cubicBezTo>
                <a:cubicBezTo>
                  <a:pt x="1269812" y="4926160"/>
                  <a:pt x="1260140" y="4928095"/>
                  <a:pt x="1250471" y="4931963"/>
                </a:cubicBezTo>
                <a:cubicBezTo>
                  <a:pt x="1234998" y="4937764"/>
                  <a:pt x="1219525" y="4939700"/>
                  <a:pt x="1204052" y="4943568"/>
                </a:cubicBezTo>
                <a:cubicBezTo>
                  <a:pt x="1196315" y="4945501"/>
                  <a:pt x="1190514" y="4947436"/>
                  <a:pt x="1184711" y="4949369"/>
                </a:cubicBezTo>
                <a:cubicBezTo>
                  <a:pt x="1169238" y="4953237"/>
                  <a:pt x="1155700" y="4957106"/>
                  <a:pt x="1138291" y="4960974"/>
                </a:cubicBezTo>
                <a:cubicBezTo>
                  <a:pt x="1151832" y="4951302"/>
                  <a:pt x="1153767" y="4949369"/>
                  <a:pt x="1163436" y="4947436"/>
                </a:cubicBezTo>
                <a:cubicBezTo>
                  <a:pt x="1180842" y="4943568"/>
                  <a:pt x="1198251" y="4937764"/>
                  <a:pt x="1215657" y="4930028"/>
                </a:cubicBezTo>
                <a:cubicBezTo>
                  <a:pt x="1223393" y="4926160"/>
                  <a:pt x="1229194" y="4924227"/>
                  <a:pt x="1236931" y="4922291"/>
                </a:cubicBezTo>
                <a:cubicBezTo>
                  <a:pt x="1248536" y="4920358"/>
                  <a:pt x="1258207" y="4918426"/>
                  <a:pt x="1269812" y="4914555"/>
                </a:cubicBezTo>
                <a:cubicBezTo>
                  <a:pt x="1271745" y="4912622"/>
                  <a:pt x="1273678" y="4910687"/>
                  <a:pt x="1277549" y="4908754"/>
                </a:cubicBezTo>
                <a:cubicBezTo>
                  <a:pt x="1283350" y="4904885"/>
                  <a:pt x="1289153" y="4901017"/>
                  <a:pt x="1294955" y="4901017"/>
                </a:cubicBezTo>
                <a:cubicBezTo>
                  <a:pt x="1298823" y="4899084"/>
                  <a:pt x="1300758" y="4897149"/>
                  <a:pt x="1302691" y="4895216"/>
                </a:cubicBezTo>
                <a:cubicBezTo>
                  <a:pt x="1308495" y="4891345"/>
                  <a:pt x="1312361" y="4887477"/>
                  <a:pt x="1320097" y="4879743"/>
                </a:cubicBezTo>
                <a:cubicBezTo>
                  <a:pt x="1312361" y="4881676"/>
                  <a:pt x="1308495" y="4883609"/>
                  <a:pt x="1300758" y="4885544"/>
                </a:cubicBezTo>
                <a:cubicBezTo>
                  <a:pt x="1323965" y="4870071"/>
                  <a:pt x="1343307" y="4854598"/>
                  <a:pt x="1362648" y="4839125"/>
                </a:cubicBezTo>
                <a:cubicBezTo>
                  <a:pt x="1362648" y="4839125"/>
                  <a:pt x="1360713" y="4837192"/>
                  <a:pt x="1360713" y="4837192"/>
                </a:cubicBezTo>
                <a:cubicBezTo>
                  <a:pt x="1339438" y="4850730"/>
                  <a:pt x="1318164" y="4866203"/>
                  <a:pt x="1294955" y="4881676"/>
                </a:cubicBezTo>
                <a:cubicBezTo>
                  <a:pt x="1296888" y="4872006"/>
                  <a:pt x="1298823" y="4866203"/>
                  <a:pt x="1304626" y="4862335"/>
                </a:cubicBezTo>
                <a:cubicBezTo>
                  <a:pt x="1322032" y="4848797"/>
                  <a:pt x="1339438" y="4835257"/>
                  <a:pt x="1356847" y="4821719"/>
                </a:cubicBezTo>
                <a:cubicBezTo>
                  <a:pt x="1358780" y="4819784"/>
                  <a:pt x="1358780" y="4815916"/>
                  <a:pt x="1360713" y="4812050"/>
                </a:cubicBezTo>
                <a:cubicBezTo>
                  <a:pt x="1349110" y="4819784"/>
                  <a:pt x="1339438" y="4827520"/>
                  <a:pt x="1325901" y="4837192"/>
                </a:cubicBezTo>
                <a:cubicBezTo>
                  <a:pt x="1325901" y="4831391"/>
                  <a:pt x="1325901" y="4827520"/>
                  <a:pt x="1325901" y="4823652"/>
                </a:cubicBezTo>
                <a:cubicBezTo>
                  <a:pt x="1316229" y="4825587"/>
                  <a:pt x="1316229" y="4831391"/>
                  <a:pt x="1316229" y="4839125"/>
                </a:cubicBezTo>
                <a:cubicBezTo>
                  <a:pt x="1310428" y="4839125"/>
                  <a:pt x="1304626" y="4839125"/>
                  <a:pt x="1294955" y="4839125"/>
                </a:cubicBezTo>
                <a:cubicBezTo>
                  <a:pt x="1308495" y="4827520"/>
                  <a:pt x="1320097" y="4817851"/>
                  <a:pt x="1333637" y="4808181"/>
                </a:cubicBezTo>
                <a:cubicBezTo>
                  <a:pt x="1337505" y="4812050"/>
                  <a:pt x="1339438" y="4815916"/>
                  <a:pt x="1343307" y="4819784"/>
                </a:cubicBezTo>
                <a:cubicBezTo>
                  <a:pt x="1345242" y="4812050"/>
                  <a:pt x="1343307" y="4808181"/>
                  <a:pt x="1339438" y="4804311"/>
                </a:cubicBezTo>
                <a:cubicBezTo>
                  <a:pt x="1349110" y="4796574"/>
                  <a:pt x="1358780" y="4790773"/>
                  <a:pt x="1368451" y="4783037"/>
                </a:cubicBezTo>
                <a:cubicBezTo>
                  <a:pt x="1368451" y="4781101"/>
                  <a:pt x="1370384" y="4781101"/>
                  <a:pt x="1372320" y="4779168"/>
                </a:cubicBezTo>
                <a:cubicBezTo>
                  <a:pt x="1378121" y="4771432"/>
                  <a:pt x="1385857" y="4765631"/>
                  <a:pt x="1393594" y="4761762"/>
                </a:cubicBezTo>
                <a:cubicBezTo>
                  <a:pt x="1387793" y="4763695"/>
                  <a:pt x="1380054" y="4767564"/>
                  <a:pt x="1374253" y="4769499"/>
                </a:cubicBezTo>
                <a:cubicBezTo>
                  <a:pt x="1370384" y="4771432"/>
                  <a:pt x="1368451" y="4773367"/>
                  <a:pt x="1364583" y="4775300"/>
                </a:cubicBezTo>
                <a:cubicBezTo>
                  <a:pt x="1362648" y="4777233"/>
                  <a:pt x="1360713" y="4777233"/>
                  <a:pt x="1358780" y="4779168"/>
                </a:cubicBezTo>
                <a:cubicBezTo>
                  <a:pt x="1358780" y="4781101"/>
                  <a:pt x="1356847" y="4781101"/>
                  <a:pt x="1356847" y="4781101"/>
                </a:cubicBezTo>
                <a:cubicBezTo>
                  <a:pt x="1345242" y="4790773"/>
                  <a:pt x="1333637" y="4798510"/>
                  <a:pt x="1322032" y="4808181"/>
                </a:cubicBezTo>
                <a:cubicBezTo>
                  <a:pt x="1318164" y="4810114"/>
                  <a:pt x="1314296" y="4812050"/>
                  <a:pt x="1310428" y="4813983"/>
                </a:cubicBezTo>
                <a:cubicBezTo>
                  <a:pt x="1312361" y="4810114"/>
                  <a:pt x="1314296" y="4806246"/>
                  <a:pt x="1316229" y="4802378"/>
                </a:cubicBezTo>
                <a:cubicBezTo>
                  <a:pt x="1314296" y="4802378"/>
                  <a:pt x="1310428" y="4804311"/>
                  <a:pt x="1308495" y="4804311"/>
                </a:cubicBezTo>
                <a:cubicBezTo>
                  <a:pt x="1294955" y="4804311"/>
                  <a:pt x="1285285" y="4810114"/>
                  <a:pt x="1275613" y="4817851"/>
                </a:cubicBezTo>
                <a:cubicBezTo>
                  <a:pt x="1273678" y="4819784"/>
                  <a:pt x="1269812" y="4821719"/>
                  <a:pt x="1267877" y="4821719"/>
                </a:cubicBezTo>
                <a:cubicBezTo>
                  <a:pt x="1256272" y="4821719"/>
                  <a:pt x="1246603" y="4829456"/>
                  <a:pt x="1236931" y="4835257"/>
                </a:cubicBezTo>
                <a:cubicBezTo>
                  <a:pt x="1225326" y="4842993"/>
                  <a:pt x="1213724" y="4846862"/>
                  <a:pt x="1202119" y="4850730"/>
                </a:cubicBezTo>
                <a:cubicBezTo>
                  <a:pt x="1200184" y="4850730"/>
                  <a:pt x="1196315" y="4850730"/>
                  <a:pt x="1194382" y="4852665"/>
                </a:cubicBezTo>
                <a:cubicBezTo>
                  <a:pt x="1176974" y="4864268"/>
                  <a:pt x="1157633" y="4866203"/>
                  <a:pt x="1140227" y="4872006"/>
                </a:cubicBezTo>
                <a:cubicBezTo>
                  <a:pt x="1136359" y="4873939"/>
                  <a:pt x="1130557" y="4873939"/>
                  <a:pt x="1124754" y="4873939"/>
                </a:cubicBezTo>
                <a:cubicBezTo>
                  <a:pt x="1111216" y="4872006"/>
                  <a:pt x="1097676" y="4868138"/>
                  <a:pt x="1084138" y="4864268"/>
                </a:cubicBezTo>
                <a:cubicBezTo>
                  <a:pt x="1084138" y="4864268"/>
                  <a:pt x="1084138" y="4862335"/>
                  <a:pt x="1084138" y="4862335"/>
                </a:cubicBezTo>
                <a:cubicBezTo>
                  <a:pt x="1084138" y="4860402"/>
                  <a:pt x="1086071" y="4858466"/>
                  <a:pt x="1086071" y="4858466"/>
                </a:cubicBezTo>
                <a:cubicBezTo>
                  <a:pt x="1093808" y="4854598"/>
                  <a:pt x="1103480" y="4848797"/>
                  <a:pt x="1111216" y="4844929"/>
                </a:cubicBezTo>
                <a:cubicBezTo>
                  <a:pt x="1101544" y="4841060"/>
                  <a:pt x="1095743" y="4842993"/>
                  <a:pt x="1089939" y="4850730"/>
                </a:cubicBezTo>
                <a:cubicBezTo>
                  <a:pt x="1088007" y="4852665"/>
                  <a:pt x="1084138" y="4854598"/>
                  <a:pt x="1082203" y="4854598"/>
                </a:cubicBezTo>
                <a:cubicBezTo>
                  <a:pt x="1072534" y="4852665"/>
                  <a:pt x="1066732" y="4858466"/>
                  <a:pt x="1060929" y="4864268"/>
                </a:cubicBezTo>
                <a:cubicBezTo>
                  <a:pt x="1055125" y="4870071"/>
                  <a:pt x="1047389" y="4872006"/>
                  <a:pt x="1039652" y="4872006"/>
                </a:cubicBezTo>
                <a:cubicBezTo>
                  <a:pt x="1039652" y="4864268"/>
                  <a:pt x="1049324" y="4862335"/>
                  <a:pt x="1053192" y="4858466"/>
                </a:cubicBezTo>
                <a:cubicBezTo>
                  <a:pt x="1058994" y="4854598"/>
                  <a:pt x="1068665" y="4852665"/>
                  <a:pt x="1070598" y="4842993"/>
                </a:cubicBezTo>
                <a:cubicBezTo>
                  <a:pt x="1062862" y="4842993"/>
                  <a:pt x="1055125" y="4844929"/>
                  <a:pt x="1045456" y="4844929"/>
                </a:cubicBezTo>
                <a:cubicBezTo>
                  <a:pt x="1049324" y="4841060"/>
                  <a:pt x="1051257" y="4837192"/>
                  <a:pt x="1055125" y="4835257"/>
                </a:cubicBezTo>
                <a:cubicBezTo>
                  <a:pt x="1062862" y="4831391"/>
                  <a:pt x="1068665" y="4827520"/>
                  <a:pt x="1066732" y="4815916"/>
                </a:cubicBezTo>
                <a:cubicBezTo>
                  <a:pt x="1076402" y="4819784"/>
                  <a:pt x="1076402" y="4819784"/>
                  <a:pt x="1099609" y="4796574"/>
                </a:cubicBezTo>
                <a:cubicBezTo>
                  <a:pt x="1095743" y="4796574"/>
                  <a:pt x="1093808" y="4796574"/>
                  <a:pt x="1089939" y="4796574"/>
                </a:cubicBezTo>
                <a:cubicBezTo>
                  <a:pt x="1099609" y="4786905"/>
                  <a:pt x="1111216" y="4779168"/>
                  <a:pt x="1120886" y="4769499"/>
                </a:cubicBezTo>
                <a:cubicBezTo>
                  <a:pt x="1118950" y="4769499"/>
                  <a:pt x="1117017" y="4767564"/>
                  <a:pt x="1115084" y="4767564"/>
                </a:cubicBezTo>
                <a:cubicBezTo>
                  <a:pt x="1113149" y="4769499"/>
                  <a:pt x="1109281" y="4771432"/>
                  <a:pt x="1107348" y="4773367"/>
                </a:cubicBezTo>
                <a:cubicBezTo>
                  <a:pt x="1099609" y="4777233"/>
                  <a:pt x="1093808" y="4783037"/>
                  <a:pt x="1084138" y="4788840"/>
                </a:cubicBezTo>
                <a:cubicBezTo>
                  <a:pt x="1091875" y="4781101"/>
                  <a:pt x="1099609" y="4775300"/>
                  <a:pt x="1105413" y="4769499"/>
                </a:cubicBezTo>
                <a:cubicBezTo>
                  <a:pt x="1105413" y="4769499"/>
                  <a:pt x="1103480" y="4769499"/>
                  <a:pt x="1101544" y="4769499"/>
                </a:cubicBezTo>
                <a:cubicBezTo>
                  <a:pt x="1101544" y="4767564"/>
                  <a:pt x="1101544" y="4763695"/>
                  <a:pt x="1101544" y="4761762"/>
                </a:cubicBezTo>
                <a:cubicBezTo>
                  <a:pt x="1097676" y="4763695"/>
                  <a:pt x="1093808" y="4767564"/>
                  <a:pt x="1091875" y="4771432"/>
                </a:cubicBezTo>
                <a:cubicBezTo>
                  <a:pt x="1088007" y="4777233"/>
                  <a:pt x="1080270" y="4781101"/>
                  <a:pt x="1074467" y="4784972"/>
                </a:cubicBezTo>
                <a:cubicBezTo>
                  <a:pt x="1066732" y="4790773"/>
                  <a:pt x="1057061" y="4796574"/>
                  <a:pt x="1049324" y="4802378"/>
                </a:cubicBezTo>
                <a:cubicBezTo>
                  <a:pt x="1047389" y="4804311"/>
                  <a:pt x="1043523" y="4804311"/>
                  <a:pt x="1039652" y="4802378"/>
                </a:cubicBezTo>
                <a:cubicBezTo>
                  <a:pt x="1045456" y="4798510"/>
                  <a:pt x="1051257" y="4794641"/>
                  <a:pt x="1057061" y="4790773"/>
                </a:cubicBezTo>
                <a:cubicBezTo>
                  <a:pt x="1064797" y="4784972"/>
                  <a:pt x="1070598" y="4781101"/>
                  <a:pt x="1076402" y="4775300"/>
                </a:cubicBezTo>
                <a:cubicBezTo>
                  <a:pt x="1078335" y="4773367"/>
                  <a:pt x="1082203" y="4769499"/>
                  <a:pt x="1084138" y="4769499"/>
                </a:cubicBezTo>
                <a:cubicBezTo>
                  <a:pt x="1095743" y="4769499"/>
                  <a:pt x="1097676" y="4763695"/>
                  <a:pt x="1099609" y="4755959"/>
                </a:cubicBezTo>
                <a:cubicBezTo>
                  <a:pt x="1097676" y="4754026"/>
                  <a:pt x="1095743" y="4750158"/>
                  <a:pt x="1093808" y="4748222"/>
                </a:cubicBezTo>
                <a:cubicBezTo>
                  <a:pt x="1093808" y="4742421"/>
                  <a:pt x="1093808" y="4738553"/>
                  <a:pt x="1095743" y="4732749"/>
                </a:cubicBezTo>
                <a:cubicBezTo>
                  <a:pt x="1095743" y="4730816"/>
                  <a:pt x="1097676" y="4726948"/>
                  <a:pt x="1099609" y="4726948"/>
                </a:cubicBezTo>
                <a:cubicBezTo>
                  <a:pt x="1103480" y="4725015"/>
                  <a:pt x="1103480" y="4728881"/>
                  <a:pt x="1105413" y="4732749"/>
                </a:cubicBezTo>
                <a:cubicBezTo>
                  <a:pt x="1109281" y="4732749"/>
                  <a:pt x="1115084" y="4730816"/>
                  <a:pt x="1120886" y="4730816"/>
                </a:cubicBezTo>
                <a:cubicBezTo>
                  <a:pt x="1118950" y="4736617"/>
                  <a:pt x="1115084" y="4740486"/>
                  <a:pt x="1113149" y="4744354"/>
                </a:cubicBezTo>
                <a:cubicBezTo>
                  <a:pt x="1115084" y="4746289"/>
                  <a:pt x="1117017" y="4746289"/>
                  <a:pt x="1118950" y="4746289"/>
                </a:cubicBezTo>
                <a:cubicBezTo>
                  <a:pt x="1124754" y="4742421"/>
                  <a:pt x="1130557" y="4740486"/>
                  <a:pt x="1132490" y="4734685"/>
                </a:cubicBezTo>
                <a:cubicBezTo>
                  <a:pt x="1128622" y="4730816"/>
                  <a:pt x="1126687" y="4728881"/>
                  <a:pt x="1128622" y="4723080"/>
                </a:cubicBezTo>
                <a:cubicBezTo>
                  <a:pt x="1130557" y="4723080"/>
                  <a:pt x="1132490" y="4723080"/>
                  <a:pt x="1134426" y="4723080"/>
                </a:cubicBezTo>
                <a:cubicBezTo>
                  <a:pt x="1136359" y="4721147"/>
                  <a:pt x="1136359" y="4721147"/>
                  <a:pt x="1138291" y="4719212"/>
                </a:cubicBezTo>
                <a:cubicBezTo>
                  <a:pt x="1136359" y="4719212"/>
                  <a:pt x="1132490" y="4717276"/>
                  <a:pt x="1130557" y="4717276"/>
                </a:cubicBezTo>
                <a:cubicBezTo>
                  <a:pt x="1128622" y="4717276"/>
                  <a:pt x="1124754" y="4719212"/>
                  <a:pt x="1120886" y="4721147"/>
                </a:cubicBezTo>
                <a:cubicBezTo>
                  <a:pt x="1118950" y="4709540"/>
                  <a:pt x="1124754" y="4699870"/>
                  <a:pt x="1124754" y="4688265"/>
                </a:cubicBezTo>
                <a:cubicBezTo>
                  <a:pt x="1122818" y="4688265"/>
                  <a:pt x="1122818" y="4688265"/>
                  <a:pt x="1122818" y="4688265"/>
                </a:cubicBezTo>
                <a:cubicBezTo>
                  <a:pt x="1118950" y="4688265"/>
                  <a:pt x="1117017" y="4694067"/>
                  <a:pt x="1115084" y="4697937"/>
                </a:cubicBezTo>
                <a:cubicBezTo>
                  <a:pt x="1115084" y="4696002"/>
                  <a:pt x="1113149" y="4696002"/>
                  <a:pt x="1113149" y="4694067"/>
                </a:cubicBezTo>
                <a:cubicBezTo>
                  <a:pt x="1113149" y="4690198"/>
                  <a:pt x="1113149" y="4686333"/>
                  <a:pt x="1115084" y="4682464"/>
                </a:cubicBezTo>
                <a:cubicBezTo>
                  <a:pt x="1113149" y="4684397"/>
                  <a:pt x="1109281" y="4684397"/>
                  <a:pt x="1107348" y="4682464"/>
                </a:cubicBezTo>
                <a:cubicBezTo>
                  <a:pt x="1101544" y="4680529"/>
                  <a:pt x="1095743" y="4674728"/>
                  <a:pt x="1089939" y="4670859"/>
                </a:cubicBezTo>
                <a:cubicBezTo>
                  <a:pt x="1089939" y="4670859"/>
                  <a:pt x="1146028" y="4645715"/>
                  <a:pt x="1146028" y="4641846"/>
                </a:cubicBezTo>
                <a:cubicBezTo>
                  <a:pt x="1140227" y="4639913"/>
                  <a:pt x="1136359" y="4639913"/>
                  <a:pt x="1132490" y="4637980"/>
                </a:cubicBezTo>
                <a:cubicBezTo>
                  <a:pt x="1130557" y="4636045"/>
                  <a:pt x="1126687" y="4634112"/>
                  <a:pt x="1126687" y="4632177"/>
                </a:cubicBezTo>
                <a:cubicBezTo>
                  <a:pt x="1126687" y="4622505"/>
                  <a:pt x="1118950" y="4620572"/>
                  <a:pt x="1113149" y="4618639"/>
                </a:cubicBezTo>
                <a:cubicBezTo>
                  <a:pt x="1111216" y="4616704"/>
                  <a:pt x="1107348" y="4616704"/>
                  <a:pt x="1105413" y="4616704"/>
                </a:cubicBezTo>
                <a:cubicBezTo>
                  <a:pt x="1097676" y="4614771"/>
                  <a:pt x="1093808" y="4610903"/>
                  <a:pt x="1091875" y="4603164"/>
                </a:cubicBezTo>
                <a:cubicBezTo>
                  <a:pt x="1089939" y="4597363"/>
                  <a:pt x="1089939" y="4591561"/>
                  <a:pt x="1088007" y="4585758"/>
                </a:cubicBezTo>
                <a:cubicBezTo>
                  <a:pt x="1080270" y="4581890"/>
                  <a:pt x="1074467" y="4581890"/>
                  <a:pt x="1064797" y="4587693"/>
                </a:cubicBezTo>
                <a:cubicBezTo>
                  <a:pt x="1064797" y="4581890"/>
                  <a:pt x="1064797" y="4576088"/>
                  <a:pt x="1064797" y="4572220"/>
                </a:cubicBezTo>
                <a:cubicBezTo>
                  <a:pt x="1058994" y="4570285"/>
                  <a:pt x="1053192" y="4568352"/>
                  <a:pt x="1049324" y="4564484"/>
                </a:cubicBezTo>
                <a:cubicBezTo>
                  <a:pt x="1045456" y="4560615"/>
                  <a:pt x="1035784" y="4558680"/>
                  <a:pt x="1029983" y="4556747"/>
                </a:cubicBezTo>
                <a:cubicBezTo>
                  <a:pt x="1028047" y="4556747"/>
                  <a:pt x="1024182" y="4554812"/>
                  <a:pt x="1024182" y="4552879"/>
                </a:cubicBezTo>
                <a:cubicBezTo>
                  <a:pt x="1020313" y="4543207"/>
                  <a:pt x="1012577" y="4541274"/>
                  <a:pt x="1004840" y="4539339"/>
                </a:cubicBezTo>
                <a:cubicBezTo>
                  <a:pt x="1000972" y="4539339"/>
                  <a:pt x="999037" y="4537406"/>
                  <a:pt x="997104" y="4537406"/>
                </a:cubicBezTo>
                <a:cubicBezTo>
                  <a:pt x="995168" y="4535471"/>
                  <a:pt x="993235" y="4535471"/>
                  <a:pt x="991300" y="4537406"/>
                </a:cubicBezTo>
                <a:cubicBezTo>
                  <a:pt x="979695" y="4545142"/>
                  <a:pt x="966158" y="4550944"/>
                  <a:pt x="954553" y="4558680"/>
                </a:cubicBezTo>
                <a:cubicBezTo>
                  <a:pt x="954553" y="4558680"/>
                  <a:pt x="952618" y="4558680"/>
                  <a:pt x="952618" y="4560615"/>
                </a:cubicBezTo>
                <a:cubicBezTo>
                  <a:pt x="950685" y="4564484"/>
                  <a:pt x="948749" y="4566417"/>
                  <a:pt x="942948" y="4566417"/>
                </a:cubicBezTo>
                <a:cubicBezTo>
                  <a:pt x="935212" y="4566417"/>
                  <a:pt x="933279" y="4570285"/>
                  <a:pt x="935212" y="4578021"/>
                </a:cubicBezTo>
                <a:cubicBezTo>
                  <a:pt x="937147" y="4579957"/>
                  <a:pt x="939080" y="4581890"/>
                  <a:pt x="939080" y="4583823"/>
                </a:cubicBezTo>
                <a:cubicBezTo>
                  <a:pt x="941013" y="4585758"/>
                  <a:pt x="941013" y="4589626"/>
                  <a:pt x="939080" y="4589626"/>
                </a:cubicBezTo>
                <a:cubicBezTo>
                  <a:pt x="927475" y="4593494"/>
                  <a:pt x="925542" y="4605099"/>
                  <a:pt x="915870" y="4610903"/>
                </a:cubicBezTo>
                <a:cubicBezTo>
                  <a:pt x="912002" y="4612836"/>
                  <a:pt x="912002" y="4616704"/>
                  <a:pt x="910069" y="4618639"/>
                </a:cubicBezTo>
                <a:cubicBezTo>
                  <a:pt x="904266" y="4626373"/>
                  <a:pt x="898464" y="4628309"/>
                  <a:pt x="888793" y="4626373"/>
                </a:cubicBezTo>
                <a:cubicBezTo>
                  <a:pt x="886860" y="4624440"/>
                  <a:pt x="882991" y="4624440"/>
                  <a:pt x="881056" y="4620572"/>
                </a:cubicBezTo>
                <a:cubicBezTo>
                  <a:pt x="879123" y="4616704"/>
                  <a:pt x="877188" y="4614771"/>
                  <a:pt x="875255" y="4610903"/>
                </a:cubicBezTo>
                <a:cubicBezTo>
                  <a:pt x="873320" y="4607032"/>
                  <a:pt x="873320" y="4603164"/>
                  <a:pt x="877188" y="4599298"/>
                </a:cubicBezTo>
                <a:cubicBezTo>
                  <a:pt x="879123" y="4597363"/>
                  <a:pt x="881056" y="4593494"/>
                  <a:pt x="879123" y="4589626"/>
                </a:cubicBezTo>
                <a:cubicBezTo>
                  <a:pt x="877188" y="4583823"/>
                  <a:pt x="875255" y="4579957"/>
                  <a:pt x="873320" y="4576088"/>
                </a:cubicBezTo>
                <a:cubicBezTo>
                  <a:pt x="871387" y="4572220"/>
                  <a:pt x="869454" y="4568352"/>
                  <a:pt x="863650" y="4566417"/>
                </a:cubicBezTo>
                <a:cubicBezTo>
                  <a:pt x="857849" y="4564484"/>
                  <a:pt x="852045" y="4562548"/>
                  <a:pt x="846244" y="4566417"/>
                </a:cubicBezTo>
                <a:cubicBezTo>
                  <a:pt x="840441" y="4570285"/>
                  <a:pt x="832704" y="4568352"/>
                  <a:pt x="826903" y="4564484"/>
                </a:cubicBezTo>
                <a:cubicBezTo>
                  <a:pt x="819166" y="4554812"/>
                  <a:pt x="807562" y="4554812"/>
                  <a:pt x="797890" y="4552879"/>
                </a:cubicBezTo>
                <a:cubicBezTo>
                  <a:pt x="795957" y="4550944"/>
                  <a:pt x="794022" y="4552879"/>
                  <a:pt x="792089" y="4554812"/>
                </a:cubicBezTo>
                <a:cubicBezTo>
                  <a:pt x="788220" y="4556747"/>
                  <a:pt x="784352" y="4556747"/>
                  <a:pt x="780484" y="4552879"/>
                </a:cubicBezTo>
                <a:cubicBezTo>
                  <a:pt x="778549" y="4550944"/>
                  <a:pt x="774680" y="4549011"/>
                  <a:pt x="770812" y="4550944"/>
                </a:cubicBezTo>
                <a:cubicBezTo>
                  <a:pt x="768879" y="4550944"/>
                  <a:pt x="766944" y="4552879"/>
                  <a:pt x="765011" y="4552879"/>
                </a:cubicBezTo>
                <a:cubicBezTo>
                  <a:pt x="763078" y="4552879"/>
                  <a:pt x="759210" y="4554812"/>
                  <a:pt x="759210" y="4552879"/>
                </a:cubicBezTo>
                <a:cubicBezTo>
                  <a:pt x="755339" y="4549011"/>
                  <a:pt x="749538" y="4547075"/>
                  <a:pt x="745670" y="4543207"/>
                </a:cubicBezTo>
                <a:cubicBezTo>
                  <a:pt x="741801" y="4539339"/>
                  <a:pt x="739868" y="4537406"/>
                  <a:pt x="734065" y="4539339"/>
                </a:cubicBezTo>
                <a:cubicBezTo>
                  <a:pt x="732132" y="4541274"/>
                  <a:pt x="728264" y="4539339"/>
                  <a:pt x="724395" y="4539339"/>
                </a:cubicBezTo>
                <a:cubicBezTo>
                  <a:pt x="718592" y="4541274"/>
                  <a:pt x="712791" y="4541274"/>
                  <a:pt x="708922" y="4535471"/>
                </a:cubicBezTo>
                <a:cubicBezTo>
                  <a:pt x="701186" y="4533538"/>
                  <a:pt x="697318" y="4529669"/>
                  <a:pt x="693449" y="4521933"/>
                </a:cubicBezTo>
                <a:cubicBezTo>
                  <a:pt x="693449" y="4519997"/>
                  <a:pt x="689581" y="4516132"/>
                  <a:pt x="687646" y="4514196"/>
                </a:cubicBezTo>
                <a:cubicBezTo>
                  <a:pt x="681845" y="4510328"/>
                  <a:pt x="676043" y="4506460"/>
                  <a:pt x="670240" y="4502592"/>
                </a:cubicBezTo>
                <a:cubicBezTo>
                  <a:pt x="664439" y="4500659"/>
                  <a:pt x="712791" y="4450371"/>
                  <a:pt x="706987" y="4448436"/>
                </a:cubicBezTo>
                <a:cubicBezTo>
                  <a:pt x="699251" y="4444568"/>
                  <a:pt x="695382" y="4438766"/>
                  <a:pt x="691514" y="4432963"/>
                </a:cubicBezTo>
                <a:cubicBezTo>
                  <a:pt x="685713" y="4431030"/>
                  <a:pt x="683778" y="4429097"/>
                  <a:pt x="679909" y="4425229"/>
                </a:cubicBezTo>
                <a:cubicBezTo>
                  <a:pt x="674108" y="4429097"/>
                  <a:pt x="666371" y="4432963"/>
                  <a:pt x="658635" y="4436831"/>
                </a:cubicBezTo>
                <a:cubicBezTo>
                  <a:pt x="654767" y="4438766"/>
                  <a:pt x="648965" y="4440702"/>
                  <a:pt x="645097" y="4442635"/>
                </a:cubicBezTo>
                <a:cubicBezTo>
                  <a:pt x="641229" y="4442635"/>
                  <a:pt x="635426" y="4442635"/>
                  <a:pt x="631557" y="4444568"/>
                </a:cubicBezTo>
                <a:cubicBezTo>
                  <a:pt x="625756" y="4444568"/>
                  <a:pt x="621888" y="4446503"/>
                  <a:pt x="618019" y="4448436"/>
                </a:cubicBezTo>
                <a:cubicBezTo>
                  <a:pt x="614151" y="4450371"/>
                  <a:pt x="610283" y="4448436"/>
                  <a:pt x="606415" y="4450371"/>
                </a:cubicBezTo>
                <a:cubicBezTo>
                  <a:pt x="600611" y="4454239"/>
                  <a:pt x="596743" y="4452304"/>
                  <a:pt x="592875" y="4448436"/>
                </a:cubicBezTo>
                <a:cubicBezTo>
                  <a:pt x="589009" y="4446503"/>
                  <a:pt x="585138" y="4444568"/>
                  <a:pt x="583205" y="4440702"/>
                </a:cubicBezTo>
                <a:cubicBezTo>
                  <a:pt x="581270" y="4438766"/>
                  <a:pt x="577404" y="4438766"/>
                  <a:pt x="575469" y="4434898"/>
                </a:cubicBezTo>
                <a:cubicBezTo>
                  <a:pt x="569667" y="4438766"/>
                  <a:pt x="563864" y="4440702"/>
                  <a:pt x="558063" y="4444568"/>
                </a:cubicBezTo>
                <a:cubicBezTo>
                  <a:pt x="554195" y="4448436"/>
                  <a:pt x="548391" y="4446503"/>
                  <a:pt x="544523" y="4446503"/>
                </a:cubicBezTo>
                <a:cubicBezTo>
                  <a:pt x="542590" y="4452304"/>
                  <a:pt x="538722" y="4458108"/>
                  <a:pt x="532918" y="4460041"/>
                </a:cubicBezTo>
                <a:cubicBezTo>
                  <a:pt x="523248" y="4465844"/>
                  <a:pt x="513577" y="4469713"/>
                  <a:pt x="503907" y="4475514"/>
                </a:cubicBezTo>
                <a:cubicBezTo>
                  <a:pt x="498104" y="4477449"/>
                  <a:pt x="494235" y="4479382"/>
                  <a:pt x="490370" y="4481317"/>
                </a:cubicBezTo>
                <a:cubicBezTo>
                  <a:pt x="480698" y="4487118"/>
                  <a:pt x="465225" y="4489054"/>
                  <a:pt x="459424" y="4502592"/>
                </a:cubicBezTo>
                <a:cubicBezTo>
                  <a:pt x="459424" y="4504527"/>
                  <a:pt x="455555" y="4506460"/>
                  <a:pt x="451687" y="4508395"/>
                </a:cubicBezTo>
                <a:cubicBezTo>
                  <a:pt x="426542" y="4519997"/>
                  <a:pt x="403335" y="4533538"/>
                  <a:pt x="378190" y="4545142"/>
                </a:cubicBezTo>
                <a:cubicBezTo>
                  <a:pt x="376257" y="4547075"/>
                  <a:pt x="372389" y="4547075"/>
                  <a:pt x="368521" y="4547075"/>
                </a:cubicBezTo>
                <a:cubicBezTo>
                  <a:pt x="362717" y="4547075"/>
                  <a:pt x="356916" y="4549011"/>
                  <a:pt x="354981" y="4554812"/>
                </a:cubicBezTo>
                <a:cubicBezTo>
                  <a:pt x="353048" y="4558680"/>
                  <a:pt x="351112" y="4560615"/>
                  <a:pt x="347244" y="4560615"/>
                </a:cubicBezTo>
                <a:cubicBezTo>
                  <a:pt x="345311" y="4560615"/>
                  <a:pt x="339507" y="4558680"/>
                  <a:pt x="337575" y="4560615"/>
                </a:cubicBezTo>
                <a:cubicBezTo>
                  <a:pt x="318233" y="4570285"/>
                  <a:pt x="296959" y="4581890"/>
                  <a:pt x="277618" y="4591561"/>
                </a:cubicBezTo>
                <a:cubicBezTo>
                  <a:pt x="275682" y="4591561"/>
                  <a:pt x="237000" y="4570285"/>
                  <a:pt x="237000" y="4572220"/>
                </a:cubicBezTo>
                <a:cubicBezTo>
                  <a:pt x="229264" y="4587693"/>
                  <a:pt x="213791" y="4589626"/>
                  <a:pt x="200253" y="4597363"/>
                </a:cubicBezTo>
                <a:cubicBezTo>
                  <a:pt x="184780" y="4605099"/>
                  <a:pt x="171242" y="4612836"/>
                  <a:pt x="155769" y="4620572"/>
                </a:cubicBezTo>
                <a:cubicBezTo>
                  <a:pt x="148032" y="4624440"/>
                  <a:pt x="140296" y="4628309"/>
                  <a:pt x="132559" y="4630242"/>
                </a:cubicBezTo>
                <a:cubicBezTo>
                  <a:pt x="124823" y="4632177"/>
                  <a:pt x="117087" y="4630242"/>
                  <a:pt x="109350" y="4634112"/>
                </a:cubicBezTo>
                <a:cubicBezTo>
                  <a:pt x="101613" y="4632177"/>
                  <a:pt x="93877" y="4636045"/>
                  <a:pt x="86140" y="4639913"/>
                </a:cubicBezTo>
                <a:cubicBezTo>
                  <a:pt x="78404" y="4643782"/>
                  <a:pt x="70667" y="4639913"/>
                  <a:pt x="64866" y="4643782"/>
                </a:cubicBezTo>
                <a:cubicBezTo>
                  <a:pt x="55194" y="4649583"/>
                  <a:pt x="47460" y="4645715"/>
                  <a:pt x="41657" y="4639913"/>
                </a:cubicBezTo>
                <a:cubicBezTo>
                  <a:pt x="37788" y="4636045"/>
                  <a:pt x="28119" y="4634112"/>
                  <a:pt x="26184" y="4626373"/>
                </a:cubicBezTo>
                <a:cubicBezTo>
                  <a:pt x="24251" y="4620572"/>
                  <a:pt x="14579" y="4620572"/>
                  <a:pt x="12646" y="4614771"/>
                </a:cubicBezTo>
                <a:cubicBezTo>
                  <a:pt x="9744" y="4609935"/>
                  <a:pt x="6359" y="4606550"/>
                  <a:pt x="2491" y="4604132"/>
                </a:cubicBezTo>
                <a:lnTo>
                  <a:pt x="0" y="4603210"/>
                </a:lnTo>
                <a:lnTo>
                  <a:pt x="0" y="1780731"/>
                </a:lnTo>
                <a:lnTo>
                  <a:pt x="12646" y="1765837"/>
                </a:lnTo>
                <a:lnTo>
                  <a:pt x="0" y="1774315"/>
                </a:lnTo>
                <a:lnTo>
                  <a:pt x="0" y="1288043"/>
                </a:lnTo>
                <a:lnTo>
                  <a:pt x="9019" y="1280134"/>
                </a:lnTo>
                <a:cubicBezTo>
                  <a:pt x="14096" y="1276024"/>
                  <a:pt x="19415" y="1272639"/>
                  <a:pt x="26184" y="1270705"/>
                </a:cubicBezTo>
                <a:cubicBezTo>
                  <a:pt x="28119" y="1270705"/>
                  <a:pt x="31985" y="1266839"/>
                  <a:pt x="33920" y="1264903"/>
                </a:cubicBezTo>
                <a:cubicBezTo>
                  <a:pt x="55194" y="1247497"/>
                  <a:pt x="68735" y="1210748"/>
                  <a:pt x="91944" y="1195275"/>
                </a:cubicBezTo>
                <a:cubicBezTo>
                  <a:pt x="113218" y="1181737"/>
                  <a:pt x="130624" y="1160463"/>
                  <a:pt x="155769" y="1150791"/>
                </a:cubicBezTo>
                <a:cubicBezTo>
                  <a:pt x="163506" y="1146923"/>
                  <a:pt x="169307" y="1139186"/>
                  <a:pt x="175110" y="1133385"/>
                </a:cubicBezTo>
                <a:cubicBezTo>
                  <a:pt x="182847" y="1125649"/>
                  <a:pt x="190583" y="1117912"/>
                  <a:pt x="202188" y="1114044"/>
                </a:cubicBezTo>
                <a:cubicBezTo>
                  <a:pt x="225395" y="1106307"/>
                  <a:pt x="244736" y="1092767"/>
                  <a:pt x="266013" y="1079230"/>
                </a:cubicBezTo>
                <a:cubicBezTo>
                  <a:pt x="283419" y="1069560"/>
                  <a:pt x="300825" y="1057955"/>
                  <a:pt x="318233" y="1046350"/>
                </a:cubicBezTo>
                <a:cubicBezTo>
                  <a:pt x="341443" y="1032810"/>
                  <a:pt x="376257" y="994128"/>
                  <a:pt x="399464" y="980590"/>
                </a:cubicBezTo>
                <a:cubicBezTo>
                  <a:pt x="424609" y="965117"/>
                  <a:pt x="449752" y="951579"/>
                  <a:pt x="474894" y="936106"/>
                </a:cubicBezTo>
                <a:cubicBezTo>
                  <a:pt x="482633" y="932238"/>
                  <a:pt x="490370" y="928370"/>
                  <a:pt x="498104" y="922566"/>
                </a:cubicBezTo>
                <a:cubicBezTo>
                  <a:pt x="532918" y="897424"/>
                  <a:pt x="571600" y="876150"/>
                  <a:pt x="610283" y="854873"/>
                </a:cubicBezTo>
                <a:cubicBezTo>
                  <a:pt x="616084" y="851005"/>
                  <a:pt x="623821" y="849072"/>
                  <a:pt x="627689" y="843268"/>
                </a:cubicBezTo>
                <a:cubicBezTo>
                  <a:pt x="641229" y="829731"/>
                  <a:pt x="656702" y="821994"/>
                  <a:pt x="674108" y="816190"/>
                </a:cubicBezTo>
                <a:cubicBezTo>
                  <a:pt x="689581" y="810389"/>
                  <a:pt x="705054" y="800720"/>
                  <a:pt x="718592" y="792983"/>
                </a:cubicBezTo>
                <a:cubicBezTo>
                  <a:pt x="788220" y="752365"/>
                  <a:pt x="855914" y="762037"/>
                  <a:pt x="927475" y="725290"/>
                </a:cubicBezTo>
                <a:cubicBezTo>
                  <a:pt x="950685" y="713685"/>
                  <a:pt x="973894" y="705949"/>
                  <a:pt x="997104" y="694344"/>
                </a:cubicBezTo>
                <a:cubicBezTo>
                  <a:pt x="1020313" y="682739"/>
                  <a:pt x="1043523" y="669199"/>
                  <a:pt x="1068665" y="657594"/>
                </a:cubicBezTo>
                <a:cubicBezTo>
                  <a:pt x="1099609" y="642121"/>
                  <a:pt x="1132490" y="630519"/>
                  <a:pt x="1167305" y="624715"/>
                </a:cubicBezTo>
                <a:cubicBezTo>
                  <a:pt x="1171173" y="624715"/>
                  <a:pt x="1175041" y="624715"/>
                  <a:pt x="1176974" y="622780"/>
                </a:cubicBezTo>
                <a:cubicBezTo>
                  <a:pt x="1188579" y="613111"/>
                  <a:pt x="1204052" y="609242"/>
                  <a:pt x="1215657" y="601506"/>
                </a:cubicBezTo>
                <a:cubicBezTo>
                  <a:pt x="1236931" y="587968"/>
                  <a:pt x="1260140" y="578296"/>
                  <a:pt x="1283350" y="572495"/>
                </a:cubicBezTo>
                <a:cubicBezTo>
                  <a:pt x="1289153" y="572495"/>
                  <a:pt x="1294955" y="570560"/>
                  <a:pt x="1300758" y="568627"/>
                </a:cubicBezTo>
                <a:cubicBezTo>
                  <a:pt x="1320097" y="562823"/>
                  <a:pt x="1341374" y="558955"/>
                  <a:pt x="1358780" y="547350"/>
                </a:cubicBezTo>
                <a:cubicBezTo>
                  <a:pt x="1362648" y="545417"/>
                  <a:pt x="1364583" y="543484"/>
                  <a:pt x="1368451" y="543484"/>
                </a:cubicBezTo>
                <a:cubicBezTo>
                  <a:pt x="1395529" y="537681"/>
                  <a:pt x="1420672" y="531879"/>
                  <a:pt x="1447749" y="526076"/>
                </a:cubicBezTo>
                <a:cubicBezTo>
                  <a:pt x="1474827" y="520275"/>
                  <a:pt x="1499970" y="514471"/>
                  <a:pt x="1525112" y="508670"/>
                </a:cubicBezTo>
                <a:cubicBezTo>
                  <a:pt x="1538652" y="504802"/>
                  <a:pt x="1550257" y="502866"/>
                  <a:pt x="1561862" y="500933"/>
                </a:cubicBezTo>
                <a:cubicBezTo>
                  <a:pt x="1567663" y="500933"/>
                  <a:pt x="1573464" y="498998"/>
                  <a:pt x="1579268" y="497065"/>
                </a:cubicBezTo>
                <a:cubicBezTo>
                  <a:pt x="1600542" y="487393"/>
                  <a:pt x="1623752" y="487393"/>
                  <a:pt x="1646961" y="495130"/>
                </a:cubicBezTo>
                <a:cubicBezTo>
                  <a:pt x="1654698" y="498998"/>
                  <a:pt x="1660499" y="495130"/>
                  <a:pt x="1666302" y="491262"/>
                </a:cubicBezTo>
                <a:cubicBezTo>
                  <a:pt x="1674039" y="493197"/>
                  <a:pt x="1681775" y="497065"/>
                  <a:pt x="1691447" y="500933"/>
                </a:cubicBezTo>
                <a:cubicBezTo>
                  <a:pt x="1691447" y="502866"/>
                  <a:pt x="1691447" y="502866"/>
                  <a:pt x="1691447" y="502866"/>
                </a:cubicBezTo>
                <a:cubicBezTo>
                  <a:pt x="1712721" y="491262"/>
                  <a:pt x="1733996" y="479657"/>
                  <a:pt x="1755272" y="469987"/>
                </a:cubicBezTo>
                <a:cubicBezTo>
                  <a:pt x="1793952" y="452579"/>
                  <a:pt x="1832635" y="435173"/>
                  <a:pt x="1871317" y="417767"/>
                </a:cubicBezTo>
                <a:cubicBezTo>
                  <a:pt x="1879054" y="413899"/>
                  <a:pt x="1886790" y="411964"/>
                  <a:pt x="1894527" y="410031"/>
                </a:cubicBezTo>
                <a:cubicBezTo>
                  <a:pt x="1898395" y="408095"/>
                  <a:pt x="1904196" y="410031"/>
                  <a:pt x="1904196" y="415832"/>
                </a:cubicBezTo>
                <a:cubicBezTo>
                  <a:pt x="1890659" y="421635"/>
                  <a:pt x="1875186" y="429370"/>
                  <a:pt x="1861646" y="437108"/>
                </a:cubicBezTo>
                <a:cubicBezTo>
                  <a:pt x="1848108" y="444845"/>
                  <a:pt x="1832635" y="452579"/>
                  <a:pt x="1819097" y="460316"/>
                </a:cubicBezTo>
                <a:cubicBezTo>
                  <a:pt x="1805557" y="468052"/>
                  <a:pt x="1790084" y="475789"/>
                  <a:pt x="1776546" y="483525"/>
                </a:cubicBezTo>
                <a:cubicBezTo>
                  <a:pt x="1782350" y="487393"/>
                  <a:pt x="1788151" y="485460"/>
                  <a:pt x="1792019" y="483525"/>
                </a:cubicBezTo>
                <a:cubicBezTo>
                  <a:pt x="1813294" y="471920"/>
                  <a:pt x="1834568" y="462251"/>
                  <a:pt x="1855844" y="450646"/>
                </a:cubicBezTo>
                <a:cubicBezTo>
                  <a:pt x="1890659" y="433240"/>
                  <a:pt x="1927406" y="419700"/>
                  <a:pt x="1964153" y="411964"/>
                </a:cubicBezTo>
                <a:cubicBezTo>
                  <a:pt x="1969957" y="410031"/>
                  <a:pt x="1975760" y="408095"/>
                  <a:pt x="1979626" y="410031"/>
                </a:cubicBezTo>
                <a:cubicBezTo>
                  <a:pt x="1983494" y="411964"/>
                  <a:pt x="1989298" y="413899"/>
                  <a:pt x="1993166" y="417767"/>
                </a:cubicBezTo>
                <a:cubicBezTo>
                  <a:pt x="1997035" y="421635"/>
                  <a:pt x="2004771" y="423568"/>
                  <a:pt x="2004771" y="431305"/>
                </a:cubicBezTo>
                <a:cubicBezTo>
                  <a:pt x="2004771" y="437108"/>
                  <a:pt x="2002836" y="440974"/>
                  <a:pt x="2002836" y="446778"/>
                </a:cubicBezTo>
                <a:cubicBezTo>
                  <a:pt x="2012508" y="442910"/>
                  <a:pt x="2020244" y="433240"/>
                  <a:pt x="2035717" y="433240"/>
                </a:cubicBezTo>
                <a:cubicBezTo>
                  <a:pt x="2004771" y="458383"/>
                  <a:pt x="1973825" y="471920"/>
                  <a:pt x="1944812" y="493197"/>
                </a:cubicBezTo>
                <a:cubicBezTo>
                  <a:pt x="1948680" y="497065"/>
                  <a:pt x="1952551" y="500933"/>
                  <a:pt x="1956419" y="504802"/>
                </a:cubicBezTo>
                <a:cubicBezTo>
                  <a:pt x="1958352" y="506735"/>
                  <a:pt x="1960285" y="506735"/>
                  <a:pt x="1962220" y="506735"/>
                </a:cubicBezTo>
                <a:cubicBezTo>
                  <a:pt x="1968021" y="506735"/>
                  <a:pt x="1975760" y="504802"/>
                  <a:pt x="1981562" y="502866"/>
                </a:cubicBezTo>
                <a:cubicBezTo>
                  <a:pt x="2014440" y="493197"/>
                  <a:pt x="2045387" y="483525"/>
                  <a:pt x="2078265" y="475789"/>
                </a:cubicBezTo>
                <a:cubicBezTo>
                  <a:pt x="2089870" y="471920"/>
                  <a:pt x="2103410" y="471920"/>
                  <a:pt x="2116948" y="469987"/>
                </a:cubicBezTo>
                <a:cubicBezTo>
                  <a:pt x="2120816" y="469987"/>
                  <a:pt x="2124685" y="471920"/>
                  <a:pt x="2132421" y="475789"/>
                </a:cubicBezTo>
                <a:cubicBezTo>
                  <a:pt x="2124685" y="479657"/>
                  <a:pt x="2118881" y="481592"/>
                  <a:pt x="2115013" y="483525"/>
                </a:cubicBezTo>
                <a:cubicBezTo>
                  <a:pt x="2062795" y="497065"/>
                  <a:pt x="2008637" y="512538"/>
                  <a:pt x="1954484" y="526076"/>
                </a:cubicBezTo>
                <a:cubicBezTo>
                  <a:pt x="1954484" y="526076"/>
                  <a:pt x="1952551" y="528009"/>
                  <a:pt x="1952551" y="528009"/>
                </a:cubicBezTo>
                <a:cubicBezTo>
                  <a:pt x="1954484" y="528009"/>
                  <a:pt x="1956419" y="528009"/>
                  <a:pt x="1956419" y="533812"/>
                </a:cubicBezTo>
                <a:cubicBezTo>
                  <a:pt x="1944812" y="537681"/>
                  <a:pt x="1935142" y="539614"/>
                  <a:pt x="1923538" y="543484"/>
                </a:cubicBezTo>
                <a:cubicBezTo>
                  <a:pt x="1927406" y="543484"/>
                  <a:pt x="1929341" y="545417"/>
                  <a:pt x="1933210" y="547350"/>
                </a:cubicBezTo>
                <a:cubicBezTo>
                  <a:pt x="1906132" y="557022"/>
                  <a:pt x="1882922" y="570560"/>
                  <a:pt x="1855844" y="574428"/>
                </a:cubicBezTo>
                <a:cubicBezTo>
                  <a:pt x="1867449" y="560890"/>
                  <a:pt x="1884855" y="555087"/>
                  <a:pt x="1900328" y="549285"/>
                </a:cubicBezTo>
                <a:cubicBezTo>
                  <a:pt x="1898395" y="551218"/>
                  <a:pt x="1894527" y="551218"/>
                  <a:pt x="1890659" y="553154"/>
                </a:cubicBezTo>
                <a:cubicBezTo>
                  <a:pt x="1875186" y="557022"/>
                  <a:pt x="1861646" y="562823"/>
                  <a:pt x="1848108" y="570560"/>
                </a:cubicBezTo>
                <a:cubicBezTo>
                  <a:pt x="1836503" y="576363"/>
                  <a:pt x="1824898" y="584100"/>
                  <a:pt x="1813294" y="587968"/>
                </a:cubicBezTo>
                <a:lnTo>
                  <a:pt x="1816673" y="606553"/>
                </a:lnTo>
                <a:lnTo>
                  <a:pt x="1807492" y="613111"/>
                </a:lnTo>
                <a:cubicBezTo>
                  <a:pt x="1799756" y="618914"/>
                  <a:pt x="1790084" y="626651"/>
                  <a:pt x="1780415" y="630519"/>
                </a:cubicBezTo>
                <a:cubicBezTo>
                  <a:pt x="1763009" y="638253"/>
                  <a:pt x="1747533" y="647925"/>
                  <a:pt x="1733996" y="655661"/>
                </a:cubicBezTo>
                <a:cubicBezTo>
                  <a:pt x="1735931" y="657594"/>
                  <a:pt x="1737864" y="661463"/>
                  <a:pt x="1737864" y="665331"/>
                </a:cubicBezTo>
                <a:cubicBezTo>
                  <a:pt x="1763009" y="653726"/>
                  <a:pt x="1786216" y="642121"/>
                  <a:pt x="1811361" y="632452"/>
                </a:cubicBezTo>
                <a:cubicBezTo>
                  <a:pt x="1813294" y="632452"/>
                  <a:pt x="1813294" y="630519"/>
                  <a:pt x="1815229" y="630519"/>
                </a:cubicBezTo>
                <a:cubicBezTo>
                  <a:pt x="1817163" y="626649"/>
                  <a:pt x="1818130" y="623264"/>
                  <a:pt x="1818855" y="619155"/>
                </a:cubicBezTo>
                <a:lnTo>
                  <a:pt x="1820451" y="607623"/>
                </a:lnTo>
                <a:lnTo>
                  <a:pt x="1864789" y="585791"/>
                </a:lnTo>
                <a:cubicBezTo>
                  <a:pt x="1880988" y="579264"/>
                  <a:pt x="1897428" y="573461"/>
                  <a:pt x="1913868" y="566691"/>
                </a:cubicBezTo>
                <a:cubicBezTo>
                  <a:pt x="1917736" y="564758"/>
                  <a:pt x="1923538" y="564758"/>
                  <a:pt x="1927406" y="560890"/>
                </a:cubicBezTo>
                <a:cubicBezTo>
                  <a:pt x="1944812" y="549285"/>
                  <a:pt x="1962220" y="543484"/>
                  <a:pt x="1981562" y="539614"/>
                </a:cubicBezTo>
                <a:cubicBezTo>
                  <a:pt x="1998967" y="535745"/>
                  <a:pt x="2018309" y="531879"/>
                  <a:pt x="2037650" y="526076"/>
                </a:cubicBezTo>
                <a:cubicBezTo>
                  <a:pt x="2051188" y="522208"/>
                  <a:pt x="2064728" y="518339"/>
                  <a:pt x="2076333" y="514471"/>
                </a:cubicBezTo>
                <a:cubicBezTo>
                  <a:pt x="2089870" y="510603"/>
                  <a:pt x="2103410" y="506735"/>
                  <a:pt x="2116948" y="506735"/>
                </a:cubicBezTo>
                <a:cubicBezTo>
                  <a:pt x="2120816" y="512538"/>
                  <a:pt x="2120816" y="516406"/>
                  <a:pt x="2116948" y="518339"/>
                </a:cubicBezTo>
                <a:cubicBezTo>
                  <a:pt x="2122752" y="520275"/>
                  <a:pt x="2126620" y="522208"/>
                  <a:pt x="2132421" y="522208"/>
                </a:cubicBezTo>
                <a:cubicBezTo>
                  <a:pt x="2138223" y="522208"/>
                  <a:pt x="2145959" y="518339"/>
                  <a:pt x="2153695" y="516406"/>
                </a:cubicBezTo>
                <a:cubicBezTo>
                  <a:pt x="2157564" y="518339"/>
                  <a:pt x="2163367" y="520275"/>
                  <a:pt x="2171104" y="524143"/>
                </a:cubicBezTo>
                <a:cubicBezTo>
                  <a:pt x="2167236" y="529944"/>
                  <a:pt x="2165300" y="531879"/>
                  <a:pt x="2161432" y="533812"/>
                </a:cubicBezTo>
                <a:cubicBezTo>
                  <a:pt x="2128553" y="549285"/>
                  <a:pt x="2095671" y="562823"/>
                  <a:pt x="2062795" y="578296"/>
                </a:cubicBezTo>
                <a:cubicBezTo>
                  <a:pt x="2055056" y="582164"/>
                  <a:pt x="2047319" y="589901"/>
                  <a:pt x="2037650" y="593769"/>
                </a:cubicBezTo>
                <a:cubicBezTo>
                  <a:pt x="2035717" y="595705"/>
                  <a:pt x="2031846" y="595705"/>
                  <a:pt x="2029913" y="597637"/>
                </a:cubicBezTo>
                <a:cubicBezTo>
                  <a:pt x="2035717" y="599573"/>
                  <a:pt x="2039585" y="599573"/>
                  <a:pt x="2045387" y="597637"/>
                </a:cubicBezTo>
                <a:cubicBezTo>
                  <a:pt x="2049255" y="595705"/>
                  <a:pt x="2053123" y="595705"/>
                  <a:pt x="2056991" y="595705"/>
                </a:cubicBezTo>
                <a:cubicBezTo>
                  <a:pt x="2066661" y="595705"/>
                  <a:pt x="2070529" y="601506"/>
                  <a:pt x="2066661" y="611178"/>
                </a:cubicBezTo>
                <a:cubicBezTo>
                  <a:pt x="2064728" y="613111"/>
                  <a:pt x="2062795" y="615046"/>
                  <a:pt x="2060860" y="616979"/>
                </a:cubicBezTo>
                <a:cubicBezTo>
                  <a:pt x="2060860" y="616979"/>
                  <a:pt x="2060860" y="618914"/>
                  <a:pt x="2060860" y="620847"/>
                </a:cubicBezTo>
                <a:cubicBezTo>
                  <a:pt x="2062795" y="618914"/>
                  <a:pt x="2066661" y="618914"/>
                  <a:pt x="2068596" y="616979"/>
                </a:cubicBezTo>
                <a:cubicBezTo>
                  <a:pt x="2068596" y="615046"/>
                  <a:pt x="2070529" y="611178"/>
                  <a:pt x="2072464" y="609242"/>
                </a:cubicBezTo>
                <a:cubicBezTo>
                  <a:pt x="2074397" y="605374"/>
                  <a:pt x="2082134" y="603441"/>
                  <a:pt x="2084069" y="607309"/>
                </a:cubicBezTo>
                <a:cubicBezTo>
                  <a:pt x="2087937" y="607309"/>
                  <a:pt x="2089870" y="605374"/>
                  <a:pt x="2093739" y="605374"/>
                </a:cubicBezTo>
                <a:cubicBezTo>
                  <a:pt x="2101475" y="603441"/>
                  <a:pt x="2111147" y="601506"/>
                  <a:pt x="2118881" y="597637"/>
                </a:cubicBezTo>
                <a:cubicBezTo>
                  <a:pt x="2149829" y="584100"/>
                  <a:pt x="2180773" y="570560"/>
                  <a:pt x="2211719" y="560890"/>
                </a:cubicBezTo>
                <a:cubicBezTo>
                  <a:pt x="2217523" y="558955"/>
                  <a:pt x="2223324" y="555087"/>
                  <a:pt x="2229125" y="551218"/>
                </a:cubicBezTo>
                <a:cubicBezTo>
                  <a:pt x="2242665" y="541549"/>
                  <a:pt x="2256203" y="531879"/>
                  <a:pt x="2269743" y="524143"/>
                </a:cubicBezTo>
                <a:cubicBezTo>
                  <a:pt x="2273611" y="520275"/>
                  <a:pt x="2281348" y="520275"/>
                  <a:pt x="2287149" y="520275"/>
                </a:cubicBezTo>
                <a:cubicBezTo>
                  <a:pt x="2289082" y="520275"/>
                  <a:pt x="2291017" y="522208"/>
                  <a:pt x="2291017" y="524143"/>
                </a:cubicBezTo>
                <a:cubicBezTo>
                  <a:pt x="2291017" y="526076"/>
                  <a:pt x="2291017" y="528009"/>
                  <a:pt x="2289082" y="529944"/>
                </a:cubicBezTo>
                <a:cubicBezTo>
                  <a:pt x="2283281" y="535745"/>
                  <a:pt x="2271676" y="533812"/>
                  <a:pt x="2271676" y="545417"/>
                </a:cubicBezTo>
                <a:cubicBezTo>
                  <a:pt x="2275544" y="553154"/>
                  <a:pt x="2281348" y="551218"/>
                  <a:pt x="2285216" y="549285"/>
                </a:cubicBezTo>
                <a:cubicBezTo>
                  <a:pt x="2308423" y="541549"/>
                  <a:pt x="2333568" y="535745"/>
                  <a:pt x="2358710" y="533812"/>
                </a:cubicBezTo>
                <a:cubicBezTo>
                  <a:pt x="2335501" y="541549"/>
                  <a:pt x="2314227" y="549285"/>
                  <a:pt x="2291017" y="557022"/>
                </a:cubicBezTo>
                <a:cubicBezTo>
                  <a:pt x="2281348" y="560890"/>
                  <a:pt x="2269743" y="562823"/>
                  <a:pt x="2262007" y="568627"/>
                </a:cubicBezTo>
                <a:cubicBezTo>
                  <a:pt x="2252335" y="574428"/>
                  <a:pt x="2242665" y="580232"/>
                  <a:pt x="2231061" y="582164"/>
                </a:cubicBezTo>
                <a:cubicBezTo>
                  <a:pt x="2223324" y="584100"/>
                  <a:pt x="2219456" y="589901"/>
                  <a:pt x="2209786" y="595705"/>
                </a:cubicBezTo>
                <a:cubicBezTo>
                  <a:pt x="2215587" y="597637"/>
                  <a:pt x="2219456" y="597637"/>
                  <a:pt x="2221389" y="597637"/>
                </a:cubicBezTo>
                <a:cubicBezTo>
                  <a:pt x="2236864" y="597637"/>
                  <a:pt x="2252335" y="584100"/>
                  <a:pt x="2269743" y="595705"/>
                </a:cubicBezTo>
                <a:cubicBezTo>
                  <a:pt x="2283281" y="591836"/>
                  <a:pt x="2296821" y="586033"/>
                  <a:pt x="2310359" y="582164"/>
                </a:cubicBezTo>
                <a:cubicBezTo>
                  <a:pt x="2349041" y="570560"/>
                  <a:pt x="2385788" y="558955"/>
                  <a:pt x="2424471" y="547350"/>
                </a:cubicBezTo>
                <a:cubicBezTo>
                  <a:pt x="2432207" y="545417"/>
                  <a:pt x="2439944" y="545417"/>
                  <a:pt x="2449613" y="543484"/>
                </a:cubicBezTo>
                <a:cubicBezTo>
                  <a:pt x="2447680" y="545417"/>
                  <a:pt x="2447680" y="549285"/>
                  <a:pt x="2445745" y="549285"/>
                </a:cubicBezTo>
                <a:cubicBezTo>
                  <a:pt x="2420602" y="562823"/>
                  <a:pt x="2399326" y="580232"/>
                  <a:pt x="2374184" y="589901"/>
                </a:cubicBezTo>
                <a:cubicBezTo>
                  <a:pt x="2356778" y="595705"/>
                  <a:pt x="2339369" y="603441"/>
                  <a:pt x="2321963" y="609242"/>
                </a:cubicBezTo>
                <a:cubicBezTo>
                  <a:pt x="2279413" y="622780"/>
                  <a:pt x="2238797" y="640188"/>
                  <a:pt x="2196246" y="649858"/>
                </a:cubicBezTo>
                <a:cubicBezTo>
                  <a:pt x="2165300" y="657594"/>
                  <a:pt x="2136290" y="675003"/>
                  <a:pt x="2107279" y="684672"/>
                </a:cubicBezTo>
                <a:cubicBezTo>
                  <a:pt x="2109212" y="686607"/>
                  <a:pt x="2109212" y="690476"/>
                  <a:pt x="2109212" y="692409"/>
                </a:cubicBezTo>
                <a:lnTo>
                  <a:pt x="2120816" y="692409"/>
                </a:lnTo>
                <a:cubicBezTo>
                  <a:pt x="2118881" y="692409"/>
                  <a:pt x="2115013" y="692409"/>
                  <a:pt x="2113080" y="696277"/>
                </a:cubicBezTo>
                <a:cubicBezTo>
                  <a:pt x="2113080" y="698212"/>
                  <a:pt x="2115013" y="698212"/>
                  <a:pt x="2115013" y="700145"/>
                </a:cubicBezTo>
                <a:cubicBezTo>
                  <a:pt x="2116948" y="698212"/>
                  <a:pt x="2120816" y="698212"/>
                  <a:pt x="2122752" y="698212"/>
                </a:cubicBezTo>
                <a:cubicBezTo>
                  <a:pt x="2122752" y="696277"/>
                  <a:pt x="2122752" y="694344"/>
                  <a:pt x="2120816" y="692409"/>
                </a:cubicBezTo>
                <a:lnTo>
                  <a:pt x="2126620" y="692409"/>
                </a:lnTo>
                <a:cubicBezTo>
                  <a:pt x="2128553" y="692409"/>
                  <a:pt x="2128553" y="692409"/>
                  <a:pt x="2130488" y="694344"/>
                </a:cubicBezTo>
                <a:cubicBezTo>
                  <a:pt x="2127587" y="696278"/>
                  <a:pt x="2125169" y="698212"/>
                  <a:pt x="2123476" y="700871"/>
                </a:cubicBezTo>
                <a:lnTo>
                  <a:pt x="2122235" y="705949"/>
                </a:lnTo>
                <a:lnTo>
                  <a:pt x="2120816" y="705949"/>
                </a:lnTo>
                <a:lnTo>
                  <a:pt x="2121769" y="707852"/>
                </a:lnTo>
                <a:lnTo>
                  <a:pt x="2120816" y="711750"/>
                </a:lnTo>
                <a:cubicBezTo>
                  <a:pt x="2116948" y="709815"/>
                  <a:pt x="2111147" y="707882"/>
                  <a:pt x="2105343" y="704013"/>
                </a:cubicBezTo>
                <a:cubicBezTo>
                  <a:pt x="2103410" y="704013"/>
                  <a:pt x="2101475" y="705949"/>
                  <a:pt x="2099542" y="705949"/>
                </a:cubicBezTo>
                <a:cubicBezTo>
                  <a:pt x="2097607" y="709815"/>
                  <a:pt x="2097607" y="713685"/>
                  <a:pt x="2095671" y="717553"/>
                </a:cubicBezTo>
                <a:cubicBezTo>
                  <a:pt x="2087937" y="717553"/>
                  <a:pt x="2082134" y="717553"/>
                  <a:pt x="2078265" y="723355"/>
                </a:cubicBezTo>
                <a:cubicBezTo>
                  <a:pt x="2076333" y="727223"/>
                  <a:pt x="2072464" y="727223"/>
                  <a:pt x="2070529" y="725290"/>
                </a:cubicBezTo>
                <a:cubicBezTo>
                  <a:pt x="2070529" y="719486"/>
                  <a:pt x="2072464" y="711750"/>
                  <a:pt x="2072464" y="704013"/>
                </a:cubicBezTo>
                <a:cubicBezTo>
                  <a:pt x="2060860" y="707882"/>
                  <a:pt x="2051188" y="711750"/>
                  <a:pt x="2045387" y="721419"/>
                </a:cubicBezTo>
                <a:cubicBezTo>
                  <a:pt x="2049255" y="719486"/>
                  <a:pt x="2055056" y="715618"/>
                  <a:pt x="2058924" y="713685"/>
                </a:cubicBezTo>
                <a:cubicBezTo>
                  <a:pt x="2056991" y="725290"/>
                  <a:pt x="2053123" y="731091"/>
                  <a:pt x="2039585" y="729156"/>
                </a:cubicBezTo>
                <a:cubicBezTo>
                  <a:pt x="2033782" y="738828"/>
                  <a:pt x="2024112" y="748497"/>
                  <a:pt x="2014440" y="758169"/>
                </a:cubicBezTo>
                <a:cubicBezTo>
                  <a:pt x="2031846" y="752365"/>
                  <a:pt x="2049255" y="746564"/>
                  <a:pt x="2066661" y="740761"/>
                </a:cubicBezTo>
                <a:cubicBezTo>
                  <a:pt x="2064728" y="742696"/>
                  <a:pt x="2062795" y="746564"/>
                  <a:pt x="2058924" y="748497"/>
                </a:cubicBezTo>
                <a:cubicBezTo>
                  <a:pt x="2043454" y="756234"/>
                  <a:pt x="2026045" y="762037"/>
                  <a:pt x="2008637" y="769774"/>
                </a:cubicBezTo>
                <a:cubicBezTo>
                  <a:pt x="2002836" y="773642"/>
                  <a:pt x="1997035" y="775575"/>
                  <a:pt x="1989298" y="779443"/>
                </a:cubicBezTo>
                <a:cubicBezTo>
                  <a:pt x="1991231" y="783311"/>
                  <a:pt x="1995099" y="785247"/>
                  <a:pt x="1997035" y="789115"/>
                </a:cubicBezTo>
                <a:cubicBezTo>
                  <a:pt x="2000903" y="787180"/>
                  <a:pt x="2006704" y="787180"/>
                  <a:pt x="2010572" y="785247"/>
                </a:cubicBezTo>
                <a:cubicBezTo>
                  <a:pt x="2012508" y="783311"/>
                  <a:pt x="2016376" y="781378"/>
                  <a:pt x="2018309" y="779443"/>
                </a:cubicBezTo>
                <a:cubicBezTo>
                  <a:pt x="2029913" y="769774"/>
                  <a:pt x="2045387" y="769774"/>
                  <a:pt x="2058924" y="771707"/>
                </a:cubicBezTo>
                <a:cubicBezTo>
                  <a:pt x="2144026" y="750432"/>
                  <a:pt x="2231061" y="733024"/>
                  <a:pt x="2314227" y="704013"/>
                </a:cubicBezTo>
                <a:cubicBezTo>
                  <a:pt x="2318095" y="702080"/>
                  <a:pt x="2323898" y="702080"/>
                  <a:pt x="2329700" y="702080"/>
                </a:cubicBezTo>
                <a:cubicBezTo>
                  <a:pt x="2331633" y="702080"/>
                  <a:pt x="2331633" y="700145"/>
                  <a:pt x="2331633" y="700145"/>
                </a:cubicBezTo>
                <a:cubicBezTo>
                  <a:pt x="2333568" y="698212"/>
                  <a:pt x="2335501" y="696277"/>
                  <a:pt x="2337436" y="696277"/>
                </a:cubicBezTo>
                <a:cubicBezTo>
                  <a:pt x="2347106" y="696277"/>
                  <a:pt x="2352909" y="690476"/>
                  <a:pt x="2360646" y="686607"/>
                </a:cubicBezTo>
                <a:cubicBezTo>
                  <a:pt x="2360646" y="686607"/>
                  <a:pt x="2362579" y="684672"/>
                  <a:pt x="2362579" y="682739"/>
                </a:cubicBezTo>
                <a:cubicBezTo>
                  <a:pt x="2364514" y="678871"/>
                  <a:pt x="2366447" y="678871"/>
                  <a:pt x="2370315" y="678871"/>
                </a:cubicBezTo>
                <a:cubicBezTo>
                  <a:pt x="2374184" y="678871"/>
                  <a:pt x="2376117" y="678871"/>
                  <a:pt x="2378052" y="675003"/>
                </a:cubicBezTo>
                <a:cubicBezTo>
                  <a:pt x="2378052" y="673067"/>
                  <a:pt x="2379987" y="671134"/>
                  <a:pt x="2381920" y="669199"/>
                </a:cubicBezTo>
                <a:cubicBezTo>
                  <a:pt x="2387723" y="665331"/>
                  <a:pt x="2393525" y="661463"/>
                  <a:pt x="2399326" y="657594"/>
                </a:cubicBezTo>
                <a:cubicBezTo>
                  <a:pt x="2403194" y="653726"/>
                  <a:pt x="2407065" y="653726"/>
                  <a:pt x="2410933" y="653726"/>
                </a:cubicBezTo>
                <a:cubicBezTo>
                  <a:pt x="2414799" y="653726"/>
                  <a:pt x="2416734" y="651793"/>
                  <a:pt x="2420602" y="651793"/>
                </a:cubicBezTo>
                <a:cubicBezTo>
                  <a:pt x="2424471" y="651793"/>
                  <a:pt x="2426404" y="647925"/>
                  <a:pt x="2428339" y="644057"/>
                </a:cubicBezTo>
                <a:cubicBezTo>
                  <a:pt x="2430274" y="644057"/>
                  <a:pt x="2430274" y="642121"/>
                  <a:pt x="2430274" y="640188"/>
                </a:cubicBezTo>
                <a:cubicBezTo>
                  <a:pt x="2432207" y="636320"/>
                  <a:pt x="2434140" y="634385"/>
                  <a:pt x="2438008" y="634385"/>
                </a:cubicBezTo>
                <a:cubicBezTo>
                  <a:pt x="2439944" y="634385"/>
                  <a:pt x="2443812" y="634385"/>
                  <a:pt x="2445745" y="630519"/>
                </a:cubicBezTo>
                <a:cubicBezTo>
                  <a:pt x="2447680" y="626651"/>
                  <a:pt x="2449613" y="622780"/>
                  <a:pt x="2453481" y="620847"/>
                </a:cubicBezTo>
                <a:cubicBezTo>
                  <a:pt x="2474758" y="609242"/>
                  <a:pt x="2496032" y="595705"/>
                  <a:pt x="2517309" y="582164"/>
                </a:cubicBezTo>
                <a:cubicBezTo>
                  <a:pt x="2521175" y="580232"/>
                  <a:pt x="2525043" y="578296"/>
                  <a:pt x="2530847" y="580232"/>
                </a:cubicBezTo>
                <a:cubicBezTo>
                  <a:pt x="2534715" y="582164"/>
                  <a:pt x="2538583" y="580232"/>
                  <a:pt x="2542451" y="578296"/>
                </a:cubicBezTo>
                <a:cubicBezTo>
                  <a:pt x="2550185" y="574428"/>
                  <a:pt x="2557924" y="568627"/>
                  <a:pt x="2565661" y="564758"/>
                </a:cubicBezTo>
                <a:cubicBezTo>
                  <a:pt x="2569527" y="562823"/>
                  <a:pt x="2571462" y="562823"/>
                  <a:pt x="2575330" y="562823"/>
                </a:cubicBezTo>
                <a:cubicBezTo>
                  <a:pt x="2583067" y="560890"/>
                  <a:pt x="2590803" y="557022"/>
                  <a:pt x="2594672" y="549285"/>
                </a:cubicBezTo>
                <a:cubicBezTo>
                  <a:pt x="2596605" y="549285"/>
                  <a:pt x="2596605" y="547350"/>
                  <a:pt x="2598540" y="547350"/>
                </a:cubicBezTo>
                <a:cubicBezTo>
                  <a:pt x="2602408" y="547350"/>
                  <a:pt x="2604343" y="547350"/>
                  <a:pt x="2606276" y="545417"/>
                </a:cubicBezTo>
                <a:cubicBezTo>
                  <a:pt x="2621749" y="535745"/>
                  <a:pt x="2637220" y="526076"/>
                  <a:pt x="2652695" y="516406"/>
                </a:cubicBezTo>
                <a:cubicBezTo>
                  <a:pt x="2666233" y="506735"/>
                  <a:pt x="2679771" y="498998"/>
                  <a:pt x="2693311" y="491262"/>
                </a:cubicBezTo>
                <a:cubicBezTo>
                  <a:pt x="2697179" y="489329"/>
                  <a:pt x="2699112" y="489329"/>
                  <a:pt x="2701047" y="489329"/>
                </a:cubicBezTo>
                <a:cubicBezTo>
                  <a:pt x="2702980" y="489329"/>
                  <a:pt x="2704916" y="489329"/>
                  <a:pt x="2704916" y="487393"/>
                </a:cubicBezTo>
                <a:cubicBezTo>
                  <a:pt x="2704916" y="483525"/>
                  <a:pt x="2706849" y="481592"/>
                  <a:pt x="2708784" y="481592"/>
                </a:cubicBezTo>
                <a:cubicBezTo>
                  <a:pt x="2714585" y="481592"/>
                  <a:pt x="2718453" y="479657"/>
                  <a:pt x="2724257" y="475789"/>
                </a:cubicBezTo>
                <a:cubicBezTo>
                  <a:pt x="2731993" y="469987"/>
                  <a:pt x="2741663" y="464184"/>
                  <a:pt x="2751335" y="458383"/>
                </a:cubicBezTo>
                <a:cubicBezTo>
                  <a:pt x="2755203" y="454514"/>
                  <a:pt x="2759071" y="454514"/>
                  <a:pt x="2762937" y="454514"/>
                </a:cubicBezTo>
                <a:cubicBezTo>
                  <a:pt x="2766805" y="454514"/>
                  <a:pt x="2770674" y="452579"/>
                  <a:pt x="2772609" y="448711"/>
                </a:cubicBezTo>
                <a:cubicBezTo>
                  <a:pt x="2774544" y="444845"/>
                  <a:pt x="2780345" y="440974"/>
                  <a:pt x="2786147" y="440974"/>
                </a:cubicBezTo>
                <a:cubicBezTo>
                  <a:pt x="2790015" y="440974"/>
                  <a:pt x="2793883" y="439041"/>
                  <a:pt x="2795818" y="435173"/>
                </a:cubicBezTo>
                <a:cubicBezTo>
                  <a:pt x="2797754" y="431305"/>
                  <a:pt x="2801620" y="427437"/>
                  <a:pt x="2805488" y="425504"/>
                </a:cubicBezTo>
                <a:cubicBezTo>
                  <a:pt x="2809356" y="423568"/>
                  <a:pt x="2811291" y="419700"/>
                  <a:pt x="2815160" y="417767"/>
                </a:cubicBezTo>
                <a:cubicBezTo>
                  <a:pt x="2822896" y="410031"/>
                  <a:pt x="2832566" y="410031"/>
                  <a:pt x="2842237" y="413899"/>
                </a:cubicBezTo>
                <a:cubicBezTo>
                  <a:pt x="2842237" y="413899"/>
                  <a:pt x="2844170" y="415832"/>
                  <a:pt x="2844170" y="417767"/>
                </a:cubicBezTo>
                <a:cubicBezTo>
                  <a:pt x="2844170" y="417767"/>
                  <a:pt x="2844170" y="421635"/>
                  <a:pt x="2842237" y="421635"/>
                </a:cubicBezTo>
                <a:cubicBezTo>
                  <a:pt x="2840302" y="423568"/>
                  <a:pt x="2838369" y="423568"/>
                  <a:pt x="2836434" y="425504"/>
                </a:cubicBezTo>
                <a:cubicBezTo>
                  <a:pt x="2830630" y="429370"/>
                  <a:pt x="2824829" y="433240"/>
                  <a:pt x="2819028" y="437108"/>
                </a:cubicBezTo>
                <a:cubicBezTo>
                  <a:pt x="2817093" y="437108"/>
                  <a:pt x="2817093" y="439041"/>
                  <a:pt x="2817093" y="439041"/>
                </a:cubicBezTo>
                <a:cubicBezTo>
                  <a:pt x="2819028" y="439041"/>
                  <a:pt x="2819028" y="440974"/>
                  <a:pt x="2820961" y="440974"/>
                </a:cubicBezTo>
                <a:cubicBezTo>
                  <a:pt x="2824829" y="442910"/>
                  <a:pt x="2826764" y="442910"/>
                  <a:pt x="2830630" y="440974"/>
                </a:cubicBezTo>
                <a:cubicBezTo>
                  <a:pt x="2838369" y="437108"/>
                  <a:pt x="2846106" y="431305"/>
                  <a:pt x="2853840" y="427437"/>
                </a:cubicBezTo>
                <a:cubicBezTo>
                  <a:pt x="2857708" y="425504"/>
                  <a:pt x="2859643" y="425504"/>
                  <a:pt x="2861579" y="425504"/>
                </a:cubicBezTo>
                <a:cubicBezTo>
                  <a:pt x="2867380" y="425504"/>
                  <a:pt x="2871248" y="421635"/>
                  <a:pt x="2873181" y="417767"/>
                </a:cubicBezTo>
                <a:cubicBezTo>
                  <a:pt x="2873181" y="415832"/>
                  <a:pt x="2875116" y="413899"/>
                  <a:pt x="2877049" y="411964"/>
                </a:cubicBezTo>
                <a:cubicBezTo>
                  <a:pt x="2880918" y="411964"/>
                  <a:pt x="2882853" y="410031"/>
                  <a:pt x="2884788" y="410031"/>
                </a:cubicBezTo>
                <a:cubicBezTo>
                  <a:pt x="2894458" y="411964"/>
                  <a:pt x="2904127" y="413899"/>
                  <a:pt x="2913799" y="415832"/>
                </a:cubicBezTo>
                <a:cubicBezTo>
                  <a:pt x="2917665" y="417767"/>
                  <a:pt x="2919600" y="415832"/>
                  <a:pt x="2921536" y="411964"/>
                </a:cubicBezTo>
                <a:cubicBezTo>
                  <a:pt x="2923468" y="410031"/>
                  <a:pt x="2923468" y="408095"/>
                  <a:pt x="2925404" y="408095"/>
                </a:cubicBezTo>
                <a:cubicBezTo>
                  <a:pt x="2929272" y="408095"/>
                  <a:pt x="2931205" y="408095"/>
                  <a:pt x="2935073" y="406162"/>
                </a:cubicBezTo>
                <a:cubicBezTo>
                  <a:pt x="2940874" y="402294"/>
                  <a:pt x="2946678" y="400359"/>
                  <a:pt x="2952482" y="396491"/>
                </a:cubicBezTo>
                <a:cubicBezTo>
                  <a:pt x="2958283" y="394558"/>
                  <a:pt x="2962151" y="388754"/>
                  <a:pt x="2969888" y="390689"/>
                </a:cubicBezTo>
                <a:cubicBezTo>
                  <a:pt x="2969888" y="390689"/>
                  <a:pt x="2971823" y="390689"/>
                  <a:pt x="2971823" y="390689"/>
                </a:cubicBezTo>
                <a:cubicBezTo>
                  <a:pt x="2977624" y="386821"/>
                  <a:pt x="2985361" y="384886"/>
                  <a:pt x="2989229" y="377149"/>
                </a:cubicBezTo>
                <a:cubicBezTo>
                  <a:pt x="2989229" y="375216"/>
                  <a:pt x="2991162" y="375216"/>
                  <a:pt x="2993097" y="375216"/>
                </a:cubicBezTo>
                <a:cubicBezTo>
                  <a:pt x="2996965" y="375216"/>
                  <a:pt x="2998898" y="375216"/>
                  <a:pt x="3000834" y="373281"/>
                </a:cubicBezTo>
                <a:cubicBezTo>
                  <a:pt x="3008570" y="369415"/>
                  <a:pt x="3016307" y="363612"/>
                  <a:pt x="3024041" y="359743"/>
                </a:cubicBezTo>
                <a:cubicBezTo>
                  <a:pt x="3025976" y="357810"/>
                  <a:pt x="3027909" y="355875"/>
                  <a:pt x="3029844" y="355875"/>
                </a:cubicBezTo>
                <a:cubicBezTo>
                  <a:pt x="3039516" y="357810"/>
                  <a:pt x="3047250" y="350074"/>
                  <a:pt x="3054987" y="346206"/>
                </a:cubicBezTo>
                <a:cubicBezTo>
                  <a:pt x="3058857" y="344270"/>
                  <a:pt x="3060790" y="344270"/>
                  <a:pt x="3062723" y="344270"/>
                </a:cubicBezTo>
                <a:cubicBezTo>
                  <a:pt x="3070460" y="342335"/>
                  <a:pt x="3078196" y="338469"/>
                  <a:pt x="3082065" y="330733"/>
                </a:cubicBezTo>
                <a:cubicBezTo>
                  <a:pt x="3084000" y="326864"/>
                  <a:pt x="3087868" y="324929"/>
                  <a:pt x="3091734" y="324929"/>
                </a:cubicBezTo>
                <a:cubicBezTo>
                  <a:pt x="3093669" y="324929"/>
                  <a:pt x="3095605" y="324929"/>
                  <a:pt x="3095605" y="322996"/>
                </a:cubicBezTo>
                <a:cubicBezTo>
                  <a:pt x="3097538" y="317192"/>
                  <a:pt x="3103341" y="315260"/>
                  <a:pt x="3109142" y="313324"/>
                </a:cubicBezTo>
                <a:cubicBezTo>
                  <a:pt x="3118814" y="313324"/>
                  <a:pt x="3124615" y="307523"/>
                  <a:pt x="3132352" y="303655"/>
                </a:cubicBezTo>
                <a:cubicBezTo>
                  <a:pt x="3134285" y="303655"/>
                  <a:pt x="3136220" y="301719"/>
                  <a:pt x="3138153" y="301719"/>
                </a:cubicBezTo>
                <a:cubicBezTo>
                  <a:pt x="3143957" y="303655"/>
                  <a:pt x="3147825" y="299786"/>
                  <a:pt x="3151693" y="297851"/>
                </a:cubicBezTo>
                <a:cubicBezTo>
                  <a:pt x="3169099" y="288182"/>
                  <a:pt x="3186507" y="276577"/>
                  <a:pt x="3203913" y="266905"/>
                </a:cubicBezTo>
                <a:cubicBezTo>
                  <a:pt x="3207782" y="264972"/>
                  <a:pt x="3211650" y="263039"/>
                  <a:pt x="3217451" y="263039"/>
                </a:cubicBezTo>
                <a:cubicBezTo>
                  <a:pt x="3221319" y="264972"/>
                  <a:pt x="3223255" y="263039"/>
                  <a:pt x="3225188" y="261104"/>
                </a:cubicBezTo>
                <a:cubicBezTo>
                  <a:pt x="3236792" y="253367"/>
                  <a:pt x="3250333" y="247566"/>
                  <a:pt x="3261937" y="239830"/>
                </a:cubicBezTo>
                <a:cubicBezTo>
                  <a:pt x="3263870" y="239830"/>
                  <a:pt x="3265806" y="237894"/>
                  <a:pt x="3267739" y="237894"/>
                </a:cubicBezTo>
                <a:cubicBezTo>
                  <a:pt x="3271607" y="239830"/>
                  <a:pt x="3273542" y="237894"/>
                  <a:pt x="3275475" y="234026"/>
                </a:cubicBezTo>
                <a:cubicBezTo>
                  <a:pt x="3275475" y="232093"/>
                  <a:pt x="3277410" y="230158"/>
                  <a:pt x="3279343" y="230158"/>
                </a:cubicBezTo>
                <a:cubicBezTo>
                  <a:pt x="3285144" y="230158"/>
                  <a:pt x="3289013" y="228225"/>
                  <a:pt x="3294816" y="224357"/>
                </a:cubicBezTo>
                <a:cubicBezTo>
                  <a:pt x="3306421" y="218553"/>
                  <a:pt x="3316093" y="212752"/>
                  <a:pt x="3325762" y="206948"/>
                </a:cubicBezTo>
                <a:cubicBezTo>
                  <a:pt x="3329631" y="205015"/>
                  <a:pt x="3331564" y="205015"/>
                  <a:pt x="3333499" y="205015"/>
                </a:cubicBezTo>
                <a:cubicBezTo>
                  <a:pt x="3341235" y="206948"/>
                  <a:pt x="3347037" y="206948"/>
                  <a:pt x="3352840" y="203080"/>
                </a:cubicBezTo>
                <a:cubicBezTo>
                  <a:pt x="3356708" y="203080"/>
                  <a:pt x="3362510" y="201147"/>
                  <a:pt x="3366378" y="199212"/>
                </a:cubicBezTo>
                <a:cubicBezTo>
                  <a:pt x="3372179" y="195343"/>
                  <a:pt x="3379918" y="191475"/>
                  <a:pt x="3385719" y="187607"/>
                </a:cubicBezTo>
                <a:cubicBezTo>
                  <a:pt x="3387654" y="185674"/>
                  <a:pt x="3391520" y="185674"/>
                  <a:pt x="3393456" y="185674"/>
                </a:cubicBezTo>
                <a:cubicBezTo>
                  <a:pt x="3397324" y="185674"/>
                  <a:pt x="3399257" y="185674"/>
                  <a:pt x="3401192" y="183739"/>
                </a:cubicBezTo>
                <a:cubicBezTo>
                  <a:pt x="3406996" y="181806"/>
                  <a:pt x="3410862" y="179871"/>
                  <a:pt x="3416665" y="176005"/>
                </a:cubicBezTo>
                <a:cubicBezTo>
                  <a:pt x="3420533" y="174069"/>
                  <a:pt x="3424402" y="172136"/>
                  <a:pt x="3428270" y="172136"/>
                </a:cubicBezTo>
                <a:cubicBezTo>
                  <a:pt x="3428270" y="172136"/>
                  <a:pt x="3430203" y="170201"/>
                  <a:pt x="3432138" y="170201"/>
                </a:cubicBezTo>
                <a:cubicBezTo>
                  <a:pt x="3437939" y="166333"/>
                  <a:pt x="3441808" y="162465"/>
                  <a:pt x="3447611" y="160532"/>
                </a:cubicBezTo>
                <a:cubicBezTo>
                  <a:pt x="3447611" y="158596"/>
                  <a:pt x="3449544" y="158596"/>
                  <a:pt x="3451479" y="158596"/>
                </a:cubicBezTo>
                <a:cubicBezTo>
                  <a:pt x="3455348" y="158596"/>
                  <a:pt x="3459214" y="156663"/>
                  <a:pt x="3463084" y="154728"/>
                </a:cubicBezTo>
                <a:cubicBezTo>
                  <a:pt x="3470821" y="150860"/>
                  <a:pt x="3478555" y="145059"/>
                  <a:pt x="3486294" y="141190"/>
                </a:cubicBezTo>
                <a:cubicBezTo>
                  <a:pt x="3495963" y="141190"/>
                  <a:pt x="3501764" y="135387"/>
                  <a:pt x="3509501" y="131519"/>
                </a:cubicBezTo>
                <a:cubicBezTo>
                  <a:pt x="3515304" y="127650"/>
                  <a:pt x="3519173" y="123782"/>
                  <a:pt x="3524974" y="121849"/>
                </a:cubicBezTo>
                <a:cubicBezTo>
                  <a:pt x="3524974" y="119914"/>
                  <a:pt x="3526909" y="119914"/>
                  <a:pt x="3528842" y="119914"/>
                </a:cubicBezTo>
                <a:cubicBezTo>
                  <a:pt x="3532710" y="119914"/>
                  <a:pt x="3534646" y="119914"/>
                  <a:pt x="3538514" y="117981"/>
                </a:cubicBezTo>
                <a:cubicBezTo>
                  <a:pt x="3542382" y="114113"/>
                  <a:pt x="3548183" y="112177"/>
                  <a:pt x="3552052" y="110244"/>
                </a:cubicBezTo>
                <a:cubicBezTo>
                  <a:pt x="3555920" y="108309"/>
                  <a:pt x="3557855" y="108309"/>
                  <a:pt x="3561723" y="108309"/>
                </a:cubicBezTo>
                <a:cubicBezTo>
                  <a:pt x="3565589" y="110244"/>
                  <a:pt x="3571393" y="110244"/>
                  <a:pt x="3575261" y="106376"/>
                </a:cubicBezTo>
                <a:cubicBezTo>
                  <a:pt x="3579129" y="104441"/>
                  <a:pt x="3584931" y="100572"/>
                  <a:pt x="3592667" y="100572"/>
                </a:cubicBezTo>
                <a:cubicBezTo>
                  <a:pt x="3592667" y="100572"/>
                  <a:pt x="3594602" y="98639"/>
                  <a:pt x="3596535" y="98639"/>
                </a:cubicBezTo>
                <a:cubicBezTo>
                  <a:pt x="3604272" y="94771"/>
                  <a:pt x="3610075" y="88970"/>
                  <a:pt x="3619745" y="88970"/>
                </a:cubicBezTo>
                <a:cubicBezTo>
                  <a:pt x="3623613" y="87035"/>
                  <a:pt x="3627481" y="85099"/>
                  <a:pt x="3631350" y="83166"/>
                </a:cubicBezTo>
                <a:cubicBezTo>
                  <a:pt x="3641022" y="77365"/>
                  <a:pt x="3650691" y="77365"/>
                  <a:pt x="3660363" y="77365"/>
                </a:cubicBezTo>
                <a:cubicBezTo>
                  <a:pt x="3662296" y="77365"/>
                  <a:pt x="3664231" y="77365"/>
                  <a:pt x="3666164" y="77365"/>
                </a:cubicBezTo>
                <a:cubicBezTo>
                  <a:pt x="3670032" y="77365"/>
                  <a:pt x="3673901" y="75430"/>
                  <a:pt x="3675833" y="71562"/>
                </a:cubicBezTo>
                <a:cubicBezTo>
                  <a:pt x="3677769" y="67693"/>
                  <a:pt x="3681637" y="63825"/>
                  <a:pt x="3685505" y="61892"/>
                </a:cubicBezTo>
                <a:cubicBezTo>
                  <a:pt x="3700978" y="52220"/>
                  <a:pt x="3716451" y="42551"/>
                  <a:pt x="3731924" y="32879"/>
                </a:cubicBezTo>
                <a:cubicBezTo>
                  <a:pt x="3735793" y="30946"/>
                  <a:pt x="3737726" y="30946"/>
                  <a:pt x="3741594" y="30946"/>
                </a:cubicBezTo>
                <a:cubicBezTo>
                  <a:pt x="3741594" y="30946"/>
                  <a:pt x="3743527" y="30946"/>
                  <a:pt x="3743527" y="30946"/>
                </a:cubicBezTo>
                <a:cubicBezTo>
                  <a:pt x="3747397" y="27078"/>
                  <a:pt x="3753199" y="25143"/>
                  <a:pt x="3757067" y="23210"/>
                </a:cubicBezTo>
                <a:cubicBezTo>
                  <a:pt x="3760935" y="21274"/>
                  <a:pt x="3766736" y="21274"/>
                  <a:pt x="3770607" y="19341"/>
                </a:cubicBezTo>
                <a:cubicBezTo>
                  <a:pt x="3770607" y="19341"/>
                  <a:pt x="3772540" y="17406"/>
                  <a:pt x="3772540" y="17406"/>
                </a:cubicBezTo>
                <a:cubicBezTo>
                  <a:pt x="3776408" y="15473"/>
                  <a:pt x="3780276" y="13538"/>
                  <a:pt x="3784145" y="13538"/>
                </a:cubicBezTo>
                <a:cubicBezTo>
                  <a:pt x="3788013" y="13538"/>
                  <a:pt x="3793816" y="13538"/>
                  <a:pt x="3797682" y="11605"/>
                </a:cubicBezTo>
                <a:cubicBezTo>
                  <a:pt x="3801551" y="9670"/>
                  <a:pt x="3805419" y="7737"/>
                  <a:pt x="3809287" y="7737"/>
                </a:cubicBezTo>
                <a:cubicBezTo>
                  <a:pt x="3813155" y="9670"/>
                  <a:pt x="3817024" y="7737"/>
                  <a:pt x="3820892" y="7737"/>
                </a:cubicBezTo>
                <a:cubicBezTo>
                  <a:pt x="3824760" y="7737"/>
                  <a:pt x="3828628" y="3868"/>
                  <a:pt x="3834432" y="3868"/>
                </a:cubicBezTo>
                <a:cubicBezTo>
                  <a:pt x="3840233" y="3868"/>
                  <a:pt x="3844101" y="1935"/>
                  <a:pt x="3849903" y="1935"/>
                </a:cubicBezTo>
                <a:cubicBezTo>
                  <a:pt x="3853771" y="1935"/>
                  <a:pt x="3859574" y="0"/>
                  <a:pt x="3863443" y="0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E648DB9-547C-4465-6253-F80ADB08F71F}"/>
              </a:ext>
            </a:extLst>
          </p:cNvPr>
          <p:cNvSpPr/>
          <p:nvPr/>
        </p:nvSpPr>
        <p:spPr>
          <a:xfrm>
            <a:off x="-1" y="405895"/>
            <a:ext cx="7350291" cy="6223314"/>
          </a:xfrm>
          <a:custGeom>
            <a:avLst/>
            <a:gdLst>
              <a:gd name="connsiteX0" fmla="*/ 2497968 w 6096001"/>
              <a:gd name="connsiteY0" fmla="*/ 5359400 h 5392467"/>
              <a:gd name="connsiteX1" fmla="*/ 2499901 w 6096001"/>
              <a:gd name="connsiteY1" fmla="*/ 5361333 h 5392467"/>
              <a:gd name="connsiteX2" fmla="*/ 2490229 w 6096001"/>
              <a:gd name="connsiteY2" fmla="*/ 5365201 h 5392467"/>
              <a:gd name="connsiteX3" fmla="*/ 2497968 w 6096001"/>
              <a:gd name="connsiteY3" fmla="*/ 5359400 h 5392467"/>
              <a:gd name="connsiteX4" fmla="*/ 2350974 w 6096001"/>
              <a:gd name="connsiteY4" fmla="*/ 5357464 h 5392467"/>
              <a:gd name="connsiteX5" fmla="*/ 2343240 w 6096001"/>
              <a:gd name="connsiteY5" fmla="*/ 5367136 h 5392467"/>
              <a:gd name="connsiteX6" fmla="*/ 2350974 w 6096001"/>
              <a:gd name="connsiteY6" fmla="*/ 5357464 h 5392467"/>
              <a:gd name="connsiteX7" fmla="*/ 2462686 w 6096001"/>
              <a:gd name="connsiteY7" fmla="*/ 5341466 h 5392467"/>
              <a:gd name="connsiteX8" fmla="*/ 2466220 w 6096001"/>
              <a:gd name="connsiteY8" fmla="*/ 5342526 h 5392467"/>
              <a:gd name="connsiteX9" fmla="*/ 2461218 w 6096001"/>
              <a:gd name="connsiteY9" fmla="*/ 5345862 h 5392467"/>
              <a:gd name="connsiteX10" fmla="*/ 2459331 w 6096001"/>
              <a:gd name="connsiteY10" fmla="*/ 5348881 h 5392467"/>
              <a:gd name="connsiteX11" fmla="*/ 2457350 w 6096001"/>
              <a:gd name="connsiteY11" fmla="*/ 5349730 h 5392467"/>
              <a:gd name="connsiteX12" fmla="*/ 2460736 w 6096001"/>
              <a:gd name="connsiteY12" fmla="*/ 5342109 h 5392467"/>
              <a:gd name="connsiteX13" fmla="*/ 2484427 w 6096001"/>
              <a:gd name="connsiteY13" fmla="*/ 5334257 h 5392467"/>
              <a:gd name="connsiteX14" fmla="*/ 2472823 w 6096001"/>
              <a:gd name="connsiteY14" fmla="*/ 5340058 h 5392467"/>
              <a:gd name="connsiteX15" fmla="*/ 2484427 w 6096001"/>
              <a:gd name="connsiteY15" fmla="*/ 5334257 h 5392467"/>
              <a:gd name="connsiteX16" fmla="*/ 2345173 w 6096001"/>
              <a:gd name="connsiteY16" fmla="*/ 5328454 h 5392467"/>
              <a:gd name="connsiteX17" fmla="*/ 2327765 w 6096001"/>
              <a:gd name="connsiteY17" fmla="*/ 5341991 h 5392467"/>
              <a:gd name="connsiteX18" fmla="*/ 2345173 w 6096001"/>
              <a:gd name="connsiteY18" fmla="*/ 5328454 h 5392467"/>
              <a:gd name="connsiteX19" fmla="*/ 2507636 w 6096001"/>
              <a:gd name="connsiteY19" fmla="*/ 5314916 h 5392467"/>
              <a:gd name="connsiteX20" fmla="*/ 2507637 w 6096001"/>
              <a:gd name="connsiteY20" fmla="*/ 5314916 h 5392467"/>
              <a:gd name="connsiteX21" fmla="*/ 2501533 w 6096001"/>
              <a:gd name="connsiteY21" fmla="*/ 5317968 h 5392467"/>
              <a:gd name="connsiteX22" fmla="*/ 3360577 w 6096001"/>
              <a:gd name="connsiteY22" fmla="*/ 5311048 h 5392467"/>
              <a:gd name="connsiteX23" fmla="*/ 3348972 w 6096001"/>
              <a:gd name="connsiteY23" fmla="*/ 5324585 h 5392467"/>
              <a:gd name="connsiteX24" fmla="*/ 3354773 w 6096001"/>
              <a:gd name="connsiteY24" fmla="*/ 5312981 h 5392467"/>
              <a:gd name="connsiteX25" fmla="*/ 3360577 w 6096001"/>
              <a:gd name="connsiteY25" fmla="*/ 5311048 h 5392467"/>
              <a:gd name="connsiteX26" fmla="*/ 2532779 w 6096001"/>
              <a:gd name="connsiteY26" fmla="*/ 5305244 h 5392467"/>
              <a:gd name="connsiteX27" fmla="*/ 2538583 w 6096001"/>
              <a:gd name="connsiteY27" fmla="*/ 5307179 h 5392467"/>
              <a:gd name="connsiteX28" fmla="*/ 2536648 w 6096001"/>
              <a:gd name="connsiteY28" fmla="*/ 5311048 h 5392467"/>
              <a:gd name="connsiteX29" fmla="*/ 2532779 w 6096001"/>
              <a:gd name="connsiteY29" fmla="*/ 5311048 h 5392467"/>
              <a:gd name="connsiteX30" fmla="*/ 2532779 w 6096001"/>
              <a:gd name="connsiteY30" fmla="*/ 5305244 h 5392467"/>
              <a:gd name="connsiteX31" fmla="*/ 3319961 w 6096001"/>
              <a:gd name="connsiteY31" fmla="*/ 5291706 h 5392467"/>
              <a:gd name="connsiteX32" fmla="*/ 3314158 w 6096001"/>
              <a:gd name="connsiteY32" fmla="*/ 5305244 h 5392467"/>
              <a:gd name="connsiteX33" fmla="*/ 3319961 w 6096001"/>
              <a:gd name="connsiteY33" fmla="*/ 5291706 h 5392467"/>
              <a:gd name="connsiteX34" fmla="*/ 2292950 w 6096001"/>
              <a:gd name="connsiteY34" fmla="*/ 5291706 h 5392467"/>
              <a:gd name="connsiteX35" fmla="*/ 2285216 w 6096001"/>
              <a:gd name="connsiteY35" fmla="*/ 5309112 h 5392467"/>
              <a:gd name="connsiteX36" fmla="*/ 2294885 w 6096001"/>
              <a:gd name="connsiteY36" fmla="*/ 5303311 h 5392467"/>
              <a:gd name="connsiteX37" fmla="*/ 2296821 w 6096001"/>
              <a:gd name="connsiteY37" fmla="*/ 5305244 h 5392467"/>
              <a:gd name="connsiteX38" fmla="*/ 2291017 w 6096001"/>
              <a:gd name="connsiteY38" fmla="*/ 5314916 h 5392467"/>
              <a:gd name="connsiteX39" fmla="*/ 2292950 w 6096001"/>
              <a:gd name="connsiteY39" fmla="*/ 5316849 h 5392467"/>
              <a:gd name="connsiteX40" fmla="*/ 2312291 w 6096001"/>
              <a:gd name="connsiteY40" fmla="*/ 5297508 h 5392467"/>
              <a:gd name="connsiteX41" fmla="*/ 2312291 w 6096001"/>
              <a:gd name="connsiteY41" fmla="*/ 5295575 h 5392467"/>
              <a:gd name="connsiteX42" fmla="*/ 2300689 w 6096001"/>
              <a:gd name="connsiteY42" fmla="*/ 5299443 h 5392467"/>
              <a:gd name="connsiteX43" fmla="*/ 2292950 w 6096001"/>
              <a:gd name="connsiteY43" fmla="*/ 5291706 h 5392467"/>
              <a:gd name="connsiteX44" fmla="*/ 2265875 w 6096001"/>
              <a:gd name="connsiteY44" fmla="*/ 5285905 h 5392467"/>
              <a:gd name="connsiteX45" fmla="*/ 2265875 w 6096001"/>
              <a:gd name="connsiteY45" fmla="*/ 5301376 h 5392467"/>
              <a:gd name="connsiteX46" fmla="*/ 2265875 w 6096001"/>
              <a:gd name="connsiteY46" fmla="*/ 5285905 h 5392467"/>
              <a:gd name="connsiteX47" fmla="*/ 2625618 w 6096001"/>
              <a:gd name="connsiteY47" fmla="*/ 5278166 h 5392467"/>
              <a:gd name="connsiteX48" fmla="*/ 2627551 w 6096001"/>
              <a:gd name="connsiteY48" fmla="*/ 5280102 h 5392467"/>
              <a:gd name="connsiteX49" fmla="*/ 2600473 w 6096001"/>
              <a:gd name="connsiteY49" fmla="*/ 5293639 h 5392467"/>
              <a:gd name="connsiteX50" fmla="*/ 2625618 w 6096001"/>
              <a:gd name="connsiteY50" fmla="*/ 5278166 h 5392467"/>
              <a:gd name="connsiteX51" fmla="*/ 2263939 w 6096001"/>
              <a:gd name="connsiteY51" fmla="*/ 5270430 h 5392467"/>
              <a:gd name="connsiteX52" fmla="*/ 2256203 w 6096001"/>
              <a:gd name="connsiteY52" fmla="*/ 5278166 h 5392467"/>
              <a:gd name="connsiteX53" fmla="*/ 2265875 w 6096001"/>
              <a:gd name="connsiteY53" fmla="*/ 5274298 h 5392467"/>
              <a:gd name="connsiteX54" fmla="*/ 2263939 w 6096001"/>
              <a:gd name="connsiteY54" fmla="*/ 5270430 h 5392467"/>
              <a:gd name="connsiteX55" fmla="*/ 2273611 w 6096001"/>
              <a:gd name="connsiteY55" fmla="*/ 5266564 h 5392467"/>
              <a:gd name="connsiteX56" fmla="*/ 2271676 w 6096001"/>
              <a:gd name="connsiteY56" fmla="*/ 5268497 h 5392467"/>
              <a:gd name="connsiteX57" fmla="*/ 2275544 w 6096001"/>
              <a:gd name="connsiteY57" fmla="*/ 5274298 h 5392467"/>
              <a:gd name="connsiteX58" fmla="*/ 2277479 w 6096001"/>
              <a:gd name="connsiteY58" fmla="*/ 5272365 h 5392467"/>
              <a:gd name="connsiteX59" fmla="*/ 2273611 w 6096001"/>
              <a:gd name="connsiteY59" fmla="*/ 5266564 h 5392467"/>
              <a:gd name="connsiteX60" fmla="*/ 3416665 w 6096001"/>
              <a:gd name="connsiteY60" fmla="*/ 5249156 h 5392467"/>
              <a:gd name="connsiteX61" fmla="*/ 3412797 w 6096001"/>
              <a:gd name="connsiteY61" fmla="*/ 5260760 h 5392467"/>
              <a:gd name="connsiteX62" fmla="*/ 3416665 w 6096001"/>
              <a:gd name="connsiteY62" fmla="*/ 5249156 h 5392467"/>
              <a:gd name="connsiteX63" fmla="*/ 2677838 w 6096001"/>
              <a:gd name="connsiteY63" fmla="*/ 5249156 h 5392467"/>
              <a:gd name="connsiteX64" fmla="*/ 2683639 w 6096001"/>
              <a:gd name="connsiteY64" fmla="*/ 5251088 h 5392467"/>
              <a:gd name="connsiteX65" fmla="*/ 2666233 w 6096001"/>
              <a:gd name="connsiteY65" fmla="*/ 5264629 h 5392467"/>
              <a:gd name="connsiteX66" fmla="*/ 2631419 w 6096001"/>
              <a:gd name="connsiteY66" fmla="*/ 5278166 h 5392467"/>
              <a:gd name="connsiteX67" fmla="*/ 2644959 w 6096001"/>
              <a:gd name="connsiteY67" fmla="*/ 5266564 h 5392467"/>
              <a:gd name="connsiteX68" fmla="*/ 2677838 w 6096001"/>
              <a:gd name="connsiteY68" fmla="*/ 5249156 h 5392467"/>
              <a:gd name="connsiteX69" fmla="*/ 1467088 w 6096001"/>
              <a:gd name="connsiteY69" fmla="*/ 5239486 h 5392467"/>
              <a:gd name="connsiteX70" fmla="*/ 1467713 w 6096001"/>
              <a:gd name="connsiteY70" fmla="*/ 5240111 h 5392467"/>
              <a:gd name="connsiteX71" fmla="*/ 1461787 w 6096001"/>
              <a:gd name="connsiteY71" fmla="*/ 5243853 h 5392467"/>
              <a:gd name="connsiteX72" fmla="*/ 1461287 w 6096001"/>
              <a:gd name="connsiteY72" fmla="*/ 5243354 h 5392467"/>
              <a:gd name="connsiteX73" fmla="*/ 1467088 w 6096001"/>
              <a:gd name="connsiteY73" fmla="*/ 5239486 h 5392467"/>
              <a:gd name="connsiteX74" fmla="*/ 3429777 w 6096001"/>
              <a:gd name="connsiteY74" fmla="*/ 5233934 h 5392467"/>
              <a:gd name="connsiteX75" fmla="*/ 3430203 w 6096001"/>
              <a:gd name="connsiteY75" fmla="*/ 5234005 h 5392467"/>
              <a:gd name="connsiteX76" fmla="*/ 3420533 w 6096001"/>
              <a:gd name="connsiteY76" fmla="*/ 5245287 h 5392467"/>
              <a:gd name="connsiteX77" fmla="*/ 3425611 w 6096001"/>
              <a:gd name="connsiteY77" fmla="*/ 5237793 h 5392467"/>
              <a:gd name="connsiteX78" fmla="*/ 2716520 w 6096001"/>
              <a:gd name="connsiteY78" fmla="*/ 5222078 h 5392467"/>
              <a:gd name="connsiteX79" fmla="*/ 2687510 w 6096001"/>
              <a:gd name="connsiteY79" fmla="*/ 5243354 h 5392467"/>
              <a:gd name="connsiteX80" fmla="*/ 2716520 w 6096001"/>
              <a:gd name="connsiteY80" fmla="*/ 5222078 h 5392467"/>
              <a:gd name="connsiteX81" fmla="*/ 2739730 w 6096001"/>
              <a:gd name="connsiteY81" fmla="*/ 5214341 h 5392467"/>
              <a:gd name="connsiteX82" fmla="*/ 2741663 w 6096001"/>
              <a:gd name="connsiteY82" fmla="*/ 5216277 h 5392467"/>
              <a:gd name="connsiteX83" fmla="*/ 2735862 w 6096001"/>
              <a:gd name="connsiteY83" fmla="*/ 5220145 h 5392467"/>
              <a:gd name="connsiteX84" fmla="*/ 2733926 w 6096001"/>
              <a:gd name="connsiteY84" fmla="*/ 5218209 h 5392467"/>
              <a:gd name="connsiteX85" fmla="*/ 2739730 w 6096001"/>
              <a:gd name="connsiteY85" fmla="*/ 5214341 h 5392467"/>
              <a:gd name="connsiteX86" fmla="*/ 3424402 w 6096001"/>
              <a:gd name="connsiteY86" fmla="*/ 5212408 h 5392467"/>
              <a:gd name="connsiteX87" fmla="*/ 3428270 w 6096001"/>
              <a:gd name="connsiteY87" fmla="*/ 5212408 h 5392467"/>
              <a:gd name="connsiteX88" fmla="*/ 3424402 w 6096001"/>
              <a:gd name="connsiteY88" fmla="*/ 5216277 h 5392467"/>
              <a:gd name="connsiteX89" fmla="*/ 3424402 w 6096001"/>
              <a:gd name="connsiteY89" fmla="*/ 5212408 h 5392467"/>
              <a:gd name="connsiteX90" fmla="*/ 2755203 w 6096001"/>
              <a:gd name="connsiteY90" fmla="*/ 5202736 h 5392467"/>
              <a:gd name="connsiteX91" fmla="*/ 2753268 w 6096001"/>
              <a:gd name="connsiteY91" fmla="*/ 5208540 h 5392467"/>
              <a:gd name="connsiteX92" fmla="*/ 2749399 w 6096001"/>
              <a:gd name="connsiteY92" fmla="*/ 5210473 h 5392467"/>
              <a:gd name="connsiteX93" fmla="*/ 2749399 w 6096001"/>
              <a:gd name="connsiteY93" fmla="*/ 5206605 h 5392467"/>
              <a:gd name="connsiteX94" fmla="*/ 2755203 w 6096001"/>
              <a:gd name="connsiteY94" fmla="*/ 5202736 h 5392467"/>
              <a:gd name="connsiteX95" fmla="*/ 3265806 w 6096001"/>
              <a:gd name="connsiteY95" fmla="*/ 5185330 h 5392467"/>
              <a:gd name="connsiteX96" fmla="*/ 3260002 w 6096001"/>
              <a:gd name="connsiteY96" fmla="*/ 5198871 h 5392467"/>
              <a:gd name="connsiteX97" fmla="*/ 3265806 w 6096001"/>
              <a:gd name="connsiteY97" fmla="*/ 5185330 h 5392467"/>
              <a:gd name="connsiteX98" fmla="*/ 2726190 w 6096001"/>
              <a:gd name="connsiteY98" fmla="*/ 5179529 h 5392467"/>
              <a:gd name="connsiteX99" fmla="*/ 2726190 w 6096001"/>
              <a:gd name="connsiteY99" fmla="*/ 5185330 h 5392467"/>
              <a:gd name="connsiteX100" fmla="*/ 2731993 w 6096001"/>
              <a:gd name="connsiteY100" fmla="*/ 5185330 h 5392467"/>
              <a:gd name="connsiteX101" fmla="*/ 2733926 w 6096001"/>
              <a:gd name="connsiteY101" fmla="*/ 5181462 h 5392467"/>
              <a:gd name="connsiteX102" fmla="*/ 2726190 w 6096001"/>
              <a:gd name="connsiteY102" fmla="*/ 5179529 h 5392467"/>
              <a:gd name="connsiteX103" fmla="*/ 2784214 w 6096001"/>
              <a:gd name="connsiteY103" fmla="*/ 5177594 h 5392467"/>
              <a:gd name="connsiteX104" fmla="*/ 2797754 w 6096001"/>
              <a:gd name="connsiteY104" fmla="*/ 5177594 h 5392467"/>
              <a:gd name="connsiteX105" fmla="*/ 2784214 w 6096001"/>
              <a:gd name="connsiteY105" fmla="*/ 5177594 h 5392467"/>
              <a:gd name="connsiteX106" fmla="*/ 2753268 w 6096001"/>
              <a:gd name="connsiteY106" fmla="*/ 5167922 h 5392467"/>
              <a:gd name="connsiteX107" fmla="*/ 2735862 w 6096001"/>
              <a:gd name="connsiteY107" fmla="*/ 5177594 h 5392467"/>
              <a:gd name="connsiteX108" fmla="*/ 2755203 w 6096001"/>
              <a:gd name="connsiteY108" fmla="*/ 5169857 h 5392467"/>
              <a:gd name="connsiteX109" fmla="*/ 2753268 w 6096001"/>
              <a:gd name="connsiteY109" fmla="*/ 5167922 h 5392467"/>
              <a:gd name="connsiteX110" fmla="*/ 2838602 w 6096001"/>
              <a:gd name="connsiteY110" fmla="*/ 5151491 h 5392467"/>
              <a:gd name="connsiteX111" fmla="*/ 2840101 w 6096001"/>
              <a:gd name="connsiteY111" fmla="*/ 5153312 h 5392467"/>
              <a:gd name="connsiteX112" fmla="*/ 2838852 w 6096001"/>
              <a:gd name="connsiteY112" fmla="*/ 5156078 h 5392467"/>
              <a:gd name="connsiteX113" fmla="*/ 2832566 w 6096001"/>
              <a:gd name="connsiteY113" fmla="*/ 5156320 h 5392467"/>
              <a:gd name="connsiteX114" fmla="*/ 3383786 w 6096001"/>
              <a:gd name="connsiteY114" fmla="*/ 5148583 h 5392467"/>
              <a:gd name="connsiteX115" fmla="*/ 3366378 w 6096001"/>
              <a:gd name="connsiteY115" fmla="*/ 5171790 h 5392467"/>
              <a:gd name="connsiteX116" fmla="*/ 3364445 w 6096001"/>
              <a:gd name="connsiteY116" fmla="*/ 5179529 h 5392467"/>
              <a:gd name="connsiteX117" fmla="*/ 3368313 w 6096001"/>
              <a:gd name="connsiteY117" fmla="*/ 5173726 h 5392467"/>
              <a:gd name="connsiteX118" fmla="*/ 3370246 w 6096001"/>
              <a:gd name="connsiteY118" fmla="*/ 5175661 h 5392467"/>
              <a:gd name="connsiteX119" fmla="*/ 3362510 w 6096001"/>
              <a:gd name="connsiteY119" fmla="*/ 5185330 h 5392467"/>
              <a:gd name="connsiteX120" fmla="*/ 3360577 w 6096001"/>
              <a:gd name="connsiteY120" fmla="*/ 5183395 h 5392467"/>
              <a:gd name="connsiteX121" fmla="*/ 3356708 w 6096001"/>
              <a:gd name="connsiteY121" fmla="*/ 5191132 h 5392467"/>
              <a:gd name="connsiteX122" fmla="*/ 3354773 w 6096001"/>
              <a:gd name="connsiteY122" fmla="*/ 5202736 h 5392467"/>
              <a:gd name="connsiteX123" fmla="*/ 3358641 w 6096001"/>
              <a:gd name="connsiteY123" fmla="*/ 5202736 h 5392467"/>
              <a:gd name="connsiteX124" fmla="*/ 3387654 w 6096001"/>
              <a:gd name="connsiteY124" fmla="*/ 5164054 h 5392467"/>
              <a:gd name="connsiteX125" fmla="*/ 3393456 w 6096001"/>
              <a:gd name="connsiteY125" fmla="*/ 5150516 h 5392467"/>
              <a:gd name="connsiteX126" fmla="*/ 3383786 w 6096001"/>
              <a:gd name="connsiteY126" fmla="*/ 5148583 h 5392467"/>
              <a:gd name="connsiteX127" fmla="*/ 3430203 w 6096001"/>
              <a:gd name="connsiteY127" fmla="*/ 5131175 h 5392467"/>
              <a:gd name="connsiteX128" fmla="*/ 3416665 w 6096001"/>
              <a:gd name="connsiteY128" fmla="*/ 5144713 h 5392467"/>
              <a:gd name="connsiteX129" fmla="*/ 3430203 w 6096001"/>
              <a:gd name="connsiteY129" fmla="*/ 5131175 h 5392467"/>
              <a:gd name="connsiteX130" fmla="*/ 3418598 w 6096001"/>
              <a:gd name="connsiteY130" fmla="*/ 5117637 h 5392467"/>
              <a:gd name="connsiteX131" fmla="*/ 3414730 w 6096001"/>
              <a:gd name="connsiteY131" fmla="*/ 5121505 h 5392467"/>
              <a:gd name="connsiteX132" fmla="*/ 3416665 w 6096001"/>
              <a:gd name="connsiteY132" fmla="*/ 5121505 h 5392467"/>
              <a:gd name="connsiteX133" fmla="*/ 3418598 w 6096001"/>
              <a:gd name="connsiteY133" fmla="*/ 5117637 h 5392467"/>
              <a:gd name="connsiteX134" fmla="*/ 3042975 w 6096001"/>
              <a:gd name="connsiteY134" fmla="*/ 5114379 h 5392467"/>
              <a:gd name="connsiteX135" fmla="*/ 3047250 w 6096001"/>
              <a:gd name="connsiteY135" fmla="*/ 5121505 h 5392467"/>
              <a:gd name="connsiteX136" fmla="*/ 3041449 w 6096001"/>
              <a:gd name="connsiteY136" fmla="*/ 5123438 h 5392467"/>
              <a:gd name="connsiteX137" fmla="*/ 3041449 w 6096001"/>
              <a:gd name="connsiteY137" fmla="*/ 5122665 h 5392467"/>
              <a:gd name="connsiteX138" fmla="*/ 3043382 w 6096001"/>
              <a:gd name="connsiteY138" fmla="*/ 5121505 h 5392467"/>
              <a:gd name="connsiteX139" fmla="*/ 3041449 w 6096001"/>
              <a:gd name="connsiteY139" fmla="*/ 5120538 h 5392467"/>
              <a:gd name="connsiteX140" fmla="*/ 3041449 w 6096001"/>
              <a:gd name="connsiteY140" fmla="*/ 5116669 h 5392467"/>
              <a:gd name="connsiteX141" fmla="*/ 3034689 w 6096001"/>
              <a:gd name="connsiteY141" fmla="*/ 5107009 h 5392467"/>
              <a:gd name="connsiteX142" fmla="*/ 3037581 w 6096001"/>
              <a:gd name="connsiteY142" fmla="*/ 5109901 h 5392467"/>
              <a:gd name="connsiteX143" fmla="*/ 3033713 w 6096001"/>
              <a:gd name="connsiteY143" fmla="*/ 5108933 h 5392467"/>
              <a:gd name="connsiteX144" fmla="*/ 3033713 w 6096001"/>
              <a:gd name="connsiteY144" fmla="*/ 5107965 h 5392467"/>
              <a:gd name="connsiteX145" fmla="*/ 3532710 w 6096001"/>
              <a:gd name="connsiteY145" fmla="*/ 5104097 h 5392467"/>
              <a:gd name="connsiteX146" fmla="*/ 3519173 w 6096001"/>
              <a:gd name="connsiteY146" fmla="*/ 5107965 h 5392467"/>
              <a:gd name="connsiteX147" fmla="*/ 3497896 w 6096001"/>
              <a:gd name="connsiteY147" fmla="*/ 5138911 h 5392467"/>
              <a:gd name="connsiteX148" fmla="*/ 3509501 w 6096001"/>
              <a:gd name="connsiteY148" fmla="*/ 5125374 h 5392467"/>
              <a:gd name="connsiteX149" fmla="*/ 3513372 w 6096001"/>
              <a:gd name="connsiteY149" fmla="*/ 5121505 h 5392467"/>
              <a:gd name="connsiteX150" fmla="*/ 3532710 w 6096001"/>
              <a:gd name="connsiteY150" fmla="*/ 5104097 h 5392467"/>
              <a:gd name="connsiteX151" fmla="*/ 2907995 w 6096001"/>
              <a:gd name="connsiteY151" fmla="*/ 5100229 h 5392467"/>
              <a:gd name="connsiteX152" fmla="*/ 2907995 w 6096001"/>
              <a:gd name="connsiteY152" fmla="*/ 5102164 h 5392467"/>
              <a:gd name="connsiteX153" fmla="*/ 2911864 w 6096001"/>
              <a:gd name="connsiteY153" fmla="*/ 5102164 h 5392467"/>
              <a:gd name="connsiteX154" fmla="*/ 2911864 w 6096001"/>
              <a:gd name="connsiteY154" fmla="*/ 5100229 h 5392467"/>
              <a:gd name="connsiteX155" fmla="*/ 2907995 w 6096001"/>
              <a:gd name="connsiteY155" fmla="*/ 5100229 h 5392467"/>
              <a:gd name="connsiteX156" fmla="*/ 2853840 w 6096001"/>
              <a:gd name="connsiteY156" fmla="*/ 5100229 h 5392467"/>
              <a:gd name="connsiteX157" fmla="*/ 2813224 w 6096001"/>
              <a:gd name="connsiteY157" fmla="*/ 5131175 h 5392467"/>
              <a:gd name="connsiteX158" fmla="*/ 2815160 w 6096001"/>
              <a:gd name="connsiteY158" fmla="*/ 5135043 h 5392467"/>
              <a:gd name="connsiteX159" fmla="*/ 2820961 w 6096001"/>
              <a:gd name="connsiteY159" fmla="*/ 5133110 h 5392467"/>
              <a:gd name="connsiteX160" fmla="*/ 2851907 w 6096001"/>
              <a:gd name="connsiteY160" fmla="*/ 5109901 h 5392467"/>
              <a:gd name="connsiteX161" fmla="*/ 2853840 w 6096001"/>
              <a:gd name="connsiteY161" fmla="*/ 5100229 h 5392467"/>
              <a:gd name="connsiteX162" fmla="*/ 1813294 w 6096001"/>
              <a:gd name="connsiteY162" fmla="*/ 5100229 h 5392467"/>
              <a:gd name="connsiteX163" fmla="*/ 1813294 w 6096001"/>
              <a:gd name="connsiteY163" fmla="*/ 5102164 h 5392467"/>
              <a:gd name="connsiteX164" fmla="*/ 1809425 w 6096001"/>
              <a:gd name="connsiteY164" fmla="*/ 5106032 h 5392467"/>
              <a:gd name="connsiteX165" fmla="*/ 1813294 w 6096001"/>
              <a:gd name="connsiteY165" fmla="*/ 5100229 h 5392467"/>
              <a:gd name="connsiteX166" fmla="*/ 2140158 w 6096001"/>
              <a:gd name="connsiteY166" fmla="*/ 5094428 h 5392467"/>
              <a:gd name="connsiteX167" fmla="*/ 2136290 w 6096001"/>
              <a:gd name="connsiteY167" fmla="*/ 5102164 h 5392467"/>
              <a:gd name="connsiteX168" fmla="*/ 2142091 w 6096001"/>
              <a:gd name="connsiteY168" fmla="*/ 5096361 h 5392467"/>
              <a:gd name="connsiteX169" fmla="*/ 2140158 w 6096001"/>
              <a:gd name="connsiteY169" fmla="*/ 5094428 h 5392467"/>
              <a:gd name="connsiteX170" fmla="*/ 1806100 w 6096001"/>
              <a:gd name="connsiteY170" fmla="*/ 5093330 h 5392467"/>
              <a:gd name="connsiteX171" fmla="*/ 1797821 w 6096001"/>
              <a:gd name="connsiteY171" fmla="*/ 5100229 h 5392467"/>
              <a:gd name="connsiteX172" fmla="*/ 1796901 w 6096001"/>
              <a:gd name="connsiteY172" fmla="*/ 5098849 h 5392467"/>
              <a:gd name="connsiteX173" fmla="*/ 1808141 w 6096001"/>
              <a:gd name="connsiteY173" fmla="*/ 5091629 h 5392467"/>
              <a:gd name="connsiteX174" fmla="*/ 1807492 w 6096001"/>
              <a:gd name="connsiteY174" fmla="*/ 5092495 h 5392467"/>
              <a:gd name="connsiteX175" fmla="*/ 1806100 w 6096001"/>
              <a:gd name="connsiteY175" fmla="*/ 5093330 h 5392467"/>
              <a:gd name="connsiteX176" fmla="*/ 1375502 w 6096001"/>
              <a:gd name="connsiteY176" fmla="*/ 5087606 h 5392467"/>
              <a:gd name="connsiteX177" fmla="*/ 1369543 w 6096001"/>
              <a:gd name="connsiteY177" fmla="*/ 5095551 h 5392467"/>
              <a:gd name="connsiteX178" fmla="*/ 1364583 w 6096001"/>
              <a:gd name="connsiteY178" fmla="*/ 5096361 h 5392467"/>
              <a:gd name="connsiteX179" fmla="*/ 1372802 w 6096001"/>
              <a:gd name="connsiteY179" fmla="*/ 5087900 h 5392467"/>
              <a:gd name="connsiteX180" fmla="*/ 2863512 w 6096001"/>
              <a:gd name="connsiteY180" fmla="*/ 5080888 h 5392467"/>
              <a:gd name="connsiteX181" fmla="*/ 2853840 w 6096001"/>
              <a:gd name="connsiteY181" fmla="*/ 5082823 h 5392467"/>
              <a:gd name="connsiteX182" fmla="*/ 2820961 w 6096001"/>
              <a:gd name="connsiteY182" fmla="*/ 5104097 h 5392467"/>
              <a:gd name="connsiteX183" fmla="*/ 2799687 w 6096001"/>
              <a:gd name="connsiteY183" fmla="*/ 5119570 h 5392467"/>
              <a:gd name="connsiteX184" fmla="*/ 2809356 w 6096001"/>
              <a:gd name="connsiteY184" fmla="*/ 5123438 h 5392467"/>
              <a:gd name="connsiteX185" fmla="*/ 2830630 w 6096001"/>
              <a:gd name="connsiteY185" fmla="*/ 5106032 h 5392467"/>
              <a:gd name="connsiteX186" fmla="*/ 2863512 w 6096001"/>
              <a:gd name="connsiteY186" fmla="*/ 5088626 h 5392467"/>
              <a:gd name="connsiteX187" fmla="*/ 2867380 w 6096001"/>
              <a:gd name="connsiteY187" fmla="*/ 5084756 h 5392467"/>
              <a:gd name="connsiteX188" fmla="*/ 2863512 w 6096001"/>
              <a:gd name="connsiteY188" fmla="*/ 5080888 h 5392467"/>
              <a:gd name="connsiteX189" fmla="*/ 2811291 w 6096001"/>
              <a:gd name="connsiteY189" fmla="*/ 5080888 h 5392467"/>
              <a:gd name="connsiteX190" fmla="*/ 2803555 w 6096001"/>
              <a:gd name="connsiteY190" fmla="*/ 5096361 h 5392467"/>
              <a:gd name="connsiteX191" fmla="*/ 2819028 w 6096001"/>
              <a:gd name="connsiteY191" fmla="*/ 5084756 h 5392467"/>
              <a:gd name="connsiteX192" fmla="*/ 2811291 w 6096001"/>
              <a:gd name="connsiteY192" fmla="*/ 5080888 h 5392467"/>
              <a:gd name="connsiteX193" fmla="*/ 2820237 w 6096001"/>
              <a:gd name="connsiteY193" fmla="*/ 5078470 h 5392467"/>
              <a:gd name="connsiteX194" fmla="*/ 2819028 w 6096001"/>
              <a:gd name="connsiteY194" fmla="*/ 5086691 h 5392467"/>
              <a:gd name="connsiteX195" fmla="*/ 2828697 w 6096001"/>
              <a:gd name="connsiteY195" fmla="*/ 5078955 h 5392467"/>
              <a:gd name="connsiteX196" fmla="*/ 2820237 w 6096001"/>
              <a:gd name="connsiteY196" fmla="*/ 5078470 h 5392467"/>
              <a:gd name="connsiteX197" fmla="*/ 3546248 w 6096001"/>
              <a:gd name="connsiteY197" fmla="*/ 5075086 h 5392467"/>
              <a:gd name="connsiteX198" fmla="*/ 3544315 w 6096001"/>
              <a:gd name="connsiteY198" fmla="*/ 5082823 h 5392467"/>
              <a:gd name="connsiteX199" fmla="*/ 3548183 w 6096001"/>
              <a:gd name="connsiteY199" fmla="*/ 5077019 h 5392467"/>
              <a:gd name="connsiteX200" fmla="*/ 3546248 w 6096001"/>
              <a:gd name="connsiteY200" fmla="*/ 5075086 h 5392467"/>
              <a:gd name="connsiteX201" fmla="*/ 1420672 w 6096001"/>
              <a:gd name="connsiteY201" fmla="*/ 5075086 h 5392467"/>
              <a:gd name="connsiteX202" fmla="*/ 1409067 w 6096001"/>
              <a:gd name="connsiteY202" fmla="*/ 5082823 h 5392467"/>
              <a:gd name="connsiteX203" fmla="*/ 1411002 w 6096001"/>
              <a:gd name="connsiteY203" fmla="*/ 5084756 h 5392467"/>
              <a:gd name="connsiteX204" fmla="*/ 1422605 w 6096001"/>
              <a:gd name="connsiteY204" fmla="*/ 5077019 h 5392467"/>
              <a:gd name="connsiteX205" fmla="*/ 1420672 w 6096001"/>
              <a:gd name="connsiteY205" fmla="*/ 5075086 h 5392467"/>
              <a:gd name="connsiteX206" fmla="*/ 3261937 w 6096001"/>
              <a:gd name="connsiteY206" fmla="*/ 5061549 h 5392467"/>
              <a:gd name="connsiteX207" fmla="*/ 3250333 w 6096001"/>
              <a:gd name="connsiteY207" fmla="*/ 5082823 h 5392467"/>
              <a:gd name="connsiteX208" fmla="*/ 3261937 w 6096001"/>
              <a:gd name="connsiteY208" fmla="*/ 5061549 h 5392467"/>
              <a:gd name="connsiteX209" fmla="*/ 2896391 w 6096001"/>
              <a:gd name="connsiteY209" fmla="*/ 5055745 h 5392467"/>
              <a:gd name="connsiteX210" fmla="*/ 2890589 w 6096001"/>
              <a:gd name="connsiteY210" fmla="*/ 5065417 h 5392467"/>
              <a:gd name="connsiteX211" fmla="*/ 2884788 w 6096001"/>
              <a:gd name="connsiteY211" fmla="*/ 5075086 h 5392467"/>
              <a:gd name="connsiteX212" fmla="*/ 2861579 w 6096001"/>
              <a:gd name="connsiteY212" fmla="*/ 5092495 h 5392467"/>
              <a:gd name="connsiteX213" fmla="*/ 2863512 w 6096001"/>
              <a:gd name="connsiteY213" fmla="*/ 5096361 h 5392467"/>
              <a:gd name="connsiteX214" fmla="*/ 2869313 w 6096001"/>
              <a:gd name="connsiteY214" fmla="*/ 5096361 h 5392467"/>
              <a:gd name="connsiteX215" fmla="*/ 2875116 w 6096001"/>
              <a:gd name="connsiteY215" fmla="*/ 5092495 h 5392467"/>
              <a:gd name="connsiteX216" fmla="*/ 2904127 w 6096001"/>
              <a:gd name="connsiteY216" fmla="*/ 5078955 h 5392467"/>
              <a:gd name="connsiteX217" fmla="*/ 2907995 w 6096001"/>
              <a:gd name="connsiteY217" fmla="*/ 5073153 h 5392467"/>
              <a:gd name="connsiteX218" fmla="*/ 2906063 w 6096001"/>
              <a:gd name="connsiteY218" fmla="*/ 5071218 h 5392467"/>
              <a:gd name="connsiteX219" fmla="*/ 2900259 w 6096001"/>
              <a:gd name="connsiteY219" fmla="*/ 5063482 h 5392467"/>
              <a:gd name="connsiteX220" fmla="*/ 2896391 w 6096001"/>
              <a:gd name="connsiteY220" fmla="*/ 5065417 h 5392467"/>
              <a:gd name="connsiteX221" fmla="*/ 2898326 w 6096001"/>
              <a:gd name="connsiteY221" fmla="*/ 5059613 h 5392467"/>
              <a:gd name="connsiteX222" fmla="*/ 2896391 w 6096001"/>
              <a:gd name="connsiteY222" fmla="*/ 5055745 h 5392467"/>
              <a:gd name="connsiteX223" fmla="*/ 1870196 w 6096001"/>
              <a:gd name="connsiteY223" fmla="*/ 5051697 h 5392467"/>
              <a:gd name="connsiteX224" fmla="*/ 1830702 w 6096001"/>
              <a:gd name="connsiteY224" fmla="*/ 5080888 h 5392467"/>
              <a:gd name="connsiteX225" fmla="*/ 1815229 w 6096001"/>
              <a:gd name="connsiteY225" fmla="*/ 5086691 h 5392467"/>
              <a:gd name="connsiteX226" fmla="*/ 1809425 w 6096001"/>
              <a:gd name="connsiteY226" fmla="*/ 5090559 h 5392467"/>
              <a:gd name="connsiteX227" fmla="*/ 1808141 w 6096001"/>
              <a:gd name="connsiteY227" fmla="*/ 5091629 h 5392467"/>
              <a:gd name="connsiteX228" fmla="*/ 1813294 w 6096001"/>
              <a:gd name="connsiteY228" fmla="*/ 5084756 h 5392467"/>
              <a:gd name="connsiteX229" fmla="*/ 1814721 w 6096001"/>
              <a:gd name="connsiteY229" fmla="*/ 5079526 h 5392467"/>
              <a:gd name="connsiteX230" fmla="*/ 1822965 w 6096001"/>
              <a:gd name="connsiteY230" fmla="*/ 5075086 h 5392467"/>
              <a:gd name="connsiteX231" fmla="*/ 1846700 w 6096001"/>
              <a:gd name="connsiteY231" fmla="*/ 5060844 h 5392467"/>
              <a:gd name="connsiteX232" fmla="*/ 1849075 w 6096001"/>
              <a:gd name="connsiteY232" fmla="*/ 5061306 h 5392467"/>
              <a:gd name="connsiteX233" fmla="*/ 1857777 w 6096001"/>
              <a:gd name="connsiteY233" fmla="*/ 5055745 h 5392467"/>
              <a:gd name="connsiteX234" fmla="*/ 1867449 w 6096001"/>
              <a:gd name="connsiteY234" fmla="*/ 5051877 h 5392467"/>
              <a:gd name="connsiteX235" fmla="*/ 2871248 w 6096001"/>
              <a:gd name="connsiteY235" fmla="*/ 5044140 h 5392467"/>
              <a:gd name="connsiteX236" fmla="*/ 2853840 w 6096001"/>
              <a:gd name="connsiteY236" fmla="*/ 5071218 h 5392467"/>
              <a:gd name="connsiteX237" fmla="*/ 2877049 w 6096001"/>
              <a:gd name="connsiteY237" fmla="*/ 5059613 h 5392467"/>
              <a:gd name="connsiteX238" fmla="*/ 2875116 w 6096001"/>
              <a:gd name="connsiteY238" fmla="*/ 5046076 h 5392467"/>
              <a:gd name="connsiteX239" fmla="*/ 2871248 w 6096001"/>
              <a:gd name="connsiteY239" fmla="*/ 5044140 h 5392467"/>
              <a:gd name="connsiteX240" fmla="*/ 3325762 w 6096001"/>
              <a:gd name="connsiteY240" fmla="*/ 5042207 h 5392467"/>
              <a:gd name="connsiteX241" fmla="*/ 3310289 w 6096001"/>
              <a:gd name="connsiteY241" fmla="*/ 5061549 h 5392467"/>
              <a:gd name="connsiteX242" fmla="*/ 3310289 w 6096001"/>
              <a:gd name="connsiteY242" fmla="*/ 5065417 h 5392467"/>
              <a:gd name="connsiteX243" fmla="*/ 3302553 w 6096001"/>
              <a:gd name="connsiteY243" fmla="*/ 5084756 h 5392467"/>
              <a:gd name="connsiteX244" fmla="*/ 3300620 w 6096001"/>
              <a:gd name="connsiteY244" fmla="*/ 5096361 h 5392467"/>
              <a:gd name="connsiteX245" fmla="*/ 3304486 w 6096001"/>
              <a:gd name="connsiteY245" fmla="*/ 5096361 h 5392467"/>
              <a:gd name="connsiteX246" fmla="*/ 3314158 w 6096001"/>
              <a:gd name="connsiteY246" fmla="*/ 5084756 h 5392467"/>
              <a:gd name="connsiteX247" fmla="*/ 3308354 w 6096001"/>
              <a:gd name="connsiteY247" fmla="*/ 5088626 h 5392467"/>
              <a:gd name="connsiteX248" fmla="*/ 3316093 w 6096001"/>
              <a:gd name="connsiteY248" fmla="*/ 5082823 h 5392467"/>
              <a:gd name="connsiteX249" fmla="*/ 3333499 w 6096001"/>
              <a:gd name="connsiteY249" fmla="*/ 5057678 h 5392467"/>
              <a:gd name="connsiteX250" fmla="*/ 3335432 w 6096001"/>
              <a:gd name="connsiteY250" fmla="*/ 5044140 h 5392467"/>
              <a:gd name="connsiteX251" fmla="*/ 3325762 w 6096001"/>
              <a:gd name="connsiteY251" fmla="*/ 5042207 h 5392467"/>
              <a:gd name="connsiteX252" fmla="*/ 2886721 w 6096001"/>
              <a:gd name="connsiteY252" fmla="*/ 5034471 h 5392467"/>
              <a:gd name="connsiteX253" fmla="*/ 2882853 w 6096001"/>
              <a:gd name="connsiteY253" fmla="*/ 5042207 h 5392467"/>
              <a:gd name="connsiteX254" fmla="*/ 2884788 w 6096001"/>
              <a:gd name="connsiteY254" fmla="*/ 5044140 h 5392467"/>
              <a:gd name="connsiteX255" fmla="*/ 2890589 w 6096001"/>
              <a:gd name="connsiteY255" fmla="*/ 5040272 h 5392467"/>
              <a:gd name="connsiteX256" fmla="*/ 2886721 w 6096001"/>
              <a:gd name="connsiteY256" fmla="*/ 5034471 h 5392467"/>
              <a:gd name="connsiteX257" fmla="*/ 3817024 w 6096001"/>
              <a:gd name="connsiteY257" fmla="*/ 5005460 h 5392467"/>
              <a:gd name="connsiteX258" fmla="*/ 3737726 w 6096001"/>
              <a:gd name="connsiteY258" fmla="*/ 5048009 h 5392467"/>
              <a:gd name="connsiteX259" fmla="*/ 3817024 w 6096001"/>
              <a:gd name="connsiteY259" fmla="*/ 5005460 h 5392467"/>
              <a:gd name="connsiteX260" fmla="*/ 2993097 w 6096001"/>
              <a:gd name="connsiteY260" fmla="*/ 4991920 h 5392467"/>
              <a:gd name="connsiteX261" fmla="*/ 2987293 w 6096001"/>
              <a:gd name="connsiteY261" fmla="*/ 4993853 h 5392467"/>
              <a:gd name="connsiteX262" fmla="*/ 2987293 w 6096001"/>
              <a:gd name="connsiteY262" fmla="*/ 4995788 h 5392467"/>
              <a:gd name="connsiteX263" fmla="*/ 2993097 w 6096001"/>
              <a:gd name="connsiteY263" fmla="*/ 4993853 h 5392467"/>
              <a:gd name="connsiteX264" fmla="*/ 2993097 w 6096001"/>
              <a:gd name="connsiteY264" fmla="*/ 4991920 h 5392467"/>
              <a:gd name="connsiteX265" fmla="*/ 2991162 w 6096001"/>
              <a:gd name="connsiteY265" fmla="*/ 4962909 h 5392467"/>
              <a:gd name="connsiteX266" fmla="*/ 2991162 w 6096001"/>
              <a:gd name="connsiteY266" fmla="*/ 4966778 h 5392467"/>
              <a:gd name="connsiteX267" fmla="*/ 2995030 w 6096001"/>
              <a:gd name="connsiteY267" fmla="*/ 4964842 h 5392467"/>
              <a:gd name="connsiteX268" fmla="*/ 2991162 w 6096001"/>
              <a:gd name="connsiteY268" fmla="*/ 4962909 h 5392467"/>
              <a:gd name="connsiteX269" fmla="*/ 3155561 w 6096001"/>
              <a:gd name="connsiteY269" fmla="*/ 4947436 h 5392467"/>
              <a:gd name="connsiteX270" fmla="*/ 3153626 w 6096001"/>
              <a:gd name="connsiteY270" fmla="*/ 4949369 h 5392467"/>
              <a:gd name="connsiteX271" fmla="*/ 3157494 w 6096001"/>
              <a:gd name="connsiteY271" fmla="*/ 4947436 h 5392467"/>
              <a:gd name="connsiteX272" fmla="*/ 3155561 w 6096001"/>
              <a:gd name="connsiteY272" fmla="*/ 4947436 h 5392467"/>
              <a:gd name="connsiteX273" fmla="*/ 3083492 w 6096001"/>
              <a:gd name="connsiteY273" fmla="*/ 4945704 h 5392467"/>
              <a:gd name="connsiteX274" fmla="*/ 3070460 w 6096001"/>
              <a:gd name="connsiteY274" fmla="*/ 4957106 h 5392467"/>
              <a:gd name="connsiteX275" fmla="*/ 3068527 w 6096001"/>
              <a:gd name="connsiteY275" fmla="*/ 4959041 h 5392467"/>
              <a:gd name="connsiteX276" fmla="*/ 3072395 w 6096001"/>
              <a:gd name="connsiteY276" fmla="*/ 4951302 h 5392467"/>
              <a:gd name="connsiteX277" fmla="*/ 3074328 w 6096001"/>
              <a:gd name="connsiteY277" fmla="*/ 4949369 h 5392467"/>
              <a:gd name="connsiteX278" fmla="*/ 3085930 w 6096001"/>
              <a:gd name="connsiteY278" fmla="*/ 4943571 h 5392467"/>
              <a:gd name="connsiteX279" fmla="*/ 3084000 w 6096001"/>
              <a:gd name="connsiteY279" fmla="*/ 4945501 h 5392467"/>
              <a:gd name="connsiteX280" fmla="*/ 3083492 w 6096001"/>
              <a:gd name="connsiteY280" fmla="*/ 4945704 h 5392467"/>
              <a:gd name="connsiteX281" fmla="*/ 3085933 w 6096001"/>
              <a:gd name="connsiteY281" fmla="*/ 4943567 h 5392467"/>
              <a:gd name="connsiteX282" fmla="*/ 3085933 w 6096001"/>
              <a:gd name="connsiteY282" fmla="*/ 4943568 h 5392467"/>
              <a:gd name="connsiteX283" fmla="*/ 3085930 w 6096001"/>
              <a:gd name="connsiteY283" fmla="*/ 4943571 h 5392467"/>
              <a:gd name="connsiteX284" fmla="*/ 3242596 w 6096001"/>
              <a:gd name="connsiteY284" fmla="*/ 4931963 h 5392467"/>
              <a:gd name="connsiteX285" fmla="*/ 3238728 w 6096001"/>
              <a:gd name="connsiteY285" fmla="*/ 4933896 h 5392467"/>
              <a:gd name="connsiteX286" fmla="*/ 3229058 w 6096001"/>
              <a:gd name="connsiteY286" fmla="*/ 4937764 h 5392467"/>
              <a:gd name="connsiteX287" fmla="*/ 3229058 w 6096001"/>
              <a:gd name="connsiteY287" fmla="*/ 4941633 h 5392467"/>
              <a:gd name="connsiteX288" fmla="*/ 3232927 w 6096001"/>
              <a:gd name="connsiteY288" fmla="*/ 4945501 h 5392467"/>
              <a:gd name="connsiteX289" fmla="*/ 3238728 w 6096001"/>
              <a:gd name="connsiteY289" fmla="*/ 4943568 h 5392467"/>
              <a:gd name="connsiteX290" fmla="*/ 3236792 w 6096001"/>
              <a:gd name="connsiteY290" fmla="*/ 4947436 h 5392467"/>
              <a:gd name="connsiteX291" fmla="*/ 3254201 w 6096001"/>
              <a:gd name="connsiteY291" fmla="*/ 4939700 h 5392467"/>
              <a:gd name="connsiteX292" fmla="*/ 3242596 w 6096001"/>
              <a:gd name="connsiteY292" fmla="*/ 4931963 h 5392467"/>
              <a:gd name="connsiteX293" fmla="*/ 3151693 w 6096001"/>
              <a:gd name="connsiteY293" fmla="*/ 4922291 h 5392467"/>
              <a:gd name="connsiteX294" fmla="*/ 3145892 w 6096001"/>
              <a:gd name="connsiteY294" fmla="*/ 4926160 h 5392467"/>
              <a:gd name="connsiteX295" fmla="*/ 3147825 w 6096001"/>
              <a:gd name="connsiteY295" fmla="*/ 4928095 h 5392467"/>
              <a:gd name="connsiteX296" fmla="*/ 3149758 w 6096001"/>
              <a:gd name="connsiteY296" fmla="*/ 4926160 h 5392467"/>
              <a:gd name="connsiteX297" fmla="*/ 3151693 w 6096001"/>
              <a:gd name="connsiteY297" fmla="*/ 4922291 h 5392467"/>
              <a:gd name="connsiteX298" fmla="*/ 1720458 w 6096001"/>
              <a:gd name="connsiteY298" fmla="*/ 4875875 h 5392467"/>
              <a:gd name="connsiteX299" fmla="*/ 1714654 w 6096001"/>
              <a:gd name="connsiteY299" fmla="*/ 4879743 h 5392467"/>
              <a:gd name="connsiteX300" fmla="*/ 1716590 w 6096001"/>
              <a:gd name="connsiteY300" fmla="*/ 4881676 h 5392467"/>
              <a:gd name="connsiteX301" fmla="*/ 1722391 w 6096001"/>
              <a:gd name="connsiteY301" fmla="*/ 4877808 h 5392467"/>
              <a:gd name="connsiteX302" fmla="*/ 1720458 w 6096001"/>
              <a:gd name="connsiteY302" fmla="*/ 4875875 h 5392467"/>
              <a:gd name="connsiteX303" fmla="*/ 1142160 w 6096001"/>
              <a:gd name="connsiteY303" fmla="*/ 4850730 h 5392467"/>
              <a:gd name="connsiteX304" fmla="*/ 1134426 w 6096001"/>
              <a:gd name="connsiteY304" fmla="*/ 4860402 h 5392467"/>
              <a:gd name="connsiteX305" fmla="*/ 1138291 w 6096001"/>
              <a:gd name="connsiteY305" fmla="*/ 4858466 h 5392467"/>
              <a:gd name="connsiteX306" fmla="*/ 1142160 w 6096001"/>
              <a:gd name="connsiteY306" fmla="*/ 4852665 h 5392467"/>
              <a:gd name="connsiteX307" fmla="*/ 1142160 w 6096001"/>
              <a:gd name="connsiteY307" fmla="*/ 4850730 h 5392467"/>
              <a:gd name="connsiteX308" fmla="*/ 1417287 w 6096001"/>
              <a:gd name="connsiteY308" fmla="*/ 4781345 h 5392467"/>
              <a:gd name="connsiteX309" fmla="*/ 1409067 w 6096001"/>
              <a:gd name="connsiteY309" fmla="*/ 4786905 h 5392467"/>
              <a:gd name="connsiteX310" fmla="*/ 1405199 w 6096001"/>
              <a:gd name="connsiteY310" fmla="*/ 4798510 h 5392467"/>
              <a:gd name="connsiteX311" fmla="*/ 1428408 w 6096001"/>
              <a:gd name="connsiteY311" fmla="*/ 4783037 h 5392467"/>
              <a:gd name="connsiteX312" fmla="*/ 1417287 w 6096001"/>
              <a:gd name="connsiteY312" fmla="*/ 4781345 h 5392467"/>
              <a:gd name="connsiteX313" fmla="*/ 1449682 w 6096001"/>
              <a:gd name="connsiteY313" fmla="*/ 4765631 h 5392467"/>
              <a:gd name="connsiteX314" fmla="*/ 1438078 w 6096001"/>
              <a:gd name="connsiteY314" fmla="*/ 4771432 h 5392467"/>
              <a:gd name="connsiteX315" fmla="*/ 1440013 w 6096001"/>
              <a:gd name="connsiteY315" fmla="*/ 4773367 h 5392467"/>
              <a:gd name="connsiteX316" fmla="*/ 1445814 w 6096001"/>
              <a:gd name="connsiteY316" fmla="*/ 4769499 h 5392467"/>
              <a:gd name="connsiteX317" fmla="*/ 1449682 w 6096001"/>
              <a:gd name="connsiteY317" fmla="*/ 4765631 h 5392467"/>
              <a:gd name="connsiteX318" fmla="*/ 1507706 w 6096001"/>
              <a:gd name="connsiteY318" fmla="*/ 4734685 h 5392467"/>
              <a:gd name="connsiteX319" fmla="*/ 1480628 w 6096001"/>
              <a:gd name="connsiteY319" fmla="*/ 4746289 h 5392467"/>
              <a:gd name="connsiteX320" fmla="*/ 1482564 w 6096001"/>
              <a:gd name="connsiteY320" fmla="*/ 4746289 h 5392467"/>
              <a:gd name="connsiteX321" fmla="*/ 1470957 w 6096001"/>
              <a:gd name="connsiteY321" fmla="*/ 4752091 h 5392467"/>
              <a:gd name="connsiteX322" fmla="*/ 1467088 w 6096001"/>
              <a:gd name="connsiteY322" fmla="*/ 4754026 h 5392467"/>
              <a:gd name="connsiteX323" fmla="*/ 1461287 w 6096001"/>
              <a:gd name="connsiteY323" fmla="*/ 4765631 h 5392467"/>
              <a:gd name="connsiteX324" fmla="*/ 1441946 w 6096001"/>
              <a:gd name="connsiteY324" fmla="*/ 4779168 h 5392467"/>
              <a:gd name="connsiteX325" fmla="*/ 1378121 w 6096001"/>
              <a:gd name="connsiteY325" fmla="*/ 4825587 h 5392467"/>
              <a:gd name="connsiteX326" fmla="*/ 1397462 w 6096001"/>
              <a:gd name="connsiteY326" fmla="*/ 4817851 h 5392467"/>
              <a:gd name="connsiteX327" fmla="*/ 1432276 w 6096001"/>
              <a:gd name="connsiteY327" fmla="*/ 4796574 h 5392467"/>
              <a:gd name="connsiteX328" fmla="*/ 1436145 w 6096001"/>
              <a:gd name="connsiteY328" fmla="*/ 4794641 h 5392467"/>
              <a:gd name="connsiteX329" fmla="*/ 1449682 w 6096001"/>
              <a:gd name="connsiteY329" fmla="*/ 4783037 h 5392467"/>
              <a:gd name="connsiteX330" fmla="*/ 1499970 w 6096001"/>
              <a:gd name="connsiteY330" fmla="*/ 4746289 h 5392467"/>
              <a:gd name="connsiteX331" fmla="*/ 1511574 w 6096001"/>
              <a:gd name="connsiteY331" fmla="*/ 4734685 h 5392467"/>
              <a:gd name="connsiteX332" fmla="*/ 1507706 w 6096001"/>
              <a:gd name="connsiteY332" fmla="*/ 4734685 h 5392467"/>
              <a:gd name="connsiteX333" fmla="*/ 1681775 w 6096001"/>
              <a:gd name="connsiteY333" fmla="*/ 4725015 h 5392467"/>
              <a:gd name="connsiteX334" fmla="*/ 1683708 w 6096001"/>
              <a:gd name="connsiteY334" fmla="*/ 4732749 h 5392467"/>
              <a:gd name="connsiteX335" fmla="*/ 1683708 w 6096001"/>
              <a:gd name="connsiteY335" fmla="*/ 4725015 h 5392467"/>
              <a:gd name="connsiteX336" fmla="*/ 1681775 w 6096001"/>
              <a:gd name="connsiteY336" fmla="*/ 4725015 h 5392467"/>
              <a:gd name="connsiteX337" fmla="*/ 1573464 w 6096001"/>
              <a:gd name="connsiteY337" fmla="*/ 4707607 h 5392467"/>
              <a:gd name="connsiteX338" fmla="*/ 1565730 w 6096001"/>
              <a:gd name="connsiteY338" fmla="*/ 4709540 h 5392467"/>
              <a:gd name="connsiteX339" fmla="*/ 1563795 w 6096001"/>
              <a:gd name="connsiteY339" fmla="*/ 4711475 h 5392467"/>
              <a:gd name="connsiteX340" fmla="*/ 1559926 w 6096001"/>
              <a:gd name="connsiteY340" fmla="*/ 4715343 h 5392467"/>
              <a:gd name="connsiteX341" fmla="*/ 1561862 w 6096001"/>
              <a:gd name="connsiteY341" fmla="*/ 4719212 h 5392467"/>
              <a:gd name="connsiteX342" fmla="*/ 1573464 w 6096001"/>
              <a:gd name="connsiteY342" fmla="*/ 4707607 h 5392467"/>
              <a:gd name="connsiteX343" fmla="*/ 1120886 w 6096001"/>
              <a:gd name="connsiteY343" fmla="*/ 4597363 h 5392467"/>
              <a:gd name="connsiteX344" fmla="*/ 1120886 w 6096001"/>
              <a:gd name="connsiteY344" fmla="*/ 4605099 h 5392467"/>
              <a:gd name="connsiteX345" fmla="*/ 1126687 w 6096001"/>
              <a:gd name="connsiteY345" fmla="*/ 4610903 h 5392467"/>
              <a:gd name="connsiteX346" fmla="*/ 1132490 w 6096001"/>
              <a:gd name="connsiteY346" fmla="*/ 4605099 h 5392467"/>
              <a:gd name="connsiteX347" fmla="*/ 1120886 w 6096001"/>
              <a:gd name="connsiteY347" fmla="*/ 4597363 h 5392467"/>
              <a:gd name="connsiteX348" fmla="*/ 1411002 w 6096001"/>
              <a:gd name="connsiteY348" fmla="*/ 4523868 h 5392467"/>
              <a:gd name="connsiteX349" fmla="*/ 1407132 w 6096001"/>
              <a:gd name="connsiteY349" fmla="*/ 4529669 h 5392467"/>
              <a:gd name="connsiteX350" fmla="*/ 1411002 w 6096001"/>
              <a:gd name="connsiteY350" fmla="*/ 4525801 h 5392467"/>
              <a:gd name="connsiteX351" fmla="*/ 1411002 w 6096001"/>
              <a:gd name="connsiteY351" fmla="*/ 4523868 h 5392467"/>
              <a:gd name="connsiteX352" fmla="*/ 1190514 w 6096001"/>
              <a:gd name="connsiteY352" fmla="*/ 4519997 h 5392467"/>
              <a:gd name="connsiteX353" fmla="*/ 1182778 w 6096001"/>
              <a:gd name="connsiteY353" fmla="*/ 4523868 h 5392467"/>
              <a:gd name="connsiteX354" fmla="*/ 1180842 w 6096001"/>
              <a:gd name="connsiteY354" fmla="*/ 4527736 h 5392467"/>
              <a:gd name="connsiteX355" fmla="*/ 1190514 w 6096001"/>
              <a:gd name="connsiteY355" fmla="*/ 4519997 h 5392467"/>
              <a:gd name="connsiteX356" fmla="*/ 1385857 w 6096001"/>
              <a:gd name="connsiteY356" fmla="*/ 4500659 h 5392467"/>
              <a:gd name="connsiteX357" fmla="*/ 1385857 w 6096001"/>
              <a:gd name="connsiteY357" fmla="*/ 4504527 h 5392467"/>
              <a:gd name="connsiteX358" fmla="*/ 1389726 w 6096001"/>
              <a:gd name="connsiteY358" fmla="*/ 4502592 h 5392467"/>
              <a:gd name="connsiteX359" fmla="*/ 1387793 w 6096001"/>
              <a:gd name="connsiteY359" fmla="*/ 4500659 h 5392467"/>
              <a:gd name="connsiteX360" fmla="*/ 1385857 w 6096001"/>
              <a:gd name="connsiteY360" fmla="*/ 4500659 h 5392467"/>
              <a:gd name="connsiteX361" fmla="*/ 1407132 w 6096001"/>
              <a:gd name="connsiteY361" fmla="*/ 4477449 h 5392467"/>
              <a:gd name="connsiteX362" fmla="*/ 1401330 w 6096001"/>
              <a:gd name="connsiteY362" fmla="*/ 4481317 h 5392467"/>
              <a:gd name="connsiteX363" fmla="*/ 1397462 w 6096001"/>
              <a:gd name="connsiteY363" fmla="*/ 4485186 h 5392467"/>
              <a:gd name="connsiteX364" fmla="*/ 1405199 w 6096001"/>
              <a:gd name="connsiteY364" fmla="*/ 4485186 h 5392467"/>
              <a:gd name="connsiteX365" fmla="*/ 1407132 w 6096001"/>
              <a:gd name="connsiteY365" fmla="*/ 4477449 h 5392467"/>
              <a:gd name="connsiteX366" fmla="*/ 1411002 w 6096001"/>
              <a:gd name="connsiteY366" fmla="*/ 4450371 h 5392467"/>
              <a:gd name="connsiteX367" fmla="*/ 1345242 w 6096001"/>
              <a:gd name="connsiteY367" fmla="*/ 4500659 h 5392467"/>
              <a:gd name="connsiteX368" fmla="*/ 1351043 w 6096001"/>
              <a:gd name="connsiteY368" fmla="*/ 4506460 h 5392467"/>
              <a:gd name="connsiteX369" fmla="*/ 1351043 w 6096001"/>
              <a:gd name="connsiteY369" fmla="*/ 4510328 h 5392467"/>
              <a:gd name="connsiteX370" fmla="*/ 1352978 w 6096001"/>
              <a:gd name="connsiteY370" fmla="*/ 4510328 h 5392467"/>
              <a:gd name="connsiteX371" fmla="*/ 1368451 w 6096001"/>
              <a:gd name="connsiteY371" fmla="*/ 4500659 h 5392467"/>
              <a:gd name="connsiteX372" fmla="*/ 1381989 w 6096001"/>
              <a:gd name="connsiteY372" fmla="*/ 4494855 h 5392467"/>
              <a:gd name="connsiteX373" fmla="*/ 1391661 w 6096001"/>
              <a:gd name="connsiteY373" fmla="*/ 4481317 h 5392467"/>
              <a:gd name="connsiteX374" fmla="*/ 1395529 w 6096001"/>
              <a:gd name="connsiteY374" fmla="*/ 4477449 h 5392467"/>
              <a:gd name="connsiteX375" fmla="*/ 1399395 w 6096001"/>
              <a:gd name="connsiteY375" fmla="*/ 4469713 h 5392467"/>
              <a:gd name="connsiteX376" fmla="*/ 1401330 w 6096001"/>
              <a:gd name="connsiteY376" fmla="*/ 4471645 h 5392467"/>
              <a:gd name="connsiteX377" fmla="*/ 1403263 w 6096001"/>
              <a:gd name="connsiteY377" fmla="*/ 4461976 h 5392467"/>
              <a:gd name="connsiteX378" fmla="*/ 1411002 w 6096001"/>
              <a:gd name="connsiteY378" fmla="*/ 4450371 h 5392467"/>
              <a:gd name="connsiteX379" fmla="*/ 1499970 w 6096001"/>
              <a:gd name="connsiteY379" fmla="*/ 4394283 h 5392467"/>
              <a:gd name="connsiteX380" fmla="*/ 1484497 w 6096001"/>
              <a:gd name="connsiteY380" fmla="*/ 4411689 h 5392467"/>
              <a:gd name="connsiteX381" fmla="*/ 1499970 w 6096001"/>
              <a:gd name="connsiteY381" fmla="*/ 4394283 h 5392467"/>
              <a:gd name="connsiteX382" fmla="*/ 1471440 w 6096001"/>
              <a:gd name="connsiteY382" fmla="*/ 4375907 h 5392467"/>
              <a:gd name="connsiteX383" fmla="*/ 1469024 w 6096001"/>
              <a:gd name="connsiteY383" fmla="*/ 4380743 h 5392467"/>
              <a:gd name="connsiteX384" fmla="*/ 1476760 w 6096001"/>
              <a:gd name="connsiteY384" fmla="*/ 4376874 h 5392467"/>
              <a:gd name="connsiteX385" fmla="*/ 1471440 w 6096001"/>
              <a:gd name="connsiteY385" fmla="*/ 4375907 h 5392467"/>
              <a:gd name="connsiteX386" fmla="*/ 1528980 w 6096001"/>
              <a:gd name="connsiteY386" fmla="*/ 4342062 h 5392467"/>
              <a:gd name="connsiteX387" fmla="*/ 1513507 w 6096001"/>
              <a:gd name="connsiteY387" fmla="*/ 4351732 h 5392467"/>
              <a:gd name="connsiteX388" fmla="*/ 1523179 w 6096001"/>
              <a:gd name="connsiteY388" fmla="*/ 4345928 h 5392467"/>
              <a:gd name="connsiteX389" fmla="*/ 1528980 w 6096001"/>
              <a:gd name="connsiteY389" fmla="*/ 4342062 h 5392467"/>
              <a:gd name="connsiteX390" fmla="*/ 1917736 w 6096001"/>
              <a:gd name="connsiteY390" fmla="*/ 4291775 h 5392467"/>
              <a:gd name="connsiteX391" fmla="*/ 1919669 w 6096001"/>
              <a:gd name="connsiteY391" fmla="*/ 4293708 h 5392467"/>
              <a:gd name="connsiteX392" fmla="*/ 1921602 w 6096001"/>
              <a:gd name="connsiteY392" fmla="*/ 4291775 h 5392467"/>
              <a:gd name="connsiteX393" fmla="*/ 1917736 w 6096001"/>
              <a:gd name="connsiteY393" fmla="*/ 4291775 h 5392467"/>
              <a:gd name="connsiteX394" fmla="*/ 1944812 w 6096001"/>
              <a:gd name="connsiteY394" fmla="*/ 4282103 h 5392467"/>
              <a:gd name="connsiteX395" fmla="*/ 1942879 w 6096001"/>
              <a:gd name="connsiteY395" fmla="*/ 4287907 h 5392467"/>
              <a:gd name="connsiteX396" fmla="*/ 1946747 w 6096001"/>
              <a:gd name="connsiteY396" fmla="*/ 4282103 h 5392467"/>
              <a:gd name="connsiteX397" fmla="*/ 1944812 w 6096001"/>
              <a:gd name="connsiteY397" fmla="*/ 4282103 h 5392467"/>
              <a:gd name="connsiteX398" fmla="*/ 4849836 w 6096001"/>
              <a:gd name="connsiteY398" fmla="*/ 4179598 h 5392467"/>
              <a:gd name="connsiteX399" fmla="*/ 4836296 w 6096001"/>
              <a:gd name="connsiteY399" fmla="*/ 4181531 h 5392467"/>
              <a:gd name="connsiteX400" fmla="*/ 4844032 w 6096001"/>
              <a:gd name="connsiteY400" fmla="*/ 4183464 h 5392467"/>
              <a:gd name="connsiteX401" fmla="*/ 4844032 w 6096001"/>
              <a:gd name="connsiteY401" fmla="*/ 4185399 h 5392467"/>
              <a:gd name="connsiteX402" fmla="*/ 4855637 w 6096001"/>
              <a:gd name="connsiteY402" fmla="*/ 4181531 h 5392467"/>
              <a:gd name="connsiteX403" fmla="*/ 4849836 w 6096001"/>
              <a:gd name="connsiteY403" fmla="*/ 4179598 h 5392467"/>
              <a:gd name="connsiteX404" fmla="*/ 4874978 w 6096001"/>
              <a:gd name="connsiteY404" fmla="*/ 4148652 h 5392467"/>
              <a:gd name="connsiteX405" fmla="*/ 4857572 w 6096001"/>
              <a:gd name="connsiteY405" fmla="*/ 4156388 h 5392467"/>
              <a:gd name="connsiteX406" fmla="*/ 4855637 w 6096001"/>
              <a:gd name="connsiteY406" fmla="*/ 4158321 h 5392467"/>
              <a:gd name="connsiteX407" fmla="*/ 4855637 w 6096001"/>
              <a:gd name="connsiteY407" fmla="*/ 4169926 h 5392467"/>
              <a:gd name="connsiteX408" fmla="*/ 4865306 w 6096001"/>
              <a:gd name="connsiteY408" fmla="*/ 4164123 h 5392467"/>
              <a:gd name="connsiteX409" fmla="*/ 4873045 w 6096001"/>
              <a:gd name="connsiteY409" fmla="*/ 4156388 h 5392467"/>
              <a:gd name="connsiteX410" fmla="*/ 4876913 w 6096001"/>
              <a:gd name="connsiteY410" fmla="*/ 4156388 h 5392467"/>
              <a:gd name="connsiteX411" fmla="*/ 4878846 w 6096001"/>
              <a:gd name="connsiteY411" fmla="*/ 4154453 h 5392467"/>
              <a:gd name="connsiteX412" fmla="*/ 4871110 w 6096001"/>
              <a:gd name="connsiteY412" fmla="*/ 4152518 h 5392467"/>
              <a:gd name="connsiteX413" fmla="*/ 4878846 w 6096001"/>
              <a:gd name="connsiteY413" fmla="*/ 4148652 h 5392467"/>
              <a:gd name="connsiteX414" fmla="*/ 4874978 w 6096001"/>
              <a:gd name="connsiteY414" fmla="*/ 4148652 h 5392467"/>
              <a:gd name="connsiteX415" fmla="*/ 5246050 w 6096001"/>
              <a:gd name="connsiteY415" fmla="*/ 4117154 h 5392467"/>
              <a:gd name="connsiteX416" fmla="*/ 5248259 w 6096001"/>
              <a:gd name="connsiteY416" fmla="*/ 4121574 h 5392467"/>
              <a:gd name="connsiteX417" fmla="*/ 5242458 w 6096001"/>
              <a:gd name="connsiteY417" fmla="*/ 4119639 h 5392467"/>
              <a:gd name="connsiteX418" fmla="*/ 5242458 w 6096001"/>
              <a:gd name="connsiteY418" fmla="*/ 4118672 h 5392467"/>
              <a:gd name="connsiteX419" fmla="*/ 5244393 w 6096001"/>
              <a:gd name="connsiteY419" fmla="*/ 4117706 h 5392467"/>
              <a:gd name="connsiteX420" fmla="*/ 5273404 w 6096001"/>
              <a:gd name="connsiteY420" fmla="*/ 4113838 h 5392467"/>
              <a:gd name="connsiteX421" fmla="*/ 5269535 w 6096001"/>
              <a:gd name="connsiteY421" fmla="*/ 4115770 h 5392467"/>
              <a:gd name="connsiteX422" fmla="*/ 5275337 w 6096001"/>
              <a:gd name="connsiteY422" fmla="*/ 4113838 h 5392467"/>
              <a:gd name="connsiteX423" fmla="*/ 5273404 w 6096001"/>
              <a:gd name="connsiteY423" fmla="*/ 4113838 h 5392467"/>
              <a:gd name="connsiteX424" fmla="*/ 5310151 w 6096001"/>
              <a:gd name="connsiteY424" fmla="*/ 4090628 h 5392467"/>
              <a:gd name="connsiteX425" fmla="*/ 5296611 w 6096001"/>
              <a:gd name="connsiteY425" fmla="*/ 4096429 h 5392467"/>
              <a:gd name="connsiteX426" fmla="*/ 5310151 w 6096001"/>
              <a:gd name="connsiteY426" fmla="*/ 4090628 h 5392467"/>
              <a:gd name="connsiteX427" fmla="*/ 5343030 w 6096001"/>
              <a:gd name="connsiteY427" fmla="*/ 4080959 h 5392467"/>
              <a:gd name="connsiteX428" fmla="*/ 5331427 w 6096001"/>
              <a:gd name="connsiteY428" fmla="*/ 4084824 h 5392467"/>
              <a:gd name="connsiteX429" fmla="*/ 5331427 w 6096001"/>
              <a:gd name="connsiteY429" fmla="*/ 4086760 h 5392467"/>
              <a:gd name="connsiteX430" fmla="*/ 5329492 w 6096001"/>
              <a:gd name="connsiteY430" fmla="*/ 4090628 h 5392467"/>
              <a:gd name="connsiteX431" fmla="*/ 5348833 w 6096001"/>
              <a:gd name="connsiteY431" fmla="*/ 4084824 h 5392467"/>
              <a:gd name="connsiteX432" fmla="*/ 5348833 w 6096001"/>
              <a:gd name="connsiteY432" fmla="*/ 4082891 h 5392467"/>
              <a:gd name="connsiteX433" fmla="*/ 5346898 w 6096001"/>
              <a:gd name="connsiteY433" fmla="*/ 4082891 h 5392467"/>
              <a:gd name="connsiteX434" fmla="*/ 5344965 w 6096001"/>
              <a:gd name="connsiteY434" fmla="*/ 4080959 h 5392467"/>
              <a:gd name="connsiteX435" fmla="*/ 5343030 w 6096001"/>
              <a:gd name="connsiteY435" fmla="*/ 4080959 h 5392467"/>
              <a:gd name="connsiteX436" fmla="*/ 5174764 w 6096001"/>
              <a:gd name="connsiteY436" fmla="*/ 4079023 h 5392467"/>
              <a:gd name="connsiteX437" fmla="*/ 5145751 w 6096001"/>
              <a:gd name="connsiteY437" fmla="*/ 4082891 h 5392467"/>
              <a:gd name="connsiteX438" fmla="*/ 5091598 w 6096001"/>
              <a:gd name="connsiteY438" fmla="*/ 4092561 h 5392467"/>
              <a:gd name="connsiteX439" fmla="*/ 5087730 w 6096001"/>
              <a:gd name="connsiteY439" fmla="*/ 4090628 h 5392467"/>
              <a:gd name="connsiteX440" fmla="*/ 5091598 w 6096001"/>
              <a:gd name="connsiteY440" fmla="*/ 4088693 h 5392467"/>
              <a:gd name="connsiteX441" fmla="*/ 5091598 w 6096001"/>
              <a:gd name="connsiteY441" fmla="*/ 4086760 h 5392467"/>
              <a:gd name="connsiteX442" fmla="*/ 5049047 w 6096001"/>
              <a:gd name="connsiteY442" fmla="*/ 4094496 h 5392467"/>
              <a:gd name="connsiteX443" fmla="*/ 5050983 w 6096001"/>
              <a:gd name="connsiteY443" fmla="*/ 4100297 h 5392467"/>
              <a:gd name="connsiteX444" fmla="*/ 5031641 w 6096001"/>
              <a:gd name="connsiteY444" fmla="*/ 4104166 h 5392467"/>
              <a:gd name="connsiteX445" fmla="*/ 5012300 w 6096001"/>
              <a:gd name="connsiteY445" fmla="*/ 4108034 h 5392467"/>
              <a:gd name="connsiteX446" fmla="*/ 4991023 w 6096001"/>
              <a:gd name="connsiteY446" fmla="*/ 4111902 h 5392467"/>
              <a:gd name="connsiteX447" fmla="*/ 4971682 w 6096001"/>
              <a:gd name="connsiteY447" fmla="*/ 4115770 h 5392467"/>
              <a:gd name="connsiteX448" fmla="*/ 4952341 w 6096001"/>
              <a:gd name="connsiteY448" fmla="*/ 4119639 h 5392467"/>
              <a:gd name="connsiteX449" fmla="*/ 4933000 w 6096001"/>
              <a:gd name="connsiteY449" fmla="*/ 4127375 h 5392467"/>
              <a:gd name="connsiteX450" fmla="*/ 4938803 w 6096001"/>
              <a:gd name="connsiteY450" fmla="*/ 4127375 h 5392467"/>
              <a:gd name="connsiteX451" fmla="*/ 5025838 w 6096001"/>
              <a:gd name="connsiteY451" fmla="*/ 4109969 h 5392467"/>
              <a:gd name="connsiteX452" fmla="*/ 5054848 w 6096001"/>
              <a:gd name="connsiteY452" fmla="*/ 4104166 h 5392467"/>
              <a:gd name="connsiteX453" fmla="*/ 5062585 w 6096001"/>
              <a:gd name="connsiteY453" fmla="*/ 4106101 h 5392467"/>
              <a:gd name="connsiteX454" fmla="*/ 5054848 w 6096001"/>
              <a:gd name="connsiteY454" fmla="*/ 4109969 h 5392467"/>
              <a:gd name="connsiteX455" fmla="*/ 5021969 w 6096001"/>
              <a:gd name="connsiteY455" fmla="*/ 4117706 h 5392467"/>
              <a:gd name="connsiteX456" fmla="*/ 4987155 w 6096001"/>
              <a:gd name="connsiteY456" fmla="*/ 4123507 h 5392467"/>
              <a:gd name="connsiteX457" fmla="*/ 4919462 w 6096001"/>
              <a:gd name="connsiteY457" fmla="*/ 4137047 h 5392467"/>
              <a:gd name="connsiteX458" fmla="*/ 4892384 w 6096001"/>
              <a:gd name="connsiteY458" fmla="*/ 4142848 h 5392467"/>
              <a:gd name="connsiteX459" fmla="*/ 4892384 w 6096001"/>
              <a:gd name="connsiteY459" fmla="*/ 4144784 h 5392467"/>
              <a:gd name="connsiteX460" fmla="*/ 4890451 w 6096001"/>
              <a:gd name="connsiteY460" fmla="*/ 4148652 h 5392467"/>
              <a:gd name="connsiteX461" fmla="*/ 4890451 w 6096001"/>
              <a:gd name="connsiteY461" fmla="*/ 4150585 h 5392467"/>
              <a:gd name="connsiteX462" fmla="*/ 4902056 w 6096001"/>
              <a:gd name="connsiteY462" fmla="*/ 4150585 h 5392467"/>
              <a:gd name="connsiteX463" fmla="*/ 4902056 w 6096001"/>
              <a:gd name="connsiteY463" fmla="*/ 4152518 h 5392467"/>
              <a:gd name="connsiteX464" fmla="*/ 4878846 w 6096001"/>
              <a:gd name="connsiteY464" fmla="*/ 4160257 h 5392467"/>
              <a:gd name="connsiteX465" fmla="*/ 4921397 w 6096001"/>
              <a:gd name="connsiteY465" fmla="*/ 4152518 h 5392467"/>
              <a:gd name="connsiteX466" fmla="*/ 4942671 w 6096001"/>
              <a:gd name="connsiteY466" fmla="*/ 4148652 h 5392467"/>
              <a:gd name="connsiteX467" fmla="*/ 4944607 w 6096001"/>
              <a:gd name="connsiteY467" fmla="*/ 4148652 h 5392467"/>
              <a:gd name="connsiteX468" fmla="*/ 5004564 w 6096001"/>
              <a:gd name="connsiteY468" fmla="*/ 4129311 h 5392467"/>
              <a:gd name="connsiteX469" fmla="*/ 5020037 w 6096001"/>
              <a:gd name="connsiteY469" fmla="*/ 4127375 h 5392467"/>
              <a:gd name="connsiteX470" fmla="*/ 5018101 w 6096001"/>
              <a:gd name="connsiteY470" fmla="*/ 4133179 h 5392467"/>
              <a:gd name="connsiteX471" fmla="*/ 5023905 w 6096001"/>
              <a:gd name="connsiteY471" fmla="*/ 4133179 h 5392467"/>
              <a:gd name="connsiteX472" fmla="*/ 5037442 w 6096001"/>
              <a:gd name="connsiteY472" fmla="*/ 4131244 h 5392467"/>
              <a:gd name="connsiteX473" fmla="*/ 5043244 w 6096001"/>
              <a:gd name="connsiteY473" fmla="*/ 4127375 h 5392467"/>
              <a:gd name="connsiteX474" fmla="*/ 5039375 w 6096001"/>
              <a:gd name="connsiteY474" fmla="*/ 4121574 h 5392467"/>
              <a:gd name="connsiteX475" fmla="*/ 5041311 w 6096001"/>
              <a:gd name="connsiteY475" fmla="*/ 4119639 h 5392467"/>
              <a:gd name="connsiteX476" fmla="*/ 5066453 w 6096001"/>
              <a:gd name="connsiteY476" fmla="*/ 4104166 h 5392467"/>
              <a:gd name="connsiteX477" fmla="*/ 5074190 w 6096001"/>
              <a:gd name="connsiteY477" fmla="*/ 4100297 h 5392467"/>
              <a:gd name="connsiteX478" fmla="*/ 5093531 w 6096001"/>
              <a:gd name="connsiteY478" fmla="*/ 4096429 h 5392467"/>
              <a:gd name="connsiteX479" fmla="*/ 5147687 w 6096001"/>
              <a:gd name="connsiteY479" fmla="*/ 4086760 h 5392467"/>
              <a:gd name="connsiteX480" fmla="*/ 5176697 w 6096001"/>
              <a:gd name="connsiteY480" fmla="*/ 4079023 h 5392467"/>
              <a:gd name="connsiteX481" fmla="*/ 5174764 w 6096001"/>
              <a:gd name="connsiteY481" fmla="*/ 4079023 h 5392467"/>
              <a:gd name="connsiteX482" fmla="*/ 5385581 w 6096001"/>
              <a:gd name="connsiteY482" fmla="*/ 4077088 h 5392467"/>
              <a:gd name="connsiteX483" fmla="*/ 5368175 w 6096001"/>
              <a:gd name="connsiteY483" fmla="*/ 4080959 h 5392467"/>
              <a:gd name="connsiteX484" fmla="*/ 5385581 w 6096001"/>
              <a:gd name="connsiteY484" fmla="*/ 4077088 h 5392467"/>
              <a:gd name="connsiteX485" fmla="*/ 5472615 w 6096001"/>
              <a:gd name="connsiteY485" fmla="*/ 4075155 h 5392467"/>
              <a:gd name="connsiteX486" fmla="*/ 5476483 w 6096001"/>
              <a:gd name="connsiteY486" fmla="*/ 4075155 h 5392467"/>
              <a:gd name="connsiteX487" fmla="*/ 5476483 w 6096001"/>
              <a:gd name="connsiteY487" fmla="*/ 4077088 h 5392467"/>
              <a:gd name="connsiteX488" fmla="*/ 5472615 w 6096001"/>
              <a:gd name="connsiteY488" fmla="*/ 4077088 h 5392467"/>
              <a:gd name="connsiteX489" fmla="*/ 5472615 w 6096001"/>
              <a:gd name="connsiteY489" fmla="*/ 4075155 h 5392467"/>
              <a:gd name="connsiteX490" fmla="*/ 5161224 w 6096001"/>
              <a:gd name="connsiteY490" fmla="*/ 4063550 h 5392467"/>
              <a:gd name="connsiteX491" fmla="*/ 5161224 w 6096001"/>
              <a:gd name="connsiteY491" fmla="*/ 4065483 h 5392467"/>
              <a:gd name="connsiteX492" fmla="*/ 5151555 w 6096001"/>
              <a:gd name="connsiteY492" fmla="*/ 4071287 h 5392467"/>
              <a:gd name="connsiteX493" fmla="*/ 5151555 w 6096001"/>
              <a:gd name="connsiteY493" fmla="*/ 4065483 h 5392467"/>
              <a:gd name="connsiteX494" fmla="*/ 5161224 w 6096001"/>
              <a:gd name="connsiteY494" fmla="*/ 4063550 h 5392467"/>
              <a:gd name="connsiteX495" fmla="*/ 5217315 w 6096001"/>
              <a:gd name="connsiteY495" fmla="*/ 4061617 h 5392467"/>
              <a:gd name="connsiteX496" fmla="*/ 5207643 w 6096001"/>
              <a:gd name="connsiteY496" fmla="*/ 4063550 h 5392467"/>
              <a:gd name="connsiteX497" fmla="*/ 5180566 w 6096001"/>
              <a:gd name="connsiteY497" fmla="*/ 4071287 h 5392467"/>
              <a:gd name="connsiteX498" fmla="*/ 5188302 w 6096001"/>
              <a:gd name="connsiteY498" fmla="*/ 4071287 h 5392467"/>
              <a:gd name="connsiteX499" fmla="*/ 5197974 w 6096001"/>
              <a:gd name="connsiteY499" fmla="*/ 4069354 h 5392467"/>
              <a:gd name="connsiteX500" fmla="*/ 5217315 w 6096001"/>
              <a:gd name="connsiteY500" fmla="*/ 4061617 h 5392467"/>
              <a:gd name="connsiteX501" fmla="*/ 5267600 w 6096001"/>
              <a:gd name="connsiteY501" fmla="*/ 4050013 h 5392467"/>
              <a:gd name="connsiteX502" fmla="*/ 5242458 w 6096001"/>
              <a:gd name="connsiteY502" fmla="*/ 4055814 h 5392467"/>
              <a:gd name="connsiteX503" fmla="*/ 5226985 w 6096001"/>
              <a:gd name="connsiteY503" fmla="*/ 4059682 h 5392467"/>
              <a:gd name="connsiteX504" fmla="*/ 5226985 w 6096001"/>
              <a:gd name="connsiteY504" fmla="*/ 4063550 h 5392467"/>
              <a:gd name="connsiteX505" fmla="*/ 5257931 w 6096001"/>
              <a:gd name="connsiteY505" fmla="*/ 4057749 h 5392467"/>
              <a:gd name="connsiteX506" fmla="*/ 5261799 w 6096001"/>
              <a:gd name="connsiteY506" fmla="*/ 4057749 h 5392467"/>
              <a:gd name="connsiteX507" fmla="*/ 5275337 w 6096001"/>
              <a:gd name="connsiteY507" fmla="*/ 4053881 h 5392467"/>
              <a:gd name="connsiteX508" fmla="*/ 5285008 w 6096001"/>
              <a:gd name="connsiteY508" fmla="*/ 4050013 h 5392467"/>
              <a:gd name="connsiteX509" fmla="*/ 5267600 w 6096001"/>
              <a:gd name="connsiteY509" fmla="*/ 4050013 h 5392467"/>
              <a:gd name="connsiteX510" fmla="*/ 5534507 w 6096001"/>
              <a:gd name="connsiteY510" fmla="*/ 4048077 h 5392467"/>
              <a:gd name="connsiteX511" fmla="*/ 5536440 w 6096001"/>
              <a:gd name="connsiteY511" fmla="*/ 4048077 h 5392467"/>
              <a:gd name="connsiteX512" fmla="*/ 5542244 w 6096001"/>
              <a:gd name="connsiteY512" fmla="*/ 4051945 h 5392467"/>
              <a:gd name="connsiteX513" fmla="*/ 5528704 w 6096001"/>
              <a:gd name="connsiteY513" fmla="*/ 4053881 h 5392467"/>
              <a:gd name="connsiteX514" fmla="*/ 5532572 w 6096001"/>
              <a:gd name="connsiteY514" fmla="*/ 4050013 h 5392467"/>
              <a:gd name="connsiteX515" fmla="*/ 5534507 w 6096001"/>
              <a:gd name="connsiteY515" fmla="*/ 4048077 h 5392467"/>
              <a:gd name="connsiteX516" fmla="*/ 5449406 w 6096001"/>
              <a:gd name="connsiteY516" fmla="*/ 4048077 h 5392467"/>
              <a:gd name="connsiteX517" fmla="*/ 5428131 w 6096001"/>
              <a:gd name="connsiteY517" fmla="*/ 4051945 h 5392467"/>
              <a:gd name="connsiteX518" fmla="*/ 5420395 w 6096001"/>
              <a:gd name="connsiteY518" fmla="*/ 4053881 h 5392467"/>
              <a:gd name="connsiteX519" fmla="*/ 5414594 w 6096001"/>
              <a:gd name="connsiteY519" fmla="*/ 4057749 h 5392467"/>
              <a:gd name="connsiteX520" fmla="*/ 5449406 w 6096001"/>
              <a:gd name="connsiteY520" fmla="*/ 4048077 h 5392467"/>
              <a:gd name="connsiteX521" fmla="*/ 5737587 w 6096001"/>
              <a:gd name="connsiteY521" fmla="*/ 4030671 h 5392467"/>
              <a:gd name="connsiteX522" fmla="*/ 5741455 w 6096001"/>
              <a:gd name="connsiteY522" fmla="*/ 4032604 h 5392467"/>
              <a:gd name="connsiteX523" fmla="*/ 5739522 w 6096001"/>
              <a:gd name="connsiteY523" fmla="*/ 4034539 h 5392467"/>
              <a:gd name="connsiteX524" fmla="*/ 5735654 w 6096001"/>
              <a:gd name="connsiteY524" fmla="*/ 4032604 h 5392467"/>
              <a:gd name="connsiteX525" fmla="*/ 5737587 w 6096001"/>
              <a:gd name="connsiteY525" fmla="*/ 4030671 h 5392467"/>
              <a:gd name="connsiteX526" fmla="*/ 5762732 w 6096001"/>
              <a:gd name="connsiteY526" fmla="*/ 4028736 h 5392467"/>
              <a:gd name="connsiteX527" fmla="*/ 5758864 w 6096001"/>
              <a:gd name="connsiteY527" fmla="*/ 4034539 h 5392467"/>
              <a:gd name="connsiteX528" fmla="*/ 5756928 w 6096001"/>
              <a:gd name="connsiteY528" fmla="*/ 4034539 h 5392467"/>
              <a:gd name="connsiteX529" fmla="*/ 5754993 w 6096001"/>
              <a:gd name="connsiteY529" fmla="*/ 4030671 h 5392467"/>
              <a:gd name="connsiteX530" fmla="*/ 5762732 w 6096001"/>
              <a:gd name="connsiteY530" fmla="*/ 4028736 h 5392467"/>
              <a:gd name="connsiteX531" fmla="*/ 5535958 w 6096001"/>
              <a:gd name="connsiteY531" fmla="*/ 4025110 h 5392467"/>
              <a:gd name="connsiteX532" fmla="*/ 5524838 w 6096001"/>
              <a:gd name="connsiteY532" fmla="*/ 4030671 h 5392467"/>
              <a:gd name="connsiteX533" fmla="*/ 5507430 w 6096001"/>
              <a:gd name="connsiteY533" fmla="*/ 4036472 h 5392467"/>
              <a:gd name="connsiteX534" fmla="*/ 5532572 w 6096001"/>
              <a:gd name="connsiteY534" fmla="*/ 4036472 h 5392467"/>
              <a:gd name="connsiteX535" fmla="*/ 5549980 w 6096001"/>
              <a:gd name="connsiteY535" fmla="*/ 4032604 h 5392467"/>
              <a:gd name="connsiteX536" fmla="*/ 5549980 w 6096001"/>
              <a:gd name="connsiteY536" fmla="*/ 4026803 h 5392467"/>
              <a:gd name="connsiteX537" fmla="*/ 5535958 w 6096001"/>
              <a:gd name="connsiteY537" fmla="*/ 4025110 h 5392467"/>
              <a:gd name="connsiteX538" fmla="*/ 5530639 w 6096001"/>
              <a:gd name="connsiteY538" fmla="*/ 4009395 h 5392467"/>
              <a:gd name="connsiteX539" fmla="*/ 5509362 w 6096001"/>
              <a:gd name="connsiteY539" fmla="*/ 4011330 h 5392467"/>
              <a:gd name="connsiteX540" fmla="*/ 5486155 w 6096001"/>
              <a:gd name="connsiteY540" fmla="*/ 4015198 h 5392467"/>
              <a:gd name="connsiteX541" fmla="*/ 5488088 w 6096001"/>
              <a:gd name="connsiteY541" fmla="*/ 4013263 h 5392467"/>
              <a:gd name="connsiteX542" fmla="*/ 5474551 w 6096001"/>
              <a:gd name="connsiteY542" fmla="*/ 4015198 h 5392467"/>
              <a:gd name="connsiteX543" fmla="*/ 5457142 w 6096001"/>
              <a:gd name="connsiteY543" fmla="*/ 4015198 h 5392467"/>
              <a:gd name="connsiteX544" fmla="*/ 5443604 w 6096001"/>
              <a:gd name="connsiteY544" fmla="*/ 4020999 h 5392467"/>
              <a:gd name="connsiteX545" fmla="*/ 5432000 w 6096001"/>
              <a:gd name="connsiteY545" fmla="*/ 4022935 h 5392467"/>
              <a:gd name="connsiteX546" fmla="*/ 5402987 w 6096001"/>
              <a:gd name="connsiteY546" fmla="*/ 4026803 h 5392467"/>
              <a:gd name="connsiteX547" fmla="*/ 5401054 w 6096001"/>
              <a:gd name="connsiteY547" fmla="*/ 4030671 h 5392467"/>
              <a:gd name="connsiteX548" fmla="*/ 5433933 w 6096001"/>
              <a:gd name="connsiteY548" fmla="*/ 4022935 h 5392467"/>
              <a:gd name="connsiteX549" fmla="*/ 5430064 w 6096001"/>
              <a:gd name="connsiteY549" fmla="*/ 4030671 h 5392467"/>
              <a:gd name="connsiteX550" fmla="*/ 5393317 w 6096001"/>
              <a:gd name="connsiteY550" fmla="*/ 4040341 h 5392467"/>
              <a:gd name="connsiteX551" fmla="*/ 5372043 w 6096001"/>
              <a:gd name="connsiteY551" fmla="*/ 4048077 h 5392467"/>
              <a:gd name="connsiteX552" fmla="*/ 5391384 w 6096001"/>
              <a:gd name="connsiteY552" fmla="*/ 4044209 h 5392467"/>
              <a:gd name="connsiteX553" fmla="*/ 5437803 w 6096001"/>
              <a:gd name="connsiteY553" fmla="*/ 4030671 h 5392467"/>
              <a:gd name="connsiteX554" fmla="*/ 5476483 w 6096001"/>
              <a:gd name="connsiteY554" fmla="*/ 4019066 h 5392467"/>
              <a:gd name="connsiteX555" fmla="*/ 5503561 w 6096001"/>
              <a:gd name="connsiteY555" fmla="*/ 4013263 h 5392467"/>
              <a:gd name="connsiteX556" fmla="*/ 5530639 w 6096001"/>
              <a:gd name="connsiteY556" fmla="*/ 4009395 h 5392467"/>
              <a:gd name="connsiteX557" fmla="*/ 5387514 w 6096001"/>
              <a:gd name="connsiteY557" fmla="*/ 4003593 h 5392467"/>
              <a:gd name="connsiteX558" fmla="*/ 5383645 w 6096001"/>
              <a:gd name="connsiteY558" fmla="*/ 4005526 h 5392467"/>
              <a:gd name="connsiteX559" fmla="*/ 5385581 w 6096001"/>
              <a:gd name="connsiteY559" fmla="*/ 4005526 h 5392467"/>
              <a:gd name="connsiteX560" fmla="*/ 5387514 w 6096001"/>
              <a:gd name="connsiteY560" fmla="*/ 4003593 h 5392467"/>
              <a:gd name="connsiteX561" fmla="*/ 5188302 w 6096001"/>
              <a:gd name="connsiteY561" fmla="*/ 4001658 h 5392467"/>
              <a:gd name="connsiteX562" fmla="*/ 5188302 w 6096001"/>
              <a:gd name="connsiteY562" fmla="*/ 4013263 h 5392467"/>
              <a:gd name="connsiteX563" fmla="*/ 5194106 w 6096001"/>
              <a:gd name="connsiteY563" fmla="*/ 4015198 h 5392467"/>
              <a:gd name="connsiteX564" fmla="*/ 5188302 w 6096001"/>
              <a:gd name="connsiteY564" fmla="*/ 4001658 h 5392467"/>
              <a:gd name="connsiteX565" fmla="*/ 5462946 w 6096001"/>
              <a:gd name="connsiteY565" fmla="*/ 3997790 h 5392467"/>
              <a:gd name="connsiteX566" fmla="*/ 5461010 w 6096001"/>
              <a:gd name="connsiteY566" fmla="*/ 3999725 h 5392467"/>
              <a:gd name="connsiteX567" fmla="*/ 5466814 w 6096001"/>
              <a:gd name="connsiteY567" fmla="*/ 3999725 h 5392467"/>
              <a:gd name="connsiteX568" fmla="*/ 5466814 w 6096001"/>
              <a:gd name="connsiteY568" fmla="*/ 3997790 h 5392467"/>
              <a:gd name="connsiteX569" fmla="*/ 5462946 w 6096001"/>
              <a:gd name="connsiteY569" fmla="*/ 3997790 h 5392467"/>
              <a:gd name="connsiteX570" fmla="*/ 5600265 w 6096001"/>
              <a:gd name="connsiteY570" fmla="*/ 3988120 h 5392467"/>
              <a:gd name="connsiteX571" fmla="*/ 5592531 w 6096001"/>
              <a:gd name="connsiteY571" fmla="*/ 3991989 h 5392467"/>
              <a:gd name="connsiteX572" fmla="*/ 5600265 w 6096001"/>
              <a:gd name="connsiteY572" fmla="*/ 3988120 h 5392467"/>
              <a:gd name="connsiteX573" fmla="*/ 5325624 w 6096001"/>
              <a:gd name="connsiteY573" fmla="*/ 3986187 h 5392467"/>
              <a:gd name="connsiteX574" fmla="*/ 5310151 w 6096001"/>
              <a:gd name="connsiteY574" fmla="*/ 3988120 h 5392467"/>
              <a:gd name="connsiteX575" fmla="*/ 5310151 w 6096001"/>
              <a:gd name="connsiteY575" fmla="*/ 3990053 h 5392467"/>
              <a:gd name="connsiteX576" fmla="*/ 5323689 w 6096001"/>
              <a:gd name="connsiteY576" fmla="*/ 3990053 h 5392467"/>
              <a:gd name="connsiteX577" fmla="*/ 5325624 w 6096001"/>
              <a:gd name="connsiteY577" fmla="*/ 3986187 h 5392467"/>
              <a:gd name="connsiteX578" fmla="*/ 5252127 w 6096001"/>
              <a:gd name="connsiteY578" fmla="*/ 3984252 h 5392467"/>
              <a:gd name="connsiteX579" fmla="*/ 5240522 w 6096001"/>
              <a:gd name="connsiteY579" fmla="*/ 3990053 h 5392467"/>
              <a:gd name="connsiteX580" fmla="*/ 5242458 w 6096001"/>
              <a:gd name="connsiteY580" fmla="*/ 3991989 h 5392467"/>
              <a:gd name="connsiteX581" fmla="*/ 5255995 w 6096001"/>
              <a:gd name="connsiteY581" fmla="*/ 3986187 h 5392467"/>
              <a:gd name="connsiteX582" fmla="*/ 5252127 w 6096001"/>
              <a:gd name="connsiteY582" fmla="*/ 3984252 h 5392467"/>
              <a:gd name="connsiteX583" fmla="*/ 5640883 w 6096001"/>
              <a:gd name="connsiteY583" fmla="*/ 3980384 h 5392467"/>
              <a:gd name="connsiteX584" fmla="*/ 5638948 w 6096001"/>
              <a:gd name="connsiteY584" fmla="*/ 3982319 h 5392467"/>
              <a:gd name="connsiteX585" fmla="*/ 5629278 w 6096001"/>
              <a:gd name="connsiteY585" fmla="*/ 3982319 h 5392467"/>
              <a:gd name="connsiteX586" fmla="*/ 5640883 w 6096001"/>
              <a:gd name="connsiteY586" fmla="*/ 3980384 h 5392467"/>
              <a:gd name="connsiteX587" fmla="*/ 5279205 w 6096001"/>
              <a:gd name="connsiteY587" fmla="*/ 3976516 h 5392467"/>
              <a:gd name="connsiteX588" fmla="*/ 5277270 w 6096001"/>
              <a:gd name="connsiteY588" fmla="*/ 3982319 h 5392467"/>
              <a:gd name="connsiteX589" fmla="*/ 5275337 w 6096001"/>
              <a:gd name="connsiteY589" fmla="*/ 3986187 h 5392467"/>
              <a:gd name="connsiteX590" fmla="*/ 5294678 w 6096001"/>
              <a:gd name="connsiteY590" fmla="*/ 3982319 h 5392467"/>
              <a:gd name="connsiteX591" fmla="*/ 5294678 w 6096001"/>
              <a:gd name="connsiteY591" fmla="*/ 3978449 h 5392467"/>
              <a:gd name="connsiteX592" fmla="*/ 5283073 w 6096001"/>
              <a:gd name="connsiteY592" fmla="*/ 3976516 h 5392467"/>
              <a:gd name="connsiteX593" fmla="*/ 5279205 w 6096001"/>
              <a:gd name="connsiteY593" fmla="*/ 3976516 h 5392467"/>
              <a:gd name="connsiteX594" fmla="*/ 5331427 w 6096001"/>
              <a:gd name="connsiteY594" fmla="*/ 3972647 h 5392467"/>
              <a:gd name="connsiteX595" fmla="*/ 5314019 w 6096001"/>
              <a:gd name="connsiteY595" fmla="*/ 3976516 h 5392467"/>
              <a:gd name="connsiteX596" fmla="*/ 5319820 w 6096001"/>
              <a:gd name="connsiteY596" fmla="*/ 3976516 h 5392467"/>
              <a:gd name="connsiteX597" fmla="*/ 5331427 w 6096001"/>
              <a:gd name="connsiteY597" fmla="*/ 3972647 h 5392467"/>
              <a:gd name="connsiteX598" fmla="*/ 5418462 w 6096001"/>
              <a:gd name="connsiteY598" fmla="*/ 3970714 h 5392467"/>
              <a:gd name="connsiteX599" fmla="*/ 5420395 w 6096001"/>
              <a:gd name="connsiteY599" fmla="*/ 3972647 h 5392467"/>
              <a:gd name="connsiteX600" fmla="*/ 5422328 w 6096001"/>
              <a:gd name="connsiteY600" fmla="*/ 3970714 h 5392467"/>
              <a:gd name="connsiteX601" fmla="*/ 5418462 w 6096001"/>
              <a:gd name="connsiteY601" fmla="*/ 3970714 h 5392467"/>
              <a:gd name="connsiteX602" fmla="*/ 5633147 w 6096001"/>
              <a:gd name="connsiteY602" fmla="*/ 3966846 h 5392467"/>
              <a:gd name="connsiteX603" fmla="*/ 5606069 w 6096001"/>
              <a:gd name="connsiteY603" fmla="*/ 3972647 h 5392467"/>
              <a:gd name="connsiteX604" fmla="*/ 5608002 w 6096001"/>
              <a:gd name="connsiteY604" fmla="*/ 3972647 h 5392467"/>
              <a:gd name="connsiteX605" fmla="*/ 5592531 w 6096001"/>
              <a:gd name="connsiteY605" fmla="*/ 3974583 h 5392467"/>
              <a:gd name="connsiteX606" fmla="*/ 5588663 w 6096001"/>
              <a:gd name="connsiteY606" fmla="*/ 3974583 h 5392467"/>
              <a:gd name="connsiteX607" fmla="*/ 5584795 w 6096001"/>
              <a:gd name="connsiteY607" fmla="*/ 3978449 h 5392467"/>
              <a:gd name="connsiteX608" fmla="*/ 5646684 w 6096001"/>
              <a:gd name="connsiteY608" fmla="*/ 3966846 h 5392467"/>
              <a:gd name="connsiteX609" fmla="*/ 5633147 w 6096001"/>
              <a:gd name="connsiteY609" fmla="*/ 3966846 h 5392467"/>
              <a:gd name="connsiteX610" fmla="*/ 5497758 w 6096001"/>
              <a:gd name="connsiteY610" fmla="*/ 3966846 h 5392467"/>
              <a:gd name="connsiteX611" fmla="*/ 5490021 w 6096001"/>
              <a:gd name="connsiteY611" fmla="*/ 3974583 h 5392467"/>
              <a:gd name="connsiteX612" fmla="*/ 5495825 w 6096001"/>
              <a:gd name="connsiteY612" fmla="*/ 3974583 h 5392467"/>
              <a:gd name="connsiteX613" fmla="*/ 5490021 w 6096001"/>
              <a:gd name="connsiteY613" fmla="*/ 3976516 h 5392467"/>
              <a:gd name="connsiteX614" fmla="*/ 5486155 w 6096001"/>
              <a:gd name="connsiteY614" fmla="*/ 3980384 h 5392467"/>
              <a:gd name="connsiteX615" fmla="*/ 5497758 w 6096001"/>
              <a:gd name="connsiteY615" fmla="*/ 3980384 h 5392467"/>
              <a:gd name="connsiteX616" fmla="*/ 5499693 w 6096001"/>
              <a:gd name="connsiteY616" fmla="*/ 3980384 h 5392467"/>
              <a:gd name="connsiteX617" fmla="*/ 5507430 w 6096001"/>
              <a:gd name="connsiteY617" fmla="*/ 3980384 h 5392467"/>
              <a:gd name="connsiteX618" fmla="*/ 5528704 w 6096001"/>
              <a:gd name="connsiteY618" fmla="*/ 3980384 h 5392467"/>
              <a:gd name="connsiteX619" fmla="*/ 5540308 w 6096001"/>
              <a:gd name="connsiteY619" fmla="*/ 3980384 h 5392467"/>
              <a:gd name="connsiteX620" fmla="*/ 5559650 w 6096001"/>
              <a:gd name="connsiteY620" fmla="*/ 3972647 h 5392467"/>
              <a:gd name="connsiteX621" fmla="*/ 5544177 w 6096001"/>
              <a:gd name="connsiteY621" fmla="*/ 3974583 h 5392467"/>
              <a:gd name="connsiteX622" fmla="*/ 5542244 w 6096001"/>
              <a:gd name="connsiteY622" fmla="*/ 3974583 h 5392467"/>
              <a:gd name="connsiteX623" fmla="*/ 5497758 w 6096001"/>
              <a:gd name="connsiteY623" fmla="*/ 3966846 h 5392467"/>
              <a:gd name="connsiteX624" fmla="*/ 5536198 w 6096001"/>
              <a:gd name="connsiteY624" fmla="*/ 3960318 h 5392467"/>
              <a:gd name="connsiteX625" fmla="*/ 5517099 w 6096001"/>
              <a:gd name="connsiteY625" fmla="*/ 3964911 h 5392467"/>
              <a:gd name="connsiteX626" fmla="*/ 5553849 w 6096001"/>
              <a:gd name="connsiteY626" fmla="*/ 3962978 h 5392467"/>
              <a:gd name="connsiteX627" fmla="*/ 5536198 w 6096001"/>
              <a:gd name="connsiteY627" fmla="*/ 3960318 h 5392467"/>
              <a:gd name="connsiteX628" fmla="*/ 5199907 w 6096001"/>
              <a:gd name="connsiteY628" fmla="*/ 3959110 h 5392467"/>
              <a:gd name="connsiteX629" fmla="*/ 5192170 w 6096001"/>
              <a:gd name="connsiteY629" fmla="*/ 3964911 h 5392467"/>
              <a:gd name="connsiteX630" fmla="*/ 5201842 w 6096001"/>
              <a:gd name="connsiteY630" fmla="*/ 3962978 h 5392467"/>
              <a:gd name="connsiteX631" fmla="*/ 5201842 w 6096001"/>
              <a:gd name="connsiteY631" fmla="*/ 3959110 h 5392467"/>
              <a:gd name="connsiteX632" fmla="*/ 5199907 w 6096001"/>
              <a:gd name="connsiteY632" fmla="*/ 3959110 h 5392467"/>
              <a:gd name="connsiteX633" fmla="*/ 5139950 w 6096001"/>
              <a:gd name="connsiteY633" fmla="*/ 3959110 h 5392467"/>
              <a:gd name="connsiteX634" fmla="*/ 5126410 w 6096001"/>
              <a:gd name="connsiteY634" fmla="*/ 3964911 h 5392467"/>
              <a:gd name="connsiteX635" fmla="*/ 5134149 w 6096001"/>
              <a:gd name="connsiteY635" fmla="*/ 3964911 h 5392467"/>
              <a:gd name="connsiteX636" fmla="*/ 5141883 w 6096001"/>
              <a:gd name="connsiteY636" fmla="*/ 3962978 h 5392467"/>
              <a:gd name="connsiteX637" fmla="*/ 5139950 w 6096001"/>
              <a:gd name="connsiteY637" fmla="*/ 3959110 h 5392467"/>
              <a:gd name="connsiteX638" fmla="*/ 5472615 w 6096001"/>
              <a:gd name="connsiteY638" fmla="*/ 3957174 h 5392467"/>
              <a:gd name="connsiteX639" fmla="*/ 5457142 w 6096001"/>
              <a:gd name="connsiteY639" fmla="*/ 3961043 h 5392467"/>
              <a:gd name="connsiteX640" fmla="*/ 5476483 w 6096001"/>
              <a:gd name="connsiteY640" fmla="*/ 3964911 h 5392467"/>
              <a:gd name="connsiteX641" fmla="*/ 5472615 w 6096001"/>
              <a:gd name="connsiteY641" fmla="*/ 3968779 h 5392467"/>
              <a:gd name="connsiteX642" fmla="*/ 5441669 w 6096001"/>
              <a:gd name="connsiteY642" fmla="*/ 3970714 h 5392467"/>
              <a:gd name="connsiteX643" fmla="*/ 5422328 w 6096001"/>
              <a:gd name="connsiteY643" fmla="*/ 3976516 h 5392467"/>
              <a:gd name="connsiteX644" fmla="*/ 5397185 w 6096001"/>
              <a:gd name="connsiteY644" fmla="*/ 3982319 h 5392467"/>
              <a:gd name="connsiteX645" fmla="*/ 5372043 w 6096001"/>
              <a:gd name="connsiteY645" fmla="*/ 3988120 h 5392467"/>
              <a:gd name="connsiteX646" fmla="*/ 5348833 w 6096001"/>
              <a:gd name="connsiteY646" fmla="*/ 3995857 h 5392467"/>
              <a:gd name="connsiteX647" fmla="*/ 5327559 w 6096001"/>
              <a:gd name="connsiteY647" fmla="*/ 4001658 h 5392467"/>
              <a:gd name="connsiteX648" fmla="*/ 5300479 w 6096001"/>
              <a:gd name="connsiteY648" fmla="*/ 4007462 h 5392467"/>
              <a:gd name="connsiteX649" fmla="*/ 5298546 w 6096001"/>
              <a:gd name="connsiteY649" fmla="*/ 4009395 h 5392467"/>
              <a:gd name="connsiteX650" fmla="*/ 5296611 w 6096001"/>
              <a:gd name="connsiteY650" fmla="*/ 4007462 h 5392467"/>
              <a:gd name="connsiteX651" fmla="*/ 5283073 w 6096001"/>
              <a:gd name="connsiteY651" fmla="*/ 4011330 h 5392467"/>
              <a:gd name="connsiteX652" fmla="*/ 5261799 w 6096001"/>
              <a:gd name="connsiteY652" fmla="*/ 4013263 h 5392467"/>
              <a:gd name="connsiteX653" fmla="*/ 5255995 w 6096001"/>
              <a:gd name="connsiteY653" fmla="*/ 4009395 h 5392467"/>
              <a:gd name="connsiteX654" fmla="*/ 5269535 w 6096001"/>
              <a:gd name="connsiteY654" fmla="*/ 4003593 h 5392467"/>
              <a:gd name="connsiteX655" fmla="*/ 5281140 w 6096001"/>
              <a:gd name="connsiteY655" fmla="*/ 3999725 h 5392467"/>
              <a:gd name="connsiteX656" fmla="*/ 5283073 w 6096001"/>
              <a:gd name="connsiteY656" fmla="*/ 3991989 h 5392467"/>
              <a:gd name="connsiteX657" fmla="*/ 5259864 w 6096001"/>
              <a:gd name="connsiteY657" fmla="*/ 3997790 h 5392467"/>
              <a:gd name="connsiteX658" fmla="*/ 5228918 w 6096001"/>
              <a:gd name="connsiteY658" fmla="*/ 4003593 h 5392467"/>
              <a:gd name="connsiteX659" fmla="*/ 5221183 w 6096001"/>
              <a:gd name="connsiteY659" fmla="*/ 4003593 h 5392467"/>
              <a:gd name="connsiteX660" fmla="*/ 5219248 w 6096001"/>
              <a:gd name="connsiteY660" fmla="*/ 4015198 h 5392467"/>
              <a:gd name="connsiteX661" fmla="*/ 5184434 w 6096001"/>
              <a:gd name="connsiteY661" fmla="*/ 4026803 h 5392467"/>
              <a:gd name="connsiteX662" fmla="*/ 5190235 w 6096001"/>
              <a:gd name="connsiteY662" fmla="*/ 4026803 h 5392467"/>
              <a:gd name="connsiteX663" fmla="*/ 5197974 w 6096001"/>
              <a:gd name="connsiteY663" fmla="*/ 4026803 h 5392467"/>
              <a:gd name="connsiteX664" fmla="*/ 5199907 w 6096001"/>
              <a:gd name="connsiteY664" fmla="*/ 4026803 h 5392467"/>
              <a:gd name="connsiteX665" fmla="*/ 5206097 w 6096001"/>
              <a:gd name="connsiteY665" fmla="*/ 4028350 h 5392467"/>
              <a:gd name="connsiteX666" fmla="*/ 5203775 w 6096001"/>
              <a:gd name="connsiteY666" fmla="*/ 4030671 h 5392467"/>
              <a:gd name="connsiteX667" fmla="*/ 5204792 w 6096001"/>
              <a:gd name="connsiteY667" fmla="*/ 4030875 h 5392467"/>
              <a:gd name="connsiteX668" fmla="*/ 5199907 w 6096001"/>
              <a:gd name="connsiteY668" fmla="*/ 4034539 h 5392467"/>
              <a:gd name="connsiteX669" fmla="*/ 5197974 w 6096001"/>
              <a:gd name="connsiteY669" fmla="*/ 4034539 h 5392467"/>
              <a:gd name="connsiteX670" fmla="*/ 5178633 w 6096001"/>
              <a:gd name="connsiteY670" fmla="*/ 4042276 h 5392467"/>
              <a:gd name="connsiteX671" fmla="*/ 5153488 w 6096001"/>
              <a:gd name="connsiteY671" fmla="*/ 4046144 h 5392467"/>
              <a:gd name="connsiteX672" fmla="*/ 5134149 w 6096001"/>
              <a:gd name="connsiteY672" fmla="*/ 4055814 h 5392467"/>
              <a:gd name="connsiteX673" fmla="*/ 5101268 w 6096001"/>
              <a:gd name="connsiteY673" fmla="*/ 4065483 h 5392467"/>
              <a:gd name="connsiteX674" fmla="*/ 5103200 w 6096001"/>
              <a:gd name="connsiteY674" fmla="*/ 4069354 h 5392467"/>
              <a:gd name="connsiteX675" fmla="*/ 5097399 w 6096001"/>
              <a:gd name="connsiteY675" fmla="*/ 4071287 h 5392467"/>
              <a:gd name="connsiteX676" fmla="*/ 5095466 w 6096001"/>
              <a:gd name="connsiteY676" fmla="*/ 4069354 h 5392467"/>
              <a:gd name="connsiteX677" fmla="*/ 5097399 w 6096001"/>
              <a:gd name="connsiteY677" fmla="*/ 4067418 h 5392467"/>
              <a:gd name="connsiteX678" fmla="*/ 5047114 w 6096001"/>
              <a:gd name="connsiteY678" fmla="*/ 4082891 h 5392467"/>
              <a:gd name="connsiteX679" fmla="*/ 5025838 w 6096001"/>
              <a:gd name="connsiteY679" fmla="*/ 4088693 h 5392467"/>
              <a:gd name="connsiteX680" fmla="*/ 5020037 w 6096001"/>
              <a:gd name="connsiteY680" fmla="*/ 4090628 h 5392467"/>
              <a:gd name="connsiteX681" fmla="*/ 5021969 w 6096001"/>
              <a:gd name="connsiteY681" fmla="*/ 4092561 h 5392467"/>
              <a:gd name="connsiteX682" fmla="*/ 5095466 w 6096001"/>
              <a:gd name="connsiteY682" fmla="*/ 4080959 h 5392467"/>
              <a:gd name="connsiteX683" fmla="*/ 5138017 w 6096001"/>
              <a:gd name="connsiteY683" fmla="*/ 4075155 h 5392467"/>
              <a:gd name="connsiteX684" fmla="*/ 5139950 w 6096001"/>
              <a:gd name="connsiteY684" fmla="*/ 4075155 h 5392467"/>
              <a:gd name="connsiteX685" fmla="*/ 5145751 w 6096001"/>
              <a:gd name="connsiteY685" fmla="*/ 4073222 h 5392467"/>
              <a:gd name="connsiteX686" fmla="*/ 5151555 w 6096001"/>
              <a:gd name="connsiteY686" fmla="*/ 4071287 h 5392467"/>
              <a:gd name="connsiteX687" fmla="*/ 5186369 w 6096001"/>
              <a:gd name="connsiteY687" fmla="*/ 4065483 h 5392467"/>
              <a:gd name="connsiteX688" fmla="*/ 5199907 w 6096001"/>
              <a:gd name="connsiteY688" fmla="*/ 4059682 h 5392467"/>
              <a:gd name="connsiteX689" fmla="*/ 5211512 w 6096001"/>
              <a:gd name="connsiteY689" fmla="*/ 4050013 h 5392467"/>
              <a:gd name="connsiteX690" fmla="*/ 5226985 w 6096001"/>
              <a:gd name="connsiteY690" fmla="*/ 4046144 h 5392467"/>
              <a:gd name="connsiteX691" fmla="*/ 5234721 w 6096001"/>
              <a:gd name="connsiteY691" fmla="*/ 4044209 h 5392467"/>
              <a:gd name="connsiteX692" fmla="*/ 5255995 w 6096001"/>
              <a:gd name="connsiteY692" fmla="*/ 4038408 h 5392467"/>
              <a:gd name="connsiteX693" fmla="*/ 5285008 w 6096001"/>
              <a:gd name="connsiteY693" fmla="*/ 4030671 h 5392467"/>
              <a:gd name="connsiteX694" fmla="*/ 5246326 w 6096001"/>
              <a:gd name="connsiteY694" fmla="*/ 4034539 h 5392467"/>
              <a:gd name="connsiteX695" fmla="*/ 5223116 w 6096001"/>
              <a:gd name="connsiteY695" fmla="*/ 4030671 h 5392467"/>
              <a:gd name="connsiteX696" fmla="*/ 5213445 w 6096001"/>
              <a:gd name="connsiteY696" fmla="*/ 4032604 h 5392467"/>
              <a:gd name="connsiteX697" fmla="*/ 5204792 w 6096001"/>
              <a:gd name="connsiteY697" fmla="*/ 4030875 h 5392467"/>
              <a:gd name="connsiteX698" fmla="*/ 5207643 w 6096001"/>
              <a:gd name="connsiteY698" fmla="*/ 4028736 h 5392467"/>
              <a:gd name="connsiteX699" fmla="*/ 5206097 w 6096001"/>
              <a:gd name="connsiteY699" fmla="*/ 4028350 h 5392467"/>
              <a:gd name="connsiteX700" fmla="*/ 5207643 w 6096001"/>
              <a:gd name="connsiteY700" fmla="*/ 4026803 h 5392467"/>
              <a:gd name="connsiteX701" fmla="*/ 5232786 w 6096001"/>
              <a:gd name="connsiteY701" fmla="*/ 4015198 h 5392467"/>
              <a:gd name="connsiteX702" fmla="*/ 5238589 w 6096001"/>
              <a:gd name="connsiteY702" fmla="*/ 4015198 h 5392467"/>
              <a:gd name="connsiteX703" fmla="*/ 5250194 w 6096001"/>
              <a:gd name="connsiteY703" fmla="*/ 4015198 h 5392467"/>
              <a:gd name="connsiteX704" fmla="*/ 5236654 w 6096001"/>
              <a:gd name="connsiteY704" fmla="*/ 4024868 h 5392467"/>
              <a:gd name="connsiteX705" fmla="*/ 5252127 w 6096001"/>
              <a:gd name="connsiteY705" fmla="*/ 4020999 h 5392467"/>
              <a:gd name="connsiteX706" fmla="*/ 5257931 w 6096001"/>
              <a:gd name="connsiteY706" fmla="*/ 4020999 h 5392467"/>
              <a:gd name="connsiteX707" fmla="*/ 5279205 w 6096001"/>
              <a:gd name="connsiteY707" fmla="*/ 4020999 h 5392467"/>
              <a:gd name="connsiteX708" fmla="*/ 5306283 w 6096001"/>
              <a:gd name="connsiteY708" fmla="*/ 4015198 h 5392467"/>
              <a:gd name="connsiteX709" fmla="*/ 5317887 w 6096001"/>
              <a:gd name="connsiteY709" fmla="*/ 4015198 h 5392467"/>
              <a:gd name="connsiteX710" fmla="*/ 5362371 w 6096001"/>
              <a:gd name="connsiteY710" fmla="*/ 4009395 h 5392467"/>
              <a:gd name="connsiteX711" fmla="*/ 5368175 w 6096001"/>
              <a:gd name="connsiteY711" fmla="*/ 3993922 h 5392467"/>
              <a:gd name="connsiteX712" fmla="*/ 5370108 w 6096001"/>
              <a:gd name="connsiteY712" fmla="*/ 3991989 h 5392467"/>
              <a:gd name="connsiteX713" fmla="*/ 5416527 w 6096001"/>
              <a:gd name="connsiteY713" fmla="*/ 3984252 h 5392467"/>
              <a:gd name="connsiteX714" fmla="*/ 5437803 w 6096001"/>
              <a:gd name="connsiteY714" fmla="*/ 3980384 h 5392467"/>
              <a:gd name="connsiteX715" fmla="*/ 5482287 w 6096001"/>
              <a:gd name="connsiteY715" fmla="*/ 3976516 h 5392467"/>
              <a:gd name="connsiteX716" fmla="*/ 5482287 w 6096001"/>
              <a:gd name="connsiteY716" fmla="*/ 3974583 h 5392467"/>
              <a:gd name="connsiteX717" fmla="*/ 5445537 w 6096001"/>
              <a:gd name="connsiteY717" fmla="*/ 3976516 h 5392467"/>
              <a:gd name="connsiteX718" fmla="*/ 5484220 w 6096001"/>
              <a:gd name="connsiteY718" fmla="*/ 3970714 h 5392467"/>
              <a:gd name="connsiteX719" fmla="*/ 5490021 w 6096001"/>
              <a:gd name="connsiteY719" fmla="*/ 3966846 h 5392467"/>
              <a:gd name="connsiteX720" fmla="*/ 5486155 w 6096001"/>
              <a:gd name="connsiteY720" fmla="*/ 3966846 h 5392467"/>
              <a:gd name="connsiteX721" fmla="*/ 5490021 w 6096001"/>
              <a:gd name="connsiteY721" fmla="*/ 3962978 h 5392467"/>
              <a:gd name="connsiteX722" fmla="*/ 5495825 w 6096001"/>
              <a:gd name="connsiteY722" fmla="*/ 3961043 h 5392467"/>
              <a:gd name="connsiteX723" fmla="*/ 5499693 w 6096001"/>
              <a:gd name="connsiteY723" fmla="*/ 3961043 h 5392467"/>
              <a:gd name="connsiteX724" fmla="*/ 5501628 w 6096001"/>
              <a:gd name="connsiteY724" fmla="*/ 3961043 h 5392467"/>
              <a:gd name="connsiteX725" fmla="*/ 5519034 w 6096001"/>
              <a:gd name="connsiteY725" fmla="*/ 3961043 h 5392467"/>
              <a:gd name="connsiteX726" fmla="*/ 5517099 w 6096001"/>
              <a:gd name="connsiteY726" fmla="*/ 3957174 h 5392467"/>
              <a:gd name="connsiteX727" fmla="*/ 5501628 w 6096001"/>
              <a:gd name="connsiteY727" fmla="*/ 3957174 h 5392467"/>
              <a:gd name="connsiteX728" fmla="*/ 5482287 w 6096001"/>
              <a:gd name="connsiteY728" fmla="*/ 3957174 h 5392467"/>
              <a:gd name="connsiteX729" fmla="*/ 5472615 w 6096001"/>
              <a:gd name="connsiteY729" fmla="*/ 3957174 h 5392467"/>
              <a:gd name="connsiteX730" fmla="*/ 5134149 w 6096001"/>
              <a:gd name="connsiteY730" fmla="*/ 3951373 h 5392467"/>
              <a:gd name="connsiteX731" fmla="*/ 5128345 w 6096001"/>
              <a:gd name="connsiteY731" fmla="*/ 3959110 h 5392467"/>
              <a:gd name="connsiteX732" fmla="*/ 5130281 w 6096001"/>
              <a:gd name="connsiteY732" fmla="*/ 3957174 h 5392467"/>
              <a:gd name="connsiteX733" fmla="*/ 5138017 w 6096001"/>
              <a:gd name="connsiteY733" fmla="*/ 3955241 h 5392467"/>
              <a:gd name="connsiteX734" fmla="*/ 5134149 w 6096001"/>
              <a:gd name="connsiteY734" fmla="*/ 3951373 h 5392467"/>
              <a:gd name="connsiteX735" fmla="*/ 5602201 w 6096001"/>
              <a:gd name="connsiteY735" fmla="*/ 3947505 h 5392467"/>
              <a:gd name="connsiteX736" fmla="*/ 5590596 w 6096001"/>
              <a:gd name="connsiteY736" fmla="*/ 3959110 h 5392467"/>
              <a:gd name="connsiteX737" fmla="*/ 5621542 w 6096001"/>
              <a:gd name="connsiteY737" fmla="*/ 3951373 h 5392467"/>
              <a:gd name="connsiteX738" fmla="*/ 5611872 w 6096001"/>
              <a:gd name="connsiteY738" fmla="*/ 3949438 h 5392467"/>
              <a:gd name="connsiteX739" fmla="*/ 5602201 w 6096001"/>
              <a:gd name="connsiteY739" fmla="*/ 3947505 h 5392467"/>
              <a:gd name="connsiteX740" fmla="*/ 5472615 w 6096001"/>
              <a:gd name="connsiteY740" fmla="*/ 3945570 h 5392467"/>
              <a:gd name="connsiteX741" fmla="*/ 5443604 w 6096001"/>
              <a:gd name="connsiteY741" fmla="*/ 3947505 h 5392467"/>
              <a:gd name="connsiteX742" fmla="*/ 5430064 w 6096001"/>
              <a:gd name="connsiteY742" fmla="*/ 3949438 h 5392467"/>
              <a:gd name="connsiteX743" fmla="*/ 5466814 w 6096001"/>
              <a:gd name="connsiteY743" fmla="*/ 3949438 h 5392467"/>
              <a:gd name="connsiteX744" fmla="*/ 5474551 w 6096001"/>
              <a:gd name="connsiteY744" fmla="*/ 3947505 h 5392467"/>
              <a:gd name="connsiteX745" fmla="*/ 5472615 w 6096001"/>
              <a:gd name="connsiteY745" fmla="*/ 3945570 h 5392467"/>
              <a:gd name="connsiteX746" fmla="*/ 5395252 w 6096001"/>
              <a:gd name="connsiteY746" fmla="*/ 3945570 h 5392467"/>
              <a:gd name="connsiteX747" fmla="*/ 5385581 w 6096001"/>
              <a:gd name="connsiteY747" fmla="*/ 3947505 h 5392467"/>
              <a:gd name="connsiteX748" fmla="*/ 5391384 w 6096001"/>
              <a:gd name="connsiteY748" fmla="*/ 3947505 h 5392467"/>
              <a:gd name="connsiteX749" fmla="*/ 5395252 w 6096001"/>
              <a:gd name="connsiteY749" fmla="*/ 3945570 h 5392467"/>
              <a:gd name="connsiteX750" fmla="*/ 5491956 w 6096001"/>
              <a:gd name="connsiteY750" fmla="*/ 3943637 h 5392467"/>
              <a:gd name="connsiteX751" fmla="*/ 5491956 w 6096001"/>
              <a:gd name="connsiteY751" fmla="*/ 3945570 h 5392467"/>
              <a:gd name="connsiteX752" fmla="*/ 5493889 w 6096001"/>
              <a:gd name="connsiteY752" fmla="*/ 3945570 h 5392467"/>
              <a:gd name="connsiteX753" fmla="*/ 5495825 w 6096001"/>
              <a:gd name="connsiteY753" fmla="*/ 3943637 h 5392467"/>
              <a:gd name="connsiteX754" fmla="*/ 5491956 w 6096001"/>
              <a:gd name="connsiteY754" fmla="*/ 3943637 h 5392467"/>
              <a:gd name="connsiteX755" fmla="*/ 5211512 w 6096001"/>
              <a:gd name="connsiteY755" fmla="*/ 3943637 h 5392467"/>
              <a:gd name="connsiteX756" fmla="*/ 5197974 w 6096001"/>
              <a:gd name="connsiteY756" fmla="*/ 3947505 h 5392467"/>
              <a:gd name="connsiteX757" fmla="*/ 5199907 w 6096001"/>
              <a:gd name="connsiteY757" fmla="*/ 3953306 h 5392467"/>
              <a:gd name="connsiteX758" fmla="*/ 5201842 w 6096001"/>
              <a:gd name="connsiteY758" fmla="*/ 3953306 h 5392467"/>
              <a:gd name="connsiteX759" fmla="*/ 5228918 w 6096001"/>
              <a:gd name="connsiteY759" fmla="*/ 3943637 h 5392467"/>
              <a:gd name="connsiteX760" fmla="*/ 5211512 w 6096001"/>
              <a:gd name="connsiteY760" fmla="*/ 3943637 h 5392467"/>
              <a:gd name="connsiteX761" fmla="*/ 5716313 w 6096001"/>
              <a:gd name="connsiteY761" fmla="*/ 3941701 h 5392467"/>
              <a:gd name="connsiteX762" fmla="*/ 5720181 w 6096001"/>
              <a:gd name="connsiteY762" fmla="*/ 3941701 h 5392467"/>
              <a:gd name="connsiteX763" fmla="*/ 5720181 w 6096001"/>
              <a:gd name="connsiteY763" fmla="*/ 3943637 h 5392467"/>
              <a:gd name="connsiteX764" fmla="*/ 5716313 w 6096001"/>
              <a:gd name="connsiteY764" fmla="*/ 3941701 h 5392467"/>
              <a:gd name="connsiteX765" fmla="*/ 5679566 w 6096001"/>
              <a:gd name="connsiteY765" fmla="*/ 3939768 h 5392467"/>
              <a:gd name="connsiteX766" fmla="*/ 5681499 w 6096001"/>
              <a:gd name="connsiteY766" fmla="*/ 3941701 h 5392467"/>
              <a:gd name="connsiteX767" fmla="*/ 5691168 w 6096001"/>
              <a:gd name="connsiteY767" fmla="*/ 3939768 h 5392467"/>
              <a:gd name="connsiteX768" fmla="*/ 5679566 w 6096001"/>
              <a:gd name="connsiteY768" fmla="*/ 3939768 h 5392467"/>
              <a:gd name="connsiteX769" fmla="*/ 5132214 w 6096001"/>
              <a:gd name="connsiteY769" fmla="*/ 3933965 h 5392467"/>
              <a:gd name="connsiteX770" fmla="*/ 5124477 w 6096001"/>
              <a:gd name="connsiteY770" fmla="*/ 3935900 h 5392467"/>
              <a:gd name="connsiteX771" fmla="*/ 5124475 w 6096001"/>
              <a:gd name="connsiteY771" fmla="*/ 3935900 h 5392467"/>
              <a:gd name="connsiteX772" fmla="*/ 5350766 w 6096001"/>
              <a:gd name="connsiteY772" fmla="*/ 3930097 h 5392467"/>
              <a:gd name="connsiteX773" fmla="*/ 5335293 w 6096001"/>
              <a:gd name="connsiteY773" fmla="*/ 3935900 h 5392467"/>
              <a:gd name="connsiteX774" fmla="*/ 5358503 w 6096001"/>
              <a:gd name="connsiteY774" fmla="*/ 3935900 h 5392467"/>
              <a:gd name="connsiteX775" fmla="*/ 5360438 w 6096001"/>
              <a:gd name="connsiteY775" fmla="*/ 3935900 h 5392467"/>
              <a:gd name="connsiteX776" fmla="*/ 5366239 w 6096001"/>
              <a:gd name="connsiteY776" fmla="*/ 3935900 h 5392467"/>
              <a:gd name="connsiteX777" fmla="*/ 5373976 w 6096001"/>
              <a:gd name="connsiteY777" fmla="*/ 3933965 h 5392467"/>
              <a:gd name="connsiteX778" fmla="*/ 5370108 w 6096001"/>
              <a:gd name="connsiteY778" fmla="*/ 3932032 h 5392467"/>
              <a:gd name="connsiteX779" fmla="*/ 5350766 w 6096001"/>
              <a:gd name="connsiteY779" fmla="*/ 3930097 h 5392467"/>
              <a:gd name="connsiteX780" fmla="*/ 5393317 w 6096001"/>
              <a:gd name="connsiteY780" fmla="*/ 3924295 h 5392467"/>
              <a:gd name="connsiteX781" fmla="*/ 5381712 w 6096001"/>
              <a:gd name="connsiteY781" fmla="*/ 3926228 h 5392467"/>
              <a:gd name="connsiteX782" fmla="*/ 5385581 w 6096001"/>
              <a:gd name="connsiteY782" fmla="*/ 3930097 h 5392467"/>
              <a:gd name="connsiteX783" fmla="*/ 5399121 w 6096001"/>
              <a:gd name="connsiteY783" fmla="*/ 3928164 h 5392467"/>
              <a:gd name="connsiteX784" fmla="*/ 5393317 w 6096001"/>
              <a:gd name="connsiteY784" fmla="*/ 3924295 h 5392467"/>
              <a:gd name="connsiteX785" fmla="*/ 5492736 w 6096001"/>
              <a:gd name="connsiteY785" fmla="*/ 3920206 h 5392467"/>
              <a:gd name="connsiteX786" fmla="*/ 5495825 w 6096001"/>
              <a:gd name="connsiteY786" fmla="*/ 3920427 h 5392467"/>
              <a:gd name="connsiteX787" fmla="*/ 5496049 w 6096001"/>
              <a:gd name="connsiteY787" fmla="*/ 3922450 h 5392467"/>
              <a:gd name="connsiteX788" fmla="*/ 5495825 w 6096001"/>
              <a:gd name="connsiteY788" fmla="*/ 3922360 h 5392467"/>
              <a:gd name="connsiteX789" fmla="*/ 5493889 w 6096001"/>
              <a:gd name="connsiteY789" fmla="*/ 3922360 h 5392467"/>
              <a:gd name="connsiteX790" fmla="*/ 5368175 w 6096001"/>
              <a:gd name="connsiteY790" fmla="*/ 3914624 h 5392467"/>
              <a:gd name="connsiteX791" fmla="*/ 5367745 w 6096001"/>
              <a:gd name="connsiteY791" fmla="*/ 3915053 h 5392467"/>
              <a:gd name="connsiteX792" fmla="*/ 5327559 w 6096001"/>
              <a:gd name="connsiteY792" fmla="*/ 3922360 h 5392467"/>
              <a:gd name="connsiteX793" fmla="*/ 5339162 w 6096001"/>
              <a:gd name="connsiteY793" fmla="*/ 3920427 h 5392467"/>
              <a:gd name="connsiteX794" fmla="*/ 5341097 w 6096001"/>
              <a:gd name="connsiteY794" fmla="*/ 3920427 h 5392467"/>
              <a:gd name="connsiteX795" fmla="*/ 5343030 w 6096001"/>
              <a:gd name="connsiteY795" fmla="*/ 3920427 h 5392467"/>
              <a:gd name="connsiteX796" fmla="*/ 5364306 w 6096001"/>
              <a:gd name="connsiteY796" fmla="*/ 3918492 h 5392467"/>
              <a:gd name="connsiteX797" fmla="*/ 5367745 w 6096001"/>
              <a:gd name="connsiteY797" fmla="*/ 3915053 h 5392467"/>
              <a:gd name="connsiteX798" fmla="*/ 5370108 w 6096001"/>
              <a:gd name="connsiteY798" fmla="*/ 3914624 h 5392467"/>
              <a:gd name="connsiteX799" fmla="*/ 5368175 w 6096001"/>
              <a:gd name="connsiteY799" fmla="*/ 3914624 h 5392467"/>
              <a:gd name="connsiteX800" fmla="*/ 5503561 w 6096001"/>
              <a:gd name="connsiteY800" fmla="*/ 3899153 h 5392467"/>
              <a:gd name="connsiteX801" fmla="*/ 5503561 w 6096001"/>
              <a:gd name="connsiteY801" fmla="*/ 3901086 h 5392467"/>
              <a:gd name="connsiteX802" fmla="*/ 5507430 w 6096001"/>
              <a:gd name="connsiteY802" fmla="*/ 3899153 h 5392467"/>
              <a:gd name="connsiteX803" fmla="*/ 5505497 w 6096001"/>
              <a:gd name="connsiteY803" fmla="*/ 3899153 h 5392467"/>
              <a:gd name="connsiteX804" fmla="*/ 5503561 w 6096001"/>
              <a:gd name="connsiteY804" fmla="*/ 3899153 h 5392467"/>
              <a:gd name="connsiteX805" fmla="*/ 5549980 w 6096001"/>
              <a:gd name="connsiteY805" fmla="*/ 3897218 h 5392467"/>
              <a:gd name="connsiteX806" fmla="*/ 5538376 w 6096001"/>
              <a:gd name="connsiteY806" fmla="*/ 3899153 h 5392467"/>
              <a:gd name="connsiteX807" fmla="*/ 5530639 w 6096001"/>
              <a:gd name="connsiteY807" fmla="*/ 3903019 h 5392467"/>
              <a:gd name="connsiteX808" fmla="*/ 5526771 w 6096001"/>
              <a:gd name="connsiteY808" fmla="*/ 3906887 h 5392467"/>
              <a:gd name="connsiteX809" fmla="*/ 5505497 w 6096001"/>
              <a:gd name="connsiteY809" fmla="*/ 3901086 h 5392467"/>
              <a:gd name="connsiteX810" fmla="*/ 5484220 w 6096001"/>
              <a:gd name="connsiteY810" fmla="*/ 3910755 h 5392467"/>
              <a:gd name="connsiteX811" fmla="*/ 5476483 w 6096001"/>
              <a:gd name="connsiteY811" fmla="*/ 3910755 h 5392467"/>
              <a:gd name="connsiteX812" fmla="*/ 5430064 w 6096001"/>
              <a:gd name="connsiteY812" fmla="*/ 3910755 h 5392467"/>
              <a:gd name="connsiteX813" fmla="*/ 5428131 w 6096001"/>
              <a:gd name="connsiteY813" fmla="*/ 3912691 h 5392467"/>
              <a:gd name="connsiteX814" fmla="*/ 5410723 w 6096001"/>
              <a:gd name="connsiteY814" fmla="*/ 3920427 h 5392467"/>
              <a:gd name="connsiteX815" fmla="*/ 5416527 w 6096001"/>
              <a:gd name="connsiteY815" fmla="*/ 3924295 h 5392467"/>
              <a:gd name="connsiteX816" fmla="*/ 5424263 w 6096001"/>
              <a:gd name="connsiteY816" fmla="*/ 3924295 h 5392467"/>
              <a:gd name="connsiteX817" fmla="*/ 5437803 w 6096001"/>
              <a:gd name="connsiteY817" fmla="*/ 3920427 h 5392467"/>
              <a:gd name="connsiteX818" fmla="*/ 5482287 w 6096001"/>
              <a:gd name="connsiteY818" fmla="*/ 3914624 h 5392467"/>
              <a:gd name="connsiteX819" fmla="*/ 5490264 w 6096001"/>
              <a:gd name="connsiteY819" fmla="*/ 3915592 h 5392467"/>
              <a:gd name="connsiteX820" fmla="*/ 5492736 w 6096001"/>
              <a:gd name="connsiteY820" fmla="*/ 3920206 h 5392467"/>
              <a:gd name="connsiteX821" fmla="*/ 5482287 w 6096001"/>
              <a:gd name="connsiteY821" fmla="*/ 3919460 h 5392467"/>
              <a:gd name="connsiteX822" fmla="*/ 5468747 w 6096001"/>
              <a:gd name="connsiteY822" fmla="*/ 3924295 h 5392467"/>
              <a:gd name="connsiteX823" fmla="*/ 5451341 w 6096001"/>
              <a:gd name="connsiteY823" fmla="*/ 3930097 h 5392467"/>
              <a:gd name="connsiteX824" fmla="*/ 5476483 w 6096001"/>
              <a:gd name="connsiteY824" fmla="*/ 3930097 h 5392467"/>
              <a:gd name="connsiteX825" fmla="*/ 5493889 w 6096001"/>
              <a:gd name="connsiteY825" fmla="*/ 3926228 h 5392467"/>
              <a:gd name="connsiteX826" fmla="*/ 5496308 w 6096001"/>
              <a:gd name="connsiteY826" fmla="*/ 3924778 h 5392467"/>
              <a:gd name="connsiteX827" fmla="*/ 5496049 w 6096001"/>
              <a:gd name="connsiteY827" fmla="*/ 3922450 h 5392467"/>
              <a:gd name="connsiteX828" fmla="*/ 5505497 w 6096001"/>
              <a:gd name="connsiteY828" fmla="*/ 3926228 h 5392467"/>
              <a:gd name="connsiteX829" fmla="*/ 5555781 w 6096001"/>
              <a:gd name="connsiteY829" fmla="*/ 3916559 h 5392467"/>
              <a:gd name="connsiteX830" fmla="*/ 5549980 w 6096001"/>
              <a:gd name="connsiteY830" fmla="*/ 3920427 h 5392467"/>
              <a:gd name="connsiteX831" fmla="*/ 5598332 w 6096001"/>
              <a:gd name="connsiteY831" fmla="*/ 3918492 h 5392467"/>
              <a:gd name="connsiteX832" fmla="*/ 5608002 w 6096001"/>
              <a:gd name="connsiteY832" fmla="*/ 3912691 h 5392467"/>
              <a:gd name="connsiteX833" fmla="*/ 5573190 w 6096001"/>
              <a:gd name="connsiteY833" fmla="*/ 3912691 h 5392467"/>
              <a:gd name="connsiteX834" fmla="*/ 5578991 w 6096001"/>
              <a:gd name="connsiteY834" fmla="*/ 3903019 h 5392467"/>
              <a:gd name="connsiteX835" fmla="*/ 5573190 w 6096001"/>
              <a:gd name="connsiteY835" fmla="*/ 3904954 h 5392467"/>
              <a:gd name="connsiteX836" fmla="*/ 5565453 w 6096001"/>
              <a:gd name="connsiteY836" fmla="*/ 3901086 h 5392467"/>
              <a:gd name="connsiteX837" fmla="*/ 5563518 w 6096001"/>
              <a:gd name="connsiteY837" fmla="*/ 3897218 h 5392467"/>
              <a:gd name="connsiteX838" fmla="*/ 5551913 w 6096001"/>
              <a:gd name="connsiteY838" fmla="*/ 3897218 h 5392467"/>
              <a:gd name="connsiteX839" fmla="*/ 5549980 w 6096001"/>
              <a:gd name="connsiteY839" fmla="*/ 3897218 h 5392467"/>
              <a:gd name="connsiteX840" fmla="*/ 5604133 w 6096001"/>
              <a:gd name="connsiteY840" fmla="*/ 3885613 h 5392467"/>
              <a:gd name="connsiteX841" fmla="*/ 5590596 w 6096001"/>
              <a:gd name="connsiteY841" fmla="*/ 3887548 h 5392467"/>
              <a:gd name="connsiteX842" fmla="*/ 5577056 w 6096001"/>
              <a:gd name="connsiteY842" fmla="*/ 3897218 h 5392467"/>
              <a:gd name="connsiteX843" fmla="*/ 5582859 w 6096001"/>
              <a:gd name="connsiteY843" fmla="*/ 3901086 h 5392467"/>
              <a:gd name="connsiteX844" fmla="*/ 5602201 w 6096001"/>
              <a:gd name="connsiteY844" fmla="*/ 3895282 h 5392467"/>
              <a:gd name="connsiteX845" fmla="*/ 5629278 w 6096001"/>
              <a:gd name="connsiteY845" fmla="*/ 3903019 h 5392467"/>
              <a:gd name="connsiteX846" fmla="*/ 5642816 w 6096001"/>
              <a:gd name="connsiteY846" fmla="*/ 3895282 h 5392467"/>
              <a:gd name="connsiteX847" fmla="*/ 5631211 w 6096001"/>
              <a:gd name="connsiteY847" fmla="*/ 3891414 h 5392467"/>
              <a:gd name="connsiteX848" fmla="*/ 5625410 w 6096001"/>
              <a:gd name="connsiteY848" fmla="*/ 3889481 h 5392467"/>
              <a:gd name="connsiteX849" fmla="*/ 5617674 w 6096001"/>
              <a:gd name="connsiteY849" fmla="*/ 3889481 h 5392467"/>
              <a:gd name="connsiteX850" fmla="*/ 5619607 w 6096001"/>
              <a:gd name="connsiteY850" fmla="*/ 3887548 h 5392467"/>
              <a:gd name="connsiteX851" fmla="*/ 5604133 w 6096001"/>
              <a:gd name="connsiteY851" fmla="*/ 3885613 h 5392467"/>
              <a:gd name="connsiteX852" fmla="*/ 5228918 w 6096001"/>
              <a:gd name="connsiteY852" fmla="*/ 3870140 h 5392467"/>
              <a:gd name="connsiteX853" fmla="*/ 5219248 w 6096001"/>
              <a:gd name="connsiteY853" fmla="*/ 3872075 h 5392467"/>
              <a:gd name="connsiteX854" fmla="*/ 5221183 w 6096001"/>
              <a:gd name="connsiteY854" fmla="*/ 3872075 h 5392467"/>
              <a:gd name="connsiteX855" fmla="*/ 5228918 w 6096001"/>
              <a:gd name="connsiteY855" fmla="*/ 3870140 h 5392467"/>
              <a:gd name="connsiteX856" fmla="*/ 5443604 w 6096001"/>
              <a:gd name="connsiteY856" fmla="*/ 3862403 h 5392467"/>
              <a:gd name="connsiteX857" fmla="*/ 5441669 w 6096001"/>
              <a:gd name="connsiteY857" fmla="*/ 3864339 h 5392467"/>
              <a:gd name="connsiteX858" fmla="*/ 5445537 w 6096001"/>
              <a:gd name="connsiteY858" fmla="*/ 3864339 h 5392467"/>
              <a:gd name="connsiteX859" fmla="*/ 5443604 w 6096001"/>
              <a:gd name="connsiteY859" fmla="*/ 3862403 h 5392467"/>
              <a:gd name="connsiteX860" fmla="*/ 5478177 w 6096001"/>
              <a:gd name="connsiteY860" fmla="*/ 3853701 h 5392467"/>
              <a:gd name="connsiteX861" fmla="*/ 5461010 w 6096001"/>
              <a:gd name="connsiteY861" fmla="*/ 3858535 h 5392467"/>
              <a:gd name="connsiteX862" fmla="*/ 5474551 w 6096001"/>
              <a:gd name="connsiteY862" fmla="*/ 3858535 h 5392467"/>
              <a:gd name="connsiteX863" fmla="*/ 5493889 w 6096001"/>
              <a:gd name="connsiteY863" fmla="*/ 3854667 h 5392467"/>
              <a:gd name="connsiteX864" fmla="*/ 5478177 w 6096001"/>
              <a:gd name="connsiteY864" fmla="*/ 3853701 h 5392467"/>
              <a:gd name="connsiteX865" fmla="*/ 5422328 w 6096001"/>
              <a:gd name="connsiteY865" fmla="*/ 3848866 h 5392467"/>
              <a:gd name="connsiteX866" fmla="*/ 5424263 w 6096001"/>
              <a:gd name="connsiteY866" fmla="*/ 3848866 h 5392467"/>
              <a:gd name="connsiteX867" fmla="*/ 5424263 w 6096001"/>
              <a:gd name="connsiteY867" fmla="*/ 3850798 h 5392467"/>
              <a:gd name="connsiteX868" fmla="*/ 5422328 w 6096001"/>
              <a:gd name="connsiteY868" fmla="*/ 3848866 h 5392467"/>
              <a:gd name="connsiteX869" fmla="*/ 5399121 w 6096001"/>
              <a:gd name="connsiteY869" fmla="*/ 3844997 h 5392467"/>
              <a:gd name="connsiteX870" fmla="*/ 5385581 w 6096001"/>
              <a:gd name="connsiteY870" fmla="*/ 3846930 h 5392467"/>
              <a:gd name="connsiteX871" fmla="*/ 5327559 w 6096001"/>
              <a:gd name="connsiteY871" fmla="*/ 3860470 h 5392467"/>
              <a:gd name="connsiteX872" fmla="*/ 5317887 w 6096001"/>
              <a:gd name="connsiteY872" fmla="*/ 3862403 h 5392467"/>
              <a:gd name="connsiteX873" fmla="*/ 5314019 w 6096001"/>
              <a:gd name="connsiteY873" fmla="*/ 3852734 h 5392467"/>
              <a:gd name="connsiteX874" fmla="*/ 5315952 w 6096001"/>
              <a:gd name="connsiteY874" fmla="*/ 3848866 h 5392467"/>
              <a:gd name="connsiteX875" fmla="*/ 5314019 w 6096001"/>
              <a:gd name="connsiteY875" fmla="*/ 3848866 h 5392467"/>
              <a:gd name="connsiteX876" fmla="*/ 5283073 w 6096001"/>
              <a:gd name="connsiteY876" fmla="*/ 3854667 h 5392467"/>
              <a:gd name="connsiteX877" fmla="*/ 5255995 w 6096001"/>
              <a:gd name="connsiteY877" fmla="*/ 3862403 h 5392467"/>
              <a:gd name="connsiteX878" fmla="*/ 5236654 w 6096001"/>
              <a:gd name="connsiteY878" fmla="*/ 3872075 h 5392467"/>
              <a:gd name="connsiteX879" fmla="*/ 5184434 w 6096001"/>
              <a:gd name="connsiteY879" fmla="*/ 3885613 h 5392467"/>
              <a:gd name="connsiteX880" fmla="*/ 5180566 w 6096001"/>
              <a:gd name="connsiteY880" fmla="*/ 3885613 h 5392467"/>
              <a:gd name="connsiteX881" fmla="*/ 5155423 w 6096001"/>
              <a:gd name="connsiteY881" fmla="*/ 3891414 h 5392467"/>
              <a:gd name="connsiteX882" fmla="*/ 5147687 w 6096001"/>
              <a:gd name="connsiteY882" fmla="*/ 3893349 h 5392467"/>
              <a:gd name="connsiteX883" fmla="*/ 5155423 w 6096001"/>
              <a:gd name="connsiteY883" fmla="*/ 3897218 h 5392467"/>
              <a:gd name="connsiteX884" fmla="*/ 5145751 w 6096001"/>
              <a:gd name="connsiteY884" fmla="*/ 3904954 h 5392467"/>
              <a:gd name="connsiteX885" fmla="*/ 5155423 w 6096001"/>
              <a:gd name="connsiteY885" fmla="*/ 3906887 h 5392467"/>
              <a:gd name="connsiteX886" fmla="*/ 5153488 w 6096001"/>
              <a:gd name="connsiteY886" fmla="*/ 3908822 h 5392467"/>
              <a:gd name="connsiteX887" fmla="*/ 5124477 w 6096001"/>
              <a:gd name="connsiteY887" fmla="*/ 3918492 h 5392467"/>
              <a:gd name="connsiteX888" fmla="*/ 5097399 w 6096001"/>
              <a:gd name="connsiteY888" fmla="*/ 3926228 h 5392467"/>
              <a:gd name="connsiteX889" fmla="*/ 5132214 w 6096001"/>
              <a:gd name="connsiteY889" fmla="*/ 3926228 h 5392467"/>
              <a:gd name="connsiteX890" fmla="*/ 5147687 w 6096001"/>
              <a:gd name="connsiteY890" fmla="*/ 3928164 h 5392467"/>
              <a:gd name="connsiteX891" fmla="*/ 5146929 w 6096001"/>
              <a:gd name="connsiteY891" fmla="*/ 3928488 h 5392467"/>
              <a:gd name="connsiteX892" fmla="*/ 5137774 w 6096001"/>
              <a:gd name="connsiteY892" fmla="*/ 3929131 h 5392467"/>
              <a:gd name="connsiteX893" fmla="*/ 5122542 w 6096001"/>
              <a:gd name="connsiteY893" fmla="*/ 3935900 h 5392467"/>
              <a:gd name="connsiteX894" fmla="*/ 5124475 w 6096001"/>
              <a:gd name="connsiteY894" fmla="*/ 3935900 h 5392467"/>
              <a:gd name="connsiteX895" fmla="*/ 5109004 w 6096001"/>
              <a:gd name="connsiteY895" fmla="*/ 3939768 h 5392467"/>
              <a:gd name="connsiteX896" fmla="*/ 5108290 w 6096001"/>
              <a:gd name="connsiteY896" fmla="*/ 3941911 h 5392467"/>
              <a:gd name="connsiteX897" fmla="*/ 5088581 w 6096001"/>
              <a:gd name="connsiteY897" fmla="*/ 3945339 h 5392467"/>
              <a:gd name="connsiteX898" fmla="*/ 5087730 w 6096001"/>
              <a:gd name="connsiteY898" fmla="*/ 3943637 h 5392467"/>
              <a:gd name="connsiteX899" fmla="*/ 5069255 w 6096001"/>
              <a:gd name="connsiteY899" fmla="*/ 3945483 h 5392467"/>
              <a:gd name="connsiteX900" fmla="*/ 5066453 w 6096001"/>
              <a:gd name="connsiteY900" fmla="*/ 3941701 h 5392467"/>
              <a:gd name="connsiteX901" fmla="*/ 5066453 w 6096001"/>
              <a:gd name="connsiteY901" fmla="*/ 3943637 h 5392467"/>
              <a:gd name="connsiteX902" fmla="*/ 5068389 w 6096001"/>
              <a:gd name="connsiteY902" fmla="*/ 3945570 h 5392467"/>
              <a:gd name="connsiteX903" fmla="*/ 5069255 w 6096001"/>
              <a:gd name="connsiteY903" fmla="*/ 3945483 h 5392467"/>
              <a:gd name="connsiteX904" fmla="*/ 5071290 w 6096001"/>
              <a:gd name="connsiteY904" fmla="*/ 3948230 h 5392467"/>
              <a:gd name="connsiteX905" fmla="*/ 5076125 w 6096001"/>
              <a:gd name="connsiteY905" fmla="*/ 3947505 h 5392467"/>
              <a:gd name="connsiteX906" fmla="*/ 5088581 w 6096001"/>
              <a:gd name="connsiteY906" fmla="*/ 3945339 h 5392467"/>
              <a:gd name="connsiteX907" fmla="*/ 5091598 w 6096001"/>
              <a:gd name="connsiteY907" fmla="*/ 3951373 h 5392467"/>
              <a:gd name="connsiteX908" fmla="*/ 5107071 w 6096001"/>
              <a:gd name="connsiteY908" fmla="*/ 3947505 h 5392467"/>
              <a:gd name="connsiteX909" fmla="*/ 5120609 w 6096001"/>
              <a:gd name="connsiteY909" fmla="*/ 3947505 h 5392467"/>
              <a:gd name="connsiteX910" fmla="*/ 5120609 w 6096001"/>
              <a:gd name="connsiteY910" fmla="*/ 3945570 h 5392467"/>
              <a:gd name="connsiteX911" fmla="*/ 5107071 w 6096001"/>
              <a:gd name="connsiteY911" fmla="*/ 3945570 h 5392467"/>
              <a:gd name="connsiteX912" fmla="*/ 5108290 w 6096001"/>
              <a:gd name="connsiteY912" fmla="*/ 3941911 h 5392467"/>
              <a:gd name="connsiteX913" fmla="*/ 5120609 w 6096001"/>
              <a:gd name="connsiteY913" fmla="*/ 3939768 h 5392467"/>
              <a:gd name="connsiteX914" fmla="*/ 5146929 w 6096001"/>
              <a:gd name="connsiteY914" fmla="*/ 3928488 h 5392467"/>
              <a:gd name="connsiteX915" fmla="*/ 5151555 w 6096001"/>
              <a:gd name="connsiteY915" fmla="*/ 3928164 h 5392467"/>
              <a:gd name="connsiteX916" fmla="*/ 5176697 w 6096001"/>
              <a:gd name="connsiteY916" fmla="*/ 3922360 h 5392467"/>
              <a:gd name="connsiteX917" fmla="*/ 5167028 w 6096001"/>
              <a:gd name="connsiteY917" fmla="*/ 3918492 h 5392467"/>
              <a:gd name="connsiteX918" fmla="*/ 5197974 w 6096001"/>
              <a:gd name="connsiteY918" fmla="*/ 3908822 h 5392467"/>
              <a:gd name="connsiteX919" fmla="*/ 5203775 w 6096001"/>
              <a:gd name="connsiteY919" fmla="*/ 3908822 h 5392467"/>
              <a:gd name="connsiteX920" fmla="*/ 5225052 w 6096001"/>
              <a:gd name="connsiteY920" fmla="*/ 3908822 h 5392467"/>
              <a:gd name="connsiteX921" fmla="*/ 5252127 w 6096001"/>
              <a:gd name="connsiteY921" fmla="*/ 3903019 h 5392467"/>
              <a:gd name="connsiteX922" fmla="*/ 5255995 w 6096001"/>
              <a:gd name="connsiteY922" fmla="*/ 3903019 h 5392467"/>
              <a:gd name="connsiteX923" fmla="*/ 5261799 w 6096001"/>
              <a:gd name="connsiteY923" fmla="*/ 3901086 h 5392467"/>
              <a:gd name="connsiteX924" fmla="*/ 5310151 w 6096001"/>
              <a:gd name="connsiteY924" fmla="*/ 3889481 h 5392467"/>
              <a:gd name="connsiteX925" fmla="*/ 5310151 w 6096001"/>
              <a:gd name="connsiteY925" fmla="*/ 3887548 h 5392467"/>
              <a:gd name="connsiteX926" fmla="*/ 5312086 w 6096001"/>
              <a:gd name="connsiteY926" fmla="*/ 3885613 h 5392467"/>
              <a:gd name="connsiteX927" fmla="*/ 5327559 w 6096001"/>
              <a:gd name="connsiteY927" fmla="*/ 3885613 h 5392467"/>
              <a:gd name="connsiteX928" fmla="*/ 5352702 w 6096001"/>
              <a:gd name="connsiteY928" fmla="*/ 3879812 h 5392467"/>
              <a:gd name="connsiteX929" fmla="*/ 5356570 w 6096001"/>
              <a:gd name="connsiteY929" fmla="*/ 3877876 h 5392467"/>
              <a:gd name="connsiteX930" fmla="*/ 5377844 w 6096001"/>
              <a:gd name="connsiteY930" fmla="*/ 3874008 h 5392467"/>
              <a:gd name="connsiteX931" fmla="*/ 5395252 w 6096001"/>
              <a:gd name="connsiteY931" fmla="*/ 3872075 h 5392467"/>
              <a:gd name="connsiteX932" fmla="*/ 5418462 w 6096001"/>
              <a:gd name="connsiteY932" fmla="*/ 3862403 h 5392467"/>
              <a:gd name="connsiteX933" fmla="*/ 5432000 w 6096001"/>
              <a:gd name="connsiteY933" fmla="*/ 3860470 h 5392467"/>
              <a:gd name="connsiteX934" fmla="*/ 5432000 w 6096001"/>
              <a:gd name="connsiteY934" fmla="*/ 3856602 h 5392467"/>
              <a:gd name="connsiteX935" fmla="*/ 5437803 w 6096001"/>
              <a:gd name="connsiteY935" fmla="*/ 3854667 h 5392467"/>
              <a:gd name="connsiteX936" fmla="*/ 5461010 w 6096001"/>
              <a:gd name="connsiteY936" fmla="*/ 3852734 h 5392467"/>
              <a:gd name="connsiteX937" fmla="*/ 5459078 w 6096001"/>
              <a:gd name="connsiteY937" fmla="*/ 3844997 h 5392467"/>
              <a:gd name="connsiteX938" fmla="*/ 5451341 w 6096001"/>
              <a:gd name="connsiteY938" fmla="*/ 3846930 h 5392467"/>
              <a:gd name="connsiteX939" fmla="*/ 5416527 w 6096001"/>
              <a:gd name="connsiteY939" fmla="*/ 3846930 h 5392467"/>
              <a:gd name="connsiteX940" fmla="*/ 5408790 w 6096001"/>
              <a:gd name="connsiteY940" fmla="*/ 3844997 h 5392467"/>
              <a:gd name="connsiteX941" fmla="*/ 5399121 w 6096001"/>
              <a:gd name="connsiteY941" fmla="*/ 3854667 h 5392467"/>
              <a:gd name="connsiteX942" fmla="*/ 5418462 w 6096001"/>
              <a:gd name="connsiteY942" fmla="*/ 3858535 h 5392467"/>
              <a:gd name="connsiteX943" fmla="*/ 5414594 w 6096001"/>
              <a:gd name="connsiteY943" fmla="*/ 3862403 h 5392467"/>
              <a:gd name="connsiteX944" fmla="*/ 5368175 w 6096001"/>
              <a:gd name="connsiteY944" fmla="*/ 3866272 h 5392467"/>
              <a:gd name="connsiteX945" fmla="*/ 5366239 w 6096001"/>
              <a:gd name="connsiteY945" fmla="*/ 3864339 h 5392467"/>
              <a:gd name="connsiteX946" fmla="*/ 5375911 w 6096001"/>
              <a:gd name="connsiteY946" fmla="*/ 3862403 h 5392467"/>
              <a:gd name="connsiteX947" fmla="*/ 5387514 w 6096001"/>
              <a:gd name="connsiteY947" fmla="*/ 3860470 h 5392467"/>
              <a:gd name="connsiteX948" fmla="*/ 5397185 w 6096001"/>
              <a:gd name="connsiteY948" fmla="*/ 3848866 h 5392467"/>
              <a:gd name="connsiteX949" fmla="*/ 5399121 w 6096001"/>
              <a:gd name="connsiteY949" fmla="*/ 3844997 h 5392467"/>
              <a:gd name="connsiteX950" fmla="*/ 5491956 w 6096001"/>
              <a:gd name="connsiteY950" fmla="*/ 3843062 h 5392467"/>
              <a:gd name="connsiteX951" fmla="*/ 5490021 w 6096001"/>
              <a:gd name="connsiteY951" fmla="*/ 3844997 h 5392467"/>
              <a:gd name="connsiteX952" fmla="*/ 5493889 w 6096001"/>
              <a:gd name="connsiteY952" fmla="*/ 3846930 h 5392467"/>
              <a:gd name="connsiteX953" fmla="*/ 5493889 w 6096001"/>
              <a:gd name="connsiteY953" fmla="*/ 3844997 h 5392467"/>
              <a:gd name="connsiteX954" fmla="*/ 5491956 w 6096001"/>
              <a:gd name="connsiteY954" fmla="*/ 3843062 h 5392467"/>
              <a:gd name="connsiteX955" fmla="*/ 5531847 w 6096001"/>
              <a:gd name="connsiteY955" fmla="*/ 3842579 h 5392467"/>
              <a:gd name="connsiteX956" fmla="*/ 5528704 w 6096001"/>
              <a:gd name="connsiteY956" fmla="*/ 3844997 h 5392467"/>
              <a:gd name="connsiteX957" fmla="*/ 5536440 w 6096001"/>
              <a:gd name="connsiteY957" fmla="*/ 3843062 h 5392467"/>
              <a:gd name="connsiteX958" fmla="*/ 5531847 w 6096001"/>
              <a:gd name="connsiteY958" fmla="*/ 3842579 h 5392467"/>
              <a:gd name="connsiteX959" fmla="*/ 5281140 w 6096001"/>
              <a:gd name="connsiteY959" fmla="*/ 3839194 h 5392467"/>
              <a:gd name="connsiteX960" fmla="*/ 5269535 w 6096001"/>
              <a:gd name="connsiteY960" fmla="*/ 3843062 h 5392467"/>
              <a:gd name="connsiteX961" fmla="*/ 5275337 w 6096001"/>
              <a:gd name="connsiteY961" fmla="*/ 3843062 h 5392467"/>
              <a:gd name="connsiteX962" fmla="*/ 5281140 w 6096001"/>
              <a:gd name="connsiteY962" fmla="*/ 3839194 h 5392467"/>
              <a:gd name="connsiteX963" fmla="*/ 5582859 w 6096001"/>
              <a:gd name="connsiteY963" fmla="*/ 3837261 h 5392467"/>
              <a:gd name="connsiteX964" fmla="*/ 5553849 w 6096001"/>
              <a:gd name="connsiteY964" fmla="*/ 3843062 h 5392467"/>
              <a:gd name="connsiteX965" fmla="*/ 5544177 w 6096001"/>
              <a:gd name="connsiteY965" fmla="*/ 3846930 h 5392467"/>
              <a:gd name="connsiteX966" fmla="*/ 5538376 w 6096001"/>
              <a:gd name="connsiteY966" fmla="*/ 3852734 h 5392467"/>
              <a:gd name="connsiteX967" fmla="*/ 5571255 w 6096001"/>
              <a:gd name="connsiteY967" fmla="*/ 3850798 h 5392467"/>
              <a:gd name="connsiteX968" fmla="*/ 5573190 w 6096001"/>
              <a:gd name="connsiteY968" fmla="*/ 3848866 h 5392467"/>
              <a:gd name="connsiteX969" fmla="*/ 5577056 w 6096001"/>
              <a:gd name="connsiteY969" fmla="*/ 3848866 h 5392467"/>
              <a:gd name="connsiteX970" fmla="*/ 5580924 w 6096001"/>
              <a:gd name="connsiteY970" fmla="*/ 3846930 h 5392467"/>
              <a:gd name="connsiteX971" fmla="*/ 5596397 w 6096001"/>
              <a:gd name="connsiteY971" fmla="*/ 3841129 h 5392467"/>
              <a:gd name="connsiteX972" fmla="*/ 5598332 w 6096001"/>
              <a:gd name="connsiteY972" fmla="*/ 3839194 h 5392467"/>
              <a:gd name="connsiteX973" fmla="*/ 5582859 w 6096001"/>
              <a:gd name="connsiteY973" fmla="*/ 3837261 h 5392467"/>
              <a:gd name="connsiteX974" fmla="*/ 5480352 w 6096001"/>
              <a:gd name="connsiteY974" fmla="*/ 3829524 h 5392467"/>
              <a:gd name="connsiteX975" fmla="*/ 5462946 w 6096001"/>
              <a:gd name="connsiteY975" fmla="*/ 3833393 h 5392467"/>
              <a:gd name="connsiteX976" fmla="*/ 5443604 w 6096001"/>
              <a:gd name="connsiteY976" fmla="*/ 3839194 h 5392467"/>
              <a:gd name="connsiteX977" fmla="*/ 5437803 w 6096001"/>
              <a:gd name="connsiteY977" fmla="*/ 3839194 h 5392467"/>
              <a:gd name="connsiteX978" fmla="*/ 5437803 w 6096001"/>
              <a:gd name="connsiteY978" fmla="*/ 3841129 h 5392467"/>
              <a:gd name="connsiteX979" fmla="*/ 5439736 w 6096001"/>
              <a:gd name="connsiteY979" fmla="*/ 3841129 h 5392467"/>
              <a:gd name="connsiteX980" fmla="*/ 5443604 w 6096001"/>
              <a:gd name="connsiteY980" fmla="*/ 3839194 h 5392467"/>
              <a:gd name="connsiteX981" fmla="*/ 5451341 w 6096001"/>
              <a:gd name="connsiteY981" fmla="*/ 3841129 h 5392467"/>
              <a:gd name="connsiteX982" fmla="*/ 5459078 w 6096001"/>
              <a:gd name="connsiteY982" fmla="*/ 3843062 h 5392467"/>
              <a:gd name="connsiteX983" fmla="*/ 5464879 w 6096001"/>
              <a:gd name="connsiteY983" fmla="*/ 3837261 h 5392467"/>
              <a:gd name="connsiteX984" fmla="*/ 5470680 w 6096001"/>
              <a:gd name="connsiteY984" fmla="*/ 3837261 h 5392467"/>
              <a:gd name="connsiteX985" fmla="*/ 5472615 w 6096001"/>
              <a:gd name="connsiteY985" fmla="*/ 3835325 h 5392467"/>
              <a:gd name="connsiteX986" fmla="*/ 5480352 w 6096001"/>
              <a:gd name="connsiteY986" fmla="*/ 3829524 h 5392467"/>
              <a:gd name="connsiteX987" fmla="*/ 5517099 w 6096001"/>
              <a:gd name="connsiteY987" fmla="*/ 3827589 h 5392467"/>
              <a:gd name="connsiteX988" fmla="*/ 5488088 w 6096001"/>
              <a:gd name="connsiteY988" fmla="*/ 3829524 h 5392467"/>
              <a:gd name="connsiteX989" fmla="*/ 5491956 w 6096001"/>
              <a:gd name="connsiteY989" fmla="*/ 3835325 h 5392467"/>
              <a:gd name="connsiteX990" fmla="*/ 5555781 w 6096001"/>
              <a:gd name="connsiteY990" fmla="*/ 3833393 h 5392467"/>
              <a:gd name="connsiteX991" fmla="*/ 5534507 w 6096001"/>
              <a:gd name="connsiteY991" fmla="*/ 3829524 h 5392467"/>
              <a:gd name="connsiteX992" fmla="*/ 5517099 w 6096001"/>
              <a:gd name="connsiteY992" fmla="*/ 3827589 h 5392467"/>
              <a:gd name="connsiteX993" fmla="*/ 5613805 w 6096001"/>
              <a:gd name="connsiteY993" fmla="*/ 3825656 h 5392467"/>
              <a:gd name="connsiteX994" fmla="*/ 5606069 w 6096001"/>
              <a:gd name="connsiteY994" fmla="*/ 3829524 h 5392467"/>
              <a:gd name="connsiteX995" fmla="*/ 5611872 w 6096001"/>
              <a:gd name="connsiteY995" fmla="*/ 3831457 h 5392467"/>
              <a:gd name="connsiteX996" fmla="*/ 5613805 w 6096001"/>
              <a:gd name="connsiteY996" fmla="*/ 3831457 h 5392467"/>
              <a:gd name="connsiteX997" fmla="*/ 5625410 w 6096001"/>
              <a:gd name="connsiteY997" fmla="*/ 3825656 h 5392467"/>
              <a:gd name="connsiteX998" fmla="*/ 5613805 w 6096001"/>
              <a:gd name="connsiteY998" fmla="*/ 3825656 h 5392467"/>
              <a:gd name="connsiteX999" fmla="*/ 5756928 w 6096001"/>
              <a:gd name="connsiteY999" fmla="*/ 3815984 h 5392467"/>
              <a:gd name="connsiteX1000" fmla="*/ 5756928 w 6096001"/>
              <a:gd name="connsiteY1000" fmla="*/ 3817919 h 5392467"/>
              <a:gd name="connsiteX1001" fmla="*/ 5762732 w 6096001"/>
              <a:gd name="connsiteY1001" fmla="*/ 3815984 h 5392467"/>
              <a:gd name="connsiteX1002" fmla="*/ 5756928 w 6096001"/>
              <a:gd name="connsiteY1002" fmla="*/ 3815984 h 5392467"/>
              <a:gd name="connsiteX1003" fmla="*/ 5548045 w 6096001"/>
              <a:gd name="connsiteY1003" fmla="*/ 3812118 h 5392467"/>
              <a:gd name="connsiteX1004" fmla="*/ 5549980 w 6096001"/>
              <a:gd name="connsiteY1004" fmla="*/ 3814051 h 5392467"/>
              <a:gd name="connsiteX1005" fmla="*/ 5551913 w 6096001"/>
              <a:gd name="connsiteY1005" fmla="*/ 3812118 h 5392467"/>
              <a:gd name="connsiteX1006" fmla="*/ 5549980 w 6096001"/>
              <a:gd name="connsiteY1006" fmla="*/ 3812118 h 5392467"/>
              <a:gd name="connsiteX1007" fmla="*/ 5548045 w 6096001"/>
              <a:gd name="connsiteY1007" fmla="*/ 3812118 h 5392467"/>
              <a:gd name="connsiteX1008" fmla="*/ 5503561 w 6096001"/>
              <a:gd name="connsiteY1008" fmla="*/ 3798578 h 5392467"/>
              <a:gd name="connsiteX1009" fmla="*/ 5495825 w 6096001"/>
              <a:gd name="connsiteY1009" fmla="*/ 3800514 h 5392467"/>
              <a:gd name="connsiteX1010" fmla="*/ 5422328 w 6096001"/>
              <a:gd name="connsiteY1010" fmla="*/ 3812118 h 5392467"/>
              <a:gd name="connsiteX1011" fmla="*/ 5377844 w 6096001"/>
              <a:gd name="connsiteY1011" fmla="*/ 3821788 h 5392467"/>
              <a:gd name="connsiteX1012" fmla="*/ 5375911 w 6096001"/>
              <a:gd name="connsiteY1012" fmla="*/ 3823721 h 5392467"/>
              <a:gd name="connsiteX1013" fmla="*/ 5354635 w 6096001"/>
              <a:gd name="connsiteY1013" fmla="*/ 3825656 h 5392467"/>
              <a:gd name="connsiteX1014" fmla="*/ 5343030 w 6096001"/>
              <a:gd name="connsiteY1014" fmla="*/ 3825656 h 5392467"/>
              <a:gd name="connsiteX1015" fmla="*/ 5331427 w 6096001"/>
              <a:gd name="connsiteY1015" fmla="*/ 3823721 h 5392467"/>
              <a:gd name="connsiteX1016" fmla="*/ 5331427 w 6096001"/>
              <a:gd name="connsiteY1016" fmla="*/ 3827589 h 5392467"/>
              <a:gd name="connsiteX1017" fmla="*/ 5317887 w 6096001"/>
              <a:gd name="connsiteY1017" fmla="*/ 3825656 h 5392467"/>
              <a:gd name="connsiteX1018" fmla="*/ 5306283 w 6096001"/>
              <a:gd name="connsiteY1018" fmla="*/ 3829524 h 5392467"/>
              <a:gd name="connsiteX1019" fmla="*/ 5308218 w 6096001"/>
              <a:gd name="connsiteY1019" fmla="*/ 3833393 h 5392467"/>
              <a:gd name="connsiteX1020" fmla="*/ 5296611 w 6096001"/>
              <a:gd name="connsiteY1020" fmla="*/ 3835325 h 5392467"/>
              <a:gd name="connsiteX1021" fmla="*/ 5288877 w 6096001"/>
              <a:gd name="connsiteY1021" fmla="*/ 3843062 h 5392467"/>
              <a:gd name="connsiteX1022" fmla="*/ 5341097 w 6096001"/>
              <a:gd name="connsiteY1022" fmla="*/ 3839194 h 5392467"/>
              <a:gd name="connsiteX1023" fmla="*/ 5344965 w 6096001"/>
              <a:gd name="connsiteY1023" fmla="*/ 3839194 h 5392467"/>
              <a:gd name="connsiteX1024" fmla="*/ 5362371 w 6096001"/>
              <a:gd name="connsiteY1024" fmla="*/ 3831457 h 5392467"/>
              <a:gd name="connsiteX1025" fmla="*/ 5368175 w 6096001"/>
              <a:gd name="connsiteY1025" fmla="*/ 3831457 h 5392467"/>
              <a:gd name="connsiteX1026" fmla="*/ 5422328 w 6096001"/>
              <a:gd name="connsiteY1026" fmla="*/ 3823721 h 5392467"/>
              <a:gd name="connsiteX1027" fmla="*/ 5468747 w 6096001"/>
              <a:gd name="connsiteY1027" fmla="*/ 3815984 h 5392467"/>
              <a:gd name="connsiteX1028" fmla="*/ 5503561 w 6096001"/>
              <a:gd name="connsiteY1028" fmla="*/ 3798578 h 5392467"/>
              <a:gd name="connsiteX1029" fmla="*/ 5410723 w 6096001"/>
              <a:gd name="connsiteY1029" fmla="*/ 3794710 h 5392467"/>
              <a:gd name="connsiteX1030" fmla="*/ 5395252 w 6096001"/>
              <a:gd name="connsiteY1030" fmla="*/ 3796643 h 5392467"/>
              <a:gd name="connsiteX1031" fmla="*/ 5399121 w 6096001"/>
              <a:gd name="connsiteY1031" fmla="*/ 3796643 h 5392467"/>
              <a:gd name="connsiteX1032" fmla="*/ 5401054 w 6096001"/>
              <a:gd name="connsiteY1032" fmla="*/ 3796643 h 5392467"/>
              <a:gd name="connsiteX1033" fmla="*/ 5410723 w 6096001"/>
              <a:gd name="connsiteY1033" fmla="*/ 3794710 h 5392467"/>
              <a:gd name="connsiteX1034" fmla="*/ 5420395 w 6096001"/>
              <a:gd name="connsiteY1034" fmla="*/ 3786973 h 5392467"/>
              <a:gd name="connsiteX1035" fmla="*/ 5408790 w 6096001"/>
              <a:gd name="connsiteY1035" fmla="*/ 3790842 h 5392467"/>
              <a:gd name="connsiteX1036" fmla="*/ 5414594 w 6096001"/>
              <a:gd name="connsiteY1036" fmla="*/ 3794710 h 5392467"/>
              <a:gd name="connsiteX1037" fmla="*/ 5420395 w 6096001"/>
              <a:gd name="connsiteY1037" fmla="*/ 3786973 h 5392467"/>
              <a:gd name="connsiteX1038" fmla="*/ 5542244 w 6096001"/>
              <a:gd name="connsiteY1038" fmla="*/ 3752159 h 5392467"/>
              <a:gd name="connsiteX1039" fmla="*/ 5484220 w 6096001"/>
              <a:gd name="connsiteY1039" fmla="*/ 3761831 h 5392467"/>
              <a:gd name="connsiteX1040" fmla="*/ 5472615 w 6096001"/>
              <a:gd name="connsiteY1040" fmla="*/ 3763764 h 5392467"/>
              <a:gd name="connsiteX1041" fmla="*/ 5395252 w 6096001"/>
              <a:gd name="connsiteY1041" fmla="*/ 3775369 h 5392467"/>
              <a:gd name="connsiteX1042" fmla="*/ 5379779 w 6096001"/>
              <a:gd name="connsiteY1042" fmla="*/ 3783105 h 5392467"/>
              <a:gd name="connsiteX1043" fmla="*/ 5424263 w 6096001"/>
              <a:gd name="connsiteY1043" fmla="*/ 3779237 h 5392467"/>
              <a:gd name="connsiteX1044" fmla="*/ 5447473 w 6096001"/>
              <a:gd name="connsiteY1044" fmla="*/ 3773436 h 5392467"/>
              <a:gd name="connsiteX1045" fmla="*/ 5509362 w 6096001"/>
              <a:gd name="connsiteY1045" fmla="*/ 3769567 h 5392467"/>
              <a:gd name="connsiteX1046" fmla="*/ 5511298 w 6096001"/>
              <a:gd name="connsiteY1046" fmla="*/ 3769567 h 5392467"/>
              <a:gd name="connsiteX1047" fmla="*/ 5555781 w 6096001"/>
              <a:gd name="connsiteY1047" fmla="*/ 3765699 h 5392467"/>
              <a:gd name="connsiteX1048" fmla="*/ 5557714 w 6096001"/>
              <a:gd name="connsiteY1048" fmla="*/ 3765699 h 5392467"/>
              <a:gd name="connsiteX1049" fmla="*/ 5580924 w 6096001"/>
              <a:gd name="connsiteY1049" fmla="*/ 3757963 h 5392467"/>
              <a:gd name="connsiteX1050" fmla="*/ 5584795 w 6096001"/>
              <a:gd name="connsiteY1050" fmla="*/ 3756027 h 5392467"/>
              <a:gd name="connsiteX1051" fmla="*/ 5542244 w 6096001"/>
              <a:gd name="connsiteY1051" fmla="*/ 3752159 h 5392467"/>
              <a:gd name="connsiteX1052" fmla="*/ 5453274 w 6096001"/>
              <a:gd name="connsiteY1052" fmla="*/ 3744423 h 5392467"/>
              <a:gd name="connsiteX1053" fmla="*/ 5435868 w 6096001"/>
              <a:gd name="connsiteY1053" fmla="*/ 3748291 h 5392467"/>
              <a:gd name="connsiteX1054" fmla="*/ 5443604 w 6096001"/>
              <a:gd name="connsiteY1054" fmla="*/ 3746358 h 5392467"/>
              <a:gd name="connsiteX1055" fmla="*/ 5453274 w 6096001"/>
              <a:gd name="connsiteY1055" fmla="*/ 3748291 h 5392467"/>
              <a:gd name="connsiteX1056" fmla="*/ 5453274 w 6096001"/>
              <a:gd name="connsiteY1056" fmla="*/ 3744423 h 5392467"/>
              <a:gd name="connsiteX1057" fmla="*/ 5457142 w 6096001"/>
              <a:gd name="connsiteY1057" fmla="*/ 3727017 h 5392467"/>
              <a:gd name="connsiteX1058" fmla="*/ 5435868 w 6096001"/>
              <a:gd name="connsiteY1058" fmla="*/ 3732818 h 5392467"/>
              <a:gd name="connsiteX1059" fmla="*/ 5418462 w 6096001"/>
              <a:gd name="connsiteY1059" fmla="*/ 3736686 h 5392467"/>
              <a:gd name="connsiteX1060" fmla="*/ 5393317 w 6096001"/>
              <a:gd name="connsiteY1060" fmla="*/ 3744423 h 5392467"/>
              <a:gd name="connsiteX1061" fmla="*/ 5406855 w 6096001"/>
              <a:gd name="connsiteY1061" fmla="*/ 3744423 h 5392467"/>
              <a:gd name="connsiteX1062" fmla="*/ 5433933 w 6096001"/>
              <a:gd name="connsiteY1062" fmla="*/ 3742490 h 5392467"/>
              <a:gd name="connsiteX1063" fmla="*/ 5435868 w 6096001"/>
              <a:gd name="connsiteY1063" fmla="*/ 3742490 h 5392467"/>
              <a:gd name="connsiteX1064" fmla="*/ 5439736 w 6096001"/>
              <a:gd name="connsiteY1064" fmla="*/ 3738621 h 5392467"/>
              <a:gd name="connsiteX1065" fmla="*/ 5470680 w 6096001"/>
              <a:gd name="connsiteY1065" fmla="*/ 3730885 h 5392467"/>
              <a:gd name="connsiteX1066" fmla="*/ 5470680 w 6096001"/>
              <a:gd name="connsiteY1066" fmla="*/ 3728950 h 5392467"/>
              <a:gd name="connsiteX1067" fmla="*/ 5466814 w 6096001"/>
              <a:gd name="connsiteY1067" fmla="*/ 3727017 h 5392467"/>
              <a:gd name="connsiteX1068" fmla="*/ 5457142 w 6096001"/>
              <a:gd name="connsiteY1068" fmla="*/ 3727017 h 5392467"/>
              <a:gd name="connsiteX1069" fmla="*/ 5511298 w 6096001"/>
              <a:gd name="connsiteY1069" fmla="*/ 3651587 h 5392467"/>
              <a:gd name="connsiteX1070" fmla="*/ 5511298 w 6096001"/>
              <a:gd name="connsiteY1070" fmla="*/ 3655455 h 5392467"/>
              <a:gd name="connsiteX1071" fmla="*/ 5513231 w 6096001"/>
              <a:gd name="connsiteY1071" fmla="*/ 3655455 h 5392467"/>
              <a:gd name="connsiteX1072" fmla="*/ 5515166 w 6096001"/>
              <a:gd name="connsiteY1072" fmla="*/ 3651587 h 5392467"/>
              <a:gd name="connsiteX1073" fmla="*/ 5511298 w 6096001"/>
              <a:gd name="connsiteY1073" fmla="*/ 3651587 h 5392467"/>
              <a:gd name="connsiteX1074" fmla="*/ 5627343 w 6096001"/>
              <a:gd name="connsiteY1074" fmla="*/ 3614840 h 5392467"/>
              <a:gd name="connsiteX1075" fmla="*/ 5642816 w 6096001"/>
              <a:gd name="connsiteY1075" fmla="*/ 3614840 h 5392467"/>
              <a:gd name="connsiteX1076" fmla="*/ 5633147 w 6096001"/>
              <a:gd name="connsiteY1076" fmla="*/ 3614840 h 5392467"/>
              <a:gd name="connsiteX1077" fmla="*/ 5631211 w 6096001"/>
              <a:gd name="connsiteY1077" fmla="*/ 3614840 h 5392467"/>
              <a:gd name="connsiteX1078" fmla="*/ 5627343 w 6096001"/>
              <a:gd name="connsiteY1078" fmla="*/ 3614840 h 5392467"/>
              <a:gd name="connsiteX1079" fmla="*/ 5967745 w 6096001"/>
              <a:gd name="connsiteY1079" fmla="*/ 3345999 h 5392467"/>
              <a:gd name="connsiteX1080" fmla="*/ 5967745 w 6096001"/>
              <a:gd name="connsiteY1080" fmla="*/ 3347932 h 5392467"/>
              <a:gd name="connsiteX1081" fmla="*/ 5965812 w 6096001"/>
              <a:gd name="connsiteY1081" fmla="*/ 3353733 h 5392467"/>
              <a:gd name="connsiteX1082" fmla="*/ 5963876 w 6096001"/>
              <a:gd name="connsiteY1082" fmla="*/ 3347932 h 5392467"/>
              <a:gd name="connsiteX1083" fmla="*/ 5967745 w 6096001"/>
              <a:gd name="connsiteY1083" fmla="*/ 3345999 h 5392467"/>
              <a:gd name="connsiteX1084" fmla="*/ 5910690 w 6096001"/>
              <a:gd name="connsiteY1084" fmla="*/ 3319888 h 5392467"/>
              <a:gd name="connsiteX1085" fmla="*/ 5905855 w 6096001"/>
              <a:gd name="connsiteY1085" fmla="*/ 3324723 h 5392467"/>
              <a:gd name="connsiteX1086" fmla="*/ 5915524 w 6096001"/>
              <a:gd name="connsiteY1086" fmla="*/ 3320855 h 5392467"/>
              <a:gd name="connsiteX1087" fmla="*/ 5910690 w 6096001"/>
              <a:gd name="connsiteY1087" fmla="*/ 3319888 h 5392467"/>
              <a:gd name="connsiteX1088" fmla="*/ 5942844 w 6096001"/>
              <a:gd name="connsiteY1088" fmla="*/ 3319163 h 5392467"/>
              <a:gd name="connsiteX1089" fmla="*/ 5919393 w 6096001"/>
              <a:gd name="connsiteY1089" fmla="*/ 3324723 h 5392467"/>
              <a:gd name="connsiteX1090" fmla="*/ 5932933 w 6096001"/>
              <a:gd name="connsiteY1090" fmla="*/ 3326658 h 5392467"/>
              <a:gd name="connsiteX1091" fmla="*/ 5948403 w 6096001"/>
              <a:gd name="connsiteY1091" fmla="*/ 3326658 h 5392467"/>
              <a:gd name="connsiteX1092" fmla="*/ 5961943 w 6096001"/>
              <a:gd name="connsiteY1092" fmla="*/ 3320855 h 5392467"/>
              <a:gd name="connsiteX1093" fmla="*/ 5942844 w 6096001"/>
              <a:gd name="connsiteY1093" fmla="*/ 3319163 h 5392467"/>
              <a:gd name="connsiteX1094" fmla="*/ 5938734 w 6096001"/>
              <a:gd name="connsiteY1094" fmla="*/ 3305381 h 5392467"/>
              <a:gd name="connsiteX1095" fmla="*/ 5936801 w 6096001"/>
              <a:gd name="connsiteY1095" fmla="*/ 3309250 h 5392467"/>
              <a:gd name="connsiteX1096" fmla="*/ 5938734 w 6096001"/>
              <a:gd name="connsiteY1096" fmla="*/ 3313118 h 5392467"/>
              <a:gd name="connsiteX1097" fmla="*/ 5940669 w 6096001"/>
              <a:gd name="connsiteY1097" fmla="*/ 3307317 h 5392467"/>
              <a:gd name="connsiteX1098" fmla="*/ 5938734 w 6096001"/>
              <a:gd name="connsiteY1098" fmla="*/ 3305381 h 5392467"/>
              <a:gd name="connsiteX1099" fmla="*/ 5718246 w 6096001"/>
              <a:gd name="connsiteY1099" fmla="*/ 3301513 h 5392467"/>
              <a:gd name="connsiteX1100" fmla="*/ 5710509 w 6096001"/>
              <a:gd name="connsiteY1100" fmla="*/ 3305381 h 5392467"/>
              <a:gd name="connsiteX1101" fmla="*/ 5720181 w 6096001"/>
              <a:gd name="connsiteY1101" fmla="*/ 3305381 h 5392467"/>
              <a:gd name="connsiteX1102" fmla="*/ 5718246 w 6096001"/>
              <a:gd name="connsiteY1102" fmla="*/ 3301513 h 5392467"/>
              <a:gd name="connsiteX1103" fmla="*/ 5954207 w 6096001"/>
              <a:gd name="connsiteY1103" fmla="*/ 3299580 h 5392467"/>
              <a:gd name="connsiteX1104" fmla="*/ 5946470 w 6096001"/>
              <a:gd name="connsiteY1104" fmla="*/ 3301513 h 5392467"/>
              <a:gd name="connsiteX1105" fmla="*/ 5946470 w 6096001"/>
              <a:gd name="connsiteY1105" fmla="*/ 3303448 h 5392467"/>
              <a:gd name="connsiteX1106" fmla="*/ 5954207 w 6096001"/>
              <a:gd name="connsiteY1106" fmla="*/ 3303448 h 5392467"/>
              <a:gd name="connsiteX1107" fmla="*/ 5954207 w 6096001"/>
              <a:gd name="connsiteY1107" fmla="*/ 3299580 h 5392467"/>
              <a:gd name="connsiteX1108" fmla="*/ 5830425 w 6096001"/>
              <a:gd name="connsiteY1108" fmla="*/ 3295712 h 5392467"/>
              <a:gd name="connsiteX1109" fmla="*/ 5826557 w 6096001"/>
              <a:gd name="connsiteY1109" fmla="*/ 3299580 h 5392467"/>
              <a:gd name="connsiteX1110" fmla="*/ 5828490 w 6096001"/>
              <a:gd name="connsiteY1110" fmla="*/ 3301513 h 5392467"/>
              <a:gd name="connsiteX1111" fmla="*/ 5832358 w 6096001"/>
              <a:gd name="connsiteY1111" fmla="*/ 3297645 h 5392467"/>
              <a:gd name="connsiteX1112" fmla="*/ 5830425 w 6096001"/>
              <a:gd name="connsiteY1112" fmla="*/ 3295712 h 5392467"/>
              <a:gd name="connsiteX1113" fmla="*/ 5911656 w 6096001"/>
              <a:gd name="connsiteY1113" fmla="*/ 3266699 h 5392467"/>
              <a:gd name="connsiteX1114" fmla="*/ 5911656 w 6096001"/>
              <a:gd name="connsiteY1114" fmla="*/ 3270570 h 5392467"/>
              <a:gd name="connsiteX1115" fmla="*/ 5919393 w 6096001"/>
              <a:gd name="connsiteY1115" fmla="*/ 3266699 h 5392467"/>
              <a:gd name="connsiteX1116" fmla="*/ 5911656 w 6096001"/>
              <a:gd name="connsiteY1116" fmla="*/ 3266699 h 5392467"/>
              <a:gd name="connsiteX1117" fmla="*/ 5822689 w 6096001"/>
              <a:gd name="connsiteY1117" fmla="*/ 3266699 h 5392467"/>
              <a:gd name="connsiteX1118" fmla="*/ 5822689 w 6096001"/>
              <a:gd name="connsiteY1118" fmla="*/ 3270570 h 5392467"/>
              <a:gd name="connsiteX1119" fmla="*/ 5828490 w 6096001"/>
              <a:gd name="connsiteY1119" fmla="*/ 3270570 h 5392467"/>
              <a:gd name="connsiteX1120" fmla="*/ 5828490 w 6096001"/>
              <a:gd name="connsiteY1120" fmla="*/ 3266699 h 5392467"/>
              <a:gd name="connsiteX1121" fmla="*/ 5822689 w 6096001"/>
              <a:gd name="connsiteY1121" fmla="*/ 3266699 h 5392467"/>
              <a:gd name="connsiteX1122" fmla="*/ 5843963 w 6096001"/>
              <a:gd name="connsiteY1122" fmla="*/ 3255094 h 5392467"/>
              <a:gd name="connsiteX1123" fmla="*/ 5830425 w 6096001"/>
              <a:gd name="connsiteY1123" fmla="*/ 3260898 h 5392467"/>
              <a:gd name="connsiteX1124" fmla="*/ 5830425 w 6096001"/>
              <a:gd name="connsiteY1124" fmla="*/ 3264766 h 5392467"/>
              <a:gd name="connsiteX1125" fmla="*/ 5843963 w 6096001"/>
              <a:gd name="connsiteY1125" fmla="*/ 3264766 h 5392467"/>
              <a:gd name="connsiteX1126" fmla="*/ 5847831 w 6096001"/>
              <a:gd name="connsiteY1126" fmla="*/ 3258965 h 5392467"/>
              <a:gd name="connsiteX1127" fmla="*/ 5843963 w 6096001"/>
              <a:gd name="connsiteY1127" fmla="*/ 3255094 h 5392467"/>
              <a:gd name="connsiteX1128" fmla="*/ 5780138 w 6096001"/>
              <a:gd name="connsiteY1128" fmla="*/ 3255094 h 5392467"/>
              <a:gd name="connsiteX1129" fmla="*/ 5762732 w 6096001"/>
              <a:gd name="connsiteY1129" fmla="*/ 3266699 h 5392467"/>
              <a:gd name="connsiteX1130" fmla="*/ 5780138 w 6096001"/>
              <a:gd name="connsiteY1130" fmla="*/ 3255094 h 5392467"/>
              <a:gd name="connsiteX1131" fmla="*/ 5896183 w 6096001"/>
              <a:gd name="connsiteY1131" fmla="*/ 3251228 h 5392467"/>
              <a:gd name="connsiteX1132" fmla="*/ 5900051 w 6096001"/>
              <a:gd name="connsiteY1132" fmla="*/ 3255094 h 5392467"/>
              <a:gd name="connsiteX1133" fmla="*/ 5880710 w 6096001"/>
              <a:gd name="connsiteY1133" fmla="*/ 3262831 h 5392467"/>
              <a:gd name="connsiteX1134" fmla="*/ 5876842 w 6096001"/>
              <a:gd name="connsiteY1134" fmla="*/ 3262831 h 5392467"/>
              <a:gd name="connsiteX1135" fmla="*/ 5874909 w 6096001"/>
              <a:gd name="connsiteY1135" fmla="*/ 3270570 h 5392467"/>
              <a:gd name="connsiteX1136" fmla="*/ 5896183 w 6096001"/>
              <a:gd name="connsiteY1136" fmla="*/ 3268634 h 5392467"/>
              <a:gd name="connsiteX1137" fmla="*/ 5917460 w 6096001"/>
              <a:gd name="connsiteY1137" fmla="*/ 3251228 h 5392467"/>
              <a:gd name="connsiteX1138" fmla="*/ 5896183 w 6096001"/>
              <a:gd name="connsiteY1138" fmla="*/ 3251228 h 5392467"/>
              <a:gd name="connsiteX1139" fmla="*/ 5930997 w 6096001"/>
              <a:gd name="connsiteY1139" fmla="*/ 3249293 h 5392467"/>
              <a:gd name="connsiteX1140" fmla="*/ 5926416 w 6096001"/>
              <a:gd name="connsiteY1140" fmla="*/ 3253872 h 5392467"/>
              <a:gd name="connsiteX1141" fmla="*/ 5927996 w 6096001"/>
              <a:gd name="connsiteY1141" fmla="*/ 3249793 h 5392467"/>
              <a:gd name="connsiteX1142" fmla="*/ 5778203 w 6096001"/>
              <a:gd name="connsiteY1142" fmla="*/ 3243489 h 5392467"/>
              <a:gd name="connsiteX1143" fmla="*/ 5762732 w 6096001"/>
              <a:gd name="connsiteY1143" fmla="*/ 3247360 h 5392467"/>
              <a:gd name="connsiteX1144" fmla="*/ 5741455 w 6096001"/>
              <a:gd name="connsiteY1144" fmla="*/ 3249293 h 5392467"/>
              <a:gd name="connsiteX1145" fmla="*/ 5741455 w 6096001"/>
              <a:gd name="connsiteY1145" fmla="*/ 3253161 h 5392467"/>
              <a:gd name="connsiteX1146" fmla="*/ 5749192 w 6096001"/>
              <a:gd name="connsiteY1146" fmla="*/ 3251228 h 5392467"/>
              <a:gd name="connsiteX1147" fmla="*/ 5743391 w 6096001"/>
              <a:gd name="connsiteY1147" fmla="*/ 3253161 h 5392467"/>
              <a:gd name="connsiteX1148" fmla="*/ 5756928 w 6096001"/>
              <a:gd name="connsiteY1148" fmla="*/ 3253161 h 5392467"/>
              <a:gd name="connsiteX1149" fmla="*/ 5766600 w 6096001"/>
              <a:gd name="connsiteY1149" fmla="*/ 3251228 h 5392467"/>
              <a:gd name="connsiteX1150" fmla="*/ 5822689 w 6096001"/>
              <a:gd name="connsiteY1150" fmla="*/ 3251228 h 5392467"/>
              <a:gd name="connsiteX1151" fmla="*/ 5828490 w 6096001"/>
              <a:gd name="connsiteY1151" fmla="*/ 3249293 h 5392467"/>
              <a:gd name="connsiteX1152" fmla="*/ 5813017 w 6096001"/>
              <a:gd name="connsiteY1152" fmla="*/ 3245425 h 5392467"/>
              <a:gd name="connsiteX1153" fmla="*/ 5789807 w 6096001"/>
              <a:gd name="connsiteY1153" fmla="*/ 3243489 h 5392467"/>
              <a:gd name="connsiteX1154" fmla="*/ 5778203 w 6096001"/>
              <a:gd name="connsiteY1154" fmla="*/ 3243489 h 5392467"/>
              <a:gd name="connsiteX1155" fmla="*/ 5768533 w 6096001"/>
              <a:gd name="connsiteY1155" fmla="*/ 3231887 h 5392467"/>
              <a:gd name="connsiteX1156" fmla="*/ 5766600 w 6096001"/>
              <a:gd name="connsiteY1156" fmla="*/ 3235755 h 5392467"/>
              <a:gd name="connsiteX1157" fmla="*/ 5776270 w 6096001"/>
              <a:gd name="connsiteY1157" fmla="*/ 3237688 h 5392467"/>
              <a:gd name="connsiteX1158" fmla="*/ 5811084 w 6096001"/>
              <a:gd name="connsiteY1158" fmla="*/ 3235755 h 5392467"/>
              <a:gd name="connsiteX1159" fmla="*/ 5813017 w 6096001"/>
              <a:gd name="connsiteY1159" fmla="*/ 3235755 h 5392467"/>
              <a:gd name="connsiteX1160" fmla="*/ 5840095 w 6096001"/>
              <a:gd name="connsiteY1160" fmla="*/ 3235755 h 5392467"/>
              <a:gd name="connsiteX1161" fmla="*/ 5845898 w 6096001"/>
              <a:gd name="connsiteY1161" fmla="*/ 3235755 h 5392467"/>
              <a:gd name="connsiteX1162" fmla="*/ 5785941 w 6096001"/>
              <a:gd name="connsiteY1162" fmla="*/ 3231887 h 5392467"/>
              <a:gd name="connsiteX1163" fmla="*/ 5768533 w 6096001"/>
              <a:gd name="connsiteY1163" fmla="*/ 3231887 h 5392467"/>
              <a:gd name="connsiteX1164" fmla="*/ 5861369 w 6096001"/>
              <a:gd name="connsiteY1164" fmla="*/ 3164194 h 5392467"/>
              <a:gd name="connsiteX1165" fmla="*/ 5863304 w 6096001"/>
              <a:gd name="connsiteY1165" fmla="*/ 3164194 h 5392467"/>
              <a:gd name="connsiteX1166" fmla="*/ 5863304 w 6096001"/>
              <a:gd name="connsiteY1166" fmla="*/ 3168060 h 5392467"/>
              <a:gd name="connsiteX1167" fmla="*/ 5861369 w 6096001"/>
              <a:gd name="connsiteY1167" fmla="*/ 3164194 h 5392467"/>
              <a:gd name="connsiteX1168" fmla="*/ 5664090 w 6096001"/>
              <a:gd name="connsiteY1168" fmla="*/ 3150654 h 5392467"/>
              <a:gd name="connsiteX1169" fmla="*/ 5662157 w 6096001"/>
              <a:gd name="connsiteY1169" fmla="*/ 3158390 h 5392467"/>
              <a:gd name="connsiteX1170" fmla="*/ 5664090 w 6096001"/>
              <a:gd name="connsiteY1170" fmla="*/ 3150654 h 5392467"/>
              <a:gd name="connsiteX1171" fmla="*/ 5567386 w 6096001"/>
              <a:gd name="connsiteY1171" fmla="*/ 3111971 h 5392467"/>
              <a:gd name="connsiteX1172" fmla="*/ 5569322 w 6096001"/>
              <a:gd name="connsiteY1172" fmla="*/ 3113907 h 5392467"/>
              <a:gd name="connsiteX1173" fmla="*/ 5580924 w 6096001"/>
              <a:gd name="connsiteY1173" fmla="*/ 3115839 h 5392467"/>
              <a:gd name="connsiteX1174" fmla="*/ 5586728 w 6096001"/>
              <a:gd name="connsiteY1174" fmla="*/ 3113907 h 5392467"/>
              <a:gd name="connsiteX1175" fmla="*/ 5567386 w 6096001"/>
              <a:gd name="connsiteY1175" fmla="*/ 3111971 h 5392467"/>
              <a:gd name="connsiteX1176" fmla="*/ 5370108 w 6096001"/>
              <a:gd name="connsiteY1176" fmla="*/ 3071355 h 5392467"/>
              <a:gd name="connsiteX1177" fmla="*/ 5364306 w 6096001"/>
              <a:gd name="connsiteY1177" fmla="*/ 3075224 h 5392467"/>
              <a:gd name="connsiteX1178" fmla="*/ 5364306 w 6096001"/>
              <a:gd name="connsiteY1178" fmla="*/ 3077159 h 5392467"/>
              <a:gd name="connsiteX1179" fmla="*/ 5387514 w 6096001"/>
              <a:gd name="connsiteY1179" fmla="*/ 3073291 h 5392467"/>
              <a:gd name="connsiteX1180" fmla="*/ 5370108 w 6096001"/>
              <a:gd name="connsiteY1180" fmla="*/ 3071355 h 5392467"/>
              <a:gd name="connsiteX1181" fmla="*/ 5416527 w 6096001"/>
              <a:gd name="connsiteY1181" fmla="*/ 3063619 h 5392467"/>
              <a:gd name="connsiteX1182" fmla="*/ 5402987 w 6096001"/>
              <a:gd name="connsiteY1182" fmla="*/ 3071355 h 5392467"/>
              <a:gd name="connsiteX1183" fmla="*/ 5402987 w 6096001"/>
              <a:gd name="connsiteY1183" fmla="*/ 3073291 h 5392467"/>
              <a:gd name="connsiteX1184" fmla="*/ 5416527 w 6096001"/>
              <a:gd name="connsiteY1184" fmla="*/ 3063619 h 5392467"/>
              <a:gd name="connsiteX1185" fmla="*/ 5470680 w 6096001"/>
              <a:gd name="connsiteY1185" fmla="*/ 3059751 h 5392467"/>
              <a:gd name="connsiteX1186" fmla="*/ 5459078 w 6096001"/>
              <a:gd name="connsiteY1186" fmla="*/ 3065555 h 5392467"/>
              <a:gd name="connsiteX1187" fmla="*/ 5468747 w 6096001"/>
              <a:gd name="connsiteY1187" fmla="*/ 3065555 h 5392467"/>
              <a:gd name="connsiteX1188" fmla="*/ 5470680 w 6096001"/>
              <a:gd name="connsiteY1188" fmla="*/ 3059751 h 5392467"/>
              <a:gd name="connsiteX1189" fmla="*/ 5556265 w 6096001"/>
              <a:gd name="connsiteY1189" fmla="*/ 3057817 h 5392467"/>
              <a:gd name="connsiteX1190" fmla="*/ 5553849 w 6096001"/>
              <a:gd name="connsiteY1190" fmla="*/ 3063619 h 5392467"/>
              <a:gd name="connsiteX1191" fmla="*/ 5557714 w 6096001"/>
              <a:gd name="connsiteY1191" fmla="*/ 3063619 h 5392467"/>
              <a:gd name="connsiteX1192" fmla="*/ 5561585 w 6096001"/>
              <a:gd name="connsiteY1192" fmla="*/ 3061686 h 5392467"/>
              <a:gd name="connsiteX1193" fmla="*/ 5561585 w 6096001"/>
              <a:gd name="connsiteY1193" fmla="*/ 3057818 h 5392467"/>
              <a:gd name="connsiteX1194" fmla="*/ 5556265 w 6096001"/>
              <a:gd name="connsiteY1194" fmla="*/ 3057817 h 5392467"/>
              <a:gd name="connsiteX1195" fmla="*/ 5681499 w 6096001"/>
              <a:gd name="connsiteY1195" fmla="*/ 2937902 h 5392467"/>
              <a:gd name="connsiteX1196" fmla="*/ 5685367 w 6096001"/>
              <a:gd name="connsiteY1196" fmla="*/ 2937902 h 5392467"/>
              <a:gd name="connsiteX1197" fmla="*/ 5681499 w 6096001"/>
              <a:gd name="connsiteY1197" fmla="*/ 2941770 h 5392467"/>
              <a:gd name="connsiteX1198" fmla="*/ 5681499 w 6096001"/>
              <a:gd name="connsiteY1198" fmla="*/ 2937902 h 5392467"/>
              <a:gd name="connsiteX1199" fmla="*/ 128691 w 6096001"/>
              <a:gd name="connsiteY1199" fmla="*/ 2382815 h 5392467"/>
              <a:gd name="connsiteX1200" fmla="*/ 113218 w 6096001"/>
              <a:gd name="connsiteY1200" fmla="*/ 2396353 h 5392467"/>
              <a:gd name="connsiteX1201" fmla="*/ 122890 w 6096001"/>
              <a:gd name="connsiteY1201" fmla="*/ 2388616 h 5392467"/>
              <a:gd name="connsiteX1202" fmla="*/ 122890 w 6096001"/>
              <a:gd name="connsiteY1202" fmla="*/ 2390552 h 5392467"/>
              <a:gd name="connsiteX1203" fmla="*/ 128691 w 6096001"/>
              <a:gd name="connsiteY1203" fmla="*/ 2382815 h 5392467"/>
              <a:gd name="connsiteX1204" fmla="*/ 5683432 w 6096001"/>
              <a:gd name="connsiteY1204" fmla="*/ 1839331 h 5392467"/>
              <a:gd name="connsiteX1205" fmla="*/ 5685367 w 6096001"/>
              <a:gd name="connsiteY1205" fmla="*/ 1841267 h 5392467"/>
              <a:gd name="connsiteX1206" fmla="*/ 5679566 w 6096001"/>
              <a:gd name="connsiteY1206" fmla="*/ 1845135 h 5392467"/>
              <a:gd name="connsiteX1207" fmla="*/ 5677630 w 6096001"/>
              <a:gd name="connsiteY1207" fmla="*/ 1843200 h 5392467"/>
              <a:gd name="connsiteX1208" fmla="*/ 5683432 w 6096001"/>
              <a:gd name="connsiteY1208" fmla="*/ 1839331 h 5392467"/>
              <a:gd name="connsiteX1209" fmla="*/ 5644749 w 6096001"/>
              <a:gd name="connsiteY1209" fmla="*/ 1810321 h 5392467"/>
              <a:gd name="connsiteX1210" fmla="*/ 5638948 w 6096001"/>
              <a:gd name="connsiteY1210" fmla="*/ 1823858 h 5392467"/>
              <a:gd name="connsiteX1211" fmla="*/ 5632854 w 6096001"/>
              <a:gd name="connsiteY1211" fmla="*/ 1825383 h 5392467"/>
              <a:gd name="connsiteX1212" fmla="*/ 5631521 w 6096001"/>
              <a:gd name="connsiteY1212" fmla="*/ 1814730 h 5392467"/>
              <a:gd name="connsiteX1213" fmla="*/ 5584795 w 6096001"/>
              <a:gd name="connsiteY1213" fmla="*/ 1796783 h 5392467"/>
              <a:gd name="connsiteX1214" fmla="*/ 5582859 w 6096001"/>
              <a:gd name="connsiteY1214" fmla="*/ 1798716 h 5392467"/>
              <a:gd name="connsiteX1215" fmla="*/ 5586728 w 6096001"/>
              <a:gd name="connsiteY1215" fmla="*/ 1800651 h 5392467"/>
              <a:gd name="connsiteX1216" fmla="*/ 5584795 w 6096001"/>
              <a:gd name="connsiteY1216" fmla="*/ 1796783 h 5392467"/>
              <a:gd name="connsiteX1217" fmla="*/ 5663912 w 6096001"/>
              <a:gd name="connsiteY1217" fmla="*/ 1792035 h 5392467"/>
              <a:gd name="connsiteX1218" fmla="*/ 5659256 w 6096001"/>
              <a:gd name="connsiteY1218" fmla="*/ 1799925 h 5392467"/>
              <a:gd name="connsiteX1219" fmla="*/ 5644749 w 6096001"/>
              <a:gd name="connsiteY1219" fmla="*/ 1810321 h 5392467"/>
              <a:gd name="connsiteX1220" fmla="*/ 5652488 w 6096001"/>
              <a:gd name="connsiteY1220" fmla="*/ 1796783 h 5392467"/>
              <a:gd name="connsiteX1221" fmla="*/ 5653777 w 6096001"/>
              <a:gd name="connsiteY1221" fmla="*/ 1795492 h 5392467"/>
              <a:gd name="connsiteX1222" fmla="*/ 5656356 w 6096001"/>
              <a:gd name="connsiteY1222" fmla="*/ 1800651 h 5392467"/>
              <a:gd name="connsiteX1223" fmla="*/ 5662157 w 6096001"/>
              <a:gd name="connsiteY1223" fmla="*/ 1794848 h 5392467"/>
              <a:gd name="connsiteX1224" fmla="*/ 5662157 w 6096001"/>
              <a:gd name="connsiteY1224" fmla="*/ 1792912 h 5392467"/>
              <a:gd name="connsiteX1225" fmla="*/ 5667959 w 6096001"/>
              <a:gd name="connsiteY1225" fmla="*/ 1785178 h 5392467"/>
              <a:gd name="connsiteX1226" fmla="*/ 5673762 w 6096001"/>
              <a:gd name="connsiteY1226" fmla="*/ 1785178 h 5392467"/>
              <a:gd name="connsiteX1227" fmla="*/ 5673762 w 6096001"/>
              <a:gd name="connsiteY1227" fmla="*/ 1787111 h 5392467"/>
              <a:gd name="connsiteX1228" fmla="*/ 5663912 w 6096001"/>
              <a:gd name="connsiteY1228" fmla="*/ 1792035 h 5392467"/>
              <a:gd name="connsiteX1229" fmla="*/ 5638948 w 6096001"/>
              <a:gd name="connsiteY1229" fmla="*/ 1783243 h 5392467"/>
              <a:gd name="connsiteX1230" fmla="*/ 5631211 w 6096001"/>
              <a:gd name="connsiteY1230" fmla="*/ 1785178 h 5392467"/>
              <a:gd name="connsiteX1231" fmla="*/ 5633147 w 6096001"/>
              <a:gd name="connsiteY1231" fmla="*/ 1787111 h 5392467"/>
              <a:gd name="connsiteX1232" fmla="*/ 5621542 w 6096001"/>
              <a:gd name="connsiteY1232" fmla="*/ 1794848 h 5392467"/>
              <a:gd name="connsiteX1233" fmla="*/ 5602201 w 6096001"/>
              <a:gd name="connsiteY1233" fmla="*/ 1808388 h 5392467"/>
              <a:gd name="connsiteX1234" fmla="*/ 5600265 w 6096001"/>
              <a:gd name="connsiteY1234" fmla="*/ 1810321 h 5392467"/>
              <a:gd name="connsiteX1235" fmla="*/ 5604133 w 6096001"/>
              <a:gd name="connsiteY1235" fmla="*/ 1812254 h 5392467"/>
              <a:gd name="connsiteX1236" fmla="*/ 5621542 w 6096001"/>
              <a:gd name="connsiteY1236" fmla="*/ 1796783 h 5392467"/>
              <a:gd name="connsiteX1237" fmla="*/ 5625410 w 6096001"/>
              <a:gd name="connsiteY1237" fmla="*/ 1802584 h 5392467"/>
              <a:gd name="connsiteX1238" fmla="*/ 5633147 w 6096001"/>
              <a:gd name="connsiteY1238" fmla="*/ 1800651 h 5392467"/>
              <a:gd name="connsiteX1239" fmla="*/ 5635080 w 6096001"/>
              <a:gd name="connsiteY1239" fmla="*/ 1790979 h 5392467"/>
              <a:gd name="connsiteX1240" fmla="*/ 5638948 w 6096001"/>
              <a:gd name="connsiteY1240" fmla="*/ 1783243 h 5392467"/>
              <a:gd name="connsiteX1241" fmla="*/ 5646684 w 6096001"/>
              <a:gd name="connsiteY1241" fmla="*/ 1761969 h 5392467"/>
              <a:gd name="connsiteX1242" fmla="*/ 5646684 w 6096001"/>
              <a:gd name="connsiteY1242" fmla="*/ 1763902 h 5392467"/>
              <a:gd name="connsiteX1243" fmla="*/ 5652488 w 6096001"/>
              <a:gd name="connsiteY1243" fmla="*/ 1761969 h 5392467"/>
              <a:gd name="connsiteX1244" fmla="*/ 5646684 w 6096001"/>
              <a:gd name="connsiteY1244" fmla="*/ 1761969 h 5392467"/>
              <a:gd name="connsiteX1245" fmla="*/ 5573190 w 6096001"/>
              <a:gd name="connsiteY1245" fmla="*/ 1742627 h 5392467"/>
              <a:gd name="connsiteX1246" fmla="*/ 5551913 w 6096001"/>
              <a:gd name="connsiteY1246" fmla="*/ 1748429 h 5392467"/>
              <a:gd name="connsiteX1247" fmla="*/ 5551913 w 6096001"/>
              <a:gd name="connsiteY1247" fmla="*/ 1752297 h 5392467"/>
              <a:gd name="connsiteX1248" fmla="*/ 5573190 w 6096001"/>
              <a:gd name="connsiteY1248" fmla="*/ 1742627 h 5392467"/>
              <a:gd name="connsiteX1249" fmla="*/ 5524838 w 6096001"/>
              <a:gd name="connsiteY1249" fmla="*/ 1742627 h 5392467"/>
              <a:gd name="connsiteX1250" fmla="*/ 5522903 w 6096001"/>
              <a:gd name="connsiteY1250" fmla="*/ 1744560 h 5392467"/>
              <a:gd name="connsiteX1251" fmla="*/ 5524838 w 6096001"/>
              <a:gd name="connsiteY1251" fmla="*/ 1744560 h 5392467"/>
              <a:gd name="connsiteX1252" fmla="*/ 5524838 w 6096001"/>
              <a:gd name="connsiteY1252" fmla="*/ 1742627 h 5392467"/>
              <a:gd name="connsiteX1253" fmla="*/ 5731784 w 6096001"/>
              <a:gd name="connsiteY1253" fmla="*/ 1711681 h 5392467"/>
              <a:gd name="connsiteX1254" fmla="*/ 5733719 w 6096001"/>
              <a:gd name="connsiteY1254" fmla="*/ 1713616 h 5392467"/>
              <a:gd name="connsiteX1255" fmla="*/ 5725982 w 6096001"/>
              <a:gd name="connsiteY1255" fmla="*/ 1721353 h 5392467"/>
              <a:gd name="connsiteX1256" fmla="*/ 5724049 w 6096001"/>
              <a:gd name="connsiteY1256" fmla="*/ 1717482 h 5392467"/>
              <a:gd name="connsiteX1257" fmla="*/ 5731784 w 6096001"/>
              <a:gd name="connsiteY1257" fmla="*/ 1711681 h 5392467"/>
              <a:gd name="connsiteX1258" fmla="*/ 5588663 w 6096001"/>
              <a:gd name="connsiteY1258" fmla="*/ 1698144 h 5392467"/>
              <a:gd name="connsiteX1259" fmla="*/ 5557714 w 6096001"/>
              <a:gd name="connsiteY1259" fmla="*/ 1715549 h 5392467"/>
              <a:gd name="connsiteX1260" fmla="*/ 5553849 w 6096001"/>
              <a:gd name="connsiteY1260" fmla="*/ 1723286 h 5392467"/>
              <a:gd name="connsiteX1261" fmla="*/ 5555781 w 6096001"/>
              <a:gd name="connsiteY1261" fmla="*/ 1729087 h 5392467"/>
              <a:gd name="connsiteX1262" fmla="*/ 5557714 w 6096001"/>
              <a:gd name="connsiteY1262" fmla="*/ 1723286 h 5392467"/>
              <a:gd name="connsiteX1263" fmla="*/ 5563518 w 6096001"/>
              <a:gd name="connsiteY1263" fmla="*/ 1725219 h 5392467"/>
              <a:gd name="connsiteX1264" fmla="*/ 5567386 w 6096001"/>
              <a:gd name="connsiteY1264" fmla="*/ 1719418 h 5392467"/>
              <a:gd name="connsiteX1265" fmla="*/ 5577056 w 6096001"/>
              <a:gd name="connsiteY1265" fmla="*/ 1721353 h 5392467"/>
              <a:gd name="connsiteX1266" fmla="*/ 5582859 w 6096001"/>
              <a:gd name="connsiteY1266" fmla="*/ 1713616 h 5392467"/>
              <a:gd name="connsiteX1267" fmla="*/ 5578991 w 6096001"/>
              <a:gd name="connsiteY1267" fmla="*/ 1723286 h 5392467"/>
              <a:gd name="connsiteX1268" fmla="*/ 5586728 w 6096001"/>
              <a:gd name="connsiteY1268" fmla="*/ 1729087 h 5392467"/>
              <a:gd name="connsiteX1269" fmla="*/ 5575123 w 6096001"/>
              <a:gd name="connsiteY1269" fmla="*/ 1740692 h 5392467"/>
              <a:gd name="connsiteX1270" fmla="*/ 5590596 w 6096001"/>
              <a:gd name="connsiteY1270" fmla="*/ 1740692 h 5392467"/>
              <a:gd name="connsiteX1271" fmla="*/ 5563518 w 6096001"/>
              <a:gd name="connsiteY1271" fmla="*/ 1763902 h 5392467"/>
              <a:gd name="connsiteX1272" fmla="*/ 5571255 w 6096001"/>
              <a:gd name="connsiteY1272" fmla="*/ 1773573 h 5392467"/>
              <a:gd name="connsiteX1273" fmla="*/ 5577056 w 6096001"/>
              <a:gd name="connsiteY1273" fmla="*/ 1767770 h 5392467"/>
              <a:gd name="connsiteX1274" fmla="*/ 5575123 w 6096001"/>
              <a:gd name="connsiteY1274" fmla="*/ 1779374 h 5392467"/>
              <a:gd name="connsiteX1275" fmla="*/ 5577056 w 6096001"/>
              <a:gd name="connsiteY1275" fmla="*/ 1785178 h 5392467"/>
              <a:gd name="connsiteX1276" fmla="*/ 5584795 w 6096001"/>
              <a:gd name="connsiteY1276" fmla="*/ 1777442 h 5392467"/>
              <a:gd name="connsiteX1277" fmla="*/ 5598332 w 6096001"/>
              <a:gd name="connsiteY1277" fmla="*/ 1765837 h 5392467"/>
              <a:gd name="connsiteX1278" fmla="*/ 5592531 w 6096001"/>
              <a:gd name="connsiteY1278" fmla="*/ 1760033 h 5392467"/>
              <a:gd name="connsiteX1279" fmla="*/ 5604133 w 6096001"/>
              <a:gd name="connsiteY1279" fmla="*/ 1742627 h 5392467"/>
              <a:gd name="connsiteX1280" fmla="*/ 5617674 w 6096001"/>
              <a:gd name="connsiteY1280" fmla="*/ 1736824 h 5392467"/>
              <a:gd name="connsiteX1281" fmla="*/ 5594464 w 6096001"/>
              <a:gd name="connsiteY1281" fmla="*/ 1738759 h 5392467"/>
              <a:gd name="connsiteX1282" fmla="*/ 5598332 w 6096001"/>
              <a:gd name="connsiteY1282" fmla="*/ 1721353 h 5392467"/>
              <a:gd name="connsiteX1283" fmla="*/ 5590596 w 6096001"/>
              <a:gd name="connsiteY1283" fmla="*/ 1715549 h 5392467"/>
              <a:gd name="connsiteX1284" fmla="*/ 5588663 w 6096001"/>
              <a:gd name="connsiteY1284" fmla="*/ 1707813 h 5392467"/>
              <a:gd name="connsiteX1285" fmla="*/ 5588663 w 6096001"/>
              <a:gd name="connsiteY1285" fmla="*/ 1698144 h 5392467"/>
              <a:gd name="connsiteX1286" fmla="*/ 5684596 w 6096001"/>
              <a:gd name="connsiteY1286" fmla="*/ 1686440 h 5392467"/>
              <a:gd name="connsiteX1287" fmla="*/ 5679566 w 6096001"/>
              <a:gd name="connsiteY1287" fmla="*/ 1702012 h 5392467"/>
              <a:gd name="connsiteX1288" fmla="*/ 5662157 w 6096001"/>
              <a:gd name="connsiteY1288" fmla="*/ 1719418 h 5392467"/>
              <a:gd name="connsiteX1289" fmla="*/ 5664090 w 6096001"/>
              <a:gd name="connsiteY1289" fmla="*/ 1713616 h 5392467"/>
              <a:gd name="connsiteX1290" fmla="*/ 5664090 w 6096001"/>
              <a:gd name="connsiteY1290" fmla="*/ 1711681 h 5392467"/>
              <a:gd name="connsiteX1291" fmla="*/ 5662157 w 6096001"/>
              <a:gd name="connsiteY1291" fmla="*/ 1709748 h 5392467"/>
              <a:gd name="connsiteX1292" fmla="*/ 5661103 w 6096001"/>
              <a:gd name="connsiteY1292" fmla="*/ 1711066 h 5392467"/>
              <a:gd name="connsiteX1293" fmla="*/ 5667959 w 6096001"/>
              <a:gd name="connsiteY1293" fmla="*/ 1696208 h 5392467"/>
              <a:gd name="connsiteX1294" fmla="*/ 5673762 w 6096001"/>
              <a:gd name="connsiteY1294" fmla="*/ 1698144 h 5392467"/>
              <a:gd name="connsiteX1295" fmla="*/ 5681499 w 6096001"/>
              <a:gd name="connsiteY1295" fmla="*/ 1688956 h 5392467"/>
              <a:gd name="connsiteX1296" fmla="*/ 5747259 w 6096001"/>
              <a:gd name="connsiteY1296" fmla="*/ 1680735 h 5392467"/>
              <a:gd name="connsiteX1297" fmla="*/ 5740888 w 6096001"/>
              <a:gd name="connsiteY1297" fmla="*/ 1691885 h 5392467"/>
              <a:gd name="connsiteX1298" fmla="*/ 5739522 w 6096001"/>
              <a:gd name="connsiteY1298" fmla="*/ 1692340 h 5392467"/>
              <a:gd name="connsiteX1299" fmla="*/ 5734407 w 6096001"/>
              <a:gd name="connsiteY1299" fmla="*/ 1687225 h 5392467"/>
              <a:gd name="connsiteX1300" fmla="*/ 5736620 w 6096001"/>
              <a:gd name="connsiteY1300" fmla="*/ 1682911 h 5392467"/>
              <a:gd name="connsiteX1301" fmla="*/ 5747259 w 6096001"/>
              <a:gd name="connsiteY1301" fmla="*/ 1680735 h 5392467"/>
              <a:gd name="connsiteX1302" fmla="*/ 5739522 w 6096001"/>
              <a:gd name="connsiteY1302" fmla="*/ 1620778 h 5392467"/>
              <a:gd name="connsiteX1303" fmla="*/ 5743391 w 6096001"/>
              <a:gd name="connsiteY1303" fmla="*/ 1632383 h 5392467"/>
              <a:gd name="connsiteX1304" fmla="*/ 5748547 w 6096001"/>
              <a:gd name="connsiteY1304" fmla="*/ 1632383 h 5392467"/>
              <a:gd name="connsiteX1305" fmla="*/ 5741455 w 6096001"/>
              <a:gd name="connsiteY1305" fmla="*/ 1640120 h 5392467"/>
              <a:gd name="connsiteX1306" fmla="*/ 5747259 w 6096001"/>
              <a:gd name="connsiteY1306" fmla="*/ 1642053 h 5392467"/>
              <a:gd name="connsiteX1307" fmla="*/ 5741455 w 6096001"/>
              <a:gd name="connsiteY1307" fmla="*/ 1671066 h 5392467"/>
              <a:gd name="connsiteX1308" fmla="*/ 5731784 w 6096001"/>
              <a:gd name="connsiteY1308" fmla="*/ 1678802 h 5392467"/>
              <a:gd name="connsiteX1309" fmla="*/ 5733478 w 6096001"/>
              <a:gd name="connsiteY1309" fmla="*/ 1686296 h 5392467"/>
              <a:gd name="connsiteX1310" fmla="*/ 5734407 w 6096001"/>
              <a:gd name="connsiteY1310" fmla="*/ 1687225 h 5392467"/>
              <a:gd name="connsiteX1311" fmla="*/ 5731784 w 6096001"/>
              <a:gd name="connsiteY1311" fmla="*/ 1692340 h 5392467"/>
              <a:gd name="connsiteX1312" fmla="*/ 5739522 w 6096001"/>
              <a:gd name="connsiteY1312" fmla="*/ 1694275 h 5392467"/>
              <a:gd name="connsiteX1313" fmla="*/ 5740888 w 6096001"/>
              <a:gd name="connsiteY1313" fmla="*/ 1691885 h 5392467"/>
              <a:gd name="connsiteX1314" fmla="*/ 5756928 w 6096001"/>
              <a:gd name="connsiteY1314" fmla="*/ 1686539 h 5392467"/>
              <a:gd name="connsiteX1315" fmla="*/ 5756928 w 6096001"/>
              <a:gd name="connsiteY1315" fmla="*/ 1692340 h 5392467"/>
              <a:gd name="connsiteX1316" fmla="*/ 5725982 w 6096001"/>
              <a:gd name="connsiteY1316" fmla="*/ 1709748 h 5392467"/>
              <a:gd name="connsiteX1317" fmla="*/ 5720181 w 6096001"/>
              <a:gd name="connsiteY1317" fmla="*/ 1713616 h 5392467"/>
              <a:gd name="connsiteX1318" fmla="*/ 5704708 w 6096001"/>
              <a:gd name="connsiteY1318" fmla="*/ 1721353 h 5392467"/>
              <a:gd name="connsiteX1319" fmla="*/ 5706641 w 6096001"/>
              <a:gd name="connsiteY1319" fmla="*/ 1692340 h 5392467"/>
              <a:gd name="connsiteX1320" fmla="*/ 5710509 w 6096001"/>
              <a:gd name="connsiteY1320" fmla="*/ 1688472 h 5392467"/>
              <a:gd name="connsiteX1321" fmla="*/ 5710509 w 6096001"/>
              <a:gd name="connsiteY1321" fmla="*/ 1684603 h 5392467"/>
              <a:gd name="connsiteX1322" fmla="*/ 5689235 w 6096001"/>
              <a:gd name="connsiteY1322" fmla="*/ 1682670 h 5392467"/>
              <a:gd name="connsiteX1323" fmla="*/ 5684596 w 6096001"/>
              <a:gd name="connsiteY1323" fmla="*/ 1686440 h 5392467"/>
              <a:gd name="connsiteX1324" fmla="*/ 5684642 w 6096001"/>
              <a:gd name="connsiteY1324" fmla="*/ 1686297 h 5392467"/>
              <a:gd name="connsiteX1325" fmla="*/ 5696972 w 6096001"/>
              <a:gd name="connsiteY1325" fmla="*/ 1674934 h 5392467"/>
              <a:gd name="connsiteX1326" fmla="*/ 5698907 w 6096001"/>
              <a:gd name="connsiteY1326" fmla="*/ 1674934 h 5392467"/>
              <a:gd name="connsiteX1327" fmla="*/ 5729851 w 6096001"/>
              <a:gd name="connsiteY1327" fmla="*/ 1636251 h 5392467"/>
              <a:gd name="connsiteX1328" fmla="*/ 5739522 w 6096001"/>
              <a:gd name="connsiteY1328" fmla="*/ 1620778 h 5392467"/>
              <a:gd name="connsiteX1329" fmla="*/ 5784006 w 6096001"/>
              <a:gd name="connsiteY1329" fmla="*/ 1613042 h 5392467"/>
              <a:gd name="connsiteX1330" fmla="*/ 5790991 w 6096001"/>
              <a:gd name="connsiteY1330" fmla="*/ 1616035 h 5392467"/>
              <a:gd name="connsiteX1331" fmla="*/ 5789807 w 6096001"/>
              <a:gd name="connsiteY1331" fmla="*/ 1616910 h 5392467"/>
              <a:gd name="connsiteX1332" fmla="*/ 5766600 w 6096001"/>
              <a:gd name="connsiteY1332" fmla="*/ 1632383 h 5392467"/>
              <a:gd name="connsiteX1333" fmla="*/ 5761693 w 6096001"/>
              <a:gd name="connsiteY1333" fmla="*/ 1631401 h 5392467"/>
              <a:gd name="connsiteX1334" fmla="*/ 5770951 w 6096001"/>
              <a:gd name="connsiteY1334" fmla="*/ 1621262 h 5392467"/>
              <a:gd name="connsiteX1335" fmla="*/ 5784006 w 6096001"/>
              <a:gd name="connsiteY1335" fmla="*/ 1613042 h 5392467"/>
              <a:gd name="connsiteX1336" fmla="*/ 5770466 w 6096001"/>
              <a:gd name="connsiteY1336" fmla="*/ 1603834 h 5392467"/>
              <a:gd name="connsiteX1337" fmla="*/ 5770466 w 6096001"/>
              <a:gd name="connsiteY1337" fmla="*/ 1618843 h 5392467"/>
              <a:gd name="connsiteX1338" fmla="*/ 5756928 w 6096001"/>
              <a:gd name="connsiteY1338" fmla="*/ 1630448 h 5392467"/>
              <a:gd name="connsiteX1339" fmla="*/ 5761693 w 6096001"/>
              <a:gd name="connsiteY1339" fmla="*/ 1631401 h 5392467"/>
              <a:gd name="connsiteX1340" fmla="*/ 5760797 w 6096001"/>
              <a:gd name="connsiteY1340" fmla="*/ 1632383 h 5392467"/>
              <a:gd name="connsiteX1341" fmla="*/ 5748547 w 6096001"/>
              <a:gd name="connsiteY1341" fmla="*/ 1632383 h 5392467"/>
              <a:gd name="connsiteX1342" fmla="*/ 5762732 w 6096001"/>
              <a:gd name="connsiteY1342" fmla="*/ 1616910 h 5392467"/>
              <a:gd name="connsiteX1343" fmla="*/ 5762732 w 6096001"/>
              <a:gd name="connsiteY1343" fmla="*/ 1613042 h 5392467"/>
              <a:gd name="connsiteX1344" fmla="*/ 5754993 w 6096001"/>
              <a:gd name="connsiteY1344" fmla="*/ 1616910 h 5392467"/>
              <a:gd name="connsiteX1345" fmla="*/ 5754993 w 6096001"/>
              <a:gd name="connsiteY1345" fmla="*/ 1613042 h 5392467"/>
              <a:gd name="connsiteX1346" fmla="*/ 5757403 w 6096001"/>
              <a:gd name="connsiteY1346" fmla="*/ 1610934 h 5392467"/>
              <a:gd name="connsiteX1347" fmla="*/ 5814235 w 6096001"/>
              <a:gd name="connsiteY1347" fmla="*/ 1598856 h 5392467"/>
              <a:gd name="connsiteX1348" fmla="*/ 5824622 w 6096001"/>
              <a:gd name="connsiteY1348" fmla="*/ 1603372 h 5392467"/>
              <a:gd name="connsiteX1349" fmla="*/ 5797544 w 6096001"/>
              <a:gd name="connsiteY1349" fmla="*/ 1618843 h 5392467"/>
              <a:gd name="connsiteX1350" fmla="*/ 5790991 w 6096001"/>
              <a:gd name="connsiteY1350" fmla="*/ 1616035 h 5392467"/>
              <a:gd name="connsiteX1351" fmla="*/ 5834293 w 6096001"/>
              <a:gd name="connsiteY1351" fmla="*/ 1584031 h 5392467"/>
              <a:gd name="connsiteX1352" fmla="*/ 5834293 w 6096001"/>
              <a:gd name="connsiteY1352" fmla="*/ 1585964 h 5392467"/>
              <a:gd name="connsiteX1353" fmla="*/ 5831678 w 6096001"/>
              <a:gd name="connsiteY1353" fmla="*/ 1585964 h 5392467"/>
              <a:gd name="connsiteX1354" fmla="*/ 5846918 w 6096001"/>
              <a:gd name="connsiteY1354" fmla="*/ 1573903 h 5392467"/>
              <a:gd name="connsiteX1355" fmla="*/ 5847831 w 6096001"/>
              <a:gd name="connsiteY1355" fmla="*/ 1574359 h 5392467"/>
              <a:gd name="connsiteX1356" fmla="*/ 5842028 w 6096001"/>
              <a:gd name="connsiteY1356" fmla="*/ 1580163 h 5392467"/>
              <a:gd name="connsiteX1357" fmla="*/ 5840732 w 6096001"/>
              <a:gd name="connsiteY1357" fmla="*/ 1578866 h 5392467"/>
              <a:gd name="connsiteX1358" fmla="*/ 5818820 w 6096001"/>
              <a:gd name="connsiteY1358" fmla="*/ 1572426 h 5392467"/>
              <a:gd name="connsiteX1359" fmla="*/ 5807216 w 6096001"/>
              <a:gd name="connsiteY1359" fmla="*/ 1578227 h 5392467"/>
              <a:gd name="connsiteX1360" fmla="*/ 5809149 w 6096001"/>
              <a:gd name="connsiteY1360" fmla="*/ 1585964 h 5392467"/>
              <a:gd name="connsiteX1361" fmla="*/ 5818820 w 6096001"/>
              <a:gd name="connsiteY1361" fmla="*/ 1572426 h 5392467"/>
              <a:gd name="connsiteX1362" fmla="*/ 5843963 w 6096001"/>
              <a:gd name="connsiteY1362" fmla="*/ 1560822 h 5392467"/>
              <a:gd name="connsiteX1363" fmla="*/ 5832358 w 6096001"/>
              <a:gd name="connsiteY1363" fmla="*/ 1566623 h 5392467"/>
              <a:gd name="connsiteX1364" fmla="*/ 5830425 w 6096001"/>
              <a:gd name="connsiteY1364" fmla="*/ 1578227 h 5392467"/>
              <a:gd name="connsiteX1365" fmla="*/ 5834293 w 6096001"/>
              <a:gd name="connsiteY1365" fmla="*/ 1578227 h 5392467"/>
              <a:gd name="connsiteX1366" fmla="*/ 5843963 w 6096001"/>
              <a:gd name="connsiteY1366" fmla="*/ 1560822 h 5392467"/>
              <a:gd name="connsiteX1367" fmla="*/ 5876842 w 6096001"/>
              <a:gd name="connsiteY1367" fmla="*/ 1555018 h 5392467"/>
              <a:gd name="connsiteX1368" fmla="*/ 5878777 w 6096001"/>
              <a:gd name="connsiteY1368" fmla="*/ 1556953 h 5392467"/>
              <a:gd name="connsiteX1369" fmla="*/ 5872976 w 6096001"/>
              <a:gd name="connsiteY1369" fmla="*/ 1560822 h 5392467"/>
              <a:gd name="connsiteX1370" fmla="*/ 5876842 w 6096001"/>
              <a:gd name="connsiteY1370" fmla="*/ 1555018 h 5392467"/>
              <a:gd name="connsiteX1371" fmla="*/ 5890595 w 6096001"/>
              <a:gd name="connsiteY1371" fmla="*/ 1530009 h 5392467"/>
              <a:gd name="connsiteX1372" fmla="*/ 5882645 w 6096001"/>
              <a:gd name="connsiteY1372" fmla="*/ 1539547 h 5392467"/>
              <a:gd name="connsiteX1373" fmla="*/ 5869108 w 6096001"/>
              <a:gd name="connsiteY1373" fmla="*/ 1545349 h 5392467"/>
              <a:gd name="connsiteX1374" fmla="*/ 5875713 w 6096001"/>
              <a:gd name="connsiteY1374" fmla="*/ 1538142 h 5392467"/>
              <a:gd name="connsiteX1375" fmla="*/ 5884578 w 6096001"/>
              <a:gd name="connsiteY1375" fmla="*/ 1531809 h 5392467"/>
              <a:gd name="connsiteX1376" fmla="*/ 5987086 w 6096001"/>
              <a:gd name="connsiteY1376" fmla="*/ 1481524 h 5392467"/>
              <a:gd name="connsiteX1377" fmla="*/ 5977417 w 6096001"/>
              <a:gd name="connsiteY1377" fmla="*/ 1489260 h 5392467"/>
              <a:gd name="connsiteX1378" fmla="*/ 5987086 w 6096001"/>
              <a:gd name="connsiteY1378" fmla="*/ 1481524 h 5392467"/>
              <a:gd name="connsiteX1379" fmla="*/ 5468747 w 6096001"/>
              <a:gd name="connsiteY1379" fmla="*/ 1429303 h 5392467"/>
              <a:gd name="connsiteX1380" fmla="*/ 5464879 w 6096001"/>
              <a:gd name="connsiteY1380" fmla="*/ 1431236 h 5392467"/>
              <a:gd name="connsiteX1381" fmla="*/ 5462946 w 6096001"/>
              <a:gd name="connsiteY1381" fmla="*/ 1435104 h 5392467"/>
              <a:gd name="connsiteX1382" fmla="*/ 5468747 w 6096001"/>
              <a:gd name="connsiteY1382" fmla="*/ 1435104 h 5392467"/>
              <a:gd name="connsiteX1383" fmla="*/ 5468747 w 6096001"/>
              <a:gd name="connsiteY1383" fmla="*/ 1429303 h 5392467"/>
              <a:gd name="connsiteX1384" fmla="*/ 5488088 w 6096001"/>
              <a:gd name="connsiteY1384" fmla="*/ 1419631 h 5392467"/>
              <a:gd name="connsiteX1385" fmla="*/ 5482287 w 6096001"/>
              <a:gd name="connsiteY1385" fmla="*/ 1421567 h 5392467"/>
              <a:gd name="connsiteX1386" fmla="*/ 5472615 w 6096001"/>
              <a:gd name="connsiteY1386" fmla="*/ 1433172 h 5392467"/>
              <a:gd name="connsiteX1387" fmla="*/ 5482287 w 6096001"/>
              <a:gd name="connsiteY1387" fmla="*/ 1435104 h 5392467"/>
              <a:gd name="connsiteX1388" fmla="*/ 5484220 w 6096001"/>
              <a:gd name="connsiteY1388" fmla="*/ 1435104 h 5392467"/>
              <a:gd name="connsiteX1389" fmla="*/ 5490021 w 6096001"/>
              <a:gd name="connsiteY1389" fmla="*/ 1431236 h 5392467"/>
              <a:gd name="connsiteX1390" fmla="*/ 5495825 w 6096001"/>
              <a:gd name="connsiteY1390" fmla="*/ 1419631 h 5392467"/>
              <a:gd name="connsiteX1391" fmla="*/ 5488088 w 6096001"/>
              <a:gd name="connsiteY1391" fmla="*/ 1419631 h 5392467"/>
              <a:gd name="connsiteX1392" fmla="*/ 5476483 w 6096001"/>
              <a:gd name="connsiteY1392" fmla="*/ 1408027 h 5392467"/>
              <a:gd name="connsiteX1393" fmla="*/ 5472615 w 6096001"/>
              <a:gd name="connsiteY1393" fmla="*/ 1411895 h 5392467"/>
              <a:gd name="connsiteX1394" fmla="*/ 5474551 w 6096001"/>
              <a:gd name="connsiteY1394" fmla="*/ 1413830 h 5392467"/>
              <a:gd name="connsiteX1395" fmla="*/ 5476483 w 6096001"/>
              <a:gd name="connsiteY1395" fmla="*/ 1408027 h 5392467"/>
              <a:gd name="connsiteX1396" fmla="*/ 5975481 w 6096001"/>
              <a:gd name="connsiteY1396" fmla="*/ 1390621 h 5392467"/>
              <a:gd name="connsiteX1397" fmla="*/ 5971613 w 6096001"/>
              <a:gd name="connsiteY1397" fmla="*/ 1398357 h 5392467"/>
              <a:gd name="connsiteX1398" fmla="*/ 5973548 w 6096001"/>
              <a:gd name="connsiteY1398" fmla="*/ 1400290 h 5392467"/>
              <a:gd name="connsiteX1399" fmla="*/ 5979352 w 6096001"/>
              <a:gd name="connsiteY1399" fmla="*/ 1392554 h 5392467"/>
              <a:gd name="connsiteX1400" fmla="*/ 5975481 w 6096001"/>
              <a:gd name="connsiteY1400" fmla="*/ 1390621 h 5392467"/>
              <a:gd name="connsiteX1401" fmla="*/ 5987086 w 6096001"/>
              <a:gd name="connsiteY1401" fmla="*/ 1385301 h 5392467"/>
              <a:gd name="connsiteX1402" fmla="*/ 5987086 w 6096001"/>
              <a:gd name="connsiteY1402" fmla="*/ 1390621 h 5392467"/>
              <a:gd name="connsiteX1403" fmla="*/ 5982327 w 6096001"/>
              <a:gd name="connsiteY1403" fmla="*/ 1387795 h 5392467"/>
              <a:gd name="connsiteX1404" fmla="*/ 5981285 w 6096001"/>
              <a:gd name="connsiteY1404" fmla="*/ 1386752 h 5392467"/>
              <a:gd name="connsiteX1405" fmla="*/ 6021900 w 6096001"/>
              <a:gd name="connsiteY1405" fmla="*/ 1379338 h 5392467"/>
              <a:gd name="connsiteX1406" fmla="*/ 6021900 w 6096001"/>
              <a:gd name="connsiteY1406" fmla="*/ 1380949 h 5392467"/>
              <a:gd name="connsiteX1407" fmla="*/ 6020519 w 6096001"/>
              <a:gd name="connsiteY1407" fmla="*/ 1380489 h 5392467"/>
              <a:gd name="connsiteX1408" fmla="*/ 5529913 w 6096001"/>
              <a:gd name="connsiteY1408" fmla="*/ 1372488 h 5392467"/>
              <a:gd name="connsiteX1409" fmla="*/ 5520967 w 6096001"/>
              <a:gd name="connsiteY1409" fmla="*/ 1379016 h 5392467"/>
              <a:gd name="connsiteX1410" fmla="*/ 5513231 w 6096001"/>
              <a:gd name="connsiteY1410" fmla="*/ 1380949 h 5392467"/>
              <a:gd name="connsiteX1411" fmla="*/ 5507430 w 6096001"/>
              <a:gd name="connsiteY1411" fmla="*/ 1386752 h 5392467"/>
              <a:gd name="connsiteX1412" fmla="*/ 5501628 w 6096001"/>
              <a:gd name="connsiteY1412" fmla="*/ 1382884 h 5392467"/>
              <a:gd name="connsiteX1413" fmla="*/ 5495825 w 6096001"/>
              <a:gd name="connsiteY1413" fmla="*/ 1388685 h 5392467"/>
              <a:gd name="connsiteX1414" fmla="*/ 5493889 w 6096001"/>
              <a:gd name="connsiteY1414" fmla="*/ 1386752 h 5392467"/>
              <a:gd name="connsiteX1415" fmla="*/ 5478419 w 6096001"/>
              <a:gd name="connsiteY1415" fmla="*/ 1406094 h 5392467"/>
              <a:gd name="connsiteX1416" fmla="*/ 5484220 w 6096001"/>
              <a:gd name="connsiteY1416" fmla="*/ 1409962 h 5392467"/>
              <a:gd name="connsiteX1417" fmla="*/ 5484220 w 6096001"/>
              <a:gd name="connsiteY1417" fmla="*/ 1417699 h 5392467"/>
              <a:gd name="connsiteX1418" fmla="*/ 5499693 w 6096001"/>
              <a:gd name="connsiteY1418" fmla="*/ 1404158 h 5392467"/>
              <a:gd name="connsiteX1419" fmla="*/ 5505497 w 6096001"/>
              <a:gd name="connsiteY1419" fmla="*/ 1400290 h 5392467"/>
              <a:gd name="connsiteX1420" fmla="*/ 5505497 w 6096001"/>
              <a:gd name="connsiteY1420" fmla="*/ 1402225 h 5392467"/>
              <a:gd name="connsiteX1421" fmla="*/ 5522903 w 6096001"/>
              <a:gd name="connsiteY1421" fmla="*/ 1392554 h 5392467"/>
              <a:gd name="connsiteX1422" fmla="*/ 5538376 w 6096001"/>
              <a:gd name="connsiteY1422" fmla="*/ 1377081 h 5392467"/>
              <a:gd name="connsiteX1423" fmla="*/ 5540308 w 6096001"/>
              <a:gd name="connsiteY1423" fmla="*/ 1373212 h 5392467"/>
              <a:gd name="connsiteX1424" fmla="*/ 5529913 w 6096001"/>
              <a:gd name="connsiteY1424" fmla="*/ 1372488 h 5392467"/>
              <a:gd name="connsiteX1425" fmla="*/ 5546112 w 6096001"/>
              <a:gd name="connsiteY1425" fmla="*/ 1369344 h 5392467"/>
              <a:gd name="connsiteX1426" fmla="*/ 5540308 w 6096001"/>
              <a:gd name="connsiteY1426" fmla="*/ 1375148 h 5392467"/>
              <a:gd name="connsiteX1427" fmla="*/ 5546112 w 6096001"/>
              <a:gd name="connsiteY1427" fmla="*/ 1375148 h 5392467"/>
              <a:gd name="connsiteX1428" fmla="*/ 5548045 w 6096001"/>
              <a:gd name="connsiteY1428" fmla="*/ 1371279 h 5392467"/>
              <a:gd name="connsiteX1429" fmla="*/ 5546112 w 6096001"/>
              <a:gd name="connsiteY1429" fmla="*/ 1369344 h 5392467"/>
              <a:gd name="connsiteX1430" fmla="*/ 5971613 w 6096001"/>
              <a:gd name="connsiteY1430" fmla="*/ 1361607 h 5392467"/>
              <a:gd name="connsiteX1431" fmla="*/ 5960011 w 6096001"/>
              <a:gd name="connsiteY1431" fmla="*/ 1371279 h 5392467"/>
              <a:gd name="connsiteX1432" fmla="*/ 5971613 w 6096001"/>
              <a:gd name="connsiteY1432" fmla="*/ 1361607 h 5392467"/>
              <a:gd name="connsiteX1433" fmla="*/ 6023836 w 6096001"/>
              <a:gd name="connsiteY1433" fmla="*/ 1351938 h 5392467"/>
              <a:gd name="connsiteX1434" fmla="*/ 6024801 w 6096001"/>
              <a:gd name="connsiteY1434" fmla="*/ 1351938 h 5392467"/>
              <a:gd name="connsiteX1435" fmla="*/ 6025769 w 6096001"/>
              <a:gd name="connsiteY1435" fmla="*/ 1353873 h 5392467"/>
              <a:gd name="connsiteX1436" fmla="*/ 6027853 w 6096001"/>
              <a:gd name="connsiteY1436" fmla="*/ 1352236 h 5392467"/>
              <a:gd name="connsiteX1437" fmla="*/ 6029637 w 6096001"/>
              <a:gd name="connsiteY1437" fmla="*/ 1355806 h 5392467"/>
              <a:gd name="connsiteX1438" fmla="*/ 6023836 w 6096001"/>
              <a:gd name="connsiteY1438" fmla="*/ 1363543 h 5392467"/>
              <a:gd name="connsiteX1439" fmla="*/ 6019967 w 6096001"/>
              <a:gd name="connsiteY1439" fmla="*/ 1361607 h 5392467"/>
              <a:gd name="connsiteX1440" fmla="*/ 6023836 w 6096001"/>
              <a:gd name="connsiteY1440" fmla="*/ 1351938 h 5392467"/>
              <a:gd name="connsiteX1441" fmla="*/ 6019967 w 6096001"/>
              <a:gd name="connsiteY1441" fmla="*/ 1342269 h 5392467"/>
              <a:gd name="connsiteX1442" fmla="*/ 6020353 w 6096001"/>
              <a:gd name="connsiteY1442" fmla="*/ 1343041 h 5392467"/>
              <a:gd name="connsiteX1443" fmla="*/ 6012406 w 6096001"/>
              <a:gd name="connsiteY1443" fmla="*/ 1347015 h 5392467"/>
              <a:gd name="connsiteX1444" fmla="*/ 6010295 w 6096001"/>
              <a:gd name="connsiteY1444" fmla="*/ 1344202 h 5392467"/>
              <a:gd name="connsiteX1445" fmla="*/ 6019967 w 6096001"/>
              <a:gd name="connsiteY1445" fmla="*/ 1342269 h 5392467"/>
              <a:gd name="connsiteX1446" fmla="*/ 6033505 w 6096001"/>
              <a:gd name="connsiteY1446" fmla="*/ 1336465 h 5392467"/>
              <a:gd name="connsiteX1447" fmla="*/ 6036149 w 6096001"/>
              <a:gd name="connsiteY1447" fmla="*/ 1345717 h 5392467"/>
              <a:gd name="connsiteX1448" fmla="*/ 6027853 w 6096001"/>
              <a:gd name="connsiteY1448" fmla="*/ 1352236 h 5392467"/>
              <a:gd name="connsiteX1449" fmla="*/ 6027704 w 6096001"/>
              <a:gd name="connsiteY1449" fmla="*/ 1351938 h 5392467"/>
              <a:gd name="connsiteX1450" fmla="*/ 6024801 w 6096001"/>
              <a:gd name="connsiteY1450" fmla="*/ 1351938 h 5392467"/>
              <a:gd name="connsiteX1451" fmla="*/ 6020353 w 6096001"/>
              <a:gd name="connsiteY1451" fmla="*/ 1343041 h 5392467"/>
              <a:gd name="connsiteX1452" fmla="*/ 5608002 w 6096001"/>
              <a:gd name="connsiteY1452" fmla="*/ 1324860 h 5392467"/>
              <a:gd name="connsiteX1453" fmla="*/ 5604133 w 6096001"/>
              <a:gd name="connsiteY1453" fmla="*/ 1326796 h 5392467"/>
              <a:gd name="connsiteX1454" fmla="*/ 5606069 w 6096001"/>
              <a:gd name="connsiteY1454" fmla="*/ 1328729 h 5392467"/>
              <a:gd name="connsiteX1455" fmla="*/ 5608002 w 6096001"/>
              <a:gd name="connsiteY1455" fmla="*/ 1324860 h 5392467"/>
              <a:gd name="connsiteX1456" fmla="*/ 6095397 w 6096001"/>
              <a:gd name="connsiteY1456" fmla="*/ 1307454 h 5392467"/>
              <a:gd name="connsiteX1457" fmla="*/ 6093946 w 6096001"/>
              <a:gd name="connsiteY1457" fmla="*/ 1310597 h 5392467"/>
              <a:gd name="connsiteX1458" fmla="*/ 6092743 w 6096001"/>
              <a:gd name="connsiteY1458" fmla="*/ 1309401 h 5392467"/>
              <a:gd name="connsiteX1459" fmla="*/ 5642816 w 6096001"/>
              <a:gd name="connsiteY1459" fmla="*/ 1303586 h 5392467"/>
              <a:gd name="connsiteX1460" fmla="*/ 5623475 w 6096001"/>
              <a:gd name="connsiteY1460" fmla="*/ 1315191 h 5392467"/>
              <a:gd name="connsiteX1461" fmla="*/ 5613805 w 6096001"/>
              <a:gd name="connsiteY1461" fmla="*/ 1320992 h 5392467"/>
              <a:gd name="connsiteX1462" fmla="*/ 5609937 w 6096001"/>
              <a:gd name="connsiteY1462" fmla="*/ 1330664 h 5392467"/>
              <a:gd name="connsiteX1463" fmla="*/ 5627343 w 6096001"/>
              <a:gd name="connsiteY1463" fmla="*/ 1328729 h 5392467"/>
              <a:gd name="connsiteX1464" fmla="*/ 5642816 w 6096001"/>
              <a:gd name="connsiteY1464" fmla="*/ 1303586 h 5392467"/>
              <a:gd name="connsiteX1465" fmla="*/ 6077989 w 6096001"/>
              <a:gd name="connsiteY1465" fmla="*/ 1291981 h 5392467"/>
              <a:gd name="connsiteX1466" fmla="*/ 6088325 w 6096001"/>
              <a:gd name="connsiteY1466" fmla="*/ 1305006 h 5392467"/>
              <a:gd name="connsiteX1467" fmla="*/ 6092743 w 6096001"/>
              <a:gd name="connsiteY1467" fmla="*/ 1309401 h 5392467"/>
              <a:gd name="connsiteX1468" fmla="*/ 6066386 w 6096001"/>
              <a:gd name="connsiteY1468" fmla="*/ 1328729 h 5392467"/>
              <a:gd name="connsiteX1469" fmla="*/ 6037373 w 6096001"/>
              <a:gd name="connsiteY1469" fmla="*/ 1350003 h 5392467"/>
              <a:gd name="connsiteX1470" fmla="*/ 6036149 w 6096001"/>
              <a:gd name="connsiteY1470" fmla="*/ 1345717 h 5392467"/>
              <a:gd name="connsiteX1471" fmla="*/ 6052846 w 6096001"/>
              <a:gd name="connsiteY1471" fmla="*/ 1332597 h 5392467"/>
              <a:gd name="connsiteX1472" fmla="*/ 6050911 w 6096001"/>
              <a:gd name="connsiteY1472" fmla="*/ 1330664 h 5392467"/>
              <a:gd name="connsiteX1473" fmla="*/ 6031570 w 6096001"/>
              <a:gd name="connsiteY1473" fmla="*/ 1334532 h 5392467"/>
              <a:gd name="connsiteX1474" fmla="*/ 6033505 w 6096001"/>
              <a:gd name="connsiteY1474" fmla="*/ 1330664 h 5392467"/>
              <a:gd name="connsiteX1475" fmla="*/ 6077989 w 6096001"/>
              <a:gd name="connsiteY1475" fmla="*/ 1291981 h 5392467"/>
              <a:gd name="connsiteX1476" fmla="*/ 5644749 w 6096001"/>
              <a:gd name="connsiteY1476" fmla="*/ 1251363 h 5392467"/>
              <a:gd name="connsiteX1477" fmla="*/ 5635080 w 6096001"/>
              <a:gd name="connsiteY1477" fmla="*/ 1262968 h 5392467"/>
              <a:gd name="connsiteX1478" fmla="*/ 5638948 w 6096001"/>
              <a:gd name="connsiteY1478" fmla="*/ 1276508 h 5392467"/>
              <a:gd name="connsiteX1479" fmla="*/ 5629278 w 6096001"/>
              <a:gd name="connsiteY1479" fmla="*/ 1286178 h 5392467"/>
              <a:gd name="connsiteX1480" fmla="*/ 5623475 w 6096001"/>
              <a:gd name="connsiteY1480" fmla="*/ 1295850 h 5392467"/>
              <a:gd name="connsiteX1481" fmla="*/ 5644749 w 6096001"/>
              <a:gd name="connsiteY1481" fmla="*/ 1301651 h 5392467"/>
              <a:gd name="connsiteX1482" fmla="*/ 5660224 w 6096001"/>
              <a:gd name="connsiteY1482" fmla="*/ 1305519 h 5392467"/>
              <a:gd name="connsiteX1483" fmla="*/ 5615738 w 6096001"/>
              <a:gd name="connsiteY1483" fmla="*/ 1346137 h 5392467"/>
              <a:gd name="connsiteX1484" fmla="*/ 5557714 w 6096001"/>
              <a:gd name="connsiteY1484" fmla="*/ 1382884 h 5392467"/>
              <a:gd name="connsiteX1485" fmla="*/ 5559650 w 6096001"/>
              <a:gd name="connsiteY1485" fmla="*/ 1390621 h 5392467"/>
              <a:gd name="connsiteX1486" fmla="*/ 5551913 w 6096001"/>
              <a:gd name="connsiteY1486" fmla="*/ 1396422 h 5392467"/>
              <a:gd name="connsiteX1487" fmla="*/ 5522903 w 6096001"/>
              <a:gd name="connsiteY1487" fmla="*/ 1409962 h 5392467"/>
              <a:gd name="connsiteX1488" fmla="*/ 5517099 w 6096001"/>
              <a:gd name="connsiteY1488" fmla="*/ 1402225 h 5392467"/>
              <a:gd name="connsiteX1489" fmla="*/ 5503561 w 6096001"/>
              <a:gd name="connsiteY1489" fmla="*/ 1409962 h 5392467"/>
              <a:gd name="connsiteX1490" fmla="*/ 5501628 w 6096001"/>
              <a:gd name="connsiteY1490" fmla="*/ 1417699 h 5392467"/>
              <a:gd name="connsiteX1491" fmla="*/ 5503561 w 6096001"/>
              <a:gd name="connsiteY1491" fmla="*/ 1417699 h 5392467"/>
              <a:gd name="connsiteX1492" fmla="*/ 5503561 w 6096001"/>
              <a:gd name="connsiteY1492" fmla="*/ 1419631 h 5392467"/>
              <a:gd name="connsiteX1493" fmla="*/ 5502112 w 6096001"/>
              <a:gd name="connsiteY1493" fmla="*/ 1421083 h 5392467"/>
              <a:gd name="connsiteX1494" fmla="*/ 5501628 w 6096001"/>
              <a:gd name="connsiteY1494" fmla="*/ 1419631 h 5392467"/>
              <a:gd name="connsiteX1495" fmla="*/ 5501628 w 6096001"/>
              <a:gd name="connsiteY1495" fmla="*/ 1421567 h 5392467"/>
              <a:gd name="connsiteX1496" fmla="*/ 5502112 w 6096001"/>
              <a:gd name="connsiteY1496" fmla="*/ 1421083 h 5392467"/>
              <a:gd name="connsiteX1497" fmla="*/ 5503561 w 6096001"/>
              <a:gd name="connsiteY1497" fmla="*/ 1425435 h 5392467"/>
              <a:gd name="connsiteX1498" fmla="*/ 5573190 w 6096001"/>
              <a:gd name="connsiteY1498" fmla="*/ 1388685 h 5392467"/>
              <a:gd name="connsiteX1499" fmla="*/ 5644749 w 6096001"/>
              <a:gd name="connsiteY1499" fmla="*/ 1396422 h 5392467"/>
              <a:gd name="connsiteX1500" fmla="*/ 5650553 w 6096001"/>
              <a:gd name="connsiteY1500" fmla="*/ 1386752 h 5392467"/>
              <a:gd name="connsiteX1501" fmla="*/ 5631211 w 6096001"/>
              <a:gd name="connsiteY1501" fmla="*/ 1382884 h 5392467"/>
              <a:gd name="connsiteX1502" fmla="*/ 5635080 w 6096001"/>
              <a:gd name="connsiteY1502" fmla="*/ 1375148 h 5392467"/>
              <a:gd name="connsiteX1503" fmla="*/ 5646684 w 6096001"/>
              <a:gd name="connsiteY1503" fmla="*/ 1367411 h 5392467"/>
              <a:gd name="connsiteX1504" fmla="*/ 5637015 w 6096001"/>
              <a:gd name="connsiteY1504" fmla="*/ 1350003 h 5392467"/>
              <a:gd name="connsiteX1505" fmla="*/ 5664090 w 6096001"/>
              <a:gd name="connsiteY1505" fmla="*/ 1328729 h 5392467"/>
              <a:gd name="connsiteX1506" fmla="*/ 5664090 w 6096001"/>
              <a:gd name="connsiteY1506" fmla="*/ 1313255 h 5392467"/>
              <a:gd name="connsiteX1507" fmla="*/ 5664090 w 6096001"/>
              <a:gd name="connsiteY1507" fmla="*/ 1311323 h 5392467"/>
              <a:gd name="connsiteX1508" fmla="*/ 5662157 w 6096001"/>
              <a:gd name="connsiteY1508" fmla="*/ 1261035 h 5392467"/>
              <a:gd name="connsiteX1509" fmla="*/ 5654421 w 6096001"/>
              <a:gd name="connsiteY1509" fmla="*/ 1262968 h 5392467"/>
              <a:gd name="connsiteX1510" fmla="*/ 5644749 w 6096001"/>
              <a:gd name="connsiteY1510" fmla="*/ 1251363 h 5392467"/>
              <a:gd name="connsiteX1511" fmla="*/ 5635080 w 6096001"/>
              <a:gd name="connsiteY1511" fmla="*/ 1241694 h 5392467"/>
              <a:gd name="connsiteX1512" fmla="*/ 5629278 w 6096001"/>
              <a:gd name="connsiteY1512" fmla="*/ 1247497 h 5392467"/>
              <a:gd name="connsiteX1513" fmla="*/ 5640883 w 6096001"/>
              <a:gd name="connsiteY1513" fmla="*/ 1255234 h 5392467"/>
              <a:gd name="connsiteX1514" fmla="*/ 5640883 w 6096001"/>
              <a:gd name="connsiteY1514" fmla="*/ 1247497 h 5392467"/>
              <a:gd name="connsiteX1515" fmla="*/ 5635080 w 6096001"/>
              <a:gd name="connsiteY1515" fmla="*/ 1241694 h 5392467"/>
              <a:gd name="connsiteX1516" fmla="*/ 5573190 w 6096001"/>
              <a:gd name="connsiteY1516" fmla="*/ 1013469 h 5392467"/>
              <a:gd name="connsiteX1517" fmla="*/ 5569322 w 6096001"/>
              <a:gd name="connsiteY1517" fmla="*/ 1015404 h 5392467"/>
              <a:gd name="connsiteX1518" fmla="*/ 5565453 w 6096001"/>
              <a:gd name="connsiteY1518" fmla="*/ 1021206 h 5392467"/>
              <a:gd name="connsiteX1519" fmla="*/ 5565453 w 6096001"/>
              <a:gd name="connsiteY1519" fmla="*/ 1023141 h 5392467"/>
              <a:gd name="connsiteX1520" fmla="*/ 5573190 w 6096001"/>
              <a:gd name="connsiteY1520" fmla="*/ 1013469 h 5392467"/>
              <a:gd name="connsiteX1521" fmla="*/ 4991023 w 6096001"/>
              <a:gd name="connsiteY1521" fmla="*/ 986394 h 5392467"/>
              <a:gd name="connsiteX1522" fmla="*/ 4985222 w 6096001"/>
              <a:gd name="connsiteY1522" fmla="*/ 990260 h 5392467"/>
              <a:gd name="connsiteX1523" fmla="*/ 4987155 w 6096001"/>
              <a:gd name="connsiteY1523" fmla="*/ 992195 h 5392467"/>
              <a:gd name="connsiteX1524" fmla="*/ 4992959 w 6096001"/>
              <a:gd name="connsiteY1524" fmla="*/ 988327 h 5392467"/>
              <a:gd name="connsiteX1525" fmla="*/ 4991023 w 6096001"/>
              <a:gd name="connsiteY1525" fmla="*/ 986394 h 5392467"/>
              <a:gd name="connsiteX1526" fmla="*/ 5462946 w 6096001"/>
              <a:gd name="connsiteY1526" fmla="*/ 965117 h 5392467"/>
              <a:gd name="connsiteX1527" fmla="*/ 5451341 w 6096001"/>
              <a:gd name="connsiteY1527" fmla="*/ 967052 h 5392467"/>
              <a:gd name="connsiteX1528" fmla="*/ 5428131 w 6096001"/>
              <a:gd name="connsiteY1528" fmla="*/ 986394 h 5392467"/>
              <a:gd name="connsiteX1529" fmla="*/ 5424263 w 6096001"/>
              <a:gd name="connsiteY1529" fmla="*/ 990260 h 5392467"/>
              <a:gd name="connsiteX1530" fmla="*/ 5426196 w 6096001"/>
              <a:gd name="connsiteY1530" fmla="*/ 1009601 h 5392467"/>
              <a:gd name="connsiteX1531" fmla="*/ 5445537 w 6096001"/>
              <a:gd name="connsiteY1531" fmla="*/ 996063 h 5392467"/>
              <a:gd name="connsiteX1532" fmla="*/ 5461010 w 6096001"/>
              <a:gd name="connsiteY1532" fmla="*/ 978657 h 5392467"/>
              <a:gd name="connsiteX1533" fmla="*/ 5462946 w 6096001"/>
              <a:gd name="connsiteY1533" fmla="*/ 965117 h 5392467"/>
              <a:gd name="connsiteX1534" fmla="*/ 5468747 w 6096001"/>
              <a:gd name="connsiteY1534" fmla="*/ 943843 h 5392467"/>
              <a:gd name="connsiteX1535" fmla="*/ 5466814 w 6096001"/>
              <a:gd name="connsiteY1535" fmla="*/ 949644 h 5392467"/>
              <a:gd name="connsiteX1536" fmla="*/ 5468747 w 6096001"/>
              <a:gd name="connsiteY1536" fmla="*/ 955448 h 5392467"/>
              <a:gd name="connsiteX1537" fmla="*/ 5472615 w 6096001"/>
              <a:gd name="connsiteY1537" fmla="*/ 951579 h 5392467"/>
              <a:gd name="connsiteX1538" fmla="*/ 5472615 w 6096001"/>
              <a:gd name="connsiteY1538" fmla="*/ 945776 h 5392467"/>
              <a:gd name="connsiteX1539" fmla="*/ 5470680 w 6096001"/>
              <a:gd name="connsiteY1539" fmla="*/ 943843 h 5392467"/>
              <a:gd name="connsiteX1540" fmla="*/ 5468747 w 6096001"/>
              <a:gd name="connsiteY1540" fmla="*/ 943843 h 5392467"/>
              <a:gd name="connsiteX1541" fmla="*/ 5298546 w 6096001"/>
              <a:gd name="connsiteY1541" fmla="*/ 878083 h 5392467"/>
              <a:gd name="connsiteX1542" fmla="*/ 5281140 w 6096001"/>
              <a:gd name="connsiteY1542" fmla="*/ 893556 h 5392467"/>
              <a:gd name="connsiteX1543" fmla="*/ 5283073 w 6096001"/>
              <a:gd name="connsiteY1543" fmla="*/ 895488 h 5392467"/>
              <a:gd name="connsiteX1544" fmla="*/ 5290810 w 6096001"/>
              <a:gd name="connsiteY1544" fmla="*/ 883884 h 5392467"/>
              <a:gd name="connsiteX1545" fmla="*/ 5298546 w 6096001"/>
              <a:gd name="connsiteY1545" fmla="*/ 878083 h 5392467"/>
              <a:gd name="connsiteX1546" fmla="*/ 999037 w 6096001"/>
              <a:gd name="connsiteY1546" fmla="*/ 876150 h 5392467"/>
              <a:gd name="connsiteX1547" fmla="*/ 999037 w 6096001"/>
              <a:gd name="connsiteY1547" fmla="*/ 878083 h 5392467"/>
              <a:gd name="connsiteX1548" fmla="*/ 1000972 w 6096001"/>
              <a:gd name="connsiteY1548" fmla="*/ 876150 h 5392467"/>
              <a:gd name="connsiteX1549" fmla="*/ 999037 w 6096001"/>
              <a:gd name="connsiteY1549" fmla="*/ 876150 h 5392467"/>
              <a:gd name="connsiteX1550" fmla="*/ 886860 w 6096001"/>
              <a:gd name="connsiteY1550" fmla="*/ 860677 h 5392467"/>
              <a:gd name="connsiteX1551" fmla="*/ 886860 w 6096001"/>
              <a:gd name="connsiteY1551" fmla="*/ 864545 h 5392467"/>
              <a:gd name="connsiteX1552" fmla="*/ 890728 w 6096001"/>
              <a:gd name="connsiteY1552" fmla="*/ 864545 h 5392467"/>
              <a:gd name="connsiteX1553" fmla="*/ 892661 w 6096001"/>
              <a:gd name="connsiteY1553" fmla="*/ 860677 h 5392467"/>
              <a:gd name="connsiteX1554" fmla="*/ 886860 w 6096001"/>
              <a:gd name="connsiteY1554" fmla="*/ 860677 h 5392467"/>
              <a:gd name="connsiteX1555" fmla="*/ 5321756 w 6096001"/>
              <a:gd name="connsiteY1555" fmla="*/ 854873 h 5392467"/>
              <a:gd name="connsiteX1556" fmla="*/ 5304350 w 6096001"/>
              <a:gd name="connsiteY1556" fmla="*/ 866478 h 5392467"/>
              <a:gd name="connsiteX1557" fmla="*/ 5310151 w 6096001"/>
              <a:gd name="connsiteY1557" fmla="*/ 872281 h 5392467"/>
              <a:gd name="connsiteX1558" fmla="*/ 5321756 w 6096001"/>
              <a:gd name="connsiteY1558" fmla="*/ 854873 h 5392467"/>
              <a:gd name="connsiteX1559" fmla="*/ 1873250 w 6096001"/>
              <a:gd name="connsiteY1559" fmla="*/ 835532 h 5392467"/>
              <a:gd name="connsiteX1560" fmla="*/ 1865516 w 6096001"/>
              <a:gd name="connsiteY1560" fmla="*/ 841335 h 5392467"/>
              <a:gd name="connsiteX1561" fmla="*/ 1865516 w 6096001"/>
              <a:gd name="connsiteY1561" fmla="*/ 843268 h 5392467"/>
              <a:gd name="connsiteX1562" fmla="*/ 1879054 w 6096001"/>
              <a:gd name="connsiteY1562" fmla="*/ 837467 h 5392467"/>
              <a:gd name="connsiteX1563" fmla="*/ 1873250 w 6096001"/>
              <a:gd name="connsiteY1563" fmla="*/ 835532 h 5392467"/>
              <a:gd name="connsiteX1564" fmla="*/ 1902263 w 6096001"/>
              <a:gd name="connsiteY1564" fmla="*/ 827795 h 5392467"/>
              <a:gd name="connsiteX1565" fmla="*/ 1882922 w 6096001"/>
              <a:gd name="connsiteY1565" fmla="*/ 835532 h 5392467"/>
              <a:gd name="connsiteX1566" fmla="*/ 1884855 w 6096001"/>
              <a:gd name="connsiteY1566" fmla="*/ 835532 h 5392467"/>
              <a:gd name="connsiteX1567" fmla="*/ 1882922 w 6096001"/>
              <a:gd name="connsiteY1567" fmla="*/ 843268 h 5392467"/>
              <a:gd name="connsiteX1568" fmla="*/ 1880987 w 6096001"/>
              <a:gd name="connsiteY1568" fmla="*/ 845204 h 5392467"/>
              <a:gd name="connsiteX1569" fmla="*/ 1902263 w 6096001"/>
              <a:gd name="connsiteY1569" fmla="*/ 827795 h 5392467"/>
              <a:gd name="connsiteX1570" fmla="*/ 1718523 w 6096001"/>
              <a:gd name="connsiteY1570" fmla="*/ 816190 h 5392467"/>
              <a:gd name="connsiteX1571" fmla="*/ 1677907 w 6096001"/>
              <a:gd name="connsiteY1571" fmla="*/ 835532 h 5392467"/>
              <a:gd name="connsiteX1572" fmla="*/ 1718523 w 6096001"/>
              <a:gd name="connsiteY1572" fmla="*/ 816190 h 5392467"/>
              <a:gd name="connsiteX1573" fmla="*/ 1991231 w 6096001"/>
              <a:gd name="connsiteY1573" fmla="*/ 792983 h 5392467"/>
              <a:gd name="connsiteX1574" fmla="*/ 1979626 w 6096001"/>
              <a:gd name="connsiteY1574" fmla="*/ 802653 h 5392467"/>
              <a:gd name="connsiteX1575" fmla="*/ 1989298 w 6096001"/>
              <a:gd name="connsiteY1575" fmla="*/ 800720 h 5392467"/>
              <a:gd name="connsiteX1576" fmla="*/ 1993166 w 6096001"/>
              <a:gd name="connsiteY1576" fmla="*/ 792983 h 5392467"/>
              <a:gd name="connsiteX1577" fmla="*/ 1991231 w 6096001"/>
              <a:gd name="connsiteY1577" fmla="*/ 792983 h 5392467"/>
              <a:gd name="connsiteX1578" fmla="*/ 1037719 w 6096001"/>
              <a:gd name="connsiteY1578" fmla="*/ 781378 h 5392467"/>
              <a:gd name="connsiteX1579" fmla="*/ 1033851 w 6096001"/>
              <a:gd name="connsiteY1579" fmla="*/ 783311 h 5392467"/>
              <a:gd name="connsiteX1580" fmla="*/ 1035784 w 6096001"/>
              <a:gd name="connsiteY1580" fmla="*/ 785247 h 5392467"/>
              <a:gd name="connsiteX1581" fmla="*/ 1037719 w 6096001"/>
              <a:gd name="connsiteY1581" fmla="*/ 781378 h 5392467"/>
              <a:gd name="connsiteX1582" fmla="*/ 1782350 w 6096001"/>
              <a:gd name="connsiteY1582" fmla="*/ 777510 h 5392467"/>
              <a:gd name="connsiteX1583" fmla="*/ 1753337 w 6096001"/>
              <a:gd name="connsiteY1583" fmla="*/ 794916 h 5392467"/>
              <a:gd name="connsiteX1584" fmla="*/ 1755272 w 6096001"/>
              <a:gd name="connsiteY1584" fmla="*/ 798784 h 5392467"/>
              <a:gd name="connsiteX1585" fmla="*/ 1784283 w 6096001"/>
              <a:gd name="connsiteY1585" fmla="*/ 779443 h 5392467"/>
              <a:gd name="connsiteX1586" fmla="*/ 1782350 w 6096001"/>
              <a:gd name="connsiteY1586" fmla="*/ 777510 h 5392467"/>
              <a:gd name="connsiteX1587" fmla="*/ 4911725 w 6096001"/>
              <a:gd name="connsiteY1587" fmla="*/ 767838 h 5392467"/>
              <a:gd name="connsiteX1588" fmla="*/ 4900121 w 6096001"/>
              <a:gd name="connsiteY1588" fmla="*/ 777510 h 5392467"/>
              <a:gd name="connsiteX1589" fmla="*/ 4894319 w 6096001"/>
              <a:gd name="connsiteY1589" fmla="*/ 781378 h 5392467"/>
              <a:gd name="connsiteX1590" fmla="*/ 4878846 w 6096001"/>
              <a:gd name="connsiteY1590" fmla="*/ 787180 h 5392467"/>
              <a:gd name="connsiteX1591" fmla="*/ 4834363 w 6096001"/>
              <a:gd name="connsiteY1591" fmla="*/ 820059 h 5392467"/>
              <a:gd name="connsiteX1592" fmla="*/ 4826626 w 6096001"/>
              <a:gd name="connsiteY1592" fmla="*/ 827795 h 5392467"/>
              <a:gd name="connsiteX1593" fmla="*/ 4844032 w 6096001"/>
              <a:gd name="connsiteY1593" fmla="*/ 820059 h 5392467"/>
              <a:gd name="connsiteX1594" fmla="*/ 4847900 w 6096001"/>
              <a:gd name="connsiteY1594" fmla="*/ 825862 h 5392467"/>
              <a:gd name="connsiteX1595" fmla="*/ 4855637 w 6096001"/>
              <a:gd name="connsiteY1595" fmla="*/ 816190 h 5392467"/>
              <a:gd name="connsiteX1596" fmla="*/ 4857572 w 6096001"/>
              <a:gd name="connsiteY1596" fmla="*/ 810389 h 5392467"/>
              <a:gd name="connsiteX1597" fmla="*/ 4886583 w 6096001"/>
              <a:gd name="connsiteY1597" fmla="*/ 792983 h 5392467"/>
              <a:gd name="connsiteX1598" fmla="*/ 4911725 w 6096001"/>
              <a:gd name="connsiteY1598" fmla="*/ 779443 h 5392467"/>
              <a:gd name="connsiteX1599" fmla="*/ 4911725 w 6096001"/>
              <a:gd name="connsiteY1599" fmla="*/ 767838 h 5392467"/>
              <a:gd name="connsiteX1600" fmla="*/ 5325624 w 6096001"/>
              <a:gd name="connsiteY1600" fmla="*/ 762037 h 5392467"/>
              <a:gd name="connsiteX1601" fmla="*/ 5321756 w 6096001"/>
              <a:gd name="connsiteY1601" fmla="*/ 765905 h 5392467"/>
              <a:gd name="connsiteX1602" fmla="*/ 5325624 w 6096001"/>
              <a:gd name="connsiteY1602" fmla="*/ 765905 h 5392467"/>
              <a:gd name="connsiteX1603" fmla="*/ 5327559 w 6096001"/>
              <a:gd name="connsiteY1603" fmla="*/ 763970 h 5392467"/>
              <a:gd name="connsiteX1604" fmla="*/ 5325624 w 6096001"/>
              <a:gd name="connsiteY1604" fmla="*/ 762037 h 5392467"/>
              <a:gd name="connsiteX1605" fmla="*/ 4902056 w 6096001"/>
              <a:gd name="connsiteY1605" fmla="*/ 762037 h 5392467"/>
              <a:gd name="connsiteX1606" fmla="*/ 4898188 w 6096001"/>
              <a:gd name="connsiteY1606" fmla="*/ 765905 h 5392467"/>
              <a:gd name="connsiteX1607" fmla="*/ 4898188 w 6096001"/>
              <a:gd name="connsiteY1607" fmla="*/ 767838 h 5392467"/>
              <a:gd name="connsiteX1608" fmla="*/ 4902056 w 6096001"/>
              <a:gd name="connsiteY1608" fmla="*/ 762037 h 5392467"/>
              <a:gd name="connsiteX1609" fmla="*/ 5401054 w 6096001"/>
              <a:gd name="connsiteY1609" fmla="*/ 756234 h 5392467"/>
              <a:gd name="connsiteX1610" fmla="*/ 5385581 w 6096001"/>
              <a:gd name="connsiteY1610" fmla="*/ 767838 h 5392467"/>
              <a:gd name="connsiteX1611" fmla="*/ 5389449 w 6096001"/>
              <a:gd name="connsiteY1611" fmla="*/ 767838 h 5392467"/>
              <a:gd name="connsiteX1612" fmla="*/ 5397185 w 6096001"/>
              <a:gd name="connsiteY1612" fmla="*/ 762037 h 5392467"/>
              <a:gd name="connsiteX1613" fmla="*/ 5401054 w 6096001"/>
              <a:gd name="connsiteY1613" fmla="*/ 756234 h 5392467"/>
              <a:gd name="connsiteX1614" fmla="*/ 1834568 w 6096001"/>
              <a:gd name="connsiteY1614" fmla="*/ 756234 h 5392467"/>
              <a:gd name="connsiteX1615" fmla="*/ 1832635 w 6096001"/>
              <a:gd name="connsiteY1615" fmla="*/ 758169 h 5392467"/>
              <a:gd name="connsiteX1616" fmla="*/ 1836503 w 6096001"/>
              <a:gd name="connsiteY1616" fmla="*/ 756234 h 5392467"/>
              <a:gd name="connsiteX1617" fmla="*/ 1834568 w 6096001"/>
              <a:gd name="connsiteY1617" fmla="*/ 756234 h 5392467"/>
              <a:gd name="connsiteX1618" fmla="*/ 1828767 w 6096001"/>
              <a:gd name="connsiteY1618" fmla="*/ 748497 h 5392467"/>
              <a:gd name="connsiteX1619" fmla="*/ 1822965 w 6096001"/>
              <a:gd name="connsiteY1619" fmla="*/ 750432 h 5392467"/>
              <a:gd name="connsiteX1620" fmla="*/ 1824898 w 6096001"/>
              <a:gd name="connsiteY1620" fmla="*/ 750432 h 5392467"/>
              <a:gd name="connsiteX1621" fmla="*/ 1809425 w 6096001"/>
              <a:gd name="connsiteY1621" fmla="*/ 763970 h 5392467"/>
              <a:gd name="connsiteX1622" fmla="*/ 1819097 w 6096001"/>
              <a:gd name="connsiteY1622" fmla="*/ 767838 h 5392467"/>
              <a:gd name="connsiteX1623" fmla="*/ 1822965 w 6096001"/>
              <a:gd name="connsiteY1623" fmla="*/ 756234 h 5392467"/>
              <a:gd name="connsiteX1624" fmla="*/ 1826834 w 6096001"/>
              <a:gd name="connsiteY1624" fmla="*/ 750432 h 5392467"/>
              <a:gd name="connsiteX1625" fmla="*/ 1828767 w 6096001"/>
              <a:gd name="connsiteY1625" fmla="*/ 748497 h 5392467"/>
              <a:gd name="connsiteX1626" fmla="*/ 5397185 w 6096001"/>
              <a:gd name="connsiteY1626" fmla="*/ 742696 h 5392467"/>
              <a:gd name="connsiteX1627" fmla="*/ 5393317 w 6096001"/>
              <a:gd name="connsiteY1627" fmla="*/ 748497 h 5392467"/>
              <a:gd name="connsiteX1628" fmla="*/ 5399121 w 6096001"/>
              <a:gd name="connsiteY1628" fmla="*/ 744629 h 5392467"/>
              <a:gd name="connsiteX1629" fmla="*/ 5397185 w 6096001"/>
              <a:gd name="connsiteY1629" fmla="*/ 742696 h 5392467"/>
              <a:gd name="connsiteX1630" fmla="*/ 2122235 w 6096001"/>
              <a:gd name="connsiteY1630" fmla="*/ 705949 h 5392467"/>
              <a:gd name="connsiteX1631" fmla="*/ 2122752 w 6096001"/>
              <a:gd name="connsiteY1631" fmla="*/ 705949 h 5392467"/>
              <a:gd name="connsiteX1632" fmla="*/ 2122752 w 6096001"/>
              <a:gd name="connsiteY1632" fmla="*/ 709815 h 5392467"/>
              <a:gd name="connsiteX1633" fmla="*/ 2121769 w 6096001"/>
              <a:gd name="connsiteY1633" fmla="*/ 707852 h 5392467"/>
              <a:gd name="connsiteX1634" fmla="*/ 5445537 w 6096001"/>
              <a:gd name="connsiteY1634" fmla="*/ 702080 h 5392467"/>
              <a:gd name="connsiteX1635" fmla="*/ 5441669 w 6096001"/>
              <a:gd name="connsiteY1635" fmla="*/ 705949 h 5392467"/>
              <a:gd name="connsiteX1636" fmla="*/ 5445537 w 6096001"/>
              <a:gd name="connsiteY1636" fmla="*/ 707882 h 5392467"/>
              <a:gd name="connsiteX1637" fmla="*/ 5447473 w 6096001"/>
              <a:gd name="connsiteY1637" fmla="*/ 704013 h 5392467"/>
              <a:gd name="connsiteX1638" fmla="*/ 5445537 w 6096001"/>
              <a:gd name="connsiteY1638" fmla="*/ 702080 h 5392467"/>
              <a:gd name="connsiteX1639" fmla="*/ 1832635 w 6096001"/>
              <a:gd name="connsiteY1639" fmla="*/ 700145 h 5392467"/>
              <a:gd name="connsiteX1640" fmla="*/ 1805557 w 6096001"/>
              <a:gd name="connsiteY1640" fmla="*/ 707882 h 5392467"/>
              <a:gd name="connsiteX1641" fmla="*/ 1813294 w 6096001"/>
              <a:gd name="connsiteY1641" fmla="*/ 711750 h 5392467"/>
              <a:gd name="connsiteX1642" fmla="*/ 1811361 w 6096001"/>
              <a:gd name="connsiteY1642" fmla="*/ 713685 h 5392467"/>
              <a:gd name="connsiteX1643" fmla="*/ 1706918 w 6096001"/>
              <a:gd name="connsiteY1643" fmla="*/ 756234 h 5392467"/>
              <a:gd name="connsiteX1644" fmla="*/ 1703050 w 6096001"/>
              <a:gd name="connsiteY1644" fmla="*/ 758169 h 5392467"/>
              <a:gd name="connsiteX1645" fmla="*/ 1697248 w 6096001"/>
              <a:gd name="connsiteY1645" fmla="*/ 769774 h 5392467"/>
              <a:gd name="connsiteX1646" fmla="*/ 1689512 w 6096001"/>
              <a:gd name="connsiteY1646" fmla="*/ 789115 h 5392467"/>
              <a:gd name="connsiteX1647" fmla="*/ 1701117 w 6096001"/>
              <a:gd name="connsiteY1647" fmla="*/ 783311 h 5392467"/>
              <a:gd name="connsiteX1648" fmla="*/ 1710786 w 6096001"/>
              <a:gd name="connsiteY1648" fmla="*/ 777510 h 5392467"/>
              <a:gd name="connsiteX1649" fmla="*/ 1714654 w 6096001"/>
              <a:gd name="connsiteY1649" fmla="*/ 775575 h 5392467"/>
              <a:gd name="connsiteX1650" fmla="*/ 1726259 w 6096001"/>
              <a:gd name="connsiteY1650" fmla="*/ 769774 h 5392467"/>
              <a:gd name="connsiteX1651" fmla="*/ 1730127 w 6096001"/>
              <a:gd name="connsiteY1651" fmla="*/ 767838 h 5392467"/>
              <a:gd name="connsiteX1652" fmla="*/ 1741732 w 6096001"/>
              <a:gd name="connsiteY1652" fmla="*/ 762037 h 5392467"/>
              <a:gd name="connsiteX1653" fmla="*/ 1830702 w 6096001"/>
              <a:gd name="connsiteY1653" fmla="*/ 719486 h 5392467"/>
              <a:gd name="connsiteX1654" fmla="*/ 1836503 w 6096001"/>
              <a:gd name="connsiteY1654" fmla="*/ 715618 h 5392467"/>
              <a:gd name="connsiteX1655" fmla="*/ 1853909 w 6096001"/>
              <a:gd name="connsiteY1655" fmla="*/ 705949 h 5392467"/>
              <a:gd name="connsiteX1656" fmla="*/ 1844240 w 6096001"/>
              <a:gd name="connsiteY1656" fmla="*/ 707882 h 5392467"/>
              <a:gd name="connsiteX1657" fmla="*/ 1836503 w 6096001"/>
              <a:gd name="connsiteY1657" fmla="*/ 713685 h 5392467"/>
              <a:gd name="connsiteX1658" fmla="*/ 1832635 w 6096001"/>
              <a:gd name="connsiteY1658" fmla="*/ 700145 h 5392467"/>
              <a:gd name="connsiteX1659" fmla="*/ 5372043 w 6096001"/>
              <a:gd name="connsiteY1659" fmla="*/ 694344 h 5392467"/>
              <a:gd name="connsiteX1660" fmla="*/ 5364306 w 6096001"/>
              <a:gd name="connsiteY1660" fmla="*/ 700145 h 5392467"/>
              <a:gd name="connsiteX1661" fmla="*/ 5366239 w 6096001"/>
              <a:gd name="connsiteY1661" fmla="*/ 702080 h 5392467"/>
              <a:gd name="connsiteX1662" fmla="*/ 5372043 w 6096001"/>
              <a:gd name="connsiteY1662" fmla="*/ 694344 h 5392467"/>
              <a:gd name="connsiteX1663" fmla="*/ 1981562 w 6096001"/>
              <a:gd name="connsiteY1663" fmla="*/ 690476 h 5392467"/>
              <a:gd name="connsiteX1664" fmla="*/ 1952551 w 6096001"/>
              <a:gd name="connsiteY1664" fmla="*/ 698212 h 5392467"/>
              <a:gd name="connsiteX1665" fmla="*/ 1948680 w 6096001"/>
              <a:gd name="connsiteY1665" fmla="*/ 707882 h 5392467"/>
              <a:gd name="connsiteX1666" fmla="*/ 1973825 w 6096001"/>
              <a:gd name="connsiteY1666" fmla="*/ 698212 h 5392467"/>
              <a:gd name="connsiteX1667" fmla="*/ 1981562 w 6096001"/>
              <a:gd name="connsiteY1667" fmla="*/ 690476 h 5392467"/>
              <a:gd name="connsiteX1668" fmla="*/ 1860437 w 6096001"/>
              <a:gd name="connsiteY1668" fmla="*/ 685157 h 5392467"/>
              <a:gd name="connsiteX1669" fmla="*/ 1850043 w 6096001"/>
              <a:gd name="connsiteY1669" fmla="*/ 694344 h 5392467"/>
              <a:gd name="connsiteX1670" fmla="*/ 1863581 w 6096001"/>
              <a:gd name="connsiteY1670" fmla="*/ 690476 h 5392467"/>
              <a:gd name="connsiteX1671" fmla="*/ 1860437 w 6096001"/>
              <a:gd name="connsiteY1671" fmla="*/ 685157 h 5392467"/>
              <a:gd name="connsiteX1672" fmla="*/ 1735931 w 6096001"/>
              <a:gd name="connsiteY1672" fmla="*/ 684672 h 5392467"/>
              <a:gd name="connsiteX1673" fmla="*/ 1714654 w 6096001"/>
              <a:gd name="connsiteY1673" fmla="*/ 686607 h 5392467"/>
              <a:gd name="connsiteX1674" fmla="*/ 1718523 w 6096001"/>
              <a:gd name="connsiteY1674" fmla="*/ 692409 h 5392467"/>
              <a:gd name="connsiteX1675" fmla="*/ 1735931 w 6096001"/>
              <a:gd name="connsiteY1675" fmla="*/ 688540 h 5392467"/>
              <a:gd name="connsiteX1676" fmla="*/ 1735931 w 6096001"/>
              <a:gd name="connsiteY1676" fmla="*/ 684672 h 5392467"/>
              <a:gd name="connsiteX1677" fmla="*/ 5414594 w 6096001"/>
              <a:gd name="connsiteY1677" fmla="*/ 663398 h 5392467"/>
              <a:gd name="connsiteX1678" fmla="*/ 5399121 w 6096001"/>
              <a:gd name="connsiteY1678" fmla="*/ 671134 h 5392467"/>
              <a:gd name="connsiteX1679" fmla="*/ 5414594 w 6096001"/>
              <a:gd name="connsiteY1679" fmla="*/ 663398 h 5392467"/>
              <a:gd name="connsiteX1680" fmla="*/ 1726259 w 6096001"/>
              <a:gd name="connsiteY1680" fmla="*/ 663398 h 5392467"/>
              <a:gd name="connsiteX1681" fmla="*/ 1716590 w 6096001"/>
              <a:gd name="connsiteY1681" fmla="*/ 669199 h 5392467"/>
              <a:gd name="connsiteX1682" fmla="*/ 1708853 w 6096001"/>
              <a:gd name="connsiteY1682" fmla="*/ 678871 h 5392467"/>
              <a:gd name="connsiteX1683" fmla="*/ 1710786 w 6096001"/>
              <a:gd name="connsiteY1683" fmla="*/ 682739 h 5392467"/>
              <a:gd name="connsiteX1684" fmla="*/ 1712721 w 6096001"/>
              <a:gd name="connsiteY1684" fmla="*/ 678871 h 5392467"/>
              <a:gd name="connsiteX1685" fmla="*/ 1714654 w 6096001"/>
              <a:gd name="connsiteY1685" fmla="*/ 676936 h 5392467"/>
              <a:gd name="connsiteX1686" fmla="*/ 1726259 w 6096001"/>
              <a:gd name="connsiteY1686" fmla="*/ 663398 h 5392467"/>
              <a:gd name="connsiteX1687" fmla="*/ 1163436 w 6096001"/>
              <a:gd name="connsiteY1687" fmla="*/ 653726 h 5392467"/>
              <a:gd name="connsiteX1688" fmla="*/ 1118950 w 6096001"/>
              <a:gd name="connsiteY1688" fmla="*/ 669199 h 5392467"/>
              <a:gd name="connsiteX1689" fmla="*/ 1163436 w 6096001"/>
              <a:gd name="connsiteY1689" fmla="*/ 653726 h 5392467"/>
              <a:gd name="connsiteX1690" fmla="*/ 3539475 w 6096001"/>
              <a:gd name="connsiteY1690" fmla="*/ 647925 h 5392467"/>
              <a:gd name="connsiteX1691" fmla="*/ 3542382 w 6096001"/>
              <a:gd name="connsiteY1691" fmla="*/ 647925 h 5392467"/>
              <a:gd name="connsiteX1692" fmla="*/ 3530777 w 6096001"/>
              <a:gd name="connsiteY1692" fmla="*/ 655661 h 5392467"/>
              <a:gd name="connsiteX1693" fmla="*/ 3526574 w 6096001"/>
              <a:gd name="connsiteY1693" fmla="*/ 654461 h 5392467"/>
              <a:gd name="connsiteX1694" fmla="*/ 3532710 w 6096001"/>
              <a:gd name="connsiteY1694" fmla="*/ 649858 h 5392467"/>
              <a:gd name="connsiteX1695" fmla="*/ 3563656 w 6096001"/>
              <a:gd name="connsiteY1695" fmla="*/ 634385 h 5392467"/>
              <a:gd name="connsiteX1696" fmla="*/ 3563656 w 6096001"/>
              <a:gd name="connsiteY1696" fmla="*/ 638253 h 5392467"/>
              <a:gd name="connsiteX1697" fmla="*/ 3557855 w 6096001"/>
              <a:gd name="connsiteY1697" fmla="*/ 642121 h 5392467"/>
              <a:gd name="connsiteX1698" fmla="*/ 3557855 w 6096001"/>
              <a:gd name="connsiteY1698" fmla="*/ 640188 h 5392467"/>
              <a:gd name="connsiteX1699" fmla="*/ 3563656 w 6096001"/>
              <a:gd name="connsiteY1699" fmla="*/ 634385 h 5392467"/>
              <a:gd name="connsiteX1700" fmla="*/ 3534646 w 6096001"/>
              <a:gd name="connsiteY1700" fmla="*/ 632452 h 5392467"/>
              <a:gd name="connsiteX1701" fmla="*/ 3534646 w 6096001"/>
              <a:gd name="connsiteY1701" fmla="*/ 636320 h 5392467"/>
              <a:gd name="connsiteX1702" fmla="*/ 3538514 w 6096001"/>
              <a:gd name="connsiteY1702" fmla="*/ 642121 h 5392467"/>
              <a:gd name="connsiteX1703" fmla="*/ 3540447 w 6096001"/>
              <a:gd name="connsiteY1703" fmla="*/ 636320 h 5392467"/>
              <a:gd name="connsiteX1704" fmla="*/ 3534646 w 6096001"/>
              <a:gd name="connsiteY1704" fmla="*/ 632452 h 5392467"/>
              <a:gd name="connsiteX1705" fmla="*/ 5248259 w 6096001"/>
              <a:gd name="connsiteY1705" fmla="*/ 624715 h 5392467"/>
              <a:gd name="connsiteX1706" fmla="*/ 5250194 w 6096001"/>
              <a:gd name="connsiteY1706" fmla="*/ 626651 h 5392467"/>
              <a:gd name="connsiteX1707" fmla="*/ 5244393 w 6096001"/>
              <a:gd name="connsiteY1707" fmla="*/ 630519 h 5392467"/>
              <a:gd name="connsiteX1708" fmla="*/ 5242458 w 6096001"/>
              <a:gd name="connsiteY1708" fmla="*/ 628584 h 5392467"/>
              <a:gd name="connsiteX1709" fmla="*/ 5248259 w 6096001"/>
              <a:gd name="connsiteY1709" fmla="*/ 624715 h 5392467"/>
              <a:gd name="connsiteX1710" fmla="*/ 2076333 w 6096001"/>
              <a:gd name="connsiteY1710" fmla="*/ 616979 h 5392467"/>
              <a:gd name="connsiteX1711" fmla="*/ 2076333 w 6096001"/>
              <a:gd name="connsiteY1711" fmla="*/ 624715 h 5392467"/>
              <a:gd name="connsiteX1712" fmla="*/ 2076333 w 6096001"/>
              <a:gd name="connsiteY1712" fmla="*/ 616979 h 5392467"/>
              <a:gd name="connsiteX1713" fmla="*/ 1991231 w 6096001"/>
              <a:gd name="connsiteY1713" fmla="*/ 611178 h 5392467"/>
              <a:gd name="connsiteX1714" fmla="*/ 1969957 w 6096001"/>
              <a:gd name="connsiteY1714" fmla="*/ 616979 h 5392467"/>
              <a:gd name="connsiteX1715" fmla="*/ 1971890 w 6096001"/>
              <a:gd name="connsiteY1715" fmla="*/ 616979 h 5392467"/>
              <a:gd name="connsiteX1716" fmla="*/ 1985430 w 6096001"/>
              <a:gd name="connsiteY1716" fmla="*/ 615046 h 5392467"/>
              <a:gd name="connsiteX1717" fmla="*/ 1991231 w 6096001"/>
              <a:gd name="connsiteY1717" fmla="*/ 611178 h 5392467"/>
              <a:gd name="connsiteX1718" fmla="*/ 1821030 w 6096001"/>
              <a:gd name="connsiteY1718" fmla="*/ 603441 h 5392467"/>
              <a:gd name="connsiteX1719" fmla="*/ 1820451 w 6096001"/>
              <a:gd name="connsiteY1719" fmla="*/ 607623 h 5392467"/>
              <a:gd name="connsiteX1720" fmla="*/ 1817162 w 6096001"/>
              <a:gd name="connsiteY1720" fmla="*/ 609242 h 5392467"/>
              <a:gd name="connsiteX1721" fmla="*/ 1816673 w 6096001"/>
              <a:gd name="connsiteY1721" fmla="*/ 606553 h 5392467"/>
              <a:gd name="connsiteX1722" fmla="*/ 3523041 w 6096001"/>
              <a:gd name="connsiteY1722" fmla="*/ 601506 h 5392467"/>
              <a:gd name="connsiteX1723" fmla="*/ 3519173 w 6096001"/>
              <a:gd name="connsiteY1723" fmla="*/ 603441 h 5392467"/>
              <a:gd name="connsiteX1724" fmla="*/ 3521106 w 6096001"/>
              <a:gd name="connsiteY1724" fmla="*/ 607309 h 5392467"/>
              <a:gd name="connsiteX1725" fmla="*/ 3524974 w 6096001"/>
              <a:gd name="connsiteY1725" fmla="*/ 603441 h 5392467"/>
              <a:gd name="connsiteX1726" fmla="*/ 3523041 w 6096001"/>
              <a:gd name="connsiteY1726" fmla="*/ 601506 h 5392467"/>
              <a:gd name="connsiteX1727" fmla="*/ 1478696 w 6096001"/>
              <a:gd name="connsiteY1727" fmla="*/ 599573 h 5392467"/>
              <a:gd name="connsiteX1728" fmla="*/ 1467088 w 6096001"/>
              <a:gd name="connsiteY1728" fmla="*/ 603441 h 5392467"/>
              <a:gd name="connsiteX1729" fmla="*/ 1474827 w 6096001"/>
              <a:gd name="connsiteY1729" fmla="*/ 605374 h 5392467"/>
              <a:gd name="connsiteX1730" fmla="*/ 1476760 w 6096001"/>
              <a:gd name="connsiteY1730" fmla="*/ 605374 h 5392467"/>
              <a:gd name="connsiteX1731" fmla="*/ 1480628 w 6096001"/>
              <a:gd name="connsiteY1731" fmla="*/ 601506 h 5392467"/>
              <a:gd name="connsiteX1732" fmla="*/ 1478696 w 6096001"/>
              <a:gd name="connsiteY1732" fmla="*/ 599573 h 5392467"/>
              <a:gd name="connsiteX1733" fmla="*/ 3473721 w 6096001"/>
              <a:gd name="connsiteY1733" fmla="*/ 589901 h 5392467"/>
              <a:gd name="connsiteX1734" fmla="*/ 3478555 w 6096001"/>
              <a:gd name="connsiteY1734" fmla="*/ 589901 h 5392467"/>
              <a:gd name="connsiteX1735" fmla="*/ 3478555 w 6096001"/>
              <a:gd name="connsiteY1735" fmla="*/ 591836 h 5392467"/>
              <a:gd name="connsiteX1736" fmla="*/ 3473778 w 6096001"/>
              <a:gd name="connsiteY1736" fmla="*/ 590243 h 5392467"/>
              <a:gd name="connsiteX1737" fmla="*/ 1420672 w 6096001"/>
              <a:gd name="connsiteY1737" fmla="*/ 580232 h 5392467"/>
              <a:gd name="connsiteX1738" fmla="*/ 1391661 w 6096001"/>
              <a:gd name="connsiteY1738" fmla="*/ 595705 h 5392467"/>
              <a:gd name="connsiteX1739" fmla="*/ 1428408 w 6096001"/>
              <a:gd name="connsiteY1739" fmla="*/ 589901 h 5392467"/>
              <a:gd name="connsiteX1740" fmla="*/ 1420672 w 6096001"/>
              <a:gd name="connsiteY1740" fmla="*/ 580232 h 5392467"/>
              <a:gd name="connsiteX1741" fmla="*/ 3492895 w 6096001"/>
              <a:gd name="connsiteY1741" fmla="*/ 576352 h 5392467"/>
              <a:gd name="connsiteX1742" fmla="*/ 3491611 w 6096001"/>
              <a:gd name="connsiteY1742" fmla="*/ 580714 h 5392467"/>
              <a:gd name="connsiteX1743" fmla="*/ 3486294 w 6096001"/>
              <a:gd name="connsiteY1743" fmla="*/ 580232 h 5392467"/>
              <a:gd name="connsiteX1744" fmla="*/ 3488472 w 6096001"/>
              <a:gd name="connsiteY1744" fmla="*/ 578053 h 5392467"/>
              <a:gd name="connsiteX1745" fmla="*/ 4145820 w 6096001"/>
              <a:gd name="connsiteY1745" fmla="*/ 562823 h 5392467"/>
              <a:gd name="connsiteX1746" fmla="*/ 4138086 w 6096001"/>
              <a:gd name="connsiteY1746" fmla="*/ 566691 h 5392467"/>
              <a:gd name="connsiteX1747" fmla="*/ 4118745 w 6096001"/>
              <a:gd name="connsiteY1747" fmla="*/ 576363 h 5392467"/>
              <a:gd name="connsiteX1748" fmla="*/ 4141955 w 6096001"/>
              <a:gd name="connsiteY1748" fmla="*/ 574428 h 5392467"/>
              <a:gd name="connsiteX1749" fmla="*/ 4149689 w 6096001"/>
              <a:gd name="connsiteY1749" fmla="*/ 570560 h 5392467"/>
              <a:gd name="connsiteX1750" fmla="*/ 4151624 w 6096001"/>
              <a:gd name="connsiteY1750" fmla="*/ 568627 h 5392467"/>
              <a:gd name="connsiteX1751" fmla="*/ 4145820 w 6096001"/>
              <a:gd name="connsiteY1751" fmla="*/ 562823 h 5392467"/>
              <a:gd name="connsiteX1752" fmla="*/ 1494166 w 6096001"/>
              <a:gd name="connsiteY1752" fmla="*/ 562823 h 5392467"/>
              <a:gd name="connsiteX1753" fmla="*/ 1463222 w 6096001"/>
              <a:gd name="connsiteY1753" fmla="*/ 572495 h 5392467"/>
              <a:gd name="connsiteX1754" fmla="*/ 1494166 w 6096001"/>
              <a:gd name="connsiteY1754" fmla="*/ 562823 h 5392467"/>
              <a:gd name="connsiteX1755" fmla="*/ 4027842 w 6096001"/>
              <a:gd name="connsiteY1755" fmla="*/ 560890 h 5392467"/>
              <a:gd name="connsiteX1756" fmla="*/ 4014302 w 6096001"/>
              <a:gd name="connsiteY1756" fmla="*/ 566691 h 5392467"/>
              <a:gd name="connsiteX1757" fmla="*/ 4008501 w 6096001"/>
              <a:gd name="connsiteY1757" fmla="*/ 570560 h 5392467"/>
              <a:gd name="connsiteX1758" fmla="*/ 4008501 w 6096001"/>
              <a:gd name="connsiteY1758" fmla="*/ 574428 h 5392467"/>
              <a:gd name="connsiteX1759" fmla="*/ 4014302 w 6096001"/>
              <a:gd name="connsiteY1759" fmla="*/ 572495 h 5392467"/>
              <a:gd name="connsiteX1760" fmla="*/ 4027842 w 6096001"/>
              <a:gd name="connsiteY1760" fmla="*/ 560890 h 5392467"/>
              <a:gd name="connsiteX1761" fmla="*/ 2269743 w 6096001"/>
              <a:gd name="connsiteY1761" fmla="*/ 560890 h 5392467"/>
              <a:gd name="connsiteX1762" fmla="*/ 2267808 w 6096001"/>
              <a:gd name="connsiteY1762" fmla="*/ 562823 h 5392467"/>
              <a:gd name="connsiteX1763" fmla="*/ 2267808 w 6096001"/>
              <a:gd name="connsiteY1763" fmla="*/ 564758 h 5392467"/>
              <a:gd name="connsiteX1764" fmla="*/ 2269743 w 6096001"/>
              <a:gd name="connsiteY1764" fmla="*/ 564758 h 5392467"/>
              <a:gd name="connsiteX1765" fmla="*/ 2269743 w 6096001"/>
              <a:gd name="connsiteY1765" fmla="*/ 560890 h 5392467"/>
              <a:gd name="connsiteX1766" fmla="*/ 4167097 w 6096001"/>
              <a:gd name="connsiteY1766" fmla="*/ 551218 h 5392467"/>
              <a:gd name="connsiteX1767" fmla="*/ 4163229 w 6096001"/>
              <a:gd name="connsiteY1767" fmla="*/ 555087 h 5392467"/>
              <a:gd name="connsiteX1768" fmla="*/ 4161296 w 6096001"/>
              <a:gd name="connsiteY1768" fmla="*/ 557022 h 5392467"/>
              <a:gd name="connsiteX1769" fmla="*/ 4167097 w 6096001"/>
              <a:gd name="connsiteY1769" fmla="*/ 551218 h 5392467"/>
              <a:gd name="connsiteX1770" fmla="*/ 4029775 w 6096001"/>
              <a:gd name="connsiteY1770" fmla="*/ 551218 h 5392467"/>
              <a:gd name="connsiteX1771" fmla="*/ 4029775 w 6096001"/>
              <a:gd name="connsiteY1771" fmla="*/ 555087 h 5392467"/>
              <a:gd name="connsiteX1772" fmla="*/ 4028324 w 6096001"/>
              <a:gd name="connsiteY1772" fmla="*/ 553636 h 5392467"/>
              <a:gd name="connsiteX1773" fmla="*/ 4028163 w 6096001"/>
              <a:gd name="connsiteY1773" fmla="*/ 552832 h 5392467"/>
              <a:gd name="connsiteX1774" fmla="*/ 4027840 w 6096001"/>
              <a:gd name="connsiteY1774" fmla="*/ 551216 h 5392467"/>
              <a:gd name="connsiteX1775" fmla="*/ 4027842 w 6096001"/>
              <a:gd name="connsiteY1775" fmla="*/ 551218 h 5392467"/>
              <a:gd name="connsiteX1776" fmla="*/ 4027841 w 6096001"/>
              <a:gd name="connsiteY1776" fmla="*/ 551219 h 5392467"/>
              <a:gd name="connsiteX1777" fmla="*/ 3540447 w 6096001"/>
              <a:gd name="connsiteY1777" fmla="*/ 547350 h 5392467"/>
              <a:gd name="connsiteX1778" fmla="*/ 3542382 w 6096001"/>
              <a:gd name="connsiteY1778" fmla="*/ 551218 h 5392467"/>
              <a:gd name="connsiteX1779" fmla="*/ 3534646 w 6096001"/>
              <a:gd name="connsiteY1779" fmla="*/ 555087 h 5392467"/>
              <a:gd name="connsiteX1780" fmla="*/ 3532710 w 6096001"/>
              <a:gd name="connsiteY1780" fmla="*/ 553154 h 5392467"/>
              <a:gd name="connsiteX1781" fmla="*/ 3540447 w 6096001"/>
              <a:gd name="connsiteY1781" fmla="*/ 547350 h 5392467"/>
              <a:gd name="connsiteX1782" fmla="*/ 3548183 w 6096001"/>
              <a:gd name="connsiteY1782" fmla="*/ 541549 h 5392467"/>
              <a:gd name="connsiteX1783" fmla="*/ 3550119 w 6096001"/>
              <a:gd name="connsiteY1783" fmla="*/ 543484 h 5392467"/>
              <a:gd name="connsiteX1784" fmla="*/ 3546248 w 6096001"/>
              <a:gd name="connsiteY1784" fmla="*/ 547350 h 5392467"/>
              <a:gd name="connsiteX1785" fmla="*/ 3544315 w 6096001"/>
              <a:gd name="connsiteY1785" fmla="*/ 545417 h 5392467"/>
              <a:gd name="connsiteX1786" fmla="*/ 3548183 w 6096001"/>
              <a:gd name="connsiteY1786" fmla="*/ 541549 h 5392467"/>
              <a:gd name="connsiteX1787" fmla="*/ 1641157 w 6096001"/>
              <a:gd name="connsiteY1787" fmla="*/ 539614 h 5392467"/>
              <a:gd name="connsiteX1788" fmla="*/ 1637292 w 6096001"/>
              <a:gd name="connsiteY1788" fmla="*/ 541549 h 5392467"/>
              <a:gd name="connsiteX1789" fmla="*/ 1637292 w 6096001"/>
              <a:gd name="connsiteY1789" fmla="*/ 547350 h 5392467"/>
              <a:gd name="connsiteX1790" fmla="*/ 1643093 w 6096001"/>
              <a:gd name="connsiteY1790" fmla="*/ 543484 h 5392467"/>
              <a:gd name="connsiteX1791" fmla="*/ 1641157 w 6096001"/>
              <a:gd name="connsiteY1791" fmla="*/ 539614 h 5392467"/>
              <a:gd name="connsiteX1792" fmla="*/ 1604410 w 6096001"/>
              <a:gd name="connsiteY1792" fmla="*/ 537681 h 5392467"/>
              <a:gd name="connsiteX1793" fmla="*/ 1602477 w 6096001"/>
              <a:gd name="connsiteY1793" fmla="*/ 547350 h 5392467"/>
              <a:gd name="connsiteX1794" fmla="*/ 1612147 w 6096001"/>
              <a:gd name="connsiteY1794" fmla="*/ 545417 h 5392467"/>
              <a:gd name="connsiteX1795" fmla="*/ 1614082 w 6096001"/>
              <a:gd name="connsiteY1795" fmla="*/ 537681 h 5392467"/>
              <a:gd name="connsiteX1796" fmla="*/ 1604410 w 6096001"/>
              <a:gd name="connsiteY1796" fmla="*/ 537681 h 5392467"/>
              <a:gd name="connsiteX1797" fmla="*/ 4130347 w 6096001"/>
              <a:gd name="connsiteY1797" fmla="*/ 528009 h 5392467"/>
              <a:gd name="connsiteX1798" fmla="*/ 4118745 w 6096001"/>
              <a:gd name="connsiteY1798" fmla="*/ 535745 h 5392467"/>
              <a:gd name="connsiteX1799" fmla="*/ 4130347 w 6096001"/>
              <a:gd name="connsiteY1799" fmla="*/ 528009 h 5392467"/>
              <a:gd name="connsiteX1800" fmla="*/ 4199976 w 6096001"/>
              <a:gd name="connsiteY1800" fmla="*/ 520275 h 5392467"/>
              <a:gd name="connsiteX1801" fmla="*/ 4176767 w 6096001"/>
              <a:gd name="connsiteY1801" fmla="*/ 531879 h 5392467"/>
              <a:gd name="connsiteX1802" fmla="*/ 4176767 w 6096001"/>
              <a:gd name="connsiteY1802" fmla="*/ 541549 h 5392467"/>
              <a:gd name="connsiteX1803" fmla="*/ 4178702 w 6096001"/>
              <a:gd name="connsiteY1803" fmla="*/ 541549 h 5392467"/>
              <a:gd name="connsiteX1804" fmla="*/ 4176767 w 6096001"/>
              <a:gd name="connsiteY1804" fmla="*/ 543484 h 5392467"/>
              <a:gd name="connsiteX1805" fmla="*/ 4176767 w 6096001"/>
              <a:gd name="connsiteY1805" fmla="*/ 547350 h 5392467"/>
              <a:gd name="connsiteX1806" fmla="*/ 4180635 w 6096001"/>
              <a:gd name="connsiteY1806" fmla="*/ 549285 h 5392467"/>
              <a:gd name="connsiteX1807" fmla="*/ 4199976 w 6096001"/>
              <a:gd name="connsiteY1807" fmla="*/ 520275 h 5392467"/>
              <a:gd name="connsiteX1808" fmla="*/ 4112941 w 6096001"/>
              <a:gd name="connsiteY1808" fmla="*/ 518339 h 5392467"/>
              <a:gd name="connsiteX1809" fmla="*/ 4105205 w 6096001"/>
              <a:gd name="connsiteY1809" fmla="*/ 520275 h 5392467"/>
              <a:gd name="connsiteX1810" fmla="*/ 4107138 w 6096001"/>
              <a:gd name="connsiteY1810" fmla="*/ 522208 h 5392467"/>
              <a:gd name="connsiteX1811" fmla="*/ 4112941 w 6096001"/>
              <a:gd name="connsiteY1811" fmla="*/ 518339 h 5392467"/>
              <a:gd name="connsiteX1812" fmla="*/ 4234790 w 6096001"/>
              <a:gd name="connsiteY1812" fmla="*/ 504802 h 5392467"/>
              <a:gd name="connsiteX1813" fmla="*/ 4225121 w 6096001"/>
              <a:gd name="connsiteY1813" fmla="*/ 512538 h 5392467"/>
              <a:gd name="connsiteX1814" fmla="*/ 4234790 w 6096001"/>
              <a:gd name="connsiteY1814" fmla="*/ 504802 h 5392467"/>
              <a:gd name="connsiteX1815" fmla="*/ 4917188 w 6096001"/>
              <a:gd name="connsiteY1815" fmla="*/ 495811 h 5392467"/>
              <a:gd name="connsiteX1816" fmla="*/ 4913661 w 6096001"/>
              <a:gd name="connsiteY1816" fmla="*/ 502866 h 5392467"/>
              <a:gd name="connsiteX1817" fmla="*/ 4911725 w 6096001"/>
              <a:gd name="connsiteY1817" fmla="*/ 500933 h 5392467"/>
              <a:gd name="connsiteX1818" fmla="*/ 4914633 w 6096001"/>
              <a:gd name="connsiteY1818" fmla="*/ 498025 h 5392467"/>
              <a:gd name="connsiteX1819" fmla="*/ 4252196 w 6096001"/>
              <a:gd name="connsiteY1819" fmla="*/ 495130 h 5392467"/>
              <a:gd name="connsiteX1820" fmla="*/ 4234790 w 6096001"/>
              <a:gd name="connsiteY1820" fmla="*/ 506735 h 5392467"/>
              <a:gd name="connsiteX1821" fmla="*/ 4242527 w 6096001"/>
              <a:gd name="connsiteY1821" fmla="*/ 508670 h 5392467"/>
              <a:gd name="connsiteX1822" fmla="*/ 4252196 w 6096001"/>
              <a:gd name="connsiteY1822" fmla="*/ 495130 h 5392467"/>
              <a:gd name="connsiteX1823" fmla="*/ 4184503 w 6096001"/>
              <a:gd name="connsiteY1823" fmla="*/ 495130 h 5392467"/>
              <a:gd name="connsiteX1824" fmla="*/ 4178702 w 6096001"/>
              <a:gd name="connsiteY1824" fmla="*/ 498998 h 5392467"/>
              <a:gd name="connsiteX1825" fmla="*/ 4149689 w 6096001"/>
              <a:gd name="connsiteY1825" fmla="*/ 512538 h 5392467"/>
              <a:gd name="connsiteX1826" fmla="*/ 4140019 w 6096001"/>
              <a:gd name="connsiteY1826" fmla="*/ 524143 h 5392467"/>
              <a:gd name="connsiteX1827" fmla="*/ 4143888 w 6096001"/>
              <a:gd name="connsiteY1827" fmla="*/ 529944 h 5392467"/>
              <a:gd name="connsiteX1828" fmla="*/ 4157425 w 6096001"/>
              <a:gd name="connsiteY1828" fmla="*/ 526076 h 5392467"/>
              <a:gd name="connsiteX1829" fmla="*/ 4159361 w 6096001"/>
              <a:gd name="connsiteY1829" fmla="*/ 526076 h 5392467"/>
              <a:gd name="connsiteX1830" fmla="*/ 4159361 w 6096001"/>
              <a:gd name="connsiteY1830" fmla="*/ 528009 h 5392467"/>
              <a:gd name="connsiteX1831" fmla="*/ 4163229 w 6096001"/>
              <a:gd name="connsiteY1831" fmla="*/ 529944 h 5392467"/>
              <a:gd name="connsiteX1832" fmla="*/ 4163229 w 6096001"/>
              <a:gd name="connsiteY1832" fmla="*/ 526076 h 5392467"/>
              <a:gd name="connsiteX1833" fmla="*/ 4169030 w 6096001"/>
              <a:gd name="connsiteY1833" fmla="*/ 516406 h 5392467"/>
              <a:gd name="connsiteX1834" fmla="*/ 4192240 w 6096001"/>
              <a:gd name="connsiteY1834" fmla="*/ 498998 h 5392467"/>
              <a:gd name="connsiteX1835" fmla="*/ 4190307 w 6096001"/>
              <a:gd name="connsiteY1835" fmla="*/ 495130 h 5392467"/>
              <a:gd name="connsiteX1836" fmla="*/ 4184503 w 6096001"/>
              <a:gd name="connsiteY1836" fmla="*/ 495130 h 5392467"/>
              <a:gd name="connsiteX1837" fmla="*/ 4143888 w 6096001"/>
              <a:gd name="connsiteY1837" fmla="*/ 489329 h 5392467"/>
              <a:gd name="connsiteX1838" fmla="*/ 4136151 w 6096001"/>
              <a:gd name="connsiteY1838" fmla="*/ 491262 h 5392467"/>
              <a:gd name="connsiteX1839" fmla="*/ 4136151 w 6096001"/>
              <a:gd name="connsiteY1839" fmla="*/ 493197 h 5392467"/>
              <a:gd name="connsiteX1840" fmla="*/ 4143888 w 6096001"/>
              <a:gd name="connsiteY1840" fmla="*/ 491262 h 5392467"/>
              <a:gd name="connsiteX1841" fmla="*/ 4143888 w 6096001"/>
              <a:gd name="connsiteY1841" fmla="*/ 489329 h 5392467"/>
              <a:gd name="connsiteX1842" fmla="*/ 4128415 w 6096001"/>
              <a:gd name="connsiteY1842" fmla="*/ 489329 h 5392467"/>
              <a:gd name="connsiteX1843" fmla="*/ 4114877 w 6096001"/>
              <a:gd name="connsiteY1843" fmla="*/ 497065 h 5392467"/>
              <a:gd name="connsiteX1844" fmla="*/ 4116810 w 6096001"/>
              <a:gd name="connsiteY1844" fmla="*/ 498998 h 5392467"/>
              <a:gd name="connsiteX1845" fmla="*/ 4128415 w 6096001"/>
              <a:gd name="connsiteY1845" fmla="*/ 489329 h 5392467"/>
              <a:gd name="connsiteX1846" fmla="*/ 3488227 w 6096001"/>
              <a:gd name="connsiteY1846" fmla="*/ 485460 h 5392467"/>
              <a:gd name="connsiteX1847" fmla="*/ 3486294 w 6096001"/>
              <a:gd name="connsiteY1847" fmla="*/ 487393 h 5392467"/>
              <a:gd name="connsiteX1848" fmla="*/ 3480490 w 6096001"/>
              <a:gd name="connsiteY1848" fmla="*/ 491262 h 5392467"/>
              <a:gd name="connsiteX1849" fmla="*/ 3482423 w 6096001"/>
              <a:gd name="connsiteY1849" fmla="*/ 487393 h 5392467"/>
              <a:gd name="connsiteX1850" fmla="*/ 3488227 w 6096001"/>
              <a:gd name="connsiteY1850" fmla="*/ 485460 h 5392467"/>
              <a:gd name="connsiteX1851" fmla="*/ 4136151 w 6096001"/>
              <a:gd name="connsiteY1851" fmla="*/ 471920 h 5392467"/>
              <a:gd name="connsiteX1852" fmla="*/ 4128415 w 6096001"/>
              <a:gd name="connsiteY1852" fmla="*/ 477724 h 5392467"/>
              <a:gd name="connsiteX1853" fmla="*/ 4138086 w 6096001"/>
              <a:gd name="connsiteY1853" fmla="*/ 473856 h 5392467"/>
              <a:gd name="connsiteX1854" fmla="*/ 4136151 w 6096001"/>
              <a:gd name="connsiteY1854" fmla="*/ 471920 h 5392467"/>
              <a:gd name="connsiteX1855" fmla="*/ 4247120 w 6096001"/>
              <a:gd name="connsiteY1855" fmla="*/ 469019 h 5392467"/>
              <a:gd name="connsiteX1856" fmla="*/ 4244460 w 6096001"/>
              <a:gd name="connsiteY1856" fmla="*/ 469987 h 5392467"/>
              <a:gd name="connsiteX1857" fmla="*/ 4223186 w 6096001"/>
              <a:gd name="connsiteY1857" fmla="*/ 487393 h 5392467"/>
              <a:gd name="connsiteX1858" fmla="*/ 4190307 w 6096001"/>
              <a:gd name="connsiteY1858" fmla="*/ 504802 h 5392467"/>
              <a:gd name="connsiteX1859" fmla="*/ 4186438 w 6096001"/>
              <a:gd name="connsiteY1859" fmla="*/ 508670 h 5392467"/>
              <a:gd name="connsiteX1860" fmla="*/ 4190307 w 6096001"/>
              <a:gd name="connsiteY1860" fmla="*/ 512538 h 5392467"/>
              <a:gd name="connsiteX1861" fmla="*/ 4199976 w 6096001"/>
              <a:gd name="connsiteY1861" fmla="*/ 510603 h 5392467"/>
              <a:gd name="connsiteX1862" fmla="*/ 4232855 w 6096001"/>
              <a:gd name="connsiteY1862" fmla="*/ 489329 h 5392467"/>
              <a:gd name="connsiteX1863" fmla="*/ 4254132 w 6096001"/>
              <a:gd name="connsiteY1863" fmla="*/ 473856 h 5392467"/>
              <a:gd name="connsiteX1864" fmla="*/ 4247120 w 6096001"/>
              <a:gd name="connsiteY1864" fmla="*/ 469019 h 5392467"/>
              <a:gd name="connsiteX1865" fmla="*/ 4238659 w 6096001"/>
              <a:gd name="connsiteY1865" fmla="*/ 458383 h 5392467"/>
              <a:gd name="connsiteX1866" fmla="*/ 4232855 w 6096001"/>
              <a:gd name="connsiteY1866" fmla="*/ 460316 h 5392467"/>
              <a:gd name="connsiteX1867" fmla="*/ 4201911 w 6096001"/>
              <a:gd name="connsiteY1867" fmla="*/ 483525 h 5392467"/>
              <a:gd name="connsiteX1868" fmla="*/ 4201911 w 6096001"/>
              <a:gd name="connsiteY1868" fmla="*/ 485460 h 5392467"/>
              <a:gd name="connsiteX1869" fmla="*/ 4199976 w 6096001"/>
              <a:gd name="connsiteY1869" fmla="*/ 495130 h 5392467"/>
              <a:gd name="connsiteX1870" fmla="*/ 4215449 w 6096001"/>
              <a:gd name="connsiteY1870" fmla="*/ 483525 h 5392467"/>
              <a:gd name="connsiteX1871" fmla="*/ 4211581 w 6096001"/>
              <a:gd name="connsiteY1871" fmla="*/ 485460 h 5392467"/>
              <a:gd name="connsiteX1872" fmla="*/ 4209648 w 6096001"/>
              <a:gd name="connsiteY1872" fmla="*/ 481592 h 5392467"/>
              <a:gd name="connsiteX1873" fmla="*/ 4223186 w 6096001"/>
              <a:gd name="connsiteY1873" fmla="*/ 475789 h 5392467"/>
              <a:gd name="connsiteX1874" fmla="*/ 4240592 w 6096001"/>
              <a:gd name="connsiteY1874" fmla="*/ 462251 h 5392467"/>
              <a:gd name="connsiteX1875" fmla="*/ 4238659 w 6096001"/>
              <a:gd name="connsiteY1875" fmla="*/ 458383 h 5392467"/>
              <a:gd name="connsiteX1876" fmla="*/ 2836434 w 6096001"/>
              <a:gd name="connsiteY1876" fmla="*/ 448711 h 5392467"/>
              <a:gd name="connsiteX1877" fmla="*/ 2832566 w 6096001"/>
              <a:gd name="connsiteY1877" fmla="*/ 450646 h 5392467"/>
              <a:gd name="connsiteX1878" fmla="*/ 2828697 w 6096001"/>
              <a:gd name="connsiteY1878" fmla="*/ 454514 h 5392467"/>
              <a:gd name="connsiteX1879" fmla="*/ 2817093 w 6096001"/>
              <a:gd name="connsiteY1879" fmla="*/ 458383 h 5392467"/>
              <a:gd name="connsiteX1880" fmla="*/ 2819028 w 6096001"/>
              <a:gd name="connsiteY1880" fmla="*/ 464184 h 5392467"/>
              <a:gd name="connsiteX1881" fmla="*/ 2822896 w 6096001"/>
              <a:gd name="connsiteY1881" fmla="*/ 466119 h 5392467"/>
              <a:gd name="connsiteX1882" fmla="*/ 2828697 w 6096001"/>
              <a:gd name="connsiteY1882" fmla="*/ 462251 h 5392467"/>
              <a:gd name="connsiteX1883" fmla="*/ 2836434 w 6096001"/>
              <a:gd name="connsiteY1883" fmla="*/ 456450 h 5392467"/>
              <a:gd name="connsiteX1884" fmla="*/ 2838369 w 6096001"/>
              <a:gd name="connsiteY1884" fmla="*/ 454514 h 5392467"/>
              <a:gd name="connsiteX1885" fmla="*/ 2838369 w 6096001"/>
              <a:gd name="connsiteY1885" fmla="*/ 450646 h 5392467"/>
              <a:gd name="connsiteX1886" fmla="*/ 2836434 w 6096001"/>
              <a:gd name="connsiteY1886" fmla="*/ 448711 h 5392467"/>
              <a:gd name="connsiteX1887" fmla="*/ 4221253 w 6096001"/>
              <a:gd name="connsiteY1887" fmla="*/ 435173 h 5392467"/>
              <a:gd name="connsiteX1888" fmla="*/ 4211581 w 6096001"/>
              <a:gd name="connsiteY1888" fmla="*/ 442910 h 5392467"/>
              <a:gd name="connsiteX1889" fmla="*/ 4221253 w 6096001"/>
              <a:gd name="connsiteY1889" fmla="*/ 435173 h 5392467"/>
              <a:gd name="connsiteX1890" fmla="*/ 4316024 w 6096001"/>
              <a:gd name="connsiteY1890" fmla="*/ 415832 h 5392467"/>
              <a:gd name="connsiteX1891" fmla="*/ 4296682 w 6096001"/>
              <a:gd name="connsiteY1891" fmla="*/ 423568 h 5392467"/>
              <a:gd name="connsiteX1892" fmla="*/ 4298615 w 6096001"/>
              <a:gd name="connsiteY1892" fmla="*/ 425504 h 5392467"/>
              <a:gd name="connsiteX1893" fmla="*/ 4316024 w 6096001"/>
              <a:gd name="connsiteY1893" fmla="*/ 415832 h 5392467"/>
              <a:gd name="connsiteX1894" fmla="*/ 4263560 w 6096001"/>
              <a:gd name="connsiteY1894" fmla="*/ 406645 h 5392467"/>
              <a:gd name="connsiteX1895" fmla="*/ 4256065 w 6096001"/>
              <a:gd name="connsiteY1895" fmla="*/ 413899 h 5392467"/>
              <a:gd name="connsiteX1896" fmla="*/ 4269605 w 6096001"/>
              <a:gd name="connsiteY1896" fmla="*/ 413899 h 5392467"/>
              <a:gd name="connsiteX1897" fmla="*/ 4263560 w 6096001"/>
              <a:gd name="connsiteY1897" fmla="*/ 406645 h 5392467"/>
              <a:gd name="connsiteX1898" fmla="*/ 4319890 w 6096001"/>
              <a:gd name="connsiteY1898" fmla="*/ 406162 h 5392467"/>
              <a:gd name="connsiteX1899" fmla="*/ 4319890 w 6096001"/>
              <a:gd name="connsiteY1899" fmla="*/ 411964 h 5392467"/>
              <a:gd name="connsiteX1900" fmla="*/ 4327626 w 6096001"/>
              <a:gd name="connsiteY1900" fmla="*/ 413899 h 5392467"/>
              <a:gd name="connsiteX1901" fmla="*/ 4325693 w 6096001"/>
              <a:gd name="connsiteY1901" fmla="*/ 406162 h 5392467"/>
              <a:gd name="connsiteX1902" fmla="*/ 4319890 w 6096001"/>
              <a:gd name="connsiteY1902" fmla="*/ 406162 h 5392467"/>
              <a:gd name="connsiteX1903" fmla="*/ 4304417 w 6096001"/>
              <a:gd name="connsiteY1903" fmla="*/ 381018 h 5392467"/>
              <a:gd name="connsiteX1904" fmla="*/ 4300548 w 6096001"/>
              <a:gd name="connsiteY1904" fmla="*/ 382953 h 5392467"/>
              <a:gd name="connsiteX1905" fmla="*/ 4298615 w 6096001"/>
              <a:gd name="connsiteY1905" fmla="*/ 388754 h 5392467"/>
              <a:gd name="connsiteX1906" fmla="*/ 4304417 w 6096001"/>
              <a:gd name="connsiteY1906" fmla="*/ 384886 h 5392467"/>
              <a:gd name="connsiteX1907" fmla="*/ 4304417 w 6096001"/>
              <a:gd name="connsiteY1907" fmla="*/ 381018 h 5392467"/>
              <a:gd name="connsiteX1908" fmla="*/ 4316024 w 6096001"/>
              <a:gd name="connsiteY1908" fmla="*/ 373281 h 5392467"/>
              <a:gd name="connsiteX1909" fmla="*/ 4314088 w 6096001"/>
              <a:gd name="connsiteY1909" fmla="*/ 379085 h 5392467"/>
              <a:gd name="connsiteX1910" fmla="*/ 4317957 w 6096001"/>
              <a:gd name="connsiteY1910" fmla="*/ 375216 h 5392467"/>
              <a:gd name="connsiteX1911" fmla="*/ 4316024 w 6096001"/>
              <a:gd name="connsiteY1911" fmla="*/ 373281 h 5392467"/>
              <a:gd name="connsiteX1912" fmla="*/ 4366309 w 6096001"/>
              <a:gd name="connsiteY1912" fmla="*/ 350074 h 5392467"/>
              <a:gd name="connsiteX1913" fmla="*/ 4337298 w 6096001"/>
              <a:gd name="connsiteY1913" fmla="*/ 369415 h 5392467"/>
              <a:gd name="connsiteX1914" fmla="*/ 4366309 w 6096001"/>
              <a:gd name="connsiteY1914" fmla="*/ 350074 h 5392467"/>
              <a:gd name="connsiteX1915" fmla="*/ 4780207 w 6096001"/>
              <a:gd name="connsiteY1915" fmla="*/ 321061 h 5392467"/>
              <a:gd name="connsiteX1916" fmla="*/ 4778272 w 6096001"/>
              <a:gd name="connsiteY1916" fmla="*/ 322996 h 5392467"/>
              <a:gd name="connsiteX1917" fmla="*/ 4782140 w 6096001"/>
              <a:gd name="connsiteY1917" fmla="*/ 328797 h 5392467"/>
              <a:gd name="connsiteX1918" fmla="*/ 4784075 w 6096001"/>
              <a:gd name="connsiteY1918" fmla="*/ 326864 h 5392467"/>
              <a:gd name="connsiteX1919" fmla="*/ 4780207 w 6096001"/>
              <a:gd name="connsiteY1919" fmla="*/ 321061 h 5392467"/>
              <a:gd name="connsiteX1920" fmla="*/ 4795680 w 6096001"/>
              <a:gd name="connsiteY1920" fmla="*/ 317192 h 5392467"/>
              <a:gd name="connsiteX1921" fmla="*/ 4795680 w 6096001"/>
              <a:gd name="connsiteY1921" fmla="*/ 319128 h 5392467"/>
              <a:gd name="connsiteX1922" fmla="*/ 4787944 w 6096001"/>
              <a:gd name="connsiteY1922" fmla="*/ 324929 h 5392467"/>
              <a:gd name="connsiteX1923" fmla="*/ 4787138 w 6096001"/>
              <a:gd name="connsiteY1923" fmla="*/ 323317 h 5392467"/>
              <a:gd name="connsiteX1924" fmla="*/ 4787420 w 6096001"/>
              <a:gd name="connsiteY1924" fmla="*/ 320497 h 5392467"/>
              <a:gd name="connsiteX1925" fmla="*/ 4420464 w 6096001"/>
              <a:gd name="connsiteY1925" fmla="*/ 313324 h 5392467"/>
              <a:gd name="connsiteX1926" fmla="*/ 4385650 w 6096001"/>
              <a:gd name="connsiteY1926" fmla="*/ 326864 h 5392467"/>
              <a:gd name="connsiteX1927" fmla="*/ 4370177 w 6096001"/>
              <a:gd name="connsiteY1927" fmla="*/ 340402 h 5392467"/>
              <a:gd name="connsiteX1928" fmla="*/ 4375980 w 6096001"/>
              <a:gd name="connsiteY1928" fmla="*/ 342335 h 5392467"/>
              <a:gd name="connsiteX1929" fmla="*/ 4408859 w 6096001"/>
              <a:gd name="connsiteY1929" fmla="*/ 324929 h 5392467"/>
              <a:gd name="connsiteX1930" fmla="*/ 4420464 w 6096001"/>
              <a:gd name="connsiteY1930" fmla="*/ 313324 h 5392467"/>
              <a:gd name="connsiteX1931" fmla="*/ 4453343 w 6096001"/>
              <a:gd name="connsiteY1931" fmla="*/ 299786 h 5392467"/>
              <a:gd name="connsiteX1932" fmla="*/ 4428201 w 6096001"/>
              <a:gd name="connsiteY1932" fmla="*/ 313324 h 5392467"/>
              <a:gd name="connsiteX1933" fmla="*/ 4430134 w 6096001"/>
              <a:gd name="connsiteY1933" fmla="*/ 315260 h 5392467"/>
              <a:gd name="connsiteX1934" fmla="*/ 4453343 w 6096001"/>
              <a:gd name="connsiteY1934" fmla="*/ 299786 h 5392467"/>
              <a:gd name="connsiteX1935" fmla="*/ 4787944 w 6096001"/>
              <a:gd name="connsiteY1935" fmla="*/ 295918 h 5392467"/>
              <a:gd name="connsiteX1936" fmla="*/ 4787944 w 6096001"/>
              <a:gd name="connsiteY1936" fmla="*/ 311391 h 5392467"/>
              <a:gd name="connsiteX1937" fmla="*/ 4787944 w 6096001"/>
              <a:gd name="connsiteY1937" fmla="*/ 295918 h 5392467"/>
              <a:gd name="connsiteX1938" fmla="*/ 4517168 w 6096001"/>
              <a:gd name="connsiteY1938" fmla="*/ 282378 h 5392467"/>
              <a:gd name="connsiteX1939" fmla="*/ 4515235 w 6096001"/>
              <a:gd name="connsiteY1939" fmla="*/ 286246 h 5392467"/>
              <a:gd name="connsiteX1940" fmla="*/ 4521036 w 6096001"/>
              <a:gd name="connsiteY1940" fmla="*/ 288182 h 5392467"/>
              <a:gd name="connsiteX1941" fmla="*/ 4521036 w 6096001"/>
              <a:gd name="connsiteY1941" fmla="*/ 282378 h 5392467"/>
              <a:gd name="connsiteX1942" fmla="*/ 4517168 w 6096001"/>
              <a:gd name="connsiteY1942" fmla="*/ 282378 h 5392467"/>
              <a:gd name="connsiteX1943" fmla="*/ 4764734 w 6096001"/>
              <a:gd name="connsiteY1943" fmla="*/ 276577 h 5392467"/>
              <a:gd name="connsiteX1944" fmla="*/ 4765701 w 6096001"/>
              <a:gd name="connsiteY1944" fmla="*/ 277543 h 5392467"/>
              <a:gd name="connsiteX1945" fmla="*/ 4764734 w 6096001"/>
              <a:gd name="connsiteY1945" fmla="*/ 278510 h 5392467"/>
              <a:gd name="connsiteX1946" fmla="*/ 4764033 w 6096001"/>
              <a:gd name="connsiteY1946" fmla="*/ 277208 h 5392467"/>
              <a:gd name="connsiteX1947" fmla="*/ 4567455 w 6096001"/>
              <a:gd name="connsiteY1947" fmla="*/ 268840 h 5392467"/>
              <a:gd name="connsiteX1948" fmla="*/ 4548114 w 6096001"/>
              <a:gd name="connsiteY1948" fmla="*/ 278510 h 5392467"/>
              <a:gd name="connsiteX1949" fmla="*/ 4567455 w 6096001"/>
              <a:gd name="connsiteY1949" fmla="*/ 268840 h 5392467"/>
              <a:gd name="connsiteX1950" fmla="*/ 4572774 w 6096001"/>
              <a:gd name="connsiteY1950" fmla="*/ 254576 h 5392467"/>
              <a:gd name="connsiteX1951" fmla="*/ 4571324 w 6096001"/>
              <a:gd name="connsiteY1951" fmla="*/ 261104 h 5392467"/>
              <a:gd name="connsiteX1952" fmla="*/ 4582928 w 6096001"/>
              <a:gd name="connsiteY1952" fmla="*/ 255300 h 5392467"/>
              <a:gd name="connsiteX1953" fmla="*/ 4572774 w 6096001"/>
              <a:gd name="connsiteY1953" fmla="*/ 254576 h 5392467"/>
              <a:gd name="connsiteX1954" fmla="*/ 4727987 w 6096001"/>
              <a:gd name="connsiteY1954" fmla="*/ 253367 h 5392467"/>
              <a:gd name="connsiteX1955" fmla="*/ 4710579 w 6096001"/>
              <a:gd name="connsiteY1955" fmla="*/ 266905 h 5392467"/>
              <a:gd name="connsiteX1956" fmla="*/ 4727987 w 6096001"/>
              <a:gd name="connsiteY1956" fmla="*/ 253367 h 5392467"/>
              <a:gd name="connsiteX1957" fmla="*/ 4596469 w 6096001"/>
              <a:gd name="connsiteY1957" fmla="*/ 243698 h 5392467"/>
              <a:gd name="connsiteX1958" fmla="*/ 4582928 w 6096001"/>
              <a:gd name="connsiteY1958" fmla="*/ 249499 h 5392467"/>
              <a:gd name="connsiteX1959" fmla="*/ 4596469 w 6096001"/>
              <a:gd name="connsiteY1959" fmla="*/ 243698 h 5392467"/>
              <a:gd name="connsiteX1960" fmla="*/ 4563587 w 6096001"/>
              <a:gd name="connsiteY1960" fmla="*/ 230158 h 5392467"/>
              <a:gd name="connsiteX1961" fmla="*/ 4557367 w 6096001"/>
              <a:gd name="connsiteY1961" fmla="*/ 234824 h 5392467"/>
              <a:gd name="connsiteX1962" fmla="*/ 4555372 w 6096001"/>
              <a:gd name="connsiteY1962" fmla="*/ 235482 h 5392467"/>
              <a:gd name="connsiteX1963" fmla="*/ 4555078 w 6096001"/>
              <a:gd name="connsiteY1963" fmla="*/ 235188 h 5392467"/>
              <a:gd name="connsiteX1964" fmla="*/ 4561177 w 6096001"/>
              <a:gd name="connsiteY1964" fmla="*/ 231122 h 5392467"/>
              <a:gd name="connsiteX1965" fmla="*/ 4712514 w 6096001"/>
              <a:gd name="connsiteY1965" fmla="*/ 228225 h 5392467"/>
              <a:gd name="connsiteX1966" fmla="*/ 4704777 w 6096001"/>
              <a:gd name="connsiteY1966" fmla="*/ 237894 h 5392467"/>
              <a:gd name="connsiteX1967" fmla="*/ 4712514 w 6096001"/>
              <a:gd name="connsiteY1967" fmla="*/ 228225 h 5392467"/>
              <a:gd name="connsiteX1968" fmla="*/ 3863443 w 6096001"/>
              <a:gd name="connsiteY1968" fmla="*/ 0 h 5392467"/>
              <a:gd name="connsiteX1969" fmla="*/ 3869244 w 6096001"/>
              <a:gd name="connsiteY1969" fmla="*/ 3868 h 5392467"/>
              <a:gd name="connsiteX1970" fmla="*/ 3867311 w 6096001"/>
              <a:gd name="connsiteY1970" fmla="*/ 7737 h 5392467"/>
              <a:gd name="connsiteX1971" fmla="*/ 3865376 w 6096001"/>
              <a:gd name="connsiteY1971" fmla="*/ 9670 h 5392467"/>
              <a:gd name="connsiteX1972" fmla="*/ 3859574 w 6096001"/>
              <a:gd name="connsiteY1972" fmla="*/ 21274 h 5392467"/>
              <a:gd name="connsiteX1973" fmla="*/ 3853771 w 6096001"/>
              <a:gd name="connsiteY1973" fmla="*/ 32879 h 5392467"/>
              <a:gd name="connsiteX1974" fmla="*/ 3826693 w 6096001"/>
              <a:gd name="connsiteY1974" fmla="*/ 50288 h 5392467"/>
              <a:gd name="connsiteX1975" fmla="*/ 3795749 w 6096001"/>
              <a:gd name="connsiteY1975" fmla="*/ 71562 h 5392467"/>
              <a:gd name="connsiteX1976" fmla="*/ 3791881 w 6096001"/>
              <a:gd name="connsiteY1976" fmla="*/ 79298 h 5392467"/>
              <a:gd name="connsiteX1977" fmla="*/ 3795749 w 6096001"/>
              <a:gd name="connsiteY1977" fmla="*/ 87035 h 5392467"/>
              <a:gd name="connsiteX1978" fmla="*/ 3799618 w 6096001"/>
              <a:gd name="connsiteY1978" fmla="*/ 88970 h 5392467"/>
              <a:gd name="connsiteX1979" fmla="*/ 3801551 w 6096001"/>
              <a:gd name="connsiteY1979" fmla="*/ 92836 h 5392467"/>
              <a:gd name="connsiteX1980" fmla="*/ 3799618 w 6096001"/>
              <a:gd name="connsiteY1980" fmla="*/ 94771 h 5392467"/>
              <a:gd name="connsiteX1981" fmla="*/ 3789946 w 6096001"/>
              <a:gd name="connsiteY1981" fmla="*/ 96704 h 5392467"/>
              <a:gd name="connsiteX1982" fmla="*/ 3774475 w 6096001"/>
              <a:gd name="connsiteY1982" fmla="*/ 104441 h 5392467"/>
              <a:gd name="connsiteX1983" fmla="*/ 3764803 w 6096001"/>
              <a:gd name="connsiteY1983" fmla="*/ 106376 h 5392467"/>
              <a:gd name="connsiteX1984" fmla="*/ 3760935 w 6096001"/>
              <a:gd name="connsiteY1984" fmla="*/ 112177 h 5392467"/>
              <a:gd name="connsiteX1985" fmla="*/ 3751266 w 6096001"/>
              <a:gd name="connsiteY1985" fmla="*/ 119914 h 5392467"/>
              <a:gd name="connsiteX1986" fmla="*/ 3745462 w 6096001"/>
              <a:gd name="connsiteY1986" fmla="*/ 125717 h 5392467"/>
              <a:gd name="connsiteX1987" fmla="*/ 3739658 w 6096001"/>
              <a:gd name="connsiteY1987" fmla="*/ 133454 h 5392467"/>
              <a:gd name="connsiteX1988" fmla="*/ 3726121 w 6096001"/>
              <a:gd name="connsiteY1988" fmla="*/ 141190 h 5392467"/>
              <a:gd name="connsiteX1989" fmla="*/ 3722253 w 6096001"/>
              <a:gd name="connsiteY1989" fmla="*/ 154728 h 5392467"/>
              <a:gd name="connsiteX1990" fmla="*/ 3728056 w 6096001"/>
              <a:gd name="connsiteY1990" fmla="*/ 158596 h 5392467"/>
              <a:gd name="connsiteX1991" fmla="*/ 3729989 w 6096001"/>
              <a:gd name="connsiteY1991" fmla="*/ 160532 h 5392467"/>
              <a:gd name="connsiteX1992" fmla="*/ 3728056 w 6096001"/>
              <a:gd name="connsiteY1992" fmla="*/ 164400 h 5392467"/>
              <a:gd name="connsiteX1993" fmla="*/ 3724188 w 6096001"/>
              <a:gd name="connsiteY1993" fmla="*/ 166333 h 5392467"/>
              <a:gd name="connsiteX1994" fmla="*/ 3720320 w 6096001"/>
              <a:gd name="connsiteY1994" fmla="*/ 168266 h 5392467"/>
              <a:gd name="connsiteX1995" fmla="*/ 3714516 w 6096001"/>
              <a:gd name="connsiteY1995" fmla="*/ 176005 h 5392467"/>
              <a:gd name="connsiteX1996" fmla="*/ 3697110 w 6096001"/>
              <a:gd name="connsiteY1996" fmla="*/ 185674 h 5392467"/>
              <a:gd name="connsiteX1997" fmla="*/ 3687441 w 6096001"/>
              <a:gd name="connsiteY1997" fmla="*/ 195343 h 5392467"/>
              <a:gd name="connsiteX1998" fmla="*/ 3679702 w 6096001"/>
              <a:gd name="connsiteY1998" fmla="*/ 201147 h 5392467"/>
              <a:gd name="connsiteX1999" fmla="*/ 3662296 w 6096001"/>
              <a:gd name="connsiteY1999" fmla="*/ 206948 h 5392467"/>
              <a:gd name="connsiteX2000" fmla="*/ 3648758 w 6096001"/>
              <a:gd name="connsiteY2000" fmla="*/ 214685 h 5392467"/>
              <a:gd name="connsiteX2001" fmla="*/ 3635218 w 6096001"/>
              <a:gd name="connsiteY2001" fmla="*/ 232093 h 5392467"/>
              <a:gd name="connsiteX2002" fmla="*/ 3631350 w 6096001"/>
              <a:gd name="connsiteY2002" fmla="*/ 237894 h 5392467"/>
              <a:gd name="connsiteX2003" fmla="*/ 3608140 w 6096001"/>
              <a:gd name="connsiteY2003" fmla="*/ 253367 h 5392467"/>
              <a:gd name="connsiteX2004" fmla="*/ 3606207 w 6096001"/>
              <a:gd name="connsiteY2004" fmla="*/ 259171 h 5392467"/>
              <a:gd name="connsiteX2005" fmla="*/ 3606207 w 6096001"/>
              <a:gd name="connsiteY2005" fmla="*/ 263039 h 5392467"/>
              <a:gd name="connsiteX2006" fmla="*/ 3594602 w 6096001"/>
              <a:gd name="connsiteY2006" fmla="*/ 276577 h 5392467"/>
              <a:gd name="connsiteX2007" fmla="*/ 3586866 w 6096001"/>
              <a:gd name="connsiteY2007" fmla="*/ 282378 h 5392467"/>
              <a:gd name="connsiteX2008" fmla="*/ 3582998 w 6096001"/>
              <a:gd name="connsiteY2008" fmla="*/ 288182 h 5392467"/>
              <a:gd name="connsiteX2009" fmla="*/ 3586866 w 6096001"/>
              <a:gd name="connsiteY2009" fmla="*/ 311391 h 5392467"/>
              <a:gd name="connsiteX2010" fmla="*/ 3594602 w 6096001"/>
              <a:gd name="connsiteY2010" fmla="*/ 322996 h 5392467"/>
              <a:gd name="connsiteX2011" fmla="*/ 3594602 w 6096001"/>
              <a:gd name="connsiteY2011" fmla="*/ 326864 h 5392467"/>
              <a:gd name="connsiteX2012" fmla="*/ 3569458 w 6096001"/>
              <a:gd name="connsiteY2012" fmla="*/ 342335 h 5392467"/>
              <a:gd name="connsiteX2013" fmla="*/ 3563656 w 6096001"/>
              <a:gd name="connsiteY2013" fmla="*/ 342335 h 5392467"/>
              <a:gd name="connsiteX2014" fmla="*/ 3559788 w 6096001"/>
              <a:gd name="connsiteY2014" fmla="*/ 350074 h 5392467"/>
              <a:gd name="connsiteX2015" fmla="*/ 3561723 w 6096001"/>
              <a:gd name="connsiteY2015" fmla="*/ 352007 h 5392467"/>
              <a:gd name="connsiteX2016" fmla="*/ 3563656 w 6096001"/>
              <a:gd name="connsiteY2016" fmla="*/ 352007 h 5392467"/>
              <a:gd name="connsiteX2017" fmla="*/ 3561723 w 6096001"/>
              <a:gd name="connsiteY2017" fmla="*/ 361676 h 5392467"/>
              <a:gd name="connsiteX2018" fmla="*/ 3555920 w 6096001"/>
              <a:gd name="connsiteY2018" fmla="*/ 363612 h 5392467"/>
              <a:gd name="connsiteX2019" fmla="*/ 3552052 w 6096001"/>
              <a:gd name="connsiteY2019" fmla="*/ 365544 h 5392467"/>
              <a:gd name="connsiteX2020" fmla="*/ 3548183 w 6096001"/>
              <a:gd name="connsiteY2020" fmla="*/ 371348 h 5392467"/>
              <a:gd name="connsiteX2021" fmla="*/ 3538514 w 6096001"/>
              <a:gd name="connsiteY2021" fmla="*/ 379085 h 5392467"/>
              <a:gd name="connsiteX2022" fmla="*/ 3532710 w 6096001"/>
              <a:gd name="connsiteY2022" fmla="*/ 386821 h 5392467"/>
              <a:gd name="connsiteX2023" fmla="*/ 3524974 w 6096001"/>
              <a:gd name="connsiteY2023" fmla="*/ 398426 h 5392467"/>
              <a:gd name="connsiteX2024" fmla="*/ 3511436 w 6096001"/>
              <a:gd name="connsiteY2024" fmla="*/ 411964 h 5392467"/>
              <a:gd name="connsiteX2025" fmla="*/ 3503700 w 6096001"/>
              <a:gd name="connsiteY2025" fmla="*/ 417767 h 5392467"/>
              <a:gd name="connsiteX2026" fmla="*/ 3494030 w 6096001"/>
              <a:gd name="connsiteY2026" fmla="*/ 425504 h 5392467"/>
              <a:gd name="connsiteX2027" fmla="*/ 3486294 w 6096001"/>
              <a:gd name="connsiteY2027" fmla="*/ 435173 h 5392467"/>
              <a:gd name="connsiteX2028" fmla="*/ 3488227 w 6096001"/>
              <a:gd name="connsiteY2028" fmla="*/ 439041 h 5392467"/>
              <a:gd name="connsiteX2029" fmla="*/ 3495963 w 6096001"/>
              <a:gd name="connsiteY2029" fmla="*/ 435173 h 5392467"/>
              <a:gd name="connsiteX2030" fmla="*/ 3499831 w 6096001"/>
              <a:gd name="connsiteY2030" fmla="*/ 431305 h 5392467"/>
              <a:gd name="connsiteX2031" fmla="*/ 3505633 w 6096001"/>
              <a:gd name="connsiteY2031" fmla="*/ 433240 h 5392467"/>
              <a:gd name="connsiteX2032" fmla="*/ 3505633 w 6096001"/>
              <a:gd name="connsiteY2032" fmla="*/ 440974 h 5392467"/>
              <a:gd name="connsiteX2033" fmla="*/ 3503700 w 6096001"/>
              <a:gd name="connsiteY2033" fmla="*/ 444845 h 5392467"/>
              <a:gd name="connsiteX2034" fmla="*/ 3492095 w 6096001"/>
              <a:gd name="connsiteY2034" fmla="*/ 462251 h 5392467"/>
              <a:gd name="connsiteX2035" fmla="*/ 3470821 w 6096001"/>
              <a:gd name="connsiteY2035" fmla="*/ 475789 h 5392467"/>
              <a:gd name="connsiteX2036" fmla="*/ 3472754 w 6096001"/>
              <a:gd name="connsiteY2036" fmla="*/ 475789 h 5392467"/>
              <a:gd name="connsiteX2037" fmla="*/ 3484358 w 6096001"/>
              <a:gd name="connsiteY2037" fmla="*/ 473856 h 5392467"/>
              <a:gd name="connsiteX2038" fmla="*/ 3524974 w 6096001"/>
              <a:gd name="connsiteY2038" fmla="*/ 460316 h 5392467"/>
              <a:gd name="connsiteX2039" fmla="*/ 3524974 w 6096001"/>
              <a:gd name="connsiteY2039" fmla="*/ 466119 h 5392467"/>
              <a:gd name="connsiteX2040" fmla="*/ 3501764 w 6096001"/>
              <a:gd name="connsiteY2040" fmla="*/ 473856 h 5392467"/>
              <a:gd name="connsiteX2041" fmla="*/ 3494030 w 6096001"/>
              <a:gd name="connsiteY2041" fmla="*/ 475789 h 5392467"/>
              <a:gd name="connsiteX2042" fmla="*/ 3480490 w 6096001"/>
              <a:gd name="connsiteY2042" fmla="*/ 479657 h 5392467"/>
              <a:gd name="connsiteX2043" fmla="*/ 3474689 w 6096001"/>
              <a:gd name="connsiteY2043" fmla="*/ 481592 h 5392467"/>
              <a:gd name="connsiteX2044" fmla="*/ 3449544 w 6096001"/>
              <a:gd name="connsiteY2044" fmla="*/ 493197 h 5392467"/>
              <a:gd name="connsiteX2045" fmla="*/ 3447611 w 6096001"/>
              <a:gd name="connsiteY2045" fmla="*/ 493197 h 5392467"/>
              <a:gd name="connsiteX2046" fmla="*/ 3443743 w 6096001"/>
              <a:gd name="connsiteY2046" fmla="*/ 498998 h 5392467"/>
              <a:gd name="connsiteX2047" fmla="*/ 3437939 w 6096001"/>
              <a:gd name="connsiteY2047" fmla="*/ 502866 h 5392467"/>
              <a:gd name="connsiteX2048" fmla="*/ 3437939 w 6096001"/>
              <a:gd name="connsiteY2048" fmla="*/ 504802 h 5392467"/>
              <a:gd name="connsiteX2049" fmla="*/ 3443743 w 6096001"/>
              <a:gd name="connsiteY2049" fmla="*/ 508670 h 5392467"/>
              <a:gd name="connsiteX2050" fmla="*/ 3434071 w 6096001"/>
              <a:gd name="connsiteY2050" fmla="*/ 516406 h 5392467"/>
              <a:gd name="connsiteX2051" fmla="*/ 3497896 w 6096001"/>
              <a:gd name="connsiteY2051" fmla="*/ 502866 h 5392467"/>
              <a:gd name="connsiteX2052" fmla="*/ 3488227 w 6096001"/>
              <a:gd name="connsiteY2052" fmla="*/ 514471 h 5392467"/>
              <a:gd name="connsiteX2053" fmla="*/ 3501764 w 6096001"/>
              <a:gd name="connsiteY2053" fmla="*/ 508670 h 5392467"/>
              <a:gd name="connsiteX2054" fmla="*/ 3569458 w 6096001"/>
              <a:gd name="connsiteY2054" fmla="*/ 487393 h 5392467"/>
              <a:gd name="connsiteX2055" fmla="*/ 3563656 w 6096001"/>
              <a:gd name="connsiteY2055" fmla="*/ 495130 h 5392467"/>
              <a:gd name="connsiteX2056" fmla="*/ 3571393 w 6096001"/>
              <a:gd name="connsiteY2056" fmla="*/ 498998 h 5392467"/>
              <a:gd name="connsiteX2057" fmla="*/ 3538514 w 6096001"/>
              <a:gd name="connsiteY2057" fmla="*/ 510603 h 5392467"/>
              <a:gd name="connsiteX2058" fmla="*/ 3534646 w 6096001"/>
              <a:gd name="connsiteY2058" fmla="*/ 510603 h 5392467"/>
              <a:gd name="connsiteX2059" fmla="*/ 3515304 w 6096001"/>
              <a:gd name="connsiteY2059" fmla="*/ 518339 h 5392467"/>
              <a:gd name="connsiteX2060" fmla="*/ 3503700 w 6096001"/>
              <a:gd name="connsiteY2060" fmla="*/ 524143 h 5392467"/>
              <a:gd name="connsiteX2061" fmla="*/ 3509501 w 6096001"/>
              <a:gd name="connsiteY2061" fmla="*/ 516406 h 5392467"/>
              <a:gd name="connsiteX2062" fmla="*/ 3488227 w 6096001"/>
              <a:gd name="connsiteY2062" fmla="*/ 528009 h 5392467"/>
              <a:gd name="connsiteX2063" fmla="*/ 3476622 w 6096001"/>
              <a:gd name="connsiteY2063" fmla="*/ 535745 h 5392467"/>
              <a:gd name="connsiteX2064" fmla="*/ 3472754 w 6096001"/>
              <a:gd name="connsiteY2064" fmla="*/ 539614 h 5392467"/>
              <a:gd name="connsiteX2065" fmla="*/ 3470821 w 6096001"/>
              <a:gd name="connsiteY2065" fmla="*/ 541549 h 5392467"/>
              <a:gd name="connsiteX2066" fmla="*/ 3472754 w 6096001"/>
              <a:gd name="connsiteY2066" fmla="*/ 547350 h 5392467"/>
              <a:gd name="connsiteX2067" fmla="*/ 3505633 w 6096001"/>
              <a:gd name="connsiteY2067" fmla="*/ 533812 h 5392467"/>
              <a:gd name="connsiteX2068" fmla="*/ 3540447 w 6096001"/>
              <a:gd name="connsiteY2068" fmla="*/ 520275 h 5392467"/>
              <a:gd name="connsiteX2069" fmla="*/ 3575261 w 6096001"/>
              <a:gd name="connsiteY2069" fmla="*/ 510603 h 5392467"/>
              <a:gd name="connsiteX2070" fmla="*/ 3577197 w 6096001"/>
              <a:gd name="connsiteY2070" fmla="*/ 518339 h 5392467"/>
              <a:gd name="connsiteX2071" fmla="*/ 3571393 w 6096001"/>
              <a:gd name="connsiteY2071" fmla="*/ 522208 h 5392467"/>
              <a:gd name="connsiteX2072" fmla="*/ 3540447 w 6096001"/>
              <a:gd name="connsiteY2072" fmla="*/ 533812 h 5392467"/>
              <a:gd name="connsiteX2073" fmla="*/ 3532710 w 6096001"/>
              <a:gd name="connsiteY2073" fmla="*/ 543484 h 5392467"/>
              <a:gd name="connsiteX2074" fmla="*/ 3524974 w 6096001"/>
              <a:gd name="connsiteY2074" fmla="*/ 560890 h 5392467"/>
              <a:gd name="connsiteX2075" fmla="*/ 3524974 w 6096001"/>
              <a:gd name="connsiteY2075" fmla="*/ 566691 h 5392467"/>
              <a:gd name="connsiteX2076" fmla="*/ 3505633 w 6096001"/>
              <a:gd name="connsiteY2076" fmla="*/ 562823 h 5392467"/>
              <a:gd name="connsiteX2077" fmla="*/ 3495963 w 6096001"/>
              <a:gd name="connsiteY2077" fmla="*/ 568627 h 5392467"/>
              <a:gd name="connsiteX2078" fmla="*/ 3497896 w 6096001"/>
              <a:gd name="connsiteY2078" fmla="*/ 574428 h 5392467"/>
              <a:gd name="connsiteX2079" fmla="*/ 3492895 w 6096001"/>
              <a:gd name="connsiteY2079" fmla="*/ 576352 h 5392467"/>
              <a:gd name="connsiteX2080" fmla="*/ 3494030 w 6096001"/>
              <a:gd name="connsiteY2080" fmla="*/ 572495 h 5392467"/>
              <a:gd name="connsiteX2081" fmla="*/ 3488472 w 6096001"/>
              <a:gd name="connsiteY2081" fmla="*/ 578053 h 5392467"/>
              <a:gd name="connsiteX2082" fmla="*/ 3472754 w 6096001"/>
              <a:gd name="connsiteY2082" fmla="*/ 584100 h 5392467"/>
              <a:gd name="connsiteX2083" fmla="*/ 3473721 w 6096001"/>
              <a:gd name="connsiteY2083" fmla="*/ 589901 h 5392467"/>
              <a:gd name="connsiteX2084" fmla="*/ 3472754 w 6096001"/>
              <a:gd name="connsiteY2084" fmla="*/ 589901 h 5392467"/>
              <a:gd name="connsiteX2085" fmla="*/ 3473778 w 6096001"/>
              <a:gd name="connsiteY2085" fmla="*/ 590243 h 5392467"/>
              <a:gd name="connsiteX2086" fmla="*/ 3474689 w 6096001"/>
              <a:gd name="connsiteY2086" fmla="*/ 595705 h 5392467"/>
              <a:gd name="connsiteX2087" fmla="*/ 3470821 w 6096001"/>
              <a:gd name="connsiteY2087" fmla="*/ 609242 h 5392467"/>
              <a:gd name="connsiteX2088" fmla="*/ 3463084 w 6096001"/>
              <a:gd name="connsiteY2088" fmla="*/ 615046 h 5392467"/>
              <a:gd name="connsiteX2089" fmla="*/ 3451479 w 6096001"/>
              <a:gd name="connsiteY2089" fmla="*/ 616979 h 5392467"/>
              <a:gd name="connsiteX2090" fmla="*/ 3441808 w 6096001"/>
              <a:gd name="connsiteY2090" fmla="*/ 622780 h 5392467"/>
              <a:gd name="connsiteX2091" fmla="*/ 3428270 w 6096001"/>
              <a:gd name="connsiteY2091" fmla="*/ 628584 h 5392467"/>
              <a:gd name="connsiteX2092" fmla="*/ 3410862 w 6096001"/>
              <a:gd name="connsiteY2092" fmla="*/ 638253 h 5392467"/>
              <a:gd name="connsiteX2093" fmla="*/ 3408929 w 6096001"/>
              <a:gd name="connsiteY2093" fmla="*/ 644057 h 5392467"/>
              <a:gd name="connsiteX2094" fmla="*/ 3422466 w 6096001"/>
              <a:gd name="connsiteY2094" fmla="*/ 638253 h 5392467"/>
              <a:gd name="connsiteX2095" fmla="*/ 3428270 w 6096001"/>
              <a:gd name="connsiteY2095" fmla="*/ 644057 h 5392467"/>
              <a:gd name="connsiteX2096" fmla="*/ 3441808 w 6096001"/>
              <a:gd name="connsiteY2096" fmla="*/ 636320 h 5392467"/>
              <a:gd name="connsiteX2097" fmla="*/ 3470821 w 6096001"/>
              <a:gd name="connsiteY2097" fmla="*/ 622780 h 5392467"/>
              <a:gd name="connsiteX2098" fmla="*/ 3486294 w 6096001"/>
              <a:gd name="connsiteY2098" fmla="*/ 607309 h 5392467"/>
              <a:gd name="connsiteX2099" fmla="*/ 3482423 w 6096001"/>
              <a:gd name="connsiteY2099" fmla="*/ 603441 h 5392467"/>
              <a:gd name="connsiteX2100" fmla="*/ 3480490 w 6096001"/>
              <a:gd name="connsiteY2100" fmla="*/ 595705 h 5392467"/>
              <a:gd name="connsiteX2101" fmla="*/ 3486294 w 6096001"/>
              <a:gd name="connsiteY2101" fmla="*/ 593769 h 5392467"/>
              <a:gd name="connsiteX2102" fmla="*/ 3497896 w 6096001"/>
              <a:gd name="connsiteY2102" fmla="*/ 580232 h 5392467"/>
              <a:gd name="connsiteX2103" fmla="*/ 3509501 w 6096001"/>
              <a:gd name="connsiteY2103" fmla="*/ 570560 h 5392467"/>
              <a:gd name="connsiteX2104" fmla="*/ 3523041 w 6096001"/>
              <a:gd name="connsiteY2104" fmla="*/ 576363 h 5392467"/>
              <a:gd name="connsiteX2105" fmla="*/ 3509501 w 6096001"/>
              <a:gd name="connsiteY2105" fmla="*/ 597637 h 5392467"/>
              <a:gd name="connsiteX2106" fmla="*/ 3532710 w 6096001"/>
              <a:gd name="connsiteY2106" fmla="*/ 582164 h 5392467"/>
              <a:gd name="connsiteX2107" fmla="*/ 3557855 w 6096001"/>
              <a:gd name="connsiteY2107" fmla="*/ 560890 h 5392467"/>
              <a:gd name="connsiteX2108" fmla="*/ 3559788 w 6096001"/>
              <a:gd name="connsiteY2108" fmla="*/ 549285 h 5392467"/>
              <a:gd name="connsiteX2109" fmla="*/ 3573328 w 6096001"/>
              <a:gd name="connsiteY2109" fmla="*/ 566691 h 5392467"/>
              <a:gd name="connsiteX2110" fmla="*/ 3559788 w 6096001"/>
              <a:gd name="connsiteY2110" fmla="*/ 576363 h 5392467"/>
              <a:gd name="connsiteX2111" fmla="*/ 3561723 w 6096001"/>
              <a:gd name="connsiteY2111" fmla="*/ 580232 h 5392467"/>
              <a:gd name="connsiteX2112" fmla="*/ 3592667 w 6096001"/>
              <a:gd name="connsiteY2112" fmla="*/ 570560 h 5392467"/>
              <a:gd name="connsiteX2113" fmla="*/ 3592667 w 6096001"/>
              <a:gd name="connsiteY2113" fmla="*/ 568627 h 5392467"/>
              <a:gd name="connsiteX2114" fmla="*/ 3582998 w 6096001"/>
              <a:gd name="connsiteY2114" fmla="*/ 564758 h 5392467"/>
              <a:gd name="connsiteX2115" fmla="*/ 3606207 w 6096001"/>
              <a:gd name="connsiteY2115" fmla="*/ 558955 h 5392467"/>
              <a:gd name="connsiteX2116" fmla="*/ 3612008 w 6096001"/>
              <a:gd name="connsiteY2116" fmla="*/ 572495 h 5392467"/>
              <a:gd name="connsiteX2117" fmla="*/ 3608140 w 6096001"/>
              <a:gd name="connsiteY2117" fmla="*/ 576363 h 5392467"/>
              <a:gd name="connsiteX2118" fmla="*/ 3602339 w 6096001"/>
              <a:gd name="connsiteY2118" fmla="*/ 564758 h 5392467"/>
              <a:gd name="connsiteX2119" fmla="*/ 3598471 w 6096001"/>
              <a:gd name="connsiteY2119" fmla="*/ 570560 h 5392467"/>
              <a:gd name="connsiteX2120" fmla="*/ 3592667 w 6096001"/>
              <a:gd name="connsiteY2120" fmla="*/ 580232 h 5392467"/>
              <a:gd name="connsiteX2121" fmla="*/ 3577197 w 6096001"/>
              <a:gd name="connsiteY2121" fmla="*/ 587968 h 5392467"/>
              <a:gd name="connsiteX2122" fmla="*/ 3575261 w 6096001"/>
              <a:gd name="connsiteY2122" fmla="*/ 587968 h 5392467"/>
              <a:gd name="connsiteX2123" fmla="*/ 3565589 w 6096001"/>
              <a:gd name="connsiteY2123" fmla="*/ 589901 h 5392467"/>
              <a:gd name="connsiteX2124" fmla="*/ 3540447 w 6096001"/>
              <a:gd name="connsiteY2124" fmla="*/ 605374 h 5392467"/>
              <a:gd name="connsiteX2125" fmla="*/ 3534646 w 6096001"/>
              <a:gd name="connsiteY2125" fmla="*/ 595705 h 5392467"/>
              <a:gd name="connsiteX2126" fmla="*/ 3528842 w 6096001"/>
              <a:gd name="connsiteY2126" fmla="*/ 609242 h 5392467"/>
              <a:gd name="connsiteX2127" fmla="*/ 3513372 w 6096001"/>
              <a:gd name="connsiteY2127" fmla="*/ 613111 h 5392467"/>
              <a:gd name="connsiteX2128" fmla="*/ 3515304 w 6096001"/>
              <a:gd name="connsiteY2128" fmla="*/ 605374 h 5392467"/>
              <a:gd name="connsiteX2129" fmla="*/ 3511436 w 6096001"/>
              <a:gd name="connsiteY2129" fmla="*/ 605374 h 5392467"/>
              <a:gd name="connsiteX2130" fmla="*/ 3492095 w 6096001"/>
              <a:gd name="connsiteY2130" fmla="*/ 622780 h 5392467"/>
              <a:gd name="connsiteX2131" fmla="*/ 3486294 w 6096001"/>
              <a:gd name="connsiteY2131" fmla="*/ 630519 h 5392467"/>
              <a:gd name="connsiteX2132" fmla="*/ 3492095 w 6096001"/>
              <a:gd name="connsiteY2132" fmla="*/ 630519 h 5392467"/>
              <a:gd name="connsiteX2133" fmla="*/ 3532710 w 6096001"/>
              <a:gd name="connsiteY2133" fmla="*/ 613111 h 5392467"/>
              <a:gd name="connsiteX2134" fmla="*/ 3542382 w 6096001"/>
              <a:gd name="connsiteY2134" fmla="*/ 611178 h 5392467"/>
              <a:gd name="connsiteX2135" fmla="*/ 3573328 w 6096001"/>
              <a:gd name="connsiteY2135" fmla="*/ 599573 h 5392467"/>
              <a:gd name="connsiteX2136" fmla="*/ 3579129 w 6096001"/>
              <a:gd name="connsiteY2136" fmla="*/ 597637 h 5392467"/>
              <a:gd name="connsiteX2137" fmla="*/ 3584931 w 6096001"/>
              <a:gd name="connsiteY2137" fmla="*/ 605374 h 5392467"/>
              <a:gd name="connsiteX2138" fmla="*/ 3569458 w 6096001"/>
              <a:gd name="connsiteY2138" fmla="*/ 605374 h 5392467"/>
              <a:gd name="connsiteX2139" fmla="*/ 3555920 w 6096001"/>
              <a:gd name="connsiteY2139" fmla="*/ 624715 h 5392467"/>
              <a:gd name="connsiteX2140" fmla="*/ 3546248 w 6096001"/>
              <a:gd name="connsiteY2140" fmla="*/ 645990 h 5392467"/>
              <a:gd name="connsiteX2141" fmla="*/ 3539475 w 6096001"/>
              <a:gd name="connsiteY2141" fmla="*/ 647925 h 5392467"/>
              <a:gd name="connsiteX2142" fmla="*/ 3524974 w 6096001"/>
              <a:gd name="connsiteY2142" fmla="*/ 647925 h 5392467"/>
              <a:gd name="connsiteX2143" fmla="*/ 3517237 w 6096001"/>
              <a:gd name="connsiteY2143" fmla="*/ 640188 h 5392467"/>
              <a:gd name="connsiteX2144" fmla="*/ 3503700 w 6096001"/>
              <a:gd name="connsiteY2144" fmla="*/ 645990 h 5392467"/>
              <a:gd name="connsiteX2145" fmla="*/ 3503700 w 6096001"/>
              <a:gd name="connsiteY2145" fmla="*/ 647925 h 5392467"/>
              <a:gd name="connsiteX2146" fmla="*/ 3526574 w 6096001"/>
              <a:gd name="connsiteY2146" fmla="*/ 654461 h 5392467"/>
              <a:gd name="connsiteX2147" fmla="*/ 3524974 w 6096001"/>
              <a:gd name="connsiteY2147" fmla="*/ 655661 h 5392467"/>
              <a:gd name="connsiteX2148" fmla="*/ 3532710 w 6096001"/>
              <a:gd name="connsiteY2148" fmla="*/ 663398 h 5392467"/>
              <a:gd name="connsiteX2149" fmla="*/ 3536579 w 6096001"/>
              <a:gd name="connsiteY2149" fmla="*/ 661463 h 5392467"/>
              <a:gd name="connsiteX2150" fmla="*/ 3534646 w 6096001"/>
              <a:gd name="connsiteY2150" fmla="*/ 665331 h 5392467"/>
              <a:gd name="connsiteX2151" fmla="*/ 3538514 w 6096001"/>
              <a:gd name="connsiteY2151" fmla="*/ 671134 h 5392467"/>
              <a:gd name="connsiteX2152" fmla="*/ 3917598 w 6096001"/>
              <a:gd name="connsiteY2152" fmla="*/ 508670 h 5392467"/>
              <a:gd name="connsiteX2153" fmla="*/ 3985291 w 6096001"/>
              <a:gd name="connsiteY2153" fmla="*/ 537681 h 5392467"/>
              <a:gd name="connsiteX2154" fmla="*/ 3987224 w 6096001"/>
              <a:gd name="connsiteY2154" fmla="*/ 537681 h 5392467"/>
              <a:gd name="connsiteX2155" fmla="*/ 3987224 w 6096001"/>
              <a:gd name="connsiteY2155" fmla="*/ 539614 h 5392467"/>
              <a:gd name="connsiteX2156" fmla="*/ 3989160 w 6096001"/>
              <a:gd name="connsiteY2156" fmla="*/ 545417 h 5392467"/>
              <a:gd name="connsiteX2157" fmla="*/ 3994961 w 6096001"/>
              <a:gd name="connsiteY2157" fmla="*/ 541549 h 5392467"/>
              <a:gd name="connsiteX2158" fmla="*/ 3998829 w 6096001"/>
              <a:gd name="connsiteY2158" fmla="*/ 539614 h 5392467"/>
              <a:gd name="connsiteX2159" fmla="*/ 4002697 w 6096001"/>
              <a:gd name="connsiteY2159" fmla="*/ 537681 h 5392467"/>
              <a:gd name="connsiteX2160" fmla="*/ 3994961 w 6096001"/>
              <a:gd name="connsiteY2160" fmla="*/ 535745 h 5392467"/>
              <a:gd name="connsiteX2161" fmla="*/ 4016237 w 6096001"/>
              <a:gd name="connsiteY2161" fmla="*/ 529944 h 5392467"/>
              <a:gd name="connsiteX2162" fmla="*/ 4022039 w 6096001"/>
              <a:gd name="connsiteY2162" fmla="*/ 528009 h 5392467"/>
              <a:gd name="connsiteX2163" fmla="*/ 4031711 w 6096001"/>
              <a:gd name="connsiteY2163" fmla="*/ 522208 h 5392467"/>
              <a:gd name="connsiteX2164" fmla="*/ 4018170 w 6096001"/>
              <a:gd name="connsiteY2164" fmla="*/ 539614 h 5392467"/>
              <a:gd name="connsiteX2165" fmla="*/ 4025907 w 6096001"/>
              <a:gd name="connsiteY2165" fmla="*/ 541549 h 5392467"/>
              <a:gd name="connsiteX2166" fmla="*/ 4027840 w 6096001"/>
              <a:gd name="connsiteY2166" fmla="*/ 551216 h 5392467"/>
              <a:gd name="connsiteX2167" fmla="*/ 4025423 w 6096001"/>
              <a:gd name="connsiteY2167" fmla="*/ 548559 h 5392467"/>
              <a:gd name="connsiteX2168" fmla="*/ 4020103 w 6096001"/>
              <a:gd name="connsiteY2168" fmla="*/ 553154 h 5392467"/>
              <a:gd name="connsiteX2169" fmla="*/ 4022039 w 6096001"/>
              <a:gd name="connsiteY2169" fmla="*/ 553154 h 5392467"/>
              <a:gd name="connsiteX2170" fmla="*/ 4027841 w 6096001"/>
              <a:gd name="connsiteY2170" fmla="*/ 551219 h 5392467"/>
              <a:gd name="connsiteX2171" fmla="*/ 4028163 w 6096001"/>
              <a:gd name="connsiteY2171" fmla="*/ 552832 h 5392467"/>
              <a:gd name="connsiteX2172" fmla="*/ 4027842 w 6096001"/>
              <a:gd name="connsiteY2172" fmla="*/ 553154 h 5392467"/>
              <a:gd name="connsiteX2173" fmla="*/ 4028324 w 6096001"/>
              <a:gd name="connsiteY2173" fmla="*/ 553636 h 5392467"/>
              <a:gd name="connsiteX2174" fmla="*/ 4029775 w 6096001"/>
              <a:gd name="connsiteY2174" fmla="*/ 560890 h 5392467"/>
              <a:gd name="connsiteX2175" fmla="*/ 4051052 w 6096001"/>
              <a:gd name="connsiteY2175" fmla="*/ 545417 h 5392467"/>
              <a:gd name="connsiteX2176" fmla="*/ 4052985 w 6096001"/>
              <a:gd name="connsiteY2176" fmla="*/ 543484 h 5392467"/>
              <a:gd name="connsiteX2177" fmla="*/ 4076194 w 6096001"/>
              <a:gd name="connsiteY2177" fmla="*/ 524143 h 5392467"/>
              <a:gd name="connsiteX2178" fmla="*/ 4078127 w 6096001"/>
              <a:gd name="connsiteY2178" fmla="*/ 520275 h 5392467"/>
              <a:gd name="connsiteX2179" fmla="*/ 4080063 w 6096001"/>
              <a:gd name="connsiteY2179" fmla="*/ 522208 h 5392467"/>
              <a:gd name="connsiteX2180" fmla="*/ 4085864 w 6096001"/>
              <a:gd name="connsiteY2180" fmla="*/ 514471 h 5392467"/>
              <a:gd name="connsiteX2181" fmla="*/ 4095536 w 6096001"/>
              <a:gd name="connsiteY2181" fmla="*/ 504802 h 5392467"/>
              <a:gd name="connsiteX2182" fmla="*/ 4099404 w 6096001"/>
              <a:gd name="connsiteY2182" fmla="*/ 498998 h 5392467"/>
              <a:gd name="connsiteX2183" fmla="*/ 4095536 w 6096001"/>
              <a:gd name="connsiteY2183" fmla="*/ 497065 h 5392467"/>
              <a:gd name="connsiteX2184" fmla="*/ 4072326 w 6096001"/>
              <a:gd name="connsiteY2184" fmla="*/ 510603 h 5392467"/>
              <a:gd name="connsiteX2185" fmla="*/ 4062654 w 6096001"/>
              <a:gd name="connsiteY2185" fmla="*/ 520275 h 5392467"/>
              <a:gd name="connsiteX2186" fmla="*/ 4066522 w 6096001"/>
              <a:gd name="connsiteY2186" fmla="*/ 524143 h 5392467"/>
              <a:gd name="connsiteX2187" fmla="*/ 4052985 w 6096001"/>
              <a:gd name="connsiteY2187" fmla="*/ 537681 h 5392467"/>
              <a:gd name="connsiteX2188" fmla="*/ 4039445 w 6096001"/>
              <a:gd name="connsiteY2188" fmla="*/ 545417 h 5392467"/>
              <a:gd name="connsiteX2189" fmla="*/ 4037512 w 6096001"/>
              <a:gd name="connsiteY2189" fmla="*/ 543484 h 5392467"/>
              <a:gd name="connsiteX2190" fmla="*/ 4054920 w 6096001"/>
              <a:gd name="connsiteY2190" fmla="*/ 529944 h 5392467"/>
              <a:gd name="connsiteX2191" fmla="*/ 4037512 w 6096001"/>
              <a:gd name="connsiteY2191" fmla="*/ 522208 h 5392467"/>
              <a:gd name="connsiteX2192" fmla="*/ 4049116 w 6096001"/>
              <a:gd name="connsiteY2192" fmla="*/ 516406 h 5392467"/>
              <a:gd name="connsiteX2193" fmla="*/ 4052985 w 6096001"/>
              <a:gd name="connsiteY2193" fmla="*/ 514471 h 5392467"/>
              <a:gd name="connsiteX2194" fmla="*/ 4056853 w 6096001"/>
              <a:gd name="connsiteY2194" fmla="*/ 500933 h 5392467"/>
              <a:gd name="connsiteX2195" fmla="*/ 4081995 w 6096001"/>
              <a:gd name="connsiteY2195" fmla="*/ 483525 h 5392467"/>
              <a:gd name="connsiteX2196" fmla="*/ 4105205 w 6096001"/>
              <a:gd name="connsiteY2196" fmla="*/ 471920 h 5392467"/>
              <a:gd name="connsiteX2197" fmla="*/ 4118745 w 6096001"/>
              <a:gd name="connsiteY2197" fmla="*/ 458383 h 5392467"/>
              <a:gd name="connsiteX2198" fmla="*/ 4134216 w 6096001"/>
              <a:gd name="connsiteY2198" fmla="*/ 442910 h 5392467"/>
              <a:gd name="connsiteX2199" fmla="*/ 4149689 w 6096001"/>
              <a:gd name="connsiteY2199" fmla="*/ 433240 h 5392467"/>
              <a:gd name="connsiteX2200" fmla="*/ 4151624 w 6096001"/>
              <a:gd name="connsiteY2200" fmla="*/ 435173 h 5392467"/>
              <a:gd name="connsiteX2201" fmla="*/ 4147756 w 6096001"/>
              <a:gd name="connsiteY2201" fmla="*/ 448711 h 5392467"/>
              <a:gd name="connsiteX2202" fmla="*/ 4167097 w 6096001"/>
              <a:gd name="connsiteY2202" fmla="*/ 433240 h 5392467"/>
              <a:gd name="connsiteX2203" fmla="*/ 4178702 w 6096001"/>
              <a:gd name="connsiteY2203" fmla="*/ 411964 h 5392467"/>
              <a:gd name="connsiteX2204" fmla="*/ 4201911 w 6096001"/>
              <a:gd name="connsiteY2204" fmla="*/ 417767 h 5392467"/>
              <a:gd name="connsiteX2205" fmla="*/ 4213514 w 6096001"/>
              <a:gd name="connsiteY2205" fmla="*/ 410031 h 5392467"/>
              <a:gd name="connsiteX2206" fmla="*/ 4227054 w 6096001"/>
              <a:gd name="connsiteY2206" fmla="*/ 425504 h 5392467"/>
              <a:gd name="connsiteX2207" fmla="*/ 4238659 w 6096001"/>
              <a:gd name="connsiteY2207" fmla="*/ 408095 h 5392467"/>
              <a:gd name="connsiteX2208" fmla="*/ 4236723 w 6096001"/>
              <a:gd name="connsiteY2208" fmla="*/ 402294 h 5392467"/>
              <a:gd name="connsiteX2209" fmla="*/ 4238659 w 6096001"/>
              <a:gd name="connsiteY2209" fmla="*/ 402294 h 5392467"/>
              <a:gd name="connsiteX2210" fmla="*/ 4285078 w 6096001"/>
              <a:gd name="connsiteY2210" fmla="*/ 369415 h 5392467"/>
              <a:gd name="connsiteX2211" fmla="*/ 4287011 w 6096001"/>
              <a:gd name="connsiteY2211" fmla="*/ 367480 h 5392467"/>
              <a:gd name="connsiteX2212" fmla="*/ 4296682 w 6096001"/>
              <a:gd name="connsiteY2212" fmla="*/ 357810 h 5392467"/>
              <a:gd name="connsiteX2213" fmla="*/ 4316024 w 6096001"/>
              <a:gd name="connsiteY2213" fmla="*/ 361676 h 5392467"/>
              <a:gd name="connsiteX2214" fmla="*/ 4314088 w 6096001"/>
              <a:gd name="connsiteY2214" fmla="*/ 348139 h 5392467"/>
              <a:gd name="connsiteX2215" fmla="*/ 4346967 w 6096001"/>
              <a:gd name="connsiteY2215" fmla="*/ 326864 h 5392467"/>
              <a:gd name="connsiteX2216" fmla="*/ 4348903 w 6096001"/>
              <a:gd name="connsiteY2216" fmla="*/ 328797 h 5392467"/>
              <a:gd name="connsiteX2217" fmla="*/ 4341166 w 6096001"/>
              <a:gd name="connsiteY2217" fmla="*/ 338469 h 5392467"/>
              <a:gd name="connsiteX2218" fmla="*/ 4343099 w 6096001"/>
              <a:gd name="connsiteY2218" fmla="*/ 340402 h 5392467"/>
              <a:gd name="connsiteX2219" fmla="*/ 4372112 w 6096001"/>
              <a:gd name="connsiteY2219" fmla="*/ 322996 h 5392467"/>
              <a:gd name="connsiteX2220" fmla="*/ 4370177 w 6096001"/>
              <a:gd name="connsiteY2220" fmla="*/ 317192 h 5392467"/>
              <a:gd name="connsiteX2221" fmla="*/ 4372112 w 6096001"/>
              <a:gd name="connsiteY2221" fmla="*/ 315260 h 5392467"/>
              <a:gd name="connsiteX2222" fmla="*/ 4375980 w 6096001"/>
              <a:gd name="connsiteY2222" fmla="*/ 322996 h 5392467"/>
              <a:gd name="connsiteX2223" fmla="*/ 4391451 w 6096001"/>
              <a:gd name="connsiteY2223" fmla="*/ 307523 h 5392467"/>
              <a:gd name="connsiteX2224" fmla="*/ 4395322 w 6096001"/>
              <a:gd name="connsiteY2224" fmla="*/ 305588 h 5392467"/>
              <a:gd name="connsiteX2225" fmla="*/ 4412728 w 6096001"/>
              <a:gd name="connsiteY2225" fmla="*/ 299786 h 5392467"/>
              <a:gd name="connsiteX2226" fmla="*/ 4426265 w 6096001"/>
              <a:gd name="connsiteY2226" fmla="*/ 288182 h 5392467"/>
              <a:gd name="connsiteX2227" fmla="*/ 4447542 w 6096001"/>
              <a:gd name="connsiteY2227" fmla="*/ 274642 h 5392467"/>
              <a:gd name="connsiteX2228" fmla="*/ 4439805 w 6096001"/>
              <a:gd name="connsiteY2228" fmla="*/ 284313 h 5392467"/>
              <a:gd name="connsiteX2229" fmla="*/ 4453343 w 6096001"/>
              <a:gd name="connsiteY2229" fmla="*/ 282378 h 5392467"/>
              <a:gd name="connsiteX2230" fmla="*/ 4455278 w 6096001"/>
              <a:gd name="connsiteY2230" fmla="*/ 290115 h 5392467"/>
              <a:gd name="connsiteX2231" fmla="*/ 4478488 w 6096001"/>
              <a:gd name="connsiteY2231" fmla="*/ 278510 h 5392467"/>
              <a:gd name="connsiteX2232" fmla="*/ 4482356 w 6096001"/>
              <a:gd name="connsiteY2232" fmla="*/ 284313 h 5392467"/>
              <a:gd name="connsiteX2233" fmla="*/ 4484289 w 6096001"/>
              <a:gd name="connsiteY2233" fmla="*/ 282378 h 5392467"/>
              <a:gd name="connsiteX2234" fmla="*/ 4507499 w 6096001"/>
              <a:gd name="connsiteY2234" fmla="*/ 264972 h 5392467"/>
              <a:gd name="connsiteX2235" fmla="*/ 4534577 w 6096001"/>
              <a:gd name="connsiteY2235" fmla="*/ 251434 h 5392467"/>
              <a:gd name="connsiteX2236" fmla="*/ 4534577 w 6096001"/>
              <a:gd name="connsiteY2236" fmla="*/ 241763 h 5392467"/>
              <a:gd name="connsiteX2237" fmla="*/ 4536509 w 6096001"/>
              <a:gd name="connsiteY2237" fmla="*/ 234026 h 5392467"/>
              <a:gd name="connsiteX2238" fmla="*/ 4546181 w 6096001"/>
              <a:gd name="connsiteY2238" fmla="*/ 226290 h 5392467"/>
              <a:gd name="connsiteX2239" fmla="*/ 4586797 w 6096001"/>
              <a:gd name="connsiteY2239" fmla="*/ 208884 h 5392467"/>
              <a:gd name="connsiteX2240" fmla="*/ 4573259 w 6096001"/>
              <a:gd name="connsiteY2240" fmla="*/ 216620 h 5392467"/>
              <a:gd name="connsiteX2241" fmla="*/ 4565523 w 6096001"/>
              <a:gd name="connsiteY2241" fmla="*/ 228225 h 5392467"/>
              <a:gd name="connsiteX2242" fmla="*/ 4561177 w 6096001"/>
              <a:gd name="connsiteY2242" fmla="*/ 231122 h 5392467"/>
              <a:gd name="connsiteX2243" fmla="*/ 4553918 w 6096001"/>
              <a:gd name="connsiteY2243" fmla="*/ 234026 h 5392467"/>
              <a:gd name="connsiteX2244" fmla="*/ 4555078 w 6096001"/>
              <a:gd name="connsiteY2244" fmla="*/ 235188 h 5392467"/>
              <a:gd name="connsiteX2245" fmla="*/ 4553918 w 6096001"/>
              <a:gd name="connsiteY2245" fmla="*/ 235961 h 5392467"/>
              <a:gd name="connsiteX2246" fmla="*/ 4555372 w 6096001"/>
              <a:gd name="connsiteY2246" fmla="*/ 235482 h 5392467"/>
              <a:gd name="connsiteX2247" fmla="*/ 4555851 w 6096001"/>
              <a:gd name="connsiteY2247" fmla="*/ 235961 h 5392467"/>
              <a:gd name="connsiteX2248" fmla="*/ 4557367 w 6096001"/>
              <a:gd name="connsiteY2248" fmla="*/ 234824 h 5392467"/>
              <a:gd name="connsiteX2249" fmla="*/ 4575918 w 6096001"/>
              <a:gd name="connsiteY2249" fmla="*/ 228708 h 5392467"/>
              <a:gd name="connsiteX2250" fmla="*/ 4596469 w 6096001"/>
              <a:gd name="connsiteY2250" fmla="*/ 218553 h 5392467"/>
              <a:gd name="connsiteX2251" fmla="*/ 4640952 w 6096001"/>
              <a:gd name="connsiteY2251" fmla="*/ 197279 h 5392467"/>
              <a:gd name="connsiteX2252" fmla="*/ 4685436 w 6096001"/>
              <a:gd name="connsiteY2252" fmla="*/ 181806 h 5392467"/>
              <a:gd name="connsiteX2253" fmla="*/ 4658358 w 6096001"/>
              <a:gd name="connsiteY2253" fmla="*/ 197279 h 5392467"/>
              <a:gd name="connsiteX2254" fmla="*/ 4629348 w 6096001"/>
              <a:gd name="connsiteY2254" fmla="*/ 220488 h 5392467"/>
              <a:gd name="connsiteX2255" fmla="*/ 4669963 w 6096001"/>
              <a:gd name="connsiteY2255" fmla="*/ 201147 h 5392467"/>
              <a:gd name="connsiteX2256" fmla="*/ 4673831 w 6096001"/>
              <a:gd name="connsiteY2256" fmla="*/ 206948 h 5392467"/>
              <a:gd name="connsiteX2257" fmla="*/ 4689304 w 6096001"/>
              <a:gd name="connsiteY2257" fmla="*/ 203080 h 5392467"/>
              <a:gd name="connsiteX2258" fmla="*/ 4691237 w 6096001"/>
              <a:gd name="connsiteY2258" fmla="*/ 210817 h 5392467"/>
              <a:gd name="connsiteX2259" fmla="*/ 4733788 w 6096001"/>
              <a:gd name="connsiteY2259" fmla="*/ 197279 h 5392467"/>
              <a:gd name="connsiteX2260" fmla="*/ 4712514 w 6096001"/>
              <a:gd name="connsiteY2260" fmla="*/ 214685 h 5392467"/>
              <a:gd name="connsiteX2261" fmla="*/ 4739592 w 6096001"/>
              <a:gd name="connsiteY2261" fmla="*/ 228225 h 5392467"/>
              <a:gd name="connsiteX2262" fmla="*/ 4726052 w 6096001"/>
              <a:gd name="connsiteY2262" fmla="*/ 232093 h 5392467"/>
              <a:gd name="connsiteX2263" fmla="*/ 4749261 w 6096001"/>
              <a:gd name="connsiteY2263" fmla="*/ 235961 h 5392467"/>
              <a:gd name="connsiteX2264" fmla="*/ 4770538 w 6096001"/>
              <a:gd name="connsiteY2264" fmla="*/ 220488 h 5392467"/>
              <a:gd name="connsiteX2265" fmla="*/ 4756998 w 6096001"/>
              <a:gd name="connsiteY2265" fmla="*/ 243698 h 5392467"/>
              <a:gd name="connsiteX2266" fmla="*/ 4774404 w 6096001"/>
              <a:gd name="connsiteY2266" fmla="*/ 232093 h 5392467"/>
              <a:gd name="connsiteX2267" fmla="*/ 4762801 w 6096001"/>
              <a:gd name="connsiteY2267" fmla="*/ 245631 h 5392467"/>
              <a:gd name="connsiteX2268" fmla="*/ 4774404 w 6096001"/>
              <a:gd name="connsiteY2268" fmla="*/ 249499 h 5392467"/>
              <a:gd name="connsiteX2269" fmla="*/ 4755062 w 6096001"/>
              <a:gd name="connsiteY2269" fmla="*/ 268840 h 5392467"/>
              <a:gd name="connsiteX2270" fmla="*/ 4761350 w 6096001"/>
              <a:gd name="connsiteY2270" fmla="*/ 272225 h 5392467"/>
              <a:gd name="connsiteX2271" fmla="*/ 4764033 w 6096001"/>
              <a:gd name="connsiteY2271" fmla="*/ 277208 h 5392467"/>
              <a:gd name="connsiteX2272" fmla="*/ 4745393 w 6096001"/>
              <a:gd name="connsiteY2272" fmla="*/ 293983 h 5392467"/>
              <a:gd name="connsiteX2273" fmla="*/ 4745393 w 6096001"/>
              <a:gd name="connsiteY2273" fmla="*/ 295918 h 5392467"/>
              <a:gd name="connsiteX2274" fmla="*/ 4756998 w 6096001"/>
              <a:gd name="connsiteY2274" fmla="*/ 293983 h 5392467"/>
              <a:gd name="connsiteX2275" fmla="*/ 4762801 w 6096001"/>
              <a:gd name="connsiteY2275" fmla="*/ 301719 h 5392467"/>
              <a:gd name="connsiteX2276" fmla="*/ 4772471 w 6096001"/>
              <a:gd name="connsiteY2276" fmla="*/ 284313 h 5392467"/>
              <a:gd name="connsiteX2277" fmla="*/ 4762801 w 6096001"/>
              <a:gd name="connsiteY2277" fmla="*/ 290115 h 5392467"/>
              <a:gd name="connsiteX2278" fmla="*/ 4760866 w 6096001"/>
              <a:gd name="connsiteY2278" fmla="*/ 288182 h 5392467"/>
              <a:gd name="connsiteX2279" fmla="*/ 4766669 w 6096001"/>
              <a:gd name="connsiteY2279" fmla="*/ 278510 h 5392467"/>
              <a:gd name="connsiteX2280" fmla="*/ 4765701 w 6096001"/>
              <a:gd name="connsiteY2280" fmla="*/ 277543 h 5392467"/>
              <a:gd name="connsiteX2281" fmla="*/ 4784075 w 6096001"/>
              <a:gd name="connsiteY2281" fmla="*/ 259171 h 5392467"/>
              <a:gd name="connsiteX2282" fmla="*/ 4787944 w 6096001"/>
              <a:gd name="connsiteY2282" fmla="*/ 272709 h 5392467"/>
              <a:gd name="connsiteX2283" fmla="*/ 4780207 w 6096001"/>
              <a:gd name="connsiteY2283" fmla="*/ 284313 h 5392467"/>
              <a:gd name="connsiteX2284" fmla="*/ 4799548 w 6096001"/>
              <a:gd name="connsiteY2284" fmla="*/ 282378 h 5392467"/>
              <a:gd name="connsiteX2285" fmla="*/ 4797613 w 6096001"/>
              <a:gd name="connsiteY2285" fmla="*/ 292050 h 5392467"/>
              <a:gd name="connsiteX2286" fmla="*/ 4805350 w 6096001"/>
              <a:gd name="connsiteY2286" fmla="*/ 293983 h 5392467"/>
              <a:gd name="connsiteX2287" fmla="*/ 4787944 w 6096001"/>
              <a:gd name="connsiteY2287" fmla="*/ 315260 h 5392467"/>
              <a:gd name="connsiteX2288" fmla="*/ 4787420 w 6096001"/>
              <a:gd name="connsiteY2288" fmla="*/ 320497 h 5392467"/>
              <a:gd name="connsiteX2289" fmla="*/ 4786011 w 6096001"/>
              <a:gd name="connsiteY2289" fmla="*/ 321061 h 5392467"/>
              <a:gd name="connsiteX2290" fmla="*/ 4787138 w 6096001"/>
              <a:gd name="connsiteY2290" fmla="*/ 323317 h 5392467"/>
              <a:gd name="connsiteX2291" fmla="*/ 4786011 w 6096001"/>
              <a:gd name="connsiteY2291" fmla="*/ 334601 h 5392467"/>
              <a:gd name="connsiteX2292" fmla="*/ 4815021 w 6096001"/>
              <a:gd name="connsiteY2292" fmla="*/ 313324 h 5392467"/>
              <a:gd name="connsiteX2293" fmla="*/ 4844032 w 6096001"/>
              <a:gd name="connsiteY2293" fmla="*/ 293983 h 5392467"/>
              <a:gd name="connsiteX2294" fmla="*/ 4851769 w 6096001"/>
              <a:gd name="connsiteY2294" fmla="*/ 292050 h 5392467"/>
              <a:gd name="connsiteX2295" fmla="*/ 4842097 w 6096001"/>
              <a:gd name="connsiteY2295" fmla="*/ 299786 h 5392467"/>
              <a:gd name="connsiteX2296" fmla="*/ 4844032 w 6096001"/>
              <a:gd name="connsiteY2296" fmla="*/ 303655 h 5392467"/>
              <a:gd name="connsiteX2297" fmla="*/ 4859505 w 6096001"/>
              <a:gd name="connsiteY2297" fmla="*/ 295918 h 5392467"/>
              <a:gd name="connsiteX2298" fmla="*/ 4816954 w 6096001"/>
              <a:gd name="connsiteY2298" fmla="*/ 332665 h 5392467"/>
              <a:gd name="connsiteX2299" fmla="*/ 4811153 w 6096001"/>
              <a:gd name="connsiteY2299" fmla="*/ 355875 h 5392467"/>
              <a:gd name="connsiteX2300" fmla="*/ 4818890 w 6096001"/>
              <a:gd name="connsiteY2300" fmla="*/ 369415 h 5392467"/>
              <a:gd name="connsiteX2301" fmla="*/ 4828559 w 6096001"/>
              <a:gd name="connsiteY2301" fmla="*/ 379085 h 5392467"/>
              <a:gd name="connsiteX2302" fmla="*/ 4861438 w 6096001"/>
              <a:gd name="connsiteY2302" fmla="*/ 373281 h 5392467"/>
              <a:gd name="connsiteX2303" fmla="*/ 4853704 w 6096001"/>
              <a:gd name="connsiteY2303" fmla="*/ 382953 h 5392467"/>
              <a:gd name="connsiteX2304" fmla="*/ 4900121 w 6096001"/>
              <a:gd name="connsiteY2304" fmla="*/ 357810 h 5392467"/>
              <a:gd name="connsiteX2305" fmla="*/ 4880779 w 6096001"/>
              <a:gd name="connsiteY2305" fmla="*/ 375216 h 5392467"/>
              <a:gd name="connsiteX2306" fmla="*/ 4859505 w 6096001"/>
              <a:gd name="connsiteY2306" fmla="*/ 396491 h 5392467"/>
              <a:gd name="connsiteX2307" fmla="*/ 4886583 w 6096001"/>
              <a:gd name="connsiteY2307" fmla="*/ 382953 h 5392467"/>
              <a:gd name="connsiteX2308" fmla="*/ 4911725 w 6096001"/>
              <a:gd name="connsiteY2308" fmla="*/ 369415 h 5392467"/>
              <a:gd name="connsiteX2309" fmla="*/ 4874978 w 6096001"/>
              <a:gd name="connsiteY2309" fmla="*/ 410031 h 5392467"/>
              <a:gd name="connsiteX2310" fmla="*/ 4876913 w 6096001"/>
              <a:gd name="connsiteY2310" fmla="*/ 425504 h 5392467"/>
              <a:gd name="connsiteX2311" fmla="*/ 4886583 w 6096001"/>
              <a:gd name="connsiteY2311" fmla="*/ 421635 h 5392467"/>
              <a:gd name="connsiteX2312" fmla="*/ 4884648 w 6096001"/>
              <a:gd name="connsiteY2312" fmla="*/ 435173 h 5392467"/>
              <a:gd name="connsiteX2313" fmla="*/ 4919462 w 6096001"/>
              <a:gd name="connsiteY2313" fmla="*/ 411964 h 5392467"/>
              <a:gd name="connsiteX2314" fmla="*/ 4921397 w 6096001"/>
              <a:gd name="connsiteY2314" fmla="*/ 413899 h 5392467"/>
              <a:gd name="connsiteX2315" fmla="*/ 4907857 w 6096001"/>
              <a:gd name="connsiteY2315" fmla="*/ 431305 h 5392467"/>
              <a:gd name="connsiteX2316" fmla="*/ 4919462 w 6096001"/>
              <a:gd name="connsiteY2316" fmla="*/ 431305 h 5392467"/>
              <a:gd name="connsiteX2317" fmla="*/ 4894319 w 6096001"/>
              <a:gd name="connsiteY2317" fmla="*/ 456450 h 5392467"/>
              <a:gd name="connsiteX2318" fmla="*/ 4907857 w 6096001"/>
              <a:gd name="connsiteY2318" fmla="*/ 456450 h 5392467"/>
              <a:gd name="connsiteX2319" fmla="*/ 4902056 w 6096001"/>
              <a:gd name="connsiteY2319" fmla="*/ 466119 h 5392467"/>
              <a:gd name="connsiteX2320" fmla="*/ 4921397 w 6096001"/>
              <a:gd name="connsiteY2320" fmla="*/ 481592 h 5392467"/>
              <a:gd name="connsiteX2321" fmla="*/ 4911725 w 6096001"/>
              <a:gd name="connsiteY2321" fmla="*/ 489329 h 5392467"/>
              <a:gd name="connsiteX2322" fmla="*/ 4913661 w 6096001"/>
              <a:gd name="connsiteY2322" fmla="*/ 491262 h 5392467"/>
              <a:gd name="connsiteX2323" fmla="*/ 4927198 w 6096001"/>
              <a:gd name="connsiteY2323" fmla="*/ 483525 h 5392467"/>
              <a:gd name="connsiteX2324" fmla="*/ 4929131 w 6096001"/>
              <a:gd name="connsiteY2324" fmla="*/ 485460 h 5392467"/>
              <a:gd name="connsiteX2325" fmla="*/ 4917188 w 6096001"/>
              <a:gd name="connsiteY2325" fmla="*/ 495811 h 5392467"/>
              <a:gd name="connsiteX2326" fmla="*/ 4917529 w 6096001"/>
              <a:gd name="connsiteY2326" fmla="*/ 495130 h 5392467"/>
              <a:gd name="connsiteX2327" fmla="*/ 4914633 w 6096001"/>
              <a:gd name="connsiteY2327" fmla="*/ 498025 h 5392467"/>
              <a:gd name="connsiteX2328" fmla="*/ 4900121 w 6096001"/>
              <a:gd name="connsiteY2328" fmla="*/ 510603 h 5392467"/>
              <a:gd name="connsiteX2329" fmla="*/ 4892384 w 6096001"/>
              <a:gd name="connsiteY2329" fmla="*/ 504802 h 5392467"/>
              <a:gd name="connsiteX2330" fmla="*/ 4890451 w 6096001"/>
              <a:gd name="connsiteY2330" fmla="*/ 520275 h 5392467"/>
              <a:gd name="connsiteX2331" fmla="*/ 4882715 w 6096001"/>
              <a:gd name="connsiteY2331" fmla="*/ 547350 h 5392467"/>
              <a:gd name="connsiteX2332" fmla="*/ 4902056 w 6096001"/>
              <a:gd name="connsiteY2332" fmla="*/ 558955 h 5392467"/>
              <a:gd name="connsiteX2333" fmla="*/ 4880779 w 6096001"/>
              <a:gd name="connsiteY2333" fmla="*/ 584100 h 5392467"/>
              <a:gd name="connsiteX2334" fmla="*/ 4880779 w 6096001"/>
              <a:gd name="connsiteY2334" fmla="*/ 586033 h 5392467"/>
              <a:gd name="connsiteX2335" fmla="*/ 4890451 w 6096001"/>
              <a:gd name="connsiteY2335" fmla="*/ 584100 h 5392467"/>
              <a:gd name="connsiteX2336" fmla="*/ 4934935 w 6096001"/>
              <a:gd name="connsiteY2336" fmla="*/ 553154 h 5392467"/>
              <a:gd name="connsiteX2337" fmla="*/ 4944607 w 6096001"/>
              <a:gd name="connsiteY2337" fmla="*/ 549285 h 5392467"/>
              <a:gd name="connsiteX2338" fmla="*/ 4950408 w 6096001"/>
              <a:gd name="connsiteY2338" fmla="*/ 547350 h 5392467"/>
              <a:gd name="connsiteX2339" fmla="*/ 4983289 w 6096001"/>
              <a:gd name="connsiteY2339" fmla="*/ 529944 h 5392467"/>
              <a:gd name="connsiteX2340" fmla="*/ 4789879 w 6096001"/>
              <a:gd name="connsiteY2340" fmla="*/ 804588 h 5392467"/>
              <a:gd name="connsiteX2341" fmla="*/ 4815021 w 6096001"/>
              <a:gd name="connsiteY2341" fmla="*/ 796849 h 5392467"/>
              <a:gd name="connsiteX2342" fmla="*/ 4824691 w 6096001"/>
              <a:gd name="connsiteY2342" fmla="*/ 792983 h 5392467"/>
              <a:gd name="connsiteX2343" fmla="*/ 4842097 w 6096001"/>
              <a:gd name="connsiteY2343" fmla="*/ 789115 h 5392467"/>
              <a:gd name="connsiteX2344" fmla="*/ 4857572 w 6096001"/>
              <a:gd name="connsiteY2344" fmla="*/ 779443 h 5392467"/>
              <a:gd name="connsiteX2345" fmla="*/ 4869175 w 6096001"/>
              <a:gd name="connsiteY2345" fmla="*/ 763970 h 5392467"/>
              <a:gd name="connsiteX2346" fmla="*/ 4874978 w 6096001"/>
              <a:gd name="connsiteY2346" fmla="*/ 756234 h 5392467"/>
              <a:gd name="connsiteX2347" fmla="*/ 4894319 w 6096001"/>
              <a:gd name="connsiteY2347" fmla="*/ 744629 h 5392467"/>
              <a:gd name="connsiteX2348" fmla="*/ 4900121 w 6096001"/>
              <a:gd name="connsiteY2348" fmla="*/ 752365 h 5392467"/>
              <a:gd name="connsiteX2349" fmla="*/ 4915594 w 6096001"/>
              <a:gd name="connsiteY2349" fmla="*/ 733024 h 5392467"/>
              <a:gd name="connsiteX2350" fmla="*/ 4929131 w 6096001"/>
              <a:gd name="connsiteY2350" fmla="*/ 725290 h 5392467"/>
              <a:gd name="connsiteX2351" fmla="*/ 4950408 w 6096001"/>
              <a:gd name="connsiteY2351" fmla="*/ 715618 h 5392467"/>
              <a:gd name="connsiteX2352" fmla="*/ 4971682 w 6096001"/>
              <a:gd name="connsiteY2352" fmla="*/ 715618 h 5392467"/>
              <a:gd name="connsiteX2353" fmla="*/ 4965881 w 6096001"/>
              <a:gd name="connsiteY2353" fmla="*/ 707882 h 5392467"/>
              <a:gd name="connsiteX2354" fmla="*/ 5016166 w 6096001"/>
              <a:gd name="connsiteY2354" fmla="*/ 680804 h 5392467"/>
              <a:gd name="connsiteX2355" fmla="*/ 5008432 w 6096001"/>
              <a:gd name="connsiteY2355" fmla="*/ 688540 h 5392467"/>
              <a:gd name="connsiteX2356" fmla="*/ 5039375 w 6096001"/>
              <a:gd name="connsiteY2356" fmla="*/ 673067 h 5392467"/>
              <a:gd name="connsiteX2357" fmla="*/ 5041311 w 6096001"/>
              <a:gd name="connsiteY2357" fmla="*/ 671134 h 5392467"/>
              <a:gd name="connsiteX2358" fmla="*/ 5060652 w 6096001"/>
              <a:gd name="connsiteY2358" fmla="*/ 657594 h 5392467"/>
              <a:gd name="connsiteX2359" fmla="*/ 5078058 w 6096001"/>
              <a:gd name="connsiteY2359" fmla="*/ 647925 h 5392467"/>
              <a:gd name="connsiteX2360" fmla="*/ 5079993 w 6096001"/>
              <a:gd name="connsiteY2360" fmla="*/ 655661 h 5392467"/>
              <a:gd name="connsiteX2361" fmla="*/ 5095466 w 6096001"/>
              <a:gd name="connsiteY2361" fmla="*/ 642121 h 5392467"/>
              <a:gd name="connsiteX2362" fmla="*/ 5114808 w 6096001"/>
              <a:gd name="connsiteY2362" fmla="*/ 632452 h 5392467"/>
              <a:gd name="connsiteX2363" fmla="*/ 5105136 w 6096001"/>
              <a:gd name="connsiteY2363" fmla="*/ 644057 h 5392467"/>
              <a:gd name="connsiteX2364" fmla="*/ 5147687 w 6096001"/>
              <a:gd name="connsiteY2364" fmla="*/ 630519 h 5392467"/>
              <a:gd name="connsiteX2365" fmla="*/ 5136082 w 6096001"/>
              <a:gd name="connsiteY2365" fmla="*/ 640188 h 5392467"/>
              <a:gd name="connsiteX2366" fmla="*/ 5139950 w 6096001"/>
              <a:gd name="connsiteY2366" fmla="*/ 642121 h 5392467"/>
              <a:gd name="connsiteX2367" fmla="*/ 5184434 w 6096001"/>
              <a:gd name="connsiteY2367" fmla="*/ 620847 h 5392467"/>
              <a:gd name="connsiteX2368" fmla="*/ 5242458 w 6096001"/>
              <a:gd name="connsiteY2368" fmla="*/ 593769 h 5392467"/>
              <a:gd name="connsiteX2369" fmla="*/ 5244393 w 6096001"/>
              <a:gd name="connsiteY2369" fmla="*/ 593769 h 5392467"/>
              <a:gd name="connsiteX2370" fmla="*/ 5207643 w 6096001"/>
              <a:gd name="connsiteY2370" fmla="*/ 616979 h 5392467"/>
              <a:gd name="connsiteX2371" fmla="*/ 5221183 w 6096001"/>
              <a:gd name="connsiteY2371" fmla="*/ 620847 h 5392467"/>
              <a:gd name="connsiteX2372" fmla="*/ 5259864 w 6096001"/>
              <a:gd name="connsiteY2372" fmla="*/ 605374 h 5392467"/>
              <a:gd name="connsiteX2373" fmla="*/ 5271468 w 6096001"/>
              <a:gd name="connsiteY2373" fmla="*/ 603441 h 5392467"/>
              <a:gd name="connsiteX2374" fmla="*/ 5244393 w 6096001"/>
              <a:gd name="connsiteY2374" fmla="*/ 626651 h 5392467"/>
              <a:gd name="connsiteX2375" fmla="*/ 5238589 w 6096001"/>
              <a:gd name="connsiteY2375" fmla="*/ 630519 h 5392467"/>
              <a:gd name="connsiteX2376" fmla="*/ 5240522 w 6096001"/>
              <a:gd name="connsiteY2376" fmla="*/ 632452 h 5392467"/>
              <a:gd name="connsiteX2377" fmla="*/ 5290810 w 6096001"/>
              <a:gd name="connsiteY2377" fmla="*/ 609242 h 5392467"/>
              <a:gd name="connsiteX2378" fmla="*/ 5308218 w 6096001"/>
              <a:gd name="connsiteY2378" fmla="*/ 618914 h 5392467"/>
              <a:gd name="connsiteX2379" fmla="*/ 5304350 w 6096001"/>
              <a:gd name="connsiteY2379" fmla="*/ 613111 h 5392467"/>
              <a:gd name="connsiteX2380" fmla="*/ 5300479 w 6096001"/>
              <a:gd name="connsiteY2380" fmla="*/ 605374 h 5392467"/>
              <a:gd name="connsiteX2381" fmla="*/ 5308218 w 6096001"/>
              <a:gd name="connsiteY2381" fmla="*/ 599573 h 5392467"/>
              <a:gd name="connsiteX2382" fmla="*/ 5329492 w 6096001"/>
              <a:gd name="connsiteY2382" fmla="*/ 593769 h 5392467"/>
              <a:gd name="connsiteX2383" fmla="*/ 5350766 w 6096001"/>
              <a:gd name="connsiteY2383" fmla="*/ 584100 h 5392467"/>
              <a:gd name="connsiteX2384" fmla="*/ 5370108 w 6096001"/>
              <a:gd name="connsiteY2384" fmla="*/ 576363 h 5392467"/>
              <a:gd name="connsiteX2385" fmla="*/ 5364306 w 6096001"/>
              <a:gd name="connsiteY2385" fmla="*/ 586033 h 5392467"/>
              <a:gd name="connsiteX2386" fmla="*/ 5439736 w 6096001"/>
              <a:gd name="connsiteY2386" fmla="*/ 549285 h 5392467"/>
              <a:gd name="connsiteX2387" fmla="*/ 5441669 w 6096001"/>
              <a:gd name="connsiteY2387" fmla="*/ 560890 h 5392467"/>
              <a:gd name="connsiteX2388" fmla="*/ 5439736 w 6096001"/>
              <a:gd name="connsiteY2388" fmla="*/ 562823 h 5392467"/>
              <a:gd name="connsiteX2389" fmla="*/ 5428131 w 6096001"/>
              <a:gd name="connsiteY2389" fmla="*/ 562823 h 5392467"/>
              <a:gd name="connsiteX2390" fmla="*/ 5389449 w 6096001"/>
              <a:gd name="connsiteY2390" fmla="*/ 582164 h 5392467"/>
              <a:gd name="connsiteX2391" fmla="*/ 5381712 w 6096001"/>
              <a:gd name="connsiteY2391" fmla="*/ 586033 h 5392467"/>
              <a:gd name="connsiteX2392" fmla="*/ 5352702 w 6096001"/>
              <a:gd name="connsiteY2392" fmla="*/ 605374 h 5392467"/>
              <a:gd name="connsiteX2393" fmla="*/ 5362371 w 6096001"/>
              <a:gd name="connsiteY2393" fmla="*/ 605374 h 5392467"/>
              <a:gd name="connsiteX2394" fmla="*/ 5387514 w 6096001"/>
              <a:gd name="connsiteY2394" fmla="*/ 595705 h 5392467"/>
              <a:gd name="connsiteX2395" fmla="*/ 5397185 w 6096001"/>
              <a:gd name="connsiteY2395" fmla="*/ 597637 h 5392467"/>
              <a:gd name="connsiteX2396" fmla="*/ 5406855 w 6096001"/>
              <a:gd name="connsiteY2396" fmla="*/ 607309 h 5392467"/>
              <a:gd name="connsiteX2397" fmla="*/ 5391384 w 6096001"/>
              <a:gd name="connsiteY2397" fmla="*/ 626651 h 5392467"/>
              <a:gd name="connsiteX2398" fmla="*/ 5377844 w 6096001"/>
              <a:gd name="connsiteY2398" fmla="*/ 616979 h 5392467"/>
              <a:gd name="connsiteX2399" fmla="*/ 5362371 w 6096001"/>
              <a:gd name="connsiteY2399" fmla="*/ 630519 h 5392467"/>
              <a:gd name="connsiteX2400" fmla="*/ 5356570 w 6096001"/>
              <a:gd name="connsiteY2400" fmla="*/ 642121 h 5392467"/>
              <a:gd name="connsiteX2401" fmla="*/ 5346898 w 6096001"/>
              <a:gd name="connsiteY2401" fmla="*/ 642121 h 5392467"/>
              <a:gd name="connsiteX2402" fmla="*/ 5350766 w 6096001"/>
              <a:gd name="connsiteY2402" fmla="*/ 655661 h 5392467"/>
              <a:gd name="connsiteX2403" fmla="*/ 5375911 w 6096001"/>
              <a:gd name="connsiteY2403" fmla="*/ 649858 h 5392467"/>
              <a:gd name="connsiteX2404" fmla="*/ 5370108 w 6096001"/>
              <a:gd name="connsiteY2404" fmla="*/ 657594 h 5392467"/>
              <a:gd name="connsiteX2405" fmla="*/ 5350766 w 6096001"/>
              <a:gd name="connsiteY2405" fmla="*/ 678871 h 5392467"/>
              <a:gd name="connsiteX2406" fmla="*/ 5339162 w 6096001"/>
              <a:gd name="connsiteY2406" fmla="*/ 688540 h 5392467"/>
              <a:gd name="connsiteX2407" fmla="*/ 5308218 w 6096001"/>
              <a:gd name="connsiteY2407" fmla="*/ 727223 h 5392467"/>
              <a:gd name="connsiteX2408" fmla="*/ 5325624 w 6096001"/>
              <a:gd name="connsiteY2408" fmla="*/ 717553 h 5392467"/>
              <a:gd name="connsiteX2409" fmla="*/ 5339162 w 6096001"/>
              <a:gd name="connsiteY2409" fmla="*/ 702080 h 5392467"/>
              <a:gd name="connsiteX2410" fmla="*/ 5343030 w 6096001"/>
              <a:gd name="connsiteY2410" fmla="*/ 704013 h 5392467"/>
              <a:gd name="connsiteX2411" fmla="*/ 5341097 w 6096001"/>
              <a:gd name="connsiteY2411" fmla="*/ 698212 h 5392467"/>
              <a:gd name="connsiteX2412" fmla="*/ 5350766 w 6096001"/>
              <a:gd name="connsiteY2412" fmla="*/ 684672 h 5392467"/>
              <a:gd name="connsiteX2413" fmla="*/ 5358503 w 6096001"/>
              <a:gd name="connsiteY2413" fmla="*/ 678871 h 5392467"/>
              <a:gd name="connsiteX2414" fmla="*/ 5385581 w 6096001"/>
              <a:gd name="connsiteY2414" fmla="*/ 671134 h 5392467"/>
              <a:gd name="connsiteX2415" fmla="*/ 5381712 w 6096001"/>
              <a:gd name="connsiteY2415" fmla="*/ 667266 h 5392467"/>
              <a:gd name="connsiteX2416" fmla="*/ 5391384 w 6096001"/>
              <a:gd name="connsiteY2416" fmla="*/ 669199 h 5392467"/>
              <a:gd name="connsiteX2417" fmla="*/ 5391384 w 6096001"/>
              <a:gd name="connsiteY2417" fmla="*/ 671134 h 5392467"/>
              <a:gd name="connsiteX2418" fmla="*/ 5399121 w 6096001"/>
              <a:gd name="connsiteY2418" fmla="*/ 671134 h 5392467"/>
              <a:gd name="connsiteX2419" fmla="*/ 5404922 w 6096001"/>
              <a:gd name="connsiteY2419" fmla="*/ 671134 h 5392467"/>
              <a:gd name="connsiteX2420" fmla="*/ 5406855 w 6096001"/>
              <a:gd name="connsiteY2420" fmla="*/ 671134 h 5392467"/>
              <a:gd name="connsiteX2421" fmla="*/ 5430064 w 6096001"/>
              <a:gd name="connsiteY2421" fmla="*/ 665331 h 5392467"/>
              <a:gd name="connsiteX2422" fmla="*/ 5424263 w 6096001"/>
              <a:gd name="connsiteY2422" fmla="*/ 669199 h 5392467"/>
              <a:gd name="connsiteX2423" fmla="*/ 5418462 w 6096001"/>
              <a:gd name="connsiteY2423" fmla="*/ 671134 h 5392467"/>
              <a:gd name="connsiteX2424" fmla="*/ 5433933 w 6096001"/>
              <a:gd name="connsiteY2424" fmla="*/ 671134 h 5392467"/>
              <a:gd name="connsiteX2425" fmla="*/ 5480352 w 6096001"/>
              <a:gd name="connsiteY2425" fmla="*/ 665331 h 5392467"/>
              <a:gd name="connsiteX2426" fmla="*/ 5490021 w 6096001"/>
              <a:gd name="connsiteY2426" fmla="*/ 661463 h 5392467"/>
              <a:gd name="connsiteX2427" fmla="*/ 5503561 w 6096001"/>
              <a:gd name="connsiteY2427" fmla="*/ 651793 h 5392467"/>
              <a:gd name="connsiteX2428" fmla="*/ 5540308 w 6096001"/>
              <a:gd name="connsiteY2428" fmla="*/ 647925 h 5392467"/>
              <a:gd name="connsiteX2429" fmla="*/ 5542244 w 6096001"/>
              <a:gd name="connsiteY2429" fmla="*/ 663398 h 5392467"/>
              <a:gd name="connsiteX2430" fmla="*/ 5561585 w 6096001"/>
              <a:gd name="connsiteY2430" fmla="*/ 667266 h 5392467"/>
              <a:gd name="connsiteX2431" fmla="*/ 5555781 w 6096001"/>
              <a:gd name="connsiteY2431" fmla="*/ 680804 h 5392467"/>
              <a:gd name="connsiteX2432" fmla="*/ 5559650 w 6096001"/>
              <a:gd name="connsiteY2432" fmla="*/ 694344 h 5392467"/>
              <a:gd name="connsiteX2433" fmla="*/ 5559650 w 6096001"/>
              <a:gd name="connsiteY2433" fmla="*/ 707882 h 5392467"/>
              <a:gd name="connsiteX2434" fmla="*/ 5548045 w 6096001"/>
              <a:gd name="connsiteY2434" fmla="*/ 738828 h 5392467"/>
              <a:gd name="connsiteX2435" fmla="*/ 5549980 w 6096001"/>
              <a:gd name="connsiteY2435" fmla="*/ 738828 h 5392467"/>
              <a:gd name="connsiteX2436" fmla="*/ 5548045 w 6096001"/>
              <a:gd name="connsiteY2436" fmla="*/ 740761 h 5392467"/>
              <a:gd name="connsiteX2437" fmla="*/ 5540308 w 6096001"/>
              <a:gd name="connsiteY2437" fmla="*/ 752365 h 5392467"/>
              <a:gd name="connsiteX2438" fmla="*/ 5528704 w 6096001"/>
              <a:gd name="connsiteY2438" fmla="*/ 794916 h 5392467"/>
              <a:gd name="connsiteX2439" fmla="*/ 5522903 w 6096001"/>
              <a:gd name="connsiteY2439" fmla="*/ 835532 h 5392467"/>
              <a:gd name="connsiteX2440" fmla="*/ 5511298 w 6096001"/>
              <a:gd name="connsiteY2440" fmla="*/ 885819 h 5392467"/>
              <a:gd name="connsiteX2441" fmla="*/ 5507430 w 6096001"/>
              <a:gd name="connsiteY2441" fmla="*/ 901292 h 5392467"/>
              <a:gd name="connsiteX2442" fmla="*/ 5544177 w 6096001"/>
              <a:gd name="connsiteY2442" fmla="*/ 893556 h 5392467"/>
              <a:gd name="connsiteX2443" fmla="*/ 5519034 w 6096001"/>
              <a:gd name="connsiteY2443" fmla="*/ 907093 h 5392467"/>
              <a:gd name="connsiteX2444" fmla="*/ 5503561 w 6096001"/>
              <a:gd name="connsiteY2444" fmla="*/ 910964 h 5392467"/>
              <a:gd name="connsiteX2445" fmla="*/ 5497758 w 6096001"/>
              <a:gd name="connsiteY2445" fmla="*/ 926435 h 5392467"/>
              <a:gd name="connsiteX2446" fmla="*/ 5493889 w 6096001"/>
              <a:gd name="connsiteY2446" fmla="*/ 934171 h 5392467"/>
              <a:gd name="connsiteX2447" fmla="*/ 5468747 w 6096001"/>
              <a:gd name="connsiteY2447" fmla="*/ 1005733 h 5392467"/>
              <a:gd name="connsiteX2448" fmla="*/ 5476483 w 6096001"/>
              <a:gd name="connsiteY2448" fmla="*/ 1003800 h 5392467"/>
              <a:gd name="connsiteX2449" fmla="*/ 5484220 w 6096001"/>
              <a:gd name="connsiteY2449" fmla="*/ 1001864 h 5392467"/>
              <a:gd name="connsiteX2450" fmla="*/ 5538376 w 6096001"/>
              <a:gd name="connsiteY2450" fmla="*/ 982523 h 5392467"/>
              <a:gd name="connsiteX2451" fmla="*/ 5553849 w 6096001"/>
              <a:gd name="connsiteY2451" fmla="*/ 980590 h 5392467"/>
              <a:gd name="connsiteX2452" fmla="*/ 5594464 w 6096001"/>
              <a:gd name="connsiteY2452" fmla="*/ 990260 h 5392467"/>
              <a:gd name="connsiteX2453" fmla="*/ 5594464 w 6096001"/>
              <a:gd name="connsiteY2453" fmla="*/ 992195 h 5392467"/>
              <a:gd name="connsiteX2454" fmla="*/ 5592531 w 6096001"/>
              <a:gd name="connsiteY2454" fmla="*/ 996063 h 5392467"/>
              <a:gd name="connsiteX2455" fmla="*/ 5567386 w 6096001"/>
              <a:gd name="connsiteY2455" fmla="*/ 1009601 h 5392467"/>
              <a:gd name="connsiteX2456" fmla="*/ 5588663 w 6096001"/>
              <a:gd name="connsiteY2456" fmla="*/ 1003800 h 5392467"/>
              <a:gd name="connsiteX2457" fmla="*/ 5596397 w 6096001"/>
              <a:gd name="connsiteY2457" fmla="*/ 999931 h 5392467"/>
              <a:gd name="connsiteX2458" fmla="*/ 5617674 w 6096001"/>
              <a:gd name="connsiteY2458" fmla="*/ 992195 h 5392467"/>
              <a:gd name="connsiteX2459" fmla="*/ 5638948 w 6096001"/>
              <a:gd name="connsiteY2459" fmla="*/ 984458 h 5392467"/>
              <a:gd name="connsiteX2460" fmla="*/ 5625410 w 6096001"/>
              <a:gd name="connsiteY2460" fmla="*/ 997998 h 5392467"/>
              <a:gd name="connsiteX2461" fmla="*/ 5608002 w 6096001"/>
              <a:gd name="connsiteY2461" fmla="*/ 1013469 h 5392467"/>
              <a:gd name="connsiteX2462" fmla="*/ 5633147 w 6096001"/>
              <a:gd name="connsiteY2462" fmla="*/ 1011536 h 5392467"/>
              <a:gd name="connsiteX2463" fmla="*/ 5623475 w 6096001"/>
              <a:gd name="connsiteY2463" fmla="*/ 1021206 h 5392467"/>
              <a:gd name="connsiteX2464" fmla="*/ 5611872 w 6096001"/>
              <a:gd name="connsiteY2464" fmla="*/ 1040547 h 5392467"/>
              <a:gd name="connsiteX2465" fmla="*/ 5578991 w 6096001"/>
              <a:gd name="connsiteY2465" fmla="*/ 1057955 h 5392467"/>
              <a:gd name="connsiteX2466" fmla="*/ 5588663 w 6096001"/>
              <a:gd name="connsiteY2466" fmla="*/ 1059888 h 5392467"/>
              <a:gd name="connsiteX2467" fmla="*/ 5557714 w 6096001"/>
              <a:gd name="connsiteY2467" fmla="*/ 1086966 h 5392467"/>
              <a:gd name="connsiteX2468" fmla="*/ 5563518 w 6096001"/>
              <a:gd name="connsiteY2468" fmla="*/ 1088899 h 5392467"/>
              <a:gd name="connsiteX2469" fmla="*/ 5571255 w 6096001"/>
              <a:gd name="connsiteY2469" fmla="*/ 1083098 h 5392467"/>
              <a:gd name="connsiteX2470" fmla="*/ 5594464 w 6096001"/>
              <a:gd name="connsiteY2470" fmla="*/ 1067625 h 5392467"/>
              <a:gd name="connsiteX2471" fmla="*/ 5573190 w 6096001"/>
              <a:gd name="connsiteY2471" fmla="*/ 1086966 h 5392467"/>
              <a:gd name="connsiteX2472" fmla="*/ 5577056 w 6096001"/>
              <a:gd name="connsiteY2472" fmla="*/ 1086966 h 5392467"/>
              <a:gd name="connsiteX2473" fmla="*/ 5577056 w 6096001"/>
              <a:gd name="connsiteY2473" fmla="*/ 1094703 h 5392467"/>
              <a:gd name="connsiteX2474" fmla="*/ 5586728 w 6096001"/>
              <a:gd name="connsiteY2474" fmla="*/ 1085033 h 5392467"/>
              <a:gd name="connsiteX2475" fmla="*/ 5604133 w 6096001"/>
              <a:gd name="connsiteY2475" fmla="*/ 1071493 h 5392467"/>
              <a:gd name="connsiteX2476" fmla="*/ 5629278 w 6096001"/>
              <a:gd name="connsiteY2476" fmla="*/ 1054087 h 5392467"/>
              <a:gd name="connsiteX2477" fmla="*/ 5638948 w 6096001"/>
              <a:gd name="connsiteY2477" fmla="*/ 1054087 h 5392467"/>
              <a:gd name="connsiteX2478" fmla="*/ 5621542 w 6096001"/>
              <a:gd name="connsiteY2478" fmla="*/ 1065692 h 5392467"/>
              <a:gd name="connsiteX2479" fmla="*/ 5602201 w 6096001"/>
              <a:gd name="connsiteY2479" fmla="*/ 1081162 h 5392467"/>
              <a:gd name="connsiteX2480" fmla="*/ 5594464 w 6096001"/>
              <a:gd name="connsiteY2480" fmla="*/ 1086966 h 5392467"/>
              <a:gd name="connsiteX2481" fmla="*/ 5578991 w 6096001"/>
              <a:gd name="connsiteY2481" fmla="*/ 1100504 h 5392467"/>
              <a:gd name="connsiteX2482" fmla="*/ 5584795 w 6096001"/>
              <a:gd name="connsiteY2482" fmla="*/ 1108240 h 5392467"/>
              <a:gd name="connsiteX2483" fmla="*/ 5582859 w 6096001"/>
              <a:gd name="connsiteY2483" fmla="*/ 1123713 h 5392467"/>
              <a:gd name="connsiteX2484" fmla="*/ 5578991 w 6096001"/>
              <a:gd name="connsiteY2484" fmla="*/ 1129517 h 5392467"/>
              <a:gd name="connsiteX2485" fmla="*/ 5573190 w 6096001"/>
              <a:gd name="connsiteY2485" fmla="*/ 1123713 h 5392467"/>
              <a:gd name="connsiteX2486" fmla="*/ 5557714 w 6096001"/>
              <a:gd name="connsiteY2486" fmla="*/ 1125649 h 5392467"/>
              <a:gd name="connsiteX2487" fmla="*/ 5565453 w 6096001"/>
              <a:gd name="connsiteY2487" fmla="*/ 1112109 h 5392467"/>
              <a:gd name="connsiteX2488" fmla="*/ 5559650 w 6096001"/>
              <a:gd name="connsiteY2488" fmla="*/ 1110176 h 5392467"/>
              <a:gd name="connsiteX2489" fmla="*/ 5546112 w 6096001"/>
              <a:gd name="connsiteY2489" fmla="*/ 1121780 h 5392467"/>
              <a:gd name="connsiteX2490" fmla="*/ 5549980 w 6096001"/>
              <a:gd name="connsiteY2490" fmla="*/ 1133385 h 5392467"/>
              <a:gd name="connsiteX2491" fmla="*/ 5544177 w 6096001"/>
              <a:gd name="connsiteY2491" fmla="*/ 1133385 h 5392467"/>
              <a:gd name="connsiteX2492" fmla="*/ 5540308 w 6096001"/>
              <a:gd name="connsiteY2492" fmla="*/ 1137253 h 5392467"/>
              <a:gd name="connsiteX2493" fmla="*/ 5548045 w 6096001"/>
              <a:gd name="connsiteY2493" fmla="*/ 1139186 h 5392467"/>
              <a:gd name="connsiteX2494" fmla="*/ 5557714 w 6096001"/>
              <a:gd name="connsiteY2494" fmla="*/ 1135318 h 5392467"/>
              <a:gd name="connsiteX2495" fmla="*/ 5553849 w 6096001"/>
              <a:gd name="connsiteY2495" fmla="*/ 1168199 h 5392467"/>
              <a:gd name="connsiteX2496" fmla="*/ 5555781 w 6096001"/>
              <a:gd name="connsiteY2496" fmla="*/ 1168199 h 5392467"/>
              <a:gd name="connsiteX2497" fmla="*/ 5563518 w 6096001"/>
              <a:gd name="connsiteY2497" fmla="*/ 1158528 h 5392467"/>
              <a:gd name="connsiteX2498" fmla="*/ 5565453 w 6096001"/>
              <a:gd name="connsiteY2498" fmla="*/ 1162396 h 5392467"/>
              <a:gd name="connsiteX2499" fmla="*/ 5563518 w 6096001"/>
              <a:gd name="connsiteY2499" fmla="*/ 1174001 h 5392467"/>
              <a:gd name="connsiteX2500" fmla="*/ 5571255 w 6096001"/>
              <a:gd name="connsiteY2500" fmla="*/ 1175934 h 5392467"/>
              <a:gd name="connsiteX2501" fmla="*/ 5588663 w 6096001"/>
              <a:gd name="connsiteY2501" fmla="*/ 1187538 h 5392467"/>
              <a:gd name="connsiteX2502" fmla="*/ 5588663 w 6096001"/>
              <a:gd name="connsiteY2502" fmla="*/ 1195275 h 5392467"/>
              <a:gd name="connsiteX2503" fmla="*/ 5602201 w 6096001"/>
              <a:gd name="connsiteY2503" fmla="*/ 1199143 h 5392467"/>
              <a:gd name="connsiteX2504" fmla="*/ 5608002 w 6096001"/>
              <a:gd name="connsiteY2504" fmla="*/ 1204947 h 5392467"/>
              <a:gd name="connsiteX2505" fmla="*/ 5621542 w 6096001"/>
              <a:gd name="connsiteY2505" fmla="*/ 1218484 h 5392467"/>
              <a:gd name="connsiteX2506" fmla="*/ 5629278 w 6096001"/>
              <a:gd name="connsiteY2506" fmla="*/ 1220420 h 5392467"/>
              <a:gd name="connsiteX2507" fmla="*/ 5642816 w 6096001"/>
              <a:gd name="connsiteY2507" fmla="*/ 1233957 h 5392467"/>
              <a:gd name="connsiteX2508" fmla="*/ 5646684 w 6096001"/>
              <a:gd name="connsiteY2508" fmla="*/ 1251363 h 5392467"/>
              <a:gd name="connsiteX2509" fmla="*/ 5669894 w 6096001"/>
              <a:gd name="connsiteY2509" fmla="*/ 1249430 h 5392467"/>
              <a:gd name="connsiteX2510" fmla="*/ 5669894 w 6096001"/>
              <a:gd name="connsiteY2510" fmla="*/ 1268772 h 5392467"/>
              <a:gd name="connsiteX2511" fmla="*/ 5683432 w 6096001"/>
              <a:gd name="connsiteY2511" fmla="*/ 1286178 h 5392467"/>
              <a:gd name="connsiteX2512" fmla="*/ 5685367 w 6096001"/>
              <a:gd name="connsiteY2512" fmla="*/ 1299718 h 5392467"/>
              <a:gd name="connsiteX2513" fmla="*/ 5679566 w 6096001"/>
              <a:gd name="connsiteY2513" fmla="*/ 1307454 h 5392467"/>
              <a:gd name="connsiteX2514" fmla="*/ 5696972 w 6096001"/>
              <a:gd name="connsiteY2514" fmla="*/ 1313255 h 5392467"/>
              <a:gd name="connsiteX2515" fmla="*/ 5710509 w 6096001"/>
              <a:gd name="connsiteY2515" fmla="*/ 1313255 h 5392467"/>
              <a:gd name="connsiteX2516" fmla="*/ 5699632 w 6096001"/>
              <a:gd name="connsiteY2516" fmla="*/ 1331389 h 5392467"/>
              <a:gd name="connsiteX2517" fmla="*/ 5698907 w 6096001"/>
              <a:gd name="connsiteY2517" fmla="*/ 1332597 h 5392467"/>
              <a:gd name="connsiteX2518" fmla="*/ 5695036 w 6096001"/>
              <a:gd name="connsiteY2518" fmla="*/ 1359675 h 5392467"/>
              <a:gd name="connsiteX2519" fmla="*/ 5691168 w 6096001"/>
              <a:gd name="connsiteY2519" fmla="*/ 1363543 h 5392467"/>
              <a:gd name="connsiteX2520" fmla="*/ 5650553 w 6096001"/>
              <a:gd name="connsiteY2520" fmla="*/ 1400290 h 5392467"/>
              <a:gd name="connsiteX2521" fmla="*/ 5642816 w 6096001"/>
              <a:gd name="connsiteY2521" fmla="*/ 1406094 h 5392467"/>
              <a:gd name="connsiteX2522" fmla="*/ 5654421 w 6096001"/>
              <a:gd name="connsiteY2522" fmla="*/ 1404158 h 5392467"/>
              <a:gd name="connsiteX2523" fmla="*/ 5662157 w 6096001"/>
              <a:gd name="connsiteY2523" fmla="*/ 1400290 h 5392467"/>
              <a:gd name="connsiteX2524" fmla="*/ 5669894 w 6096001"/>
              <a:gd name="connsiteY2524" fmla="*/ 1400290 h 5392467"/>
              <a:gd name="connsiteX2525" fmla="*/ 5669894 w 6096001"/>
              <a:gd name="connsiteY2525" fmla="*/ 1409962 h 5392467"/>
              <a:gd name="connsiteX2526" fmla="*/ 5660224 w 6096001"/>
              <a:gd name="connsiteY2526" fmla="*/ 1417699 h 5392467"/>
              <a:gd name="connsiteX2527" fmla="*/ 5648620 w 6096001"/>
              <a:gd name="connsiteY2527" fmla="*/ 1427368 h 5392467"/>
              <a:gd name="connsiteX2528" fmla="*/ 5650553 w 6096001"/>
              <a:gd name="connsiteY2528" fmla="*/ 1438973 h 5392467"/>
              <a:gd name="connsiteX2529" fmla="*/ 5855568 w 6096001"/>
              <a:gd name="connsiteY2529" fmla="*/ 1342269 h 5392467"/>
              <a:gd name="connsiteX2530" fmla="*/ 5905855 w 6096001"/>
              <a:gd name="connsiteY2530" fmla="*/ 1338398 h 5392467"/>
              <a:gd name="connsiteX2531" fmla="*/ 5909723 w 6096001"/>
              <a:gd name="connsiteY2531" fmla="*/ 1330664 h 5392467"/>
              <a:gd name="connsiteX2532" fmla="*/ 5921328 w 6096001"/>
              <a:gd name="connsiteY2532" fmla="*/ 1326796 h 5392467"/>
              <a:gd name="connsiteX2533" fmla="*/ 5915524 w 6096001"/>
              <a:gd name="connsiteY2533" fmla="*/ 1338398 h 5392467"/>
              <a:gd name="connsiteX2534" fmla="*/ 5925194 w 6096001"/>
              <a:gd name="connsiteY2534" fmla="*/ 1342269 h 5392467"/>
              <a:gd name="connsiteX2535" fmla="*/ 5921328 w 6096001"/>
              <a:gd name="connsiteY2535" fmla="*/ 1346137 h 5392467"/>
              <a:gd name="connsiteX2536" fmla="*/ 5927129 w 6096001"/>
              <a:gd name="connsiteY2536" fmla="*/ 1350003 h 5392467"/>
              <a:gd name="connsiteX2537" fmla="*/ 5930997 w 6096001"/>
              <a:gd name="connsiteY2537" fmla="*/ 1344202 h 5392467"/>
              <a:gd name="connsiteX2538" fmla="*/ 5946470 w 6096001"/>
              <a:gd name="connsiteY2538" fmla="*/ 1332597 h 5392467"/>
              <a:gd name="connsiteX2539" fmla="*/ 5950339 w 6096001"/>
              <a:gd name="connsiteY2539" fmla="*/ 1332597 h 5392467"/>
              <a:gd name="connsiteX2540" fmla="*/ 5967745 w 6096001"/>
              <a:gd name="connsiteY2540" fmla="*/ 1336465 h 5392467"/>
              <a:gd name="connsiteX2541" fmla="*/ 5971613 w 6096001"/>
              <a:gd name="connsiteY2541" fmla="*/ 1355806 h 5392467"/>
              <a:gd name="connsiteX2542" fmla="*/ 5973548 w 6096001"/>
              <a:gd name="connsiteY2542" fmla="*/ 1371279 h 5392467"/>
              <a:gd name="connsiteX2543" fmla="*/ 5981285 w 6096001"/>
              <a:gd name="connsiteY2543" fmla="*/ 1375148 h 5392467"/>
              <a:gd name="connsiteX2544" fmla="*/ 5977417 w 6096001"/>
              <a:gd name="connsiteY2544" fmla="*/ 1359675 h 5392467"/>
              <a:gd name="connsiteX2545" fmla="*/ 5979352 w 6096001"/>
              <a:gd name="connsiteY2545" fmla="*/ 1357739 h 5392467"/>
              <a:gd name="connsiteX2546" fmla="*/ 5985153 w 6096001"/>
              <a:gd name="connsiteY2546" fmla="*/ 1365478 h 5392467"/>
              <a:gd name="connsiteX2547" fmla="*/ 5998691 w 6096001"/>
              <a:gd name="connsiteY2547" fmla="*/ 1353873 h 5392467"/>
              <a:gd name="connsiteX2548" fmla="*/ 5990954 w 6096001"/>
              <a:gd name="connsiteY2548" fmla="*/ 1338398 h 5392467"/>
              <a:gd name="connsiteX2549" fmla="*/ 5969680 w 6096001"/>
              <a:gd name="connsiteY2549" fmla="*/ 1332597 h 5392467"/>
              <a:gd name="connsiteX2550" fmla="*/ 6021900 w 6096001"/>
              <a:gd name="connsiteY2550" fmla="*/ 1290046 h 5392467"/>
              <a:gd name="connsiteX2551" fmla="*/ 6018032 w 6096001"/>
              <a:gd name="connsiteY2551" fmla="*/ 1313255 h 5392467"/>
              <a:gd name="connsiteX2552" fmla="*/ 6012228 w 6096001"/>
              <a:gd name="connsiteY2552" fmla="*/ 1305519 h 5392467"/>
              <a:gd name="connsiteX2553" fmla="*/ 6008363 w 6096001"/>
              <a:gd name="connsiteY2553" fmla="*/ 1320992 h 5392467"/>
              <a:gd name="connsiteX2554" fmla="*/ 6000626 w 6096001"/>
              <a:gd name="connsiteY2554" fmla="*/ 1328729 h 5392467"/>
              <a:gd name="connsiteX2555" fmla="*/ 6008363 w 6096001"/>
              <a:gd name="connsiteY2555" fmla="*/ 1336465 h 5392467"/>
              <a:gd name="connsiteX2556" fmla="*/ 6010295 w 6096001"/>
              <a:gd name="connsiteY2556" fmla="*/ 1348070 h 5392467"/>
              <a:gd name="connsiteX2557" fmla="*/ 6012406 w 6096001"/>
              <a:gd name="connsiteY2557" fmla="*/ 1347015 h 5392467"/>
              <a:gd name="connsiteX2558" fmla="*/ 6016099 w 6096001"/>
              <a:gd name="connsiteY2558" fmla="*/ 1351938 h 5392467"/>
              <a:gd name="connsiteX2559" fmla="*/ 6002559 w 6096001"/>
              <a:gd name="connsiteY2559" fmla="*/ 1377081 h 5392467"/>
              <a:gd name="connsiteX2560" fmla="*/ 6025769 w 6096001"/>
              <a:gd name="connsiteY2560" fmla="*/ 1363543 h 5392467"/>
              <a:gd name="connsiteX2561" fmla="*/ 6045110 w 6096001"/>
              <a:gd name="connsiteY2561" fmla="*/ 1350003 h 5392467"/>
              <a:gd name="connsiteX2562" fmla="*/ 6043177 w 6096001"/>
              <a:gd name="connsiteY2562" fmla="*/ 1355806 h 5392467"/>
              <a:gd name="connsiteX2563" fmla="*/ 6031570 w 6096001"/>
              <a:gd name="connsiteY2563" fmla="*/ 1371279 h 5392467"/>
              <a:gd name="connsiteX2564" fmla="*/ 6021900 w 6096001"/>
              <a:gd name="connsiteY2564" fmla="*/ 1379338 h 5392467"/>
              <a:gd name="connsiteX2565" fmla="*/ 6021900 w 6096001"/>
              <a:gd name="connsiteY2565" fmla="*/ 1375148 h 5392467"/>
              <a:gd name="connsiteX2566" fmla="*/ 6016099 w 6096001"/>
              <a:gd name="connsiteY2566" fmla="*/ 1375148 h 5392467"/>
              <a:gd name="connsiteX2567" fmla="*/ 6016099 w 6096001"/>
              <a:gd name="connsiteY2567" fmla="*/ 1379016 h 5392467"/>
              <a:gd name="connsiteX2568" fmla="*/ 6020519 w 6096001"/>
              <a:gd name="connsiteY2568" fmla="*/ 1380489 h 5392467"/>
              <a:gd name="connsiteX2569" fmla="*/ 6019967 w 6096001"/>
              <a:gd name="connsiteY2569" fmla="*/ 1380949 h 5392467"/>
              <a:gd name="connsiteX2570" fmla="*/ 6014164 w 6096001"/>
              <a:gd name="connsiteY2570" fmla="*/ 1382884 h 5392467"/>
              <a:gd name="connsiteX2571" fmla="*/ 5989021 w 6096001"/>
              <a:gd name="connsiteY2571" fmla="*/ 1384817 h 5392467"/>
              <a:gd name="connsiteX2572" fmla="*/ 5987086 w 6096001"/>
              <a:gd name="connsiteY2572" fmla="*/ 1385301 h 5392467"/>
              <a:gd name="connsiteX2573" fmla="*/ 5987086 w 6096001"/>
              <a:gd name="connsiteY2573" fmla="*/ 1377081 h 5392467"/>
              <a:gd name="connsiteX2574" fmla="*/ 5983218 w 6096001"/>
              <a:gd name="connsiteY2574" fmla="*/ 1377081 h 5392467"/>
              <a:gd name="connsiteX2575" fmla="*/ 5979350 w 6096001"/>
              <a:gd name="connsiteY2575" fmla="*/ 1386027 h 5392467"/>
              <a:gd name="connsiteX2576" fmla="*/ 5982327 w 6096001"/>
              <a:gd name="connsiteY2576" fmla="*/ 1387795 h 5392467"/>
              <a:gd name="connsiteX2577" fmla="*/ 5987086 w 6096001"/>
              <a:gd name="connsiteY2577" fmla="*/ 1392554 h 5392467"/>
              <a:gd name="connsiteX2578" fmla="*/ 5989021 w 6096001"/>
              <a:gd name="connsiteY2578" fmla="*/ 1406094 h 5392467"/>
              <a:gd name="connsiteX2579" fmla="*/ 5971613 w 6096001"/>
              <a:gd name="connsiteY2579" fmla="*/ 1421567 h 5392467"/>
              <a:gd name="connsiteX2580" fmla="*/ 5958075 w 6096001"/>
              <a:gd name="connsiteY2580" fmla="*/ 1431236 h 5392467"/>
              <a:gd name="connsiteX2581" fmla="*/ 5946470 w 6096001"/>
              <a:gd name="connsiteY2581" fmla="*/ 1442841 h 5392467"/>
              <a:gd name="connsiteX2582" fmla="*/ 5940669 w 6096001"/>
              <a:gd name="connsiteY2582" fmla="*/ 1454446 h 5392467"/>
              <a:gd name="connsiteX2583" fmla="*/ 5942602 w 6096001"/>
              <a:gd name="connsiteY2583" fmla="*/ 1456379 h 5392467"/>
              <a:gd name="connsiteX2584" fmla="*/ 5987086 w 6096001"/>
              <a:gd name="connsiteY2584" fmla="*/ 1423500 h 5392467"/>
              <a:gd name="connsiteX2585" fmla="*/ 5992890 w 6096001"/>
              <a:gd name="connsiteY2585" fmla="*/ 1429303 h 5392467"/>
              <a:gd name="connsiteX2586" fmla="*/ 6002559 w 6096001"/>
              <a:gd name="connsiteY2586" fmla="*/ 1417699 h 5392467"/>
              <a:gd name="connsiteX2587" fmla="*/ 6016099 w 6096001"/>
              <a:gd name="connsiteY2587" fmla="*/ 1423500 h 5392467"/>
              <a:gd name="connsiteX2588" fmla="*/ 5983218 w 6096001"/>
              <a:gd name="connsiteY2588" fmla="*/ 1458314 h 5392467"/>
              <a:gd name="connsiteX2589" fmla="*/ 5936801 w 6096001"/>
              <a:gd name="connsiteY2589" fmla="*/ 1504733 h 5392467"/>
              <a:gd name="connsiteX2590" fmla="*/ 5912866 w 6096001"/>
              <a:gd name="connsiteY2590" fmla="*/ 1523347 h 5392467"/>
              <a:gd name="connsiteX2591" fmla="*/ 5890595 w 6096001"/>
              <a:gd name="connsiteY2591" fmla="*/ 1530009 h 5392467"/>
              <a:gd name="connsiteX2592" fmla="*/ 5892317 w 6096001"/>
              <a:gd name="connsiteY2592" fmla="*/ 1527943 h 5392467"/>
              <a:gd name="connsiteX2593" fmla="*/ 5898118 w 6096001"/>
              <a:gd name="connsiteY2593" fmla="*/ 1522139 h 5392467"/>
              <a:gd name="connsiteX2594" fmla="*/ 5890382 w 6096001"/>
              <a:gd name="connsiteY2594" fmla="*/ 1522139 h 5392467"/>
              <a:gd name="connsiteX2595" fmla="*/ 5875713 w 6096001"/>
              <a:gd name="connsiteY2595" fmla="*/ 1538142 h 5392467"/>
              <a:gd name="connsiteX2596" fmla="*/ 5871041 w 6096001"/>
              <a:gd name="connsiteY2596" fmla="*/ 1541480 h 5392467"/>
              <a:gd name="connsiteX2597" fmla="*/ 5856293 w 6096001"/>
              <a:gd name="connsiteY2597" fmla="*/ 1566382 h 5392467"/>
              <a:gd name="connsiteX2598" fmla="*/ 5846918 w 6096001"/>
              <a:gd name="connsiteY2598" fmla="*/ 1573903 h 5392467"/>
              <a:gd name="connsiteX2599" fmla="*/ 5843963 w 6096001"/>
              <a:gd name="connsiteY2599" fmla="*/ 1572426 h 5392467"/>
              <a:gd name="connsiteX2600" fmla="*/ 5840095 w 6096001"/>
              <a:gd name="connsiteY2600" fmla="*/ 1578227 h 5392467"/>
              <a:gd name="connsiteX2601" fmla="*/ 5840732 w 6096001"/>
              <a:gd name="connsiteY2601" fmla="*/ 1578866 h 5392467"/>
              <a:gd name="connsiteX2602" fmla="*/ 5834293 w 6096001"/>
              <a:gd name="connsiteY2602" fmla="*/ 1584031 h 5392467"/>
              <a:gd name="connsiteX2603" fmla="*/ 5828490 w 6096001"/>
              <a:gd name="connsiteY2603" fmla="*/ 1580163 h 5392467"/>
              <a:gd name="connsiteX2604" fmla="*/ 5828490 w 6096001"/>
              <a:gd name="connsiteY2604" fmla="*/ 1585964 h 5392467"/>
              <a:gd name="connsiteX2605" fmla="*/ 5831678 w 6096001"/>
              <a:gd name="connsiteY2605" fmla="*/ 1585964 h 5392467"/>
              <a:gd name="connsiteX2606" fmla="*/ 5814235 w 6096001"/>
              <a:gd name="connsiteY2606" fmla="*/ 1598856 h 5392467"/>
              <a:gd name="connsiteX2607" fmla="*/ 5813501 w 6096001"/>
              <a:gd name="connsiteY2607" fmla="*/ 1598537 h 5392467"/>
              <a:gd name="connsiteX2608" fmla="*/ 5805280 w 6096001"/>
              <a:gd name="connsiteY2608" fmla="*/ 1605305 h 5392467"/>
              <a:gd name="connsiteX2609" fmla="*/ 5803347 w 6096001"/>
              <a:gd name="connsiteY2609" fmla="*/ 1585964 h 5392467"/>
              <a:gd name="connsiteX2610" fmla="*/ 5770466 w 6096001"/>
              <a:gd name="connsiteY2610" fmla="*/ 1603834 h 5392467"/>
              <a:gd name="connsiteX2611" fmla="*/ 5770466 w 6096001"/>
              <a:gd name="connsiteY2611" fmla="*/ 1599504 h 5392467"/>
              <a:gd name="connsiteX2612" fmla="*/ 5757403 w 6096001"/>
              <a:gd name="connsiteY2612" fmla="*/ 1610934 h 5392467"/>
              <a:gd name="connsiteX2613" fmla="*/ 5714378 w 6096001"/>
              <a:gd name="connsiteY2613" fmla="*/ 1634316 h 5392467"/>
              <a:gd name="connsiteX2614" fmla="*/ 5695036 w 6096001"/>
              <a:gd name="connsiteY2614" fmla="*/ 1647856 h 5392467"/>
              <a:gd name="connsiteX2615" fmla="*/ 5660224 w 6096001"/>
              <a:gd name="connsiteY2615" fmla="*/ 1671066 h 5392467"/>
              <a:gd name="connsiteX2616" fmla="*/ 5650553 w 6096001"/>
              <a:gd name="connsiteY2616" fmla="*/ 1672999 h 5392467"/>
              <a:gd name="connsiteX2617" fmla="*/ 5642816 w 6096001"/>
              <a:gd name="connsiteY2617" fmla="*/ 1672999 h 5392467"/>
              <a:gd name="connsiteX2618" fmla="*/ 5640883 w 6096001"/>
              <a:gd name="connsiteY2618" fmla="*/ 1674934 h 5392467"/>
              <a:gd name="connsiteX2619" fmla="*/ 5638948 w 6096001"/>
              <a:gd name="connsiteY2619" fmla="*/ 1682670 h 5392467"/>
              <a:gd name="connsiteX2620" fmla="*/ 5635080 w 6096001"/>
              <a:gd name="connsiteY2620" fmla="*/ 1690407 h 5392467"/>
              <a:gd name="connsiteX2621" fmla="*/ 5631211 w 6096001"/>
              <a:gd name="connsiteY2621" fmla="*/ 1694275 h 5392467"/>
              <a:gd name="connsiteX2622" fmla="*/ 5644749 w 6096001"/>
              <a:gd name="connsiteY2622" fmla="*/ 1698144 h 5392467"/>
              <a:gd name="connsiteX2623" fmla="*/ 5625410 w 6096001"/>
              <a:gd name="connsiteY2623" fmla="*/ 1700077 h 5392467"/>
              <a:gd name="connsiteX2624" fmla="*/ 5619607 w 6096001"/>
              <a:gd name="connsiteY2624" fmla="*/ 1705878 h 5392467"/>
              <a:gd name="connsiteX2625" fmla="*/ 5617674 w 6096001"/>
              <a:gd name="connsiteY2625" fmla="*/ 1690407 h 5392467"/>
              <a:gd name="connsiteX2626" fmla="*/ 5617674 w 6096001"/>
              <a:gd name="connsiteY2626" fmla="*/ 1688472 h 5392467"/>
              <a:gd name="connsiteX2627" fmla="*/ 5604133 w 6096001"/>
              <a:gd name="connsiteY2627" fmla="*/ 1696208 h 5392467"/>
              <a:gd name="connsiteX2628" fmla="*/ 5623475 w 6096001"/>
              <a:gd name="connsiteY2628" fmla="*/ 1731022 h 5392467"/>
              <a:gd name="connsiteX2629" fmla="*/ 5625410 w 6096001"/>
              <a:gd name="connsiteY2629" fmla="*/ 1732958 h 5392467"/>
              <a:gd name="connsiteX2630" fmla="*/ 5631211 w 6096001"/>
              <a:gd name="connsiteY2630" fmla="*/ 1727154 h 5392467"/>
              <a:gd name="connsiteX2631" fmla="*/ 5644749 w 6096001"/>
              <a:gd name="connsiteY2631" fmla="*/ 1731022 h 5392467"/>
              <a:gd name="connsiteX2632" fmla="*/ 5648620 w 6096001"/>
              <a:gd name="connsiteY2632" fmla="*/ 1727154 h 5392467"/>
              <a:gd name="connsiteX2633" fmla="*/ 5640883 w 6096001"/>
              <a:gd name="connsiteY2633" fmla="*/ 1725219 h 5392467"/>
              <a:gd name="connsiteX2634" fmla="*/ 5650553 w 6096001"/>
              <a:gd name="connsiteY2634" fmla="*/ 1717482 h 5392467"/>
              <a:gd name="connsiteX2635" fmla="*/ 5654421 w 6096001"/>
              <a:gd name="connsiteY2635" fmla="*/ 1719418 h 5392467"/>
              <a:gd name="connsiteX2636" fmla="*/ 5661103 w 6096001"/>
              <a:gd name="connsiteY2636" fmla="*/ 1711066 h 5392467"/>
              <a:gd name="connsiteX2637" fmla="*/ 5656356 w 6096001"/>
              <a:gd name="connsiteY2637" fmla="*/ 1721353 h 5392467"/>
              <a:gd name="connsiteX2638" fmla="*/ 5664090 w 6096001"/>
              <a:gd name="connsiteY2638" fmla="*/ 1734891 h 5392467"/>
              <a:gd name="connsiteX2639" fmla="*/ 5660224 w 6096001"/>
              <a:gd name="connsiteY2639" fmla="*/ 1740692 h 5392467"/>
              <a:gd name="connsiteX2640" fmla="*/ 5664090 w 6096001"/>
              <a:gd name="connsiteY2640" fmla="*/ 1744560 h 5392467"/>
              <a:gd name="connsiteX2641" fmla="*/ 5667959 w 6096001"/>
              <a:gd name="connsiteY2641" fmla="*/ 1748429 h 5392467"/>
              <a:gd name="connsiteX2642" fmla="*/ 5666026 w 6096001"/>
              <a:gd name="connsiteY2642" fmla="*/ 1752297 h 5392467"/>
              <a:gd name="connsiteX2643" fmla="*/ 5664090 w 6096001"/>
              <a:gd name="connsiteY2643" fmla="*/ 1754232 h 5392467"/>
              <a:gd name="connsiteX2644" fmla="*/ 5664090 w 6096001"/>
              <a:gd name="connsiteY2644" fmla="*/ 1779374 h 5392467"/>
              <a:gd name="connsiteX2645" fmla="*/ 5666026 w 6096001"/>
              <a:gd name="connsiteY2645" fmla="*/ 1779374 h 5392467"/>
              <a:gd name="connsiteX2646" fmla="*/ 5666026 w 6096001"/>
              <a:gd name="connsiteY2646" fmla="*/ 1781310 h 5392467"/>
              <a:gd name="connsiteX2647" fmla="*/ 5664090 w 6096001"/>
              <a:gd name="connsiteY2647" fmla="*/ 1785178 h 5392467"/>
              <a:gd name="connsiteX2648" fmla="*/ 5667959 w 6096001"/>
              <a:gd name="connsiteY2648" fmla="*/ 1785178 h 5392467"/>
              <a:gd name="connsiteX2649" fmla="*/ 5658289 w 6096001"/>
              <a:gd name="connsiteY2649" fmla="*/ 1792912 h 5392467"/>
              <a:gd name="connsiteX2650" fmla="*/ 5654421 w 6096001"/>
              <a:gd name="connsiteY2650" fmla="*/ 1794848 h 5392467"/>
              <a:gd name="connsiteX2651" fmla="*/ 5653777 w 6096001"/>
              <a:gd name="connsiteY2651" fmla="*/ 1795492 h 5392467"/>
              <a:gd name="connsiteX2652" fmla="*/ 5652488 w 6096001"/>
              <a:gd name="connsiteY2652" fmla="*/ 1792912 h 5392467"/>
              <a:gd name="connsiteX2653" fmla="*/ 5648620 w 6096001"/>
              <a:gd name="connsiteY2653" fmla="*/ 1792912 h 5392467"/>
              <a:gd name="connsiteX2654" fmla="*/ 5631211 w 6096001"/>
              <a:gd name="connsiteY2654" fmla="*/ 1812254 h 5392467"/>
              <a:gd name="connsiteX2655" fmla="*/ 5631521 w 6096001"/>
              <a:gd name="connsiteY2655" fmla="*/ 1814730 h 5392467"/>
              <a:gd name="connsiteX2656" fmla="*/ 5621542 w 6096001"/>
              <a:gd name="connsiteY2656" fmla="*/ 1818057 h 5392467"/>
              <a:gd name="connsiteX2657" fmla="*/ 5631211 w 6096001"/>
              <a:gd name="connsiteY2657" fmla="*/ 1825794 h 5392467"/>
              <a:gd name="connsiteX2658" fmla="*/ 5632854 w 6096001"/>
              <a:gd name="connsiteY2658" fmla="*/ 1825383 h 5392467"/>
              <a:gd name="connsiteX2659" fmla="*/ 5633147 w 6096001"/>
              <a:gd name="connsiteY2659" fmla="*/ 1827726 h 5392467"/>
              <a:gd name="connsiteX2660" fmla="*/ 5633147 w 6096001"/>
              <a:gd name="connsiteY2660" fmla="*/ 1839331 h 5392467"/>
              <a:gd name="connsiteX2661" fmla="*/ 5646684 w 6096001"/>
              <a:gd name="connsiteY2661" fmla="*/ 1829662 h 5392467"/>
              <a:gd name="connsiteX2662" fmla="*/ 5654421 w 6096001"/>
              <a:gd name="connsiteY2662" fmla="*/ 1829662 h 5392467"/>
              <a:gd name="connsiteX2663" fmla="*/ 5648620 w 6096001"/>
              <a:gd name="connsiteY2663" fmla="*/ 1841267 h 5392467"/>
              <a:gd name="connsiteX2664" fmla="*/ 5667959 w 6096001"/>
              <a:gd name="connsiteY2664" fmla="*/ 1831595 h 5392467"/>
              <a:gd name="connsiteX2665" fmla="*/ 5671829 w 6096001"/>
              <a:gd name="connsiteY2665" fmla="*/ 1829662 h 5392467"/>
              <a:gd name="connsiteX2666" fmla="*/ 5673762 w 6096001"/>
              <a:gd name="connsiteY2666" fmla="*/ 1825794 h 5392467"/>
              <a:gd name="connsiteX2667" fmla="*/ 5689235 w 6096001"/>
              <a:gd name="connsiteY2667" fmla="*/ 1814189 h 5392467"/>
              <a:gd name="connsiteX2668" fmla="*/ 5683432 w 6096001"/>
              <a:gd name="connsiteY2668" fmla="*/ 1821925 h 5392467"/>
              <a:gd name="connsiteX2669" fmla="*/ 5700840 w 6096001"/>
              <a:gd name="connsiteY2669" fmla="*/ 1823858 h 5392467"/>
              <a:gd name="connsiteX2670" fmla="*/ 5704708 w 6096001"/>
              <a:gd name="connsiteY2670" fmla="*/ 1833530 h 5392467"/>
              <a:gd name="connsiteX2671" fmla="*/ 5691168 w 6096001"/>
              <a:gd name="connsiteY2671" fmla="*/ 1845135 h 5392467"/>
              <a:gd name="connsiteX2672" fmla="*/ 5683432 w 6096001"/>
              <a:gd name="connsiteY2672" fmla="*/ 1839331 h 5392467"/>
              <a:gd name="connsiteX2673" fmla="*/ 5671829 w 6096001"/>
              <a:gd name="connsiteY2673" fmla="*/ 1833530 h 5392467"/>
              <a:gd name="connsiteX2674" fmla="*/ 5658289 w 6096001"/>
              <a:gd name="connsiteY2674" fmla="*/ 1850936 h 5392467"/>
              <a:gd name="connsiteX2675" fmla="*/ 5666026 w 6096001"/>
              <a:gd name="connsiteY2675" fmla="*/ 1852871 h 5392467"/>
              <a:gd name="connsiteX2676" fmla="*/ 5646684 w 6096001"/>
              <a:gd name="connsiteY2676" fmla="*/ 1870277 h 5392467"/>
              <a:gd name="connsiteX2677" fmla="*/ 5650553 w 6096001"/>
              <a:gd name="connsiteY2677" fmla="*/ 1856740 h 5392467"/>
              <a:gd name="connsiteX2678" fmla="*/ 5631211 w 6096001"/>
              <a:gd name="connsiteY2678" fmla="*/ 1864476 h 5392467"/>
              <a:gd name="connsiteX2679" fmla="*/ 5623475 w 6096001"/>
              <a:gd name="connsiteY2679" fmla="*/ 1870277 h 5392467"/>
              <a:gd name="connsiteX2680" fmla="*/ 5604133 w 6096001"/>
              <a:gd name="connsiteY2680" fmla="*/ 1924433 h 5392467"/>
              <a:gd name="connsiteX2681" fmla="*/ 5588663 w 6096001"/>
              <a:gd name="connsiteY2681" fmla="*/ 1965049 h 5392467"/>
              <a:gd name="connsiteX2682" fmla="*/ 5565453 w 6096001"/>
              <a:gd name="connsiteY2682" fmla="*/ 2015336 h 5392467"/>
              <a:gd name="connsiteX2683" fmla="*/ 5582859 w 6096001"/>
              <a:gd name="connsiteY2683" fmla="*/ 2011468 h 5392467"/>
              <a:gd name="connsiteX2684" fmla="*/ 5588663 w 6096001"/>
              <a:gd name="connsiteY2684" fmla="*/ 2013400 h 5392467"/>
              <a:gd name="connsiteX2685" fmla="*/ 5561585 w 6096001"/>
              <a:gd name="connsiteY2685" fmla="*/ 2025005 h 5392467"/>
              <a:gd name="connsiteX2686" fmla="*/ 5544177 w 6096001"/>
              <a:gd name="connsiteY2686" fmla="*/ 2065623 h 5392467"/>
              <a:gd name="connsiteX2687" fmla="*/ 5542244 w 6096001"/>
              <a:gd name="connsiteY2687" fmla="*/ 2069491 h 5392467"/>
              <a:gd name="connsiteX2688" fmla="*/ 5559650 w 6096001"/>
              <a:gd name="connsiteY2688" fmla="*/ 2063688 h 5392467"/>
              <a:gd name="connsiteX2689" fmla="*/ 5546112 w 6096001"/>
              <a:gd name="connsiteY2689" fmla="*/ 2081096 h 5392467"/>
              <a:gd name="connsiteX2690" fmla="*/ 5536440 w 6096001"/>
              <a:gd name="connsiteY2690" fmla="*/ 2088830 h 5392467"/>
              <a:gd name="connsiteX2691" fmla="*/ 5530639 w 6096001"/>
              <a:gd name="connsiteY2691" fmla="*/ 2092698 h 5392467"/>
              <a:gd name="connsiteX2692" fmla="*/ 5497758 w 6096001"/>
              <a:gd name="connsiteY2692" fmla="*/ 2170064 h 5392467"/>
              <a:gd name="connsiteX2693" fmla="*/ 5490021 w 6096001"/>
              <a:gd name="connsiteY2693" fmla="*/ 2193273 h 5392467"/>
              <a:gd name="connsiteX2694" fmla="*/ 5488088 w 6096001"/>
              <a:gd name="connsiteY2694" fmla="*/ 2206811 h 5392467"/>
              <a:gd name="connsiteX2695" fmla="*/ 5503561 w 6096001"/>
              <a:gd name="connsiteY2695" fmla="*/ 2201010 h 5392467"/>
              <a:gd name="connsiteX2696" fmla="*/ 5546112 w 6096001"/>
              <a:gd name="connsiteY2696" fmla="*/ 2183602 h 5392467"/>
              <a:gd name="connsiteX2697" fmla="*/ 5679566 w 6096001"/>
              <a:gd name="connsiteY2697" fmla="*/ 2123645 h 5392467"/>
              <a:gd name="connsiteX2698" fmla="*/ 5720181 w 6096001"/>
              <a:gd name="connsiteY2698" fmla="*/ 2113975 h 5392467"/>
              <a:gd name="connsiteX2699" fmla="*/ 5756928 w 6096001"/>
              <a:gd name="connsiteY2699" fmla="*/ 2113975 h 5392467"/>
              <a:gd name="connsiteX2700" fmla="*/ 5782073 w 6096001"/>
              <a:gd name="connsiteY2700" fmla="*/ 2121712 h 5392467"/>
              <a:gd name="connsiteX2701" fmla="*/ 5811084 w 6096001"/>
              <a:gd name="connsiteY2701" fmla="*/ 2129448 h 5392467"/>
              <a:gd name="connsiteX2702" fmla="*/ 5836226 w 6096001"/>
              <a:gd name="connsiteY2702" fmla="*/ 2141053 h 5392467"/>
              <a:gd name="connsiteX2703" fmla="*/ 5845898 w 6096001"/>
              <a:gd name="connsiteY2703" fmla="*/ 2148789 h 5392467"/>
              <a:gd name="connsiteX2704" fmla="*/ 5882645 w 6096001"/>
              <a:gd name="connsiteY2704" fmla="*/ 2175867 h 5392467"/>
              <a:gd name="connsiteX2705" fmla="*/ 5898118 w 6096001"/>
              <a:gd name="connsiteY2705" fmla="*/ 2195206 h 5392467"/>
              <a:gd name="connsiteX2706" fmla="*/ 5901987 w 6096001"/>
              <a:gd name="connsiteY2706" fmla="*/ 2199075 h 5392467"/>
              <a:gd name="connsiteX2707" fmla="*/ 5929065 w 6096001"/>
              <a:gd name="connsiteY2707" fmla="*/ 2230020 h 5392467"/>
              <a:gd name="connsiteX2708" fmla="*/ 5942602 w 6096001"/>
              <a:gd name="connsiteY2708" fmla="*/ 2251297 h 5392467"/>
              <a:gd name="connsiteX2709" fmla="*/ 5967745 w 6096001"/>
              <a:gd name="connsiteY2709" fmla="*/ 2289977 h 5392467"/>
              <a:gd name="connsiteX2710" fmla="*/ 5979352 w 6096001"/>
              <a:gd name="connsiteY2710" fmla="*/ 2305450 h 5392467"/>
              <a:gd name="connsiteX2711" fmla="*/ 5992890 w 6096001"/>
              <a:gd name="connsiteY2711" fmla="*/ 2326727 h 5392467"/>
              <a:gd name="connsiteX2712" fmla="*/ 6000626 w 6096001"/>
              <a:gd name="connsiteY2712" fmla="*/ 2349937 h 5392467"/>
              <a:gd name="connsiteX2713" fmla="*/ 6000626 w 6096001"/>
              <a:gd name="connsiteY2713" fmla="*/ 2371211 h 5392467"/>
              <a:gd name="connsiteX2714" fmla="*/ 6000626 w 6096001"/>
              <a:gd name="connsiteY2714" fmla="*/ 2377012 h 5392467"/>
              <a:gd name="connsiteX2715" fmla="*/ 6008363 w 6096001"/>
              <a:gd name="connsiteY2715" fmla="*/ 2446640 h 5392467"/>
              <a:gd name="connsiteX2716" fmla="*/ 5990954 w 6096001"/>
              <a:gd name="connsiteY2716" fmla="*/ 2489191 h 5392467"/>
              <a:gd name="connsiteX2717" fmla="*/ 5981285 w 6096001"/>
              <a:gd name="connsiteY2717" fmla="*/ 2508533 h 5392467"/>
              <a:gd name="connsiteX2718" fmla="*/ 5979352 w 6096001"/>
              <a:gd name="connsiteY2718" fmla="*/ 2514334 h 5392467"/>
              <a:gd name="connsiteX2719" fmla="*/ 5956142 w 6096001"/>
              <a:gd name="connsiteY2719" fmla="*/ 2547213 h 5392467"/>
              <a:gd name="connsiteX2720" fmla="*/ 5913591 w 6096001"/>
              <a:gd name="connsiteY2720" fmla="*/ 2599435 h 5392467"/>
              <a:gd name="connsiteX2721" fmla="*/ 5847831 w 6096001"/>
              <a:gd name="connsiteY2721" fmla="*/ 2655524 h 5392467"/>
              <a:gd name="connsiteX2722" fmla="*/ 5842028 w 6096001"/>
              <a:gd name="connsiteY2722" fmla="*/ 2659392 h 5392467"/>
              <a:gd name="connsiteX2723" fmla="*/ 5693103 w 6096001"/>
              <a:gd name="connsiteY2723" fmla="*/ 2759964 h 5392467"/>
              <a:gd name="connsiteX2724" fmla="*/ 5642816 w 6096001"/>
              <a:gd name="connsiteY2724" fmla="*/ 2804451 h 5392467"/>
              <a:gd name="connsiteX2725" fmla="*/ 5577056 w 6096001"/>
              <a:gd name="connsiteY2725" fmla="*/ 2862472 h 5392467"/>
              <a:gd name="connsiteX2726" fmla="*/ 5580924 w 6096001"/>
              <a:gd name="connsiteY2726" fmla="*/ 2866340 h 5392467"/>
              <a:gd name="connsiteX2727" fmla="*/ 5598332 w 6096001"/>
              <a:gd name="connsiteY2727" fmla="*/ 2854735 h 5392467"/>
              <a:gd name="connsiteX2728" fmla="*/ 5592531 w 6096001"/>
              <a:gd name="connsiteY2728" fmla="*/ 2868276 h 5392467"/>
              <a:gd name="connsiteX2729" fmla="*/ 5582859 w 6096001"/>
              <a:gd name="connsiteY2729" fmla="*/ 2870208 h 5392467"/>
              <a:gd name="connsiteX2730" fmla="*/ 5569322 w 6096001"/>
              <a:gd name="connsiteY2730" fmla="*/ 2881813 h 5392467"/>
              <a:gd name="connsiteX2731" fmla="*/ 5561585 w 6096001"/>
              <a:gd name="connsiteY2731" fmla="*/ 2887617 h 5392467"/>
              <a:gd name="connsiteX2732" fmla="*/ 5559650 w 6096001"/>
              <a:gd name="connsiteY2732" fmla="*/ 2889550 h 5392467"/>
              <a:gd name="connsiteX2733" fmla="*/ 5563518 w 6096001"/>
              <a:gd name="connsiteY2733" fmla="*/ 2893418 h 5392467"/>
              <a:gd name="connsiteX2734" fmla="*/ 5584795 w 6096001"/>
              <a:gd name="connsiteY2734" fmla="*/ 2883749 h 5392467"/>
              <a:gd name="connsiteX2735" fmla="*/ 5592531 w 6096001"/>
              <a:gd name="connsiteY2735" fmla="*/ 2885682 h 5392467"/>
              <a:gd name="connsiteX2736" fmla="*/ 5580924 w 6096001"/>
              <a:gd name="connsiteY2736" fmla="*/ 2889550 h 5392467"/>
              <a:gd name="connsiteX2737" fmla="*/ 5573190 w 6096001"/>
              <a:gd name="connsiteY2737" fmla="*/ 2893418 h 5392467"/>
              <a:gd name="connsiteX2738" fmla="*/ 5563518 w 6096001"/>
              <a:gd name="connsiteY2738" fmla="*/ 2897287 h 5392467"/>
              <a:gd name="connsiteX2739" fmla="*/ 5561585 w 6096001"/>
              <a:gd name="connsiteY2739" fmla="*/ 2897287 h 5392467"/>
              <a:gd name="connsiteX2740" fmla="*/ 5561585 w 6096001"/>
              <a:gd name="connsiteY2740" fmla="*/ 2899219 h 5392467"/>
              <a:gd name="connsiteX2741" fmla="*/ 5542244 w 6096001"/>
              <a:gd name="connsiteY2741" fmla="*/ 2901155 h 5392467"/>
              <a:gd name="connsiteX2742" fmla="*/ 5530639 w 6096001"/>
              <a:gd name="connsiteY2742" fmla="*/ 2903090 h 5392467"/>
              <a:gd name="connsiteX2743" fmla="*/ 5526771 w 6096001"/>
              <a:gd name="connsiteY2743" fmla="*/ 2906956 h 5392467"/>
              <a:gd name="connsiteX2744" fmla="*/ 5584795 w 6096001"/>
              <a:gd name="connsiteY2744" fmla="*/ 2910824 h 5392467"/>
              <a:gd name="connsiteX2745" fmla="*/ 5577056 w 6096001"/>
              <a:gd name="connsiteY2745" fmla="*/ 2912759 h 5392467"/>
              <a:gd name="connsiteX2746" fmla="*/ 5617674 w 6096001"/>
              <a:gd name="connsiteY2746" fmla="*/ 2916628 h 5392467"/>
              <a:gd name="connsiteX2747" fmla="*/ 5623475 w 6096001"/>
              <a:gd name="connsiteY2747" fmla="*/ 2916628 h 5392467"/>
              <a:gd name="connsiteX2748" fmla="*/ 5627343 w 6096001"/>
              <a:gd name="connsiteY2748" fmla="*/ 2916628 h 5392467"/>
              <a:gd name="connsiteX2749" fmla="*/ 5648620 w 6096001"/>
              <a:gd name="connsiteY2749" fmla="*/ 2905023 h 5392467"/>
              <a:gd name="connsiteX2750" fmla="*/ 5662157 w 6096001"/>
              <a:gd name="connsiteY2750" fmla="*/ 2899219 h 5392467"/>
              <a:gd name="connsiteX2751" fmla="*/ 5656356 w 6096001"/>
              <a:gd name="connsiteY2751" fmla="*/ 2905023 h 5392467"/>
              <a:gd name="connsiteX2752" fmla="*/ 5658289 w 6096001"/>
              <a:gd name="connsiteY2752" fmla="*/ 2906956 h 5392467"/>
              <a:gd name="connsiteX2753" fmla="*/ 5685367 w 6096001"/>
              <a:gd name="connsiteY2753" fmla="*/ 2910824 h 5392467"/>
              <a:gd name="connsiteX2754" fmla="*/ 5696972 w 6096001"/>
              <a:gd name="connsiteY2754" fmla="*/ 2891485 h 5392467"/>
              <a:gd name="connsiteX2755" fmla="*/ 5712445 w 6096001"/>
              <a:gd name="connsiteY2755" fmla="*/ 2891485 h 5392467"/>
              <a:gd name="connsiteX2756" fmla="*/ 5702773 w 6096001"/>
              <a:gd name="connsiteY2756" fmla="*/ 2895351 h 5392467"/>
              <a:gd name="connsiteX2757" fmla="*/ 5708576 w 6096001"/>
              <a:gd name="connsiteY2757" fmla="*/ 2901155 h 5392467"/>
              <a:gd name="connsiteX2758" fmla="*/ 5704708 w 6096001"/>
              <a:gd name="connsiteY2758" fmla="*/ 2908891 h 5392467"/>
              <a:gd name="connsiteX2759" fmla="*/ 5733719 w 6096001"/>
              <a:gd name="connsiteY2759" fmla="*/ 2908891 h 5392467"/>
              <a:gd name="connsiteX2760" fmla="*/ 5733719 w 6096001"/>
              <a:gd name="connsiteY2760" fmla="*/ 2916628 h 5392467"/>
              <a:gd name="connsiteX2761" fmla="*/ 5693103 w 6096001"/>
              <a:gd name="connsiteY2761" fmla="*/ 2922429 h 5392467"/>
              <a:gd name="connsiteX2762" fmla="*/ 5646684 w 6096001"/>
              <a:gd name="connsiteY2762" fmla="*/ 2926297 h 5392467"/>
              <a:gd name="connsiteX2763" fmla="*/ 5650553 w 6096001"/>
              <a:gd name="connsiteY2763" fmla="*/ 2930165 h 5392467"/>
              <a:gd name="connsiteX2764" fmla="*/ 5654421 w 6096001"/>
              <a:gd name="connsiteY2764" fmla="*/ 2934034 h 5392467"/>
              <a:gd name="connsiteX2765" fmla="*/ 5673762 w 6096001"/>
              <a:gd name="connsiteY2765" fmla="*/ 2932101 h 5392467"/>
              <a:gd name="connsiteX2766" fmla="*/ 5658289 w 6096001"/>
              <a:gd name="connsiteY2766" fmla="*/ 2939837 h 5392467"/>
              <a:gd name="connsiteX2767" fmla="*/ 5658289 w 6096001"/>
              <a:gd name="connsiteY2767" fmla="*/ 2947574 h 5392467"/>
              <a:gd name="connsiteX2768" fmla="*/ 5652488 w 6096001"/>
              <a:gd name="connsiteY2768" fmla="*/ 2959178 h 5392467"/>
              <a:gd name="connsiteX2769" fmla="*/ 5660224 w 6096001"/>
              <a:gd name="connsiteY2769" fmla="*/ 2959178 h 5392467"/>
              <a:gd name="connsiteX2770" fmla="*/ 5658289 w 6096001"/>
              <a:gd name="connsiteY2770" fmla="*/ 2963047 h 5392467"/>
              <a:gd name="connsiteX2771" fmla="*/ 5687300 w 6096001"/>
              <a:gd name="connsiteY2771" fmla="*/ 2963047 h 5392467"/>
              <a:gd name="connsiteX2772" fmla="*/ 5582859 w 6096001"/>
              <a:gd name="connsiteY2772" fmla="*/ 2988189 h 5392467"/>
              <a:gd name="connsiteX2773" fmla="*/ 5590596 w 6096001"/>
              <a:gd name="connsiteY2773" fmla="*/ 3003662 h 5392467"/>
              <a:gd name="connsiteX2774" fmla="*/ 5594464 w 6096001"/>
              <a:gd name="connsiteY2774" fmla="*/ 3007531 h 5392467"/>
              <a:gd name="connsiteX2775" fmla="*/ 5613805 w 6096001"/>
              <a:gd name="connsiteY2775" fmla="*/ 3009464 h 5392467"/>
              <a:gd name="connsiteX2776" fmla="*/ 5714378 w 6096001"/>
              <a:gd name="connsiteY2776" fmla="*/ 3017200 h 5392467"/>
              <a:gd name="connsiteX2777" fmla="*/ 5722114 w 6096001"/>
              <a:gd name="connsiteY2777" fmla="*/ 3009464 h 5392467"/>
              <a:gd name="connsiteX2778" fmla="*/ 5720181 w 6096001"/>
              <a:gd name="connsiteY2778" fmla="*/ 3019135 h 5392467"/>
              <a:gd name="connsiteX2779" fmla="*/ 5747259 w 6096001"/>
              <a:gd name="connsiteY2779" fmla="*/ 3024936 h 5392467"/>
              <a:gd name="connsiteX2780" fmla="*/ 5762732 w 6096001"/>
              <a:gd name="connsiteY2780" fmla="*/ 3024936 h 5392467"/>
              <a:gd name="connsiteX2781" fmla="*/ 5754993 w 6096001"/>
              <a:gd name="connsiteY2781" fmla="*/ 3028805 h 5392467"/>
              <a:gd name="connsiteX2782" fmla="*/ 5764665 w 6096001"/>
              <a:gd name="connsiteY2782" fmla="*/ 3036541 h 5392467"/>
              <a:gd name="connsiteX2783" fmla="*/ 5745324 w 6096001"/>
              <a:gd name="connsiteY2783" fmla="*/ 3036541 h 5392467"/>
              <a:gd name="connsiteX2784" fmla="*/ 5578991 w 6096001"/>
              <a:gd name="connsiteY2784" fmla="*/ 3021068 h 5392467"/>
              <a:gd name="connsiteX2785" fmla="*/ 5575123 w 6096001"/>
              <a:gd name="connsiteY2785" fmla="*/ 3021068 h 5392467"/>
              <a:gd name="connsiteX2786" fmla="*/ 5577056 w 6096001"/>
              <a:gd name="connsiteY2786" fmla="*/ 3026872 h 5392467"/>
              <a:gd name="connsiteX2787" fmla="*/ 5544177 w 6096001"/>
              <a:gd name="connsiteY2787" fmla="*/ 3024936 h 5392467"/>
              <a:gd name="connsiteX2788" fmla="*/ 5551913 w 6096001"/>
              <a:gd name="connsiteY2788" fmla="*/ 3032673 h 5392467"/>
              <a:gd name="connsiteX2789" fmla="*/ 5490021 w 6096001"/>
              <a:gd name="connsiteY2789" fmla="*/ 3034608 h 5392467"/>
              <a:gd name="connsiteX2790" fmla="*/ 5480352 w 6096001"/>
              <a:gd name="connsiteY2790" fmla="*/ 3038476 h 5392467"/>
              <a:gd name="connsiteX2791" fmla="*/ 5480352 w 6096001"/>
              <a:gd name="connsiteY2791" fmla="*/ 3034608 h 5392467"/>
              <a:gd name="connsiteX2792" fmla="*/ 5476483 w 6096001"/>
              <a:gd name="connsiteY2792" fmla="*/ 3034608 h 5392467"/>
              <a:gd name="connsiteX2793" fmla="*/ 5474551 w 6096001"/>
              <a:gd name="connsiteY2793" fmla="*/ 3048146 h 5392467"/>
              <a:gd name="connsiteX2794" fmla="*/ 5497758 w 6096001"/>
              <a:gd name="connsiteY2794" fmla="*/ 3048146 h 5392467"/>
              <a:gd name="connsiteX2795" fmla="*/ 5524838 w 6096001"/>
              <a:gd name="connsiteY2795" fmla="*/ 3044278 h 5392467"/>
              <a:gd name="connsiteX2796" fmla="*/ 5530639 w 6096001"/>
              <a:gd name="connsiteY2796" fmla="*/ 3040409 h 5392467"/>
              <a:gd name="connsiteX2797" fmla="*/ 5548045 w 6096001"/>
              <a:gd name="connsiteY2797" fmla="*/ 3036541 h 5392467"/>
              <a:gd name="connsiteX2798" fmla="*/ 5548045 w 6096001"/>
              <a:gd name="connsiteY2798" fmla="*/ 3040409 h 5392467"/>
              <a:gd name="connsiteX2799" fmla="*/ 5551913 w 6096001"/>
              <a:gd name="connsiteY2799" fmla="*/ 3042345 h 5392467"/>
              <a:gd name="connsiteX2800" fmla="*/ 5563518 w 6096001"/>
              <a:gd name="connsiteY2800" fmla="*/ 3040409 h 5392467"/>
              <a:gd name="connsiteX2801" fmla="*/ 5569322 w 6096001"/>
              <a:gd name="connsiteY2801" fmla="*/ 3040409 h 5392467"/>
              <a:gd name="connsiteX2802" fmla="*/ 5600265 w 6096001"/>
              <a:gd name="connsiteY2802" fmla="*/ 3042345 h 5392467"/>
              <a:gd name="connsiteX2803" fmla="*/ 5600265 w 6096001"/>
              <a:gd name="connsiteY2803" fmla="*/ 3040409 h 5392467"/>
              <a:gd name="connsiteX2804" fmla="*/ 5602201 w 6096001"/>
              <a:gd name="connsiteY2804" fmla="*/ 3042345 h 5392467"/>
              <a:gd name="connsiteX2805" fmla="*/ 5602201 w 6096001"/>
              <a:gd name="connsiteY2805" fmla="*/ 3044278 h 5392467"/>
              <a:gd name="connsiteX2806" fmla="*/ 5617674 w 6096001"/>
              <a:gd name="connsiteY2806" fmla="*/ 3046213 h 5392467"/>
              <a:gd name="connsiteX2807" fmla="*/ 5613805 w 6096001"/>
              <a:gd name="connsiteY2807" fmla="*/ 3044278 h 5392467"/>
              <a:gd name="connsiteX2808" fmla="*/ 5633147 w 6096001"/>
              <a:gd name="connsiteY2808" fmla="*/ 3036541 h 5392467"/>
              <a:gd name="connsiteX2809" fmla="*/ 5627343 w 6096001"/>
              <a:gd name="connsiteY2809" fmla="*/ 3046213 h 5392467"/>
              <a:gd name="connsiteX2810" fmla="*/ 5658289 w 6096001"/>
              <a:gd name="connsiteY2810" fmla="*/ 3050081 h 5392467"/>
              <a:gd name="connsiteX2811" fmla="*/ 5696972 w 6096001"/>
              <a:gd name="connsiteY2811" fmla="*/ 3052014 h 5392467"/>
              <a:gd name="connsiteX2812" fmla="*/ 5735654 w 6096001"/>
              <a:gd name="connsiteY2812" fmla="*/ 3057818 h 5392467"/>
              <a:gd name="connsiteX2813" fmla="*/ 5735654 w 6096001"/>
              <a:gd name="connsiteY2813" fmla="*/ 3055883 h 5392467"/>
              <a:gd name="connsiteX2814" fmla="*/ 5737587 w 6096001"/>
              <a:gd name="connsiteY2814" fmla="*/ 3057818 h 5392467"/>
              <a:gd name="connsiteX2815" fmla="*/ 5743391 w 6096001"/>
              <a:gd name="connsiteY2815" fmla="*/ 3057818 h 5392467"/>
              <a:gd name="connsiteX2816" fmla="*/ 5751125 w 6096001"/>
              <a:gd name="connsiteY2816" fmla="*/ 3061686 h 5392467"/>
              <a:gd name="connsiteX2817" fmla="*/ 5735654 w 6096001"/>
              <a:gd name="connsiteY2817" fmla="*/ 3065555 h 5392467"/>
              <a:gd name="connsiteX2818" fmla="*/ 5731784 w 6096001"/>
              <a:gd name="connsiteY2818" fmla="*/ 3067487 h 5392467"/>
              <a:gd name="connsiteX2819" fmla="*/ 5745324 w 6096001"/>
              <a:gd name="connsiteY2819" fmla="*/ 3077159 h 5392467"/>
              <a:gd name="connsiteX2820" fmla="*/ 5768533 w 6096001"/>
              <a:gd name="connsiteY2820" fmla="*/ 3079092 h 5392467"/>
              <a:gd name="connsiteX2821" fmla="*/ 5782073 w 6096001"/>
              <a:gd name="connsiteY2821" fmla="*/ 3092630 h 5392467"/>
              <a:gd name="connsiteX2822" fmla="*/ 5770466 w 6096001"/>
              <a:gd name="connsiteY2822" fmla="*/ 3098433 h 5392467"/>
              <a:gd name="connsiteX2823" fmla="*/ 5662157 w 6096001"/>
              <a:gd name="connsiteY2823" fmla="*/ 3106170 h 5392467"/>
              <a:gd name="connsiteX2824" fmla="*/ 5633147 w 6096001"/>
              <a:gd name="connsiteY2824" fmla="*/ 3111971 h 5392467"/>
              <a:gd name="connsiteX2825" fmla="*/ 5623475 w 6096001"/>
              <a:gd name="connsiteY2825" fmla="*/ 3111971 h 5392467"/>
              <a:gd name="connsiteX2826" fmla="*/ 5635080 w 6096001"/>
              <a:gd name="connsiteY2826" fmla="*/ 3115839 h 5392467"/>
              <a:gd name="connsiteX2827" fmla="*/ 5648620 w 6096001"/>
              <a:gd name="connsiteY2827" fmla="*/ 3113907 h 5392467"/>
              <a:gd name="connsiteX2828" fmla="*/ 5644749 w 6096001"/>
              <a:gd name="connsiteY2828" fmla="*/ 3117775 h 5392467"/>
              <a:gd name="connsiteX2829" fmla="*/ 5648620 w 6096001"/>
              <a:gd name="connsiteY2829" fmla="*/ 3119708 h 5392467"/>
              <a:gd name="connsiteX2830" fmla="*/ 5652488 w 6096001"/>
              <a:gd name="connsiteY2830" fmla="*/ 3137116 h 5392467"/>
              <a:gd name="connsiteX2831" fmla="*/ 5644749 w 6096001"/>
              <a:gd name="connsiteY2831" fmla="*/ 3140984 h 5392467"/>
              <a:gd name="connsiteX2832" fmla="*/ 5642816 w 6096001"/>
              <a:gd name="connsiteY2832" fmla="*/ 3144852 h 5392467"/>
              <a:gd name="connsiteX2833" fmla="*/ 5652488 w 6096001"/>
              <a:gd name="connsiteY2833" fmla="*/ 3144852 h 5392467"/>
              <a:gd name="connsiteX2834" fmla="*/ 5658289 w 6096001"/>
              <a:gd name="connsiteY2834" fmla="*/ 3139049 h 5392467"/>
              <a:gd name="connsiteX2835" fmla="*/ 5669894 w 6096001"/>
              <a:gd name="connsiteY2835" fmla="*/ 3139049 h 5392467"/>
              <a:gd name="connsiteX2836" fmla="*/ 5669894 w 6096001"/>
              <a:gd name="connsiteY2836" fmla="*/ 3137116 h 5392467"/>
              <a:gd name="connsiteX2837" fmla="*/ 5677630 w 6096001"/>
              <a:gd name="connsiteY2837" fmla="*/ 3135181 h 5392467"/>
              <a:gd name="connsiteX2838" fmla="*/ 5677630 w 6096001"/>
              <a:gd name="connsiteY2838" fmla="*/ 3137116 h 5392467"/>
              <a:gd name="connsiteX2839" fmla="*/ 5681499 w 6096001"/>
              <a:gd name="connsiteY2839" fmla="*/ 3137116 h 5392467"/>
              <a:gd name="connsiteX2840" fmla="*/ 5708576 w 6096001"/>
              <a:gd name="connsiteY2840" fmla="*/ 3139049 h 5392467"/>
              <a:gd name="connsiteX2841" fmla="*/ 5809149 w 6096001"/>
              <a:gd name="connsiteY2841" fmla="*/ 3135181 h 5392467"/>
              <a:gd name="connsiteX2842" fmla="*/ 5830425 w 6096001"/>
              <a:gd name="connsiteY2842" fmla="*/ 3131312 h 5392467"/>
              <a:gd name="connsiteX2843" fmla="*/ 5876842 w 6096001"/>
              <a:gd name="connsiteY2843" fmla="*/ 3119708 h 5392467"/>
              <a:gd name="connsiteX2844" fmla="*/ 5894250 w 6096001"/>
              <a:gd name="connsiteY2844" fmla="*/ 3123576 h 5392467"/>
              <a:gd name="connsiteX2845" fmla="*/ 5896183 w 6096001"/>
              <a:gd name="connsiteY2845" fmla="*/ 3129379 h 5392467"/>
              <a:gd name="connsiteX2846" fmla="*/ 5892317 w 6096001"/>
              <a:gd name="connsiteY2846" fmla="*/ 3135181 h 5392467"/>
              <a:gd name="connsiteX2847" fmla="*/ 5871041 w 6096001"/>
              <a:gd name="connsiteY2847" fmla="*/ 3144852 h 5392467"/>
              <a:gd name="connsiteX2848" fmla="*/ 5882645 w 6096001"/>
              <a:gd name="connsiteY2848" fmla="*/ 3152589 h 5392467"/>
              <a:gd name="connsiteX2849" fmla="*/ 5956142 w 6096001"/>
              <a:gd name="connsiteY2849" fmla="*/ 3162259 h 5392467"/>
              <a:gd name="connsiteX2850" fmla="*/ 5884578 w 6096001"/>
              <a:gd name="connsiteY2850" fmla="*/ 3160326 h 5392467"/>
              <a:gd name="connsiteX2851" fmla="*/ 5853635 w 6096001"/>
              <a:gd name="connsiteY2851" fmla="*/ 3162259 h 5392467"/>
              <a:gd name="connsiteX2852" fmla="*/ 5820753 w 6096001"/>
              <a:gd name="connsiteY2852" fmla="*/ 3164194 h 5392467"/>
              <a:gd name="connsiteX2853" fmla="*/ 5797544 w 6096001"/>
              <a:gd name="connsiteY2853" fmla="*/ 3169995 h 5392467"/>
              <a:gd name="connsiteX2854" fmla="*/ 5809149 w 6096001"/>
              <a:gd name="connsiteY2854" fmla="*/ 3175796 h 5392467"/>
              <a:gd name="connsiteX2855" fmla="*/ 5855568 w 6096001"/>
              <a:gd name="connsiteY2855" fmla="*/ 3189336 h 5392467"/>
              <a:gd name="connsiteX2856" fmla="*/ 5898118 w 6096001"/>
              <a:gd name="connsiteY2856" fmla="*/ 3189336 h 5392467"/>
              <a:gd name="connsiteX2857" fmla="*/ 6018032 w 6096001"/>
              <a:gd name="connsiteY2857" fmla="*/ 3195137 h 5392467"/>
              <a:gd name="connsiteX2858" fmla="*/ 6043177 w 6096001"/>
              <a:gd name="connsiteY2858" fmla="*/ 3199006 h 5392467"/>
              <a:gd name="connsiteX2859" fmla="*/ 6037373 w 6096001"/>
              <a:gd name="connsiteY2859" fmla="*/ 3204809 h 5392467"/>
              <a:gd name="connsiteX2860" fmla="*/ 5956142 w 6096001"/>
              <a:gd name="connsiteY2860" fmla="*/ 3218347 h 5392467"/>
              <a:gd name="connsiteX2861" fmla="*/ 5901987 w 6096001"/>
              <a:gd name="connsiteY2861" fmla="*/ 3218347 h 5392467"/>
              <a:gd name="connsiteX2862" fmla="*/ 5898118 w 6096001"/>
              <a:gd name="connsiteY2862" fmla="*/ 3218347 h 5392467"/>
              <a:gd name="connsiteX2863" fmla="*/ 5890382 w 6096001"/>
              <a:gd name="connsiteY2863" fmla="*/ 3222215 h 5392467"/>
              <a:gd name="connsiteX2864" fmla="*/ 5890382 w 6096001"/>
              <a:gd name="connsiteY2864" fmla="*/ 3218347 h 5392467"/>
              <a:gd name="connsiteX2865" fmla="*/ 5853635 w 6096001"/>
              <a:gd name="connsiteY2865" fmla="*/ 3218347 h 5392467"/>
              <a:gd name="connsiteX2866" fmla="*/ 5838159 w 6096001"/>
              <a:gd name="connsiteY2866" fmla="*/ 3228019 h 5392467"/>
              <a:gd name="connsiteX2867" fmla="*/ 5822689 w 6096001"/>
              <a:gd name="connsiteY2867" fmla="*/ 3228019 h 5392467"/>
              <a:gd name="connsiteX2868" fmla="*/ 5822689 w 6096001"/>
              <a:gd name="connsiteY2868" fmla="*/ 3231887 h 5392467"/>
              <a:gd name="connsiteX2869" fmla="*/ 5851699 w 6096001"/>
              <a:gd name="connsiteY2869" fmla="*/ 3233820 h 5392467"/>
              <a:gd name="connsiteX2870" fmla="*/ 5869108 w 6096001"/>
              <a:gd name="connsiteY2870" fmla="*/ 3235755 h 5392467"/>
              <a:gd name="connsiteX2871" fmla="*/ 5874909 w 6096001"/>
              <a:gd name="connsiteY2871" fmla="*/ 3235755 h 5392467"/>
              <a:gd name="connsiteX2872" fmla="*/ 5898118 w 6096001"/>
              <a:gd name="connsiteY2872" fmla="*/ 3229952 h 5392467"/>
              <a:gd name="connsiteX2873" fmla="*/ 5915524 w 6096001"/>
              <a:gd name="connsiteY2873" fmla="*/ 3228019 h 5392467"/>
              <a:gd name="connsiteX2874" fmla="*/ 5942602 w 6096001"/>
              <a:gd name="connsiteY2874" fmla="*/ 3229952 h 5392467"/>
              <a:gd name="connsiteX2875" fmla="*/ 5930997 w 6096001"/>
              <a:gd name="connsiteY2875" fmla="*/ 3233820 h 5392467"/>
              <a:gd name="connsiteX2876" fmla="*/ 5942602 w 6096001"/>
              <a:gd name="connsiteY2876" fmla="*/ 3235755 h 5392467"/>
              <a:gd name="connsiteX2877" fmla="*/ 5930998 w 6096001"/>
              <a:gd name="connsiteY2877" fmla="*/ 3242040 h 5392467"/>
              <a:gd name="connsiteX2878" fmla="*/ 5927996 w 6096001"/>
              <a:gd name="connsiteY2878" fmla="*/ 3249793 h 5392467"/>
              <a:gd name="connsiteX2879" fmla="*/ 5926645 w 6096001"/>
              <a:gd name="connsiteY2879" fmla="*/ 3250018 h 5392467"/>
              <a:gd name="connsiteX2880" fmla="*/ 5925194 w 6096001"/>
              <a:gd name="connsiteY2880" fmla="*/ 3255094 h 5392467"/>
              <a:gd name="connsiteX2881" fmla="*/ 5926416 w 6096001"/>
              <a:gd name="connsiteY2881" fmla="*/ 3253872 h 5392467"/>
              <a:gd name="connsiteX2882" fmla="*/ 5925194 w 6096001"/>
              <a:gd name="connsiteY2882" fmla="*/ 3257029 h 5392467"/>
              <a:gd name="connsiteX2883" fmla="*/ 5989021 w 6096001"/>
              <a:gd name="connsiteY2883" fmla="*/ 3262831 h 5392467"/>
              <a:gd name="connsiteX2884" fmla="*/ 5987086 w 6096001"/>
              <a:gd name="connsiteY2884" fmla="*/ 3270570 h 5392467"/>
              <a:gd name="connsiteX2885" fmla="*/ 5983218 w 6096001"/>
              <a:gd name="connsiteY2885" fmla="*/ 3276371 h 5392467"/>
              <a:gd name="connsiteX2886" fmla="*/ 5973548 w 6096001"/>
              <a:gd name="connsiteY2886" fmla="*/ 3280239 h 5392467"/>
              <a:gd name="connsiteX2887" fmla="*/ 5952272 w 6096001"/>
              <a:gd name="connsiteY2887" fmla="*/ 3282172 h 5392467"/>
              <a:gd name="connsiteX2888" fmla="*/ 5958075 w 6096001"/>
              <a:gd name="connsiteY2888" fmla="*/ 3297645 h 5392467"/>
              <a:gd name="connsiteX2889" fmla="*/ 5973548 w 6096001"/>
              <a:gd name="connsiteY2889" fmla="*/ 3301513 h 5392467"/>
              <a:gd name="connsiteX2890" fmla="*/ 5985153 w 6096001"/>
              <a:gd name="connsiteY2890" fmla="*/ 3301513 h 5392467"/>
              <a:gd name="connsiteX2891" fmla="*/ 5973548 w 6096001"/>
              <a:gd name="connsiteY2891" fmla="*/ 3309250 h 5392467"/>
              <a:gd name="connsiteX2892" fmla="*/ 5977417 w 6096001"/>
              <a:gd name="connsiteY2892" fmla="*/ 3320855 h 5392467"/>
              <a:gd name="connsiteX2893" fmla="*/ 5994822 w 6096001"/>
              <a:gd name="connsiteY2893" fmla="*/ 3316986 h 5392467"/>
              <a:gd name="connsiteX2894" fmla="*/ 6027704 w 6096001"/>
              <a:gd name="connsiteY2894" fmla="*/ 3322790 h 5392467"/>
              <a:gd name="connsiteX2895" fmla="*/ 6016099 w 6096001"/>
              <a:gd name="connsiteY2895" fmla="*/ 3322790 h 5392467"/>
              <a:gd name="connsiteX2896" fmla="*/ 6004494 w 6096001"/>
              <a:gd name="connsiteY2896" fmla="*/ 3324723 h 5392467"/>
              <a:gd name="connsiteX2897" fmla="*/ 5996758 w 6096001"/>
              <a:gd name="connsiteY2897" fmla="*/ 3326658 h 5392467"/>
              <a:gd name="connsiteX2898" fmla="*/ 5985153 w 6096001"/>
              <a:gd name="connsiteY2898" fmla="*/ 3340196 h 5392467"/>
              <a:gd name="connsiteX2899" fmla="*/ 5971613 w 6096001"/>
              <a:gd name="connsiteY2899" fmla="*/ 3330527 h 5392467"/>
              <a:gd name="connsiteX2900" fmla="*/ 5967745 w 6096001"/>
              <a:gd name="connsiteY2900" fmla="*/ 3338263 h 5392467"/>
              <a:gd name="connsiteX2901" fmla="*/ 5925194 w 6096001"/>
              <a:gd name="connsiteY2901" fmla="*/ 3342129 h 5392467"/>
              <a:gd name="connsiteX2902" fmla="*/ 5921328 w 6096001"/>
              <a:gd name="connsiteY2902" fmla="*/ 3344064 h 5392467"/>
              <a:gd name="connsiteX2903" fmla="*/ 5948403 w 6096001"/>
              <a:gd name="connsiteY2903" fmla="*/ 3349865 h 5392467"/>
              <a:gd name="connsiteX2904" fmla="*/ 5909723 w 6096001"/>
              <a:gd name="connsiteY2904" fmla="*/ 3351801 h 5392467"/>
              <a:gd name="connsiteX2905" fmla="*/ 5907788 w 6096001"/>
              <a:gd name="connsiteY2905" fmla="*/ 3373075 h 5392467"/>
              <a:gd name="connsiteX2906" fmla="*/ 5969680 w 6096001"/>
              <a:gd name="connsiteY2906" fmla="*/ 3376943 h 5392467"/>
              <a:gd name="connsiteX2907" fmla="*/ 5942602 w 6096001"/>
              <a:gd name="connsiteY2907" fmla="*/ 3477518 h 5392467"/>
              <a:gd name="connsiteX2908" fmla="*/ 5867172 w 6096001"/>
              <a:gd name="connsiteY2908" fmla="*/ 3504595 h 5392467"/>
              <a:gd name="connsiteX2909" fmla="*/ 5824622 w 6096001"/>
              <a:gd name="connsiteY2909" fmla="*/ 3541343 h 5392467"/>
              <a:gd name="connsiteX2910" fmla="*/ 5720181 w 6096001"/>
              <a:gd name="connsiteY2910" fmla="*/ 3568420 h 5392467"/>
              <a:gd name="connsiteX2911" fmla="*/ 5722114 w 6096001"/>
              <a:gd name="connsiteY2911" fmla="*/ 3568420 h 5392467"/>
              <a:gd name="connsiteX2912" fmla="*/ 5762732 w 6096001"/>
              <a:gd name="connsiteY2912" fmla="*/ 3568420 h 5392467"/>
              <a:gd name="connsiteX2913" fmla="*/ 5824622 w 6096001"/>
              <a:gd name="connsiteY2913" fmla="*/ 3564552 h 5392467"/>
              <a:gd name="connsiteX2914" fmla="*/ 5834293 w 6096001"/>
              <a:gd name="connsiteY2914" fmla="*/ 3562617 h 5392467"/>
              <a:gd name="connsiteX2915" fmla="*/ 5855568 w 6096001"/>
              <a:gd name="connsiteY2915" fmla="*/ 3576157 h 5392467"/>
              <a:gd name="connsiteX2916" fmla="*/ 5836226 w 6096001"/>
              <a:gd name="connsiteY2916" fmla="*/ 3583894 h 5392467"/>
              <a:gd name="connsiteX2917" fmla="*/ 5762732 w 6096001"/>
              <a:gd name="connsiteY2917" fmla="*/ 3589695 h 5392467"/>
              <a:gd name="connsiteX2918" fmla="*/ 5741455 w 6096001"/>
              <a:gd name="connsiteY2918" fmla="*/ 3589695 h 5392467"/>
              <a:gd name="connsiteX2919" fmla="*/ 5702773 w 6096001"/>
              <a:gd name="connsiteY2919" fmla="*/ 3593563 h 5392467"/>
              <a:gd name="connsiteX2920" fmla="*/ 5716313 w 6096001"/>
              <a:gd name="connsiteY2920" fmla="*/ 3597431 h 5392467"/>
              <a:gd name="connsiteX2921" fmla="*/ 5718246 w 6096001"/>
              <a:gd name="connsiteY2921" fmla="*/ 3597431 h 5392467"/>
              <a:gd name="connsiteX2922" fmla="*/ 5762732 w 6096001"/>
              <a:gd name="connsiteY2922" fmla="*/ 3589695 h 5392467"/>
              <a:gd name="connsiteX2923" fmla="*/ 5749192 w 6096001"/>
              <a:gd name="connsiteY2923" fmla="*/ 3599367 h 5392467"/>
              <a:gd name="connsiteX2924" fmla="*/ 5768533 w 6096001"/>
              <a:gd name="connsiteY2924" fmla="*/ 3605168 h 5392467"/>
              <a:gd name="connsiteX2925" fmla="*/ 5774334 w 6096001"/>
              <a:gd name="connsiteY2925" fmla="*/ 3607103 h 5392467"/>
              <a:gd name="connsiteX2926" fmla="*/ 5785941 w 6096001"/>
              <a:gd name="connsiteY2926" fmla="*/ 3610969 h 5392467"/>
              <a:gd name="connsiteX2927" fmla="*/ 5797544 w 6096001"/>
              <a:gd name="connsiteY2927" fmla="*/ 3620641 h 5392467"/>
              <a:gd name="connsiteX2928" fmla="*/ 5799479 w 6096001"/>
              <a:gd name="connsiteY2928" fmla="*/ 3639982 h 5392467"/>
              <a:gd name="connsiteX2929" fmla="*/ 5789807 w 6096001"/>
              <a:gd name="connsiteY2929" fmla="*/ 3641915 h 5392467"/>
              <a:gd name="connsiteX2930" fmla="*/ 5793676 w 6096001"/>
              <a:gd name="connsiteY2930" fmla="*/ 3630310 h 5392467"/>
              <a:gd name="connsiteX2931" fmla="*/ 5772401 w 6096001"/>
              <a:gd name="connsiteY2931" fmla="*/ 3616773 h 5392467"/>
              <a:gd name="connsiteX2932" fmla="*/ 5762732 w 6096001"/>
              <a:gd name="connsiteY2932" fmla="*/ 3612904 h 5392467"/>
              <a:gd name="connsiteX2933" fmla="*/ 5749192 w 6096001"/>
              <a:gd name="connsiteY2933" fmla="*/ 3607103 h 5392467"/>
              <a:gd name="connsiteX2934" fmla="*/ 5722114 w 6096001"/>
              <a:gd name="connsiteY2934" fmla="*/ 3605168 h 5392467"/>
              <a:gd name="connsiteX2935" fmla="*/ 5687300 w 6096001"/>
              <a:gd name="connsiteY2935" fmla="*/ 3616773 h 5392467"/>
              <a:gd name="connsiteX2936" fmla="*/ 5671829 w 6096001"/>
              <a:gd name="connsiteY2936" fmla="*/ 3610969 h 5392467"/>
              <a:gd name="connsiteX2937" fmla="*/ 5667959 w 6096001"/>
              <a:gd name="connsiteY2937" fmla="*/ 3614840 h 5392467"/>
              <a:gd name="connsiteX2938" fmla="*/ 5666026 w 6096001"/>
              <a:gd name="connsiteY2938" fmla="*/ 3624509 h 5392467"/>
              <a:gd name="connsiteX2939" fmla="*/ 5681499 w 6096001"/>
              <a:gd name="connsiteY2939" fmla="*/ 3628377 h 5392467"/>
              <a:gd name="connsiteX2940" fmla="*/ 5669894 w 6096001"/>
              <a:gd name="connsiteY2940" fmla="*/ 3632246 h 5392467"/>
              <a:gd name="connsiteX2941" fmla="*/ 5675697 w 6096001"/>
              <a:gd name="connsiteY2941" fmla="*/ 3636114 h 5392467"/>
              <a:gd name="connsiteX2942" fmla="*/ 5689235 w 6096001"/>
              <a:gd name="connsiteY2942" fmla="*/ 3653520 h 5392467"/>
              <a:gd name="connsiteX2943" fmla="*/ 5675697 w 6096001"/>
              <a:gd name="connsiteY2943" fmla="*/ 3659323 h 5392467"/>
              <a:gd name="connsiteX2944" fmla="*/ 5681499 w 6096001"/>
              <a:gd name="connsiteY2944" fmla="*/ 3665125 h 5392467"/>
              <a:gd name="connsiteX2945" fmla="*/ 5716313 w 6096001"/>
              <a:gd name="connsiteY2945" fmla="*/ 3657388 h 5392467"/>
              <a:gd name="connsiteX2946" fmla="*/ 5747259 w 6096001"/>
              <a:gd name="connsiteY2946" fmla="*/ 3653520 h 5392467"/>
              <a:gd name="connsiteX2947" fmla="*/ 5747259 w 6096001"/>
              <a:gd name="connsiteY2947" fmla="*/ 3663192 h 5392467"/>
              <a:gd name="connsiteX2948" fmla="*/ 5689235 w 6096001"/>
              <a:gd name="connsiteY2948" fmla="*/ 3670928 h 5392467"/>
              <a:gd name="connsiteX2949" fmla="*/ 5695036 w 6096001"/>
              <a:gd name="connsiteY2949" fmla="*/ 3676729 h 5392467"/>
              <a:gd name="connsiteX2950" fmla="*/ 5696972 w 6096001"/>
              <a:gd name="connsiteY2950" fmla="*/ 3678665 h 5392467"/>
              <a:gd name="connsiteX2951" fmla="*/ 5702773 w 6096001"/>
              <a:gd name="connsiteY2951" fmla="*/ 3678665 h 5392467"/>
              <a:gd name="connsiteX2952" fmla="*/ 5704708 w 6096001"/>
              <a:gd name="connsiteY2952" fmla="*/ 3684466 h 5392467"/>
              <a:gd name="connsiteX2953" fmla="*/ 5712445 w 6096001"/>
              <a:gd name="connsiteY2953" fmla="*/ 3684466 h 5392467"/>
              <a:gd name="connsiteX2954" fmla="*/ 5716313 w 6096001"/>
              <a:gd name="connsiteY2954" fmla="*/ 3692202 h 5392467"/>
              <a:gd name="connsiteX2955" fmla="*/ 5718246 w 6096001"/>
              <a:gd name="connsiteY2955" fmla="*/ 3692202 h 5392467"/>
              <a:gd name="connsiteX2956" fmla="*/ 5731784 w 6096001"/>
              <a:gd name="connsiteY2956" fmla="*/ 3686401 h 5392467"/>
              <a:gd name="connsiteX2957" fmla="*/ 5753060 w 6096001"/>
              <a:gd name="connsiteY2957" fmla="*/ 3686401 h 5392467"/>
              <a:gd name="connsiteX2958" fmla="*/ 5853635 w 6096001"/>
              <a:gd name="connsiteY2958" fmla="*/ 3668993 h 5392467"/>
              <a:gd name="connsiteX2959" fmla="*/ 5963876 w 6096001"/>
              <a:gd name="connsiteY2959" fmla="*/ 3670928 h 5392467"/>
              <a:gd name="connsiteX2960" fmla="*/ 5956142 w 6096001"/>
              <a:gd name="connsiteY2960" fmla="*/ 3678665 h 5392467"/>
              <a:gd name="connsiteX2961" fmla="*/ 5919393 w 6096001"/>
              <a:gd name="connsiteY2961" fmla="*/ 3686401 h 5392467"/>
              <a:gd name="connsiteX2962" fmla="*/ 5900051 w 6096001"/>
              <a:gd name="connsiteY2962" fmla="*/ 3682533 h 5392467"/>
              <a:gd name="connsiteX2963" fmla="*/ 5884578 w 6096001"/>
              <a:gd name="connsiteY2963" fmla="*/ 3686401 h 5392467"/>
              <a:gd name="connsiteX2964" fmla="*/ 5872976 w 6096001"/>
              <a:gd name="connsiteY2964" fmla="*/ 3684466 h 5392467"/>
              <a:gd name="connsiteX2965" fmla="*/ 5851699 w 6096001"/>
              <a:gd name="connsiteY2965" fmla="*/ 3684466 h 5392467"/>
              <a:gd name="connsiteX2966" fmla="*/ 5822689 w 6096001"/>
              <a:gd name="connsiteY2966" fmla="*/ 3686401 h 5392467"/>
              <a:gd name="connsiteX2967" fmla="*/ 5787874 w 6096001"/>
              <a:gd name="connsiteY2967" fmla="*/ 3696071 h 5392467"/>
              <a:gd name="connsiteX2968" fmla="*/ 5751125 w 6096001"/>
              <a:gd name="connsiteY2968" fmla="*/ 3699939 h 5392467"/>
              <a:gd name="connsiteX2969" fmla="*/ 5768533 w 6096001"/>
              <a:gd name="connsiteY2969" fmla="*/ 3703807 h 5392467"/>
              <a:gd name="connsiteX2970" fmla="*/ 5784006 w 6096001"/>
              <a:gd name="connsiteY2970" fmla="*/ 3705742 h 5392467"/>
              <a:gd name="connsiteX2971" fmla="*/ 5822689 w 6096001"/>
              <a:gd name="connsiteY2971" fmla="*/ 3713479 h 5392467"/>
              <a:gd name="connsiteX2972" fmla="*/ 5828490 w 6096001"/>
              <a:gd name="connsiteY2972" fmla="*/ 3715412 h 5392467"/>
              <a:gd name="connsiteX2973" fmla="*/ 5840095 w 6096001"/>
              <a:gd name="connsiteY2973" fmla="*/ 3719280 h 5392467"/>
              <a:gd name="connsiteX2974" fmla="*/ 5851699 w 6096001"/>
              <a:gd name="connsiteY2974" fmla="*/ 3728950 h 5392467"/>
              <a:gd name="connsiteX2975" fmla="*/ 5853635 w 6096001"/>
              <a:gd name="connsiteY2975" fmla="*/ 3748291 h 5392467"/>
              <a:gd name="connsiteX2976" fmla="*/ 5843963 w 6096001"/>
              <a:gd name="connsiteY2976" fmla="*/ 3750226 h 5392467"/>
              <a:gd name="connsiteX2977" fmla="*/ 5847831 w 6096001"/>
              <a:gd name="connsiteY2977" fmla="*/ 3738621 h 5392467"/>
              <a:gd name="connsiteX2978" fmla="*/ 5826557 w 6096001"/>
              <a:gd name="connsiteY2978" fmla="*/ 3725084 h 5392467"/>
              <a:gd name="connsiteX2979" fmla="*/ 5816885 w 6096001"/>
              <a:gd name="connsiteY2979" fmla="*/ 3721213 h 5392467"/>
              <a:gd name="connsiteX2980" fmla="*/ 5803347 w 6096001"/>
              <a:gd name="connsiteY2980" fmla="*/ 3715412 h 5392467"/>
              <a:gd name="connsiteX2981" fmla="*/ 5754993 w 6096001"/>
              <a:gd name="connsiteY2981" fmla="*/ 3713479 h 5392467"/>
              <a:gd name="connsiteX2982" fmla="*/ 5737587 w 6096001"/>
              <a:gd name="connsiteY2982" fmla="*/ 3711544 h 5392467"/>
              <a:gd name="connsiteX2983" fmla="*/ 5743391 w 6096001"/>
              <a:gd name="connsiteY2983" fmla="*/ 3709608 h 5392467"/>
              <a:gd name="connsiteX2984" fmla="*/ 5743391 w 6096001"/>
              <a:gd name="connsiteY2984" fmla="*/ 3707675 h 5392467"/>
              <a:gd name="connsiteX2985" fmla="*/ 5729851 w 6096001"/>
              <a:gd name="connsiteY2985" fmla="*/ 3707675 h 5392467"/>
              <a:gd name="connsiteX2986" fmla="*/ 5689235 w 6096001"/>
              <a:gd name="connsiteY2986" fmla="*/ 3717345 h 5392467"/>
              <a:gd name="connsiteX2987" fmla="*/ 5685367 w 6096001"/>
              <a:gd name="connsiteY2987" fmla="*/ 3723148 h 5392467"/>
              <a:gd name="connsiteX2988" fmla="*/ 5683432 w 6096001"/>
              <a:gd name="connsiteY2988" fmla="*/ 3730885 h 5392467"/>
              <a:gd name="connsiteX2989" fmla="*/ 5660224 w 6096001"/>
              <a:gd name="connsiteY2989" fmla="*/ 3725084 h 5392467"/>
              <a:gd name="connsiteX2990" fmla="*/ 5654421 w 6096001"/>
              <a:gd name="connsiteY2990" fmla="*/ 3728950 h 5392467"/>
              <a:gd name="connsiteX2991" fmla="*/ 5644749 w 6096001"/>
              <a:gd name="connsiteY2991" fmla="*/ 3736686 h 5392467"/>
              <a:gd name="connsiteX2992" fmla="*/ 5631211 w 6096001"/>
              <a:gd name="connsiteY2992" fmla="*/ 3738621 h 5392467"/>
              <a:gd name="connsiteX2993" fmla="*/ 5606069 w 6096001"/>
              <a:gd name="connsiteY2993" fmla="*/ 3742490 h 5392467"/>
              <a:gd name="connsiteX2994" fmla="*/ 5666026 w 6096001"/>
              <a:gd name="connsiteY2994" fmla="*/ 3736686 h 5392467"/>
              <a:gd name="connsiteX2995" fmla="*/ 5695036 w 6096001"/>
              <a:gd name="connsiteY2995" fmla="*/ 3736686 h 5392467"/>
              <a:gd name="connsiteX2996" fmla="*/ 5695036 w 6096001"/>
              <a:gd name="connsiteY2996" fmla="*/ 3740554 h 5392467"/>
              <a:gd name="connsiteX2997" fmla="*/ 5621542 w 6096001"/>
              <a:gd name="connsiteY2997" fmla="*/ 3769567 h 5392467"/>
              <a:gd name="connsiteX2998" fmla="*/ 5553849 w 6096001"/>
              <a:gd name="connsiteY2998" fmla="*/ 3781172 h 5392467"/>
              <a:gd name="connsiteX2999" fmla="*/ 5598332 w 6096001"/>
              <a:gd name="connsiteY2999" fmla="*/ 3779237 h 5392467"/>
              <a:gd name="connsiteX3000" fmla="*/ 5573190 w 6096001"/>
              <a:gd name="connsiteY3000" fmla="*/ 3792777 h 5392467"/>
              <a:gd name="connsiteX3001" fmla="*/ 5557714 w 6096001"/>
              <a:gd name="connsiteY3001" fmla="*/ 3806315 h 5392467"/>
              <a:gd name="connsiteX3002" fmla="*/ 5629278 w 6096001"/>
              <a:gd name="connsiteY3002" fmla="*/ 3806315 h 5392467"/>
              <a:gd name="connsiteX3003" fmla="*/ 5650553 w 6096001"/>
              <a:gd name="connsiteY3003" fmla="*/ 3804379 h 5392467"/>
              <a:gd name="connsiteX3004" fmla="*/ 5646684 w 6096001"/>
              <a:gd name="connsiteY3004" fmla="*/ 3812118 h 5392467"/>
              <a:gd name="connsiteX3005" fmla="*/ 5656356 w 6096001"/>
              <a:gd name="connsiteY3005" fmla="*/ 3814051 h 5392467"/>
              <a:gd name="connsiteX3006" fmla="*/ 5669894 w 6096001"/>
              <a:gd name="connsiteY3006" fmla="*/ 3819852 h 5392467"/>
              <a:gd name="connsiteX3007" fmla="*/ 5675697 w 6096001"/>
              <a:gd name="connsiteY3007" fmla="*/ 3808248 h 5392467"/>
              <a:gd name="connsiteX3008" fmla="*/ 5691168 w 6096001"/>
              <a:gd name="connsiteY3008" fmla="*/ 3804379 h 5392467"/>
              <a:gd name="connsiteX3009" fmla="*/ 5687300 w 6096001"/>
              <a:gd name="connsiteY3009" fmla="*/ 3804379 h 5392467"/>
              <a:gd name="connsiteX3010" fmla="*/ 5669894 w 6096001"/>
              <a:gd name="connsiteY3010" fmla="*/ 3802446 h 5392467"/>
              <a:gd name="connsiteX3011" fmla="*/ 5718246 w 6096001"/>
              <a:gd name="connsiteY3011" fmla="*/ 3796643 h 5392467"/>
              <a:gd name="connsiteX3012" fmla="*/ 5762732 w 6096001"/>
              <a:gd name="connsiteY3012" fmla="*/ 3786973 h 5392467"/>
              <a:gd name="connsiteX3013" fmla="*/ 5820753 w 6096001"/>
              <a:gd name="connsiteY3013" fmla="*/ 3781172 h 5392467"/>
              <a:gd name="connsiteX3014" fmla="*/ 5828490 w 6096001"/>
              <a:gd name="connsiteY3014" fmla="*/ 3783105 h 5392467"/>
              <a:gd name="connsiteX3015" fmla="*/ 5832358 w 6096001"/>
              <a:gd name="connsiteY3015" fmla="*/ 3796643 h 5392467"/>
              <a:gd name="connsiteX3016" fmla="*/ 5867172 w 6096001"/>
              <a:gd name="connsiteY3016" fmla="*/ 3796643 h 5392467"/>
              <a:gd name="connsiteX3017" fmla="*/ 5847831 w 6096001"/>
              <a:gd name="connsiteY3017" fmla="*/ 3804379 h 5392467"/>
              <a:gd name="connsiteX3018" fmla="*/ 5826557 w 6096001"/>
              <a:gd name="connsiteY3018" fmla="*/ 3808248 h 5392467"/>
              <a:gd name="connsiteX3019" fmla="*/ 5805280 w 6096001"/>
              <a:gd name="connsiteY3019" fmla="*/ 3814051 h 5392467"/>
              <a:gd name="connsiteX3020" fmla="*/ 5784006 w 6096001"/>
              <a:gd name="connsiteY3020" fmla="*/ 3817919 h 5392467"/>
              <a:gd name="connsiteX3021" fmla="*/ 5762732 w 6096001"/>
              <a:gd name="connsiteY3021" fmla="*/ 3823721 h 5392467"/>
              <a:gd name="connsiteX3022" fmla="*/ 5739522 w 6096001"/>
              <a:gd name="connsiteY3022" fmla="*/ 3823721 h 5392467"/>
              <a:gd name="connsiteX3023" fmla="*/ 5768533 w 6096001"/>
              <a:gd name="connsiteY3023" fmla="*/ 3831457 h 5392467"/>
              <a:gd name="connsiteX3024" fmla="*/ 5764665 w 6096001"/>
              <a:gd name="connsiteY3024" fmla="*/ 3833393 h 5392467"/>
              <a:gd name="connsiteX3025" fmla="*/ 5774334 w 6096001"/>
              <a:gd name="connsiteY3025" fmla="*/ 3833393 h 5392467"/>
              <a:gd name="connsiteX3026" fmla="*/ 5747259 w 6096001"/>
              <a:gd name="connsiteY3026" fmla="*/ 3839194 h 5392467"/>
              <a:gd name="connsiteX3027" fmla="*/ 5689235 w 6096001"/>
              <a:gd name="connsiteY3027" fmla="*/ 3848866 h 5392467"/>
              <a:gd name="connsiteX3028" fmla="*/ 5671829 w 6096001"/>
              <a:gd name="connsiteY3028" fmla="*/ 3852734 h 5392467"/>
              <a:gd name="connsiteX3029" fmla="*/ 5646684 w 6096001"/>
              <a:gd name="connsiteY3029" fmla="*/ 3854667 h 5392467"/>
              <a:gd name="connsiteX3030" fmla="*/ 5642816 w 6096001"/>
              <a:gd name="connsiteY3030" fmla="*/ 3860470 h 5392467"/>
              <a:gd name="connsiteX3031" fmla="*/ 5644749 w 6096001"/>
              <a:gd name="connsiteY3031" fmla="*/ 3862403 h 5392467"/>
              <a:gd name="connsiteX3032" fmla="*/ 5679566 w 6096001"/>
              <a:gd name="connsiteY3032" fmla="*/ 3856602 h 5392467"/>
              <a:gd name="connsiteX3033" fmla="*/ 5660224 w 6096001"/>
              <a:gd name="connsiteY3033" fmla="*/ 3866272 h 5392467"/>
              <a:gd name="connsiteX3034" fmla="*/ 5650553 w 6096001"/>
              <a:gd name="connsiteY3034" fmla="*/ 3868207 h 5392467"/>
              <a:gd name="connsiteX3035" fmla="*/ 5654421 w 6096001"/>
              <a:gd name="connsiteY3035" fmla="*/ 3870140 h 5392467"/>
              <a:gd name="connsiteX3036" fmla="*/ 5666026 w 6096001"/>
              <a:gd name="connsiteY3036" fmla="*/ 3874008 h 5392467"/>
              <a:gd name="connsiteX3037" fmla="*/ 5679566 w 6096001"/>
              <a:gd name="connsiteY3037" fmla="*/ 3872075 h 5392467"/>
              <a:gd name="connsiteX3038" fmla="*/ 5785941 w 6096001"/>
              <a:gd name="connsiteY3038" fmla="*/ 3854667 h 5392467"/>
              <a:gd name="connsiteX3039" fmla="*/ 5811084 w 6096001"/>
              <a:gd name="connsiteY3039" fmla="*/ 3852734 h 5392467"/>
              <a:gd name="connsiteX3040" fmla="*/ 5820753 w 6096001"/>
              <a:gd name="connsiteY3040" fmla="*/ 3856602 h 5392467"/>
              <a:gd name="connsiteX3041" fmla="*/ 5811084 w 6096001"/>
              <a:gd name="connsiteY3041" fmla="*/ 3858535 h 5392467"/>
              <a:gd name="connsiteX3042" fmla="*/ 5869108 w 6096001"/>
              <a:gd name="connsiteY3042" fmla="*/ 3850798 h 5392467"/>
              <a:gd name="connsiteX3043" fmla="*/ 5913591 w 6096001"/>
              <a:gd name="connsiteY3043" fmla="*/ 3846930 h 5392467"/>
              <a:gd name="connsiteX3044" fmla="*/ 5907788 w 6096001"/>
              <a:gd name="connsiteY3044" fmla="*/ 3854667 h 5392467"/>
              <a:gd name="connsiteX3045" fmla="*/ 5836226 w 6096001"/>
              <a:gd name="connsiteY3045" fmla="*/ 3866272 h 5392467"/>
              <a:gd name="connsiteX3046" fmla="*/ 5778203 w 6096001"/>
              <a:gd name="connsiteY3046" fmla="*/ 3872075 h 5392467"/>
              <a:gd name="connsiteX3047" fmla="*/ 5722114 w 6096001"/>
              <a:gd name="connsiteY3047" fmla="*/ 3881745 h 5392467"/>
              <a:gd name="connsiteX3048" fmla="*/ 5679566 w 6096001"/>
              <a:gd name="connsiteY3048" fmla="*/ 3883677 h 5392467"/>
              <a:gd name="connsiteX3049" fmla="*/ 5669894 w 6096001"/>
              <a:gd name="connsiteY3049" fmla="*/ 3887548 h 5392467"/>
              <a:gd name="connsiteX3050" fmla="*/ 5646684 w 6096001"/>
              <a:gd name="connsiteY3050" fmla="*/ 3895282 h 5392467"/>
              <a:gd name="connsiteX3051" fmla="*/ 5708576 w 6096001"/>
              <a:gd name="connsiteY3051" fmla="*/ 3889481 h 5392467"/>
              <a:gd name="connsiteX3052" fmla="*/ 5727918 w 6096001"/>
              <a:gd name="connsiteY3052" fmla="*/ 3883677 h 5392467"/>
              <a:gd name="connsiteX3053" fmla="*/ 5756928 w 6096001"/>
              <a:gd name="connsiteY3053" fmla="*/ 3881745 h 5392467"/>
              <a:gd name="connsiteX3054" fmla="*/ 5803347 w 6096001"/>
              <a:gd name="connsiteY3054" fmla="*/ 3874008 h 5392467"/>
              <a:gd name="connsiteX3055" fmla="*/ 5826557 w 6096001"/>
              <a:gd name="connsiteY3055" fmla="*/ 3872075 h 5392467"/>
              <a:gd name="connsiteX3056" fmla="*/ 5820753 w 6096001"/>
              <a:gd name="connsiteY3056" fmla="*/ 3875943 h 5392467"/>
              <a:gd name="connsiteX3057" fmla="*/ 5776270 w 6096001"/>
              <a:gd name="connsiteY3057" fmla="*/ 3885613 h 5392467"/>
              <a:gd name="connsiteX3058" fmla="*/ 5725982 w 6096001"/>
              <a:gd name="connsiteY3058" fmla="*/ 3895282 h 5392467"/>
              <a:gd name="connsiteX3059" fmla="*/ 5698907 w 6096001"/>
              <a:gd name="connsiteY3059" fmla="*/ 3899153 h 5392467"/>
              <a:gd name="connsiteX3060" fmla="*/ 5700840 w 6096001"/>
              <a:gd name="connsiteY3060" fmla="*/ 3895282 h 5392467"/>
              <a:gd name="connsiteX3061" fmla="*/ 5654421 w 6096001"/>
              <a:gd name="connsiteY3061" fmla="*/ 3904954 h 5392467"/>
              <a:gd name="connsiteX3062" fmla="*/ 5656356 w 6096001"/>
              <a:gd name="connsiteY3062" fmla="*/ 3904954 h 5392467"/>
              <a:gd name="connsiteX3063" fmla="*/ 5693103 w 6096001"/>
              <a:gd name="connsiteY3063" fmla="*/ 3910755 h 5392467"/>
              <a:gd name="connsiteX3064" fmla="*/ 5704708 w 6096001"/>
              <a:gd name="connsiteY3064" fmla="*/ 3910755 h 5392467"/>
              <a:gd name="connsiteX3065" fmla="*/ 5704708 w 6096001"/>
              <a:gd name="connsiteY3065" fmla="*/ 3914624 h 5392467"/>
              <a:gd name="connsiteX3066" fmla="*/ 5706641 w 6096001"/>
              <a:gd name="connsiteY3066" fmla="*/ 3920427 h 5392467"/>
              <a:gd name="connsiteX3067" fmla="*/ 5695036 w 6096001"/>
              <a:gd name="connsiteY3067" fmla="*/ 3928164 h 5392467"/>
              <a:gd name="connsiteX3068" fmla="*/ 5727918 w 6096001"/>
              <a:gd name="connsiteY3068" fmla="*/ 3922360 h 5392467"/>
              <a:gd name="connsiteX3069" fmla="*/ 5725982 w 6096001"/>
              <a:gd name="connsiteY3069" fmla="*/ 3920427 h 5392467"/>
              <a:gd name="connsiteX3070" fmla="*/ 5778203 w 6096001"/>
              <a:gd name="connsiteY3070" fmla="*/ 3906887 h 5392467"/>
              <a:gd name="connsiteX3071" fmla="*/ 5774334 w 6096001"/>
              <a:gd name="connsiteY3071" fmla="*/ 3910755 h 5392467"/>
              <a:gd name="connsiteX3072" fmla="*/ 5764665 w 6096001"/>
              <a:gd name="connsiteY3072" fmla="*/ 3912691 h 5392467"/>
              <a:gd name="connsiteX3073" fmla="*/ 5756928 w 6096001"/>
              <a:gd name="connsiteY3073" fmla="*/ 3914624 h 5392467"/>
              <a:gd name="connsiteX3074" fmla="*/ 5745324 w 6096001"/>
              <a:gd name="connsiteY3074" fmla="*/ 3918492 h 5392467"/>
              <a:gd name="connsiteX3075" fmla="*/ 5743391 w 6096001"/>
              <a:gd name="connsiteY3075" fmla="*/ 3918492 h 5392467"/>
              <a:gd name="connsiteX3076" fmla="*/ 5720181 w 6096001"/>
              <a:gd name="connsiteY3076" fmla="*/ 3932032 h 5392467"/>
              <a:gd name="connsiteX3077" fmla="*/ 5687300 w 6096001"/>
              <a:gd name="connsiteY3077" fmla="*/ 3941701 h 5392467"/>
              <a:gd name="connsiteX3078" fmla="*/ 5712445 w 6096001"/>
              <a:gd name="connsiteY3078" fmla="*/ 3943637 h 5392467"/>
              <a:gd name="connsiteX3079" fmla="*/ 5706641 w 6096001"/>
              <a:gd name="connsiteY3079" fmla="*/ 3947505 h 5392467"/>
              <a:gd name="connsiteX3080" fmla="*/ 5693103 w 6096001"/>
              <a:gd name="connsiteY3080" fmla="*/ 3949438 h 5392467"/>
              <a:gd name="connsiteX3081" fmla="*/ 5687300 w 6096001"/>
              <a:gd name="connsiteY3081" fmla="*/ 3961043 h 5392467"/>
              <a:gd name="connsiteX3082" fmla="*/ 5698907 w 6096001"/>
              <a:gd name="connsiteY3082" fmla="*/ 3968779 h 5392467"/>
              <a:gd name="connsiteX3083" fmla="*/ 5712445 w 6096001"/>
              <a:gd name="connsiteY3083" fmla="*/ 3974583 h 5392467"/>
              <a:gd name="connsiteX3084" fmla="*/ 5702773 w 6096001"/>
              <a:gd name="connsiteY3084" fmla="*/ 3984252 h 5392467"/>
              <a:gd name="connsiteX3085" fmla="*/ 5693103 w 6096001"/>
              <a:gd name="connsiteY3085" fmla="*/ 3988120 h 5392467"/>
              <a:gd name="connsiteX3086" fmla="*/ 5671829 w 6096001"/>
              <a:gd name="connsiteY3086" fmla="*/ 3982319 h 5392467"/>
              <a:gd name="connsiteX3087" fmla="*/ 5635080 w 6096001"/>
              <a:gd name="connsiteY3087" fmla="*/ 3978449 h 5392467"/>
              <a:gd name="connsiteX3088" fmla="*/ 5623475 w 6096001"/>
              <a:gd name="connsiteY3088" fmla="*/ 3978449 h 5392467"/>
              <a:gd name="connsiteX3089" fmla="*/ 5617674 w 6096001"/>
              <a:gd name="connsiteY3089" fmla="*/ 3980384 h 5392467"/>
              <a:gd name="connsiteX3090" fmla="*/ 5598332 w 6096001"/>
              <a:gd name="connsiteY3090" fmla="*/ 3986187 h 5392467"/>
              <a:gd name="connsiteX3091" fmla="*/ 5580924 w 6096001"/>
              <a:gd name="connsiteY3091" fmla="*/ 3986187 h 5392467"/>
              <a:gd name="connsiteX3092" fmla="*/ 5578991 w 6096001"/>
              <a:gd name="connsiteY3092" fmla="*/ 3986187 h 5392467"/>
              <a:gd name="connsiteX3093" fmla="*/ 5563518 w 6096001"/>
              <a:gd name="connsiteY3093" fmla="*/ 3990053 h 5392467"/>
              <a:gd name="connsiteX3094" fmla="*/ 5519034 w 6096001"/>
              <a:gd name="connsiteY3094" fmla="*/ 4001658 h 5392467"/>
              <a:gd name="connsiteX3095" fmla="*/ 5515166 w 6096001"/>
              <a:gd name="connsiteY3095" fmla="*/ 4003593 h 5392467"/>
              <a:gd name="connsiteX3096" fmla="*/ 5526771 w 6096001"/>
              <a:gd name="connsiteY3096" fmla="*/ 4001658 h 5392467"/>
              <a:gd name="connsiteX3097" fmla="*/ 5538376 w 6096001"/>
              <a:gd name="connsiteY3097" fmla="*/ 4009395 h 5392467"/>
              <a:gd name="connsiteX3098" fmla="*/ 5540308 w 6096001"/>
              <a:gd name="connsiteY3098" fmla="*/ 4009395 h 5392467"/>
              <a:gd name="connsiteX3099" fmla="*/ 5577056 w 6096001"/>
              <a:gd name="connsiteY3099" fmla="*/ 4007462 h 5392467"/>
              <a:gd name="connsiteX3100" fmla="*/ 5586728 w 6096001"/>
              <a:gd name="connsiteY3100" fmla="*/ 4005526 h 5392467"/>
              <a:gd name="connsiteX3101" fmla="*/ 5606069 w 6096001"/>
              <a:gd name="connsiteY3101" fmla="*/ 4007462 h 5392467"/>
              <a:gd name="connsiteX3102" fmla="*/ 5627343 w 6096001"/>
              <a:gd name="connsiteY3102" fmla="*/ 4001658 h 5392467"/>
              <a:gd name="connsiteX3103" fmla="*/ 5700840 w 6096001"/>
              <a:gd name="connsiteY3103" fmla="*/ 3988120 h 5392467"/>
              <a:gd name="connsiteX3104" fmla="*/ 5712445 w 6096001"/>
              <a:gd name="connsiteY3104" fmla="*/ 3986187 h 5392467"/>
              <a:gd name="connsiteX3105" fmla="*/ 5696972 w 6096001"/>
              <a:gd name="connsiteY3105" fmla="*/ 3997790 h 5392467"/>
              <a:gd name="connsiteX3106" fmla="*/ 5693103 w 6096001"/>
              <a:gd name="connsiteY3106" fmla="*/ 3999725 h 5392467"/>
              <a:gd name="connsiteX3107" fmla="*/ 5710509 w 6096001"/>
              <a:gd name="connsiteY3107" fmla="*/ 4001658 h 5392467"/>
              <a:gd name="connsiteX3108" fmla="*/ 5753060 w 6096001"/>
              <a:gd name="connsiteY3108" fmla="*/ 4007462 h 5392467"/>
              <a:gd name="connsiteX3109" fmla="*/ 5758864 w 6096001"/>
              <a:gd name="connsiteY3109" fmla="*/ 4011330 h 5392467"/>
              <a:gd name="connsiteX3110" fmla="*/ 5760797 w 6096001"/>
              <a:gd name="connsiteY3110" fmla="*/ 4017131 h 5392467"/>
              <a:gd name="connsiteX3111" fmla="*/ 5743391 w 6096001"/>
              <a:gd name="connsiteY3111" fmla="*/ 4028736 h 5392467"/>
              <a:gd name="connsiteX3112" fmla="*/ 5698907 w 6096001"/>
              <a:gd name="connsiteY3112" fmla="*/ 4028736 h 5392467"/>
              <a:gd name="connsiteX3113" fmla="*/ 5716313 w 6096001"/>
              <a:gd name="connsiteY3113" fmla="*/ 4030671 h 5392467"/>
              <a:gd name="connsiteX3114" fmla="*/ 5733719 w 6096001"/>
              <a:gd name="connsiteY3114" fmla="*/ 4034539 h 5392467"/>
              <a:gd name="connsiteX3115" fmla="*/ 5727918 w 6096001"/>
              <a:gd name="connsiteY3115" fmla="*/ 4038408 h 5392467"/>
              <a:gd name="connsiteX3116" fmla="*/ 5679566 w 6096001"/>
              <a:gd name="connsiteY3116" fmla="*/ 4040341 h 5392467"/>
              <a:gd name="connsiteX3117" fmla="*/ 5658289 w 6096001"/>
              <a:gd name="connsiteY3117" fmla="*/ 4036472 h 5392467"/>
              <a:gd name="connsiteX3118" fmla="*/ 5635080 w 6096001"/>
              <a:gd name="connsiteY3118" fmla="*/ 4038408 h 5392467"/>
              <a:gd name="connsiteX3119" fmla="*/ 5604133 w 6096001"/>
              <a:gd name="connsiteY3119" fmla="*/ 4044209 h 5392467"/>
              <a:gd name="connsiteX3120" fmla="*/ 5515166 w 6096001"/>
              <a:gd name="connsiteY3120" fmla="*/ 4048077 h 5392467"/>
              <a:gd name="connsiteX3121" fmla="*/ 5484220 w 6096001"/>
              <a:gd name="connsiteY3121" fmla="*/ 4059682 h 5392467"/>
              <a:gd name="connsiteX3122" fmla="*/ 5462946 w 6096001"/>
              <a:gd name="connsiteY3122" fmla="*/ 4065483 h 5392467"/>
              <a:gd name="connsiteX3123" fmla="*/ 5437803 w 6096001"/>
              <a:gd name="connsiteY3123" fmla="*/ 4071287 h 5392467"/>
              <a:gd name="connsiteX3124" fmla="*/ 5412658 w 6096001"/>
              <a:gd name="connsiteY3124" fmla="*/ 4077088 h 5392467"/>
              <a:gd name="connsiteX3125" fmla="*/ 5389449 w 6096001"/>
              <a:gd name="connsiteY3125" fmla="*/ 4084824 h 5392467"/>
              <a:gd name="connsiteX3126" fmla="*/ 5368175 w 6096001"/>
              <a:gd name="connsiteY3126" fmla="*/ 4090628 h 5392467"/>
              <a:gd name="connsiteX3127" fmla="*/ 5323689 w 6096001"/>
              <a:gd name="connsiteY3127" fmla="*/ 4102233 h 5392467"/>
              <a:gd name="connsiteX3128" fmla="*/ 5302414 w 6096001"/>
              <a:gd name="connsiteY3128" fmla="*/ 4104166 h 5392467"/>
              <a:gd name="connsiteX3129" fmla="*/ 5298546 w 6096001"/>
              <a:gd name="connsiteY3129" fmla="*/ 4102233 h 5392467"/>
              <a:gd name="connsiteX3130" fmla="*/ 5292745 w 6096001"/>
              <a:gd name="connsiteY3130" fmla="*/ 4104166 h 5392467"/>
              <a:gd name="connsiteX3131" fmla="*/ 5259864 w 6096001"/>
              <a:gd name="connsiteY3131" fmla="*/ 4119639 h 5392467"/>
              <a:gd name="connsiteX3132" fmla="*/ 5250194 w 6096001"/>
              <a:gd name="connsiteY3132" fmla="*/ 4117706 h 5392467"/>
              <a:gd name="connsiteX3133" fmla="*/ 5253096 w 6096001"/>
              <a:gd name="connsiteY3133" fmla="*/ 4114805 h 5392467"/>
              <a:gd name="connsiteX3134" fmla="*/ 5255995 w 6096001"/>
              <a:gd name="connsiteY3134" fmla="*/ 4113838 h 5392467"/>
              <a:gd name="connsiteX3135" fmla="*/ 5254062 w 6096001"/>
              <a:gd name="connsiteY3135" fmla="*/ 4113838 h 5392467"/>
              <a:gd name="connsiteX3136" fmla="*/ 5253096 w 6096001"/>
              <a:gd name="connsiteY3136" fmla="*/ 4114805 h 5392467"/>
              <a:gd name="connsiteX3137" fmla="*/ 5246050 w 6096001"/>
              <a:gd name="connsiteY3137" fmla="*/ 4117154 h 5392467"/>
              <a:gd name="connsiteX3138" fmla="*/ 5244393 w 6096001"/>
              <a:gd name="connsiteY3138" fmla="*/ 4113838 h 5392467"/>
              <a:gd name="connsiteX3139" fmla="*/ 5242458 w 6096001"/>
              <a:gd name="connsiteY3139" fmla="*/ 4113838 h 5392467"/>
              <a:gd name="connsiteX3140" fmla="*/ 5242458 w 6096001"/>
              <a:gd name="connsiteY3140" fmla="*/ 4118672 h 5392467"/>
              <a:gd name="connsiteX3141" fmla="*/ 5240522 w 6096001"/>
              <a:gd name="connsiteY3141" fmla="*/ 4119639 h 5392467"/>
              <a:gd name="connsiteX3142" fmla="*/ 5242458 w 6096001"/>
              <a:gd name="connsiteY3142" fmla="*/ 4119639 h 5392467"/>
              <a:gd name="connsiteX3143" fmla="*/ 5246326 w 6096001"/>
              <a:gd name="connsiteY3143" fmla="*/ 4123507 h 5392467"/>
              <a:gd name="connsiteX3144" fmla="*/ 5238589 w 6096001"/>
              <a:gd name="connsiteY3144" fmla="*/ 4129311 h 5392467"/>
              <a:gd name="connsiteX3145" fmla="*/ 5223116 w 6096001"/>
              <a:gd name="connsiteY3145" fmla="*/ 4133179 h 5392467"/>
              <a:gd name="connsiteX3146" fmla="*/ 5219248 w 6096001"/>
              <a:gd name="connsiteY3146" fmla="*/ 4135112 h 5392467"/>
              <a:gd name="connsiteX3147" fmla="*/ 5197974 w 6096001"/>
              <a:gd name="connsiteY3147" fmla="*/ 4138980 h 5392467"/>
              <a:gd name="connsiteX3148" fmla="*/ 5180566 w 6096001"/>
              <a:gd name="connsiteY3148" fmla="*/ 4148652 h 5392467"/>
              <a:gd name="connsiteX3149" fmla="*/ 5174764 w 6096001"/>
              <a:gd name="connsiteY3149" fmla="*/ 4156388 h 5392467"/>
              <a:gd name="connsiteX3150" fmla="*/ 5101268 w 6096001"/>
              <a:gd name="connsiteY3150" fmla="*/ 4189267 h 5392467"/>
              <a:gd name="connsiteX3151" fmla="*/ 5095466 w 6096001"/>
              <a:gd name="connsiteY3151" fmla="*/ 4191200 h 5392467"/>
              <a:gd name="connsiteX3152" fmla="*/ 5049047 w 6096001"/>
              <a:gd name="connsiteY3152" fmla="*/ 4214410 h 5392467"/>
              <a:gd name="connsiteX3153" fmla="*/ 5035507 w 6096001"/>
              <a:gd name="connsiteY3153" fmla="*/ 4224082 h 5392467"/>
              <a:gd name="connsiteX3154" fmla="*/ 5014233 w 6096001"/>
              <a:gd name="connsiteY3154" fmla="*/ 4241488 h 5392467"/>
              <a:gd name="connsiteX3155" fmla="*/ 5058717 w 6096001"/>
              <a:gd name="connsiteY3155" fmla="*/ 4229883 h 5392467"/>
              <a:gd name="connsiteX3156" fmla="*/ 5085794 w 6096001"/>
              <a:gd name="connsiteY3156" fmla="*/ 4220214 h 5392467"/>
              <a:gd name="connsiteX3157" fmla="*/ 5093531 w 6096001"/>
              <a:gd name="connsiteY3157" fmla="*/ 4218278 h 5392467"/>
              <a:gd name="connsiteX3158" fmla="*/ 5161224 w 6096001"/>
              <a:gd name="connsiteY3158" fmla="*/ 4197004 h 5392467"/>
              <a:gd name="connsiteX3159" fmla="*/ 5180566 w 6096001"/>
              <a:gd name="connsiteY3159" fmla="*/ 4195069 h 5392467"/>
              <a:gd name="connsiteX3160" fmla="*/ 5211512 w 6096001"/>
              <a:gd name="connsiteY3160" fmla="*/ 4181531 h 5392467"/>
              <a:gd name="connsiteX3161" fmla="*/ 5267600 w 6096001"/>
              <a:gd name="connsiteY3161" fmla="*/ 4162190 h 5392467"/>
              <a:gd name="connsiteX3162" fmla="*/ 5300479 w 6096001"/>
              <a:gd name="connsiteY3162" fmla="*/ 4154453 h 5392467"/>
              <a:gd name="connsiteX3163" fmla="*/ 5288877 w 6096001"/>
              <a:gd name="connsiteY3163" fmla="*/ 4166058 h 5392467"/>
              <a:gd name="connsiteX3164" fmla="*/ 5304350 w 6096001"/>
              <a:gd name="connsiteY3164" fmla="*/ 4166058 h 5392467"/>
              <a:gd name="connsiteX3165" fmla="*/ 5302414 w 6096001"/>
              <a:gd name="connsiteY3165" fmla="*/ 4177663 h 5392467"/>
              <a:gd name="connsiteX3166" fmla="*/ 5292745 w 6096001"/>
              <a:gd name="connsiteY3166" fmla="*/ 4173794 h 5392467"/>
              <a:gd name="connsiteX3167" fmla="*/ 5288877 w 6096001"/>
              <a:gd name="connsiteY3167" fmla="*/ 4175727 h 5392467"/>
              <a:gd name="connsiteX3168" fmla="*/ 5261799 w 6096001"/>
              <a:gd name="connsiteY3168" fmla="*/ 4197004 h 5392467"/>
              <a:gd name="connsiteX3169" fmla="*/ 5192170 w 6096001"/>
              <a:gd name="connsiteY3169" fmla="*/ 4218278 h 5392467"/>
              <a:gd name="connsiteX3170" fmla="*/ 5182501 w 6096001"/>
              <a:gd name="connsiteY3170" fmla="*/ 4214410 h 5392467"/>
              <a:gd name="connsiteX3171" fmla="*/ 5149620 w 6096001"/>
              <a:gd name="connsiteY3171" fmla="*/ 4222146 h 5392467"/>
              <a:gd name="connsiteX3172" fmla="*/ 5132214 w 6096001"/>
              <a:gd name="connsiteY3172" fmla="*/ 4231818 h 5392467"/>
              <a:gd name="connsiteX3173" fmla="*/ 5112872 w 6096001"/>
              <a:gd name="connsiteY3173" fmla="*/ 4243423 h 5392467"/>
              <a:gd name="connsiteX3174" fmla="*/ 5130281 w 6096001"/>
              <a:gd name="connsiteY3174" fmla="*/ 4239552 h 5392467"/>
              <a:gd name="connsiteX3175" fmla="*/ 5109004 w 6096001"/>
              <a:gd name="connsiteY3175" fmla="*/ 4251157 h 5392467"/>
              <a:gd name="connsiteX3176" fmla="*/ 5101268 w 6096001"/>
              <a:gd name="connsiteY3176" fmla="*/ 4249224 h 5392467"/>
              <a:gd name="connsiteX3177" fmla="*/ 5085794 w 6096001"/>
              <a:gd name="connsiteY3177" fmla="*/ 4255028 h 5392467"/>
              <a:gd name="connsiteX3178" fmla="*/ 5085794 w 6096001"/>
              <a:gd name="connsiteY3178" fmla="*/ 4256961 h 5392467"/>
              <a:gd name="connsiteX3179" fmla="*/ 5066453 w 6096001"/>
              <a:gd name="connsiteY3179" fmla="*/ 4262762 h 5392467"/>
              <a:gd name="connsiteX3180" fmla="*/ 5068389 w 6096001"/>
              <a:gd name="connsiteY3180" fmla="*/ 4260829 h 5392467"/>
              <a:gd name="connsiteX3181" fmla="*/ 5025838 w 6096001"/>
              <a:gd name="connsiteY3181" fmla="*/ 4276302 h 5392467"/>
              <a:gd name="connsiteX3182" fmla="*/ 4944607 w 6096001"/>
              <a:gd name="connsiteY3182" fmla="*/ 4307248 h 5392467"/>
              <a:gd name="connsiteX3183" fmla="*/ 4828559 w 6096001"/>
              <a:gd name="connsiteY3183" fmla="*/ 4351732 h 5392467"/>
              <a:gd name="connsiteX3184" fmla="*/ 4805350 w 6096001"/>
              <a:gd name="connsiteY3184" fmla="*/ 4365270 h 5392467"/>
              <a:gd name="connsiteX3185" fmla="*/ 4795680 w 6096001"/>
              <a:gd name="connsiteY3185" fmla="*/ 4371073 h 5392467"/>
              <a:gd name="connsiteX3186" fmla="*/ 4772471 w 6096001"/>
              <a:gd name="connsiteY3186" fmla="*/ 4384611 h 5392467"/>
              <a:gd name="connsiteX3187" fmla="*/ 4753129 w 6096001"/>
              <a:gd name="connsiteY3187" fmla="*/ 4394283 h 5392467"/>
              <a:gd name="connsiteX3188" fmla="*/ 4648686 w 6096001"/>
              <a:gd name="connsiteY3188" fmla="*/ 4438766 h 5392467"/>
              <a:gd name="connsiteX3189" fmla="*/ 4617743 w 6096001"/>
              <a:gd name="connsiteY3189" fmla="*/ 4454239 h 5392467"/>
              <a:gd name="connsiteX3190" fmla="*/ 4557786 w 6096001"/>
              <a:gd name="connsiteY3190" fmla="*/ 4483250 h 5392467"/>
              <a:gd name="connsiteX3191" fmla="*/ 4548114 w 6096001"/>
              <a:gd name="connsiteY3191" fmla="*/ 4490987 h 5392467"/>
              <a:gd name="connsiteX3192" fmla="*/ 4553918 w 6096001"/>
              <a:gd name="connsiteY3192" fmla="*/ 4494855 h 5392467"/>
              <a:gd name="connsiteX3193" fmla="*/ 4540378 w 6096001"/>
              <a:gd name="connsiteY3193" fmla="*/ 4498723 h 5392467"/>
              <a:gd name="connsiteX3194" fmla="*/ 4517168 w 6096001"/>
              <a:gd name="connsiteY3194" fmla="*/ 4506460 h 5392467"/>
              <a:gd name="connsiteX3195" fmla="*/ 4486225 w 6096001"/>
              <a:gd name="connsiteY3195" fmla="*/ 4529669 h 5392467"/>
              <a:gd name="connsiteX3196" fmla="*/ 4435937 w 6096001"/>
              <a:gd name="connsiteY3196" fmla="*/ 4556747 h 5392467"/>
              <a:gd name="connsiteX3197" fmla="*/ 4381782 w 6096001"/>
              <a:gd name="connsiteY3197" fmla="*/ 4587693 h 5392467"/>
              <a:gd name="connsiteX3198" fmla="*/ 4374045 w 6096001"/>
              <a:gd name="connsiteY3198" fmla="*/ 4593494 h 5392467"/>
              <a:gd name="connsiteX3199" fmla="*/ 4346967 w 6096001"/>
              <a:gd name="connsiteY3199" fmla="*/ 4610903 h 5392467"/>
              <a:gd name="connsiteX3200" fmla="*/ 4234790 w 6096001"/>
              <a:gd name="connsiteY3200" fmla="*/ 4763695 h 5392467"/>
              <a:gd name="connsiteX3201" fmla="*/ 4203844 w 6096001"/>
              <a:gd name="connsiteY3201" fmla="*/ 4777233 h 5392467"/>
              <a:gd name="connsiteX3202" fmla="*/ 4196108 w 6096001"/>
              <a:gd name="connsiteY3202" fmla="*/ 4779168 h 5392467"/>
              <a:gd name="connsiteX3203" fmla="*/ 4182570 w 6096001"/>
              <a:gd name="connsiteY3203" fmla="*/ 4779168 h 5392467"/>
              <a:gd name="connsiteX3204" fmla="*/ 4178702 w 6096001"/>
              <a:gd name="connsiteY3204" fmla="*/ 4781101 h 5392467"/>
              <a:gd name="connsiteX3205" fmla="*/ 4176767 w 6096001"/>
              <a:gd name="connsiteY3205" fmla="*/ 4783037 h 5392467"/>
              <a:gd name="connsiteX3206" fmla="*/ 4099404 w 6096001"/>
              <a:gd name="connsiteY3206" fmla="*/ 4827520 h 5392467"/>
              <a:gd name="connsiteX3207" fmla="*/ 4052985 w 6096001"/>
              <a:gd name="connsiteY3207" fmla="*/ 4852665 h 5392467"/>
              <a:gd name="connsiteX3208" fmla="*/ 4002697 w 6096001"/>
              <a:gd name="connsiteY3208" fmla="*/ 4887477 h 5392467"/>
              <a:gd name="connsiteX3209" fmla="*/ 3964015 w 6096001"/>
              <a:gd name="connsiteY3209" fmla="*/ 4918426 h 5392467"/>
              <a:gd name="connsiteX3210" fmla="*/ 3904058 w 6096001"/>
              <a:gd name="connsiteY3210" fmla="*/ 4964842 h 5392467"/>
              <a:gd name="connsiteX3211" fmla="*/ 3844101 w 6096001"/>
              <a:gd name="connsiteY3211" fmla="*/ 5005460 h 5392467"/>
              <a:gd name="connsiteX3212" fmla="*/ 3809287 w 6096001"/>
              <a:gd name="connsiteY3212" fmla="*/ 5026734 h 5392467"/>
              <a:gd name="connsiteX3213" fmla="*/ 3733857 w 6096001"/>
              <a:gd name="connsiteY3213" fmla="*/ 5063482 h 5392467"/>
              <a:gd name="connsiteX3214" fmla="*/ 3724188 w 6096001"/>
              <a:gd name="connsiteY3214" fmla="*/ 5065417 h 5392467"/>
              <a:gd name="connsiteX3215" fmla="*/ 3670032 w 6096001"/>
              <a:gd name="connsiteY3215" fmla="*/ 5082823 h 5392467"/>
              <a:gd name="connsiteX3216" fmla="*/ 3615877 w 6096001"/>
              <a:gd name="connsiteY3216" fmla="*/ 5096361 h 5392467"/>
              <a:gd name="connsiteX3217" fmla="*/ 3590734 w 6096001"/>
              <a:gd name="connsiteY3217" fmla="*/ 5096361 h 5392467"/>
              <a:gd name="connsiteX3218" fmla="*/ 3586866 w 6096001"/>
              <a:gd name="connsiteY3218" fmla="*/ 5100229 h 5392467"/>
              <a:gd name="connsiteX3219" fmla="*/ 3567525 w 6096001"/>
              <a:gd name="connsiteY3219" fmla="*/ 5123438 h 5392467"/>
              <a:gd name="connsiteX3220" fmla="*/ 3540447 w 6096001"/>
              <a:gd name="connsiteY3220" fmla="*/ 5156320 h 5392467"/>
              <a:gd name="connsiteX3221" fmla="*/ 3536579 w 6096001"/>
              <a:gd name="connsiteY3221" fmla="*/ 5160188 h 5392467"/>
              <a:gd name="connsiteX3222" fmla="*/ 3484358 w 6096001"/>
              <a:gd name="connsiteY3222" fmla="*/ 5218209 h 5392467"/>
              <a:gd name="connsiteX3223" fmla="*/ 3478555 w 6096001"/>
              <a:gd name="connsiteY3223" fmla="*/ 5222078 h 5392467"/>
              <a:gd name="connsiteX3224" fmla="*/ 3484358 w 6096001"/>
              <a:gd name="connsiteY3224" fmla="*/ 5212408 h 5392467"/>
              <a:gd name="connsiteX3225" fmla="*/ 3546248 w 6096001"/>
              <a:gd name="connsiteY3225" fmla="*/ 5135043 h 5392467"/>
              <a:gd name="connsiteX3226" fmla="*/ 3581065 w 6096001"/>
              <a:gd name="connsiteY3226" fmla="*/ 5092495 h 5392467"/>
              <a:gd name="connsiteX3227" fmla="*/ 3567525 w 6096001"/>
              <a:gd name="connsiteY3227" fmla="*/ 5092495 h 5392467"/>
              <a:gd name="connsiteX3228" fmla="*/ 3555920 w 6096001"/>
              <a:gd name="connsiteY3228" fmla="*/ 5102164 h 5392467"/>
              <a:gd name="connsiteX3229" fmla="*/ 3561723 w 6096001"/>
              <a:gd name="connsiteY3229" fmla="*/ 5092495 h 5392467"/>
              <a:gd name="connsiteX3230" fmla="*/ 3557855 w 6096001"/>
              <a:gd name="connsiteY3230" fmla="*/ 5092495 h 5392467"/>
              <a:gd name="connsiteX3231" fmla="*/ 3548183 w 6096001"/>
              <a:gd name="connsiteY3231" fmla="*/ 5106032 h 5392467"/>
              <a:gd name="connsiteX3232" fmla="*/ 3542382 w 6096001"/>
              <a:gd name="connsiteY3232" fmla="*/ 5115702 h 5392467"/>
              <a:gd name="connsiteX3233" fmla="*/ 3526909 w 6096001"/>
              <a:gd name="connsiteY3233" fmla="*/ 5129242 h 5392467"/>
              <a:gd name="connsiteX3234" fmla="*/ 3490162 w 6096001"/>
              <a:gd name="connsiteY3234" fmla="*/ 5175661 h 5392467"/>
              <a:gd name="connsiteX3235" fmla="*/ 3478555 w 6096001"/>
              <a:gd name="connsiteY3235" fmla="*/ 5195000 h 5392467"/>
              <a:gd name="connsiteX3236" fmla="*/ 3468885 w 6096001"/>
              <a:gd name="connsiteY3236" fmla="*/ 5204672 h 5392467"/>
              <a:gd name="connsiteX3237" fmla="*/ 3455348 w 6096001"/>
              <a:gd name="connsiteY3237" fmla="*/ 5218209 h 5392467"/>
              <a:gd name="connsiteX3238" fmla="*/ 3439875 w 6096001"/>
              <a:gd name="connsiteY3238" fmla="*/ 5235618 h 5392467"/>
              <a:gd name="connsiteX3239" fmla="*/ 3430203 w 6096001"/>
              <a:gd name="connsiteY3239" fmla="*/ 5234005 h 5392467"/>
              <a:gd name="connsiteX3240" fmla="*/ 3432138 w 6096001"/>
              <a:gd name="connsiteY3240" fmla="*/ 5231747 h 5392467"/>
              <a:gd name="connsiteX3241" fmla="*/ 3429777 w 6096001"/>
              <a:gd name="connsiteY3241" fmla="*/ 5233934 h 5392467"/>
              <a:gd name="connsiteX3242" fmla="*/ 3428270 w 6096001"/>
              <a:gd name="connsiteY3242" fmla="*/ 5233683 h 5392467"/>
              <a:gd name="connsiteX3243" fmla="*/ 3453412 w 6096001"/>
              <a:gd name="connsiteY3243" fmla="*/ 5195000 h 5392467"/>
              <a:gd name="connsiteX3244" fmla="*/ 3497896 w 6096001"/>
              <a:gd name="connsiteY3244" fmla="*/ 5135043 h 5392467"/>
              <a:gd name="connsiteX3245" fmla="*/ 3499831 w 6096001"/>
              <a:gd name="connsiteY3245" fmla="*/ 5129242 h 5392467"/>
              <a:gd name="connsiteX3246" fmla="*/ 3486294 w 6096001"/>
              <a:gd name="connsiteY3246" fmla="*/ 5142780 h 5392467"/>
              <a:gd name="connsiteX3247" fmla="*/ 3488227 w 6096001"/>
              <a:gd name="connsiteY3247" fmla="*/ 5129242 h 5392467"/>
              <a:gd name="connsiteX3248" fmla="*/ 3484358 w 6096001"/>
              <a:gd name="connsiteY3248" fmla="*/ 5129242 h 5392467"/>
              <a:gd name="connsiteX3249" fmla="*/ 3463084 w 6096001"/>
              <a:gd name="connsiteY3249" fmla="*/ 5136978 h 5392467"/>
              <a:gd name="connsiteX3250" fmla="*/ 3428270 w 6096001"/>
              <a:gd name="connsiteY3250" fmla="*/ 5183395 h 5392467"/>
              <a:gd name="connsiteX3251" fmla="*/ 3426337 w 6096001"/>
              <a:gd name="connsiteY3251" fmla="*/ 5189199 h 5392467"/>
              <a:gd name="connsiteX3252" fmla="*/ 3443743 w 6096001"/>
              <a:gd name="connsiteY3252" fmla="*/ 5173726 h 5392467"/>
              <a:gd name="connsiteX3253" fmla="*/ 3439875 w 6096001"/>
              <a:gd name="connsiteY3253" fmla="*/ 5191132 h 5392467"/>
              <a:gd name="connsiteX3254" fmla="*/ 3449544 w 6096001"/>
              <a:gd name="connsiteY3254" fmla="*/ 5181462 h 5392467"/>
              <a:gd name="connsiteX3255" fmla="*/ 3470821 w 6096001"/>
              <a:gd name="connsiteY3255" fmla="*/ 5152451 h 5392467"/>
              <a:gd name="connsiteX3256" fmla="*/ 3484358 w 6096001"/>
              <a:gd name="connsiteY3256" fmla="*/ 5142780 h 5392467"/>
              <a:gd name="connsiteX3257" fmla="*/ 3441808 w 6096001"/>
              <a:gd name="connsiteY3257" fmla="*/ 5200804 h 5392467"/>
              <a:gd name="connsiteX3258" fmla="*/ 3434071 w 6096001"/>
              <a:gd name="connsiteY3258" fmla="*/ 5206605 h 5392467"/>
              <a:gd name="connsiteX3259" fmla="*/ 3434071 w 6096001"/>
              <a:gd name="connsiteY3259" fmla="*/ 5202736 h 5392467"/>
              <a:gd name="connsiteX3260" fmla="*/ 3437939 w 6096001"/>
              <a:gd name="connsiteY3260" fmla="*/ 5193067 h 5392467"/>
              <a:gd name="connsiteX3261" fmla="*/ 3432138 w 6096001"/>
              <a:gd name="connsiteY3261" fmla="*/ 5202736 h 5392467"/>
              <a:gd name="connsiteX3262" fmla="*/ 3422466 w 6096001"/>
              <a:gd name="connsiteY3262" fmla="*/ 5218209 h 5392467"/>
              <a:gd name="connsiteX3263" fmla="*/ 3428270 w 6096001"/>
              <a:gd name="connsiteY3263" fmla="*/ 5214341 h 5392467"/>
              <a:gd name="connsiteX3264" fmla="*/ 3399257 w 6096001"/>
              <a:gd name="connsiteY3264" fmla="*/ 5253024 h 5392467"/>
              <a:gd name="connsiteX3265" fmla="*/ 3401192 w 6096001"/>
              <a:gd name="connsiteY3265" fmla="*/ 5249156 h 5392467"/>
              <a:gd name="connsiteX3266" fmla="*/ 3393456 w 6096001"/>
              <a:gd name="connsiteY3266" fmla="*/ 5254957 h 5392467"/>
              <a:gd name="connsiteX3267" fmla="*/ 3381851 w 6096001"/>
              <a:gd name="connsiteY3267" fmla="*/ 5272365 h 5392467"/>
              <a:gd name="connsiteX3268" fmla="*/ 3364445 w 6096001"/>
              <a:gd name="connsiteY3268" fmla="*/ 5295575 h 5392467"/>
              <a:gd name="connsiteX3269" fmla="*/ 3372179 w 6096001"/>
              <a:gd name="connsiteY3269" fmla="*/ 5291706 h 5392467"/>
              <a:gd name="connsiteX3270" fmla="*/ 3362510 w 6096001"/>
              <a:gd name="connsiteY3270" fmla="*/ 5311048 h 5392467"/>
              <a:gd name="connsiteX3271" fmla="*/ 3360577 w 6096001"/>
              <a:gd name="connsiteY3271" fmla="*/ 5303311 h 5392467"/>
              <a:gd name="connsiteX3272" fmla="*/ 3354773 w 6096001"/>
              <a:gd name="connsiteY3272" fmla="*/ 5312981 h 5392467"/>
              <a:gd name="connsiteX3273" fmla="*/ 3348972 w 6096001"/>
              <a:gd name="connsiteY3273" fmla="*/ 5324585 h 5392467"/>
              <a:gd name="connsiteX3274" fmla="*/ 3339302 w 6096001"/>
              <a:gd name="connsiteY3274" fmla="*/ 5328454 h 5392467"/>
              <a:gd name="connsiteX3275" fmla="*/ 3331564 w 6096001"/>
              <a:gd name="connsiteY3275" fmla="*/ 5322652 h 5392467"/>
              <a:gd name="connsiteX3276" fmla="*/ 3331564 w 6096001"/>
              <a:gd name="connsiteY3276" fmla="*/ 5314916 h 5392467"/>
              <a:gd name="connsiteX3277" fmla="*/ 3329631 w 6096001"/>
              <a:gd name="connsiteY3277" fmla="*/ 5309112 h 5392467"/>
              <a:gd name="connsiteX3278" fmla="*/ 3323827 w 6096001"/>
              <a:gd name="connsiteY3278" fmla="*/ 5297508 h 5392467"/>
              <a:gd name="connsiteX3279" fmla="*/ 3310289 w 6096001"/>
              <a:gd name="connsiteY3279" fmla="*/ 5309112 h 5392467"/>
              <a:gd name="connsiteX3280" fmla="*/ 3310289 w 6096001"/>
              <a:gd name="connsiteY3280" fmla="*/ 5301376 h 5392467"/>
              <a:gd name="connsiteX3281" fmla="*/ 3314158 w 6096001"/>
              <a:gd name="connsiteY3281" fmla="*/ 5293639 h 5392467"/>
              <a:gd name="connsiteX3282" fmla="*/ 3306421 w 6096001"/>
              <a:gd name="connsiteY3282" fmla="*/ 5293639 h 5392467"/>
              <a:gd name="connsiteX3283" fmla="*/ 3302553 w 6096001"/>
              <a:gd name="connsiteY3283" fmla="*/ 5289771 h 5392467"/>
              <a:gd name="connsiteX3284" fmla="*/ 3300620 w 6096001"/>
              <a:gd name="connsiteY3284" fmla="*/ 5293639 h 5392467"/>
              <a:gd name="connsiteX3285" fmla="*/ 3290948 w 6096001"/>
              <a:gd name="connsiteY3285" fmla="*/ 5293639 h 5392467"/>
              <a:gd name="connsiteX3286" fmla="*/ 3290948 w 6096001"/>
              <a:gd name="connsiteY3286" fmla="*/ 5285905 h 5392467"/>
              <a:gd name="connsiteX3287" fmla="*/ 3298685 w 6096001"/>
              <a:gd name="connsiteY3287" fmla="*/ 5264629 h 5392467"/>
              <a:gd name="connsiteX3288" fmla="*/ 3294816 w 6096001"/>
              <a:gd name="connsiteY3288" fmla="*/ 5260760 h 5392467"/>
              <a:gd name="connsiteX3289" fmla="*/ 3294816 w 6096001"/>
              <a:gd name="connsiteY3289" fmla="*/ 5262696 h 5392467"/>
              <a:gd name="connsiteX3290" fmla="*/ 3290948 w 6096001"/>
              <a:gd name="connsiteY3290" fmla="*/ 5260760 h 5392467"/>
              <a:gd name="connsiteX3291" fmla="*/ 3290948 w 6096001"/>
              <a:gd name="connsiteY3291" fmla="*/ 5256892 h 5392467"/>
              <a:gd name="connsiteX3292" fmla="*/ 3277410 w 6096001"/>
              <a:gd name="connsiteY3292" fmla="*/ 5224013 h 5392467"/>
              <a:gd name="connsiteX3293" fmla="*/ 3275475 w 6096001"/>
              <a:gd name="connsiteY3293" fmla="*/ 5220145 h 5392467"/>
              <a:gd name="connsiteX3294" fmla="*/ 3275475 w 6096001"/>
              <a:gd name="connsiteY3294" fmla="*/ 5216277 h 5392467"/>
              <a:gd name="connsiteX3295" fmla="*/ 3275475 w 6096001"/>
              <a:gd name="connsiteY3295" fmla="*/ 5210473 h 5392467"/>
              <a:gd name="connsiteX3296" fmla="*/ 3273542 w 6096001"/>
              <a:gd name="connsiteY3296" fmla="*/ 5208540 h 5392467"/>
              <a:gd name="connsiteX3297" fmla="*/ 3267739 w 6096001"/>
              <a:gd name="connsiteY3297" fmla="*/ 5196935 h 5392467"/>
              <a:gd name="connsiteX3298" fmla="*/ 3254201 w 6096001"/>
              <a:gd name="connsiteY3298" fmla="*/ 5208540 h 5392467"/>
              <a:gd name="connsiteX3299" fmla="*/ 3254201 w 6096001"/>
              <a:gd name="connsiteY3299" fmla="*/ 5200804 h 5392467"/>
              <a:gd name="connsiteX3300" fmla="*/ 3254201 w 6096001"/>
              <a:gd name="connsiteY3300" fmla="*/ 5198871 h 5392467"/>
              <a:gd name="connsiteX3301" fmla="*/ 3252265 w 6096001"/>
              <a:gd name="connsiteY3301" fmla="*/ 5200804 h 5392467"/>
              <a:gd name="connsiteX3302" fmla="*/ 3250333 w 6096001"/>
              <a:gd name="connsiteY3302" fmla="*/ 5196935 h 5392467"/>
              <a:gd name="connsiteX3303" fmla="*/ 3254201 w 6096001"/>
              <a:gd name="connsiteY3303" fmla="*/ 5193067 h 5392467"/>
              <a:gd name="connsiteX3304" fmla="*/ 3256134 w 6096001"/>
              <a:gd name="connsiteY3304" fmla="*/ 5195000 h 5392467"/>
              <a:gd name="connsiteX3305" fmla="*/ 3256134 w 6096001"/>
              <a:gd name="connsiteY3305" fmla="*/ 5196935 h 5392467"/>
              <a:gd name="connsiteX3306" fmla="*/ 3258069 w 6096001"/>
              <a:gd name="connsiteY3306" fmla="*/ 5191132 h 5392467"/>
              <a:gd name="connsiteX3307" fmla="*/ 3250333 w 6096001"/>
              <a:gd name="connsiteY3307" fmla="*/ 5191132 h 5392467"/>
              <a:gd name="connsiteX3308" fmla="*/ 3246464 w 6096001"/>
              <a:gd name="connsiteY3308" fmla="*/ 5187263 h 5392467"/>
              <a:gd name="connsiteX3309" fmla="*/ 3244529 w 6096001"/>
              <a:gd name="connsiteY3309" fmla="*/ 5191132 h 5392467"/>
              <a:gd name="connsiteX3310" fmla="*/ 3234860 w 6096001"/>
              <a:gd name="connsiteY3310" fmla="*/ 5191132 h 5392467"/>
              <a:gd name="connsiteX3311" fmla="*/ 3234860 w 6096001"/>
              <a:gd name="connsiteY3311" fmla="*/ 5183395 h 5392467"/>
              <a:gd name="connsiteX3312" fmla="*/ 3242596 w 6096001"/>
              <a:gd name="connsiteY3312" fmla="*/ 5162121 h 5392467"/>
              <a:gd name="connsiteX3313" fmla="*/ 3223255 w 6096001"/>
              <a:gd name="connsiteY3313" fmla="*/ 5117637 h 5392467"/>
              <a:gd name="connsiteX3314" fmla="*/ 3221319 w 6096001"/>
              <a:gd name="connsiteY3314" fmla="*/ 5107965 h 5392467"/>
              <a:gd name="connsiteX3315" fmla="*/ 3201978 w 6096001"/>
              <a:gd name="connsiteY3315" fmla="*/ 5121505 h 5392467"/>
              <a:gd name="connsiteX3316" fmla="*/ 3203913 w 6096001"/>
              <a:gd name="connsiteY3316" fmla="*/ 5113769 h 5392467"/>
              <a:gd name="connsiteX3317" fmla="*/ 3221319 w 6096001"/>
              <a:gd name="connsiteY3317" fmla="*/ 5098296 h 5392467"/>
              <a:gd name="connsiteX3318" fmla="*/ 3225188 w 6096001"/>
              <a:gd name="connsiteY3318" fmla="*/ 5082823 h 5392467"/>
              <a:gd name="connsiteX3319" fmla="*/ 3227123 w 6096001"/>
              <a:gd name="connsiteY3319" fmla="*/ 5077019 h 5392467"/>
              <a:gd name="connsiteX3320" fmla="*/ 3225188 w 6096001"/>
              <a:gd name="connsiteY3320" fmla="*/ 5077019 h 5392467"/>
              <a:gd name="connsiteX3321" fmla="*/ 3198110 w 6096001"/>
              <a:gd name="connsiteY3321" fmla="*/ 5063482 h 5392467"/>
              <a:gd name="connsiteX3322" fmla="*/ 3215518 w 6096001"/>
              <a:gd name="connsiteY3322" fmla="*/ 5042207 h 5392467"/>
              <a:gd name="connsiteX3323" fmla="*/ 3217451 w 6096001"/>
              <a:gd name="connsiteY3323" fmla="*/ 5036404 h 5392467"/>
              <a:gd name="connsiteX3324" fmla="*/ 3211650 w 6096001"/>
              <a:gd name="connsiteY3324" fmla="*/ 5028667 h 5392467"/>
              <a:gd name="connsiteX3325" fmla="*/ 3219387 w 6096001"/>
              <a:gd name="connsiteY3325" fmla="*/ 5024801 h 5392467"/>
              <a:gd name="connsiteX3326" fmla="*/ 3219387 w 6096001"/>
              <a:gd name="connsiteY3326" fmla="*/ 5022866 h 5392467"/>
              <a:gd name="connsiteX3327" fmla="*/ 3215518 w 6096001"/>
              <a:gd name="connsiteY3327" fmla="*/ 5018998 h 5392467"/>
              <a:gd name="connsiteX3328" fmla="*/ 3203913 w 6096001"/>
              <a:gd name="connsiteY3328" fmla="*/ 5009326 h 5392467"/>
              <a:gd name="connsiteX3329" fmla="*/ 3196177 w 6096001"/>
              <a:gd name="connsiteY3329" fmla="*/ 4999657 h 5392467"/>
              <a:gd name="connsiteX3330" fmla="*/ 3167166 w 6096001"/>
              <a:gd name="connsiteY3330" fmla="*/ 5015130 h 5392467"/>
              <a:gd name="connsiteX3331" fmla="*/ 3184572 w 6096001"/>
              <a:gd name="connsiteY3331" fmla="*/ 4999657 h 5392467"/>
              <a:gd name="connsiteX3332" fmla="*/ 3184572 w 6096001"/>
              <a:gd name="connsiteY3332" fmla="*/ 4995788 h 5392467"/>
              <a:gd name="connsiteX3333" fmla="*/ 3203913 w 6096001"/>
              <a:gd name="connsiteY3333" fmla="*/ 4974512 h 5392467"/>
              <a:gd name="connsiteX3334" fmla="*/ 3219387 w 6096001"/>
              <a:gd name="connsiteY3334" fmla="*/ 4959041 h 5392467"/>
              <a:gd name="connsiteX3335" fmla="*/ 3213585 w 6096001"/>
              <a:gd name="connsiteY3335" fmla="*/ 4953237 h 5392467"/>
              <a:gd name="connsiteX3336" fmla="*/ 3211650 w 6096001"/>
              <a:gd name="connsiteY3336" fmla="*/ 4955173 h 5392467"/>
              <a:gd name="connsiteX3337" fmla="*/ 3176836 w 6096001"/>
              <a:gd name="connsiteY3337" fmla="*/ 4988052 h 5392467"/>
              <a:gd name="connsiteX3338" fmla="*/ 3173291 w 6096001"/>
              <a:gd name="connsiteY3338" fmla="*/ 4990416 h 5392467"/>
              <a:gd name="connsiteX3339" fmla="*/ 3172967 w 6096001"/>
              <a:gd name="connsiteY3339" fmla="*/ 4989985 h 5392467"/>
              <a:gd name="connsiteX3340" fmla="*/ 3171034 w 6096001"/>
              <a:gd name="connsiteY3340" fmla="*/ 4991920 h 5392467"/>
              <a:gd name="connsiteX3341" fmla="*/ 3173291 w 6096001"/>
              <a:gd name="connsiteY3341" fmla="*/ 4990416 h 5392467"/>
              <a:gd name="connsiteX3342" fmla="*/ 3175144 w 6096001"/>
              <a:gd name="connsiteY3342" fmla="*/ 4992887 h 5392467"/>
              <a:gd name="connsiteX3343" fmla="*/ 3172967 w 6096001"/>
              <a:gd name="connsiteY3343" fmla="*/ 4995788 h 5392467"/>
              <a:gd name="connsiteX3344" fmla="*/ 3145892 w 6096001"/>
              <a:gd name="connsiteY3344" fmla="*/ 5017063 h 5392467"/>
              <a:gd name="connsiteX3345" fmla="*/ 3147825 w 6096001"/>
              <a:gd name="connsiteY3345" fmla="*/ 5009326 h 5392467"/>
              <a:gd name="connsiteX3346" fmla="*/ 3165231 w 6096001"/>
              <a:gd name="connsiteY3346" fmla="*/ 4993853 h 5392467"/>
              <a:gd name="connsiteX3347" fmla="*/ 3169099 w 6096001"/>
              <a:gd name="connsiteY3347" fmla="*/ 4986119 h 5392467"/>
              <a:gd name="connsiteX3348" fmla="*/ 3192309 w 6096001"/>
              <a:gd name="connsiteY3348" fmla="*/ 4962909 h 5392467"/>
              <a:gd name="connsiteX3349" fmla="*/ 3203913 w 6096001"/>
              <a:gd name="connsiteY3349" fmla="*/ 4951302 h 5392467"/>
              <a:gd name="connsiteX3350" fmla="*/ 3205849 w 6096001"/>
              <a:gd name="connsiteY3350" fmla="*/ 4949369 h 5392467"/>
              <a:gd name="connsiteX3351" fmla="*/ 3196177 w 6096001"/>
              <a:gd name="connsiteY3351" fmla="*/ 4941633 h 5392467"/>
              <a:gd name="connsiteX3352" fmla="*/ 3180704 w 6096001"/>
              <a:gd name="connsiteY3352" fmla="*/ 4947436 h 5392467"/>
              <a:gd name="connsiteX3353" fmla="*/ 3174903 w 6096001"/>
              <a:gd name="connsiteY3353" fmla="*/ 4953237 h 5392467"/>
              <a:gd name="connsiteX3354" fmla="*/ 3176836 w 6096001"/>
              <a:gd name="connsiteY3354" fmla="*/ 4960974 h 5392467"/>
              <a:gd name="connsiteX3355" fmla="*/ 3178771 w 6096001"/>
              <a:gd name="connsiteY3355" fmla="*/ 4960974 h 5392467"/>
              <a:gd name="connsiteX3356" fmla="*/ 3171034 w 6096001"/>
              <a:gd name="connsiteY3356" fmla="*/ 4972579 h 5392467"/>
              <a:gd name="connsiteX3357" fmla="*/ 3167166 w 6096001"/>
              <a:gd name="connsiteY3357" fmla="*/ 4972579 h 5392467"/>
              <a:gd name="connsiteX3358" fmla="*/ 3161363 w 6096001"/>
              <a:gd name="connsiteY3358" fmla="*/ 4978380 h 5392467"/>
              <a:gd name="connsiteX3359" fmla="*/ 3134285 w 6096001"/>
              <a:gd name="connsiteY3359" fmla="*/ 5001592 h 5392467"/>
              <a:gd name="connsiteX3360" fmla="*/ 3114944 w 6096001"/>
              <a:gd name="connsiteY3360" fmla="*/ 5013194 h 5392467"/>
              <a:gd name="connsiteX3361" fmla="*/ 3130417 w 6096001"/>
              <a:gd name="connsiteY3361" fmla="*/ 4988052 h 5392467"/>
              <a:gd name="connsiteX3362" fmla="*/ 3149758 w 6096001"/>
              <a:gd name="connsiteY3362" fmla="*/ 4976447 h 5392467"/>
              <a:gd name="connsiteX3363" fmla="*/ 3155561 w 6096001"/>
              <a:gd name="connsiteY3363" fmla="*/ 4970643 h 5392467"/>
              <a:gd name="connsiteX3364" fmla="*/ 3157494 w 6096001"/>
              <a:gd name="connsiteY3364" fmla="*/ 4968710 h 5392467"/>
              <a:gd name="connsiteX3365" fmla="*/ 3145892 w 6096001"/>
              <a:gd name="connsiteY3365" fmla="*/ 4957106 h 5392467"/>
              <a:gd name="connsiteX3366" fmla="*/ 3157494 w 6096001"/>
              <a:gd name="connsiteY3366" fmla="*/ 4939700 h 5392467"/>
              <a:gd name="connsiteX3367" fmla="*/ 3147825 w 6096001"/>
              <a:gd name="connsiteY3367" fmla="*/ 4937764 h 5392467"/>
              <a:gd name="connsiteX3368" fmla="*/ 3132352 w 6096001"/>
              <a:gd name="connsiteY3368" fmla="*/ 4953237 h 5392467"/>
              <a:gd name="connsiteX3369" fmla="*/ 3116879 w 6096001"/>
              <a:gd name="connsiteY3369" fmla="*/ 4951302 h 5392467"/>
              <a:gd name="connsiteX3370" fmla="*/ 3116879 w 6096001"/>
              <a:gd name="connsiteY3370" fmla="*/ 4945501 h 5392467"/>
              <a:gd name="connsiteX3371" fmla="*/ 3126551 w 6096001"/>
              <a:gd name="connsiteY3371" fmla="*/ 4931963 h 5392467"/>
              <a:gd name="connsiteX3372" fmla="*/ 3109142 w 6096001"/>
              <a:gd name="connsiteY3372" fmla="*/ 4941633 h 5392467"/>
              <a:gd name="connsiteX3373" fmla="*/ 3113011 w 6096001"/>
              <a:gd name="connsiteY3373" fmla="*/ 4926160 h 5392467"/>
              <a:gd name="connsiteX3374" fmla="*/ 3103341 w 6096001"/>
              <a:gd name="connsiteY3374" fmla="*/ 4931963 h 5392467"/>
              <a:gd name="connsiteX3375" fmla="*/ 3105274 w 6096001"/>
              <a:gd name="connsiteY3375" fmla="*/ 4926160 h 5392467"/>
              <a:gd name="connsiteX3376" fmla="*/ 3087868 w 6096001"/>
              <a:gd name="connsiteY3376" fmla="*/ 4941633 h 5392467"/>
              <a:gd name="connsiteX3377" fmla="*/ 3085933 w 6096001"/>
              <a:gd name="connsiteY3377" fmla="*/ 4943567 h 5392467"/>
              <a:gd name="connsiteX3378" fmla="*/ 3087384 w 6096001"/>
              <a:gd name="connsiteY3378" fmla="*/ 4941150 h 5392467"/>
              <a:gd name="connsiteX3379" fmla="*/ 3091734 w 6096001"/>
              <a:gd name="connsiteY3379" fmla="*/ 4935832 h 5392467"/>
              <a:gd name="connsiteX3380" fmla="*/ 3087868 w 6096001"/>
              <a:gd name="connsiteY3380" fmla="*/ 4937764 h 5392467"/>
              <a:gd name="connsiteX3381" fmla="*/ 3076263 w 6096001"/>
              <a:gd name="connsiteY3381" fmla="*/ 4930028 h 5392467"/>
              <a:gd name="connsiteX3382" fmla="*/ 3074328 w 6096001"/>
              <a:gd name="connsiteY3382" fmla="*/ 4930028 h 5392467"/>
              <a:gd name="connsiteX3383" fmla="*/ 3064659 w 6096001"/>
              <a:gd name="connsiteY3383" fmla="*/ 4935832 h 5392467"/>
              <a:gd name="connsiteX3384" fmla="*/ 3064659 w 6096001"/>
              <a:gd name="connsiteY3384" fmla="*/ 4933896 h 5392467"/>
              <a:gd name="connsiteX3385" fmla="*/ 3006635 w 6096001"/>
              <a:gd name="connsiteY3385" fmla="*/ 4976447 h 5392467"/>
              <a:gd name="connsiteX3386" fmla="*/ 2998898 w 6096001"/>
              <a:gd name="connsiteY3386" fmla="*/ 4984184 h 5392467"/>
              <a:gd name="connsiteX3387" fmla="*/ 3012438 w 6096001"/>
              <a:gd name="connsiteY3387" fmla="*/ 4986119 h 5392467"/>
              <a:gd name="connsiteX3388" fmla="*/ 3033713 w 6096001"/>
              <a:gd name="connsiteY3388" fmla="*/ 4970643 h 5392467"/>
              <a:gd name="connsiteX3389" fmla="*/ 3027909 w 6096001"/>
              <a:gd name="connsiteY3389" fmla="*/ 4986119 h 5392467"/>
              <a:gd name="connsiteX3390" fmla="*/ 3033713 w 6096001"/>
              <a:gd name="connsiteY3390" fmla="*/ 4986119 h 5392467"/>
              <a:gd name="connsiteX3391" fmla="*/ 3041449 w 6096001"/>
              <a:gd name="connsiteY3391" fmla="*/ 4976447 h 5392467"/>
              <a:gd name="connsiteX3392" fmla="*/ 3041449 w 6096001"/>
              <a:gd name="connsiteY3392" fmla="*/ 4974512 h 5392467"/>
              <a:gd name="connsiteX3393" fmla="*/ 3045317 w 6096001"/>
              <a:gd name="connsiteY3393" fmla="*/ 4972579 h 5392467"/>
              <a:gd name="connsiteX3394" fmla="*/ 3053054 w 6096001"/>
              <a:gd name="connsiteY3394" fmla="*/ 4966778 h 5392467"/>
              <a:gd name="connsiteX3395" fmla="*/ 3060790 w 6096001"/>
              <a:gd name="connsiteY3395" fmla="*/ 4962909 h 5392467"/>
              <a:gd name="connsiteX3396" fmla="*/ 3068527 w 6096001"/>
              <a:gd name="connsiteY3396" fmla="*/ 4959041 h 5392467"/>
              <a:gd name="connsiteX3397" fmla="*/ 3053054 w 6096001"/>
              <a:gd name="connsiteY3397" fmla="*/ 4978380 h 5392467"/>
              <a:gd name="connsiteX3398" fmla="*/ 3049186 w 6096001"/>
              <a:gd name="connsiteY3398" fmla="*/ 4978380 h 5392467"/>
              <a:gd name="connsiteX3399" fmla="*/ 3047250 w 6096001"/>
              <a:gd name="connsiteY3399" fmla="*/ 4978380 h 5392467"/>
              <a:gd name="connsiteX3400" fmla="*/ 3043382 w 6096001"/>
              <a:gd name="connsiteY3400" fmla="*/ 4995788 h 5392467"/>
              <a:gd name="connsiteX3401" fmla="*/ 3058857 w 6096001"/>
              <a:gd name="connsiteY3401" fmla="*/ 4980315 h 5392467"/>
              <a:gd name="connsiteX3402" fmla="*/ 3074328 w 6096001"/>
              <a:gd name="connsiteY3402" fmla="*/ 4966778 h 5392467"/>
              <a:gd name="connsiteX3403" fmla="*/ 3078196 w 6096001"/>
              <a:gd name="connsiteY3403" fmla="*/ 4972579 h 5392467"/>
              <a:gd name="connsiteX3404" fmla="*/ 3051118 w 6096001"/>
              <a:gd name="connsiteY3404" fmla="*/ 5018998 h 5392467"/>
              <a:gd name="connsiteX3405" fmla="*/ 3043382 w 6096001"/>
              <a:gd name="connsiteY3405" fmla="*/ 5018998 h 5392467"/>
              <a:gd name="connsiteX3406" fmla="*/ 3031780 w 6096001"/>
              <a:gd name="connsiteY3406" fmla="*/ 5034471 h 5392467"/>
              <a:gd name="connsiteX3407" fmla="*/ 3033713 w 6096001"/>
              <a:gd name="connsiteY3407" fmla="*/ 5040272 h 5392467"/>
              <a:gd name="connsiteX3408" fmla="*/ 3039516 w 6096001"/>
              <a:gd name="connsiteY3408" fmla="*/ 5028667 h 5392467"/>
              <a:gd name="connsiteX3409" fmla="*/ 3043382 w 6096001"/>
              <a:gd name="connsiteY3409" fmla="*/ 5026734 h 5392467"/>
              <a:gd name="connsiteX3410" fmla="*/ 3049186 w 6096001"/>
              <a:gd name="connsiteY3410" fmla="*/ 5034471 h 5392467"/>
              <a:gd name="connsiteX3411" fmla="*/ 3041449 w 6096001"/>
              <a:gd name="connsiteY3411" fmla="*/ 5059613 h 5392467"/>
              <a:gd name="connsiteX3412" fmla="*/ 3043382 w 6096001"/>
              <a:gd name="connsiteY3412" fmla="*/ 5084756 h 5392467"/>
              <a:gd name="connsiteX3413" fmla="*/ 3049186 w 6096001"/>
              <a:gd name="connsiteY3413" fmla="*/ 5088626 h 5392467"/>
              <a:gd name="connsiteX3414" fmla="*/ 3045800 w 6096001"/>
              <a:gd name="connsiteY3414" fmla="*/ 5096119 h 5392467"/>
              <a:gd name="connsiteX3415" fmla="*/ 3034689 w 6096001"/>
              <a:gd name="connsiteY3415" fmla="*/ 5107009 h 5392467"/>
              <a:gd name="connsiteX3416" fmla="*/ 3033713 w 6096001"/>
              <a:gd name="connsiteY3416" fmla="*/ 5106032 h 5392467"/>
              <a:gd name="connsiteX3417" fmla="*/ 3033713 w 6096001"/>
              <a:gd name="connsiteY3417" fmla="*/ 5104097 h 5392467"/>
              <a:gd name="connsiteX3418" fmla="*/ 3029844 w 6096001"/>
              <a:gd name="connsiteY3418" fmla="*/ 5107965 h 5392467"/>
              <a:gd name="connsiteX3419" fmla="*/ 3033713 w 6096001"/>
              <a:gd name="connsiteY3419" fmla="*/ 5108933 h 5392467"/>
              <a:gd name="connsiteX3420" fmla="*/ 3033713 w 6096001"/>
              <a:gd name="connsiteY3420" fmla="*/ 5109901 h 5392467"/>
              <a:gd name="connsiteX3421" fmla="*/ 3037581 w 6096001"/>
              <a:gd name="connsiteY3421" fmla="*/ 5109901 h 5392467"/>
              <a:gd name="connsiteX3422" fmla="*/ 3043382 w 6096001"/>
              <a:gd name="connsiteY3422" fmla="*/ 5109901 h 5392467"/>
              <a:gd name="connsiteX3423" fmla="*/ 3043382 w 6096001"/>
              <a:gd name="connsiteY3423" fmla="*/ 5113769 h 5392467"/>
              <a:gd name="connsiteX3424" fmla="*/ 3042975 w 6096001"/>
              <a:gd name="connsiteY3424" fmla="*/ 5114379 h 5392467"/>
              <a:gd name="connsiteX3425" fmla="*/ 3041449 w 6096001"/>
              <a:gd name="connsiteY3425" fmla="*/ 5111836 h 5392467"/>
              <a:gd name="connsiteX3426" fmla="*/ 3041449 w 6096001"/>
              <a:gd name="connsiteY3426" fmla="*/ 5116669 h 5392467"/>
              <a:gd name="connsiteX3427" fmla="*/ 3039516 w 6096001"/>
              <a:gd name="connsiteY3427" fmla="*/ 5119570 h 5392467"/>
              <a:gd name="connsiteX3428" fmla="*/ 3041449 w 6096001"/>
              <a:gd name="connsiteY3428" fmla="*/ 5120538 h 5392467"/>
              <a:gd name="connsiteX3429" fmla="*/ 3041449 w 6096001"/>
              <a:gd name="connsiteY3429" fmla="*/ 5122665 h 5392467"/>
              <a:gd name="connsiteX3430" fmla="*/ 3033713 w 6096001"/>
              <a:gd name="connsiteY3430" fmla="*/ 5127307 h 5392467"/>
              <a:gd name="connsiteX3431" fmla="*/ 3031780 w 6096001"/>
              <a:gd name="connsiteY3431" fmla="*/ 5125374 h 5392467"/>
              <a:gd name="connsiteX3432" fmla="*/ 2991162 w 6096001"/>
              <a:gd name="connsiteY3432" fmla="*/ 5160188 h 5392467"/>
              <a:gd name="connsiteX3433" fmla="*/ 2969888 w 6096001"/>
              <a:gd name="connsiteY3433" fmla="*/ 5171790 h 5392467"/>
              <a:gd name="connsiteX3434" fmla="*/ 2956347 w 6096001"/>
              <a:gd name="connsiteY3434" fmla="*/ 5177594 h 5392467"/>
              <a:gd name="connsiteX3435" fmla="*/ 2938941 w 6096001"/>
              <a:gd name="connsiteY3435" fmla="*/ 5164054 h 5392467"/>
              <a:gd name="connsiteX3436" fmla="*/ 2929272 w 6096001"/>
              <a:gd name="connsiteY3436" fmla="*/ 5138911 h 5392467"/>
              <a:gd name="connsiteX3437" fmla="*/ 2925404 w 6096001"/>
              <a:gd name="connsiteY3437" fmla="*/ 5123438 h 5392467"/>
              <a:gd name="connsiteX3438" fmla="*/ 2900259 w 6096001"/>
              <a:gd name="connsiteY3438" fmla="*/ 5127307 h 5392467"/>
              <a:gd name="connsiteX3439" fmla="*/ 2898326 w 6096001"/>
              <a:gd name="connsiteY3439" fmla="*/ 5121505 h 5392467"/>
              <a:gd name="connsiteX3440" fmla="*/ 2898326 w 6096001"/>
              <a:gd name="connsiteY3440" fmla="*/ 5117637 h 5392467"/>
              <a:gd name="connsiteX3441" fmla="*/ 2888654 w 6096001"/>
              <a:gd name="connsiteY3441" fmla="*/ 5127307 h 5392467"/>
              <a:gd name="connsiteX3442" fmla="*/ 2873181 w 6096001"/>
              <a:gd name="connsiteY3442" fmla="*/ 5136978 h 5392467"/>
              <a:gd name="connsiteX3443" fmla="*/ 2871248 w 6096001"/>
              <a:gd name="connsiteY3443" fmla="*/ 5135043 h 5392467"/>
              <a:gd name="connsiteX3444" fmla="*/ 2875116 w 6096001"/>
              <a:gd name="connsiteY3444" fmla="*/ 5121505 h 5392467"/>
              <a:gd name="connsiteX3445" fmla="*/ 2855775 w 6096001"/>
              <a:gd name="connsiteY3445" fmla="*/ 5136978 h 5392467"/>
              <a:gd name="connsiteX3446" fmla="*/ 2844170 w 6096001"/>
              <a:gd name="connsiteY3446" fmla="*/ 5158253 h 5392467"/>
              <a:gd name="connsiteX3447" fmla="*/ 2840101 w 6096001"/>
              <a:gd name="connsiteY3447" fmla="*/ 5153312 h 5392467"/>
              <a:gd name="connsiteX3448" fmla="*/ 2842237 w 6096001"/>
              <a:gd name="connsiteY3448" fmla="*/ 5148583 h 5392467"/>
              <a:gd name="connsiteX3449" fmla="*/ 2838602 w 6096001"/>
              <a:gd name="connsiteY3449" fmla="*/ 5151491 h 5392467"/>
              <a:gd name="connsiteX3450" fmla="*/ 2834016 w 6096001"/>
              <a:gd name="connsiteY3450" fmla="*/ 5145923 h 5392467"/>
              <a:gd name="connsiteX3451" fmla="*/ 2820961 w 6096001"/>
              <a:gd name="connsiteY3451" fmla="*/ 5152451 h 5392467"/>
              <a:gd name="connsiteX3452" fmla="*/ 2811291 w 6096001"/>
              <a:gd name="connsiteY3452" fmla="*/ 5160188 h 5392467"/>
              <a:gd name="connsiteX3453" fmla="*/ 2797754 w 6096001"/>
              <a:gd name="connsiteY3453" fmla="*/ 5146648 h 5392467"/>
              <a:gd name="connsiteX3454" fmla="*/ 2786147 w 6096001"/>
              <a:gd name="connsiteY3454" fmla="*/ 5164054 h 5392467"/>
              <a:gd name="connsiteX3455" fmla="*/ 2790015 w 6096001"/>
              <a:gd name="connsiteY3455" fmla="*/ 5169857 h 5392467"/>
              <a:gd name="connsiteX3456" fmla="*/ 2788082 w 6096001"/>
              <a:gd name="connsiteY3456" fmla="*/ 5169857 h 5392467"/>
              <a:gd name="connsiteX3457" fmla="*/ 2741663 w 6096001"/>
              <a:gd name="connsiteY3457" fmla="*/ 5202736 h 5392467"/>
              <a:gd name="connsiteX3458" fmla="*/ 2739730 w 6096001"/>
              <a:gd name="connsiteY3458" fmla="*/ 5204672 h 5392467"/>
              <a:gd name="connsiteX3459" fmla="*/ 2730058 w 6096001"/>
              <a:gd name="connsiteY3459" fmla="*/ 5214341 h 5392467"/>
              <a:gd name="connsiteX3460" fmla="*/ 2710717 w 6096001"/>
              <a:gd name="connsiteY3460" fmla="*/ 5210473 h 5392467"/>
              <a:gd name="connsiteX3461" fmla="*/ 2712652 w 6096001"/>
              <a:gd name="connsiteY3461" fmla="*/ 5224013 h 5392467"/>
              <a:gd name="connsiteX3462" fmla="*/ 2679771 w 6096001"/>
              <a:gd name="connsiteY3462" fmla="*/ 5245287 h 5392467"/>
              <a:gd name="connsiteX3463" fmla="*/ 2677838 w 6096001"/>
              <a:gd name="connsiteY3463" fmla="*/ 5243354 h 5392467"/>
              <a:gd name="connsiteX3464" fmla="*/ 2685574 w 6096001"/>
              <a:gd name="connsiteY3464" fmla="*/ 5233683 h 5392467"/>
              <a:gd name="connsiteX3465" fmla="*/ 2683639 w 6096001"/>
              <a:gd name="connsiteY3465" fmla="*/ 5231747 h 5392467"/>
              <a:gd name="connsiteX3466" fmla="*/ 2654628 w 6096001"/>
              <a:gd name="connsiteY3466" fmla="*/ 5249156 h 5392467"/>
              <a:gd name="connsiteX3467" fmla="*/ 2656561 w 6096001"/>
              <a:gd name="connsiteY3467" fmla="*/ 5254957 h 5392467"/>
              <a:gd name="connsiteX3468" fmla="*/ 2654628 w 6096001"/>
              <a:gd name="connsiteY3468" fmla="*/ 5256892 h 5392467"/>
              <a:gd name="connsiteX3469" fmla="*/ 2650760 w 6096001"/>
              <a:gd name="connsiteY3469" fmla="*/ 5249156 h 5392467"/>
              <a:gd name="connsiteX3470" fmla="*/ 2635287 w 6096001"/>
              <a:gd name="connsiteY3470" fmla="*/ 5264629 h 5392467"/>
              <a:gd name="connsiteX3471" fmla="*/ 2631419 w 6096001"/>
              <a:gd name="connsiteY3471" fmla="*/ 5266564 h 5392467"/>
              <a:gd name="connsiteX3472" fmla="*/ 2614013 w 6096001"/>
              <a:gd name="connsiteY3472" fmla="*/ 5272365 h 5392467"/>
              <a:gd name="connsiteX3473" fmla="*/ 2600473 w 6096001"/>
              <a:gd name="connsiteY3473" fmla="*/ 5285905 h 5392467"/>
              <a:gd name="connsiteX3474" fmla="*/ 2579199 w 6096001"/>
              <a:gd name="connsiteY3474" fmla="*/ 5299443 h 5392467"/>
              <a:gd name="connsiteX3475" fmla="*/ 2586935 w 6096001"/>
              <a:gd name="connsiteY3475" fmla="*/ 5289771 h 5392467"/>
              <a:gd name="connsiteX3476" fmla="*/ 2573395 w 6096001"/>
              <a:gd name="connsiteY3476" fmla="*/ 5291706 h 5392467"/>
              <a:gd name="connsiteX3477" fmla="*/ 2571462 w 6096001"/>
              <a:gd name="connsiteY3477" fmla="*/ 5283970 h 5392467"/>
              <a:gd name="connsiteX3478" fmla="*/ 2548253 w 6096001"/>
              <a:gd name="connsiteY3478" fmla="*/ 5295575 h 5392467"/>
              <a:gd name="connsiteX3479" fmla="*/ 2544384 w 6096001"/>
              <a:gd name="connsiteY3479" fmla="*/ 5289771 h 5392467"/>
              <a:gd name="connsiteX3480" fmla="*/ 2542451 w 6096001"/>
              <a:gd name="connsiteY3480" fmla="*/ 5291706 h 5392467"/>
              <a:gd name="connsiteX3481" fmla="*/ 2519242 w 6096001"/>
              <a:gd name="connsiteY3481" fmla="*/ 5309112 h 5392467"/>
              <a:gd name="connsiteX3482" fmla="*/ 2507636 w 6096001"/>
              <a:gd name="connsiteY3482" fmla="*/ 5314916 h 5392467"/>
              <a:gd name="connsiteX3483" fmla="*/ 2495066 w 6096001"/>
              <a:gd name="connsiteY3483" fmla="*/ 5313223 h 5392467"/>
              <a:gd name="connsiteX3484" fmla="*/ 2488296 w 6096001"/>
              <a:gd name="connsiteY3484" fmla="*/ 5324585 h 5392467"/>
              <a:gd name="connsiteX3485" fmla="*/ 2501533 w 6096001"/>
              <a:gd name="connsiteY3485" fmla="*/ 5317968 h 5392467"/>
              <a:gd name="connsiteX3486" fmla="*/ 2492164 w 6096001"/>
              <a:gd name="connsiteY3486" fmla="*/ 5322652 h 5392467"/>
              <a:gd name="connsiteX3487" fmla="*/ 2494099 w 6096001"/>
              <a:gd name="connsiteY3487" fmla="*/ 5332322 h 5392467"/>
              <a:gd name="connsiteX3488" fmla="*/ 2492164 w 6096001"/>
              <a:gd name="connsiteY3488" fmla="*/ 5340058 h 5392467"/>
              <a:gd name="connsiteX3489" fmla="*/ 2482492 w 6096001"/>
              <a:gd name="connsiteY3489" fmla="*/ 5347795 h 5392467"/>
              <a:gd name="connsiteX3490" fmla="*/ 2441877 w 6096001"/>
              <a:gd name="connsiteY3490" fmla="*/ 5365201 h 5392467"/>
              <a:gd name="connsiteX3491" fmla="*/ 2455417 w 6096001"/>
              <a:gd name="connsiteY3491" fmla="*/ 5357464 h 5392467"/>
              <a:gd name="connsiteX3492" fmla="*/ 2457593 w 6096001"/>
              <a:gd name="connsiteY3492" fmla="*/ 5351663 h 5392467"/>
              <a:gd name="connsiteX3493" fmla="*/ 2459331 w 6096001"/>
              <a:gd name="connsiteY3493" fmla="*/ 5348881 h 5392467"/>
              <a:gd name="connsiteX3494" fmla="*/ 2470890 w 6096001"/>
              <a:gd name="connsiteY3494" fmla="*/ 5343927 h 5392467"/>
              <a:gd name="connsiteX3495" fmla="*/ 2466220 w 6096001"/>
              <a:gd name="connsiteY3495" fmla="*/ 5342526 h 5392467"/>
              <a:gd name="connsiteX3496" fmla="*/ 2472823 w 6096001"/>
              <a:gd name="connsiteY3496" fmla="*/ 5338123 h 5392467"/>
              <a:gd name="connsiteX3497" fmla="*/ 2462686 w 6096001"/>
              <a:gd name="connsiteY3497" fmla="*/ 5341466 h 5392467"/>
              <a:gd name="connsiteX3498" fmla="*/ 2461218 w 6096001"/>
              <a:gd name="connsiteY3498" fmla="*/ 5341025 h 5392467"/>
              <a:gd name="connsiteX3499" fmla="*/ 2460736 w 6096001"/>
              <a:gd name="connsiteY3499" fmla="*/ 5342109 h 5392467"/>
              <a:gd name="connsiteX3500" fmla="*/ 2450823 w 6096001"/>
              <a:gd name="connsiteY3500" fmla="*/ 5345378 h 5392467"/>
              <a:gd name="connsiteX3501" fmla="*/ 2430274 w 6096001"/>
              <a:gd name="connsiteY3501" fmla="*/ 5355531 h 5392467"/>
              <a:gd name="connsiteX3502" fmla="*/ 2385788 w 6096001"/>
              <a:gd name="connsiteY3502" fmla="*/ 5376806 h 5392467"/>
              <a:gd name="connsiteX3503" fmla="*/ 2341304 w 6096001"/>
              <a:gd name="connsiteY3503" fmla="*/ 5392279 h 5392467"/>
              <a:gd name="connsiteX3504" fmla="*/ 2366447 w 6096001"/>
              <a:gd name="connsiteY3504" fmla="*/ 5376806 h 5392467"/>
              <a:gd name="connsiteX3505" fmla="*/ 2395458 w 6096001"/>
              <a:gd name="connsiteY3505" fmla="*/ 5353598 h 5392467"/>
              <a:gd name="connsiteX3506" fmla="*/ 2354842 w 6096001"/>
              <a:gd name="connsiteY3506" fmla="*/ 5372940 h 5392467"/>
              <a:gd name="connsiteX3507" fmla="*/ 2350974 w 6096001"/>
              <a:gd name="connsiteY3507" fmla="*/ 5367136 h 5392467"/>
              <a:gd name="connsiteX3508" fmla="*/ 2335501 w 6096001"/>
              <a:gd name="connsiteY3508" fmla="*/ 5371004 h 5392467"/>
              <a:gd name="connsiteX3509" fmla="*/ 2333568 w 6096001"/>
              <a:gd name="connsiteY3509" fmla="*/ 5363268 h 5392467"/>
              <a:gd name="connsiteX3510" fmla="*/ 2291017 w 6096001"/>
              <a:gd name="connsiteY3510" fmla="*/ 5376806 h 5392467"/>
              <a:gd name="connsiteX3511" fmla="*/ 2312291 w 6096001"/>
              <a:gd name="connsiteY3511" fmla="*/ 5359400 h 5392467"/>
              <a:gd name="connsiteX3512" fmla="*/ 2285216 w 6096001"/>
              <a:gd name="connsiteY3512" fmla="*/ 5345862 h 5392467"/>
              <a:gd name="connsiteX3513" fmla="*/ 2298754 w 6096001"/>
              <a:gd name="connsiteY3513" fmla="*/ 5341991 h 5392467"/>
              <a:gd name="connsiteX3514" fmla="*/ 2275544 w 6096001"/>
              <a:gd name="connsiteY3514" fmla="*/ 5340058 h 5392467"/>
              <a:gd name="connsiteX3515" fmla="*/ 2254270 w 6096001"/>
              <a:gd name="connsiteY3515" fmla="*/ 5355531 h 5392467"/>
              <a:gd name="connsiteX3516" fmla="*/ 2267808 w 6096001"/>
              <a:gd name="connsiteY3516" fmla="*/ 5332322 h 5392467"/>
              <a:gd name="connsiteX3517" fmla="*/ 2250402 w 6096001"/>
              <a:gd name="connsiteY3517" fmla="*/ 5343927 h 5392467"/>
              <a:gd name="connsiteX3518" fmla="*/ 2260071 w 6096001"/>
              <a:gd name="connsiteY3518" fmla="*/ 5330389 h 5392467"/>
              <a:gd name="connsiteX3519" fmla="*/ 2248466 w 6096001"/>
              <a:gd name="connsiteY3519" fmla="*/ 5326521 h 5392467"/>
              <a:gd name="connsiteX3520" fmla="*/ 2267808 w 6096001"/>
              <a:gd name="connsiteY3520" fmla="*/ 5307179 h 5392467"/>
              <a:gd name="connsiteX3521" fmla="*/ 2258138 w 6096001"/>
              <a:gd name="connsiteY3521" fmla="*/ 5297508 h 5392467"/>
              <a:gd name="connsiteX3522" fmla="*/ 2238797 w 6096001"/>
              <a:gd name="connsiteY3522" fmla="*/ 5316849 h 5392467"/>
              <a:gd name="connsiteX3523" fmla="*/ 2234929 w 6096001"/>
              <a:gd name="connsiteY3523" fmla="*/ 5303311 h 5392467"/>
              <a:gd name="connsiteX3524" fmla="*/ 2242665 w 6096001"/>
              <a:gd name="connsiteY3524" fmla="*/ 5291706 h 5392467"/>
              <a:gd name="connsiteX3525" fmla="*/ 2223324 w 6096001"/>
              <a:gd name="connsiteY3525" fmla="*/ 5293639 h 5392467"/>
              <a:gd name="connsiteX3526" fmla="*/ 2225257 w 6096001"/>
              <a:gd name="connsiteY3526" fmla="*/ 5283970 h 5392467"/>
              <a:gd name="connsiteX3527" fmla="*/ 2217523 w 6096001"/>
              <a:gd name="connsiteY3527" fmla="*/ 5282035 h 5392467"/>
              <a:gd name="connsiteX3528" fmla="*/ 2234929 w 6096001"/>
              <a:gd name="connsiteY3528" fmla="*/ 5260760 h 5392467"/>
              <a:gd name="connsiteX3529" fmla="*/ 2236864 w 6096001"/>
              <a:gd name="connsiteY3529" fmla="*/ 5241419 h 5392467"/>
              <a:gd name="connsiteX3530" fmla="*/ 2207851 w 6096001"/>
              <a:gd name="connsiteY3530" fmla="*/ 5262696 h 5392467"/>
              <a:gd name="connsiteX3531" fmla="*/ 2180773 w 6096001"/>
              <a:gd name="connsiteY3531" fmla="*/ 5282035 h 5392467"/>
              <a:gd name="connsiteX3532" fmla="*/ 2173037 w 6096001"/>
              <a:gd name="connsiteY3532" fmla="*/ 5283970 h 5392467"/>
              <a:gd name="connsiteX3533" fmla="*/ 2182706 w 6096001"/>
              <a:gd name="connsiteY3533" fmla="*/ 5276233 h 5392467"/>
              <a:gd name="connsiteX3534" fmla="*/ 2180773 w 6096001"/>
              <a:gd name="connsiteY3534" fmla="*/ 5274298 h 5392467"/>
              <a:gd name="connsiteX3535" fmla="*/ 2165300 w 6096001"/>
              <a:gd name="connsiteY3535" fmla="*/ 5282035 h 5392467"/>
              <a:gd name="connsiteX3536" fmla="*/ 2207851 w 6096001"/>
              <a:gd name="connsiteY3536" fmla="*/ 5245287 h 5392467"/>
              <a:gd name="connsiteX3537" fmla="*/ 2213655 w 6096001"/>
              <a:gd name="connsiteY3537" fmla="*/ 5222078 h 5392467"/>
              <a:gd name="connsiteX3538" fmla="*/ 2205916 w 6096001"/>
              <a:gd name="connsiteY3538" fmla="*/ 5208540 h 5392467"/>
              <a:gd name="connsiteX3539" fmla="*/ 2196246 w 6096001"/>
              <a:gd name="connsiteY3539" fmla="*/ 5198871 h 5392467"/>
              <a:gd name="connsiteX3540" fmla="*/ 2163367 w 6096001"/>
              <a:gd name="connsiteY3540" fmla="*/ 5204672 h 5392467"/>
              <a:gd name="connsiteX3541" fmla="*/ 2171104 w 6096001"/>
              <a:gd name="connsiteY3541" fmla="*/ 5195000 h 5392467"/>
              <a:gd name="connsiteX3542" fmla="*/ 2124685 w 6096001"/>
              <a:gd name="connsiteY3542" fmla="*/ 5220145 h 5392467"/>
              <a:gd name="connsiteX3543" fmla="*/ 2144026 w 6096001"/>
              <a:gd name="connsiteY3543" fmla="*/ 5202736 h 5392467"/>
              <a:gd name="connsiteX3544" fmla="*/ 2165300 w 6096001"/>
              <a:gd name="connsiteY3544" fmla="*/ 5181462 h 5392467"/>
              <a:gd name="connsiteX3545" fmla="*/ 2138223 w 6096001"/>
              <a:gd name="connsiteY3545" fmla="*/ 5195000 h 5392467"/>
              <a:gd name="connsiteX3546" fmla="*/ 2113080 w 6096001"/>
              <a:gd name="connsiteY3546" fmla="*/ 5210473 h 5392467"/>
              <a:gd name="connsiteX3547" fmla="*/ 2149829 w 6096001"/>
              <a:gd name="connsiteY3547" fmla="*/ 5169857 h 5392467"/>
              <a:gd name="connsiteX3548" fmla="*/ 2147894 w 6096001"/>
              <a:gd name="connsiteY3548" fmla="*/ 5154384 h 5392467"/>
              <a:gd name="connsiteX3549" fmla="*/ 2138223 w 6096001"/>
              <a:gd name="connsiteY3549" fmla="*/ 5158253 h 5392467"/>
              <a:gd name="connsiteX3550" fmla="*/ 2140158 w 6096001"/>
              <a:gd name="connsiteY3550" fmla="*/ 5144713 h 5392467"/>
              <a:gd name="connsiteX3551" fmla="*/ 2107279 w 6096001"/>
              <a:gd name="connsiteY3551" fmla="*/ 5167922 h 5392467"/>
              <a:gd name="connsiteX3552" fmla="*/ 2105343 w 6096001"/>
              <a:gd name="connsiteY3552" fmla="*/ 5165989 h 5392467"/>
              <a:gd name="connsiteX3553" fmla="*/ 2118881 w 6096001"/>
              <a:gd name="connsiteY3553" fmla="*/ 5148583 h 5392467"/>
              <a:gd name="connsiteX3554" fmla="*/ 2107279 w 6096001"/>
              <a:gd name="connsiteY3554" fmla="*/ 5148583 h 5392467"/>
              <a:gd name="connsiteX3555" fmla="*/ 2132421 w 6096001"/>
              <a:gd name="connsiteY3555" fmla="*/ 5121505 h 5392467"/>
              <a:gd name="connsiteX3556" fmla="*/ 2118881 w 6096001"/>
              <a:gd name="connsiteY3556" fmla="*/ 5121505 h 5392467"/>
              <a:gd name="connsiteX3557" fmla="*/ 2124685 w 6096001"/>
              <a:gd name="connsiteY3557" fmla="*/ 5111836 h 5392467"/>
              <a:gd name="connsiteX3558" fmla="*/ 2105343 w 6096001"/>
              <a:gd name="connsiteY3558" fmla="*/ 5096361 h 5392467"/>
              <a:gd name="connsiteX3559" fmla="*/ 2115013 w 6096001"/>
              <a:gd name="connsiteY3559" fmla="*/ 5088626 h 5392467"/>
              <a:gd name="connsiteX3560" fmla="*/ 2113080 w 6096001"/>
              <a:gd name="connsiteY3560" fmla="*/ 5086691 h 5392467"/>
              <a:gd name="connsiteX3561" fmla="*/ 2099542 w 6096001"/>
              <a:gd name="connsiteY3561" fmla="*/ 5094428 h 5392467"/>
              <a:gd name="connsiteX3562" fmla="*/ 2097607 w 6096001"/>
              <a:gd name="connsiteY3562" fmla="*/ 5092495 h 5392467"/>
              <a:gd name="connsiteX3563" fmla="*/ 2126620 w 6096001"/>
              <a:gd name="connsiteY3563" fmla="*/ 5067350 h 5392467"/>
              <a:gd name="connsiteX3564" fmla="*/ 2134354 w 6096001"/>
              <a:gd name="connsiteY3564" fmla="*/ 5073153 h 5392467"/>
              <a:gd name="connsiteX3565" fmla="*/ 2136290 w 6096001"/>
              <a:gd name="connsiteY3565" fmla="*/ 5057678 h 5392467"/>
              <a:gd name="connsiteX3566" fmla="*/ 2144026 w 6096001"/>
              <a:gd name="connsiteY3566" fmla="*/ 5030603 h 5392467"/>
              <a:gd name="connsiteX3567" fmla="*/ 2124685 w 6096001"/>
              <a:gd name="connsiteY3567" fmla="*/ 5018998 h 5392467"/>
              <a:gd name="connsiteX3568" fmla="*/ 2144026 w 6096001"/>
              <a:gd name="connsiteY3568" fmla="*/ 4993853 h 5392467"/>
              <a:gd name="connsiteX3569" fmla="*/ 2144026 w 6096001"/>
              <a:gd name="connsiteY3569" fmla="*/ 4991920 h 5392467"/>
              <a:gd name="connsiteX3570" fmla="*/ 2134354 w 6096001"/>
              <a:gd name="connsiteY3570" fmla="*/ 4993853 h 5392467"/>
              <a:gd name="connsiteX3571" fmla="*/ 2089870 w 6096001"/>
              <a:gd name="connsiteY3571" fmla="*/ 5024801 h 5392467"/>
              <a:gd name="connsiteX3572" fmla="*/ 2080201 w 6096001"/>
              <a:gd name="connsiteY3572" fmla="*/ 5028667 h 5392467"/>
              <a:gd name="connsiteX3573" fmla="*/ 2074397 w 6096001"/>
              <a:gd name="connsiteY3573" fmla="*/ 5030603 h 5392467"/>
              <a:gd name="connsiteX3574" fmla="*/ 2041518 w 6096001"/>
              <a:gd name="connsiteY3574" fmla="*/ 5048009 h 5392467"/>
              <a:gd name="connsiteX3575" fmla="*/ 1892592 w 6096001"/>
              <a:gd name="connsiteY3575" fmla="*/ 5044140 h 5392467"/>
              <a:gd name="connsiteX3576" fmla="*/ 1882197 w 6096001"/>
              <a:gd name="connsiteY3576" fmla="*/ 5050910 h 5392467"/>
              <a:gd name="connsiteX3577" fmla="*/ 1870196 w 6096001"/>
              <a:gd name="connsiteY3577" fmla="*/ 5051697 h 5392467"/>
              <a:gd name="connsiteX3578" fmla="*/ 1875186 w 6096001"/>
              <a:gd name="connsiteY3578" fmla="*/ 5048009 h 5392467"/>
              <a:gd name="connsiteX3579" fmla="*/ 1882922 w 6096001"/>
              <a:gd name="connsiteY3579" fmla="*/ 5042207 h 5392467"/>
              <a:gd name="connsiteX3580" fmla="*/ 1880987 w 6096001"/>
              <a:gd name="connsiteY3580" fmla="*/ 5040272 h 5392467"/>
              <a:gd name="connsiteX3581" fmla="*/ 1865516 w 6096001"/>
              <a:gd name="connsiteY3581" fmla="*/ 5048009 h 5392467"/>
              <a:gd name="connsiteX3582" fmla="*/ 1861646 w 6096001"/>
              <a:gd name="connsiteY3582" fmla="*/ 5042207 h 5392467"/>
              <a:gd name="connsiteX3583" fmla="*/ 1853909 w 6096001"/>
              <a:gd name="connsiteY3583" fmla="*/ 5051877 h 5392467"/>
              <a:gd name="connsiteX3584" fmla="*/ 1851976 w 6096001"/>
              <a:gd name="connsiteY3584" fmla="*/ 5057678 h 5392467"/>
              <a:gd name="connsiteX3585" fmla="*/ 1846700 w 6096001"/>
              <a:gd name="connsiteY3585" fmla="*/ 5060844 h 5392467"/>
              <a:gd name="connsiteX3586" fmla="*/ 1840371 w 6096001"/>
              <a:gd name="connsiteY3586" fmla="*/ 5059613 h 5392467"/>
              <a:gd name="connsiteX3587" fmla="*/ 1824898 w 6096001"/>
              <a:gd name="connsiteY3587" fmla="*/ 5069285 h 5392467"/>
              <a:gd name="connsiteX3588" fmla="*/ 1816196 w 6096001"/>
              <a:gd name="connsiteY3588" fmla="*/ 5074120 h 5392467"/>
              <a:gd name="connsiteX3589" fmla="*/ 1814721 w 6096001"/>
              <a:gd name="connsiteY3589" fmla="*/ 5079526 h 5392467"/>
              <a:gd name="connsiteX3590" fmla="*/ 1797821 w 6096001"/>
              <a:gd name="connsiteY3590" fmla="*/ 5088626 h 5392467"/>
              <a:gd name="connsiteX3591" fmla="*/ 1793470 w 6096001"/>
              <a:gd name="connsiteY3591" fmla="*/ 5093703 h 5392467"/>
              <a:gd name="connsiteX3592" fmla="*/ 1796901 w 6096001"/>
              <a:gd name="connsiteY3592" fmla="*/ 5098849 h 5392467"/>
              <a:gd name="connsiteX3593" fmla="*/ 1788151 w 6096001"/>
              <a:gd name="connsiteY3593" fmla="*/ 5104097 h 5392467"/>
              <a:gd name="connsiteX3594" fmla="*/ 1782350 w 6096001"/>
              <a:gd name="connsiteY3594" fmla="*/ 5096361 h 5392467"/>
              <a:gd name="connsiteX3595" fmla="*/ 1768810 w 6096001"/>
              <a:gd name="connsiteY3595" fmla="*/ 5115702 h 5392467"/>
              <a:gd name="connsiteX3596" fmla="*/ 1755272 w 6096001"/>
              <a:gd name="connsiteY3596" fmla="*/ 5123438 h 5392467"/>
              <a:gd name="connsiteX3597" fmla="*/ 1733996 w 6096001"/>
              <a:gd name="connsiteY3597" fmla="*/ 5133110 h 5392467"/>
              <a:gd name="connsiteX3598" fmla="*/ 1712721 w 6096001"/>
              <a:gd name="connsiteY3598" fmla="*/ 5135043 h 5392467"/>
              <a:gd name="connsiteX3599" fmla="*/ 1718523 w 6096001"/>
              <a:gd name="connsiteY3599" fmla="*/ 5142780 h 5392467"/>
              <a:gd name="connsiteX3600" fmla="*/ 1668238 w 6096001"/>
              <a:gd name="connsiteY3600" fmla="*/ 5171790 h 5392467"/>
              <a:gd name="connsiteX3601" fmla="*/ 1675974 w 6096001"/>
              <a:gd name="connsiteY3601" fmla="*/ 5164054 h 5392467"/>
              <a:gd name="connsiteX3602" fmla="*/ 1645028 w 6096001"/>
              <a:gd name="connsiteY3602" fmla="*/ 5179529 h 5392467"/>
              <a:gd name="connsiteX3603" fmla="*/ 1643093 w 6096001"/>
              <a:gd name="connsiteY3603" fmla="*/ 5181462 h 5392467"/>
              <a:gd name="connsiteX3604" fmla="*/ 1623752 w 6096001"/>
              <a:gd name="connsiteY3604" fmla="*/ 5195000 h 5392467"/>
              <a:gd name="connsiteX3605" fmla="*/ 1606346 w 6096001"/>
              <a:gd name="connsiteY3605" fmla="*/ 5204672 h 5392467"/>
              <a:gd name="connsiteX3606" fmla="*/ 1604410 w 6096001"/>
              <a:gd name="connsiteY3606" fmla="*/ 5196935 h 5392467"/>
              <a:gd name="connsiteX3607" fmla="*/ 1588940 w 6096001"/>
              <a:gd name="connsiteY3607" fmla="*/ 5210473 h 5392467"/>
              <a:gd name="connsiteX3608" fmla="*/ 1569598 w 6096001"/>
              <a:gd name="connsiteY3608" fmla="*/ 5220145 h 5392467"/>
              <a:gd name="connsiteX3609" fmla="*/ 1579268 w 6096001"/>
              <a:gd name="connsiteY3609" fmla="*/ 5208540 h 5392467"/>
              <a:gd name="connsiteX3610" fmla="*/ 1536717 w 6096001"/>
              <a:gd name="connsiteY3610" fmla="*/ 5222078 h 5392467"/>
              <a:gd name="connsiteX3611" fmla="*/ 1546389 w 6096001"/>
              <a:gd name="connsiteY3611" fmla="*/ 5212408 h 5392467"/>
              <a:gd name="connsiteX3612" fmla="*/ 1542521 w 6096001"/>
              <a:gd name="connsiteY3612" fmla="*/ 5210473 h 5392467"/>
              <a:gd name="connsiteX3613" fmla="*/ 1498037 w 6096001"/>
              <a:gd name="connsiteY3613" fmla="*/ 5231747 h 5392467"/>
              <a:gd name="connsiteX3614" fmla="*/ 1440013 w 6096001"/>
              <a:gd name="connsiteY3614" fmla="*/ 5258827 h 5392467"/>
              <a:gd name="connsiteX3615" fmla="*/ 1438078 w 6096001"/>
              <a:gd name="connsiteY3615" fmla="*/ 5258827 h 5392467"/>
              <a:gd name="connsiteX3616" fmla="*/ 1461787 w 6096001"/>
              <a:gd name="connsiteY3616" fmla="*/ 5243853 h 5392467"/>
              <a:gd name="connsiteX3617" fmla="*/ 1463222 w 6096001"/>
              <a:gd name="connsiteY3617" fmla="*/ 5245287 h 5392467"/>
              <a:gd name="connsiteX3618" fmla="*/ 1469024 w 6096001"/>
              <a:gd name="connsiteY3618" fmla="*/ 5241419 h 5392467"/>
              <a:gd name="connsiteX3619" fmla="*/ 1467713 w 6096001"/>
              <a:gd name="connsiteY3619" fmla="*/ 5240111 h 5392467"/>
              <a:gd name="connsiteX3620" fmla="*/ 1474827 w 6096001"/>
              <a:gd name="connsiteY3620" fmla="*/ 5235618 h 5392467"/>
              <a:gd name="connsiteX3621" fmla="*/ 1461287 w 6096001"/>
              <a:gd name="connsiteY3621" fmla="*/ 5231747 h 5392467"/>
              <a:gd name="connsiteX3622" fmla="*/ 1422605 w 6096001"/>
              <a:gd name="connsiteY3622" fmla="*/ 5247223 h 5392467"/>
              <a:gd name="connsiteX3623" fmla="*/ 1411002 w 6096001"/>
              <a:gd name="connsiteY3623" fmla="*/ 5249156 h 5392467"/>
              <a:gd name="connsiteX3624" fmla="*/ 1438078 w 6096001"/>
              <a:gd name="connsiteY3624" fmla="*/ 5225946 h 5392467"/>
              <a:gd name="connsiteX3625" fmla="*/ 1443881 w 6096001"/>
              <a:gd name="connsiteY3625" fmla="*/ 5222078 h 5392467"/>
              <a:gd name="connsiteX3626" fmla="*/ 1441946 w 6096001"/>
              <a:gd name="connsiteY3626" fmla="*/ 5220145 h 5392467"/>
              <a:gd name="connsiteX3627" fmla="*/ 1391661 w 6096001"/>
              <a:gd name="connsiteY3627" fmla="*/ 5243354 h 5392467"/>
              <a:gd name="connsiteX3628" fmla="*/ 1374253 w 6096001"/>
              <a:gd name="connsiteY3628" fmla="*/ 5233683 h 5392467"/>
              <a:gd name="connsiteX3629" fmla="*/ 1378121 w 6096001"/>
              <a:gd name="connsiteY3629" fmla="*/ 5239486 h 5392467"/>
              <a:gd name="connsiteX3630" fmla="*/ 1381989 w 6096001"/>
              <a:gd name="connsiteY3630" fmla="*/ 5247223 h 5392467"/>
              <a:gd name="connsiteX3631" fmla="*/ 1374253 w 6096001"/>
              <a:gd name="connsiteY3631" fmla="*/ 5253024 h 5392467"/>
              <a:gd name="connsiteX3632" fmla="*/ 1352978 w 6096001"/>
              <a:gd name="connsiteY3632" fmla="*/ 5258827 h 5392467"/>
              <a:gd name="connsiteX3633" fmla="*/ 1331702 w 6096001"/>
              <a:gd name="connsiteY3633" fmla="*/ 5268497 h 5392467"/>
              <a:gd name="connsiteX3634" fmla="*/ 1312361 w 6096001"/>
              <a:gd name="connsiteY3634" fmla="*/ 5276233 h 5392467"/>
              <a:gd name="connsiteX3635" fmla="*/ 1318164 w 6096001"/>
              <a:gd name="connsiteY3635" fmla="*/ 5266564 h 5392467"/>
              <a:gd name="connsiteX3636" fmla="*/ 1242734 w 6096001"/>
              <a:gd name="connsiteY3636" fmla="*/ 5303311 h 5392467"/>
              <a:gd name="connsiteX3637" fmla="*/ 1240801 w 6096001"/>
              <a:gd name="connsiteY3637" fmla="*/ 5291706 h 5392467"/>
              <a:gd name="connsiteX3638" fmla="*/ 1242734 w 6096001"/>
              <a:gd name="connsiteY3638" fmla="*/ 5289771 h 5392467"/>
              <a:gd name="connsiteX3639" fmla="*/ 1254339 w 6096001"/>
              <a:gd name="connsiteY3639" fmla="*/ 5289771 h 5392467"/>
              <a:gd name="connsiteX3640" fmla="*/ 1293019 w 6096001"/>
              <a:gd name="connsiteY3640" fmla="*/ 5270430 h 5392467"/>
              <a:gd name="connsiteX3641" fmla="*/ 1300758 w 6096001"/>
              <a:gd name="connsiteY3641" fmla="*/ 5266564 h 5392467"/>
              <a:gd name="connsiteX3642" fmla="*/ 1329769 w 6096001"/>
              <a:gd name="connsiteY3642" fmla="*/ 5247223 h 5392467"/>
              <a:gd name="connsiteX3643" fmla="*/ 1320097 w 6096001"/>
              <a:gd name="connsiteY3643" fmla="*/ 5247223 h 5392467"/>
              <a:gd name="connsiteX3644" fmla="*/ 1294955 w 6096001"/>
              <a:gd name="connsiteY3644" fmla="*/ 5256892 h 5392467"/>
              <a:gd name="connsiteX3645" fmla="*/ 1285285 w 6096001"/>
              <a:gd name="connsiteY3645" fmla="*/ 5254957 h 5392467"/>
              <a:gd name="connsiteX3646" fmla="*/ 1275613 w 6096001"/>
              <a:gd name="connsiteY3646" fmla="*/ 5247223 h 5392467"/>
              <a:gd name="connsiteX3647" fmla="*/ 1291086 w 6096001"/>
              <a:gd name="connsiteY3647" fmla="*/ 5227881 h 5392467"/>
              <a:gd name="connsiteX3648" fmla="*/ 1304626 w 6096001"/>
              <a:gd name="connsiteY3648" fmla="*/ 5237551 h 5392467"/>
              <a:gd name="connsiteX3649" fmla="*/ 1320097 w 6096001"/>
              <a:gd name="connsiteY3649" fmla="*/ 5224013 h 5392467"/>
              <a:gd name="connsiteX3650" fmla="*/ 1325901 w 6096001"/>
              <a:gd name="connsiteY3650" fmla="*/ 5212408 h 5392467"/>
              <a:gd name="connsiteX3651" fmla="*/ 1335570 w 6096001"/>
              <a:gd name="connsiteY3651" fmla="*/ 5212408 h 5392467"/>
              <a:gd name="connsiteX3652" fmla="*/ 1331702 w 6096001"/>
              <a:gd name="connsiteY3652" fmla="*/ 5198871 h 5392467"/>
              <a:gd name="connsiteX3653" fmla="*/ 1306559 w 6096001"/>
              <a:gd name="connsiteY3653" fmla="*/ 5204672 h 5392467"/>
              <a:gd name="connsiteX3654" fmla="*/ 1312361 w 6096001"/>
              <a:gd name="connsiteY3654" fmla="*/ 5196935 h 5392467"/>
              <a:gd name="connsiteX3655" fmla="*/ 1331702 w 6096001"/>
              <a:gd name="connsiteY3655" fmla="*/ 5175661 h 5392467"/>
              <a:gd name="connsiteX3656" fmla="*/ 1343307 w 6096001"/>
              <a:gd name="connsiteY3656" fmla="*/ 5165989 h 5392467"/>
              <a:gd name="connsiteX3657" fmla="*/ 1374253 w 6096001"/>
              <a:gd name="connsiteY3657" fmla="*/ 5127307 h 5392467"/>
              <a:gd name="connsiteX3658" fmla="*/ 1356847 w 6096001"/>
              <a:gd name="connsiteY3658" fmla="*/ 5136978 h 5392467"/>
              <a:gd name="connsiteX3659" fmla="*/ 1343307 w 6096001"/>
              <a:gd name="connsiteY3659" fmla="*/ 5152451 h 5392467"/>
              <a:gd name="connsiteX3660" fmla="*/ 1325901 w 6096001"/>
              <a:gd name="connsiteY3660" fmla="*/ 5156320 h 5392467"/>
              <a:gd name="connsiteX3661" fmla="*/ 1294955 w 6096001"/>
              <a:gd name="connsiteY3661" fmla="*/ 5181462 h 5392467"/>
              <a:gd name="connsiteX3662" fmla="*/ 1302691 w 6096001"/>
              <a:gd name="connsiteY3662" fmla="*/ 5187263 h 5392467"/>
              <a:gd name="connsiteX3663" fmla="*/ 1293019 w 6096001"/>
              <a:gd name="connsiteY3663" fmla="*/ 5185330 h 5392467"/>
              <a:gd name="connsiteX3664" fmla="*/ 1291086 w 6096001"/>
              <a:gd name="connsiteY3664" fmla="*/ 5175661 h 5392467"/>
              <a:gd name="connsiteX3665" fmla="*/ 1252404 w 6096001"/>
              <a:gd name="connsiteY3665" fmla="*/ 5191132 h 5392467"/>
              <a:gd name="connsiteX3666" fmla="*/ 1258207 w 6096001"/>
              <a:gd name="connsiteY3666" fmla="*/ 5187263 h 5392467"/>
              <a:gd name="connsiteX3667" fmla="*/ 1275613 w 6096001"/>
              <a:gd name="connsiteY3667" fmla="*/ 5177594 h 5392467"/>
              <a:gd name="connsiteX3668" fmla="*/ 1293019 w 6096001"/>
              <a:gd name="connsiteY3668" fmla="*/ 5156320 h 5392467"/>
              <a:gd name="connsiteX3669" fmla="*/ 1306559 w 6096001"/>
              <a:gd name="connsiteY3669" fmla="*/ 5142780 h 5392467"/>
              <a:gd name="connsiteX3670" fmla="*/ 1312361 w 6096001"/>
              <a:gd name="connsiteY3670" fmla="*/ 5150516 h 5392467"/>
              <a:gd name="connsiteX3671" fmla="*/ 1318164 w 6096001"/>
              <a:gd name="connsiteY3671" fmla="*/ 5138911 h 5392467"/>
              <a:gd name="connsiteX3672" fmla="*/ 1337505 w 6096001"/>
              <a:gd name="connsiteY3672" fmla="*/ 5117637 h 5392467"/>
              <a:gd name="connsiteX3673" fmla="*/ 1345242 w 6096001"/>
              <a:gd name="connsiteY3673" fmla="*/ 5111836 h 5392467"/>
              <a:gd name="connsiteX3674" fmla="*/ 1364583 w 6096001"/>
              <a:gd name="connsiteY3674" fmla="*/ 5102164 h 5392467"/>
              <a:gd name="connsiteX3675" fmla="*/ 1369543 w 6096001"/>
              <a:gd name="connsiteY3675" fmla="*/ 5095551 h 5392467"/>
              <a:gd name="connsiteX3676" fmla="*/ 1376429 w 6096001"/>
              <a:gd name="connsiteY3676" fmla="*/ 5094427 h 5392467"/>
              <a:gd name="connsiteX3677" fmla="*/ 1383922 w 6096001"/>
              <a:gd name="connsiteY3677" fmla="*/ 5086691 h 5392467"/>
              <a:gd name="connsiteX3678" fmla="*/ 1375502 w 6096001"/>
              <a:gd name="connsiteY3678" fmla="*/ 5087606 h 5392467"/>
              <a:gd name="connsiteX3679" fmla="*/ 1376188 w 6096001"/>
              <a:gd name="connsiteY3679" fmla="*/ 5086691 h 5392467"/>
              <a:gd name="connsiteX3680" fmla="*/ 1374253 w 6096001"/>
              <a:gd name="connsiteY3680" fmla="*/ 5084756 h 5392467"/>
              <a:gd name="connsiteX3681" fmla="*/ 1354911 w 6096001"/>
              <a:gd name="connsiteY3681" fmla="*/ 5096361 h 5392467"/>
              <a:gd name="connsiteX3682" fmla="*/ 1349110 w 6096001"/>
              <a:gd name="connsiteY3682" fmla="*/ 5100229 h 5392467"/>
              <a:gd name="connsiteX3683" fmla="*/ 1316229 w 6096001"/>
              <a:gd name="connsiteY3683" fmla="*/ 5107965 h 5392467"/>
              <a:gd name="connsiteX3684" fmla="*/ 1310428 w 6096001"/>
              <a:gd name="connsiteY3684" fmla="*/ 5123438 h 5392467"/>
              <a:gd name="connsiteX3685" fmla="*/ 1293019 w 6096001"/>
              <a:gd name="connsiteY3685" fmla="*/ 5127307 h 5392467"/>
              <a:gd name="connsiteX3686" fmla="*/ 1298823 w 6096001"/>
              <a:gd name="connsiteY3686" fmla="*/ 5111836 h 5392467"/>
              <a:gd name="connsiteX3687" fmla="*/ 1252404 w 6096001"/>
              <a:gd name="connsiteY3687" fmla="*/ 5135043 h 5392467"/>
              <a:gd name="connsiteX3688" fmla="*/ 1250471 w 6096001"/>
              <a:gd name="connsiteY3688" fmla="*/ 5133110 h 5392467"/>
              <a:gd name="connsiteX3689" fmla="*/ 1279482 w 6096001"/>
              <a:gd name="connsiteY3689" fmla="*/ 5111836 h 5392467"/>
              <a:gd name="connsiteX3690" fmla="*/ 1306559 w 6096001"/>
              <a:gd name="connsiteY3690" fmla="*/ 5088626 h 5392467"/>
              <a:gd name="connsiteX3691" fmla="*/ 1275613 w 6096001"/>
              <a:gd name="connsiteY3691" fmla="*/ 5107965 h 5392467"/>
              <a:gd name="connsiteX3692" fmla="*/ 1275613 w 6096001"/>
              <a:gd name="connsiteY3692" fmla="*/ 5106032 h 5392467"/>
              <a:gd name="connsiteX3693" fmla="*/ 1289153 w 6096001"/>
              <a:gd name="connsiteY3693" fmla="*/ 5094428 h 5392467"/>
              <a:gd name="connsiteX3694" fmla="*/ 1302691 w 6096001"/>
              <a:gd name="connsiteY3694" fmla="*/ 5082823 h 5392467"/>
              <a:gd name="connsiteX3695" fmla="*/ 1244667 w 6096001"/>
              <a:gd name="connsiteY3695" fmla="*/ 5115702 h 5392467"/>
              <a:gd name="connsiteX3696" fmla="*/ 1240801 w 6096001"/>
              <a:gd name="connsiteY3696" fmla="*/ 5113769 h 5392467"/>
              <a:gd name="connsiteX3697" fmla="*/ 1246603 w 6096001"/>
              <a:gd name="connsiteY3697" fmla="*/ 5107965 h 5392467"/>
              <a:gd name="connsiteX3698" fmla="*/ 1277549 w 6096001"/>
              <a:gd name="connsiteY3698" fmla="*/ 5084756 h 5392467"/>
              <a:gd name="connsiteX3699" fmla="*/ 1283350 w 6096001"/>
              <a:gd name="connsiteY3699" fmla="*/ 5080888 h 5392467"/>
              <a:gd name="connsiteX3700" fmla="*/ 1302691 w 6096001"/>
              <a:gd name="connsiteY3700" fmla="*/ 5067350 h 5392467"/>
              <a:gd name="connsiteX3701" fmla="*/ 1310428 w 6096001"/>
              <a:gd name="connsiteY3701" fmla="*/ 5069285 h 5392467"/>
              <a:gd name="connsiteX3702" fmla="*/ 1316229 w 6096001"/>
              <a:gd name="connsiteY3702" fmla="*/ 5059613 h 5392467"/>
              <a:gd name="connsiteX3703" fmla="*/ 1331702 w 6096001"/>
              <a:gd name="connsiteY3703" fmla="*/ 5038339 h 5392467"/>
              <a:gd name="connsiteX3704" fmla="*/ 1345242 w 6096001"/>
              <a:gd name="connsiteY3704" fmla="*/ 5036404 h 5392467"/>
              <a:gd name="connsiteX3705" fmla="*/ 1358780 w 6096001"/>
              <a:gd name="connsiteY3705" fmla="*/ 5011261 h 5392467"/>
              <a:gd name="connsiteX3706" fmla="*/ 1370384 w 6096001"/>
              <a:gd name="connsiteY3706" fmla="*/ 5003525 h 5392467"/>
              <a:gd name="connsiteX3707" fmla="*/ 1387793 w 6096001"/>
              <a:gd name="connsiteY3707" fmla="*/ 4991920 h 5392467"/>
              <a:gd name="connsiteX3708" fmla="*/ 1381989 w 6096001"/>
              <a:gd name="connsiteY3708" fmla="*/ 4986119 h 5392467"/>
              <a:gd name="connsiteX3709" fmla="*/ 1412935 w 6096001"/>
              <a:gd name="connsiteY3709" fmla="*/ 4964842 h 5392467"/>
              <a:gd name="connsiteX3710" fmla="*/ 1403263 w 6096001"/>
              <a:gd name="connsiteY3710" fmla="*/ 4957106 h 5392467"/>
              <a:gd name="connsiteX3711" fmla="*/ 1395529 w 6096001"/>
              <a:gd name="connsiteY3711" fmla="*/ 4970643 h 5392467"/>
              <a:gd name="connsiteX3712" fmla="*/ 1393594 w 6096001"/>
              <a:gd name="connsiteY3712" fmla="*/ 4960974 h 5392467"/>
              <a:gd name="connsiteX3713" fmla="*/ 1381989 w 6096001"/>
              <a:gd name="connsiteY3713" fmla="*/ 4968710 h 5392467"/>
              <a:gd name="connsiteX3714" fmla="*/ 1372320 w 6096001"/>
              <a:gd name="connsiteY3714" fmla="*/ 4972579 h 5392467"/>
              <a:gd name="connsiteX3715" fmla="*/ 1343307 w 6096001"/>
              <a:gd name="connsiteY3715" fmla="*/ 4989985 h 5392467"/>
              <a:gd name="connsiteX3716" fmla="*/ 1327836 w 6096001"/>
              <a:gd name="connsiteY3716" fmla="*/ 4995788 h 5392467"/>
              <a:gd name="connsiteX3717" fmla="*/ 1291086 w 6096001"/>
              <a:gd name="connsiteY3717" fmla="*/ 5005460 h 5392467"/>
              <a:gd name="connsiteX3718" fmla="*/ 1287218 w 6096001"/>
              <a:gd name="connsiteY3718" fmla="*/ 5005460 h 5392467"/>
              <a:gd name="connsiteX3719" fmla="*/ 1298823 w 6096001"/>
              <a:gd name="connsiteY3719" fmla="*/ 4993853 h 5392467"/>
              <a:gd name="connsiteX3720" fmla="*/ 1300758 w 6096001"/>
              <a:gd name="connsiteY3720" fmla="*/ 4989985 h 5392467"/>
              <a:gd name="connsiteX3721" fmla="*/ 1312361 w 6096001"/>
              <a:gd name="connsiteY3721" fmla="*/ 4972579 h 5392467"/>
              <a:gd name="connsiteX3722" fmla="*/ 1331702 w 6096001"/>
              <a:gd name="connsiteY3722" fmla="*/ 4960974 h 5392467"/>
              <a:gd name="connsiteX3723" fmla="*/ 1351043 w 6096001"/>
              <a:gd name="connsiteY3723" fmla="*/ 4943568 h 5392467"/>
              <a:gd name="connsiteX3724" fmla="*/ 1312361 w 6096001"/>
              <a:gd name="connsiteY3724" fmla="*/ 4955173 h 5392467"/>
              <a:gd name="connsiteX3725" fmla="*/ 1304626 w 6096001"/>
              <a:gd name="connsiteY3725" fmla="*/ 4960974 h 5392467"/>
              <a:gd name="connsiteX3726" fmla="*/ 1273678 w 6096001"/>
              <a:gd name="connsiteY3726" fmla="*/ 4984184 h 5392467"/>
              <a:gd name="connsiteX3727" fmla="*/ 1269812 w 6096001"/>
              <a:gd name="connsiteY3727" fmla="*/ 4995788 h 5392467"/>
              <a:gd name="connsiteX3728" fmla="*/ 1264009 w 6096001"/>
              <a:gd name="connsiteY3728" fmla="*/ 4997721 h 5392467"/>
              <a:gd name="connsiteX3729" fmla="*/ 1258207 w 6096001"/>
              <a:gd name="connsiteY3729" fmla="*/ 4989985 h 5392467"/>
              <a:gd name="connsiteX3730" fmla="*/ 1279482 w 6096001"/>
              <a:gd name="connsiteY3730" fmla="*/ 4970643 h 5392467"/>
              <a:gd name="connsiteX3731" fmla="*/ 1285285 w 6096001"/>
              <a:gd name="connsiteY3731" fmla="*/ 4968710 h 5392467"/>
              <a:gd name="connsiteX3732" fmla="*/ 1294955 w 6096001"/>
              <a:gd name="connsiteY3732" fmla="*/ 4959041 h 5392467"/>
              <a:gd name="connsiteX3733" fmla="*/ 1277549 w 6096001"/>
              <a:gd name="connsiteY3733" fmla="*/ 4964842 h 5392467"/>
              <a:gd name="connsiteX3734" fmla="*/ 1271745 w 6096001"/>
              <a:gd name="connsiteY3734" fmla="*/ 4970643 h 5392467"/>
              <a:gd name="connsiteX3735" fmla="*/ 1267877 w 6096001"/>
              <a:gd name="connsiteY3735" fmla="*/ 4966778 h 5392467"/>
              <a:gd name="connsiteX3736" fmla="*/ 1254339 w 6096001"/>
              <a:gd name="connsiteY3736" fmla="*/ 4962909 h 5392467"/>
              <a:gd name="connsiteX3737" fmla="*/ 1267877 w 6096001"/>
              <a:gd name="connsiteY3737" fmla="*/ 4955173 h 5392467"/>
              <a:gd name="connsiteX3738" fmla="*/ 1267877 w 6096001"/>
              <a:gd name="connsiteY3738" fmla="*/ 4953237 h 5392467"/>
              <a:gd name="connsiteX3739" fmla="*/ 1269812 w 6096001"/>
              <a:gd name="connsiteY3739" fmla="*/ 4953237 h 5392467"/>
              <a:gd name="connsiteX3740" fmla="*/ 1281417 w 6096001"/>
              <a:gd name="connsiteY3740" fmla="*/ 4945501 h 5392467"/>
              <a:gd name="connsiteX3741" fmla="*/ 1293019 w 6096001"/>
              <a:gd name="connsiteY3741" fmla="*/ 4945501 h 5392467"/>
              <a:gd name="connsiteX3742" fmla="*/ 1302691 w 6096001"/>
              <a:gd name="connsiteY3742" fmla="*/ 4926160 h 5392467"/>
              <a:gd name="connsiteX3743" fmla="*/ 1298823 w 6096001"/>
              <a:gd name="connsiteY3743" fmla="*/ 4924227 h 5392467"/>
              <a:gd name="connsiteX3744" fmla="*/ 1260140 w 6096001"/>
              <a:gd name="connsiteY3744" fmla="*/ 4951302 h 5392467"/>
              <a:gd name="connsiteX3745" fmla="*/ 1265944 w 6096001"/>
              <a:gd name="connsiteY3745" fmla="*/ 4939700 h 5392467"/>
              <a:gd name="connsiteX3746" fmla="*/ 1279482 w 6096001"/>
              <a:gd name="connsiteY3746" fmla="*/ 4922291 h 5392467"/>
              <a:gd name="connsiteX3747" fmla="*/ 1250471 w 6096001"/>
              <a:gd name="connsiteY3747" fmla="*/ 4931963 h 5392467"/>
              <a:gd name="connsiteX3748" fmla="*/ 1204052 w 6096001"/>
              <a:gd name="connsiteY3748" fmla="*/ 4943568 h 5392467"/>
              <a:gd name="connsiteX3749" fmla="*/ 1184711 w 6096001"/>
              <a:gd name="connsiteY3749" fmla="*/ 4949369 h 5392467"/>
              <a:gd name="connsiteX3750" fmla="*/ 1138291 w 6096001"/>
              <a:gd name="connsiteY3750" fmla="*/ 4960974 h 5392467"/>
              <a:gd name="connsiteX3751" fmla="*/ 1163436 w 6096001"/>
              <a:gd name="connsiteY3751" fmla="*/ 4947436 h 5392467"/>
              <a:gd name="connsiteX3752" fmla="*/ 1215657 w 6096001"/>
              <a:gd name="connsiteY3752" fmla="*/ 4930028 h 5392467"/>
              <a:gd name="connsiteX3753" fmla="*/ 1236931 w 6096001"/>
              <a:gd name="connsiteY3753" fmla="*/ 4922291 h 5392467"/>
              <a:gd name="connsiteX3754" fmla="*/ 1269812 w 6096001"/>
              <a:gd name="connsiteY3754" fmla="*/ 4914555 h 5392467"/>
              <a:gd name="connsiteX3755" fmla="*/ 1277549 w 6096001"/>
              <a:gd name="connsiteY3755" fmla="*/ 4908754 h 5392467"/>
              <a:gd name="connsiteX3756" fmla="*/ 1294955 w 6096001"/>
              <a:gd name="connsiteY3756" fmla="*/ 4901017 h 5392467"/>
              <a:gd name="connsiteX3757" fmla="*/ 1302691 w 6096001"/>
              <a:gd name="connsiteY3757" fmla="*/ 4895216 h 5392467"/>
              <a:gd name="connsiteX3758" fmla="*/ 1320097 w 6096001"/>
              <a:gd name="connsiteY3758" fmla="*/ 4879743 h 5392467"/>
              <a:gd name="connsiteX3759" fmla="*/ 1300758 w 6096001"/>
              <a:gd name="connsiteY3759" fmla="*/ 4885544 h 5392467"/>
              <a:gd name="connsiteX3760" fmla="*/ 1362648 w 6096001"/>
              <a:gd name="connsiteY3760" fmla="*/ 4839125 h 5392467"/>
              <a:gd name="connsiteX3761" fmla="*/ 1360713 w 6096001"/>
              <a:gd name="connsiteY3761" fmla="*/ 4837192 h 5392467"/>
              <a:gd name="connsiteX3762" fmla="*/ 1294955 w 6096001"/>
              <a:gd name="connsiteY3762" fmla="*/ 4881676 h 5392467"/>
              <a:gd name="connsiteX3763" fmla="*/ 1304626 w 6096001"/>
              <a:gd name="connsiteY3763" fmla="*/ 4862335 h 5392467"/>
              <a:gd name="connsiteX3764" fmla="*/ 1356847 w 6096001"/>
              <a:gd name="connsiteY3764" fmla="*/ 4821719 h 5392467"/>
              <a:gd name="connsiteX3765" fmla="*/ 1360713 w 6096001"/>
              <a:gd name="connsiteY3765" fmla="*/ 4812050 h 5392467"/>
              <a:gd name="connsiteX3766" fmla="*/ 1325901 w 6096001"/>
              <a:gd name="connsiteY3766" fmla="*/ 4837192 h 5392467"/>
              <a:gd name="connsiteX3767" fmla="*/ 1325901 w 6096001"/>
              <a:gd name="connsiteY3767" fmla="*/ 4823652 h 5392467"/>
              <a:gd name="connsiteX3768" fmla="*/ 1316229 w 6096001"/>
              <a:gd name="connsiteY3768" fmla="*/ 4839125 h 5392467"/>
              <a:gd name="connsiteX3769" fmla="*/ 1294955 w 6096001"/>
              <a:gd name="connsiteY3769" fmla="*/ 4839125 h 5392467"/>
              <a:gd name="connsiteX3770" fmla="*/ 1333637 w 6096001"/>
              <a:gd name="connsiteY3770" fmla="*/ 4808181 h 5392467"/>
              <a:gd name="connsiteX3771" fmla="*/ 1343307 w 6096001"/>
              <a:gd name="connsiteY3771" fmla="*/ 4819784 h 5392467"/>
              <a:gd name="connsiteX3772" fmla="*/ 1339438 w 6096001"/>
              <a:gd name="connsiteY3772" fmla="*/ 4804311 h 5392467"/>
              <a:gd name="connsiteX3773" fmla="*/ 1368451 w 6096001"/>
              <a:gd name="connsiteY3773" fmla="*/ 4783037 h 5392467"/>
              <a:gd name="connsiteX3774" fmla="*/ 1372320 w 6096001"/>
              <a:gd name="connsiteY3774" fmla="*/ 4779168 h 5392467"/>
              <a:gd name="connsiteX3775" fmla="*/ 1393594 w 6096001"/>
              <a:gd name="connsiteY3775" fmla="*/ 4761762 h 5392467"/>
              <a:gd name="connsiteX3776" fmla="*/ 1374253 w 6096001"/>
              <a:gd name="connsiteY3776" fmla="*/ 4769499 h 5392467"/>
              <a:gd name="connsiteX3777" fmla="*/ 1364583 w 6096001"/>
              <a:gd name="connsiteY3777" fmla="*/ 4775300 h 5392467"/>
              <a:gd name="connsiteX3778" fmla="*/ 1358780 w 6096001"/>
              <a:gd name="connsiteY3778" fmla="*/ 4779168 h 5392467"/>
              <a:gd name="connsiteX3779" fmla="*/ 1356847 w 6096001"/>
              <a:gd name="connsiteY3779" fmla="*/ 4781101 h 5392467"/>
              <a:gd name="connsiteX3780" fmla="*/ 1322032 w 6096001"/>
              <a:gd name="connsiteY3780" fmla="*/ 4808181 h 5392467"/>
              <a:gd name="connsiteX3781" fmla="*/ 1310428 w 6096001"/>
              <a:gd name="connsiteY3781" fmla="*/ 4813983 h 5392467"/>
              <a:gd name="connsiteX3782" fmla="*/ 1316229 w 6096001"/>
              <a:gd name="connsiteY3782" fmla="*/ 4802378 h 5392467"/>
              <a:gd name="connsiteX3783" fmla="*/ 1308495 w 6096001"/>
              <a:gd name="connsiteY3783" fmla="*/ 4804311 h 5392467"/>
              <a:gd name="connsiteX3784" fmla="*/ 1275613 w 6096001"/>
              <a:gd name="connsiteY3784" fmla="*/ 4817851 h 5392467"/>
              <a:gd name="connsiteX3785" fmla="*/ 1267877 w 6096001"/>
              <a:gd name="connsiteY3785" fmla="*/ 4821719 h 5392467"/>
              <a:gd name="connsiteX3786" fmla="*/ 1236931 w 6096001"/>
              <a:gd name="connsiteY3786" fmla="*/ 4835257 h 5392467"/>
              <a:gd name="connsiteX3787" fmla="*/ 1202119 w 6096001"/>
              <a:gd name="connsiteY3787" fmla="*/ 4850730 h 5392467"/>
              <a:gd name="connsiteX3788" fmla="*/ 1194382 w 6096001"/>
              <a:gd name="connsiteY3788" fmla="*/ 4852665 h 5392467"/>
              <a:gd name="connsiteX3789" fmla="*/ 1140227 w 6096001"/>
              <a:gd name="connsiteY3789" fmla="*/ 4872006 h 5392467"/>
              <a:gd name="connsiteX3790" fmla="*/ 1124754 w 6096001"/>
              <a:gd name="connsiteY3790" fmla="*/ 4873939 h 5392467"/>
              <a:gd name="connsiteX3791" fmla="*/ 1084138 w 6096001"/>
              <a:gd name="connsiteY3791" fmla="*/ 4864268 h 5392467"/>
              <a:gd name="connsiteX3792" fmla="*/ 1084138 w 6096001"/>
              <a:gd name="connsiteY3792" fmla="*/ 4862335 h 5392467"/>
              <a:gd name="connsiteX3793" fmla="*/ 1086071 w 6096001"/>
              <a:gd name="connsiteY3793" fmla="*/ 4858466 h 5392467"/>
              <a:gd name="connsiteX3794" fmla="*/ 1111216 w 6096001"/>
              <a:gd name="connsiteY3794" fmla="*/ 4844929 h 5392467"/>
              <a:gd name="connsiteX3795" fmla="*/ 1089939 w 6096001"/>
              <a:gd name="connsiteY3795" fmla="*/ 4850730 h 5392467"/>
              <a:gd name="connsiteX3796" fmla="*/ 1082203 w 6096001"/>
              <a:gd name="connsiteY3796" fmla="*/ 4854598 h 5392467"/>
              <a:gd name="connsiteX3797" fmla="*/ 1060929 w 6096001"/>
              <a:gd name="connsiteY3797" fmla="*/ 4864268 h 5392467"/>
              <a:gd name="connsiteX3798" fmla="*/ 1039652 w 6096001"/>
              <a:gd name="connsiteY3798" fmla="*/ 4872006 h 5392467"/>
              <a:gd name="connsiteX3799" fmla="*/ 1053192 w 6096001"/>
              <a:gd name="connsiteY3799" fmla="*/ 4858466 h 5392467"/>
              <a:gd name="connsiteX3800" fmla="*/ 1070598 w 6096001"/>
              <a:gd name="connsiteY3800" fmla="*/ 4842993 h 5392467"/>
              <a:gd name="connsiteX3801" fmla="*/ 1045456 w 6096001"/>
              <a:gd name="connsiteY3801" fmla="*/ 4844929 h 5392467"/>
              <a:gd name="connsiteX3802" fmla="*/ 1055125 w 6096001"/>
              <a:gd name="connsiteY3802" fmla="*/ 4835257 h 5392467"/>
              <a:gd name="connsiteX3803" fmla="*/ 1066732 w 6096001"/>
              <a:gd name="connsiteY3803" fmla="*/ 4815916 h 5392467"/>
              <a:gd name="connsiteX3804" fmla="*/ 1099609 w 6096001"/>
              <a:gd name="connsiteY3804" fmla="*/ 4796574 h 5392467"/>
              <a:gd name="connsiteX3805" fmla="*/ 1089939 w 6096001"/>
              <a:gd name="connsiteY3805" fmla="*/ 4796574 h 5392467"/>
              <a:gd name="connsiteX3806" fmla="*/ 1120886 w 6096001"/>
              <a:gd name="connsiteY3806" fmla="*/ 4769499 h 5392467"/>
              <a:gd name="connsiteX3807" fmla="*/ 1115084 w 6096001"/>
              <a:gd name="connsiteY3807" fmla="*/ 4767564 h 5392467"/>
              <a:gd name="connsiteX3808" fmla="*/ 1107348 w 6096001"/>
              <a:gd name="connsiteY3808" fmla="*/ 4773367 h 5392467"/>
              <a:gd name="connsiteX3809" fmla="*/ 1084138 w 6096001"/>
              <a:gd name="connsiteY3809" fmla="*/ 4788840 h 5392467"/>
              <a:gd name="connsiteX3810" fmla="*/ 1105413 w 6096001"/>
              <a:gd name="connsiteY3810" fmla="*/ 4769499 h 5392467"/>
              <a:gd name="connsiteX3811" fmla="*/ 1101544 w 6096001"/>
              <a:gd name="connsiteY3811" fmla="*/ 4769499 h 5392467"/>
              <a:gd name="connsiteX3812" fmla="*/ 1101544 w 6096001"/>
              <a:gd name="connsiteY3812" fmla="*/ 4761762 h 5392467"/>
              <a:gd name="connsiteX3813" fmla="*/ 1091875 w 6096001"/>
              <a:gd name="connsiteY3813" fmla="*/ 4771432 h 5392467"/>
              <a:gd name="connsiteX3814" fmla="*/ 1074467 w 6096001"/>
              <a:gd name="connsiteY3814" fmla="*/ 4784972 h 5392467"/>
              <a:gd name="connsiteX3815" fmla="*/ 1049324 w 6096001"/>
              <a:gd name="connsiteY3815" fmla="*/ 4802378 h 5392467"/>
              <a:gd name="connsiteX3816" fmla="*/ 1039652 w 6096001"/>
              <a:gd name="connsiteY3816" fmla="*/ 4802378 h 5392467"/>
              <a:gd name="connsiteX3817" fmla="*/ 1057061 w 6096001"/>
              <a:gd name="connsiteY3817" fmla="*/ 4790773 h 5392467"/>
              <a:gd name="connsiteX3818" fmla="*/ 1076402 w 6096001"/>
              <a:gd name="connsiteY3818" fmla="*/ 4775300 h 5392467"/>
              <a:gd name="connsiteX3819" fmla="*/ 1084138 w 6096001"/>
              <a:gd name="connsiteY3819" fmla="*/ 4769499 h 5392467"/>
              <a:gd name="connsiteX3820" fmla="*/ 1099609 w 6096001"/>
              <a:gd name="connsiteY3820" fmla="*/ 4755959 h 5392467"/>
              <a:gd name="connsiteX3821" fmla="*/ 1093808 w 6096001"/>
              <a:gd name="connsiteY3821" fmla="*/ 4748222 h 5392467"/>
              <a:gd name="connsiteX3822" fmla="*/ 1095743 w 6096001"/>
              <a:gd name="connsiteY3822" fmla="*/ 4732749 h 5392467"/>
              <a:gd name="connsiteX3823" fmla="*/ 1099609 w 6096001"/>
              <a:gd name="connsiteY3823" fmla="*/ 4726948 h 5392467"/>
              <a:gd name="connsiteX3824" fmla="*/ 1105413 w 6096001"/>
              <a:gd name="connsiteY3824" fmla="*/ 4732749 h 5392467"/>
              <a:gd name="connsiteX3825" fmla="*/ 1120886 w 6096001"/>
              <a:gd name="connsiteY3825" fmla="*/ 4730816 h 5392467"/>
              <a:gd name="connsiteX3826" fmla="*/ 1113149 w 6096001"/>
              <a:gd name="connsiteY3826" fmla="*/ 4744354 h 5392467"/>
              <a:gd name="connsiteX3827" fmla="*/ 1118950 w 6096001"/>
              <a:gd name="connsiteY3827" fmla="*/ 4746289 h 5392467"/>
              <a:gd name="connsiteX3828" fmla="*/ 1132490 w 6096001"/>
              <a:gd name="connsiteY3828" fmla="*/ 4734685 h 5392467"/>
              <a:gd name="connsiteX3829" fmla="*/ 1128622 w 6096001"/>
              <a:gd name="connsiteY3829" fmla="*/ 4723080 h 5392467"/>
              <a:gd name="connsiteX3830" fmla="*/ 1134426 w 6096001"/>
              <a:gd name="connsiteY3830" fmla="*/ 4723080 h 5392467"/>
              <a:gd name="connsiteX3831" fmla="*/ 1138291 w 6096001"/>
              <a:gd name="connsiteY3831" fmla="*/ 4719212 h 5392467"/>
              <a:gd name="connsiteX3832" fmla="*/ 1130557 w 6096001"/>
              <a:gd name="connsiteY3832" fmla="*/ 4717276 h 5392467"/>
              <a:gd name="connsiteX3833" fmla="*/ 1120886 w 6096001"/>
              <a:gd name="connsiteY3833" fmla="*/ 4721147 h 5392467"/>
              <a:gd name="connsiteX3834" fmla="*/ 1124754 w 6096001"/>
              <a:gd name="connsiteY3834" fmla="*/ 4688265 h 5392467"/>
              <a:gd name="connsiteX3835" fmla="*/ 1122818 w 6096001"/>
              <a:gd name="connsiteY3835" fmla="*/ 4688265 h 5392467"/>
              <a:gd name="connsiteX3836" fmla="*/ 1115084 w 6096001"/>
              <a:gd name="connsiteY3836" fmla="*/ 4697937 h 5392467"/>
              <a:gd name="connsiteX3837" fmla="*/ 1113149 w 6096001"/>
              <a:gd name="connsiteY3837" fmla="*/ 4694067 h 5392467"/>
              <a:gd name="connsiteX3838" fmla="*/ 1115084 w 6096001"/>
              <a:gd name="connsiteY3838" fmla="*/ 4682464 h 5392467"/>
              <a:gd name="connsiteX3839" fmla="*/ 1107348 w 6096001"/>
              <a:gd name="connsiteY3839" fmla="*/ 4682464 h 5392467"/>
              <a:gd name="connsiteX3840" fmla="*/ 1089939 w 6096001"/>
              <a:gd name="connsiteY3840" fmla="*/ 4670859 h 5392467"/>
              <a:gd name="connsiteX3841" fmla="*/ 1146028 w 6096001"/>
              <a:gd name="connsiteY3841" fmla="*/ 4641846 h 5392467"/>
              <a:gd name="connsiteX3842" fmla="*/ 1132490 w 6096001"/>
              <a:gd name="connsiteY3842" fmla="*/ 4637980 h 5392467"/>
              <a:gd name="connsiteX3843" fmla="*/ 1126687 w 6096001"/>
              <a:gd name="connsiteY3843" fmla="*/ 4632177 h 5392467"/>
              <a:gd name="connsiteX3844" fmla="*/ 1113149 w 6096001"/>
              <a:gd name="connsiteY3844" fmla="*/ 4618639 h 5392467"/>
              <a:gd name="connsiteX3845" fmla="*/ 1105413 w 6096001"/>
              <a:gd name="connsiteY3845" fmla="*/ 4616704 h 5392467"/>
              <a:gd name="connsiteX3846" fmla="*/ 1091875 w 6096001"/>
              <a:gd name="connsiteY3846" fmla="*/ 4603164 h 5392467"/>
              <a:gd name="connsiteX3847" fmla="*/ 1088007 w 6096001"/>
              <a:gd name="connsiteY3847" fmla="*/ 4585758 h 5392467"/>
              <a:gd name="connsiteX3848" fmla="*/ 1064797 w 6096001"/>
              <a:gd name="connsiteY3848" fmla="*/ 4587693 h 5392467"/>
              <a:gd name="connsiteX3849" fmla="*/ 1064797 w 6096001"/>
              <a:gd name="connsiteY3849" fmla="*/ 4572220 h 5392467"/>
              <a:gd name="connsiteX3850" fmla="*/ 1049324 w 6096001"/>
              <a:gd name="connsiteY3850" fmla="*/ 4564484 h 5392467"/>
              <a:gd name="connsiteX3851" fmla="*/ 1029983 w 6096001"/>
              <a:gd name="connsiteY3851" fmla="*/ 4556747 h 5392467"/>
              <a:gd name="connsiteX3852" fmla="*/ 1024182 w 6096001"/>
              <a:gd name="connsiteY3852" fmla="*/ 4552879 h 5392467"/>
              <a:gd name="connsiteX3853" fmla="*/ 1004840 w 6096001"/>
              <a:gd name="connsiteY3853" fmla="*/ 4539339 h 5392467"/>
              <a:gd name="connsiteX3854" fmla="*/ 997104 w 6096001"/>
              <a:gd name="connsiteY3854" fmla="*/ 4537406 h 5392467"/>
              <a:gd name="connsiteX3855" fmla="*/ 991300 w 6096001"/>
              <a:gd name="connsiteY3855" fmla="*/ 4537406 h 5392467"/>
              <a:gd name="connsiteX3856" fmla="*/ 954553 w 6096001"/>
              <a:gd name="connsiteY3856" fmla="*/ 4558680 h 5392467"/>
              <a:gd name="connsiteX3857" fmla="*/ 952618 w 6096001"/>
              <a:gd name="connsiteY3857" fmla="*/ 4560615 h 5392467"/>
              <a:gd name="connsiteX3858" fmla="*/ 942948 w 6096001"/>
              <a:gd name="connsiteY3858" fmla="*/ 4566417 h 5392467"/>
              <a:gd name="connsiteX3859" fmla="*/ 935212 w 6096001"/>
              <a:gd name="connsiteY3859" fmla="*/ 4578021 h 5392467"/>
              <a:gd name="connsiteX3860" fmla="*/ 939080 w 6096001"/>
              <a:gd name="connsiteY3860" fmla="*/ 4583823 h 5392467"/>
              <a:gd name="connsiteX3861" fmla="*/ 939080 w 6096001"/>
              <a:gd name="connsiteY3861" fmla="*/ 4589626 h 5392467"/>
              <a:gd name="connsiteX3862" fmla="*/ 915870 w 6096001"/>
              <a:gd name="connsiteY3862" fmla="*/ 4610903 h 5392467"/>
              <a:gd name="connsiteX3863" fmla="*/ 910069 w 6096001"/>
              <a:gd name="connsiteY3863" fmla="*/ 4618639 h 5392467"/>
              <a:gd name="connsiteX3864" fmla="*/ 888793 w 6096001"/>
              <a:gd name="connsiteY3864" fmla="*/ 4626373 h 5392467"/>
              <a:gd name="connsiteX3865" fmla="*/ 881056 w 6096001"/>
              <a:gd name="connsiteY3865" fmla="*/ 4620572 h 5392467"/>
              <a:gd name="connsiteX3866" fmla="*/ 875255 w 6096001"/>
              <a:gd name="connsiteY3866" fmla="*/ 4610903 h 5392467"/>
              <a:gd name="connsiteX3867" fmla="*/ 877188 w 6096001"/>
              <a:gd name="connsiteY3867" fmla="*/ 4599298 h 5392467"/>
              <a:gd name="connsiteX3868" fmla="*/ 879123 w 6096001"/>
              <a:gd name="connsiteY3868" fmla="*/ 4589626 h 5392467"/>
              <a:gd name="connsiteX3869" fmla="*/ 873320 w 6096001"/>
              <a:gd name="connsiteY3869" fmla="*/ 4576088 h 5392467"/>
              <a:gd name="connsiteX3870" fmla="*/ 863650 w 6096001"/>
              <a:gd name="connsiteY3870" fmla="*/ 4566417 h 5392467"/>
              <a:gd name="connsiteX3871" fmla="*/ 846244 w 6096001"/>
              <a:gd name="connsiteY3871" fmla="*/ 4566417 h 5392467"/>
              <a:gd name="connsiteX3872" fmla="*/ 826903 w 6096001"/>
              <a:gd name="connsiteY3872" fmla="*/ 4564484 h 5392467"/>
              <a:gd name="connsiteX3873" fmla="*/ 797890 w 6096001"/>
              <a:gd name="connsiteY3873" fmla="*/ 4552879 h 5392467"/>
              <a:gd name="connsiteX3874" fmla="*/ 792089 w 6096001"/>
              <a:gd name="connsiteY3874" fmla="*/ 4554812 h 5392467"/>
              <a:gd name="connsiteX3875" fmla="*/ 780484 w 6096001"/>
              <a:gd name="connsiteY3875" fmla="*/ 4552879 h 5392467"/>
              <a:gd name="connsiteX3876" fmla="*/ 770812 w 6096001"/>
              <a:gd name="connsiteY3876" fmla="*/ 4550944 h 5392467"/>
              <a:gd name="connsiteX3877" fmla="*/ 765011 w 6096001"/>
              <a:gd name="connsiteY3877" fmla="*/ 4552879 h 5392467"/>
              <a:gd name="connsiteX3878" fmla="*/ 759210 w 6096001"/>
              <a:gd name="connsiteY3878" fmla="*/ 4552879 h 5392467"/>
              <a:gd name="connsiteX3879" fmla="*/ 745670 w 6096001"/>
              <a:gd name="connsiteY3879" fmla="*/ 4543207 h 5392467"/>
              <a:gd name="connsiteX3880" fmla="*/ 734065 w 6096001"/>
              <a:gd name="connsiteY3880" fmla="*/ 4539339 h 5392467"/>
              <a:gd name="connsiteX3881" fmla="*/ 724395 w 6096001"/>
              <a:gd name="connsiteY3881" fmla="*/ 4539339 h 5392467"/>
              <a:gd name="connsiteX3882" fmla="*/ 708922 w 6096001"/>
              <a:gd name="connsiteY3882" fmla="*/ 4535471 h 5392467"/>
              <a:gd name="connsiteX3883" fmla="*/ 693449 w 6096001"/>
              <a:gd name="connsiteY3883" fmla="*/ 4521933 h 5392467"/>
              <a:gd name="connsiteX3884" fmla="*/ 687646 w 6096001"/>
              <a:gd name="connsiteY3884" fmla="*/ 4514196 h 5392467"/>
              <a:gd name="connsiteX3885" fmla="*/ 670240 w 6096001"/>
              <a:gd name="connsiteY3885" fmla="*/ 4502592 h 5392467"/>
              <a:gd name="connsiteX3886" fmla="*/ 706987 w 6096001"/>
              <a:gd name="connsiteY3886" fmla="*/ 4448436 h 5392467"/>
              <a:gd name="connsiteX3887" fmla="*/ 691514 w 6096001"/>
              <a:gd name="connsiteY3887" fmla="*/ 4432963 h 5392467"/>
              <a:gd name="connsiteX3888" fmla="*/ 679909 w 6096001"/>
              <a:gd name="connsiteY3888" fmla="*/ 4425229 h 5392467"/>
              <a:gd name="connsiteX3889" fmla="*/ 658635 w 6096001"/>
              <a:gd name="connsiteY3889" fmla="*/ 4436831 h 5392467"/>
              <a:gd name="connsiteX3890" fmla="*/ 645097 w 6096001"/>
              <a:gd name="connsiteY3890" fmla="*/ 4442635 h 5392467"/>
              <a:gd name="connsiteX3891" fmla="*/ 631557 w 6096001"/>
              <a:gd name="connsiteY3891" fmla="*/ 4444568 h 5392467"/>
              <a:gd name="connsiteX3892" fmla="*/ 618019 w 6096001"/>
              <a:gd name="connsiteY3892" fmla="*/ 4448436 h 5392467"/>
              <a:gd name="connsiteX3893" fmla="*/ 606415 w 6096001"/>
              <a:gd name="connsiteY3893" fmla="*/ 4450371 h 5392467"/>
              <a:gd name="connsiteX3894" fmla="*/ 592875 w 6096001"/>
              <a:gd name="connsiteY3894" fmla="*/ 4448436 h 5392467"/>
              <a:gd name="connsiteX3895" fmla="*/ 583205 w 6096001"/>
              <a:gd name="connsiteY3895" fmla="*/ 4440702 h 5392467"/>
              <a:gd name="connsiteX3896" fmla="*/ 575469 w 6096001"/>
              <a:gd name="connsiteY3896" fmla="*/ 4434898 h 5392467"/>
              <a:gd name="connsiteX3897" fmla="*/ 558063 w 6096001"/>
              <a:gd name="connsiteY3897" fmla="*/ 4444568 h 5392467"/>
              <a:gd name="connsiteX3898" fmla="*/ 544523 w 6096001"/>
              <a:gd name="connsiteY3898" fmla="*/ 4446503 h 5392467"/>
              <a:gd name="connsiteX3899" fmla="*/ 532918 w 6096001"/>
              <a:gd name="connsiteY3899" fmla="*/ 4460041 h 5392467"/>
              <a:gd name="connsiteX3900" fmla="*/ 503907 w 6096001"/>
              <a:gd name="connsiteY3900" fmla="*/ 4475514 h 5392467"/>
              <a:gd name="connsiteX3901" fmla="*/ 490370 w 6096001"/>
              <a:gd name="connsiteY3901" fmla="*/ 4481317 h 5392467"/>
              <a:gd name="connsiteX3902" fmla="*/ 459424 w 6096001"/>
              <a:gd name="connsiteY3902" fmla="*/ 4502592 h 5392467"/>
              <a:gd name="connsiteX3903" fmla="*/ 451687 w 6096001"/>
              <a:gd name="connsiteY3903" fmla="*/ 4508395 h 5392467"/>
              <a:gd name="connsiteX3904" fmla="*/ 378190 w 6096001"/>
              <a:gd name="connsiteY3904" fmla="*/ 4545142 h 5392467"/>
              <a:gd name="connsiteX3905" fmla="*/ 368521 w 6096001"/>
              <a:gd name="connsiteY3905" fmla="*/ 4547075 h 5392467"/>
              <a:gd name="connsiteX3906" fmla="*/ 354981 w 6096001"/>
              <a:gd name="connsiteY3906" fmla="*/ 4554812 h 5392467"/>
              <a:gd name="connsiteX3907" fmla="*/ 347244 w 6096001"/>
              <a:gd name="connsiteY3907" fmla="*/ 4560615 h 5392467"/>
              <a:gd name="connsiteX3908" fmla="*/ 337575 w 6096001"/>
              <a:gd name="connsiteY3908" fmla="*/ 4560615 h 5392467"/>
              <a:gd name="connsiteX3909" fmla="*/ 277618 w 6096001"/>
              <a:gd name="connsiteY3909" fmla="*/ 4591561 h 5392467"/>
              <a:gd name="connsiteX3910" fmla="*/ 237000 w 6096001"/>
              <a:gd name="connsiteY3910" fmla="*/ 4572220 h 5392467"/>
              <a:gd name="connsiteX3911" fmla="*/ 200253 w 6096001"/>
              <a:gd name="connsiteY3911" fmla="*/ 4597363 h 5392467"/>
              <a:gd name="connsiteX3912" fmla="*/ 155769 w 6096001"/>
              <a:gd name="connsiteY3912" fmla="*/ 4620572 h 5392467"/>
              <a:gd name="connsiteX3913" fmla="*/ 132559 w 6096001"/>
              <a:gd name="connsiteY3913" fmla="*/ 4630242 h 5392467"/>
              <a:gd name="connsiteX3914" fmla="*/ 109350 w 6096001"/>
              <a:gd name="connsiteY3914" fmla="*/ 4634112 h 5392467"/>
              <a:gd name="connsiteX3915" fmla="*/ 86140 w 6096001"/>
              <a:gd name="connsiteY3915" fmla="*/ 4639913 h 5392467"/>
              <a:gd name="connsiteX3916" fmla="*/ 64866 w 6096001"/>
              <a:gd name="connsiteY3916" fmla="*/ 4643782 h 5392467"/>
              <a:gd name="connsiteX3917" fmla="*/ 41657 w 6096001"/>
              <a:gd name="connsiteY3917" fmla="*/ 4639913 h 5392467"/>
              <a:gd name="connsiteX3918" fmla="*/ 26184 w 6096001"/>
              <a:gd name="connsiteY3918" fmla="*/ 4626373 h 5392467"/>
              <a:gd name="connsiteX3919" fmla="*/ 12646 w 6096001"/>
              <a:gd name="connsiteY3919" fmla="*/ 4614771 h 5392467"/>
              <a:gd name="connsiteX3920" fmla="*/ 2491 w 6096001"/>
              <a:gd name="connsiteY3920" fmla="*/ 4604132 h 5392467"/>
              <a:gd name="connsiteX3921" fmla="*/ 0 w 6096001"/>
              <a:gd name="connsiteY3921" fmla="*/ 4603210 h 5392467"/>
              <a:gd name="connsiteX3922" fmla="*/ 0 w 6096001"/>
              <a:gd name="connsiteY3922" fmla="*/ 1780731 h 5392467"/>
              <a:gd name="connsiteX3923" fmla="*/ 12646 w 6096001"/>
              <a:gd name="connsiteY3923" fmla="*/ 1765837 h 5392467"/>
              <a:gd name="connsiteX3924" fmla="*/ 0 w 6096001"/>
              <a:gd name="connsiteY3924" fmla="*/ 1774315 h 5392467"/>
              <a:gd name="connsiteX3925" fmla="*/ 0 w 6096001"/>
              <a:gd name="connsiteY3925" fmla="*/ 1288043 h 5392467"/>
              <a:gd name="connsiteX3926" fmla="*/ 9019 w 6096001"/>
              <a:gd name="connsiteY3926" fmla="*/ 1280134 h 5392467"/>
              <a:gd name="connsiteX3927" fmla="*/ 26184 w 6096001"/>
              <a:gd name="connsiteY3927" fmla="*/ 1270705 h 5392467"/>
              <a:gd name="connsiteX3928" fmla="*/ 33920 w 6096001"/>
              <a:gd name="connsiteY3928" fmla="*/ 1264903 h 5392467"/>
              <a:gd name="connsiteX3929" fmla="*/ 91944 w 6096001"/>
              <a:gd name="connsiteY3929" fmla="*/ 1195275 h 5392467"/>
              <a:gd name="connsiteX3930" fmla="*/ 155769 w 6096001"/>
              <a:gd name="connsiteY3930" fmla="*/ 1150791 h 5392467"/>
              <a:gd name="connsiteX3931" fmla="*/ 175110 w 6096001"/>
              <a:gd name="connsiteY3931" fmla="*/ 1133385 h 5392467"/>
              <a:gd name="connsiteX3932" fmla="*/ 202188 w 6096001"/>
              <a:gd name="connsiteY3932" fmla="*/ 1114044 h 5392467"/>
              <a:gd name="connsiteX3933" fmla="*/ 266013 w 6096001"/>
              <a:gd name="connsiteY3933" fmla="*/ 1079230 h 5392467"/>
              <a:gd name="connsiteX3934" fmla="*/ 318233 w 6096001"/>
              <a:gd name="connsiteY3934" fmla="*/ 1046350 h 5392467"/>
              <a:gd name="connsiteX3935" fmla="*/ 399464 w 6096001"/>
              <a:gd name="connsiteY3935" fmla="*/ 980590 h 5392467"/>
              <a:gd name="connsiteX3936" fmla="*/ 474894 w 6096001"/>
              <a:gd name="connsiteY3936" fmla="*/ 936106 h 5392467"/>
              <a:gd name="connsiteX3937" fmla="*/ 498104 w 6096001"/>
              <a:gd name="connsiteY3937" fmla="*/ 922566 h 5392467"/>
              <a:gd name="connsiteX3938" fmla="*/ 610283 w 6096001"/>
              <a:gd name="connsiteY3938" fmla="*/ 854873 h 5392467"/>
              <a:gd name="connsiteX3939" fmla="*/ 627689 w 6096001"/>
              <a:gd name="connsiteY3939" fmla="*/ 843268 h 5392467"/>
              <a:gd name="connsiteX3940" fmla="*/ 674108 w 6096001"/>
              <a:gd name="connsiteY3940" fmla="*/ 816190 h 5392467"/>
              <a:gd name="connsiteX3941" fmla="*/ 718592 w 6096001"/>
              <a:gd name="connsiteY3941" fmla="*/ 792983 h 5392467"/>
              <a:gd name="connsiteX3942" fmla="*/ 927475 w 6096001"/>
              <a:gd name="connsiteY3942" fmla="*/ 725290 h 5392467"/>
              <a:gd name="connsiteX3943" fmla="*/ 997104 w 6096001"/>
              <a:gd name="connsiteY3943" fmla="*/ 694344 h 5392467"/>
              <a:gd name="connsiteX3944" fmla="*/ 1068665 w 6096001"/>
              <a:gd name="connsiteY3944" fmla="*/ 657594 h 5392467"/>
              <a:gd name="connsiteX3945" fmla="*/ 1167305 w 6096001"/>
              <a:gd name="connsiteY3945" fmla="*/ 624715 h 5392467"/>
              <a:gd name="connsiteX3946" fmla="*/ 1176974 w 6096001"/>
              <a:gd name="connsiteY3946" fmla="*/ 622780 h 5392467"/>
              <a:gd name="connsiteX3947" fmla="*/ 1215657 w 6096001"/>
              <a:gd name="connsiteY3947" fmla="*/ 601506 h 5392467"/>
              <a:gd name="connsiteX3948" fmla="*/ 1283350 w 6096001"/>
              <a:gd name="connsiteY3948" fmla="*/ 572495 h 5392467"/>
              <a:gd name="connsiteX3949" fmla="*/ 1300758 w 6096001"/>
              <a:gd name="connsiteY3949" fmla="*/ 568627 h 5392467"/>
              <a:gd name="connsiteX3950" fmla="*/ 1358780 w 6096001"/>
              <a:gd name="connsiteY3950" fmla="*/ 547350 h 5392467"/>
              <a:gd name="connsiteX3951" fmla="*/ 1368451 w 6096001"/>
              <a:gd name="connsiteY3951" fmla="*/ 543484 h 5392467"/>
              <a:gd name="connsiteX3952" fmla="*/ 1447749 w 6096001"/>
              <a:gd name="connsiteY3952" fmla="*/ 526076 h 5392467"/>
              <a:gd name="connsiteX3953" fmla="*/ 1525112 w 6096001"/>
              <a:gd name="connsiteY3953" fmla="*/ 508670 h 5392467"/>
              <a:gd name="connsiteX3954" fmla="*/ 1561862 w 6096001"/>
              <a:gd name="connsiteY3954" fmla="*/ 500933 h 5392467"/>
              <a:gd name="connsiteX3955" fmla="*/ 1579268 w 6096001"/>
              <a:gd name="connsiteY3955" fmla="*/ 497065 h 5392467"/>
              <a:gd name="connsiteX3956" fmla="*/ 1646961 w 6096001"/>
              <a:gd name="connsiteY3956" fmla="*/ 495130 h 5392467"/>
              <a:gd name="connsiteX3957" fmla="*/ 1666302 w 6096001"/>
              <a:gd name="connsiteY3957" fmla="*/ 491262 h 5392467"/>
              <a:gd name="connsiteX3958" fmla="*/ 1691447 w 6096001"/>
              <a:gd name="connsiteY3958" fmla="*/ 500933 h 5392467"/>
              <a:gd name="connsiteX3959" fmla="*/ 1691447 w 6096001"/>
              <a:gd name="connsiteY3959" fmla="*/ 502866 h 5392467"/>
              <a:gd name="connsiteX3960" fmla="*/ 1755272 w 6096001"/>
              <a:gd name="connsiteY3960" fmla="*/ 469987 h 5392467"/>
              <a:gd name="connsiteX3961" fmla="*/ 1871317 w 6096001"/>
              <a:gd name="connsiteY3961" fmla="*/ 417767 h 5392467"/>
              <a:gd name="connsiteX3962" fmla="*/ 1894527 w 6096001"/>
              <a:gd name="connsiteY3962" fmla="*/ 410031 h 5392467"/>
              <a:gd name="connsiteX3963" fmla="*/ 1904196 w 6096001"/>
              <a:gd name="connsiteY3963" fmla="*/ 415832 h 5392467"/>
              <a:gd name="connsiteX3964" fmla="*/ 1861646 w 6096001"/>
              <a:gd name="connsiteY3964" fmla="*/ 437108 h 5392467"/>
              <a:gd name="connsiteX3965" fmla="*/ 1819097 w 6096001"/>
              <a:gd name="connsiteY3965" fmla="*/ 460316 h 5392467"/>
              <a:gd name="connsiteX3966" fmla="*/ 1776546 w 6096001"/>
              <a:gd name="connsiteY3966" fmla="*/ 483525 h 5392467"/>
              <a:gd name="connsiteX3967" fmla="*/ 1792019 w 6096001"/>
              <a:gd name="connsiteY3967" fmla="*/ 483525 h 5392467"/>
              <a:gd name="connsiteX3968" fmla="*/ 1855844 w 6096001"/>
              <a:gd name="connsiteY3968" fmla="*/ 450646 h 5392467"/>
              <a:gd name="connsiteX3969" fmla="*/ 1964153 w 6096001"/>
              <a:gd name="connsiteY3969" fmla="*/ 411964 h 5392467"/>
              <a:gd name="connsiteX3970" fmla="*/ 1979626 w 6096001"/>
              <a:gd name="connsiteY3970" fmla="*/ 410031 h 5392467"/>
              <a:gd name="connsiteX3971" fmla="*/ 1993166 w 6096001"/>
              <a:gd name="connsiteY3971" fmla="*/ 417767 h 5392467"/>
              <a:gd name="connsiteX3972" fmla="*/ 2004771 w 6096001"/>
              <a:gd name="connsiteY3972" fmla="*/ 431305 h 5392467"/>
              <a:gd name="connsiteX3973" fmla="*/ 2002836 w 6096001"/>
              <a:gd name="connsiteY3973" fmla="*/ 446778 h 5392467"/>
              <a:gd name="connsiteX3974" fmla="*/ 2035717 w 6096001"/>
              <a:gd name="connsiteY3974" fmla="*/ 433240 h 5392467"/>
              <a:gd name="connsiteX3975" fmla="*/ 1944812 w 6096001"/>
              <a:gd name="connsiteY3975" fmla="*/ 493197 h 5392467"/>
              <a:gd name="connsiteX3976" fmla="*/ 1956419 w 6096001"/>
              <a:gd name="connsiteY3976" fmla="*/ 504802 h 5392467"/>
              <a:gd name="connsiteX3977" fmla="*/ 1962220 w 6096001"/>
              <a:gd name="connsiteY3977" fmla="*/ 506735 h 5392467"/>
              <a:gd name="connsiteX3978" fmla="*/ 1981562 w 6096001"/>
              <a:gd name="connsiteY3978" fmla="*/ 502866 h 5392467"/>
              <a:gd name="connsiteX3979" fmla="*/ 2078265 w 6096001"/>
              <a:gd name="connsiteY3979" fmla="*/ 475789 h 5392467"/>
              <a:gd name="connsiteX3980" fmla="*/ 2116948 w 6096001"/>
              <a:gd name="connsiteY3980" fmla="*/ 469987 h 5392467"/>
              <a:gd name="connsiteX3981" fmla="*/ 2132421 w 6096001"/>
              <a:gd name="connsiteY3981" fmla="*/ 475789 h 5392467"/>
              <a:gd name="connsiteX3982" fmla="*/ 2115013 w 6096001"/>
              <a:gd name="connsiteY3982" fmla="*/ 483525 h 5392467"/>
              <a:gd name="connsiteX3983" fmla="*/ 1954484 w 6096001"/>
              <a:gd name="connsiteY3983" fmla="*/ 526076 h 5392467"/>
              <a:gd name="connsiteX3984" fmla="*/ 1952551 w 6096001"/>
              <a:gd name="connsiteY3984" fmla="*/ 528009 h 5392467"/>
              <a:gd name="connsiteX3985" fmla="*/ 1956419 w 6096001"/>
              <a:gd name="connsiteY3985" fmla="*/ 533812 h 5392467"/>
              <a:gd name="connsiteX3986" fmla="*/ 1923538 w 6096001"/>
              <a:gd name="connsiteY3986" fmla="*/ 543484 h 5392467"/>
              <a:gd name="connsiteX3987" fmla="*/ 1933210 w 6096001"/>
              <a:gd name="connsiteY3987" fmla="*/ 547350 h 5392467"/>
              <a:gd name="connsiteX3988" fmla="*/ 1855844 w 6096001"/>
              <a:gd name="connsiteY3988" fmla="*/ 574428 h 5392467"/>
              <a:gd name="connsiteX3989" fmla="*/ 1900328 w 6096001"/>
              <a:gd name="connsiteY3989" fmla="*/ 549285 h 5392467"/>
              <a:gd name="connsiteX3990" fmla="*/ 1890659 w 6096001"/>
              <a:gd name="connsiteY3990" fmla="*/ 553154 h 5392467"/>
              <a:gd name="connsiteX3991" fmla="*/ 1848108 w 6096001"/>
              <a:gd name="connsiteY3991" fmla="*/ 570560 h 5392467"/>
              <a:gd name="connsiteX3992" fmla="*/ 1813294 w 6096001"/>
              <a:gd name="connsiteY3992" fmla="*/ 587968 h 5392467"/>
              <a:gd name="connsiteX3993" fmla="*/ 1816673 w 6096001"/>
              <a:gd name="connsiteY3993" fmla="*/ 606553 h 5392467"/>
              <a:gd name="connsiteX3994" fmla="*/ 1807492 w 6096001"/>
              <a:gd name="connsiteY3994" fmla="*/ 613111 h 5392467"/>
              <a:gd name="connsiteX3995" fmla="*/ 1780415 w 6096001"/>
              <a:gd name="connsiteY3995" fmla="*/ 630519 h 5392467"/>
              <a:gd name="connsiteX3996" fmla="*/ 1733996 w 6096001"/>
              <a:gd name="connsiteY3996" fmla="*/ 655661 h 5392467"/>
              <a:gd name="connsiteX3997" fmla="*/ 1737864 w 6096001"/>
              <a:gd name="connsiteY3997" fmla="*/ 665331 h 5392467"/>
              <a:gd name="connsiteX3998" fmla="*/ 1811361 w 6096001"/>
              <a:gd name="connsiteY3998" fmla="*/ 632452 h 5392467"/>
              <a:gd name="connsiteX3999" fmla="*/ 1815229 w 6096001"/>
              <a:gd name="connsiteY3999" fmla="*/ 630519 h 5392467"/>
              <a:gd name="connsiteX4000" fmla="*/ 1818855 w 6096001"/>
              <a:gd name="connsiteY4000" fmla="*/ 619155 h 5392467"/>
              <a:gd name="connsiteX4001" fmla="*/ 1820451 w 6096001"/>
              <a:gd name="connsiteY4001" fmla="*/ 607623 h 5392467"/>
              <a:gd name="connsiteX4002" fmla="*/ 1864789 w 6096001"/>
              <a:gd name="connsiteY4002" fmla="*/ 585791 h 5392467"/>
              <a:gd name="connsiteX4003" fmla="*/ 1913868 w 6096001"/>
              <a:gd name="connsiteY4003" fmla="*/ 566691 h 5392467"/>
              <a:gd name="connsiteX4004" fmla="*/ 1927406 w 6096001"/>
              <a:gd name="connsiteY4004" fmla="*/ 560890 h 5392467"/>
              <a:gd name="connsiteX4005" fmla="*/ 1981562 w 6096001"/>
              <a:gd name="connsiteY4005" fmla="*/ 539614 h 5392467"/>
              <a:gd name="connsiteX4006" fmla="*/ 2037650 w 6096001"/>
              <a:gd name="connsiteY4006" fmla="*/ 526076 h 5392467"/>
              <a:gd name="connsiteX4007" fmla="*/ 2076333 w 6096001"/>
              <a:gd name="connsiteY4007" fmla="*/ 514471 h 5392467"/>
              <a:gd name="connsiteX4008" fmla="*/ 2116948 w 6096001"/>
              <a:gd name="connsiteY4008" fmla="*/ 506735 h 5392467"/>
              <a:gd name="connsiteX4009" fmla="*/ 2116948 w 6096001"/>
              <a:gd name="connsiteY4009" fmla="*/ 518339 h 5392467"/>
              <a:gd name="connsiteX4010" fmla="*/ 2132421 w 6096001"/>
              <a:gd name="connsiteY4010" fmla="*/ 522208 h 5392467"/>
              <a:gd name="connsiteX4011" fmla="*/ 2153695 w 6096001"/>
              <a:gd name="connsiteY4011" fmla="*/ 516406 h 5392467"/>
              <a:gd name="connsiteX4012" fmla="*/ 2171104 w 6096001"/>
              <a:gd name="connsiteY4012" fmla="*/ 524143 h 5392467"/>
              <a:gd name="connsiteX4013" fmla="*/ 2161432 w 6096001"/>
              <a:gd name="connsiteY4013" fmla="*/ 533812 h 5392467"/>
              <a:gd name="connsiteX4014" fmla="*/ 2062795 w 6096001"/>
              <a:gd name="connsiteY4014" fmla="*/ 578296 h 5392467"/>
              <a:gd name="connsiteX4015" fmla="*/ 2037650 w 6096001"/>
              <a:gd name="connsiteY4015" fmla="*/ 593769 h 5392467"/>
              <a:gd name="connsiteX4016" fmla="*/ 2029913 w 6096001"/>
              <a:gd name="connsiteY4016" fmla="*/ 597637 h 5392467"/>
              <a:gd name="connsiteX4017" fmla="*/ 2045387 w 6096001"/>
              <a:gd name="connsiteY4017" fmla="*/ 597637 h 5392467"/>
              <a:gd name="connsiteX4018" fmla="*/ 2056991 w 6096001"/>
              <a:gd name="connsiteY4018" fmla="*/ 595705 h 5392467"/>
              <a:gd name="connsiteX4019" fmla="*/ 2066661 w 6096001"/>
              <a:gd name="connsiteY4019" fmla="*/ 611178 h 5392467"/>
              <a:gd name="connsiteX4020" fmla="*/ 2060860 w 6096001"/>
              <a:gd name="connsiteY4020" fmla="*/ 616979 h 5392467"/>
              <a:gd name="connsiteX4021" fmla="*/ 2060860 w 6096001"/>
              <a:gd name="connsiteY4021" fmla="*/ 620847 h 5392467"/>
              <a:gd name="connsiteX4022" fmla="*/ 2068596 w 6096001"/>
              <a:gd name="connsiteY4022" fmla="*/ 616979 h 5392467"/>
              <a:gd name="connsiteX4023" fmla="*/ 2072464 w 6096001"/>
              <a:gd name="connsiteY4023" fmla="*/ 609242 h 5392467"/>
              <a:gd name="connsiteX4024" fmla="*/ 2084069 w 6096001"/>
              <a:gd name="connsiteY4024" fmla="*/ 607309 h 5392467"/>
              <a:gd name="connsiteX4025" fmla="*/ 2093739 w 6096001"/>
              <a:gd name="connsiteY4025" fmla="*/ 605374 h 5392467"/>
              <a:gd name="connsiteX4026" fmla="*/ 2118881 w 6096001"/>
              <a:gd name="connsiteY4026" fmla="*/ 597637 h 5392467"/>
              <a:gd name="connsiteX4027" fmla="*/ 2211719 w 6096001"/>
              <a:gd name="connsiteY4027" fmla="*/ 560890 h 5392467"/>
              <a:gd name="connsiteX4028" fmla="*/ 2229125 w 6096001"/>
              <a:gd name="connsiteY4028" fmla="*/ 551218 h 5392467"/>
              <a:gd name="connsiteX4029" fmla="*/ 2269743 w 6096001"/>
              <a:gd name="connsiteY4029" fmla="*/ 524143 h 5392467"/>
              <a:gd name="connsiteX4030" fmla="*/ 2287149 w 6096001"/>
              <a:gd name="connsiteY4030" fmla="*/ 520275 h 5392467"/>
              <a:gd name="connsiteX4031" fmla="*/ 2291017 w 6096001"/>
              <a:gd name="connsiteY4031" fmla="*/ 524143 h 5392467"/>
              <a:gd name="connsiteX4032" fmla="*/ 2289082 w 6096001"/>
              <a:gd name="connsiteY4032" fmla="*/ 529944 h 5392467"/>
              <a:gd name="connsiteX4033" fmla="*/ 2271676 w 6096001"/>
              <a:gd name="connsiteY4033" fmla="*/ 545417 h 5392467"/>
              <a:gd name="connsiteX4034" fmla="*/ 2285216 w 6096001"/>
              <a:gd name="connsiteY4034" fmla="*/ 549285 h 5392467"/>
              <a:gd name="connsiteX4035" fmla="*/ 2358710 w 6096001"/>
              <a:gd name="connsiteY4035" fmla="*/ 533812 h 5392467"/>
              <a:gd name="connsiteX4036" fmla="*/ 2291017 w 6096001"/>
              <a:gd name="connsiteY4036" fmla="*/ 557022 h 5392467"/>
              <a:gd name="connsiteX4037" fmla="*/ 2262007 w 6096001"/>
              <a:gd name="connsiteY4037" fmla="*/ 568627 h 5392467"/>
              <a:gd name="connsiteX4038" fmla="*/ 2231061 w 6096001"/>
              <a:gd name="connsiteY4038" fmla="*/ 582164 h 5392467"/>
              <a:gd name="connsiteX4039" fmla="*/ 2209786 w 6096001"/>
              <a:gd name="connsiteY4039" fmla="*/ 595705 h 5392467"/>
              <a:gd name="connsiteX4040" fmla="*/ 2221389 w 6096001"/>
              <a:gd name="connsiteY4040" fmla="*/ 597637 h 5392467"/>
              <a:gd name="connsiteX4041" fmla="*/ 2269743 w 6096001"/>
              <a:gd name="connsiteY4041" fmla="*/ 595705 h 5392467"/>
              <a:gd name="connsiteX4042" fmla="*/ 2310359 w 6096001"/>
              <a:gd name="connsiteY4042" fmla="*/ 582164 h 5392467"/>
              <a:gd name="connsiteX4043" fmla="*/ 2424471 w 6096001"/>
              <a:gd name="connsiteY4043" fmla="*/ 547350 h 5392467"/>
              <a:gd name="connsiteX4044" fmla="*/ 2449613 w 6096001"/>
              <a:gd name="connsiteY4044" fmla="*/ 543484 h 5392467"/>
              <a:gd name="connsiteX4045" fmla="*/ 2445745 w 6096001"/>
              <a:gd name="connsiteY4045" fmla="*/ 549285 h 5392467"/>
              <a:gd name="connsiteX4046" fmla="*/ 2374184 w 6096001"/>
              <a:gd name="connsiteY4046" fmla="*/ 589901 h 5392467"/>
              <a:gd name="connsiteX4047" fmla="*/ 2321963 w 6096001"/>
              <a:gd name="connsiteY4047" fmla="*/ 609242 h 5392467"/>
              <a:gd name="connsiteX4048" fmla="*/ 2196246 w 6096001"/>
              <a:gd name="connsiteY4048" fmla="*/ 649858 h 5392467"/>
              <a:gd name="connsiteX4049" fmla="*/ 2107279 w 6096001"/>
              <a:gd name="connsiteY4049" fmla="*/ 684672 h 5392467"/>
              <a:gd name="connsiteX4050" fmla="*/ 2109212 w 6096001"/>
              <a:gd name="connsiteY4050" fmla="*/ 692409 h 5392467"/>
              <a:gd name="connsiteX4051" fmla="*/ 2120816 w 6096001"/>
              <a:gd name="connsiteY4051" fmla="*/ 692409 h 5392467"/>
              <a:gd name="connsiteX4052" fmla="*/ 2113080 w 6096001"/>
              <a:gd name="connsiteY4052" fmla="*/ 696277 h 5392467"/>
              <a:gd name="connsiteX4053" fmla="*/ 2115013 w 6096001"/>
              <a:gd name="connsiteY4053" fmla="*/ 700145 h 5392467"/>
              <a:gd name="connsiteX4054" fmla="*/ 2122752 w 6096001"/>
              <a:gd name="connsiteY4054" fmla="*/ 698212 h 5392467"/>
              <a:gd name="connsiteX4055" fmla="*/ 2120816 w 6096001"/>
              <a:gd name="connsiteY4055" fmla="*/ 692409 h 5392467"/>
              <a:gd name="connsiteX4056" fmla="*/ 2126620 w 6096001"/>
              <a:gd name="connsiteY4056" fmla="*/ 692409 h 5392467"/>
              <a:gd name="connsiteX4057" fmla="*/ 2130488 w 6096001"/>
              <a:gd name="connsiteY4057" fmla="*/ 694344 h 5392467"/>
              <a:gd name="connsiteX4058" fmla="*/ 2123476 w 6096001"/>
              <a:gd name="connsiteY4058" fmla="*/ 700871 h 5392467"/>
              <a:gd name="connsiteX4059" fmla="*/ 2122235 w 6096001"/>
              <a:gd name="connsiteY4059" fmla="*/ 705949 h 5392467"/>
              <a:gd name="connsiteX4060" fmla="*/ 2120816 w 6096001"/>
              <a:gd name="connsiteY4060" fmla="*/ 705949 h 5392467"/>
              <a:gd name="connsiteX4061" fmla="*/ 2121769 w 6096001"/>
              <a:gd name="connsiteY4061" fmla="*/ 707852 h 5392467"/>
              <a:gd name="connsiteX4062" fmla="*/ 2120816 w 6096001"/>
              <a:gd name="connsiteY4062" fmla="*/ 711750 h 5392467"/>
              <a:gd name="connsiteX4063" fmla="*/ 2105343 w 6096001"/>
              <a:gd name="connsiteY4063" fmla="*/ 704013 h 5392467"/>
              <a:gd name="connsiteX4064" fmla="*/ 2099542 w 6096001"/>
              <a:gd name="connsiteY4064" fmla="*/ 705949 h 5392467"/>
              <a:gd name="connsiteX4065" fmla="*/ 2095671 w 6096001"/>
              <a:gd name="connsiteY4065" fmla="*/ 717553 h 5392467"/>
              <a:gd name="connsiteX4066" fmla="*/ 2078265 w 6096001"/>
              <a:gd name="connsiteY4066" fmla="*/ 723355 h 5392467"/>
              <a:gd name="connsiteX4067" fmla="*/ 2070529 w 6096001"/>
              <a:gd name="connsiteY4067" fmla="*/ 725290 h 5392467"/>
              <a:gd name="connsiteX4068" fmla="*/ 2072464 w 6096001"/>
              <a:gd name="connsiteY4068" fmla="*/ 704013 h 5392467"/>
              <a:gd name="connsiteX4069" fmla="*/ 2045387 w 6096001"/>
              <a:gd name="connsiteY4069" fmla="*/ 721419 h 5392467"/>
              <a:gd name="connsiteX4070" fmla="*/ 2058924 w 6096001"/>
              <a:gd name="connsiteY4070" fmla="*/ 713685 h 5392467"/>
              <a:gd name="connsiteX4071" fmla="*/ 2039585 w 6096001"/>
              <a:gd name="connsiteY4071" fmla="*/ 729156 h 5392467"/>
              <a:gd name="connsiteX4072" fmla="*/ 2014440 w 6096001"/>
              <a:gd name="connsiteY4072" fmla="*/ 758169 h 5392467"/>
              <a:gd name="connsiteX4073" fmla="*/ 2066661 w 6096001"/>
              <a:gd name="connsiteY4073" fmla="*/ 740761 h 5392467"/>
              <a:gd name="connsiteX4074" fmla="*/ 2058924 w 6096001"/>
              <a:gd name="connsiteY4074" fmla="*/ 748497 h 5392467"/>
              <a:gd name="connsiteX4075" fmla="*/ 2008637 w 6096001"/>
              <a:gd name="connsiteY4075" fmla="*/ 769774 h 5392467"/>
              <a:gd name="connsiteX4076" fmla="*/ 1989298 w 6096001"/>
              <a:gd name="connsiteY4076" fmla="*/ 779443 h 5392467"/>
              <a:gd name="connsiteX4077" fmla="*/ 1997035 w 6096001"/>
              <a:gd name="connsiteY4077" fmla="*/ 789115 h 5392467"/>
              <a:gd name="connsiteX4078" fmla="*/ 2010572 w 6096001"/>
              <a:gd name="connsiteY4078" fmla="*/ 785247 h 5392467"/>
              <a:gd name="connsiteX4079" fmla="*/ 2018309 w 6096001"/>
              <a:gd name="connsiteY4079" fmla="*/ 779443 h 5392467"/>
              <a:gd name="connsiteX4080" fmla="*/ 2058924 w 6096001"/>
              <a:gd name="connsiteY4080" fmla="*/ 771707 h 5392467"/>
              <a:gd name="connsiteX4081" fmla="*/ 2314227 w 6096001"/>
              <a:gd name="connsiteY4081" fmla="*/ 704013 h 5392467"/>
              <a:gd name="connsiteX4082" fmla="*/ 2329700 w 6096001"/>
              <a:gd name="connsiteY4082" fmla="*/ 702080 h 5392467"/>
              <a:gd name="connsiteX4083" fmla="*/ 2331633 w 6096001"/>
              <a:gd name="connsiteY4083" fmla="*/ 700145 h 5392467"/>
              <a:gd name="connsiteX4084" fmla="*/ 2337436 w 6096001"/>
              <a:gd name="connsiteY4084" fmla="*/ 696277 h 5392467"/>
              <a:gd name="connsiteX4085" fmla="*/ 2360646 w 6096001"/>
              <a:gd name="connsiteY4085" fmla="*/ 686607 h 5392467"/>
              <a:gd name="connsiteX4086" fmla="*/ 2362579 w 6096001"/>
              <a:gd name="connsiteY4086" fmla="*/ 682739 h 5392467"/>
              <a:gd name="connsiteX4087" fmla="*/ 2370315 w 6096001"/>
              <a:gd name="connsiteY4087" fmla="*/ 678871 h 5392467"/>
              <a:gd name="connsiteX4088" fmla="*/ 2378052 w 6096001"/>
              <a:gd name="connsiteY4088" fmla="*/ 675003 h 5392467"/>
              <a:gd name="connsiteX4089" fmla="*/ 2381920 w 6096001"/>
              <a:gd name="connsiteY4089" fmla="*/ 669199 h 5392467"/>
              <a:gd name="connsiteX4090" fmla="*/ 2399326 w 6096001"/>
              <a:gd name="connsiteY4090" fmla="*/ 657594 h 5392467"/>
              <a:gd name="connsiteX4091" fmla="*/ 2410933 w 6096001"/>
              <a:gd name="connsiteY4091" fmla="*/ 653726 h 5392467"/>
              <a:gd name="connsiteX4092" fmla="*/ 2420602 w 6096001"/>
              <a:gd name="connsiteY4092" fmla="*/ 651793 h 5392467"/>
              <a:gd name="connsiteX4093" fmla="*/ 2428339 w 6096001"/>
              <a:gd name="connsiteY4093" fmla="*/ 644057 h 5392467"/>
              <a:gd name="connsiteX4094" fmla="*/ 2430274 w 6096001"/>
              <a:gd name="connsiteY4094" fmla="*/ 640188 h 5392467"/>
              <a:gd name="connsiteX4095" fmla="*/ 2438008 w 6096001"/>
              <a:gd name="connsiteY4095" fmla="*/ 634385 h 5392467"/>
              <a:gd name="connsiteX4096" fmla="*/ 2445745 w 6096001"/>
              <a:gd name="connsiteY4096" fmla="*/ 630519 h 5392467"/>
              <a:gd name="connsiteX4097" fmla="*/ 2453481 w 6096001"/>
              <a:gd name="connsiteY4097" fmla="*/ 620847 h 5392467"/>
              <a:gd name="connsiteX4098" fmla="*/ 2517309 w 6096001"/>
              <a:gd name="connsiteY4098" fmla="*/ 582164 h 5392467"/>
              <a:gd name="connsiteX4099" fmla="*/ 2530847 w 6096001"/>
              <a:gd name="connsiteY4099" fmla="*/ 580232 h 5392467"/>
              <a:gd name="connsiteX4100" fmla="*/ 2542451 w 6096001"/>
              <a:gd name="connsiteY4100" fmla="*/ 578296 h 5392467"/>
              <a:gd name="connsiteX4101" fmla="*/ 2565661 w 6096001"/>
              <a:gd name="connsiteY4101" fmla="*/ 564758 h 5392467"/>
              <a:gd name="connsiteX4102" fmla="*/ 2575330 w 6096001"/>
              <a:gd name="connsiteY4102" fmla="*/ 562823 h 5392467"/>
              <a:gd name="connsiteX4103" fmla="*/ 2594672 w 6096001"/>
              <a:gd name="connsiteY4103" fmla="*/ 549285 h 5392467"/>
              <a:gd name="connsiteX4104" fmla="*/ 2598540 w 6096001"/>
              <a:gd name="connsiteY4104" fmla="*/ 547350 h 5392467"/>
              <a:gd name="connsiteX4105" fmla="*/ 2606276 w 6096001"/>
              <a:gd name="connsiteY4105" fmla="*/ 545417 h 5392467"/>
              <a:gd name="connsiteX4106" fmla="*/ 2652695 w 6096001"/>
              <a:gd name="connsiteY4106" fmla="*/ 516406 h 5392467"/>
              <a:gd name="connsiteX4107" fmla="*/ 2693311 w 6096001"/>
              <a:gd name="connsiteY4107" fmla="*/ 491262 h 5392467"/>
              <a:gd name="connsiteX4108" fmla="*/ 2701047 w 6096001"/>
              <a:gd name="connsiteY4108" fmla="*/ 489329 h 5392467"/>
              <a:gd name="connsiteX4109" fmla="*/ 2704916 w 6096001"/>
              <a:gd name="connsiteY4109" fmla="*/ 487393 h 5392467"/>
              <a:gd name="connsiteX4110" fmla="*/ 2708784 w 6096001"/>
              <a:gd name="connsiteY4110" fmla="*/ 481592 h 5392467"/>
              <a:gd name="connsiteX4111" fmla="*/ 2724257 w 6096001"/>
              <a:gd name="connsiteY4111" fmla="*/ 475789 h 5392467"/>
              <a:gd name="connsiteX4112" fmla="*/ 2751335 w 6096001"/>
              <a:gd name="connsiteY4112" fmla="*/ 458383 h 5392467"/>
              <a:gd name="connsiteX4113" fmla="*/ 2762937 w 6096001"/>
              <a:gd name="connsiteY4113" fmla="*/ 454514 h 5392467"/>
              <a:gd name="connsiteX4114" fmla="*/ 2772609 w 6096001"/>
              <a:gd name="connsiteY4114" fmla="*/ 448711 h 5392467"/>
              <a:gd name="connsiteX4115" fmla="*/ 2786147 w 6096001"/>
              <a:gd name="connsiteY4115" fmla="*/ 440974 h 5392467"/>
              <a:gd name="connsiteX4116" fmla="*/ 2795818 w 6096001"/>
              <a:gd name="connsiteY4116" fmla="*/ 435173 h 5392467"/>
              <a:gd name="connsiteX4117" fmla="*/ 2805488 w 6096001"/>
              <a:gd name="connsiteY4117" fmla="*/ 425504 h 5392467"/>
              <a:gd name="connsiteX4118" fmla="*/ 2815160 w 6096001"/>
              <a:gd name="connsiteY4118" fmla="*/ 417767 h 5392467"/>
              <a:gd name="connsiteX4119" fmla="*/ 2842237 w 6096001"/>
              <a:gd name="connsiteY4119" fmla="*/ 413899 h 5392467"/>
              <a:gd name="connsiteX4120" fmla="*/ 2844170 w 6096001"/>
              <a:gd name="connsiteY4120" fmla="*/ 417767 h 5392467"/>
              <a:gd name="connsiteX4121" fmla="*/ 2842237 w 6096001"/>
              <a:gd name="connsiteY4121" fmla="*/ 421635 h 5392467"/>
              <a:gd name="connsiteX4122" fmla="*/ 2836434 w 6096001"/>
              <a:gd name="connsiteY4122" fmla="*/ 425504 h 5392467"/>
              <a:gd name="connsiteX4123" fmla="*/ 2819028 w 6096001"/>
              <a:gd name="connsiteY4123" fmla="*/ 437108 h 5392467"/>
              <a:gd name="connsiteX4124" fmla="*/ 2817093 w 6096001"/>
              <a:gd name="connsiteY4124" fmla="*/ 439041 h 5392467"/>
              <a:gd name="connsiteX4125" fmla="*/ 2820961 w 6096001"/>
              <a:gd name="connsiteY4125" fmla="*/ 440974 h 5392467"/>
              <a:gd name="connsiteX4126" fmla="*/ 2830630 w 6096001"/>
              <a:gd name="connsiteY4126" fmla="*/ 440974 h 5392467"/>
              <a:gd name="connsiteX4127" fmla="*/ 2853840 w 6096001"/>
              <a:gd name="connsiteY4127" fmla="*/ 427437 h 5392467"/>
              <a:gd name="connsiteX4128" fmla="*/ 2861579 w 6096001"/>
              <a:gd name="connsiteY4128" fmla="*/ 425504 h 5392467"/>
              <a:gd name="connsiteX4129" fmla="*/ 2873181 w 6096001"/>
              <a:gd name="connsiteY4129" fmla="*/ 417767 h 5392467"/>
              <a:gd name="connsiteX4130" fmla="*/ 2877049 w 6096001"/>
              <a:gd name="connsiteY4130" fmla="*/ 411964 h 5392467"/>
              <a:gd name="connsiteX4131" fmla="*/ 2884788 w 6096001"/>
              <a:gd name="connsiteY4131" fmla="*/ 410031 h 5392467"/>
              <a:gd name="connsiteX4132" fmla="*/ 2913799 w 6096001"/>
              <a:gd name="connsiteY4132" fmla="*/ 415832 h 5392467"/>
              <a:gd name="connsiteX4133" fmla="*/ 2921536 w 6096001"/>
              <a:gd name="connsiteY4133" fmla="*/ 411964 h 5392467"/>
              <a:gd name="connsiteX4134" fmla="*/ 2925404 w 6096001"/>
              <a:gd name="connsiteY4134" fmla="*/ 408095 h 5392467"/>
              <a:gd name="connsiteX4135" fmla="*/ 2935073 w 6096001"/>
              <a:gd name="connsiteY4135" fmla="*/ 406162 h 5392467"/>
              <a:gd name="connsiteX4136" fmla="*/ 2952482 w 6096001"/>
              <a:gd name="connsiteY4136" fmla="*/ 396491 h 5392467"/>
              <a:gd name="connsiteX4137" fmla="*/ 2969888 w 6096001"/>
              <a:gd name="connsiteY4137" fmla="*/ 390689 h 5392467"/>
              <a:gd name="connsiteX4138" fmla="*/ 2971823 w 6096001"/>
              <a:gd name="connsiteY4138" fmla="*/ 390689 h 5392467"/>
              <a:gd name="connsiteX4139" fmla="*/ 2989229 w 6096001"/>
              <a:gd name="connsiteY4139" fmla="*/ 377149 h 5392467"/>
              <a:gd name="connsiteX4140" fmla="*/ 2993097 w 6096001"/>
              <a:gd name="connsiteY4140" fmla="*/ 375216 h 5392467"/>
              <a:gd name="connsiteX4141" fmla="*/ 3000834 w 6096001"/>
              <a:gd name="connsiteY4141" fmla="*/ 373281 h 5392467"/>
              <a:gd name="connsiteX4142" fmla="*/ 3024041 w 6096001"/>
              <a:gd name="connsiteY4142" fmla="*/ 359743 h 5392467"/>
              <a:gd name="connsiteX4143" fmla="*/ 3029844 w 6096001"/>
              <a:gd name="connsiteY4143" fmla="*/ 355875 h 5392467"/>
              <a:gd name="connsiteX4144" fmla="*/ 3054987 w 6096001"/>
              <a:gd name="connsiteY4144" fmla="*/ 346206 h 5392467"/>
              <a:gd name="connsiteX4145" fmla="*/ 3062723 w 6096001"/>
              <a:gd name="connsiteY4145" fmla="*/ 344270 h 5392467"/>
              <a:gd name="connsiteX4146" fmla="*/ 3082065 w 6096001"/>
              <a:gd name="connsiteY4146" fmla="*/ 330733 h 5392467"/>
              <a:gd name="connsiteX4147" fmla="*/ 3091734 w 6096001"/>
              <a:gd name="connsiteY4147" fmla="*/ 324929 h 5392467"/>
              <a:gd name="connsiteX4148" fmla="*/ 3095605 w 6096001"/>
              <a:gd name="connsiteY4148" fmla="*/ 322996 h 5392467"/>
              <a:gd name="connsiteX4149" fmla="*/ 3109142 w 6096001"/>
              <a:gd name="connsiteY4149" fmla="*/ 313324 h 5392467"/>
              <a:gd name="connsiteX4150" fmla="*/ 3132352 w 6096001"/>
              <a:gd name="connsiteY4150" fmla="*/ 303655 h 5392467"/>
              <a:gd name="connsiteX4151" fmla="*/ 3138153 w 6096001"/>
              <a:gd name="connsiteY4151" fmla="*/ 301719 h 5392467"/>
              <a:gd name="connsiteX4152" fmla="*/ 3151693 w 6096001"/>
              <a:gd name="connsiteY4152" fmla="*/ 297851 h 5392467"/>
              <a:gd name="connsiteX4153" fmla="*/ 3203913 w 6096001"/>
              <a:gd name="connsiteY4153" fmla="*/ 266905 h 5392467"/>
              <a:gd name="connsiteX4154" fmla="*/ 3217451 w 6096001"/>
              <a:gd name="connsiteY4154" fmla="*/ 263039 h 5392467"/>
              <a:gd name="connsiteX4155" fmla="*/ 3225188 w 6096001"/>
              <a:gd name="connsiteY4155" fmla="*/ 261104 h 5392467"/>
              <a:gd name="connsiteX4156" fmla="*/ 3261937 w 6096001"/>
              <a:gd name="connsiteY4156" fmla="*/ 239830 h 5392467"/>
              <a:gd name="connsiteX4157" fmla="*/ 3267739 w 6096001"/>
              <a:gd name="connsiteY4157" fmla="*/ 237894 h 5392467"/>
              <a:gd name="connsiteX4158" fmla="*/ 3275475 w 6096001"/>
              <a:gd name="connsiteY4158" fmla="*/ 234026 h 5392467"/>
              <a:gd name="connsiteX4159" fmla="*/ 3279343 w 6096001"/>
              <a:gd name="connsiteY4159" fmla="*/ 230158 h 5392467"/>
              <a:gd name="connsiteX4160" fmla="*/ 3294816 w 6096001"/>
              <a:gd name="connsiteY4160" fmla="*/ 224357 h 5392467"/>
              <a:gd name="connsiteX4161" fmla="*/ 3325762 w 6096001"/>
              <a:gd name="connsiteY4161" fmla="*/ 206948 h 5392467"/>
              <a:gd name="connsiteX4162" fmla="*/ 3333499 w 6096001"/>
              <a:gd name="connsiteY4162" fmla="*/ 205015 h 5392467"/>
              <a:gd name="connsiteX4163" fmla="*/ 3352840 w 6096001"/>
              <a:gd name="connsiteY4163" fmla="*/ 203080 h 5392467"/>
              <a:gd name="connsiteX4164" fmla="*/ 3366378 w 6096001"/>
              <a:gd name="connsiteY4164" fmla="*/ 199212 h 5392467"/>
              <a:gd name="connsiteX4165" fmla="*/ 3385719 w 6096001"/>
              <a:gd name="connsiteY4165" fmla="*/ 187607 h 5392467"/>
              <a:gd name="connsiteX4166" fmla="*/ 3393456 w 6096001"/>
              <a:gd name="connsiteY4166" fmla="*/ 185674 h 5392467"/>
              <a:gd name="connsiteX4167" fmla="*/ 3401192 w 6096001"/>
              <a:gd name="connsiteY4167" fmla="*/ 183739 h 5392467"/>
              <a:gd name="connsiteX4168" fmla="*/ 3416665 w 6096001"/>
              <a:gd name="connsiteY4168" fmla="*/ 176005 h 5392467"/>
              <a:gd name="connsiteX4169" fmla="*/ 3428270 w 6096001"/>
              <a:gd name="connsiteY4169" fmla="*/ 172136 h 5392467"/>
              <a:gd name="connsiteX4170" fmla="*/ 3432138 w 6096001"/>
              <a:gd name="connsiteY4170" fmla="*/ 170201 h 5392467"/>
              <a:gd name="connsiteX4171" fmla="*/ 3447611 w 6096001"/>
              <a:gd name="connsiteY4171" fmla="*/ 160532 h 5392467"/>
              <a:gd name="connsiteX4172" fmla="*/ 3451479 w 6096001"/>
              <a:gd name="connsiteY4172" fmla="*/ 158596 h 5392467"/>
              <a:gd name="connsiteX4173" fmla="*/ 3463084 w 6096001"/>
              <a:gd name="connsiteY4173" fmla="*/ 154728 h 5392467"/>
              <a:gd name="connsiteX4174" fmla="*/ 3486294 w 6096001"/>
              <a:gd name="connsiteY4174" fmla="*/ 141190 h 5392467"/>
              <a:gd name="connsiteX4175" fmla="*/ 3509501 w 6096001"/>
              <a:gd name="connsiteY4175" fmla="*/ 131519 h 5392467"/>
              <a:gd name="connsiteX4176" fmla="*/ 3524974 w 6096001"/>
              <a:gd name="connsiteY4176" fmla="*/ 121849 h 5392467"/>
              <a:gd name="connsiteX4177" fmla="*/ 3528842 w 6096001"/>
              <a:gd name="connsiteY4177" fmla="*/ 119914 h 5392467"/>
              <a:gd name="connsiteX4178" fmla="*/ 3538514 w 6096001"/>
              <a:gd name="connsiteY4178" fmla="*/ 117981 h 5392467"/>
              <a:gd name="connsiteX4179" fmla="*/ 3552052 w 6096001"/>
              <a:gd name="connsiteY4179" fmla="*/ 110244 h 5392467"/>
              <a:gd name="connsiteX4180" fmla="*/ 3561723 w 6096001"/>
              <a:gd name="connsiteY4180" fmla="*/ 108309 h 5392467"/>
              <a:gd name="connsiteX4181" fmla="*/ 3575261 w 6096001"/>
              <a:gd name="connsiteY4181" fmla="*/ 106376 h 5392467"/>
              <a:gd name="connsiteX4182" fmla="*/ 3592667 w 6096001"/>
              <a:gd name="connsiteY4182" fmla="*/ 100572 h 5392467"/>
              <a:gd name="connsiteX4183" fmla="*/ 3596535 w 6096001"/>
              <a:gd name="connsiteY4183" fmla="*/ 98639 h 5392467"/>
              <a:gd name="connsiteX4184" fmla="*/ 3619745 w 6096001"/>
              <a:gd name="connsiteY4184" fmla="*/ 88970 h 5392467"/>
              <a:gd name="connsiteX4185" fmla="*/ 3631350 w 6096001"/>
              <a:gd name="connsiteY4185" fmla="*/ 83166 h 5392467"/>
              <a:gd name="connsiteX4186" fmla="*/ 3660363 w 6096001"/>
              <a:gd name="connsiteY4186" fmla="*/ 77365 h 5392467"/>
              <a:gd name="connsiteX4187" fmla="*/ 3666164 w 6096001"/>
              <a:gd name="connsiteY4187" fmla="*/ 77365 h 5392467"/>
              <a:gd name="connsiteX4188" fmla="*/ 3675833 w 6096001"/>
              <a:gd name="connsiteY4188" fmla="*/ 71562 h 5392467"/>
              <a:gd name="connsiteX4189" fmla="*/ 3685505 w 6096001"/>
              <a:gd name="connsiteY4189" fmla="*/ 61892 h 5392467"/>
              <a:gd name="connsiteX4190" fmla="*/ 3731924 w 6096001"/>
              <a:gd name="connsiteY4190" fmla="*/ 32879 h 5392467"/>
              <a:gd name="connsiteX4191" fmla="*/ 3741594 w 6096001"/>
              <a:gd name="connsiteY4191" fmla="*/ 30946 h 5392467"/>
              <a:gd name="connsiteX4192" fmla="*/ 3743527 w 6096001"/>
              <a:gd name="connsiteY4192" fmla="*/ 30946 h 5392467"/>
              <a:gd name="connsiteX4193" fmla="*/ 3757067 w 6096001"/>
              <a:gd name="connsiteY4193" fmla="*/ 23210 h 5392467"/>
              <a:gd name="connsiteX4194" fmla="*/ 3770607 w 6096001"/>
              <a:gd name="connsiteY4194" fmla="*/ 19341 h 5392467"/>
              <a:gd name="connsiteX4195" fmla="*/ 3772540 w 6096001"/>
              <a:gd name="connsiteY4195" fmla="*/ 17406 h 5392467"/>
              <a:gd name="connsiteX4196" fmla="*/ 3784145 w 6096001"/>
              <a:gd name="connsiteY4196" fmla="*/ 13538 h 5392467"/>
              <a:gd name="connsiteX4197" fmla="*/ 3797682 w 6096001"/>
              <a:gd name="connsiteY4197" fmla="*/ 11605 h 5392467"/>
              <a:gd name="connsiteX4198" fmla="*/ 3809287 w 6096001"/>
              <a:gd name="connsiteY4198" fmla="*/ 7737 h 5392467"/>
              <a:gd name="connsiteX4199" fmla="*/ 3820892 w 6096001"/>
              <a:gd name="connsiteY4199" fmla="*/ 7737 h 5392467"/>
              <a:gd name="connsiteX4200" fmla="*/ 3834432 w 6096001"/>
              <a:gd name="connsiteY4200" fmla="*/ 3868 h 5392467"/>
              <a:gd name="connsiteX4201" fmla="*/ 3849903 w 6096001"/>
              <a:gd name="connsiteY4201" fmla="*/ 1935 h 5392467"/>
              <a:gd name="connsiteX4202" fmla="*/ 3863443 w 6096001"/>
              <a:gd name="connsiteY4202" fmla="*/ 0 h 5392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</a:cxnLst>
            <a:rect l="l" t="t" r="r" b="b"/>
            <a:pathLst>
              <a:path w="6096001" h="5392467">
                <a:moveTo>
                  <a:pt x="2497968" y="5359400"/>
                </a:moveTo>
                <a:cubicBezTo>
                  <a:pt x="2497968" y="5359400"/>
                  <a:pt x="2499901" y="5361333"/>
                  <a:pt x="2499901" y="5361333"/>
                </a:cubicBezTo>
                <a:cubicBezTo>
                  <a:pt x="2497968" y="5361333"/>
                  <a:pt x="2496032" y="5363268"/>
                  <a:pt x="2490229" y="5365201"/>
                </a:cubicBezTo>
                <a:cubicBezTo>
                  <a:pt x="2494099" y="5361333"/>
                  <a:pt x="2496032" y="5359400"/>
                  <a:pt x="2497968" y="5359400"/>
                </a:cubicBezTo>
                <a:close/>
                <a:moveTo>
                  <a:pt x="2350974" y="5357464"/>
                </a:moveTo>
                <a:cubicBezTo>
                  <a:pt x="2343240" y="5359400"/>
                  <a:pt x="2343240" y="5359400"/>
                  <a:pt x="2343240" y="5367136"/>
                </a:cubicBezTo>
                <a:cubicBezTo>
                  <a:pt x="2349041" y="5367136"/>
                  <a:pt x="2350974" y="5363268"/>
                  <a:pt x="2350974" y="5357464"/>
                </a:cubicBezTo>
                <a:close/>
                <a:moveTo>
                  <a:pt x="2462686" y="5341466"/>
                </a:moveTo>
                <a:lnTo>
                  <a:pt x="2466220" y="5342526"/>
                </a:lnTo>
                <a:lnTo>
                  <a:pt x="2461218" y="5345862"/>
                </a:lnTo>
                <a:lnTo>
                  <a:pt x="2459331" y="5348881"/>
                </a:lnTo>
                <a:lnTo>
                  <a:pt x="2457350" y="5349730"/>
                </a:lnTo>
                <a:lnTo>
                  <a:pt x="2460736" y="5342109"/>
                </a:lnTo>
                <a:close/>
                <a:moveTo>
                  <a:pt x="2484427" y="5334257"/>
                </a:moveTo>
                <a:cubicBezTo>
                  <a:pt x="2480559" y="5336190"/>
                  <a:pt x="2478626" y="5336190"/>
                  <a:pt x="2472823" y="5340058"/>
                </a:cubicBezTo>
                <a:cubicBezTo>
                  <a:pt x="2482492" y="5341991"/>
                  <a:pt x="2482492" y="5341991"/>
                  <a:pt x="2484427" y="5334257"/>
                </a:cubicBezTo>
                <a:close/>
                <a:moveTo>
                  <a:pt x="2345173" y="5328454"/>
                </a:moveTo>
                <a:cubicBezTo>
                  <a:pt x="2329700" y="5332322"/>
                  <a:pt x="2329700" y="5332322"/>
                  <a:pt x="2327765" y="5341991"/>
                </a:cubicBezTo>
                <a:cubicBezTo>
                  <a:pt x="2335501" y="5341991"/>
                  <a:pt x="2341304" y="5336190"/>
                  <a:pt x="2345173" y="5328454"/>
                </a:cubicBezTo>
                <a:close/>
                <a:moveTo>
                  <a:pt x="2507636" y="5314916"/>
                </a:moveTo>
                <a:lnTo>
                  <a:pt x="2507637" y="5314916"/>
                </a:lnTo>
                <a:lnTo>
                  <a:pt x="2501533" y="5317968"/>
                </a:lnTo>
                <a:close/>
                <a:moveTo>
                  <a:pt x="3360577" y="5311048"/>
                </a:moveTo>
                <a:cubicBezTo>
                  <a:pt x="3358641" y="5316849"/>
                  <a:pt x="3354773" y="5320717"/>
                  <a:pt x="3348972" y="5324585"/>
                </a:cubicBezTo>
                <a:cubicBezTo>
                  <a:pt x="3352840" y="5322652"/>
                  <a:pt x="3354773" y="5318782"/>
                  <a:pt x="3354773" y="5312981"/>
                </a:cubicBezTo>
                <a:cubicBezTo>
                  <a:pt x="3356708" y="5312981"/>
                  <a:pt x="3358641" y="5311048"/>
                  <a:pt x="3360577" y="5311048"/>
                </a:cubicBezTo>
                <a:close/>
                <a:moveTo>
                  <a:pt x="2532779" y="5305244"/>
                </a:moveTo>
                <a:cubicBezTo>
                  <a:pt x="2534715" y="5305244"/>
                  <a:pt x="2536648" y="5305244"/>
                  <a:pt x="2538583" y="5307179"/>
                </a:cubicBezTo>
                <a:cubicBezTo>
                  <a:pt x="2538583" y="5307179"/>
                  <a:pt x="2538583" y="5311048"/>
                  <a:pt x="2536648" y="5311048"/>
                </a:cubicBezTo>
                <a:cubicBezTo>
                  <a:pt x="2536648" y="5311048"/>
                  <a:pt x="2532779" y="5311048"/>
                  <a:pt x="2532779" y="5311048"/>
                </a:cubicBezTo>
                <a:cubicBezTo>
                  <a:pt x="2532779" y="5309112"/>
                  <a:pt x="2532779" y="5307179"/>
                  <a:pt x="2532779" y="5305244"/>
                </a:cubicBezTo>
                <a:close/>
                <a:moveTo>
                  <a:pt x="3319961" y="5291706"/>
                </a:moveTo>
                <a:cubicBezTo>
                  <a:pt x="3314158" y="5295575"/>
                  <a:pt x="3312222" y="5299443"/>
                  <a:pt x="3314158" y="5305244"/>
                </a:cubicBezTo>
                <a:cubicBezTo>
                  <a:pt x="3314158" y="5299443"/>
                  <a:pt x="3321894" y="5297508"/>
                  <a:pt x="3319961" y="5291706"/>
                </a:cubicBezTo>
                <a:close/>
                <a:moveTo>
                  <a:pt x="2292950" y="5291706"/>
                </a:moveTo>
                <a:cubicBezTo>
                  <a:pt x="2289082" y="5297508"/>
                  <a:pt x="2287149" y="5303311"/>
                  <a:pt x="2285216" y="5309112"/>
                </a:cubicBezTo>
                <a:cubicBezTo>
                  <a:pt x="2287149" y="5307179"/>
                  <a:pt x="2291017" y="5305244"/>
                  <a:pt x="2294885" y="5303311"/>
                </a:cubicBezTo>
                <a:cubicBezTo>
                  <a:pt x="2294885" y="5303311"/>
                  <a:pt x="2296821" y="5305244"/>
                  <a:pt x="2296821" y="5305244"/>
                </a:cubicBezTo>
                <a:cubicBezTo>
                  <a:pt x="2294885" y="5309112"/>
                  <a:pt x="2292950" y="5311048"/>
                  <a:pt x="2291017" y="5314916"/>
                </a:cubicBezTo>
                <a:cubicBezTo>
                  <a:pt x="2291017" y="5314916"/>
                  <a:pt x="2292950" y="5316849"/>
                  <a:pt x="2292950" y="5316849"/>
                </a:cubicBezTo>
                <a:cubicBezTo>
                  <a:pt x="2298754" y="5312981"/>
                  <a:pt x="2304557" y="5307179"/>
                  <a:pt x="2312291" y="5297508"/>
                </a:cubicBezTo>
                <a:cubicBezTo>
                  <a:pt x="2312291" y="5297508"/>
                  <a:pt x="2312291" y="5295575"/>
                  <a:pt x="2312291" y="5295575"/>
                </a:cubicBezTo>
                <a:cubicBezTo>
                  <a:pt x="2308423" y="5297508"/>
                  <a:pt x="2304557" y="5297508"/>
                  <a:pt x="2300689" y="5299443"/>
                </a:cubicBezTo>
                <a:cubicBezTo>
                  <a:pt x="2296821" y="5295575"/>
                  <a:pt x="2294885" y="5293639"/>
                  <a:pt x="2292950" y="5291706"/>
                </a:cubicBezTo>
                <a:close/>
                <a:moveTo>
                  <a:pt x="2265875" y="5285905"/>
                </a:moveTo>
                <a:cubicBezTo>
                  <a:pt x="2258138" y="5293639"/>
                  <a:pt x="2258138" y="5293639"/>
                  <a:pt x="2265875" y="5301376"/>
                </a:cubicBezTo>
                <a:cubicBezTo>
                  <a:pt x="2267808" y="5293639"/>
                  <a:pt x="2267808" y="5291706"/>
                  <a:pt x="2265875" y="5285905"/>
                </a:cubicBezTo>
                <a:close/>
                <a:moveTo>
                  <a:pt x="2625618" y="5278166"/>
                </a:moveTo>
                <a:cubicBezTo>
                  <a:pt x="2625618" y="5278166"/>
                  <a:pt x="2627551" y="5280102"/>
                  <a:pt x="2627551" y="5280102"/>
                </a:cubicBezTo>
                <a:cubicBezTo>
                  <a:pt x="2619814" y="5287838"/>
                  <a:pt x="2612078" y="5295575"/>
                  <a:pt x="2600473" y="5293639"/>
                </a:cubicBezTo>
                <a:cubicBezTo>
                  <a:pt x="2608209" y="5287838"/>
                  <a:pt x="2615946" y="5283970"/>
                  <a:pt x="2625618" y="5278166"/>
                </a:cubicBezTo>
                <a:close/>
                <a:moveTo>
                  <a:pt x="2263939" y="5270430"/>
                </a:moveTo>
                <a:cubicBezTo>
                  <a:pt x="2262007" y="5272365"/>
                  <a:pt x="2258138" y="5274298"/>
                  <a:pt x="2256203" y="5278166"/>
                </a:cubicBezTo>
                <a:cubicBezTo>
                  <a:pt x="2260071" y="5276233"/>
                  <a:pt x="2263939" y="5276233"/>
                  <a:pt x="2265875" y="5274298"/>
                </a:cubicBezTo>
                <a:cubicBezTo>
                  <a:pt x="2263939" y="5272365"/>
                  <a:pt x="2263939" y="5272365"/>
                  <a:pt x="2263939" y="5270430"/>
                </a:cubicBezTo>
                <a:close/>
                <a:moveTo>
                  <a:pt x="2273611" y="5266564"/>
                </a:moveTo>
                <a:cubicBezTo>
                  <a:pt x="2273611" y="5266564"/>
                  <a:pt x="2271676" y="5268497"/>
                  <a:pt x="2271676" y="5268497"/>
                </a:cubicBezTo>
                <a:cubicBezTo>
                  <a:pt x="2271676" y="5270430"/>
                  <a:pt x="2273611" y="5272365"/>
                  <a:pt x="2275544" y="5274298"/>
                </a:cubicBezTo>
                <a:cubicBezTo>
                  <a:pt x="2275544" y="5274298"/>
                  <a:pt x="2275544" y="5272365"/>
                  <a:pt x="2277479" y="5272365"/>
                </a:cubicBezTo>
                <a:cubicBezTo>
                  <a:pt x="2275544" y="5270430"/>
                  <a:pt x="2275544" y="5268497"/>
                  <a:pt x="2273611" y="5266564"/>
                </a:cubicBezTo>
                <a:close/>
                <a:moveTo>
                  <a:pt x="3416665" y="5249156"/>
                </a:moveTo>
                <a:cubicBezTo>
                  <a:pt x="3416665" y="5253024"/>
                  <a:pt x="3414730" y="5256892"/>
                  <a:pt x="3412797" y="5260760"/>
                </a:cubicBezTo>
                <a:cubicBezTo>
                  <a:pt x="3410862" y="5254957"/>
                  <a:pt x="3414730" y="5251088"/>
                  <a:pt x="3416665" y="5249156"/>
                </a:cubicBezTo>
                <a:close/>
                <a:moveTo>
                  <a:pt x="2677838" y="5249156"/>
                </a:moveTo>
                <a:cubicBezTo>
                  <a:pt x="2677838" y="5249156"/>
                  <a:pt x="2679771" y="5249156"/>
                  <a:pt x="2683639" y="5251088"/>
                </a:cubicBezTo>
                <a:cubicBezTo>
                  <a:pt x="2675903" y="5254957"/>
                  <a:pt x="2672037" y="5260760"/>
                  <a:pt x="2666233" y="5264629"/>
                </a:cubicBezTo>
                <a:cubicBezTo>
                  <a:pt x="2654628" y="5268497"/>
                  <a:pt x="2644959" y="5274298"/>
                  <a:pt x="2631419" y="5278166"/>
                </a:cubicBezTo>
                <a:cubicBezTo>
                  <a:pt x="2635287" y="5274298"/>
                  <a:pt x="2639155" y="5270430"/>
                  <a:pt x="2644959" y="5266564"/>
                </a:cubicBezTo>
                <a:cubicBezTo>
                  <a:pt x="2654628" y="5260760"/>
                  <a:pt x="2666233" y="5254957"/>
                  <a:pt x="2677838" y="5249156"/>
                </a:cubicBezTo>
                <a:close/>
                <a:moveTo>
                  <a:pt x="1467088" y="5239486"/>
                </a:moveTo>
                <a:lnTo>
                  <a:pt x="1467713" y="5240111"/>
                </a:lnTo>
                <a:lnTo>
                  <a:pt x="1461787" y="5243853"/>
                </a:lnTo>
                <a:lnTo>
                  <a:pt x="1461287" y="5243354"/>
                </a:lnTo>
                <a:cubicBezTo>
                  <a:pt x="1463222" y="5241419"/>
                  <a:pt x="1465155" y="5241419"/>
                  <a:pt x="1467088" y="5239486"/>
                </a:cubicBezTo>
                <a:close/>
                <a:moveTo>
                  <a:pt x="3429777" y="5233934"/>
                </a:moveTo>
                <a:lnTo>
                  <a:pt x="3430203" y="5234005"/>
                </a:lnTo>
                <a:lnTo>
                  <a:pt x="3420533" y="5245287"/>
                </a:lnTo>
                <a:cubicBezTo>
                  <a:pt x="3422467" y="5243353"/>
                  <a:pt x="3423918" y="5240452"/>
                  <a:pt x="3425611" y="5237793"/>
                </a:cubicBezTo>
                <a:close/>
                <a:moveTo>
                  <a:pt x="2716520" y="5222078"/>
                </a:moveTo>
                <a:cubicBezTo>
                  <a:pt x="2716520" y="5233683"/>
                  <a:pt x="2710717" y="5239486"/>
                  <a:pt x="2687510" y="5243354"/>
                </a:cubicBezTo>
                <a:cubicBezTo>
                  <a:pt x="2697179" y="5235618"/>
                  <a:pt x="2706849" y="5229814"/>
                  <a:pt x="2716520" y="5222078"/>
                </a:cubicBezTo>
                <a:close/>
                <a:moveTo>
                  <a:pt x="2739730" y="5214341"/>
                </a:moveTo>
                <a:cubicBezTo>
                  <a:pt x="2739730" y="5214341"/>
                  <a:pt x="2741663" y="5216277"/>
                  <a:pt x="2741663" y="5216277"/>
                </a:cubicBezTo>
                <a:cubicBezTo>
                  <a:pt x="2739730" y="5216277"/>
                  <a:pt x="2737795" y="5218209"/>
                  <a:pt x="2735862" y="5220145"/>
                </a:cubicBezTo>
                <a:cubicBezTo>
                  <a:pt x="2735862" y="5220145"/>
                  <a:pt x="2733926" y="5218209"/>
                  <a:pt x="2733926" y="5218209"/>
                </a:cubicBezTo>
                <a:cubicBezTo>
                  <a:pt x="2735862" y="5216277"/>
                  <a:pt x="2737795" y="5214341"/>
                  <a:pt x="2739730" y="5214341"/>
                </a:cubicBezTo>
                <a:close/>
                <a:moveTo>
                  <a:pt x="3424402" y="5212408"/>
                </a:moveTo>
                <a:cubicBezTo>
                  <a:pt x="3426337" y="5212408"/>
                  <a:pt x="3428270" y="5212408"/>
                  <a:pt x="3428270" y="5212408"/>
                </a:cubicBezTo>
                <a:cubicBezTo>
                  <a:pt x="3426337" y="5214341"/>
                  <a:pt x="3426337" y="5216277"/>
                  <a:pt x="3424402" y="5216277"/>
                </a:cubicBezTo>
                <a:cubicBezTo>
                  <a:pt x="3424402" y="5214341"/>
                  <a:pt x="3424402" y="5214341"/>
                  <a:pt x="3424402" y="5212408"/>
                </a:cubicBezTo>
                <a:close/>
                <a:moveTo>
                  <a:pt x="2755203" y="5202736"/>
                </a:moveTo>
                <a:cubicBezTo>
                  <a:pt x="2753268" y="5206605"/>
                  <a:pt x="2755203" y="5208540"/>
                  <a:pt x="2753268" y="5208540"/>
                </a:cubicBezTo>
                <a:cubicBezTo>
                  <a:pt x="2753268" y="5208540"/>
                  <a:pt x="2751335" y="5210473"/>
                  <a:pt x="2749399" y="5210473"/>
                </a:cubicBezTo>
                <a:cubicBezTo>
                  <a:pt x="2749399" y="5208540"/>
                  <a:pt x="2747464" y="5208540"/>
                  <a:pt x="2749399" y="5206605"/>
                </a:cubicBezTo>
                <a:cubicBezTo>
                  <a:pt x="2749399" y="5204672"/>
                  <a:pt x="2751335" y="5204672"/>
                  <a:pt x="2755203" y="5202736"/>
                </a:cubicBezTo>
                <a:close/>
                <a:moveTo>
                  <a:pt x="3265806" y="5185330"/>
                </a:moveTo>
                <a:cubicBezTo>
                  <a:pt x="3260002" y="5189199"/>
                  <a:pt x="3258069" y="5193067"/>
                  <a:pt x="3260002" y="5198871"/>
                </a:cubicBezTo>
                <a:cubicBezTo>
                  <a:pt x="3260002" y="5195000"/>
                  <a:pt x="3265806" y="5193067"/>
                  <a:pt x="3265806" y="5185330"/>
                </a:cubicBezTo>
                <a:close/>
                <a:moveTo>
                  <a:pt x="2726190" y="5179529"/>
                </a:moveTo>
                <a:cubicBezTo>
                  <a:pt x="2726190" y="5181462"/>
                  <a:pt x="2726190" y="5185330"/>
                  <a:pt x="2726190" y="5185330"/>
                </a:cubicBezTo>
                <a:cubicBezTo>
                  <a:pt x="2728125" y="5185330"/>
                  <a:pt x="2730058" y="5187263"/>
                  <a:pt x="2731993" y="5185330"/>
                </a:cubicBezTo>
                <a:cubicBezTo>
                  <a:pt x="2731993" y="5185330"/>
                  <a:pt x="2731993" y="5181462"/>
                  <a:pt x="2733926" y="5181462"/>
                </a:cubicBezTo>
                <a:cubicBezTo>
                  <a:pt x="2731993" y="5179529"/>
                  <a:pt x="2730058" y="5179529"/>
                  <a:pt x="2726190" y="5179529"/>
                </a:cubicBezTo>
                <a:close/>
                <a:moveTo>
                  <a:pt x="2784214" y="5177594"/>
                </a:moveTo>
                <a:cubicBezTo>
                  <a:pt x="2788082" y="5177594"/>
                  <a:pt x="2791950" y="5177594"/>
                  <a:pt x="2797754" y="5177594"/>
                </a:cubicBezTo>
                <a:cubicBezTo>
                  <a:pt x="2790015" y="5187263"/>
                  <a:pt x="2790015" y="5187263"/>
                  <a:pt x="2784214" y="5177594"/>
                </a:cubicBezTo>
                <a:close/>
                <a:moveTo>
                  <a:pt x="2753268" y="5167922"/>
                </a:moveTo>
                <a:cubicBezTo>
                  <a:pt x="2747464" y="5171790"/>
                  <a:pt x="2741663" y="5173726"/>
                  <a:pt x="2735862" y="5177594"/>
                </a:cubicBezTo>
                <a:cubicBezTo>
                  <a:pt x="2745531" y="5179529"/>
                  <a:pt x="2751335" y="5173726"/>
                  <a:pt x="2755203" y="5169857"/>
                </a:cubicBezTo>
                <a:cubicBezTo>
                  <a:pt x="2755203" y="5169857"/>
                  <a:pt x="2753268" y="5167922"/>
                  <a:pt x="2753268" y="5167922"/>
                </a:cubicBezTo>
                <a:close/>
                <a:moveTo>
                  <a:pt x="2838602" y="5151491"/>
                </a:moveTo>
                <a:lnTo>
                  <a:pt x="2840101" y="5153312"/>
                </a:lnTo>
                <a:lnTo>
                  <a:pt x="2838852" y="5156078"/>
                </a:lnTo>
                <a:cubicBezTo>
                  <a:pt x="2836918" y="5156803"/>
                  <a:pt x="2834500" y="5156320"/>
                  <a:pt x="2832566" y="5156320"/>
                </a:cubicBezTo>
                <a:close/>
                <a:moveTo>
                  <a:pt x="3383786" y="5148583"/>
                </a:moveTo>
                <a:cubicBezTo>
                  <a:pt x="3376050" y="5154384"/>
                  <a:pt x="3368313" y="5162121"/>
                  <a:pt x="3366378" y="5171790"/>
                </a:cubicBezTo>
                <a:cubicBezTo>
                  <a:pt x="3366378" y="5173726"/>
                  <a:pt x="3366378" y="5177594"/>
                  <a:pt x="3364445" y="5179529"/>
                </a:cubicBezTo>
                <a:cubicBezTo>
                  <a:pt x="3364445" y="5177594"/>
                  <a:pt x="3366378" y="5175661"/>
                  <a:pt x="3368313" y="5173726"/>
                </a:cubicBezTo>
                <a:cubicBezTo>
                  <a:pt x="3368313" y="5173726"/>
                  <a:pt x="3370246" y="5175661"/>
                  <a:pt x="3370246" y="5175661"/>
                </a:cubicBezTo>
                <a:cubicBezTo>
                  <a:pt x="3366378" y="5179529"/>
                  <a:pt x="3364445" y="5181462"/>
                  <a:pt x="3362510" y="5185330"/>
                </a:cubicBezTo>
                <a:cubicBezTo>
                  <a:pt x="3360577" y="5183395"/>
                  <a:pt x="3360577" y="5183395"/>
                  <a:pt x="3360577" y="5183395"/>
                </a:cubicBezTo>
                <a:cubicBezTo>
                  <a:pt x="3358641" y="5187263"/>
                  <a:pt x="3358641" y="5189199"/>
                  <a:pt x="3356708" y="5191132"/>
                </a:cubicBezTo>
                <a:cubicBezTo>
                  <a:pt x="3354773" y="5195000"/>
                  <a:pt x="3352840" y="5198871"/>
                  <a:pt x="3354773" y="5202736"/>
                </a:cubicBezTo>
                <a:cubicBezTo>
                  <a:pt x="3356708" y="5202736"/>
                  <a:pt x="3358641" y="5202736"/>
                  <a:pt x="3358641" y="5202736"/>
                </a:cubicBezTo>
                <a:cubicBezTo>
                  <a:pt x="3368313" y="5189199"/>
                  <a:pt x="3377983" y="5177594"/>
                  <a:pt x="3387654" y="5164054"/>
                </a:cubicBezTo>
                <a:cubicBezTo>
                  <a:pt x="3389587" y="5160188"/>
                  <a:pt x="3391520" y="5154384"/>
                  <a:pt x="3393456" y="5150516"/>
                </a:cubicBezTo>
                <a:cubicBezTo>
                  <a:pt x="3389587" y="5146648"/>
                  <a:pt x="3387654" y="5146648"/>
                  <a:pt x="3383786" y="5148583"/>
                </a:cubicBezTo>
                <a:close/>
                <a:moveTo>
                  <a:pt x="3430203" y="5131175"/>
                </a:moveTo>
                <a:cubicBezTo>
                  <a:pt x="3420533" y="5133110"/>
                  <a:pt x="3420533" y="5133110"/>
                  <a:pt x="3416665" y="5144713"/>
                </a:cubicBezTo>
                <a:cubicBezTo>
                  <a:pt x="3424402" y="5142780"/>
                  <a:pt x="3426337" y="5136978"/>
                  <a:pt x="3430203" y="5131175"/>
                </a:cubicBezTo>
                <a:close/>
                <a:moveTo>
                  <a:pt x="3418598" y="5117637"/>
                </a:moveTo>
                <a:cubicBezTo>
                  <a:pt x="3416665" y="5117637"/>
                  <a:pt x="3416665" y="5119570"/>
                  <a:pt x="3414730" y="5121505"/>
                </a:cubicBezTo>
                <a:cubicBezTo>
                  <a:pt x="3414730" y="5121505"/>
                  <a:pt x="3416665" y="5121505"/>
                  <a:pt x="3416665" y="5121505"/>
                </a:cubicBezTo>
                <a:cubicBezTo>
                  <a:pt x="3418598" y="5119570"/>
                  <a:pt x="3418598" y="5119570"/>
                  <a:pt x="3418598" y="5117637"/>
                </a:cubicBezTo>
                <a:close/>
                <a:moveTo>
                  <a:pt x="3042975" y="5114379"/>
                </a:moveTo>
                <a:lnTo>
                  <a:pt x="3047250" y="5121505"/>
                </a:lnTo>
                <a:cubicBezTo>
                  <a:pt x="3045317" y="5121505"/>
                  <a:pt x="3043382" y="5123438"/>
                  <a:pt x="3041449" y="5123438"/>
                </a:cubicBezTo>
                <a:lnTo>
                  <a:pt x="3041449" y="5122665"/>
                </a:lnTo>
                <a:lnTo>
                  <a:pt x="3043382" y="5121505"/>
                </a:lnTo>
                <a:lnTo>
                  <a:pt x="3041449" y="5120538"/>
                </a:lnTo>
                <a:lnTo>
                  <a:pt x="3041449" y="5116669"/>
                </a:lnTo>
                <a:close/>
                <a:moveTo>
                  <a:pt x="3034689" y="5107009"/>
                </a:moveTo>
                <a:lnTo>
                  <a:pt x="3037581" y="5109901"/>
                </a:lnTo>
                <a:lnTo>
                  <a:pt x="3033713" y="5108933"/>
                </a:lnTo>
                <a:lnTo>
                  <a:pt x="3033713" y="5107965"/>
                </a:lnTo>
                <a:close/>
                <a:moveTo>
                  <a:pt x="3532710" y="5104097"/>
                </a:moveTo>
                <a:cubicBezTo>
                  <a:pt x="3526909" y="5102164"/>
                  <a:pt x="3523041" y="5104097"/>
                  <a:pt x="3519173" y="5107965"/>
                </a:cubicBezTo>
                <a:cubicBezTo>
                  <a:pt x="3509501" y="5113769"/>
                  <a:pt x="3503700" y="5123438"/>
                  <a:pt x="3497896" y="5138911"/>
                </a:cubicBezTo>
                <a:cubicBezTo>
                  <a:pt x="3503700" y="5136978"/>
                  <a:pt x="3509501" y="5135043"/>
                  <a:pt x="3509501" y="5125374"/>
                </a:cubicBezTo>
                <a:cubicBezTo>
                  <a:pt x="3509501" y="5125374"/>
                  <a:pt x="3511436" y="5123438"/>
                  <a:pt x="3513372" y="5121505"/>
                </a:cubicBezTo>
                <a:cubicBezTo>
                  <a:pt x="3521106" y="5119570"/>
                  <a:pt x="3528842" y="5109901"/>
                  <a:pt x="3532710" y="5104097"/>
                </a:cubicBezTo>
                <a:close/>
                <a:moveTo>
                  <a:pt x="2907995" y="5100229"/>
                </a:moveTo>
                <a:cubicBezTo>
                  <a:pt x="2907995" y="5100229"/>
                  <a:pt x="2907995" y="5102164"/>
                  <a:pt x="2907995" y="5102164"/>
                </a:cubicBezTo>
                <a:cubicBezTo>
                  <a:pt x="2909931" y="5102164"/>
                  <a:pt x="2909931" y="5102164"/>
                  <a:pt x="2911864" y="5102164"/>
                </a:cubicBezTo>
                <a:cubicBezTo>
                  <a:pt x="2911864" y="5102164"/>
                  <a:pt x="2913799" y="5100229"/>
                  <a:pt x="2911864" y="5100229"/>
                </a:cubicBezTo>
                <a:cubicBezTo>
                  <a:pt x="2911864" y="5100229"/>
                  <a:pt x="2909931" y="5100229"/>
                  <a:pt x="2907995" y="5100229"/>
                </a:cubicBezTo>
                <a:close/>
                <a:moveTo>
                  <a:pt x="2853840" y="5100229"/>
                </a:moveTo>
                <a:cubicBezTo>
                  <a:pt x="2838369" y="5109901"/>
                  <a:pt x="2824829" y="5121505"/>
                  <a:pt x="2813224" y="5131175"/>
                </a:cubicBezTo>
                <a:cubicBezTo>
                  <a:pt x="2813224" y="5133110"/>
                  <a:pt x="2815160" y="5133110"/>
                  <a:pt x="2815160" y="5135043"/>
                </a:cubicBezTo>
                <a:cubicBezTo>
                  <a:pt x="2817093" y="5135043"/>
                  <a:pt x="2819028" y="5135043"/>
                  <a:pt x="2820961" y="5133110"/>
                </a:cubicBezTo>
                <a:cubicBezTo>
                  <a:pt x="2830630" y="5125374"/>
                  <a:pt x="2842237" y="5117637"/>
                  <a:pt x="2851907" y="5109901"/>
                </a:cubicBezTo>
                <a:cubicBezTo>
                  <a:pt x="2851907" y="5107965"/>
                  <a:pt x="2851907" y="5106032"/>
                  <a:pt x="2853840" y="5100229"/>
                </a:cubicBezTo>
                <a:close/>
                <a:moveTo>
                  <a:pt x="1813294" y="5100229"/>
                </a:moveTo>
                <a:cubicBezTo>
                  <a:pt x="1813294" y="5100229"/>
                  <a:pt x="1813294" y="5100229"/>
                  <a:pt x="1813294" y="5102164"/>
                </a:cubicBezTo>
                <a:cubicBezTo>
                  <a:pt x="1811361" y="5104097"/>
                  <a:pt x="1811361" y="5106032"/>
                  <a:pt x="1809425" y="5106032"/>
                </a:cubicBezTo>
                <a:cubicBezTo>
                  <a:pt x="1811361" y="5104097"/>
                  <a:pt x="1811361" y="5102164"/>
                  <a:pt x="1813294" y="5100229"/>
                </a:cubicBezTo>
                <a:close/>
                <a:moveTo>
                  <a:pt x="2140158" y="5094428"/>
                </a:moveTo>
                <a:cubicBezTo>
                  <a:pt x="2138223" y="5096361"/>
                  <a:pt x="2136290" y="5098296"/>
                  <a:pt x="2136290" y="5102164"/>
                </a:cubicBezTo>
                <a:cubicBezTo>
                  <a:pt x="2138223" y="5100229"/>
                  <a:pt x="2140158" y="5098296"/>
                  <a:pt x="2142091" y="5096361"/>
                </a:cubicBezTo>
                <a:cubicBezTo>
                  <a:pt x="2142091" y="5096361"/>
                  <a:pt x="2140158" y="5094428"/>
                  <a:pt x="2140158" y="5094428"/>
                </a:cubicBezTo>
                <a:close/>
                <a:moveTo>
                  <a:pt x="1806100" y="5093330"/>
                </a:moveTo>
                <a:lnTo>
                  <a:pt x="1797821" y="5100229"/>
                </a:lnTo>
                <a:lnTo>
                  <a:pt x="1796901" y="5098849"/>
                </a:lnTo>
                <a:close/>
                <a:moveTo>
                  <a:pt x="1808141" y="5091629"/>
                </a:moveTo>
                <a:lnTo>
                  <a:pt x="1807492" y="5092495"/>
                </a:lnTo>
                <a:lnTo>
                  <a:pt x="1806100" y="5093330"/>
                </a:lnTo>
                <a:close/>
                <a:moveTo>
                  <a:pt x="1375502" y="5087606"/>
                </a:moveTo>
                <a:lnTo>
                  <a:pt x="1369543" y="5095551"/>
                </a:lnTo>
                <a:lnTo>
                  <a:pt x="1364583" y="5096361"/>
                </a:lnTo>
                <a:cubicBezTo>
                  <a:pt x="1365550" y="5090558"/>
                  <a:pt x="1368934" y="5088625"/>
                  <a:pt x="1372802" y="5087900"/>
                </a:cubicBezTo>
                <a:close/>
                <a:moveTo>
                  <a:pt x="2863512" y="5080888"/>
                </a:moveTo>
                <a:cubicBezTo>
                  <a:pt x="2859643" y="5080888"/>
                  <a:pt x="2855775" y="5080888"/>
                  <a:pt x="2853840" y="5082823"/>
                </a:cubicBezTo>
                <a:cubicBezTo>
                  <a:pt x="2842237" y="5090559"/>
                  <a:pt x="2832566" y="5098296"/>
                  <a:pt x="2820961" y="5104097"/>
                </a:cubicBezTo>
                <a:cubicBezTo>
                  <a:pt x="2811291" y="5107965"/>
                  <a:pt x="2805488" y="5113769"/>
                  <a:pt x="2799687" y="5119570"/>
                </a:cubicBezTo>
                <a:cubicBezTo>
                  <a:pt x="2807423" y="5125374"/>
                  <a:pt x="2807423" y="5125374"/>
                  <a:pt x="2809356" y="5123438"/>
                </a:cubicBezTo>
                <a:cubicBezTo>
                  <a:pt x="2817093" y="5117637"/>
                  <a:pt x="2822896" y="5111836"/>
                  <a:pt x="2830630" y="5106032"/>
                </a:cubicBezTo>
                <a:cubicBezTo>
                  <a:pt x="2840302" y="5098296"/>
                  <a:pt x="2848039" y="5086691"/>
                  <a:pt x="2863512" y="5088626"/>
                </a:cubicBezTo>
                <a:cubicBezTo>
                  <a:pt x="2865447" y="5088626"/>
                  <a:pt x="2867380" y="5086691"/>
                  <a:pt x="2867380" y="5084756"/>
                </a:cubicBezTo>
                <a:cubicBezTo>
                  <a:pt x="2867380" y="5082823"/>
                  <a:pt x="2865447" y="5080888"/>
                  <a:pt x="2863512" y="5080888"/>
                </a:cubicBezTo>
                <a:close/>
                <a:moveTo>
                  <a:pt x="2811291" y="5080888"/>
                </a:moveTo>
                <a:cubicBezTo>
                  <a:pt x="2807423" y="5086691"/>
                  <a:pt x="2805488" y="5090559"/>
                  <a:pt x="2803555" y="5096361"/>
                </a:cubicBezTo>
                <a:cubicBezTo>
                  <a:pt x="2811291" y="5096361"/>
                  <a:pt x="2815160" y="5088626"/>
                  <a:pt x="2819028" y="5084756"/>
                </a:cubicBezTo>
                <a:cubicBezTo>
                  <a:pt x="2817093" y="5084756"/>
                  <a:pt x="2813224" y="5082823"/>
                  <a:pt x="2811291" y="5080888"/>
                </a:cubicBezTo>
                <a:close/>
                <a:moveTo>
                  <a:pt x="2820237" y="5078470"/>
                </a:moveTo>
                <a:cubicBezTo>
                  <a:pt x="2819028" y="5079437"/>
                  <a:pt x="2819028" y="5081855"/>
                  <a:pt x="2819028" y="5086691"/>
                </a:cubicBezTo>
                <a:cubicBezTo>
                  <a:pt x="2820961" y="5084756"/>
                  <a:pt x="2824829" y="5080888"/>
                  <a:pt x="2828697" y="5078955"/>
                </a:cubicBezTo>
                <a:cubicBezTo>
                  <a:pt x="2823863" y="5077987"/>
                  <a:pt x="2821445" y="5077503"/>
                  <a:pt x="2820237" y="5078470"/>
                </a:cubicBezTo>
                <a:close/>
                <a:moveTo>
                  <a:pt x="3546248" y="5075086"/>
                </a:moveTo>
                <a:cubicBezTo>
                  <a:pt x="3544315" y="5077019"/>
                  <a:pt x="3544315" y="5080888"/>
                  <a:pt x="3544315" y="5082823"/>
                </a:cubicBezTo>
                <a:cubicBezTo>
                  <a:pt x="3544315" y="5080888"/>
                  <a:pt x="3546248" y="5078955"/>
                  <a:pt x="3548183" y="5077019"/>
                </a:cubicBezTo>
                <a:cubicBezTo>
                  <a:pt x="3548183" y="5075086"/>
                  <a:pt x="3546248" y="5075086"/>
                  <a:pt x="3546248" y="5075086"/>
                </a:cubicBezTo>
                <a:close/>
                <a:moveTo>
                  <a:pt x="1420672" y="5075086"/>
                </a:moveTo>
                <a:cubicBezTo>
                  <a:pt x="1416803" y="5077019"/>
                  <a:pt x="1412935" y="5080888"/>
                  <a:pt x="1409067" y="5082823"/>
                </a:cubicBezTo>
                <a:cubicBezTo>
                  <a:pt x="1409067" y="5082823"/>
                  <a:pt x="1411002" y="5084756"/>
                  <a:pt x="1411002" y="5084756"/>
                </a:cubicBezTo>
                <a:cubicBezTo>
                  <a:pt x="1414870" y="5082823"/>
                  <a:pt x="1416803" y="5078955"/>
                  <a:pt x="1422605" y="5077019"/>
                </a:cubicBezTo>
                <a:cubicBezTo>
                  <a:pt x="1420672" y="5075086"/>
                  <a:pt x="1420672" y="5075086"/>
                  <a:pt x="1420672" y="5075086"/>
                </a:cubicBezTo>
                <a:close/>
                <a:moveTo>
                  <a:pt x="3261937" y="5061549"/>
                </a:moveTo>
                <a:cubicBezTo>
                  <a:pt x="3254201" y="5067350"/>
                  <a:pt x="3252265" y="5075086"/>
                  <a:pt x="3250333" y="5082823"/>
                </a:cubicBezTo>
                <a:cubicBezTo>
                  <a:pt x="3256134" y="5077019"/>
                  <a:pt x="3261937" y="5069285"/>
                  <a:pt x="3261937" y="5061549"/>
                </a:cubicBezTo>
                <a:close/>
                <a:moveTo>
                  <a:pt x="2896391" y="5055745"/>
                </a:moveTo>
                <a:cubicBezTo>
                  <a:pt x="2894458" y="5059613"/>
                  <a:pt x="2890589" y="5063482"/>
                  <a:pt x="2890589" y="5065417"/>
                </a:cubicBezTo>
                <a:cubicBezTo>
                  <a:pt x="2890589" y="5071218"/>
                  <a:pt x="2888654" y="5073153"/>
                  <a:pt x="2884788" y="5075086"/>
                </a:cubicBezTo>
                <a:cubicBezTo>
                  <a:pt x="2877049" y="5080888"/>
                  <a:pt x="2869313" y="5086691"/>
                  <a:pt x="2861579" y="5092495"/>
                </a:cubicBezTo>
                <a:cubicBezTo>
                  <a:pt x="2863512" y="5094428"/>
                  <a:pt x="2863512" y="5094428"/>
                  <a:pt x="2863512" y="5096361"/>
                </a:cubicBezTo>
                <a:cubicBezTo>
                  <a:pt x="2865447" y="5096361"/>
                  <a:pt x="2867380" y="5096361"/>
                  <a:pt x="2869313" y="5096361"/>
                </a:cubicBezTo>
                <a:cubicBezTo>
                  <a:pt x="2871248" y="5096361"/>
                  <a:pt x="2873181" y="5092495"/>
                  <a:pt x="2875116" y="5092495"/>
                </a:cubicBezTo>
                <a:cubicBezTo>
                  <a:pt x="2888654" y="5094428"/>
                  <a:pt x="2894458" y="5084756"/>
                  <a:pt x="2904127" y="5078955"/>
                </a:cubicBezTo>
                <a:cubicBezTo>
                  <a:pt x="2904127" y="5077019"/>
                  <a:pt x="2904127" y="5077019"/>
                  <a:pt x="2907995" y="5073153"/>
                </a:cubicBezTo>
                <a:cubicBezTo>
                  <a:pt x="2907995" y="5073153"/>
                  <a:pt x="2906063" y="5071218"/>
                  <a:pt x="2906063" y="5071218"/>
                </a:cubicBezTo>
                <a:cubicBezTo>
                  <a:pt x="2904127" y="5069285"/>
                  <a:pt x="2902194" y="5065417"/>
                  <a:pt x="2900259" y="5063482"/>
                </a:cubicBezTo>
                <a:cubicBezTo>
                  <a:pt x="2900259" y="5063482"/>
                  <a:pt x="2898326" y="5065417"/>
                  <a:pt x="2896391" y="5065417"/>
                </a:cubicBezTo>
                <a:cubicBezTo>
                  <a:pt x="2896391" y="5063482"/>
                  <a:pt x="2898326" y="5061549"/>
                  <a:pt x="2898326" y="5059613"/>
                </a:cubicBezTo>
                <a:cubicBezTo>
                  <a:pt x="2898326" y="5057678"/>
                  <a:pt x="2896391" y="5057678"/>
                  <a:pt x="2896391" y="5055745"/>
                </a:cubicBezTo>
                <a:close/>
                <a:moveTo>
                  <a:pt x="1870196" y="5051697"/>
                </a:moveTo>
                <a:lnTo>
                  <a:pt x="1830702" y="5080888"/>
                </a:lnTo>
                <a:cubicBezTo>
                  <a:pt x="1826834" y="5084756"/>
                  <a:pt x="1822965" y="5086691"/>
                  <a:pt x="1815229" y="5086691"/>
                </a:cubicBezTo>
                <a:cubicBezTo>
                  <a:pt x="1813294" y="5086691"/>
                  <a:pt x="1811361" y="5088626"/>
                  <a:pt x="1809425" y="5090559"/>
                </a:cubicBezTo>
                <a:lnTo>
                  <a:pt x="1808141" y="5091629"/>
                </a:lnTo>
                <a:lnTo>
                  <a:pt x="1813294" y="5084756"/>
                </a:lnTo>
                <a:lnTo>
                  <a:pt x="1814721" y="5079526"/>
                </a:lnTo>
                <a:lnTo>
                  <a:pt x="1822965" y="5075086"/>
                </a:lnTo>
                <a:lnTo>
                  <a:pt x="1846700" y="5060844"/>
                </a:lnTo>
                <a:lnTo>
                  <a:pt x="1849075" y="5061306"/>
                </a:lnTo>
                <a:cubicBezTo>
                  <a:pt x="1851976" y="5061064"/>
                  <a:pt x="1854877" y="5059614"/>
                  <a:pt x="1857777" y="5055745"/>
                </a:cubicBezTo>
                <a:cubicBezTo>
                  <a:pt x="1859713" y="5053812"/>
                  <a:pt x="1865516" y="5051877"/>
                  <a:pt x="1867449" y="5051877"/>
                </a:cubicBezTo>
                <a:close/>
                <a:moveTo>
                  <a:pt x="2871248" y="5044140"/>
                </a:moveTo>
                <a:cubicBezTo>
                  <a:pt x="2869313" y="5055745"/>
                  <a:pt x="2851907" y="5053812"/>
                  <a:pt x="2853840" y="5071218"/>
                </a:cubicBezTo>
                <a:cubicBezTo>
                  <a:pt x="2863512" y="5067350"/>
                  <a:pt x="2869313" y="5063482"/>
                  <a:pt x="2877049" y="5059613"/>
                </a:cubicBezTo>
                <a:cubicBezTo>
                  <a:pt x="2875116" y="5053812"/>
                  <a:pt x="2875116" y="5049944"/>
                  <a:pt x="2875116" y="5046076"/>
                </a:cubicBezTo>
                <a:cubicBezTo>
                  <a:pt x="2873181" y="5044140"/>
                  <a:pt x="2873181" y="5044140"/>
                  <a:pt x="2871248" y="5044140"/>
                </a:cubicBezTo>
                <a:close/>
                <a:moveTo>
                  <a:pt x="3325762" y="5042207"/>
                </a:moveTo>
                <a:cubicBezTo>
                  <a:pt x="3319961" y="5046076"/>
                  <a:pt x="3314158" y="5053812"/>
                  <a:pt x="3310289" y="5061549"/>
                </a:cubicBezTo>
                <a:cubicBezTo>
                  <a:pt x="3310289" y="5063482"/>
                  <a:pt x="3310289" y="5063482"/>
                  <a:pt x="3310289" y="5065417"/>
                </a:cubicBezTo>
                <a:cubicBezTo>
                  <a:pt x="3308354" y="5073153"/>
                  <a:pt x="3306421" y="5078955"/>
                  <a:pt x="3302553" y="5084756"/>
                </a:cubicBezTo>
                <a:cubicBezTo>
                  <a:pt x="3300620" y="5088626"/>
                  <a:pt x="3298685" y="5092495"/>
                  <a:pt x="3300620" y="5096361"/>
                </a:cubicBezTo>
                <a:cubicBezTo>
                  <a:pt x="3302553" y="5096361"/>
                  <a:pt x="3304486" y="5096361"/>
                  <a:pt x="3304486" y="5096361"/>
                </a:cubicBezTo>
                <a:cubicBezTo>
                  <a:pt x="3308354" y="5092495"/>
                  <a:pt x="3310289" y="5088626"/>
                  <a:pt x="3314158" y="5084756"/>
                </a:cubicBezTo>
                <a:cubicBezTo>
                  <a:pt x="3312222" y="5086691"/>
                  <a:pt x="3310289" y="5086691"/>
                  <a:pt x="3308354" y="5088626"/>
                </a:cubicBezTo>
                <a:cubicBezTo>
                  <a:pt x="3310289" y="5084756"/>
                  <a:pt x="3312222" y="5082823"/>
                  <a:pt x="3316093" y="5082823"/>
                </a:cubicBezTo>
                <a:cubicBezTo>
                  <a:pt x="3321894" y="5073153"/>
                  <a:pt x="3327695" y="5065417"/>
                  <a:pt x="3333499" y="5057678"/>
                </a:cubicBezTo>
                <a:cubicBezTo>
                  <a:pt x="3335432" y="5053812"/>
                  <a:pt x="3337367" y="5049944"/>
                  <a:pt x="3335432" y="5044140"/>
                </a:cubicBezTo>
                <a:cubicBezTo>
                  <a:pt x="3331564" y="5040272"/>
                  <a:pt x="3329631" y="5040272"/>
                  <a:pt x="3325762" y="5042207"/>
                </a:cubicBezTo>
                <a:close/>
                <a:moveTo>
                  <a:pt x="2886721" y="5034471"/>
                </a:moveTo>
                <a:cubicBezTo>
                  <a:pt x="2884788" y="5034471"/>
                  <a:pt x="2884788" y="5042207"/>
                  <a:pt x="2882853" y="5042207"/>
                </a:cubicBezTo>
                <a:cubicBezTo>
                  <a:pt x="2884788" y="5042207"/>
                  <a:pt x="2884788" y="5042207"/>
                  <a:pt x="2884788" y="5044140"/>
                </a:cubicBezTo>
                <a:cubicBezTo>
                  <a:pt x="2886721" y="5044140"/>
                  <a:pt x="2888654" y="5042207"/>
                  <a:pt x="2890589" y="5040272"/>
                </a:cubicBezTo>
                <a:cubicBezTo>
                  <a:pt x="2890589" y="5038339"/>
                  <a:pt x="2890589" y="5036404"/>
                  <a:pt x="2886721" y="5034471"/>
                </a:cubicBezTo>
                <a:close/>
                <a:moveTo>
                  <a:pt x="3817024" y="5005460"/>
                </a:moveTo>
                <a:cubicBezTo>
                  <a:pt x="3789946" y="5018998"/>
                  <a:pt x="3762868" y="5028667"/>
                  <a:pt x="3737726" y="5048009"/>
                </a:cubicBezTo>
                <a:cubicBezTo>
                  <a:pt x="3764803" y="5040272"/>
                  <a:pt x="3803486" y="5018998"/>
                  <a:pt x="3817024" y="5005460"/>
                </a:cubicBezTo>
                <a:close/>
                <a:moveTo>
                  <a:pt x="2993097" y="4991920"/>
                </a:moveTo>
                <a:cubicBezTo>
                  <a:pt x="2991162" y="4991920"/>
                  <a:pt x="2989229" y="4993853"/>
                  <a:pt x="2987293" y="4993853"/>
                </a:cubicBezTo>
                <a:cubicBezTo>
                  <a:pt x="2987293" y="4993853"/>
                  <a:pt x="2987293" y="4995788"/>
                  <a:pt x="2987293" y="4995788"/>
                </a:cubicBezTo>
                <a:cubicBezTo>
                  <a:pt x="2989229" y="4995788"/>
                  <a:pt x="2991162" y="4993853"/>
                  <a:pt x="2993097" y="4993853"/>
                </a:cubicBezTo>
                <a:cubicBezTo>
                  <a:pt x="2993097" y="4993853"/>
                  <a:pt x="2993097" y="4991920"/>
                  <a:pt x="2993097" y="4991920"/>
                </a:cubicBezTo>
                <a:close/>
                <a:moveTo>
                  <a:pt x="2991162" y="4962909"/>
                </a:moveTo>
                <a:cubicBezTo>
                  <a:pt x="2991162" y="4964842"/>
                  <a:pt x="2989229" y="4964842"/>
                  <a:pt x="2991162" y="4966778"/>
                </a:cubicBezTo>
                <a:cubicBezTo>
                  <a:pt x="2993097" y="4964842"/>
                  <a:pt x="2993097" y="4964842"/>
                  <a:pt x="2995030" y="4964842"/>
                </a:cubicBezTo>
                <a:cubicBezTo>
                  <a:pt x="2993097" y="4962909"/>
                  <a:pt x="2993097" y="4962909"/>
                  <a:pt x="2991162" y="4962909"/>
                </a:cubicBezTo>
                <a:close/>
                <a:moveTo>
                  <a:pt x="3155561" y="4947436"/>
                </a:moveTo>
                <a:cubicBezTo>
                  <a:pt x="3153626" y="4947436"/>
                  <a:pt x="3153626" y="4949369"/>
                  <a:pt x="3153626" y="4949369"/>
                </a:cubicBezTo>
                <a:cubicBezTo>
                  <a:pt x="3153626" y="4949369"/>
                  <a:pt x="3155561" y="4949369"/>
                  <a:pt x="3157494" y="4947436"/>
                </a:cubicBezTo>
                <a:cubicBezTo>
                  <a:pt x="3157494" y="4947436"/>
                  <a:pt x="3155561" y="4947436"/>
                  <a:pt x="3155561" y="4947436"/>
                </a:cubicBezTo>
                <a:close/>
                <a:moveTo>
                  <a:pt x="3083492" y="4945704"/>
                </a:moveTo>
                <a:lnTo>
                  <a:pt x="3070460" y="4957106"/>
                </a:lnTo>
                <a:cubicBezTo>
                  <a:pt x="3070460" y="4957106"/>
                  <a:pt x="3070460" y="4959041"/>
                  <a:pt x="3068527" y="4959041"/>
                </a:cubicBezTo>
                <a:cubicBezTo>
                  <a:pt x="3068527" y="4957106"/>
                  <a:pt x="3070460" y="4953237"/>
                  <a:pt x="3072395" y="4951302"/>
                </a:cubicBezTo>
                <a:cubicBezTo>
                  <a:pt x="3072395" y="4951302"/>
                  <a:pt x="3072395" y="4951302"/>
                  <a:pt x="3074328" y="4949369"/>
                </a:cubicBezTo>
                <a:close/>
                <a:moveTo>
                  <a:pt x="3085930" y="4943571"/>
                </a:moveTo>
                <a:lnTo>
                  <a:pt x="3084000" y="4945501"/>
                </a:lnTo>
                <a:lnTo>
                  <a:pt x="3083492" y="4945704"/>
                </a:lnTo>
                <a:close/>
                <a:moveTo>
                  <a:pt x="3085933" y="4943567"/>
                </a:moveTo>
                <a:lnTo>
                  <a:pt x="3085933" y="4943568"/>
                </a:lnTo>
                <a:lnTo>
                  <a:pt x="3085930" y="4943571"/>
                </a:lnTo>
                <a:close/>
                <a:moveTo>
                  <a:pt x="3242596" y="4931963"/>
                </a:moveTo>
                <a:cubicBezTo>
                  <a:pt x="3242596" y="4931963"/>
                  <a:pt x="3240661" y="4933896"/>
                  <a:pt x="3238728" y="4933896"/>
                </a:cubicBezTo>
                <a:cubicBezTo>
                  <a:pt x="3236792" y="4935832"/>
                  <a:pt x="3232927" y="4935832"/>
                  <a:pt x="3229058" y="4937764"/>
                </a:cubicBezTo>
                <a:cubicBezTo>
                  <a:pt x="3229058" y="4939700"/>
                  <a:pt x="3229058" y="4939700"/>
                  <a:pt x="3229058" y="4941633"/>
                </a:cubicBezTo>
                <a:cubicBezTo>
                  <a:pt x="3229058" y="4943568"/>
                  <a:pt x="3230991" y="4945501"/>
                  <a:pt x="3232927" y="4945501"/>
                </a:cubicBezTo>
                <a:cubicBezTo>
                  <a:pt x="3234860" y="4945501"/>
                  <a:pt x="3236792" y="4943568"/>
                  <a:pt x="3238728" y="4943568"/>
                </a:cubicBezTo>
                <a:cubicBezTo>
                  <a:pt x="3238728" y="4945501"/>
                  <a:pt x="3236792" y="4945501"/>
                  <a:pt x="3236792" y="4947436"/>
                </a:cubicBezTo>
                <a:cubicBezTo>
                  <a:pt x="3244529" y="4947436"/>
                  <a:pt x="3250333" y="4943568"/>
                  <a:pt x="3254201" y="4939700"/>
                </a:cubicBezTo>
                <a:cubicBezTo>
                  <a:pt x="3250333" y="4935832"/>
                  <a:pt x="3246464" y="4933896"/>
                  <a:pt x="3242596" y="4931963"/>
                </a:cubicBezTo>
                <a:close/>
                <a:moveTo>
                  <a:pt x="3151693" y="4922291"/>
                </a:moveTo>
                <a:cubicBezTo>
                  <a:pt x="3149758" y="4924227"/>
                  <a:pt x="3147825" y="4924227"/>
                  <a:pt x="3145892" y="4926160"/>
                </a:cubicBezTo>
                <a:cubicBezTo>
                  <a:pt x="3145892" y="4926160"/>
                  <a:pt x="3147825" y="4928095"/>
                  <a:pt x="3147825" y="4928095"/>
                </a:cubicBezTo>
                <a:cubicBezTo>
                  <a:pt x="3147825" y="4928095"/>
                  <a:pt x="3149758" y="4926160"/>
                  <a:pt x="3149758" y="4926160"/>
                </a:cubicBezTo>
                <a:cubicBezTo>
                  <a:pt x="3149758" y="4924227"/>
                  <a:pt x="3149758" y="4924227"/>
                  <a:pt x="3151693" y="4922291"/>
                </a:cubicBezTo>
                <a:close/>
                <a:moveTo>
                  <a:pt x="1720458" y="4875875"/>
                </a:moveTo>
                <a:cubicBezTo>
                  <a:pt x="1718523" y="4877808"/>
                  <a:pt x="1716590" y="4877808"/>
                  <a:pt x="1714654" y="4879743"/>
                </a:cubicBezTo>
                <a:cubicBezTo>
                  <a:pt x="1716590" y="4879743"/>
                  <a:pt x="1716590" y="4881676"/>
                  <a:pt x="1716590" y="4881676"/>
                </a:cubicBezTo>
                <a:cubicBezTo>
                  <a:pt x="1720458" y="4881676"/>
                  <a:pt x="1722391" y="4879743"/>
                  <a:pt x="1722391" y="4877808"/>
                </a:cubicBezTo>
                <a:cubicBezTo>
                  <a:pt x="1720458" y="4877808"/>
                  <a:pt x="1720458" y="4875875"/>
                  <a:pt x="1720458" y="4875875"/>
                </a:cubicBezTo>
                <a:close/>
                <a:moveTo>
                  <a:pt x="1142160" y="4850730"/>
                </a:moveTo>
                <a:cubicBezTo>
                  <a:pt x="1136359" y="4852665"/>
                  <a:pt x="1130557" y="4852665"/>
                  <a:pt x="1134426" y="4860402"/>
                </a:cubicBezTo>
                <a:cubicBezTo>
                  <a:pt x="1136359" y="4860402"/>
                  <a:pt x="1138291" y="4860402"/>
                  <a:pt x="1138291" y="4858466"/>
                </a:cubicBezTo>
                <a:cubicBezTo>
                  <a:pt x="1140227" y="4856533"/>
                  <a:pt x="1140227" y="4854598"/>
                  <a:pt x="1142160" y="4852665"/>
                </a:cubicBezTo>
                <a:cubicBezTo>
                  <a:pt x="1142160" y="4852665"/>
                  <a:pt x="1142160" y="4850730"/>
                  <a:pt x="1142160" y="4850730"/>
                </a:cubicBezTo>
                <a:close/>
                <a:moveTo>
                  <a:pt x="1417287" y="4781345"/>
                </a:moveTo>
                <a:cubicBezTo>
                  <a:pt x="1414386" y="4783037"/>
                  <a:pt x="1411969" y="4785938"/>
                  <a:pt x="1409067" y="4786905"/>
                </a:cubicBezTo>
                <a:cubicBezTo>
                  <a:pt x="1403263" y="4788840"/>
                  <a:pt x="1401330" y="4792708"/>
                  <a:pt x="1405199" y="4798510"/>
                </a:cubicBezTo>
                <a:cubicBezTo>
                  <a:pt x="1412935" y="4792708"/>
                  <a:pt x="1420672" y="4788840"/>
                  <a:pt x="1428408" y="4783037"/>
                </a:cubicBezTo>
                <a:cubicBezTo>
                  <a:pt x="1423572" y="4779168"/>
                  <a:pt x="1420188" y="4779652"/>
                  <a:pt x="1417287" y="4781345"/>
                </a:cubicBezTo>
                <a:close/>
                <a:moveTo>
                  <a:pt x="1449682" y="4765631"/>
                </a:moveTo>
                <a:cubicBezTo>
                  <a:pt x="1445814" y="4767564"/>
                  <a:pt x="1441946" y="4769499"/>
                  <a:pt x="1438078" y="4771432"/>
                </a:cubicBezTo>
                <a:cubicBezTo>
                  <a:pt x="1440013" y="4771432"/>
                  <a:pt x="1440013" y="4773367"/>
                  <a:pt x="1440013" y="4773367"/>
                </a:cubicBezTo>
                <a:cubicBezTo>
                  <a:pt x="1441946" y="4771432"/>
                  <a:pt x="1443881" y="4771432"/>
                  <a:pt x="1445814" y="4769499"/>
                </a:cubicBezTo>
                <a:cubicBezTo>
                  <a:pt x="1447749" y="4767564"/>
                  <a:pt x="1447749" y="4767564"/>
                  <a:pt x="1449682" y="4765631"/>
                </a:cubicBezTo>
                <a:close/>
                <a:moveTo>
                  <a:pt x="1507706" y="4734685"/>
                </a:moveTo>
                <a:cubicBezTo>
                  <a:pt x="1498037" y="4738553"/>
                  <a:pt x="1490298" y="4742421"/>
                  <a:pt x="1480628" y="4746289"/>
                </a:cubicBezTo>
                <a:cubicBezTo>
                  <a:pt x="1482564" y="4746289"/>
                  <a:pt x="1482564" y="4746289"/>
                  <a:pt x="1482564" y="4746289"/>
                </a:cubicBezTo>
                <a:cubicBezTo>
                  <a:pt x="1480628" y="4752091"/>
                  <a:pt x="1474827" y="4752091"/>
                  <a:pt x="1470957" y="4752091"/>
                </a:cubicBezTo>
                <a:cubicBezTo>
                  <a:pt x="1470957" y="4752091"/>
                  <a:pt x="1469024" y="4754026"/>
                  <a:pt x="1467088" y="4754026"/>
                </a:cubicBezTo>
                <a:cubicBezTo>
                  <a:pt x="1469024" y="4759827"/>
                  <a:pt x="1465155" y="4763695"/>
                  <a:pt x="1461287" y="4765631"/>
                </a:cubicBezTo>
                <a:cubicBezTo>
                  <a:pt x="1455486" y="4769499"/>
                  <a:pt x="1447749" y="4775300"/>
                  <a:pt x="1441946" y="4779168"/>
                </a:cubicBezTo>
                <a:cubicBezTo>
                  <a:pt x="1420672" y="4794641"/>
                  <a:pt x="1397462" y="4808181"/>
                  <a:pt x="1378121" y="4825587"/>
                </a:cubicBezTo>
                <a:cubicBezTo>
                  <a:pt x="1383922" y="4823652"/>
                  <a:pt x="1391661" y="4821719"/>
                  <a:pt x="1397462" y="4817851"/>
                </a:cubicBezTo>
                <a:cubicBezTo>
                  <a:pt x="1409067" y="4812050"/>
                  <a:pt x="1418736" y="4798510"/>
                  <a:pt x="1432276" y="4796574"/>
                </a:cubicBezTo>
                <a:cubicBezTo>
                  <a:pt x="1434209" y="4796574"/>
                  <a:pt x="1434209" y="4794641"/>
                  <a:pt x="1436145" y="4794641"/>
                </a:cubicBezTo>
                <a:cubicBezTo>
                  <a:pt x="1440013" y="4790773"/>
                  <a:pt x="1443881" y="4786905"/>
                  <a:pt x="1449682" y="4783037"/>
                </a:cubicBezTo>
                <a:cubicBezTo>
                  <a:pt x="1465155" y="4771432"/>
                  <a:pt x="1482564" y="4757894"/>
                  <a:pt x="1499970" y="4746289"/>
                </a:cubicBezTo>
                <a:cubicBezTo>
                  <a:pt x="1505771" y="4742421"/>
                  <a:pt x="1509639" y="4738553"/>
                  <a:pt x="1511574" y="4734685"/>
                </a:cubicBezTo>
                <a:cubicBezTo>
                  <a:pt x="1509639" y="4734685"/>
                  <a:pt x="1509639" y="4734685"/>
                  <a:pt x="1507706" y="4734685"/>
                </a:cubicBezTo>
                <a:close/>
                <a:moveTo>
                  <a:pt x="1681775" y="4725015"/>
                </a:moveTo>
                <a:cubicBezTo>
                  <a:pt x="1683708" y="4725015"/>
                  <a:pt x="1683708" y="4726948"/>
                  <a:pt x="1683708" y="4732749"/>
                </a:cubicBezTo>
                <a:cubicBezTo>
                  <a:pt x="1683708" y="4728881"/>
                  <a:pt x="1683708" y="4726948"/>
                  <a:pt x="1683708" y="4725015"/>
                </a:cubicBezTo>
                <a:cubicBezTo>
                  <a:pt x="1683708" y="4725015"/>
                  <a:pt x="1681775" y="4725015"/>
                  <a:pt x="1681775" y="4725015"/>
                </a:cubicBezTo>
                <a:close/>
                <a:moveTo>
                  <a:pt x="1573464" y="4707607"/>
                </a:moveTo>
                <a:cubicBezTo>
                  <a:pt x="1569598" y="4707607"/>
                  <a:pt x="1567663" y="4709540"/>
                  <a:pt x="1565730" y="4709540"/>
                </a:cubicBezTo>
                <a:cubicBezTo>
                  <a:pt x="1565730" y="4711475"/>
                  <a:pt x="1563795" y="4711475"/>
                  <a:pt x="1563795" y="4711475"/>
                </a:cubicBezTo>
                <a:cubicBezTo>
                  <a:pt x="1561862" y="4713408"/>
                  <a:pt x="1561862" y="4713408"/>
                  <a:pt x="1559926" y="4715343"/>
                </a:cubicBezTo>
                <a:cubicBezTo>
                  <a:pt x="1559926" y="4717276"/>
                  <a:pt x="1561862" y="4717276"/>
                  <a:pt x="1561862" y="4719212"/>
                </a:cubicBezTo>
                <a:cubicBezTo>
                  <a:pt x="1567663" y="4721147"/>
                  <a:pt x="1571531" y="4715343"/>
                  <a:pt x="1573464" y="4707607"/>
                </a:cubicBezTo>
                <a:close/>
                <a:moveTo>
                  <a:pt x="1120886" y="4597363"/>
                </a:moveTo>
                <a:cubicBezTo>
                  <a:pt x="1120886" y="4599298"/>
                  <a:pt x="1120886" y="4603164"/>
                  <a:pt x="1120886" y="4605099"/>
                </a:cubicBezTo>
                <a:cubicBezTo>
                  <a:pt x="1120886" y="4608967"/>
                  <a:pt x="1122818" y="4612836"/>
                  <a:pt x="1126687" y="4610903"/>
                </a:cubicBezTo>
                <a:cubicBezTo>
                  <a:pt x="1128622" y="4608967"/>
                  <a:pt x="1130557" y="4607032"/>
                  <a:pt x="1132490" y="4605099"/>
                </a:cubicBezTo>
                <a:cubicBezTo>
                  <a:pt x="1128622" y="4601231"/>
                  <a:pt x="1124754" y="4599298"/>
                  <a:pt x="1120886" y="4597363"/>
                </a:cubicBezTo>
                <a:close/>
                <a:moveTo>
                  <a:pt x="1411002" y="4523868"/>
                </a:moveTo>
                <a:cubicBezTo>
                  <a:pt x="1409067" y="4525801"/>
                  <a:pt x="1409067" y="4527736"/>
                  <a:pt x="1407132" y="4529669"/>
                </a:cubicBezTo>
                <a:cubicBezTo>
                  <a:pt x="1409067" y="4527736"/>
                  <a:pt x="1411002" y="4525801"/>
                  <a:pt x="1411002" y="4525801"/>
                </a:cubicBezTo>
                <a:cubicBezTo>
                  <a:pt x="1411002" y="4523868"/>
                  <a:pt x="1411002" y="4523868"/>
                  <a:pt x="1411002" y="4523868"/>
                </a:cubicBezTo>
                <a:close/>
                <a:moveTo>
                  <a:pt x="1190514" y="4519997"/>
                </a:moveTo>
                <a:cubicBezTo>
                  <a:pt x="1188579" y="4518065"/>
                  <a:pt x="1184711" y="4519997"/>
                  <a:pt x="1182778" y="4523868"/>
                </a:cubicBezTo>
                <a:cubicBezTo>
                  <a:pt x="1182778" y="4523868"/>
                  <a:pt x="1180842" y="4525801"/>
                  <a:pt x="1180842" y="4527736"/>
                </a:cubicBezTo>
                <a:cubicBezTo>
                  <a:pt x="1184711" y="4523868"/>
                  <a:pt x="1188579" y="4521933"/>
                  <a:pt x="1190514" y="4519997"/>
                </a:cubicBezTo>
                <a:close/>
                <a:moveTo>
                  <a:pt x="1385857" y="4500659"/>
                </a:moveTo>
                <a:cubicBezTo>
                  <a:pt x="1385857" y="4502592"/>
                  <a:pt x="1385857" y="4502592"/>
                  <a:pt x="1385857" y="4504527"/>
                </a:cubicBezTo>
                <a:cubicBezTo>
                  <a:pt x="1387793" y="4502592"/>
                  <a:pt x="1387793" y="4502592"/>
                  <a:pt x="1389726" y="4502592"/>
                </a:cubicBezTo>
                <a:cubicBezTo>
                  <a:pt x="1389726" y="4500659"/>
                  <a:pt x="1389726" y="4500659"/>
                  <a:pt x="1387793" y="4500659"/>
                </a:cubicBezTo>
                <a:cubicBezTo>
                  <a:pt x="1387793" y="4500659"/>
                  <a:pt x="1385857" y="4500659"/>
                  <a:pt x="1385857" y="4500659"/>
                </a:cubicBezTo>
                <a:close/>
                <a:moveTo>
                  <a:pt x="1407132" y="4477449"/>
                </a:moveTo>
                <a:cubicBezTo>
                  <a:pt x="1405199" y="4479382"/>
                  <a:pt x="1403263" y="4479382"/>
                  <a:pt x="1401330" y="4481317"/>
                </a:cubicBezTo>
                <a:cubicBezTo>
                  <a:pt x="1401330" y="4483250"/>
                  <a:pt x="1401330" y="4485186"/>
                  <a:pt x="1397462" y="4485186"/>
                </a:cubicBezTo>
                <a:cubicBezTo>
                  <a:pt x="1401330" y="4490987"/>
                  <a:pt x="1405199" y="4487118"/>
                  <a:pt x="1405199" y="4485186"/>
                </a:cubicBezTo>
                <a:cubicBezTo>
                  <a:pt x="1407132" y="4483250"/>
                  <a:pt x="1407132" y="4481317"/>
                  <a:pt x="1407132" y="4477449"/>
                </a:cubicBezTo>
                <a:close/>
                <a:moveTo>
                  <a:pt x="1411002" y="4450371"/>
                </a:moveTo>
                <a:cubicBezTo>
                  <a:pt x="1387793" y="4465844"/>
                  <a:pt x="1366516" y="4483250"/>
                  <a:pt x="1345242" y="4500659"/>
                </a:cubicBezTo>
                <a:cubicBezTo>
                  <a:pt x="1351043" y="4498723"/>
                  <a:pt x="1351043" y="4502592"/>
                  <a:pt x="1351043" y="4506460"/>
                </a:cubicBezTo>
                <a:cubicBezTo>
                  <a:pt x="1351043" y="4508395"/>
                  <a:pt x="1351043" y="4508395"/>
                  <a:pt x="1351043" y="4510328"/>
                </a:cubicBezTo>
                <a:cubicBezTo>
                  <a:pt x="1351043" y="4510328"/>
                  <a:pt x="1351043" y="4510328"/>
                  <a:pt x="1352978" y="4510328"/>
                </a:cubicBezTo>
                <a:cubicBezTo>
                  <a:pt x="1360713" y="4510328"/>
                  <a:pt x="1364583" y="4506460"/>
                  <a:pt x="1368451" y="4500659"/>
                </a:cubicBezTo>
                <a:cubicBezTo>
                  <a:pt x="1372320" y="4496790"/>
                  <a:pt x="1376188" y="4494855"/>
                  <a:pt x="1381989" y="4494855"/>
                </a:cubicBezTo>
                <a:cubicBezTo>
                  <a:pt x="1387793" y="4492922"/>
                  <a:pt x="1387793" y="4485186"/>
                  <a:pt x="1391661" y="4481317"/>
                </a:cubicBezTo>
                <a:cubicBezTo>
                  <a:pt x="1393594" y="4479382"/>
                  <a:pt x="1393594" y="4479382"/>
                  <a:pt x="1395529" y="4477449"/>
                </a:cubicBezTo>
                <a:cubicBezTo>
                  <a:pt x="1397462" y="4475514"/>
                  <a:pt x="1397462" y="4471645"/>
                  <a:pt x="1399395" y="4469713"/>
                </a:cubicBezTo>
                <a:cubicBezTo>
                  <a:pt x="1401330" y="4469713"/>
                  <a:pt x="1401330" y="4471645"/>
                  <a:pt x="1401330" y="4471645"/>
                </a:cubicBezTo>
                <a:cubicBezTo>
                  <a:pt x="1401330" y="4469713"/>
                  <a:pt x="1403263" y="4465844"/>
                  <a:pt x="1403263" y="4461976"/>
                </a:cubicBezTo>
                <a:cubicBezTo>
                  <a:pt x="1409067" y="4460041"/>
                  <a:pt x="1409067" y="4454239"/>
                  <a:pt x="1411002" y="4450371"/>
                </a:cubicBezTo>
                <a:close/>
                <a:moveTo>
                  <a:pt x="1499970" y="4394283"/>
                </a:moveTo>
                <a:cubicBezTo>
                  <a:pt x="1492233" y="4398151"/>
                  <a:pt x="1486430" y="4402019"/>
                  <a:pt x="1484497" y="4411689"/>
                </a:cubicBezTo>
                <a:cubicBezTo>
                  <a:pt x="1488365" y="4405887"/>
                  <a:pt x="1499970" y="4405887"/>
                  <a:pt x="1499970" y="4394283"/>
                </a:cubicBezTo>
                <a:close/>
                <a:moveTo>
                  <a:pt x="1471440" y="4375907"/>
                </a:moveTo>
                <a:cubicBezTo>
                  <a:pt x="1470473" y="4376874"/>
                  <a:pt x="1469990" y="4378808"/>
                  <a:pt x="1469024" y="4380743"/>
                </a:cubicBezTo>
                <a:cubicBezTo>
                  <a:pt x="1470957" y="4378810"/>
                  <a:pt x="1474827" y="4378810"/>
                  <a:pt x="1476760" y="4376874"/>
                </a:cubicBezTo>
                <a:cubicBezTo>
                  <a:pt x="1473858" y="4374940"/>
                  <a:pt x="1472408" y="4374940"/>
                  <a:pt x="1471440" y="4375907"/>
                </a:cubicBezTo>
                <a:close/>
                <a:moveTo>
                  <a:pt x="1528980" y="4342062"/>
                </a:moveTo>
                <a:cubicBezTo>
                  <a:pt x="1523179" y="4343995"/>
                  <a:pt x="1517376" y="4345928"/>
                  <a:pt x="1513507" y="4351732"/>
                </a:cubicBezTo>
                <a:cubicBezTo>
                  <a:pt x="1515443" y="4349797"/>
                  <a:pt x="1519311" y="4347864"/>
                  <a:pt x="1523179" y="4345928"/>
                </a:cubicBezTo>
                <a:cubicBezTo>
                  <a:pt x="1525112" y="4345928"/>
                  <a:pt x="1527048" y="4343995"/>
                  <a:pt x="1528980" y="4342062"/>
                </a:cubicBezTo>
                <a:close/>
                <a:moveTo>
                  <a:pt x="1917736" y="4291775"/>
                </a:moveTo>
                <a:cubicBezTo>
                  <a:pt x="1917736" y="4293708"/>
                  <a:pt x="1919669" y="4293708"/>
                  <a:pt x="1919669" y="4293708"/>
                </a:cubicBezTo>
                <a:cubicBezTo>
                  <a:pt x="1921602" y="4291775"/>
                  <a:pt x="1919669" y="4291775"/>
                  <a:pt x="1921602" y="4291775"/>
                </a:cubicBezTo>
                <a:cubicBezTo>
                  <a:pt x="1919669" y="4291775"/>
                  <a:pt x="1919669" y="4291775"/>
                  <a:pt x="1917736" y="4291775"/>
                </a:cubicBezTo>
                <a:close/>
                <a:moveTo>
                  <a:pt x="1944812" y="4282103"/>
                </a:moveTo>
                <a:cubicBezTo>
                  <a:pt x="1944812" y="4284039"/>
                  <a:pt x="1942879" y="4285972"/>
                  <a:pt x="1942879" y="4287907"/>
                </a:cubicBezTo>
                <a:cubicBezTo>
                  <a:pt x="1942879" y="4285972"/>
                  <a:pt x="1944812" y="4284039"/>
                  <a:pt x="1946747" y="4282103"/>
                </a:cubicBezTo>
                <a:cubicBezTo>
                  <a:pt x="1946747" y="4282103"/>
                  <a:pt x="1944812" y="4282103"/>
                  <a:pt x="1944812" y="4282103"/>
                </a:cubicBezTo>
                <a:close/>
                <a:moveTo>
                  <a:pt x="4849836" y="4179598"/>
                </a:moveTo>
                <a:cubicBezTo>
                  <a:pt x="4847900" y="4179598"/>
                  <a:pt x="4844032" y="4179598"/>
                  <a:pt x="4836296" y="4181531"/>
                </a:cubicBezTo>
                <a:cubicBezTo>
                  <a:pt x="4840164" y="4183464"/>
                  <a:pt x="4842097" y="4183464"/>
                  <a:pt x="4844032" y="4183464"/>
                </a:cubicBezTo>
                <a:cubicBezTo>
                  <a:pt x="4844032" y="4183464"/>
                  <a:pt x="4844032" y="4185399"/>
                  <a:pt x="4844032" y="4185399"/>
                </a:cubicBezTo>
                <a:cubicBezTo>
                  <a:pt x="4847900" y="4183464"/>
                  <a:pt x="4851769" y="4181531"/>
                  <a:pt x="4855637" y="4181531"/>
                </a:cubicBezTo>
                <a:cubicBezTo>
                  <a:pt x="4853704" y="4181531"/>
                  <a:pt x="4851769" y="4179598"/>
                  <a:pt x="4849836" y="4179598"/>
                </a:cubicBezTo>
                <a:close/>
                <a:moveTo>
                  <a:pt x="4874978" y="4148652"/>
                </a:moveTo>
                <a:cubicBezTo>
                  <a:pt x="4869175" y="4152518"/>
                  <a:pt x="4863373" y="4154453"/>
                  <a:pt x="4857572" y="4156388"/>
                </a:cubicBezTo>
                <a:cubicBezTo>
                  <a:pt x="4855637" y="4156388"/>
                  <a:pt x="4855637" y="4158321"/>
                  <a:pt x="4855637" y="4158321"/>
                </a:cubicBezTo>
                <a:cubicBezTo>
                  <a:pt x="4855637" y="4162190"/>
                  <a:pt x="4855637" y="4164123"/>
                  <a:pt x="4855637" y="4169926"/>
                </a:cubicBezTo>
                <a:cubicBezTo>
                  <a:pt x="4859505" y="4167993"/>
                  <a:pt x="4865306" y="4166058"/>
                  <a:pt x="4865306" y="4164123"/>
                </a:cubicBezTo>
                <a:cubicBezTo>
                  <a:pt x="4865306" y="4158321"/>
                  <a:pt x="4869175" y="4156388"/>
                  <a:pt x="4873045" y="4156388"/>
                </a:cubicBezTo>
                <a:cubicBezTo>
                  <a:pt x="4874978" y="4156388"/>
                  <a:pt x="4876913" y="4156388"/>
                  <a:pt x="4876913" y="4156388"/>
                </a:cubicBezTo>
                <a:cubicBezTo>
                  <a:pt x="4876913" y="4156388"/>
                  <a:pt x="4878846" y="4154453"/>
                  <a:pt x="4878846" y="4154453"/>
                </a:cubicBezTo>
                <a:cubicBezTo>
                  <a:pt x="4876913" y="4154453"/>
                  <a:pt x="4873045" y="4154453"/>
                  <a:pt x="4871110" y="4152518"/>
                </a:cubicBezTo>
                <a:cubicBezTo>
                  <a:pt x="4874978" y="4150585"/>
                  <a:pt x="4876913" y="4150585"/>
                  <a:pt x="4878846" y="4148652"/>
                </a:cubicBezTo>
                <a:cubicBezTo>
                  <a:pt x="4878846" y="4148652"/>
                  <a:pt x="4876913" y="4148652"/>
                  <a:pt x="4874978" y="4148652"/>
                </a:cubicBezTo>
                <a:close/>
                <a:moveTo>
                  <a:pt x="5246050" y="4117154"/>
                </a:moveTo>
                <a:lnTo>
                  <a:pt x="5248259" y="4121574"/>
                </a:lnTo>
                <a:cubicBezTo>
                  <a:pt x="5246326" y="4123507"/>
                  <a:pt x="5242458" y="4121574"/>
                  <a:pt x="5242458" y="4119639"/>
                </a:cubicBezTo>
                <a:lnTo>
                  <a:pt x="5242458" y="4118672"/>
                </a:lnTo>
                <a:lnTo>
                  <a:pt x="5244393" y="4117706"/>
                </a:lnTo>
                <a:close/>
                <a:moveTo>
                  <a:pt x="5273404" y="4113838"/>
                </a:moveTo>
                <a:cubicBezTo>
                  <a:pt x="5271468" y="4113838"/>
                  <a:pt x="5269535" y="4113838"/>
                  <a:pt x="5269535" y="4115770"/>
                </a:cubicBezTo>
                <a:cubicBezTo>
                  <a:pt x="5271468" y="4113838"/>
                  <a:pt x="5273404" y="4113838"/>
                  <a:pt x="5275337" y="4113838"/>
                </a:cubicBezTo>
                <a:cubicBezTo>
                  <a:pt x="5275337" y="4113838"/>
                  <a:pt x="5273404" y="4113838"/>
                  <a:pt x="5273404" y="4113838"/>
                </a:cubicBezTo>
                <a:close/>
                <a:moveTo>
                  <a:pt x="5310151" y="4090628"/>
                </a:moveTo>
                <a:cubicBezTo>
                  <a:pt x="5306283" y="4092561"/>
                  <a:pt x="5300479" y="4094496"/>
                  <a:pt x="5296611" y="4096429"/>
                </a:cubicBezTo>
                <a:cubicBezTo>
                  <a:pt x="5302414" y="4100297"/>
                  <a:pt x="5306283" y="4098365"/>
                  <a:pt x="5310151" y="4090628"/>
                </a:cubicBezTo>
                <a:close/>
                <a:moveTo>
                  <a:pt x="5343030" y="4080959"/>
                </a:moveTo>
                <a:cubicBezTo>
                  <a:pt x="5339162" y="4082891"/>
                  <a:pt x="5335293" y="4082891"/>
                  <a:pt x="5331427" y="4084824"/>
                </a:cubicBezTo>
                <a:cubicBezTo>
                  <a:pt x="5331427" y="4084824"/>
                  <a:pt x="5331427" y="4086760"/>
                  <a:pt x="5331427" y="4086760"/>
                </a:cubicBezTo>
                <a:cubicBezTo>
                  <a:pt x="5331427" y="4088693"/>
                  <a:pt x="5327559" y="4088693"/>
                  <a:pt x="5329492" y="4090628"/>
                </a:cubicBezTo>
                <a:cubicBezTo>
                  <a:pt x="5335293" y="4088693"/>
                  <a:pt x="5343030" y="4086760"/>
                  <a:pt x="5348833" y="4084824"/>
                </a:cubicBezTo>
                <a:cubicBezTo>
                  <a:pt x="5348833" y="4084824"/>
                  <a:pt x="5348833" y="4084824"/>
                  <a:pt x="5348833" y="4082891"/>
                </a:cubicBezTo>
                <a:cubicBezTo>
                  <a:pt x="5346898" y="4082891"/>
                  <a:pt x="5346898" y="4082891"/>
                  <a:pt x="5346898" y="4082891"/>
                </a:cubicBezTo>
                <a:cubicBezTo>
                  <a:pt x="5344965" y="4082891"/>
                  <a:pt x="5344965" y="4080959"/>
                  <a:pt x="5344965" y="4080959"/>
                </a:cubicBezTo>
                <a:cubicBezTo>
                  <a:pt x="5344965" y="4080959"/>
                  <a:pt x="5343030" y="4080959"/>
                  <a:pt x="5343030" y="4080959"/>
                </a:cubicBezTo>
                <a:close/>
                <a:moveTo>
                  <a:pt x="5174764" y="4079023"/>
                </a:moveTo>
                <a:cubicBezTo>
                  <a:pt x="5165093" y="4079023"/>
                  <a:pt x="5155423" y="4086760"/>
                  <a:pt x="5145751" y="4082891"/>
                </a:cubicBezTo>
                <a:cubicBezTo>
                  <a:pt x="5128345" y="4084824"/>
                  <a:pt x="5109004" y="4088693"/>
                  <a:pt x="5091598" y="4092561"/>
                </a:cubicBezTo>
                <a:cubicBezTo>
                  <a:pt x="5089663" y="4094496"/>
                  <a:pt x="5089663" y="4092561"/>
                  <a:pt x="5087730" y="4090628"/>
                </a:cubicBezTo>
                <a:cubicBezTo>
                  <a:pt x="5089663" y="4090628"/>
                  <a:pt x="5089663" y="4088693"/>
                  <a:pt x="5091598" y="4088693"/>
                </a:cubicBezTo>
                <a:cubicBezTo>
                  <a:pt x="5091598" y="4086760"/>
                  <a:pt x="5091598" y="4086760"/>
                  <a:pt x="5091598" y="4086760"/>
                </a:cubicBezTo>
                <a:cubicBezTo>
                  <a:pt x="5076125" y="4088693"/>
                  <a:pt x="5064520" y="4094496"/>
                  <a:pt x="5049047" y="4094496"/>
                </a:cubicBezTo>
                <a:cubicBezTo>
                  <a:pt x="5049047" y="4096429"/>
                  <a:pt x="5049047" y="4098365"/>
                  <a:pt x="5050983" y="4100297"/>
                </a:cubicBezTo>
                <a:cubicBezTo>
                  <a:pt x="5045179" y="4102233"/>
                  <a:pt x="5037442" y="4102233"/>
                  <a:pt x="5031641" y="4104166"/>
                </a:cubicBezTo>
                <a:cubicBezTo>
                  <a:pt x="5023905" y="4106101"/>
                  <a:pt x="5018101" y="4106101"/>
                  <a:pt x="5012300" y="4108034"/>
                </a:cubicBezTo>
                <a:cubicBezTo>
                  <a:pt x="5004564" y="4109969"/>
                  <a:pt x="4998760" y="4109969"/>
                  <a:pt x="4991023" y="4111902"/>
                </a:cubicBezTo>
                <a:cubicBezTo>
                  <a:pt x="4985222" y="4111902"/>
                  <a:pt x="4977486" y="4113838"/>
                  <a:pt x="4971682" y="4115770"/>
                </a:cubicBezTo>
                <a:cubicBezTo>
                  <a:pt x="4963948" y="4115770"/>
                  <a:pt x="4958144" y="4117706"/>
                  <a:pt x="4952341" y="4119639"/>
                </a:cubicBezTo>
                <a:cubicBezTo>
                  <a:pt x="4946540" y="4121574"/>
                  <a:pt x="4936870" y="4119639"/>
                  <a:pt x="4933000" y="4127375"/>
                </a:cubicBezTo>
                <a:cubicBezTo>
                  <a:pt x="4934935" y="4127375"/>
                  <a:pt x="4936870" y="4127375"/>
                  <a:pt x="4938803" y="4127375"/>
                </a:cubicBezTo>
                <a:cubicBezTo>
                  <a:pt x="4967814" y="4121574"/>
                  <a:pt x="4996827" y="4115770"/>
                  <a:pt x="5025838" y="4109969"/>
                </a:cubicBezTo>
                <a:cubicBezTo>
                  <a:pt x="5035507" y="4108034"/>
                  <a:pt x="5045179" y="4106101"/>
                  <a:pt x="5054848" y="4104166"/>
                </a:cubicBezTo>
                <a:cubicBezTo>
                  <a:pt x="5056784" y="4104166"/>
                  <a:pt x="5058717" y="4104166"/>
                  <a:pt x="5062585" y="4106101"/>
                </a:cubicBezTo>
                <a:cubicBezTo>
                  <a:pt x="5058717" y="4108034"/>
                  <a:pt x="5056784" y="4109969"/>
                  <a:pt x="5054848" y="4109969"/>
                </a:cubicBezTo>
                <a:cubicBezTo>
                  <a:pt x="5043244" y="4111902"/>
                  <a:pt x="5033574" y="4115770"/>
                  <a:pt x="5021969" y="4117706"/>
                </a:cubicBezTo>
                <a:cubicBezTo>
                  <a:pt x="5010365" y="4119639"/>
                  <a:pt x="4998760" y="4119639"/>
                  <a:pt x="4987155" y="4123507"/>
                </a:cubicBezTo>
                <a:cubicBezTo>
                  <a:pt x="4965881" y="4129311"/>
                  <a:pt x="4942671" y="4135112"/>
                  <a:pt x="4919462" y="4137047"/>
                </a:cubicBezTo>
                <a:cubicBezTo>
                  <a:pt x="4909792" y="4138980"/>
                  <a:pt x="4902056" y="4140915"/>
                  <a:pt x="4892384" y="4142848"/>
                </a:cubicBezTo>
                <a:cubicBezTo>
                  <a:pt x="4892384" y="4144784"/>
                  <a:pt x="4892384" y="4144784"/>
                  <a:pt x="4892384" y="4144784"/>
                </a:cubicBezTo>
                <a:cubicBezTo>
                  <a:pt x="4892384" y="4146717"/>
                  <a:pt x="4890451" y="4148652"/>
                  <a:pt x="4890451" y="4148652"/>
                </a:cubicBezTo>
                <a:cubicBezTo>
                  <a:pt x="4890451" y="4148652"/>
                  <a:pt x="4890451" y="4150585"/>
                  <a:pt x="4890451" y="4150585"/>
                </a:cubicBezTo>
                <a:cubicBezTo>
                  <a:pt x="4894319" y="4150585"/>
                  <a:pt x="4898188" y="4150585"/>
                  <a:pt x="4902056" y="4150585"/>
                </a:cubicBezTo>
                <a:cubicBezTo>
                  <a:pt x="4902056" y="4150585"/>
                  <a:pt x="4902056" y="4152518"/>
                  <a:pt x="4902056" y="4152518"/>
                </a:cubicBezTo>
                <a:cubicBezTo>
                  <a:pt x="4894319" y="4156388"/>
                  <a:pt x="4886583" y="4158321"/>
                  <a:pt x="4878846" y="4160257"/>
                </a:cubicBezTo>
                <a:cubicBezTo>
                  <a:pt x="4892384" y="4158321"/>
                  <a:pt x="4907857" y="4154453"/>
                  <a:pt x="4921397" y="4152518"/>
                </a:cubicBezTo>
                <a:cubicBezTo>
                  <a:pt x="4927198" y="4150585"/>
                  <a:pt x="4934935" y="4146717"/>
                  <a:pt x="4942671" y="4148652"/>
                </a:cubicBezTo>
                <a:cubicBezTo>
                  <a:pt x="4944607" y="4148652"/>
                  <a:pt x="4944607" y="4148652"/>
                  <a:pt x="4944607" y="4148652"/>
                </a:cubicBezTo>
                <a:cubicBezTo>
                  <a:pt x="4963948" y="4135112"/>
                  <a:pt x="4987155" y="4140915"/>
                  <a:pt x="5004564" y="4129311"/>
                </a:cubicBezTo>
                <a:cubicBezTo>
                  <a:pt x="5008432" y="4125442"/>
                  <a:pt x="5014233" y="4125442"/>
                  <a:pt x="5020037" y="4127375"/>
                </a:cubicBezTo>
                <a:cubicBezTo>
                  <a:pt x="5020037" y="4129311"/>
                  <a:pt x="5020037" y="4131244"/>
                  <a:pt x="5018101" y="4133179"/>
                </a:cubicBezTo>
                <a:cubicBezTo>
                  <a:pt x="5020037" y="4133179"/>
                  <a:pt x="5021969" y="4133179"/>
                  <a:pt x="5023905" y="4133179"/>
                </a:cubicBezTo>
                <a:cubicBezTo>
                  <a:pt x="5027773" y="4131244"/>
                  <a:pt x="5033574" y="4131244"/>
                  <a:pt x="5037442" y="4131244"/>
                </a:cubicBezTo>
                <a:cubicBezTo>
                  <a:pt x="5039375" y="4131244"/>
                  <a:pt x="5041311" y="4129311"/>
                  <a:pt x="5043244" y="4127375"/>
                </a:cubicBezTo>
                <a:cubicBezTo>
                  <a:pt x="5043244" y="4125442"/>
                  <a:pt x="5041311" y="4123507"/>
                  <a:pt x="5039375" y="4121574"/>
                </a:cubicBezTo>
                <a:cubicBezTo>
                  <a:pt x="5041311" y="4121574"/>
                  <a:pt x="5041311" y="4119639"/>
                  <a:pt x="5041311" y="4119639"/>
                </a:cubicBezTo>
                <a:cubicBezTo>
                  <a:pt x="5050983" y="4115770"/>
                  <a:pt x="5060652" y="4113838"/>
                  <a:pt x="5066453" y="4104166"/>
                </a:cubicBezTo>
                <a:cubicBezTo>
                  <a:pt x="5066453" y="4102233"/>
                  <a:pt x="5070324" y="4100297"/>
                  <a:pt x="5074190" y="4100297"/>
                </a:cubicBezTo>
                <a:cubicBezTo>
                  <a:pt x="5081926" y="4098365"/>
                  <a:pt x="5087730" y="4096429"/>
                  <a:pt x="5093531" y="4096429"/>
                </a:cubicBezTo>
                <a:cubicBezTo>
                  <a:pt x="5110939" y="4092561"/>
                  <a:pt x="5130281" y="4088693"/>
                  <a:pt x="5147687" y="4086760"/>
                </a:cubicBezTo>
                <a:cubicBezTo>
                  <a:pt x="5155423" y="4086760"/>
                  <a:pt x="5165093" y="4084824"/>
                  <a:pt x="5176697" y="4079023"/>
                </a:cubicBezTo>
                <a:cubicBezTo>
                  <a:pt x="5176697" y="4079023"/>
                  <a:pt x="5174764" y="4079023"/>
                  <a:pt x="5174764" y="4079023"/>
                </a:cubicBezTo>
                <a:close/>
                <a:moveTo>
                  <a:pt x="5385581" y="4077088"/>
                </a:moveTo>
                <a:cubicBezTo>
                  <a:pt x="5377844" y="4073222"/>
                  <a:pt x="5373976" y="4080959"/>
                  <a:pt x="5368175" y="4080959"/>
                </a:cubicBezTo>
                <a:cubicBezTo>
                  <a:pt x="5372043" y="4080959"/>
                  <a:pt x="5377844" y="4082891"/>
                  <a:pt x="5385581" y="4077088"/>
                </a:cubicBezTo>
                <a:close/>
                <a:moveTo>
                  <a:pt x="5472615" y="4075155"/>
                </a:moveTo>
                <a:cubicBezTo>
                  <a:pt x="5474551" y="4075155"/>
                  <a:pt x="5476483" y="4075155"/>
                  <a:pt x="5476483" y="4075155"/>
                </a:cubicBezTo>
                <a:cubicBezTo>
                  <a:pt x="5476483" y="4075155"/>
                  <a:pt x="5476483" y="4075155"/>
                  <a:pt x="5476483" y="4077088"/>
                </a:cubicBezTo>
                <a:cubicBezTo>
                  <a:pt x="5476483" y="4077088"/>
                  <a:pt x="5474551" y="4077088"/>
                  <a:pt x="5472615" y="4077088"/>
                </a:cubicBezTo>
                <a:cubicBezTo>
                  <a:pt x="5472615" y="4077088"/>
                  <a:pt x="5472615" y="4075155"/>
                  <a:pt x="5472615" y="4075155"/>
                </a:cubicBezTo>
                <a:close/>
                <a:moveTo>
                  <a:pt x="5161224" y="4063550"/>
                </a:moveTo>
                <a:cubicBezTo>
                  <a:pt x="5161224" y="4063550"/>
                  <a:pt x="5161224" y="4065483"/>
                  <a:pt x="5161224" y="4065483"/>
                </a:cubicBezTo>
                <a:cubicBezTo>
                  <a:pt x="5157358" y="4067418"/>
                  <a:pt x="5155423" y="4069354"/>
                  <a:pt x="5151555" y="4071287"/>
                </a:cubicBezTo>
                <a:cubicBezTo>
                  <a:pt x="5147687" y="4067418"/>
                  <a:pt x="5149620" y="4065483"/>
                  <a:pt x="5151555" y="4065483"/>
                </a:cubicBezTo>
                <a:cubicBezTo>
                  <a:pt x="5153488" y="4065483"/>
                  <a:pt x="5157358" y="4063550"/>
                  <a:pt x="5161224" y="4063550"/>
                </a:cubicBezTo>
                <a:close/>
                <a:moveTo>
                  <a:pt x="5217315" y="4061617"/>
                </a:moveTo>
                <a:cubicBezTo>
                  <a:pt x="5215380" y="4061617"/>
                  <a:pt x="5211512" y="4061617"/>
                  <a:pt x="5207643" y="4063550"/>
                </a:cubicBezTo>
                <a:cubicBezTo>
                  <a:pt x="5197974" y="4063550"/>
                  <a:pt x="5188302" y="4065483"/>
                  <a:pt x="5180566" y="4071287"/>
                </a:cubicBezTo>
                <a:cubicBezTo>
                  <a:pt x="5182501" y="4071287"/>
                  <a:pt x="5186369" y="4071287"/>
                  <a:pt x="5188302" y="4071287"/>
                </a:cubicBezTo>
                <a:cubicBezTo>
                  <a:pt x="5192170" y="4071287"/>
                  <a:pt x="5194106" y="4069354"/>
                  <a:pt x="5197974" y="4069354"/>
                </a:cubicBezTo>
                <a:cubicBezTo>
                  <a:pt x="5203775" y="4065483"/>
                  <a:pt x="5211512" y="4063550"/>
                  <a:pt x="5217315" y="4061617"/>
                </a:cubicBezTo>
                <a:close/>
                <a:moveTo>
                  <a:pt x="5267600" y="4050013"/>
                </a:moveTo>
                <a:cubicBezTo>
                  <a:pt x="5259864" y="4051945"/>
                  <a:pt x="5250194" y="4051945"/>
                  <a:pt x="5242458" y="4055814"/>
                </a:cubicBezTo>
                <a:cubicBezTo>
                  <a:pt x="5236654" y="4057749"/>
                  <a:pt x="5232786" y="4059682"/>
                  <a:pt x="5226985" y="4059682"/>
                </a:cubicBezTo>
                <a:cubicBezTo>
                  <a:pt x="5228918" y="4061617"/>
                  <a:pt x="5228918" y="4061617"/>
                  <a:pt x="5226985" y="4063550"/>
                </a:cubicBezTo>
                <a:cubicBezTo>
                  <a:pt x="5236654" y="4061617"/>
                  <a:pt x="5248259" y="4059682"/>
                  <a:pt x="5257931" y="4057749"/>
                </a:cubicBezTo>
                <a:cubicBezTo>
                  <a:pt x="5257931" y="4057749"/>
                  <a:pt x="5259864" y="4057749"/>
                  <a:pt x="5261799" y="4057749"/>
                </a:cubicBezTo>
                <a:cubicBezTo>
                  <a:pt x="5265667" y="4055814"/>
                  <a:pt x="5271468" y="4055814"/>
                  <a:pt x="5275337" y="4053881"/>
                </a:cubicBezTo>
                <a:cubicBezTo>
                  <a:pt x="5279205" y="4051945"/>
                  <a:pt x="5281140" y="4051945"/>
                  <a:pt x="5285008" y="4050013"/>
                </a:cubicBezTo>
                <a:cubicBezTo>
                  <a:pt x="5277270" y="4050013"/>
                  <a:pt x="5271468" y="4048077"/>
                  <a:pt x="5267600" y="4050013"/>
                </a:cubicBezTo>
                <a:close/>
                <a:moveTo>
                  <a:pt x="5534507" y="4048077"/>
                </a:moveTo>
                <a:cubicBezTo>
                  <a:pt x="5534507" y="4048077"/>
                  <a:pt x="5534507" y="4048077"/>
                  <a:pt x="5536440" y="4048077"/>
                </a:cubicBezTo>
                <a:cubicBezTo>
                  <a:pt x="5538376" y="4050013"/>
                  <a:pt x="5540308" y="4050013"/>
                  <a:pt x="5542244" y="4051945"/>
                </a:cubicBezTo>
                <a:cubicBezTo>
                  <a:pt x="5536440" y="4051945"/>
                  <a:pt x="5532572" y="4053881"/>
                  <a:pt x="5528704" y="4053881"/>
                </a:cubicBezTo>
                <a:cubicBezTo>
                  <a:pt x="5530639" y="4051945"/>
                  <a:pt x="5530639" y="4051945"/>
                  <a:pt x="5532572" y="4050013"/>
                </a:cubicBezTo>
                <a:cubicBezTo>
                  <a:pt x="5532572" y="4050013"/>
                  <a:pt x="5534507" y="4050013"/>
                  <a:pt x="5534507" y="4048077"/>
                </a:cubicBezTo>
                <a:close/>
                <a:moveTo>
                  <a:pt x="5449406" y="4048077"/>
                </a:moveTo>
                <a:cubicBezTo>
                  <a:pt x="5441669" y="4050013"/>
                  <a:pt x="5435868" y="4050013"/>
                  <a:pt x="5428131" y="4051945"/>
                </a:cubicBezTo>
                <a:cubicBezTo>
                  <a:pt x="5426196" y="4051945"/>
                  <a:pt x="5422328" y="4053881"/>
                  <a:pt x="5420395" y="4053881"/>
                </a:cubicBezTo>
                <a:cubicBezTo>
                  <a:pt x="5418462" y="4055814"/>
                  <a:pt x="5416527" y="4055814"/>
                  <a:pt x="5414594" y="4057749"/>
                </a:cubicBezTo>
                <a:cubicBezTo>
                  <a:pt x="5426196" y="4055814"/>
                  <a:pt x="5439736" y="4051945"/>
                  <a:pt x="5449406" y="4048077"/>
                </a:cubicBezTo>
                <a:close/>
                <a:moveTo>
                  <a:pt x="5737587" y="4030671"/>
                </a:moveTo>
                <a:cubicBezTo>
                  <a:pt x="5739522" y="4030671"/>
                  <a:pt x="5739522" y="4030671"/>
                  <a:pt x="5741455" y="4032604"/>
                </a:cubicBezTo>
                <a:cubicBezTo>
                  <a:pt x="5739522" y="4034539"/>
                  <a:pt x="5739522" y="4034539"/>
                  <a:pt x="5739522" y="4034539"/>
                </a:cubicBezTo>
                <a:cubicBezTo>
                  <a:pt x="5737587" y="4034539"/>
                  <a:pt x="5737587" y="4032604"/>
                  <a:pt x="5735654" y="4032604"/>
                </a:cubicBezTo>
                <a:cubicBezTo>
                  <a:pt x="5735654" y="4032604"/>
                  <a:pt x="5735654" y="4030671"/>
                  <a:pt x="5737587" y="4030671"/>
                </a:cubicBezTo>
                <a:close/>
                <a:moveTo>
                  <a:pt x="5762732" y="4028736"/>
                </a:moveTo>
                <a:cubicBezTo>
                  <a:pt x="5760797" y="4030671"/>
                  <a:pt x="5760797" y="4032604"/>
                  <a:pt x="5758864" y="4034539"/>
                </a:cubicBezTo>
                <a:cubicBezTo>
                  <a:pt x="5758864" y="4034539"/>
                  <a:pt x="5756928" y="4034539"/>
                  <a:pt x="5756928" y="4034539"/>
                </a:cubicBezTo>
                <a:cubicBezTo>
                  <a:pt x="5753060" y="4032604"/>
                  <a:pt x="5754993" y="4030671"/>
                  <a:pt x="5754993" y="4030671"/>
                </a:cubicBezTo>
                <a:cubicBezTo>
                  <a:pt x="5756928" y="4030671"/>
                  <a:pt x="5758864" y="4028736"/>
                  <a:pt x="5762732" y="4028736"/>
                </a:cubicBezTo>
                <a:close/>
                <a:moveTo>
                  <a:pt x="5535958" y="4025110"/>
                </a:moveTo>
                <a:cubicBezTo>
                  <a:pt x="5531606" y="4025352"/>
                  <a:pt x="5527738" y="4026803"/>
                  <a:pt x="5524838" y="4030671"/>
                </a:cubicBezTo>
                <a:cubicBezTo>
                  <a:pt x="5520967" y="4034539"/>
                  <a:pt x="5513231" y="4034539"/>
                  <a:pt x="5507430" y="4036472"/>
                </a:cubicBezTo>
                <a:cubicBezTo>
                  <a:pt x="5517099" y="4036472"/>
                  <a:pt x="5524838" y="4036472"/>
                  <a:pt x="5532572" y="4036472"/>
                </a:cubicBezTo>
                <a:cubicBezTo>
                  <a:pt x="5538376" y="4034539"/>
                  <a:pt x="5544177" y="4034539"/>
                  <a:pt x="5549980" y="4032604"/>
                </a:cubicBezTo>
                <a:cubicBezTo>
                  <a:pt x="5551913" y="4032604"/>
                  <a:pt x="5551913" y="4028736"/>
                  <a:pt x="5549980" y="4026803"/>
                </a:cubicBezTo>
                <a:cubicBezTo>
                  <a:pt x="5545144" y="4025836"/>
                  <a:pt x="5540309" y="4024868"/>
                  <a:pt x="5535958" y="4025110"/>
                </a:cubicBezTo>
                <a:close/>
                <a:moveTo>
                  <a:pt x="5530639" y="4009395"/>
                </a:moveTo>
                <a:cubicBezTo>
                  <a:pt x="5522903" y="4009395"/>
                  <a:pt x="5517099" y="4011330"/>
                  <a:pt x="5509362" y="4011330"/>
                </a:cubicBezTo>
                <a:cubicBezTo>
                  <a:pt x="5501628" y="4013263"/>
                  <a:pt x="5493889" y="4015198"/>
                  <a:pt x="5486155" y="4015198"/>
                </a:cubicBezTo>
                <a:cubicBezTo>
                  <a:pt x="5486155" y="4015198"/>
                  <a:pt x="5488088" y="4013263"/>
                  <a:pt x="5488088" y="4013263"/>
                </a:cubicBezTo>
                <a:cubicBezTo>
                  <a:pt x="5484220" y="4015198"/>
                  <a:pt x="5478419" y="4015198"/>
                  <a:pt x="5474551" y="4015198"/>
                </a:cubicBezTo>
                <a:cubicBezTo>
                  <a:pt x="5468747" y="4015198"/>
                  <a:pt x="5462946" y="4013263"/>
                  <a:pt x="5457142" y="4015198"/>
                </a:cubicBezTo>
                <a:cubicBezTo>
                  <a:pt x="5453274" y="4015198"/>
                  <a:pt x="5449406" y="4019066"/>
                  <a:pt x="5443604" y="4020999"/>
                </a:cubicBezTo>
                <a:cubicBezTo>
                  <a:pt x="5439736" y="4020999"/>
                  <a:pt x="5435868" y="4022935"/>
                  <a:pt x="5432000" y="4022935"/>
                </a:cubicBezTo>
                <a:cubicBezTo>
                  <a:pt x="5422328" y="4024868"/>
                  <a:pt x="5412658" y="4024868"/>
                  <a:pt x="5402987" y="4026803"/>
                </a:cubicBezTo>
                <a:cubicBezTo>
                  <a:pt x="5401054" y="4028736"/>
                  <a:pt x="5401054" y="4028736"/>
                  <a:pt x="5401054" y="4030671"/>
                </a:cubicBezTo>
                <a:cubicBezTo>
                  <a:pt x="5414594" y="4034539"/>
                  <a:pt x="5424263" y="4026803"/>
                  <a:pt x="5433933" y="4022935"/>
                </a:cubicBezTo>
                <a:cubicBezTo>
                  <a:pt x="5435868" y="4028736"/>
                  <a:pt x="5432000" y="4030671"/>
                  <a:pt x="5430064" y="4030671"/>
                </a:cubicBezTo>
                <a:cubicBezTo>
                  <a:pt x="5418462" y="4034539"/>
                  <a:pt x="5404922" y="4036472"/>
                  <a:pt x="5393317" y="4040341"/>
                </a:cubicBezTo>
                <a:cubicBezTo>
                  <a:pt x="5385581" y="4042276"/>
                  <a:pt x="5379779" y="4044209"/>
                  <a:pt x="5372043" y="4048077"/>
                </a:cubicBezTo>
                <a:cubicBezTo>
                  <a:pt x="5377844" y="4048077"/>
                  <a:pt x="5385581" y="4046144"/>
                  <a:pt x="5391384" y="4044209"/>
                </a:cubicBezTo>
                <a:cubicBezTo>
                  <a:pt x="5406855" y="4038408"/>
                  <a:pt x="5422328" y="4034539"/>
                  <a:pt x="5437803" y="4030671"/>
                </a:cubicBezTo>
                <a:cubicBezTo>
                  <a:pt x="5451341" y="4026803"/>
                  <a:pt x="5464879" y="4024868"/>
                  <a:pt x="5476483" y="4019066"/>
                </a:cubicBezTo>
                <a:cubicBezTo>
                  <a:pt x="5484220" y="4015198"/>
                  <a:pt x="5493889" y="4015198"/>
                  <a:pt x="5503561" y="4013263"/>
                </a:cubicBezTo>
                <a:cubicBezTo>
                  <a:pt x="5511298" y="4011330"/>
                  <a:pt x="5520967" y="4009395"/>
                  <a:pt x="5530639" y="4009395"/>
                </a:cubicBezTo>
                <a:close/>
                <a:moveTo>
                  <a:pt x="5387514" y="4003593"/>
                </a:moveTo>
                <a:cubicBezTo>
                  <a:pt x="5385581" y="4003593"/>
                  <a:pt x="5385581" y="4005526"/>
                  <a:pt x="5383645" y="4005526"/>
                </a:cubicBezTo>
                <a:cubicBezTo>
                  <a:pt x="5383645" y="4005526"/>
                  <a:pt x="5385581" y="4005526"/>
                  <a:pt x="5385581" y="4005526"/>
                </a:cubicBezTo>
                <a:cubicBezTo>
                  <a:pt x="5385581" y="4005526"/>
                  <a:pt x="5387514" y="4003593"/>
                  <a:pt x="5387514" y="4003593"/>
                </a:cubicBezTo>
                <a:close/>
                <a:moveTo>
                  <a:pt x="5188302" y="4001658"/>
                </a:moveTo>
                <a:cubicBezTo>
                  <a:pt x="5188302" y="4007462"/>
                  <a:pt x="5188302" y="4009395"/>
                  <a:pt x="5188302" y="4013263"/>
                </a:cubicBezTo>
                <a:cubicBezTo>
                  <a:pt x="5188302" y="4017131"/>
                  <a:pt x="5190235" y="4019066"/>
                  <a:pt x="5194106" y="4015198"/>
                </a:cubicBezTo>
                <a:cubicBezTo>
                  <a:pt x="5192170" y="4011330"/>
                  <a:pt x="5190235" y="4007462"/>
                  <a:pt x="5188302" y="4001658"/>
                </a:cubicBezTo>
                <a:close/>
                <a:moveTo>
                  <a:pt x="5462946" y="3997790"/>
                </a:moveTo>
                <a:cubicBezTo>
                  <a:pt x="5462946" y="3997790"/>
                  <a:pt x="5461010" y="3999725"/>
                  <a:pt x="5461010" y="3999725"/>
                </a:cubicBezTo>
                <a:cubicBezTo>
                  <a:pt x="5462946" y="3999725"/>
                  <a:pt x="5464879" y="3999725"/>
                  <a:pt x="5466814" y="3999725"/>
                </a:cubicBezTo>
                <a:cubicBezTo>
                  <a:pt x="5466814" y="3997790"/>
                  <a:pt x="5466814" y="3997790"/>
                  <a:pt x="5466814" y="3997790"/>
                </a:cubicBezTo>
                <a:cubicBezTo>
                  <a:pt x="5464879" y="3997790"/>
                  <a:pt x="5464879" y="3997790"/>
                  <a:pt x="5462946" y="3997790"/>
                </a:cubicBezTo>
                <a:close/>
                <a:moveTo>
                  <a:pt x="5600265" y="3988120"/>
                </a:moveTo>
                <a:cubicBezTo>
                  <a:pt x="5598332" y="3990053"/>
                  <a:pt x="5596397" y="3991989"/>
                  <a:pt x="5592531" y="3991989"/>
                </a:cubicBezTo>
                <a:cubicBezTo>
                  <a:pt x="5594464" y="3988120"/>
                  <a:pt x="5594464" y="3988120"/>
                  <a:pt x="5600265" y="3988120"/>
                </a:cubicBezTo>
                <a:close/>
                <a:moveTo>
                  <a:pt x="5325624" y="3986187"/>
                </a:moveTo>
                <a:cubicBezTo>
                  <a:pt x="5319820" y="3988120"/>
                  <a:pt x="5315952" y="3988120"/>
                  <a:pt x="5310151" y="3988120"/>
                </a:cubicBezTo>
                <a:cubicBezTo>
                  <a:pt x="5310151" y="3990053"/>
                  <a:pt x="5310151" y="3990053"/>
                  <a:pt x="5310151" y="3990053"/>
                </a:cubicBezTo>
                <a:cubicBezTo>
                  <a:pt x="5314019" y="3990053"/>
                  <a:pt x="5319820" y="3990053"/>
                  <a:pt x="5323689" y="3990053"/>
                </a:cubicBezTo>
                <a:cubicBezTo>
                  <a:pt x="5323689" y="3990053"/>
                  <a:pt x="5325624" y="3988120"/>
                  <a:pt x="5325624" y="3986187"/>
                </a:cubicBezTo>
                <a:close/>
                <a:moveTo>
                  <a:pt x="5252127" y="3984252"/>
                </a:moveTo>
                <a:cubicBezTo>
                  <a:pt x="5248259" y="3986187"/>
                  <a:pt x="5244393" y="3988120"/>
                  <a:pt x="5240522" y="3990053"/>
                </a:cubicBezTo>
                <a:cubicBezTo>
                  <a:pt x="5240522" y="3990053"/>
                  <a:pt x="5242458" y="3991989"/>
                  <a:pt x="5242458" y="3991989"/>
                </a:cubicBezTo>
                <a:cubicBezTo>
                  <a:pt x="5248259" y="3995857"/>
                  <a:pt x="5252127" y="3993922"/>
                  <a:pt x="5255995" y="3986187"/>
                </a:cubicBezTo>
                <a:cubicBezTo>
                  <a:pt x="5255995" y="3986187"/>
                  <a:pt x="5254062" y="3984252"/>
                  <a:pt x="5252127" y="3984252"/>
                </a:cubicBezTo>
                <a:close/>
                <a:moveTo>
                  <a:pt x="5640883" y="3980384"/>
                </a:moveTo>
                <a:cubicBezTo>
                  <a:pt x="5640883" y="3980384"/>
                  <a:pt x="5640883" y="3980384"/>
                  <a:pt x="5638948" y="3982319"/>
                </a:cubicBezTo>
                <a:cubicBezTo>
                  <a:pt x="5635080" y="3982319"/>
                  <a:pt x="5631211" y="3982319"/>
                  <a:pt x="5629278" y="3982319"/>
                </a:cubicBezTo>
                <a:cubicBezTo>
                  <a:pt x="5633147" y="3982319"/>
                  <a:pt x="5637015" y="3980384"/>
                  <a:pt x="5640883" y="3980384"/>
                </a:cubicBezTo>
                <a:close/>
                <a:moveTo>
                  <a:pt x="5279205" y="3976516"/>
                </a:moveTo>
                <a:cubicBezTo>
                  <a:pt x="5277270" y="3978449"/>
                  <a:pt x="5277270" y="3980384"/>
                  <a:pt x="5277270" y="3982319"/>
                </a:cubicBezTo>
                <a:cubicBezTo>
                  <a:pt x="5277270" y="3984252"/>
                  <a:pt x="5273404" y="3984252"/>
                  <a:pt x="5275337" y="3986187"/>
                </a:cubicBezTo>
                <a:cubicBezTo>
                  <a:pt x="5281140" y="3984252"/>
                  <a:pt x="5288877" y="3982319"/>
                  <a:pt x="5294678" y="3982319"/>
                </a:cubicBezTo>
                <a:cubicBezTo>
                  <a:pt x="5294678" y="3980384"/>
                  <a:pt x="5294678" y="3980384"/>
                  <a:pt x="5294678" y="3978449"/>
                </a:cubicBezTo>
                <a:cubicBezTo>
                  <a:pt x="5290810" y="3976516"/>
                  <a:pt x="5286941" y="3976516"/>
                  <a:pt x="5283073" y="3976516"/>
                </a:cubicBezTo>
                <a:cubicBezTo>
                  <a:pt x="5281140" y="3976516"/>
                  <a:pt x="5281140" y="3976516"/>
                  <a:pt x="5279205" y="3976516"/>
                </a:cubicBezTo>
                <a:close/>
                <a:moveTo>
                  <a:pt x="5331427" y="3972647"/>
                </a:moveTo>
                <a:cubicBezTo>
                  <a:pt x="5323689" y="3968779"/>
                  <a:pt x="5319820" y="3976516"/>
                  <a:pt x="5314019" y="3976516"/>
                </a:cubicBezTo>
                <a:cubicBezTo>
                  <a:pt x="5315952" y="3976516"/>
                  <a:pt x="5317887" y="3976516"/>
                  <a:pt x="5319820" y="3976516"/>
                </a:cubicBezTo>
                <a:cubicBezTo>
                  <a:pt x="5323689" y="3976516"/>
                  <a:pt x="5327559" y="3974583"/>
                  <a:pt x="5331427" y="3972647"/>
                </a:cubicBezTo>
                <a:close/>
                <a:moveTo>
                  <a:pt x="5418462" y="3970714"/>
                </a:moveTo>
                <a:cubicBezTo>
                  <a:pt x="5418462" y="3970714"/>
                  <a:pt x="5418462" y="3972647"/>
                  <a:pt x="5420395" y="3972647"/>
                </a:cubicBezTo>
                <a:cubicBezTo>
                  <a:pt x="5420395" y="3972647"/>
                  <a:pt x="5422328" y="3970714"/>
                  <a:pt x="5422328" y="3970714"/>
                </a:cubicBezTo>
                <a:cubicBezTo>
                  <a:pt x="5420395" y="3970714"/>
                  <a:pt x="5420395" y="3970714"/>
                  <a:pt x="5418462" y="3970714"/>
                </a:cubicBezTo>
                <a:close/>
                <a:moveTo>
                  <a:pt x="5633147" y="3966846"/>
                </a:moveTo>
                <a:cubicBezTo>
                  <a:pt x="5623475" y="3968779"/>
                  <a:pt x="5615738" y="3970714"/>
                  <a:pt x="5606069" y="3972647"/>
                </a:cubicBezTo>
                <a:cubicBezTo>
                  <a:pt x="5608002" y="3972647"/>
                  <a:pt x="5608002" y="3972647"/>
                  <a:pt x="5608002" y="3972647"/>
                </a:cubicBezTo>
                <a:cubicBezTo>
                  <a:pt x="5602201" y="3974583"/>
                  <a:pt x="5596397" y="3974583"/>
                  <a:pt x="5592531" y="3974583"/>
                </a:cubicBezTo>
                <a:cubicBezTo>
                  <a:pt x="5590596" y="3974583"/>
                  <a:pt x="5590596" y="3974583"/>
                  <a:pt x="5588663" y="3974583"/>
                </a:cubicBezTo>
                <a:cubicBezTo>
                  <a:pt x="5588663" y="3974583"/>
                  <a:pt x="5586728" y="3976516"/>
                  <a:pt x="5584795" y="3978449"/>
                </a:cubicBezTo>
                <a:cubicBezTo>
                  <a:pt x="5606069" y="3974583"/>
                  <a:pt x="5627343" y="3970714"/>
                  <a:pt x="5646684" y="3966846"/>
                </a:cubicBezTo>
                <a:cubicBezTo>
                  <a:pt x="5642816" y="3966846"/>
                  <a:pt x="5637015" y="3966846"/>
                  <a:pt x="5633147" y="3966846"/>
                </a:cubicBezTo>
                <a:close/>
                <a:moveTo>
                  <a:pt x="5497758" y="3966846"/>
                </a:moveTo>
                <a:cubicBezTo>
                  <a:pt x="5493889" y="3970714"/>
                  <a:pt x="5491956" y="3972647"/>
                  <a:pt x="5490021" y="3974583"/>
                </a:cubicBezTo>
                <a:cubicBezTo>
                  <a:pt x="5491956" y="3974583"/>
                  <a:pt x="5493889" y="3974583"/>
                  <a:pt x="5495825" y="3974583"/>
                </a:cubicBezTo>
                <a:cubicBezTo>
                  <a:pt x="5493889" y="3974583"/>
                  <a:pt x="5491956" y="3976516"/>
                  <a:pt x="5490021" y="3976516"/>
                </a:cubicBezTo>
                <a:cubicBezTo>
                  <a:pt x="5490021" y="3976516"/>
                  <a:pt x="5488088" y="3978449"/>
                  <a:pt x="5486155" y="3980384"/>
                </a:cubicBezTo>
                <a:cubicBezTo>
                  <a:pt x="5490021" y="3980384"/>
                  <a:pt x="5493889" y="3980384"/>
                  <a:pt x="5497758" y="3980384"/>
                </a:cubicBezTo>
                <a:cubicBezTo>
                  <a:pt x="5497758" y="3980384"/>
                  <a:pt x="5499693" y="3980384"/>
                  <a:pt x="5499693" y="3980384"/>
                </a:cubicBezTo>
                <a:cubicBezTo>
                  <a:pt x="5501628" y="3980384"/>
                  <a:pt x="5505497" y="3980384"/>
                  <a:pt x="5507430" y="3980384"/>
                </a:cubicBezTo>
                <a:cubicBezTo>
                  <a:pt x="5515166" y="3980384"/>
                  <a:pt x="5520967" y="3980384"/>
                  <a:pt x="5528704" y="3980384"/>
                </a:cubicBezTo>
                <a:cubicBezTo>
                  <a:pt x="5532572" y="3980384"/>
                  <a:pt x="5536440" y="3978449"/>
                  <a:pt x="5540308" y="3980384"/>
                </a:cubicBezTo>
                <a:cubicBezTo>
                  <a:pt x="5546112" y="3978449"/>
                  <a:pt x="5553849" y="3976516"/>
                  <a:pt x="5559650" y="3972647"/>
                </a:cubicBezTo>
                <a:cubicBezTo>
                  <a:pt x="5553849" y="3972647"/>
                  <a:pt x="5549980" y="3972647"/>
                  <a:pt x="5544177" y="3974583"/>
                </a:cubicBezTo>
                <a:cubicBezTo>
                  <a:pt x="5544177" y="3974583"/>
                  <a:pt x="5542244" y="3974583"/>
                  <a:pt x="5542244" y="3974583"/>
                </a:cubicBezTo>
                <a:cubicBezTo>
                  <a:pt x="5526771" y="3968779"/>
                  <a:pt x="5511298" y="3970714"/>
                  <a:pt x="5497758" y="3966846"/>
                </a:cubicBezTo>
                <a:close/>
                <a:moveTo>
                  <a:pt x="5536198" y="3960318"/>
                </a:moveTo>
                <a:cubicBezTo>
                  <a:pt x="5530638" y="3960560"/>
                  <a:pt x="5524835" y="3962010"/>
                  <a:pt x="5517099" y="3964911"/>
                </a:cubicBezTo>
                <a:cubicBezTo>
                  <a:pt x="5528704" y="3962978"/>
                  <a:pt x="5540308" y="3964911"/>
                  <a:pt x="5553849" y="3962978"/>
                </a:cubicBezTo>
                <a:cubicBezTo>
                  <a:pt x="5547078" y="3961044"/>
                  <a:pt x="5541759" y="3960077"/>
                  <a:pt x="5536198" y="3960318"/>
                </a:cubicBezTo>
                <a:close/>
                <a:moveTo>
                  <a:pt x="5199907" y="3959110"/>
                </a:moveTo>
                <a:cubicBezTo>
                  <a:pt x="5197974" y="3961043"/>
                  <a:pt x="5194106" y="3962978"/>
                  <a:pt x="5192170" y="3964911"/>
                </a:cubicBezTo>
                <a:cubicBezTo>
                  <a:pt x="5196039" y="3964911"/>
                  <a:pt x="5199907" y="3962978"/>
                  <a:pt x="5201842" y="3962978"/>
                </a:cubicBezTo>
                <a:cubicBezTo>
                  <a:pt x="5201842" y="3961043"/>
                  <a:pt x="5201842" y="3961043"/>
                  <a:pt x="5201842" y="3959110"/>
                </a:cubicBezTo>
                <a:cubicBezTo>
                  <a:pt x="5201842" y="3959110"/>
                  <a:pt x="5199907" y="3959110"/>
                  <a:pt x="5199907" y="3959110"/>
                </a:cubicBezTo>
                <a:close/>
                <a:moveTo>
                  <a:pt x="5139950" y="3959110"/>
                </a:moveTo>
                <a:cubicBezTo>
                  <a:pt x="5136082" y="3961043"/>
                  <a:pt x="5130281" y="3962978"/>
                  <a:pt x="5126410" y="3964911"/>
                </a:cubicBezTo>
                <a:cubicBezTo>
                  <a:pt x="5128345" y="3964911"/>
                  <a:pt x="5132214" y="3964911"/>
                  <a:pt x="5134149" y="3964911"/>
                </a:cubicBezTo>
                <a:cubicBezTo>
                  <a:pt x="5136082" y="3962978"/>
                  <a:pt x="5139950" y="3962978"/>
                  <a:pt x="5141883" y="3962978"/>
                </a:cubicBezTo>
                <a:cubicBezTo>
                  <a:pt x="5141883" y="3961043"/>
                  <a:pt x="5139950" y="3961043"/>
                  <a:pt x="5139950" y="3959110"/>
                </a:cubicBezTo>
                <a:close/>
                <a:moveTo>
                  <a:pt x="5472615" y="3957174"/>
                </a:moveTo>
                <a:cubicBezTo>
                  <a:pt x="5468747" y="3961043"/>
                  <a:pt x="5462946" y="3961043"/>
                  <a:pt x="5457142" y="3961043"/>
                </a:cubicBezTo>
                <a:cubicBezTo>
                  <a:pt x="5462946" y="3964911"/>
                  <a:pt x="5470680" y="3961043"/>
                  <a:pt x="5476483" y="3964911"/>
                </a:cubicBezTo>
                <a:cubicBezTo>
                  <a:pt x="5474551" y="3966846"/>
                  <a:pt x="5474551" y="3968779"/>
                  <a:pt x="5472615" y="3968779"/>
                </a:cubicBezTo>
                <a:cubicBezTo>
                  <a:pt x="5462946" y="3968779"/>
                  <a:pt x="5451341" y="3970714"/>
                  <a:pt x="5441669" y="3970714"/>
                </a:cubicBezTo>
                <a:cubicBezTo>
                  <a:pt x="5435868" y="3972647"/>
                  <a:pt x="5428131" y="3974583"/>
                  <a:pt x="5422328" y="3976516"/>
                </a:cubicBezTo>
                <a:cubicBezTo>
                  <a:pt x="5414594" y="3978449"/>
                  <a:pt x="5404922" y="3980384"/>
                  <a:pt x="5397185" y="3982319"/>
                </a:cubicBezTo>
                <a:cubicBezTo>
                  <a:pt x="5389449" y="3986187"/>
                  <a:pt x="5381712" y="3988120"/>
                  <a:pt x="5372043" y="3988120"/>
                </a:cubicBezTo>
                <a:cubicBezTo>
                  <a:pt x="5364306" y="3990053"/>
                  <a:pt x="5356570" y="3991989"/>
                  <a:pt x="5348833" y="3995857"/>
                </a:cubicBezTo>
                <a:cubicBezTo>
                  <a:pt x="5343030" y="3997790"/>
                  <a:pt x="5335293" y="3999725"/>
                  <a:pt x="5327559" y="4001658"/>
                </a:cubicBezTo>
                <a:cubicBezTo>
                  <a:pt x="5319820" y="4003593"/>
                  <a:pt x="5310151" y="4005526"/>
                  <a:pt x="5300479" y="4007462"/>
                </a:cubicBezTo>
                <a:cubicBezTo>
                  <a:pt x="5300479" y="4007462"/>
                  <a:pt x="5298546" y="4009395"/>
                  <a:pt x="5298546" y="4009395"/>
                </a:cubicBezTo>
                <a:cubicBezTo>
                  <a:pt x="5296611" y="4007462"/>
                  <a:pt x="5296611" y="4007462"/>
                  <a:pt x="5296611" y="4007462"/>
                </a:cubicBezTo>
                <a:cubicBezTo>
                  <a:pt x="5292745" y="4007462"/>
                  <a:pt x="5286941" y="4009395"/>
                  <a:pt x="5283073" y="4011330"/>
                </a:cubicBezTo>
                <a:cubicBezTo>
                  <a:pt x="5275337" y="4013263"/>
                  <a:pt x="5269535" y="4013263"/>
                  <a:pt x="5261799" y="4013263"/>
                </a:cubicBezTo>
                <a:cubicBezTo>
                  <a:pt x="5259864" y="4013263"/>
                  <a:pt x="5257931" y="4011330"/>
                  <a:pt x="5255995" y="4009395"/>
                </a:cubicBezTo>
                <a:cubicBezTo>
                  <a:pt x="5259864" y="4005526"/>
                  <a:pt x="5263732" y="4003593"/>
                  <a:pt x="5269535" y="4003593"/>
                </a:cubicBezTo>
                <a:cubicBezTo>
                  <a:pt x="5273404" y="4003593"/>
                  <a:pt x="5277270" y="4001658"/>
                  <a:pt x="5281140" y="3999725"/>
                </a:cubicBezTo>
                <a:cubicBezTo>
                  <a:pt x="5281140" y="3997790"/>
                  <a:pt x="5281140" y="3995857"/>
                  <a:pt x="5283073" y="3991989"/>
                </a:cubicBezTo>
                <a:cubicBezTo>
                  <a:pt x="5273404" y="3993922"/>
                  <a:pt x="5265667" y="3993922"/>
                  <a:pt x="5259864" y="3997790"/>
                </a:cubicBezTo>
                <a:cubicBezTo>
                  <a:pt x="5250194" y="4001658"/>
                  <a:pt x="5240522" y="4005526"/>
                  <a:pt x="5228918" y="4003593"/>
                </a:cubicBezTo>
                <a:cubicBezTo>
                  <a:pt x="5225052" y="4003593"/>
                  <a:pt x="5223116" y="4003593"/>
                  <a:pt x="5221183" y="4003593"/>
                </a:cubicBezTo>
                <a:cubicBezTo>
                  <a:pt x="5217315" y="4005526"/>
                  <a:pt x="5215380" y="4007462"/>
                  <a:pt x="5219248" y="4015198"/>
                </a:cubicBezTo>
                <a:cubicBezTo>
                  <a:pt x="5207643" y="4019066"/>
                  <a:pt x="5197974" y="4022935"/>
                  <a:pt x="5184434" y="4026803"/>
                </a:cubicBezTo>
                <a:cubicBezTo>
                  <a:pt x="5188302" y="4026803"/>
                  <a:pt x="5190235" y="4026803"/>
                  <a:pt x="5190235" y="4026803"/>
                </a:cubicBezTo>
                <a:cubicBezTo>
                  <a:pt x="5194106" y="4026803"/>
                  <a:pt x="5196039" y="4026803"/>
                  <a:pt x="5197974" y="4026803"/>
                </a:cubicBezTo>
                <a:cubicBezTo>
                  <a:pt x="5199907" y="4026803"/>
                  <a:pt x="5199907" y="4026803"/>
                  <a:pt x="5199907" y="4026803"/>
                </a:cubicBezTo>
                <a:lnTo>
                  <a:pt x="5206097" y="4028350"/>
                </a:lnTo>
                <a:lnTo>
                  <a:pt x="5203775" y="4030671"/>
                </a:lnTo>
                <a:lnTo>
                  <a:pt x="5204792" y="4030875"/>
                </a:lnTo>
                <a:lnTo>
                  <a:pt x="5199907" y="4034539"/>
                </a:lnTo>
                <a:cubicBezTo>
                  <a:pt x="5197974" y="4034539"/>
                  <a:pt x="5197974" y="4034539"/>
                  <a:pt x="5197974" y="4034539"/>
                </a:cubicBezTo>
                <a:cubicBezTo>
                  <a:pt x="5190235" y="4038408"/>
                  <a:pt x="5184434" y="4040341"/>
                  <a:pt x="5178633" y="4042276"/>
                </a:cubicBezTo>
                <a:cubicBezTo>
                  <a:pt x="5168961" y="4042276"/>
                  <a:pt x="5161224" y="4044209"/>
                  <a:pt x="5153488" y="4046144"/>
                </a:cubicBezTo>
                <a:cubicBezTo>
                  <a:pt x="5147687" y="4051945"/>
                  <a:pt x="5139950" y="4053881"/>
                  <a:pt x="5134149" y="4055814"/>
                </a:cubicBezTo>
                <a:cubicBezTo>
                  <a:pt x="5124477" y="4059682"/>
                  <a:pt x="5112872" y="4061617"/>
                  <a:pt x="5101268" y="4065483"/>
                </a:cubicBezTo>
                <a:cubicBezTo>
                  <a:pt x="5101268" y="4067418"/>
                  <a:pt x="5103200" y="4067418"/>
                  <a:pt x="5103200" y="4069354"/>
                </a:cubicBezTo>
                <a:cubicBezTo>
                  <a:pt x="5101268" y="4069354"/>
                  <a:pt x="5099335" y="4071287"/>
                  <a:pt x="5097399" y="4071287"/>
                </a:cubicBezTo>
                <a:cubicBezTo>
                  <a:pt x="5097399" y="4071287"/>
                  <a:pt x="5095466" y="4069354"/>
                  <a:pt x="5095466" y="4069354"/>
                </a:cubicBezTo>
                <a:cubicBezTo>
                  <a:pt x="5095466" y="4067418"/>
                  <a:pt x="5097399" y="4067418"/>
                  <a:pt x="5097399" y="4067418"/>
                </a:cubicBezTo>
                <a:cubicBezTo>
                  <a:pt x="5079993" y="4073222"/>
                  <a:pt x="5064520" y="4077088"/>
                  <a:pt x="5047114" y="4082891"/>
                </a:cubicBezTo>
                <a:cubicBezTo>
                  <a:pt x="5041311" y="4084824"/>
                  <a:pt x="5033574" y="4086760"/>
                  <a:pt x="5025838" y="4088693"/>
                </a:cubicBezTo>
                <a:cubicBezTo>
                  <a:pt x="5023905" y="4090628"/>
                  <a:pt x="5021969" y="4090628"/>
                  <a:pt x="5020037" y="4090628"/>
                </a:cubicBezTo>
                <a:cubicBezTo>
                  <a:pt x="5020037" y="4092561"/>
                  <a:pt x="5021969" y="4092561"/>
                  <a:pt x="5021969" y="4092561"/>
                </a:cubicBezTo>
                <a:cubicBezTo>
                  <a:pt x="5047114" y="4088693"/>
                  <a:pt x="5070324" y="4084824"/>
                  <a:pt x="5095466" y="4080959"/>
                </a:cubicBezTo>
                <a:cubicBezTo>
                  <a:pt x="5109004" y="4077088"/>
                  <a:pt x="5124477" y="4075155"/>
                  <a:pt x="5138017" y="4075155"/>
                </a:cubicBezTo>
                <a:cubicBezTo>
                  <a:pt x="5138017" y="4075155"/>
                  <a:pt x="5139950" y="4075155"/>
                  <a:pt x="5139950" y="4075155"/>
                </a:cubicBezTo>
                <a:cubicBezTo>
                  <a:pt x="5141883" y="4075155"/>
                  <a:pt x="5143818" y="4073222"/>
                  <a:pt x="5145751" y="4073222"/>
                </a:cubicBezTo>
                <a:cubicBezTo>
                  <a:pt x="5147687" y="4073222"/>
                  <a:pt x="5149620" y="4071287"/>
                  <a:pt x="5151555" y="4071287"/>
                </a:cubicBezTo>
                <a:cubicBezTo>
                  <a:pt x="5163160" y="4067418"/>
                  <a:pt x="5174764" y="4067418"/>
                  <a:pt x="5186369" y="4065483"/>
                </a:cubicBezTo>
                <a:cubicBezTo>
                  <a:pt x="5190235" y="4065483"/>
                  <a:pt x="5197974" y="4063550"/>
                  <a:pt x="5199907" y="4059682"/>
                </a:cubicBezTo>
                <a:cubicBezTo>
                  <a:pt x="5203775" y="4053881"/>
                  <a:pt x="5207643" y="4051945"/>
                  <a:pt x="5211512" y="4050013"/>
                </a:cubicBezTo>
                <a:cubicBezTo>
                  <a:pt x="5217315" y="4048077"/>
                  <a:pt x="5221183" y="4044209"/>
                  <a:pt x="5226985" y="4046144"/>
                </a:cubicBezTo>
                <a:cubicBezTo>
                  <a:pt x="5228918" y="4046144"/>
                  <a:pt x="5232786" y="4046144"/>
                  <a:pt x="5234721" y="4044209"/>
                </a:cubicBezTo>
                <a:cubicBezTo>
                  <a:pt x="5240522" y="4040341"/>
                  <a:pt x="5248259" y="4040341"/>
                  <a:pt x="5255995" y="4038408"/>
                </a:cubicBezTo>
                <a:cubicBezTo>
                  <a:pt x="5265667" y="4036472"/>
                  <a:pt x="5275337" y="4032604"/>
                  <a:pt x="5285008" y="4030671"/>
                </a:cubicBezTo>
                <a:cubicBezTo>
                  <a:pt x="5271468" y="4028736"/>
                  <a:pt x="5259864" y="4032604"/>
                  <a:pt x="5246326" y="4034539"/>
                </a:cubicBezTo>
                <a:cubicBezTo>
                  <a:pt x="5234721" y="4036472"/>
                  <a:pt x="5234721" y="4036472"/>
                  <a:pt x="5223116" y="4030671"/>
                </a:cubicBezTo>
                <a:cubicBezTo>
                  <a:pt x="5219248" y="4032604"/>
                  <a:pt x="5217315" y="4032604"/>
                  <a:pt x="5213445" y="4032604"/>
                </a:cubicBezTo>
                <a:lnTo>
                  <a:pt x="5204792" y="4030875"/>
                </a:lnTo>
                <a:lnTo>
                  <a:pt x="5207643" y="4028736"/>
                </a:lnTo>
                <a:lnTo>
                  <a:pt x="5206097" y="4028350"/>
                </a:lnTo>
                <a:lnTo>
                  <a:pt x="5207643" y="4026803"/>
                </a:lnTo>
                <a:cubicBezTo>
                  <a:pt x="5215380" y="4022935"/>
                  <a:pt x="5226985" y="4022935"/>
                  <a:pt x="5232786" y="4015198"/>
                </a:cubicBezTo>
                <a:cubicBezTo>
                  <a:pt x="5234721" y="4015198"/>
                  <a:pt x="5236654" y="4015198"/>
                  <a:pt x="5238589" y="4015198"/>
                </a:cubicBezTo>
                <a:cubicBezTo>
                  <a:pt x="5242458" y="4015198"/>
                  <a:pt x="5246326" y="4015198"/>
                  <a:pt x="5250194" y="4015198"/>
                </a:cubicBezTo>
                <a:cubicBezTo>
                  <a:pt x="5246326" y="4019066"/>
                  <a:pt x="5240522" y="4020999"/>
                  <a:pt x="5236654" y="4024868"/>
                </a:cubicBezTo>
                <a:cubicBezTo>
                  <a:pt x="5240522" y="4022935"/>
                  <a:pt x="5246326" y="4022935"/>
                  <a:pt x="5252127" y="4020999"/>
                </a:cubicBezTo>
                <a:cubicBezTo>
                  <a:pt x="5254062" y="4019066"/>
                  <a:pt x="5255995" y="4020999"/>
                  <a:pt x="5257931" y="4020999"/>
                </a:cubicBezTo>
                <a:cubicBezTo>
                  <a:pt x="5265667" y="4026803"/>
                  <a:pt x="5271468" y="4024868"/>
                  <a:pt x="5279205" y="4020999"/>
                </a:cubicBezTo>
                <a:cubicBezTo>
                  <a:pt x="5286941" y="4015198"/>
                  <a:pt x="5296611" y="4015198"/>
                  <a:pt x="5306283" y="4015198"/>
                </a:cubicBezTo>
                <a:cubicBezTo>
                  <a:pt x="5310151" y="4015198"/>
                  <a:pt x="5314019" y="4017131"/>
                  <a:pt x="5317887" y="4015198"/>
                </a:cubicBezTo>
                <a:cubicBezTo>
                  <a:pt x="5333360" y="4011330"/>
                  <a:pt x="5346898" y="4007462"/>
                  <a:pt x="5362371" y="4009395"/>
                </a:cubicBezTo>
                <a:cubicBezTo>
                  <a:pt x="5368175" y="4005526"/>
                  <a:pt x="5364306" y="4003593"/>
                  <a:pt x="5368175" y="3993922"/>
                </a:cubicBezTo>
                <a:cubicBezTo>
                  <a:pt x="5368175" y="3993922"/>
                  <a:pt x="5370108" y="3991989"/>
                  <a:pt x="5370108" y="3991989"/>
                </a:cubicBezTo>
                <a:cubicBezTo>
                  <a:pt x="5387514" y="3991989"/>
                  <a:pt x="5401054" y="3991989"/>
                  <a:pt x="5416527" y="3984252"/>
                </a:cubicBezTo>
                <a:cubicBezTo>
                  <a:pt x="5422328" y="3982319"/>
                  <a:pt x="5430064" y="3980384"/>
                  <a:pt x="5437803" y="3980384"/>
                </a:cubicBezTo>
                <a:cubicBezTo>
                  <a:pt x="5453274" y="3978449"/>
                  <a:pt x="5466814" y="3978449"/>
                  <a:pt x="5482287" y="3976516"/>
                </a:cubicBezTo>
                <a:cubicBezTo>
                  <a:pt x="5482287" y="3976516"/>
                  <a:pt x="5482287" y="3974583"/>
                  <a:pt x="5482287" y="3974583"/>
                </a:cubicBezTo>
                <a:cubicBezTo>
                  <a:pt x="5470680" y="3976516"/>
                  <a:pt x="5459078" y="3978449"/>
                  <a:pt x="5445537" y="3976516"/>
                </a:cubicBezTo>
                <a:cubicBezTo>
                  <a:pt x="5457142" y="3974583"/>
                  <a:pt x="5470680" y="3972647"/>
                  <a:pt x="5484220" y="3970714"/>
                </a:cubicBezTo>
                <a:cubicBezTo>
                  <a:pt x="5486155" y="3968779"/>
                  <a:pt x="5488088" y="3968779"/>
                  <a:pt x="5490021" y="3966846"/>
                </a:cubicBezTo>
                <a:cubicBezTo>
                  <a:pt x="5488088" y="3966846"/>
                  <a:pt x="5488088" y="3966846"/>
                  <a:pt x="5486155" y="3966846"/>
                </a:cubicBezTo>
                <a:cubicBezTo>
                  <a:pt x="5488088" y="3964911"/>
                  <a:pt x="5488088" y="3962978"/>
                  <a:pt x="5490021" y="3962978"/>
                </a:cubicBezTo>
                <a:cubicBezTo>
                  <a:pt x="5490021" y="3962978"/>
                  <a:pt x="5493889" y="3961043"/>
                  <a:pt x="5495825" y="3961043"/>
                </a:cubicBezTo>
                <a:cubicBezTo>
                  <a:pt x="5497758" y="3961043"/>
                  <a:pt x="5497758" y="3961043"/>
                  <a:pt x="5499693" y="3961043"/>
                </a:cubicBezTo>
                <a:cubicBezTo>
                  <a:pt x="5499693" y="3961043"/>
                  <a:pt x="5501628" y="3961043"/>
                  <a:pt x="5501628" y="3961043"/>
                </a:cubicBezTo>
                <a:cubicBezTo>
                  <a:pt x="5507430" y="3961043"/>
                  <a:pt x="5513231" y="3961043"/>
                  <a:pt x="5519034" y="3961043"/>
                </a:cubicBezTo>
                <a:cubicBezTo>
                  <a:pt x="5517099" y="3959110"/>
                  <a:pt x="5517099" y="3959110"/>
                  <a:pt x="5517099" y="3957174"/>
                </a:cubicBezTo>
                <a:cubicBezTo>
                  <a:pt x="5511298" y="3957174"/>
                  <a:pt x="5507430" y="3957174"/>
                  <a:pt x="5501628" y="3957174"/>
                </a:cubicBezTo>
                <a:cubicBezTo>
                  <a:pt x="5495825" y="3959110"/>
                  <a:pt x="5488088" y="3959110"/>
                  <a:pt x="5482287" y="3957174"/>
                </a:cubicBezTo>
                <a:cubicBezTo>
                  <a:pt x="5478419" y="3957174"/>
                  <a:pt x="5476483" y="3957174"/>
                  <a:pt x="5472615" y="3957174"/>
                </a:cubicBezTo>
                <a:close/>
                <a:moveTo>
                  <a:pt x="5134149" y="3951373"/>
                </a:moveTo>
                <a:cubicBezTo>
                  <a:pt x="5132214" y="3953306"/>
                  <a:pt x="5130281" y="3957174"/>
                  <a:pt x="5128345" y="3959110"/>
                </a:cubicBezTo>
                <a:cubicBezTo>
                  <a:pt x="5130281" y="3959110"/>
                  <a:pt x="5130281" y="3959110"/>
                  <a:pt x="5130281" y="3957174"/>
                </a:cubicBezTo>
                <a:cubicBezTo>
                  <a:pt x="5132214" y="3957174"/>
                  <a:pt x="5136082" y="3955241"/>
                  <a:pt x="5138017" y="3955241"/>
                </a:cubicBezTo>
                <a:cubicBezTo>
                  <a:pt x="5138017" y="3953306"/>
                  <a:pt x="5136082" y="3953306"/>
                  <a:pt x="5134149" y="3951373"/>
                </a:cubicBezTo>
                <a:close/>
                <a:moveTo>
                  <a:pt x="5602201" y="3947505"/>
                </a:moveTo>
                <a:cubicBezTo>
                  <a:pt x="5598332" y="3951373"/>
                  <a:pt x="5594464" y="3955241"/>
                  <a:pt x="5590596" y="3959110"/>
                </a:cubicBezTo>
                <a:cubicBezTo>
                  <a:pt x="5600265" y="3957174"/>
                  <a:pt x="5611872" y="3955241"/>
                  <a:pt x="5621542" y="3951373"/>
                </a:cubicBezTo>
                <a:cubicBezTo>
                  <a:pt x="5617674" y="3951373"/>
                  <a:pt x="5615738" y="3949438"/>
                  <a:pt x="5611872" y="3949438"/>
                </a:cubicBezTo>
                <a:cubicBezTo>
                  <a:pt x="5609937" y="3947505"/>
                  <a:pt x="5606069" y="3947505"/>
                  <a:pt x="5602201" y="3947505"/>
                </a:cubicBezTo>
                <a:close/>
                <a:moveTo>
                  <a:pt x="5472615" y="3945570"/>
                </a:moveTo>
                <a:cubicBezTo>
                  <a:pt x="5462946" y="3945570"/>
                  <a:pt x="5453274" y="3945570"/>
                  <a:pt x="5443604" y="3947505"/>
                </a:cubicBezTo>
                <a:cubicBezTo>
                  <a:pt x="5439736" y="3947505"/>
                  <a:pt x="5437803" y="3947505"/>
                  <a:pt x="5430064" y="3949438"/>
                </a:cubicBezTo>
                <a:cubicBezTo>
                  <a:pt x="5443604" y="3951373"/>
                  <a:pt x="5455209" y="3949438"/>
                  <a:pt x="5466814" y="3949438"/>
                </a:cubicBezTo>
                <a:cubicBezTo>
                  <a:pt x="5468747" y="3949438"/>
                  <a:pt x="5470680" y="3947505"/>
                  <a:pt x="5474551" y="3947505"/>
                </a:cubicBezTo>
                <a:cubicBezTo>
                  <a:pt x="5474551" y="3947505"/>
                  <a:pt x="5472615" y="3945570"/>
                  <a:pt x="5472615" y="3945570"/>
                </a:cubicBezTo>
                <a:close/>
                <a:moveTo>
                  <a:pt x="5395252" y="3945570"/>
                </a:moveTo>
                <a:cubicBezTo>
                  <a:pt x="5393317" y="3945570"/>
                  <a:pt x="5389449" y="3945570"/>
                  <a:pt x="5385581" y="3947505"/>
                </a:cubicBezTo>
                <a:cubicBezTo>
                  <a:pt x="5387514" y="3947505"/>
                  <a:pt x="5389449" y="3947505"/>
                  <a:pt x="5391384" y="3947505"/>
                </a:cubicBezTo>
                <a:cubicBezTo>
                  <a:pt x="5393317" y="3945570"/>
                  <a:pt x="5393317" y="3945570"/>
                  <a:pt x="5395252" y="3945570"/>
                </a:cubicBezTo>
                <a:close/>
                <a:moveTo>
                  <a:pt x="5491956" y="3943637"/>
                </a:moveTo>
                <a:cubicBezTo>
                  <a:pt x="5491956" y="3943637"/>
                  <a:pt x="5491956" y="3945570"/>
                  <a:pt x="5491956" y="3945570"/>
                </a:cubicBezTo>
                <a:cubicBezTo>
                  <a:pt x="5491956" y="3945570"/>
                  <a:pt x="5493889" y="3945570"/>
                  <a:pt x="5493889" y="3945570"/>
                </a:cubicBezTo>
                <a:cubicBezTo>
                  <a:pt x="5493889" y="3945570"/>
                  <a:pt x="5495825" y="3943637"/>
                  <a:pt x="5495825" y="3943637"/>
                </a:cubicBezTo>
                <a:cubicBezTo>
                  <a:pt x="5495825" y="3943637"/>
                  <a:pt x="5493889" y="3943637"/>
                  <a:pt x="5491956" y="3943637"/>
                </a:cubicBezTo>
                <a:close/>
                <a:moveTo>
                  <a:pt x="5211512" y="3943637"/>
                </a:moveTo>
                <a:cubicBezTo>
                  <a:pt x="5207643" y="3945570"/>
                  <a:pt x="5201842" y="3945570"/>
                  <a:pt x="5197974" y="3947505"/>
                </a:cubicBezTo>
                <a:cubicBezTo>
                  <a:pt x="5197974" y="3949438"/>
                  <a:pt x="5197974" y="3951373"/>
                  <a:pt x="5199907" y="3953306"/>
                </a:cubicBezTo>
                <a:cubicBezTo>
                  <a:pt x="5199907" y="3953306"/>
                  <a:pt x="5201842" y="3953306"/>
                  <a:pt x="5201842" y="3953306"/>
                </a:cubicBezTo>
                <a:cubicBezTo>
                  <a:pt x="5211512" y="3953306"/>
                  <a:pt x="5219248" y="3951373"/>
                  <a:pt x="5228918" y="3943637"/>
                </a:cubicBezTo>
                <a:cubicBezTo>
                  <a:pt x="5221183" y="3943637"/>
                  <a:pt x="5215380" y="3941701"/>
                  <a:pt x="5211512" y="3943637"/>
                </a:cubicBezTo>
                <a:close/>
                <a:moveTo>
                  <a:pt x="5716313" y="3941701"/>
                </a:moveTo>
                <a:cubicBezTo>
                  <a:pt x="5718246" y="3941701"/>
                  <a:pt x="5718246" y="3941701"/>
                  <a:pt x="5720181" y="3941701"/>
                </a:cubicBezTo>
                <a:cubicBezTo>
                  <a:pt x="5720181" y="3941701"/>
                  <a:pt x="5720181" y="3943637"/>
                  <a:pt x="5720181" y="3943637"/>
                </a:cubicBezTo>
                <a:cubicBezTo>
                  <a:pt x="5718246" y="3943637"/>
                  <a:pt x="5718246" y="3941701"/>
                  <a:pt x="5716313" y="3941701"/>
                </a:cubicBezTo>
                <a:close/>
                <a:moveTo>
                  <a:pt x="5679566" y="3939768"/>
                </a:moveTo>
                <a:cubicBezTo>
                  <a:pt x="5679566" y="3939768"/>
                  <a:pt x="5681499" y="3941701"/>
                  <a:pt x="5681499" y="3941701"/>
                </a:cubicBezTo>
                <a:cubicBezTo>
                  <a:pt x="5685367" y="3939768"/>
                  <a:pt x="5687300" y="3939768"/>
                  <a:pt x="5691168" y="3939768"/>
                </a:cubicBezTo>
                <a:cubicBezTo>
                  <a:pt x="5687300" y="3937833"/>
                  <a:pt x="5683432" y="3937833"/>
                  <a:pt x="5679566" y="3939768"/>
                </a:cubicBezTo>
                <a:close/>
                <a:moveTo>
                  <a:pt x="5132214" y="3933965"/>
                </a:moveTo>
                <a:cubicBezTo>
                  <a:pt x="5130281" y="3933965"/>
                  <a:pt x="5126410" y="3935900"/>
                  <a:pt x="5124477" y="3935900"/>
                </a:cubicBezTo>
                <a:lnTo>
                  <a:pt x="5124475" y="3935900"/>
                </a:lnTo>
                <a:close/>
                <a:moveTo>
                  <a:pt x="5350766" y="3930097"/>
                </a:moveTo>
                <a:cubicBezTo>
                  <a:pt x="5344965" y="3932032"/>
                  <a:pt x="5339162" y="3932032"/>
                  <a:pt x="5335293" y="3935900"/>
                </a:cubicBezTo>
                <a:cubicBezTo>
                  <a:pt x="5343030" y="3937833"/>
                  <a:pt x="5350766" y="3937833"/>
                  <a:pt x="5358503" y="3935900"/>
                </a:cubicBezTo>
                <a:cubicBezTo>
                  <a:pt x="5358503" y="3935900"/>
                  <a:pt x="5360438" y="3935900"/>
                  <a:pt x="5360438" y="3935900"/>
                </a:cubicBezTo>
                <a:cubicBezTo>
                  <a:pt x="5362371" y="3935900"/>
                  <a:pt x="5364306" y="3935900"/>
                  <a:pt x="5366239" y="3935900"/>
                </a:cubicBezTo>
                <a:cubicBezTo>
                  <a:pt x="5368175" y="3933965"/>
                  <a:pt x="5372043" y="3933965"/>
                  <a:pt x="5373976" y="3933965"/>
                </a:cubicBezTo>
                <a:cubicBezTo>
                  <a:pt x="5372043" y="3932032"/>
                  <a:pt x="5372043" y="3932032"/>
                  <a:pt x="5370108" y="3932032"/>
                </a:cubicBezTo>
                <a:cubicBezTo>
                  <a:pt x="5364306" y="3928164"/>
                  <a:pt x="5358503" y="3928164"/>
                  <a:pt x="5350766" y="3930097"/>
                </a:cubicBezTo>
                <a:close/>
                <a:moveTo>
                  <a:pt x="5393317" y="3924295"/>
                </a:moveTo>
                <a:cubicBezTo>
                  <a:pt x="5389449" y="3924295"/>
                  <a:pt x="5385581" y="3926228"/>
                  <a:pt x="5381712" y="3926228"/>
                </a:cubicBezTo>
                <a:cubicBezTo>
                  <a:pt x="5383645" y="3926228"/>
                  <a:pt x="5383645" y="3928164"/>
                  <a:pt x="5385581" y="3930097"/>
                </a:cubicBezTo>
                <a:cubicBezTo>
                  <a:pt x="5389449" y="3930097"/>
                  <a:pt x="5393317" y="3928164"/>
                  <a:pt x="5399121" y="3928164"/>
                </a:cubicBezTo>
                <a:cubicBezTo>
                  <a:pt x="5397185" y="3928164"/>
                  <a:pt x="5395252" y="3926228"/>
                  <a:pt x="5393317" y="3924295"/>
                </a:cubicBezTo>
                <a:close/>
                <a:moveTo>
                  <a:pt x="5492736" y="3920206"/>
                </a:moveTo>
                <a:lnTo>
                  <a:pt x="5495825" y="3920427"/>
                </a:lnTo>
                <a:lnTo>
                  <a:pt x="5496049" y="3922450"/>
                </a:lnTo>
                <a:lnTo>
                  <a:pt x="5495825" y="3922360"/>
                </a:lnTo>
                <a:cubicBezTo>
                  <a:pt x="5495825" y="3922360"/>
                  <a:pt x="5495825" y="3922360"/>
                  <a:pt x="5493889" y="3922360"/>
                </a:cubicBezTo>
                <a:close/>
                <a:moveTo>
                  <a:pt x="5368175" y="3914624"/>
                </a:moveTo>
                <a:lnTo>
                  <a:pt x="5367745" y="3915053"/>
                </a:lnTo>
                <a:lnTo>
                  <a:pt x="5327559" y="3922360"/>
                </a:lnTo>
                <a:cubicBezTo>
                  <a:pt x="5331427" y="3924295"/>
                  <a:pt x="5335293" y="3924295"/>
                  <a:pt x="5339162" y="3920427"/>
                </a:cubicBezTo>
                <a:cubicBezTo>
                  <a:pt x="5339162" y="3920427"/>
                  <a:pt x="5341097" y="3920427"/>
                  <a:pt x="5341097" y="3920427"/>
                </a:cubicBezTo>
                <a:cubicBezTo>
                  <a:pt x="5343030" y="3920427"/>
                  <a:pt x="5343030" y="3920427"/>
                  <a:pt x="5343030" y="3920427"/>
                </a:cubicBezTo>
                <a:cubicBezTo>
                  <a:pt x="5348833" y="3920427"/>
                  <a:pt x="5356570" y="3918492"/>
                  <a:pt x="5364306" y="3918492"/>
                </a:cubicBezTo>
                <a:lnTo>
                  <a:pt x="5367745" y="3915053"/>
                </a:lnTo>
                <a:lnTo>
                  <a:pt x="5370108" y="3914624"/>
                </a:lnTo>
                <a:cubicBezTo>
                  <a:pt x="5370108" y="3914624"/>
                  <a:pt x="5370108" y="3914624"/>
                  <a:pt x="5368175" y="3914624"/>
                </a:cubicBezTo>
                <a:close/>
                <a:moveTo>
                  <a:pt x="5503561" y="3899153"/>
                </a:moveTo>
                <a:cubicBezTo>
                  <a:pt x="5503561" y="3899153"/>
                  <a:pt x="5503561" y="3901086"/>
                  <a:pt x="5503561" y="3901086"/>
                </a:cubicBezTo>
                <a:cubicBezTo>
                  <a:pt x="5503561" y="3901086"/>
                  <a:pt x="5505497" y="3899153"/>
                  <a:pt x="5507430" y="3899153"/>
                </a:cubicBezTo>
                <a:cubicBezTo>
                  <a:pt x="5507430" y="3899153"/>
                  <a:pt x="5505497" y="3899153"/>
                  <a:pt x="5505497" y="3899153"/>
                </a:cubicBezTo>
                <a:cubicBezTo>
                  <a:pt x="5505497" y="3899153"/>
                  <a:pt x="5503561" y="3899153"/>
                  <a:pt x="5503561" y="3899153"/>
                </a:cubicBezTo>
                <a:close/>
                <a:moveTo>
                  <a:pt x="5549980" y="3897218"/>
                </a:moveTo>
                <a:cubicBezTo>
                  <a:pt x="5546112" y="3897218"/>
                  <a:pt x="5542244" y="3897218"/>
                  <a:pt x="5538376" y="3899153"/>
                </a:cubicBezTo>
                <a:cubicBezTo>
                  <a:pt x="5536440" y="3901086"/>
                  <a:pt x="5532572" y="3901086"/>
                  <a:pt x="5530639" y="3903019"/>
                </a:cubicBezTo>
                <a:cubicBezTo>
                  <a:pt x="5528704" y="3903019"/>
                  <a:pt x="5528704" y="3904954"/>
                  <a:pt x="5526771" y="3906887"/>
                </a:cubicBezTo>
                <a:cubicBezTo>
                  <a:pt x="5519034" y="3906887"/>
                  <a:pt x="5511298" y="3906887"/>
                  <a:pt x="5505497" y="3901086"/>
                </a:cubicBezTo>
                <a:cubicBezTo>
                  <a:pt x="5501628" y="3908822"/>
                  <a:pt x="5493889" y="3912691"/>
                  <a:pt x="5484220" y="3910755"/>
                </a:cubicBezTo>
                <a:cubicBezTo>
                  <a:pt x="5480352" y="3910755"/>
                  <a:pt x="5478419" y="3910755"/>
                  <a:pt x="5476483" y="3910755"/>
                </a:cubicBezTo>
                <a:cubicBezTo>
                  <a:pt x="5461010" y="3914624"/>
                  <a:pt x="5445537" y="3912691"/>
                  <a:pt x="5430064" y="3910755"/>
                </a:cubicBezTo>
                <a:cubicBezTo>
                  <a:pt x="5428131" y="3912691"/>
                  <a:pt x="5428131" y="3912691"/>
                  <a:pt x="5428131" y="3912691"/>
                </a:cubicBezTo>
                <a:cubicBezTo>
                  <a:pt x="5424263" y="3918492"/>
                  <a:pt x="5416527" y="3918492"/>
                  <a:pt x="5410723" y="3920427"/>
                </a:cubicBezTo>
                <a:cubicBezTo>
                  <a:pt x="5412658" y="3920427"/>
                  <a:pt x="5414594" y="3922360"/>
                  <a:pt x="5416527" y="3924295"/>
                </a:cubicBezTo>
                <a:cubicBezTo>
                  <a:pt x="5418462" y="3924295"/>
                  <a:pt x="5422328" y="3924295"/>
                  <a:pt x="5424263" y="3924295"/>
                </a:cubicBezTo>
                <a:cubicBezTo>
                  <a:pt x="5428131" y="3922360"/>
                  <a:pt x="5433933" y="3922360"/>
                  <a:pt x="5437803" y="3920427"/>
                </a:cubicBezTo>
                <a:cubicBezTo>
                  <a:pt x="5451341" y="3916559"/>
                  <a:pt x="5466814" y="3916559"/>
                  <a:pt x="5482287" y="3914624"/>
                </a:cubicBezTo>
                <a:cubicBezTo>
                  <a:pt x="5486154" y="3913657"/>
                  <a:pt x="5488572" y="3914141"/>
                  <a:pt x="5490264" y="3915592"/>
                </a:cubicBezTo>
                <a:lnTo>
                  <a:pt x="5492736" y="3920206"/>
                </a:lnTo>
                <a:lnTo>
                  <a:pt x="5482287" y="3919460"/>
                </a:lnTo>
                <a:cubicBezTo>
                  <a:pt x="5477935" y="3919943"/>
                  <a:pt x="5473583" y="3921394"/>
                  <a:pt x="5468747" y="3924295"/>
                </a:cubicBezTo>
                <a:cubicBezTo>
                  <a:pt x="5464879" y="3928164"/>
                  <a:pt x="5457142" y="3928164"/>
                  <a:pt x="5451341" y="3930097"/>
                </a:cubicBezTo>
                <a:cubicBezTo>
                  <a:pt x="5461010" y="3930097"/>
                  <a:pt x="5468747" y="3930097"/>
                  <a:pt x="5476483" y="3930097"/>
                </a:cubicBezTo>
                <a:cubicBezTo>
                  <a:pt x="5482287" y="3928164"/>
                  <a:pt x="5488088" y="3928164"/>
                  <a:pt x="5493889" y="3926228"/>
                </a:cubicBezTo>
                <a:cubicBezTo>
                  <a:pt x="5495823" y="3926228"/>
                  <a:pt x="5496307" y="3925745"/>
                  <a:pt x="5496308" y="3924778"/>
                </a:cubicBezTo>
                <a:lnTo>
                  <a:pt x="5496049" y="3922450"/>
                </a:lnTo>
                <a:lnTo>
                  <a:pt x="5505497" y="3926228"/>
                </a:lnTo>
                <a:cubicBezTo>
                  <a:pt x="5519034" y="3910755"/>
                  <a:pt x="5536440" y="3910755"/>
                  <a:pt x="5555781" y="3916559"/>
                </a:cubicBezTo>
                <a:cubicBezTo>
                  <a:pt x="5553849" y="3918492"/>
                  <a:pt x="5551913" y="3918492"/>
                  <a:pt x="5549980" y="3920427"/>
                </a:cubicBezTo>
                <a:cubicBezTo>
                  <a:pt x="5567386" y="3920427"/>
                  <a:pt x="5582859" y="3920427"/>
                  <a:pt x="5598332" y="3918492"/>
                </a:cubicBezTo>
                <a:cubicBezTo>
                  <a:pt x="5600265" y="3916559"/>
                  <a:pt x="5604133" y="3914624"/>
                  <a:pt x="5608002" y="3912691"/>
                </a:cubicBezTo>
                <a:cubicBezTo>
                  <a:pt x="5594464" y="3903019"/>
                  <a:pt x="5582859" y="3916559"/>
                  <a:pt x="5573190" y="3912691"/>
                </a:cubicBezTo>
                <a:cubicBezTo>
                  <a:pt x="5575123" y="3908822"/>
                  <a:pt x="5577056" y="3904954"/>
                  <a:pt x="5578991" y="3903019"/>
                </a:cubicBezTo>
                <a:cubicBezTo>
                  <a:pt x="5577056" y="3904954"/>
                  <a:pt x="5575123" y="3904954"/>
                  <a:pt x="5573190" y="3904954"/>
                </a:cubicBezTo>
                <a:cubicBezTo>
                  <a:pt x="5569322" y="3904954"/>
                  <a:pt x="5567386" y="3904954"/>
                  <a:pt x="5565453" y="3901086"/>
                </a:cubicBezTo>
                <a:cubicBezTo>
                  <a:pt x="5565453" y="3899153"/>
                  <a:pt x="5563518" y="3899153"/>
                  <a:pt x="5563518" y="3897218"/>
                </a:cubicBezTo>
                <a:cubicBezTo>
                  <a:pt x="5559650" y="3897218"/>
                  <a:pt x="5555781" y="3897218"/>
                  <a:pt x="5551913" y="3897218"/>
                </a:cubicBezTo>
                <a:cubicBezTo>
                  <a:pt x="5551913" y="3897218"/>
                  <a:pt x="5549980" y="3897218"/>
                  <a:pt x="5549980" y="3897218"/>
                </a:cubicBezTo>
                <a:close/>
                <a:moveTo>
                  <a:pt x="5604133" y="3885613"/>
                </a:moveTo>
                <a:cubicBezTo>
                  <a:pt x="5600265" y="3885613"/>
                  <a:pt x="5594464" y="3887548"/>
                  <a:pt x="5590596" y="3887548"/>
                </a:cubicBezTo>
                <a:cubicBezTo>
                  <a:pt x="5582859" y="3887548"/>
                  <a:pt x="5580924" y="3891414"/>
                  <a:pt x="5577056" y="3897218"/>
                </a:cubicBezTo>
                <a:cubicBezTo>
                  <a:pt x="5578991" y="3899153"/>
                  <a:pt x="5580924" y="3899153"/>
                  <a:pt x="5582859" y="3901086"/>
                </a:cubicBezTo>
                <a:cubicBezTo>
                  <a:pt x="5586728" y="3899153"/>
                  <a:pt x="5590596" y="3897218"/>
                  <a:pt x="5602201" y="3895282"/>
                </a:cubicBezTo>
                <a:cubicBezTo>
                  <a:pt x="5613805" y="3891414"/>
                  <a:pt x="5621542" y="3895282"/>
                  <a:pt x="5629278" y="3903019"/>
                </a:cubicBezTo>
                <a:cubicBezTo>
                  <a:pt x="5633147" y="3901086"/>
                  <a:pt x="5638948" y="3897218"/>
                  <a:pt x="5642816" y="3895282"/>
                </a:cubicBezTo>
                <a:cubicBezTo>
                  <a:pt x="5638948" y="3893349"/>
                  <a:pt x="5635080" y="3893349"/>
                  <a:pt x="5631211" y="3891414"/>
                </a:cubicBezTo>
                <a:cubicBezTo>
                  <a:pt x="5629278" y="3891414"/>
                  <a:pt x="5627343" y="3889481"/>
                  <a:pt x="5625410" y="3889481"/>
                </a:cubicBezTo>
                <a:cubicBezTo>
                  <a:pt x="5621542" y="3889481"/>
                  <a:pt x="5619607" y="3889481"/>
                  <a:pt x="5617674" y="3889481"/>
                </a:cubicBezTo>
                <a:cubicBezTo>
                  <a:pt x="5617674" y="3887548"/>
                  <a:pt x="5619607" y="3887548"/>
                  <a:pt x="5619607" y="3887548"/>
                </a:cubicBezTo>
                <a:cubicBezTo>
                  <a:pt x="5615738" y="3887548"/>
                  <a:pt x="5609937" y="3887548"/>
                  <a:pt x="5604133" y="3885613"/>
                </a:cubicBezTo>
                <a:close/>
                <a:moveTo>
                  <a:pt x="5228918" y="3870140"/>
                </a:moveTo>
                <a:cubicBezTo>
                  <a:pt x="5225052" y="3870140"/>
                  <a:pt x="5223116" y="3870140"/>
                  <a:pt x="5219248" y="3872075"/>
                </a:cubicBezTo>
                <a:cubicBezTo>
                  <a:pt x="5221183" y="3872075"/>
                  <a:pt x="5221183" y="3872075"/>
                  <a:pt x="5221183" y="3872075"/>
                </a:cubicBezTo>
                <a:cubicBezTo>
                  <a:pt x="5223116" y="3872075"/>
                  <a:pt x="5226985" y="3870140"/>
                  <a:pt x="5228918" y="3870140"/>
                </a:cubicBezTo>
                <a:close/>
                <a:moveTo>
                  <a:pt x="5443604" y="3862403"/>
                </a:moveTo>
                <a:cubicBezTo>
                  <a:pt x="5441669" y="3864339"/>
                  <a:pt x="5441669" y="3864339"/>
                  <a:pt x="5441669" y="3864339"/>
                </a:cubicBezTo>
                <a:cubicBezTo>
                  <a:pt x="5443604" y="3864339"/>
                  <a:pt x="5443604" y="3864339"/>
                  <a:pt x="5445537" y="3864339"/>
                </a:cubicBezTo>
                <a:cubicBezTo>
                  <a:pt x="5445537" y="3864339"/>
                  <a:pt x="5443604" y="3864339"/>
                  <a:pt x="5443604" y="3862403"/>
                </a:cubicBezTo>
                <a:close/>
                <a:moveTo>
                  <a:pt x="5478177" y="3853701"/>
                </a:moveTo>
                <a:cubicBezTo>
                  <a:pt x="5473100" y="3854184"/>
                  <a:pt x="5467781" y="3855635"/>
                  <a:pt x="5461010" y="3858535"/>
                </a:cubicBezTo>
                <a:cubicBezTo>
                  <a:pt x="5464879" y="3858535"/>
                  <a:pt x="5470680" y="3858535"/>
                  <a:pt x="5474551" y="3858535"/>
                </a:cubicBezTo>
                <a:cubicBezTo>
                  <a:pt x="5480352" y="3856602"/>
                  <a:pt x="5488088" y="3856602"/>
                  <a:pt x="5493889" y="3854667"/>
                </a:cubicBezTo>
                <a:cubicBezTo>
                  <a:pt x="5488088" y="3853700"/>
                  <a:pt x="5483254" y="3853217"/>
                  <a:pt x="5478177" y="3853701"/>
                </a:cubicBezTo>
                <a:close/>
                <a:moveTo>
                  <a:pt x="5422328" y="3848866"/>
                </a:moveTo>
                <a:cubicBezTo>
                  <a:pt x="5422328" y="3850798"/>
                  <a:pt x="5422328" y="3848866"/>
                  <a:pt x="5424263" y="3848866"/>
                </a:cubicBezTo>
                <a:cubicBezTo>
                  <a:pt x="5424263" y="3848866"/>
                  <a:pt x="5424263" y="3850798"/>
                  <a:pt x="5424263" y="3850798"/>
                </a:cubicBezTo>
                <a:cubicBezTo>
                  <a:pt x="5424263" y="3850798"/>
                  <a:pt x="5422328" y="3850798"/>
                  <a:pt x="5422328" y="3848866"/>
                </a:cubicBezTo>
                <a:close/>
                <a:moveTo>
                  <a:pt x="5399121" y="3844997"/>
                </a:moveTo>
                <a:cubicBezTo>
                  <a:pt x="5395252" y="3844997"/>
                  <a:pt x="5389449" y="3846930"/>
                  <a:pt x="5385581" y="3846930"/>
                </a:cubicBezTo>
                <a:cubicBezTo>
                  <a:pt x="5366239" y="3850798"/>
                  <a:pt x="5344965" y="3850798"/>
                  <a:pt x="5327559" y="3860470"/>
                </a:cubicBezTo>
                <a:cubicBezTo>
                  <a:pt x="5323689" y="3862403"/>
                  <a:pt x="5321756" y="3862403"/>
                  <a:pt x="5317887" y="3862403"/>
                </a:cubicBezTo>
                <a:cubicBezTo>
                  <a:pt x="5315952" y="3862403"/>
                  <a:pt x="5312086" y="3856602"/>
                  <a:pt x="5314019" y="3852734"/>
                </a:cubicBezTo>
                <a:cubicBezTo>
                  <a:pt x="5314019" y="3850798"/>
                  <a:pt x="5315952" y="3850798"/>
                  <a:pt x="5315952" y="3848866"/>
                </a:cubicBezTo>
                <a:cubicBezTo>
                  <a:pt x="5315952" y="3848866"/>
                  <a:pt x="5314019" y="3848866"/>
                  <a:pt x="5314019" y="3848866"/>
                </a:cubicBezTo>
                <a:cubicBezTo>
                  <a:pt x="5304350" y="3848866"/>
                  <a:pt x="5292745" y="3852734"/>
                  <a:pt x="5283073" y="3854667"/>
                </a:cubicBezTo>
                <a:cubicBezTo>
                  <a:pt x="5273404" y="3856602"/>
                  <a:pt x="5265667" y="3860470"/>
                  <a:pt x="5255995" y="3862403"/>
                </a:cubicBezTo>
                <a:cubicBezTo>
                  <a:pt x="5250194" y="3870140"/>
                  <a:pt x="5250194" y="3872075"/>
                  <a:pt x="5236654" y="3872075"/>
                </a:cubicBezTo>
                <a:cubicBezTo>
                  <a:pt x="5226985" y="3875943"/>
                  <a:pt x="5211512" y="3879812"/>
                  <a:pt x="5184434" y="3885613"/>
                </a:cubicBezTo>
                <a:cubicBezTo>
                  <a:pt x="5184434" y="3885613"/>
                  <a:pt x="5182501" y="3885613"/>
                  <a:pt x="5180566" y="3885613"/>
                </a:cubicBezTo>
                <a:cubicBezTo>
                  <a:pt x="5172829" y="3889481"/>
                  <a:pt x="5163160" y="3889481"/>
                  <a:pt x="5155423" y="3891414"/>
                </a:cubicBezTo>
                <a:cubicBezTo>
                  <a:pt x="5153488" y="3891414"/>
                  <a:pt x="5149620" y="3893349"/>
                  <a:pt x="5147687" y="3893349"/>
                </a:cubicBezTo>
                <a:cubicBezTo>
                  <a:pt x="5151555" y="3895282"/>
                  <a:pt x="5153488" y="3895282"/>
                  <a:pt x="5155423" y="3897218"/>
                </a:cubicBezTo>
                <a:cubicBezTo>
                  <a:pt x="5151555" y="3899153"/>
                  <a:pt x="5149620" y="3903019"/>
                  <a:pt x="5145751" y="3904954"/>
                </a:cubicBezTo>
                <a:cubicBezTo>
                  <a:pt x="5147687" y="3908822"/>
                  <a:pt x="5151555" y="3906887"/>
                  <a:pt x="5155423" y="3906887"/>
                </a:cubicBezTo>
                <a:cubicBezTo>
                  <a:pt x="5155423" y="3906887"/>
                  <a:pt x="5153488" y="3908822"/>
                  <a:pt x="5153488" y="3908822"/>
                </a:cubicBezTo>
                <a:cubicBezTo>
                  <a:pt x="5143818" y="3912691"/>
                  <a:pt x="5134149" y="3916559"/>
                  <a:pt x="5124477" y="3918492"/>
                </a:cubicBezTo>
                <a:cubicBezTo>
                  <a:pt x="5114808" y="3920427"/>
                  <a:pt x="5105136" y="3922360"/>
                  <a:pt x="5097399" y="3926228"/>
                </a:cubicBezTo>
                <a:cubicBezTo>
                  <a:pt x="5109004" y="3932032"/>
                  <a:pt x="5120609" y="3930097"/>
                  <a:pt x="5132214" y="3926228"/>
                </a:cubicBezTo>
                <a:cubicBezTo>
                  <a:pt x="5139950" y="3924295"/>
                  <a:pt x="5139950" y="3924295"/>
                  <a:pt x="5147687" y="3928164"/>
                </a:cubicBezTo>
                <a:lnTo>
                  <a:pt x="5146929" y="3928488"/>
                </a:lnTo>
                <a:lnTo>
                  <a:pt x="5137774" y="3929131"/>
                </a:lnTo>
                <a:cubicBezTo>
                  <a:pt x="5133664" y="3930098"/>
                  <a:pt x="5129312" y="3932032"/>
                  <a:pt x="5122542" y="3935900"/>
                </a:cubicBezTo>
                <a:lnTo>
                  <a:pt x="5124475" y="3935900"/>
                </a:lnTo>
                <a:lnTo>
                  <a:pt x="5109004" y="3939768"/>
                </a:lnTo>
                <a:lnTo>
                  <a:pt x="5108290" y="3941911"/>
                </a:lnTo>
                <a:lnTo>
                  <a:pt x="5088581" y="3945339"/>
                </a:lnTo>
                <a:lnTo>
                  <a:pt x="5087730" y="3943637"/>
                </a:lnTo>
                <a:lnTo>
                  <a:pt x="5069255" y="3945483"/>
                </a:lnTo>
                <a:lnTo>
                  <a:pt x="5066453" y="3941701"/>
                </a:lnTo>
                <a:cubicBezTo>
                  <a:pt x="5066453" y="3943637"/>
                  <a:pt x="5066453" y="3943637"/>
                  <a:pt x="5066453" y="3943637"/>
                </a:cubicBezTo>
                <a:cubicBezTo>
                  <a:pt x="5066453" y="3943637"/>
                  <a:pt x="5068389" y="3945570"/>
                  <a:pt x="5068389" y="3945570"/>
                </a:cubicBezTo>
                <a:lnTo>
                  <a:pt x="5069255" y="3945483"/>
                </a:lnTo>
                <a:lnTo>
                  <a:pt x="5071290" y="3948230"/>
                </a:lnTo>
                <a:cubicBezTo>
                  <a:pt x="5072741" y="3948955"/>
                  <a:pt x="5074191" y="3948472"/>
                  <a:pt x="5076125" y="3947505"/>
                </a:cubicBezTo>
                <a:lnTo>
                  <a:pt x="5088581" y="3945339"/>
                </a:lnTo>
                <a:lnTo>
                  <a:pt x="5091598" y="3951373"/>
                </a:lnTo>
                <a:cubicBezTo>
                  <a:pt x="5097399" y="3951373"/>
                  <a:pt x="5101268" y="3949438"/>
                  <a:pt x="5107071" y="3947505"/>
                </a:cubicBezTo>
                <a:cubicBezTo>
                  <a:pt x="5110939" y="3945570"/>
                  <a:pt x="5116741" y="3945570"/>
                  <a:pt x="5120609" y="3947505"/>
                </a:cubicBezTo>
                <a:cubicBezTo>
                  <a:pt x="5120609" y="3947505"/>
                  <a:pt x="5120609" y="3945570"/>
                  <a:pt x="5120609" y="3945570"/>
                </a:cubicBezTo>
                <a:cubicBezTo>
                  <a:pt x="5116741" y="3945570"/>
                  <a:pt x="5110939" y="3945570"/>
                  <a:pt x="5107071" y="3945570"/>
                </a:cubicBezTo>
                <a:lnTo>
                  <a:pt x="5108290" y="3941911"/>
                </a:lnTo>
                <a:lnTo>
                  <a:pt x="5120609" y="3939768"/>
                </a:lnTo>
                <a:lnTo>
                  <a:pt x="5146929" y="3928488"/>
                </a:lnTo>
                <a:lnTo>
                  <a:pt x="5151555" y="3928164"/>
                </a:lnTo>
                <a:cubicBezTo>
                  <a:pt x="5161224" y="3926228"/>
                  <a:pt x="5168961" y="3924295"/>
                  <a:pt x="5176697" y="3922360"/>
                </a:cubicBezTo>
                <a:cubicBezTo>
                  <a:pt x="5174764" y="3922360"/>
                  <a:pt x="5170896" y="3920427"/>
                  <a:pt x="5167028" y="3918492"/>
                </a:cubicBezTo>
                <a:cubicBezTo>
                  <a:pt x="5178633" y="3912691"/>
                  <a:pt x="5188302" y="3910755"/>
                  <a:pt x="5197974" y="3908822"/>
                </a:cubicBezTo>
                <a:cubicBezTo>
                  <a:pt x="5199907" y="3906887"/>
                  <a:pt x="5201842" y="3908822"/>
                  <a:pt x="5203775" y="3908822"/>
                </a:cubicBezTo>
                <a:cubicBezTo>
                  <a:pt x="5211512" y="3914624"/>
                  <a:pt x="5217315" y="3912691"/>
                  <a:pt x="5225052" y="3908822"/>
                </a:cubicBezTo>
                <a:cubicBezTo>
                  <a:pt x="5232786" y="3903019"/>
                  <a:pt x="5242458" y="3903019"/>
                  <a:pt x="5252127" y="3903019"/>
                </a:cubicBezTo>
                <a:cubicBezTo>
                  <a:pt x="5254062" y="3903019"/>
                  <a:pt x="5254062" y="3903019"/>
                  <a:pt x="5255995" y="3903019"/>
                </a:cubicBezTo>
                <a:cubicBezTo>
                  <a:pt x="5257931" y="3901086"/>
                  <a:pt x="5259864" y="3901086"/>
                  <a:pt x="5261799" y="3901086"/>
                </a:cubicBezTo>
                <a:cubicBezTo>
                  <a:pt x="5277270" y="3897218"/>
                  <a:pt x="5294678" y="3893349"/>
                  <a:pt x="5310151" y="3889481"/>
                </a:cubicBezTo>
                <a:cubicBezTo>
                  <a:pt x="5310151" y="3889481"/>
                  <a:pt x="5310151" y="3887548"/>
                  <a:pt x="5310151" y="3887548"/>
                </a:cubicBezTo>
                <a:cubicBezTo>
                  <a:pt x="5310151" y="3887548"/>
                  <a:pt x="5312086" y="3885613"/>
                  <a:pt x="5312086" y="3885613"/>
                </a:cubicBezTo>
                <a:cubicBezTo>
                  <a:pt x="5315952" y="3885613"/>
                  <a:pt x="5321756" y="3885613"/>
                  <a:pt x="5327559" y="3885613"/>
                </a:cubicBezTo>
                <a:cubicBezTo>
                  <a:pt x="5335293" y="3883677"/>
                  <a:pt x="5344965" y="3881745"/>
                  <a:pt x="5352702" y="3879812"/>
                </a:cubicBezTo>
                <a:cubicBezTo>
                  <a:pt x="5354635" y="3879812"/>
                  <a:pt x="5354635" y="3877876"/>
                  <a:pt x="5356570" y="3877876"/>
                </a:cubicBezTo>
                <a:cubicBezTo>
                  <a:pt x="5362371" y="3875943"/>
                  <a:pt x="5370108" y="3874008"/>
                  <a:pt x="5377844" y="3874008"/>
                </a:cubicBezTo>
                <a:cubicBezTo>
                  <a:pt x="5383645" y="3872075"/>
                  <a:pt x="5389449" y="3872075"/>
                  <a:pt x="5395252" y="3872075"/>
                </a:cubicBezTo>
                <a:cubicBezTo>
                  <a:pt x="5402987" y="3868207"/>
                  <a:pt x="5410723" y="3864339"/>
                  <a:pt x="5418462" y="3862403"/>
                </a:cubicBezTo>
                <a:cubicBezTo>
                  <a:pt x="5424263" y="3862403"/>
                  <a:pt x="5428131" y="3860470"/>
                  <a:pt x="5432000" y="3860470"/>
                </a:cubicBezTo>
                <a:cubicBezTo>
                  <a:pt x="5432000" y="3860470"/>
                  <a:pt x="5432000" y="3858535"/>
                  <a:pt x="5432000" y="3856602"/>
                </a:cubicBezTo>
                <a:cubicBezTo>
                  <a:pt x="5432000" y="3856602"/>
                  <a:pt x="5435868" y="3854667"/>
                  <a:pt x="5437803" y="3854667"/>
                </a:cubicBezTo>
                <a:cubicBezTo>
                  <a:pt x="5445537" y="3852734"/>
                  <a:pt x="5453274" y="3852734"/>
                  <a:pt x="5461010" y="3852734"/>
                </a:cubicBezTo>
                <a:cubicBezTo>
                  <a:pt x="5461010" y="3850798"/>
                  <a:pt x="5459078" y="3848866"/>
                  <a:pt x="5459078" y="3844997"/>
                </a:cubicBezTo>
                <a:cubicBezTo>
                  <a:pt x="5455209" y="3844997"/>
                  <a:pt x="5453274" y="3846930"/>
                  <a:pt x="5451341" y="3846930"/>
                </a:cubicBezTo>
                <a:cubicBezTo>
                  <a:pt x="5439736" y="3850798"/>
                  <a:pt x="5428131" y="3852734"/>
                  <a:pt x="5416527" y="3846930"/>
                </a:cubicBezTo>
                <a:cubicBezTo>
                  <a:pt x="5414594" y="3846930"/>
                  <a:pt x="5410723" y="3844997"/>
                  <a:pt x="5408790" y="3844997"/>
                </a:cubicBezTo>
                <a:cubicBezTo>
                  <a:pt x="5402987" y="3844997"/>
                  <a:pt x="5401054" y="3846930"/>
                  <a:pt x="5399121" y="3854667"/>
                </a:cubicBezTo>
                <a:cubicBezTo>
                  <a:pt x="5404922" y="3858535"/>
                  <a:pt x="5412658" y="3854667"/>
                  <a:pt x="5418462" y="3858535"/>
                </a:cubicBezTo>
                <a:cubicBezTo>
                  <a:pt x="5416527" y="3860470"/>
                  <a:pt x="5416527" y="3862403"/>
                  <a:pt x="5414594" y="3862403"/>
                </a:cubicBezTo>
                <a:cubicBezTo>
                  <a:pt x="5399121" y="3864339"/>
                  <a:pt x="5383645" y="3866272"/>
                  <a:pt x="5368175" y="3866272"/>
                </a:cubicBezTo>
                <a:cubicBezTo>
                  <a:pt x="5368175" y="3866272"/>
                  <a:pt x="5366239" y="3866272"/>
                  <a:pt x="5366239" y="3864339"/>
                </a:cubicBezTo>
                <a:cubicBezTo>
                  <a:pt x="5368175" y="3858535"/>
                  <a:pt x="5372043" y="3862403"/>
                  <a:pt x="5375911" y="3862403"/>
                </a:cubicBezTo>
                <a:cubicBezTo>
                  <a:pt x="5379779" y="3860470"/>
                  <a:pt x="5383645" y="3860470"/>
                  <a:pt x="5387514" y="3860470"/>
                </a:cubicBezTo>
                <a:cubicBezTo>
                  <a:pt x="5391384" y="3856602"/>
                  <a:pt x="5395252" y="3852734"/>
                  <a:pt x="5397185" y="3848866"/>
                </a:cubicBezTo>
                <a:cubicBezTo>
                  <a:pt x="5397185" y="3846930"/>
                  <a:pt x="5397185" y="3844997"/>
                  <a:pt x="5399121" y="3844997"/>
                </a:cubicBezTo>
                <a:close/>
                <a:moveTo>
                  <a:pt x="5491956" y="3843062"/>
                </a:moveTo>
                <a:cubicBezTo>
                  <a:pt x="5491956" y="3843062"/>
                  <a:pt x="5490021" y="3844997"/>
                  <a:pt x="5490021" y="3844997"/>
                </a:cubicBezTo>
                <a:cubicBezTo>
                  <a:pt x="5490021" y="3846930"/>
                  <a:pt x="5491956" y="3846930"/>
                  <a:pt x="5493889" y="3846930"/>
                </a:cubicBezTo>
                <a:cubicBezTo>
                  <a:pt x="5493889" y="3846930"/>
                  <a:pt x="5493889" y="3844997"/>
                  <a:pt x="5493889" y="3844997"/>
                </a:cubicBezTo>
                <a:cubicBezTo>
                  <a:pt x="5493889" y="3844997"/>
                  <a:pt x="5491956" y="3843062"/>
                  <a:pt x="5491956" y="3843062"/>
                </a:cubicBezTo>
                <a:close/>
                <a:moveTo>
                  <a:pt x="5531847" y="3842579"/>
                </a:moveTo>
                <a:cubicBezTo>
                  <a:pt x="5530639" y="3842579"/>
                  <a:pt x="5529672" y="3843063"/>
                  <a:pt x="5528704" y="3844997"/>
                </a:cubicBezTo>
                <a:cubicBezTo>
                  <a:pt x="5530639" y="3843062"/>
                  <a:pt x="5534507" y="3843062"/>
                  <a:pt x="5536440" y="3843062"/>
                </a:cubicBezTo>
                <a:cubicBezTo>
                  <a:pt x="5534506" y="3843062"/>
                  <a:pt x="5533056" y="3842579"/>
                  <a:pt x="5531847" y="3842579"/>
                </a:cubicBezTo>
                <a:close/>
                <a:moveTo>
                  <a:pt x="5281140" y="3839194"/>
                </a:moveTo>
                <a:cubicBezTo>
                  <a:pt x="5277270" y="3841129"/>
                  <a:pt x="5273404" y="3841129"/>
                  <a:pt x="5269535" y="3843062"/>
                </a:cubicBezTo>
                <a:cubicBezTo>
                  <a:pt x="5271468" y="3843062"/>
                  <a:pt x="5273404" y="3843062"/>
                  <a:pt x="5275337" y="3843062"/>
                </a:cubicBezTo>
                <a:cubicBezTo>
                  <a:pt x="5277270" y="3843062"/>
                  <a:pt x="5279205" y="3841129"/>
                  <a:pt x="5281140" y="3839194"/>
                </a:cubicBezTo>
                <a:close/>
                <a:moveTo>
                  <a:pt x="5582859" y="3837261"/>
                </a:moveTo>
                <a:cubicBezTo>
                  <a:pt x="5575123" y="3839194"/>
                  <a:pt x="5565453" y="3839194"/>
                  <a:pt x="5553849" y="3843062"/>
                </a:cubicBezTo>
                <a:cubicBezTo>
                  <a:pt x="5549980" y="3843062"/>
                  <a:pt x="5548045" y="3844997"/>
                  <a:pt x="5544177" y="3846930"/>
                </a:cubicBezTo>
                <a:cubicBezTo>
                  <a:pt x="5542244" y="3848866"/>
                  <a:pt x="5540308" y="3850798"/>
                  <a:pt x="5538376" y="3852734"/>
                </a:cubicBezTo>
                <a:cubicBezTo>
                  <a:pt x="5549980" y="3852734"/>
                  <a:pt x="5561585" y="3852734"/>
                  <a:pt x="5571255" y="3850798"/>
                </a:cubicBezTo>
                <a:cubicBezTo>
                  <a:pt x="5571255" y="3848866"/>
                  <a:pt x="5573190" y="3848866"/>
                  <a:pt x="5573190" y="3848866"/>
                </a:cubicBezTo>
                <a:cubicBezTo>
                  <a:pt x="5575123" y="3848866"/>
                  <a:pt x="5575123" y="3848866"/>
                  <a:pt x="5577056" y="3848866"/>
                </a:cubicBezTo>
                <a:cubicBezTo>
                  <a:pt x="5578991" y="3846930"/>
                  <a:pt x="5578991" y="3846930"/>
                  <a:pt x="5580924" y="3846930"/>
                </a:cubicBezTo>
                <a:cubicBezTo>
                  <a:pt x="5584795" y="3844997"/>
                  <a:pt x="5590596" y="3843062"/>
                  <a:pt x="5596397" y="3841129"/>
                </a:cubicBezTo>
                <a:cubicBezTo>
                  <a:pt x="5596397" y="3839194"/>
                  <a:pt x="5598332" y="3839194"/>
                  <a:pt x="5598332" y="3839194"/>
                </a:cubicBezTo>
                <a:cubicBezTo>
                  <a:pt x="5594464" y="3837261"/>
                  <a:pt x="5588663" y="3835325"/>
                  <a:pt x="5582859" y="3837261"/>
                </a:cubicBezTo>
                <a:close/>
                <a:moveTo>
                  <a:pt x="5480352" y="3829524"/>
                </a:moveTo>
                <a:cubicBezTo>
                  <a:pt x="5474551" y="3829524"/>
                  <a:pt x="5468747" y="3831457"/>
                  <a:pt x="5462946" y="3833393"/>
                </a:cubicBezTo>
                <a:cubicBezTo>
                  <a:pt x="5457142" y="3835325"/>
                  <a:pt x="5449406" y="3837261"/>
                  <a:pt x="5443604" y="3839194"/>
                </a:cubicBezTo>
                <a:cubicBezTo>
                  <a:pt x="5439736" y="3839194"/>
                  <a:pt x="5439736" y="3839194"/>
                  <a:pt x="5437803" y="3839194"/>
                </a:cubicBezTo>
                <a:cubicBezTo>
                  <a:pt x="5437803" y="3839194"/>
                  <a:pt x="5437803" y="3841129"/>
                  <a:pt x="5437803" y="3841129"/>
                </a:cubicBezTo>
                <a:cubicBezTo>
                  <a:pt x="5437803" y="3841129"/>
                  <a:pt x="5439736" y="3841129"/>
                  <a:pt x="5439736" y="3841129"/>
                </a:cubicBezTo>
                <a:cubicBezTo>
                  <a:pt x="5441669" y="3841129"/>
                  <a:pt x="5441669" y="3839194"/>
                  <a:pt x="5443604" y="3839194"/>
                </a:cubicBezTo>
                <a:cubicBezTo>
                  <a:pt x="5445537" y="3839194"/>
                  <a:pt x="5449406" y="3841129"/>
                  <a:pt x="5451341" y="3841129"/>
                </a:cubicBezTo>
                <a:cubicBezTo>
                  <a:pt x="5453274" y="3841129"/>
                  <a:pt x="5457142" y="3843062"/>
                  <a:pt x="5459078" y="3843062"/>
                </a:cubicBezTo>
                <a:cubicBezTo>
                  <a:pt x="5462946" y="3843062"/>
                  <a:pt x="5464879" y="3841129"/>
                  <a:pt x="5464879" y="3837261"/>
                </a:cubicBezTo>
                <a:cubicBezTo>
                  <a:pt x="5466814" y="3837261"/>
                  <a:pt x="5468747" y="3837261"/>
                  <a:pt x="5470680" y="3837261"/>
                </a:cubicBezTo>
                <a:cubicBezTo>
                  <a:pt x="5470680" y="3837261"/>
                  <a:pt x="5472615" y="3835325"/>
                  <a:pt x="5472615" y="3835325"/>
                </a:cubicBezTo>
                <a:cubicBezTo>
                  <a:pt x="5474551" y="3833393"/>
                  <a:pt x="5478419" y="3831457"/>
                  <a:pt x="5480352" y="3829524"/>
                </a:cubicBezTo>
                <a:close/>
                <a:moveTo>
                  <a:pt x="5517099" y="3827589"/>
                </a:moveTo>
                <a:cubicBezTo>
                  <a:pt x="5507430" y="3829524"/>
                  <a:pt x="5497758" y="3829524"/>
                  <a:pt x="5488088" y="3829524"/>
                </a:cubicBezTo>
                <a:cubicBezTo>
                  <a:pt x="5490021" y="3831457"/>
                  <a:pt x="5490021" y="3833393"/>
                  <a:pt x="5491956" y="3835325"/>
                </a:cubicBezTo>
                <a:cubicBezTo>
                  <a:pt x="5513231" y="3835325"/>
                  <a:pt x="5534507" y="3833393"/>
                  <a:pt x="5555781" y="3833393"/>
                </a:cubicBezTo>
                <a:cubicBezTo>
                  <a:pt x="5549980" y="3829524"/>
                  <a:pt x="5542244" y="3829524"/>
                  <a:pt x="5534507" y="3829524"/>
                </a:cubicBezTo>
                <a:cubicBezTo>
                  <a:pt x="5528704" y="3829524"/>
                  <a:pt x="5522903" y="3831457"/>
                  <a:pt x="5517099" y="3827589"/>
                </a:cubicBezTo>
                <a:close/>
                <a:moveTo>
                  <a:pt x="5613805" y="3825656"/>
                </a:moveTo>
                <a:cubicBezTo>
                  <a:pt x="5611872" y="3825656"/>
                  <a:pt x="5611872" y="3827589"/>
                  <a:pt x="5606069" y="3829524"/>
                </a:cubicBezTo>
                <a:cubicBezTo>
                  <a:pt x="5609937" y="3829524"/>
                  <a:pt x="5609937" y="3831457"/>
                  <a:pt x="5611872" y="3831457"/>
                </a:cubicBezTo>
                <a:cubicBezTo>
                  <a:pt x="5613805" y="3831457"/>
                  <a:pt x="5613805" y="3831457"/>
                  <a:pt x="5613805" y="3831457"/>
                </a:cubicBezTo>
                <a:cubicBezTo>
                  <a:pt x="5617674" y="3829524"/>
                  <a:pt x="5621542" y="3827589"/>
                  <a:pt x="5625410" y="3825656"/>
                </a:cubicBezTo>
                <a:cubicBezTo>
                  <a:pt x="5621542" y="3825656"/>
                  <a:pt x="5617674" y="3825656"/>
                  <a:pt x="5613805" y="3825656"/>
                </a:cubicBezTo>
                <a:close/>
                <a:moveTo>
                  <a:pt x="5756928" y="3815984"/>
                </a:moveTo>
                <a:cubicBezTo>
                  <a:pt x="5756928" y="3815984"/>
                  <a:pt x="5756928" y="3817919"/>
                  <a:pt x="5756928" y="3817919"/>
                </a:cubicBezTo>
                <a:cubicBezTo>
                  <a:pt x="5758864" y="3815984"/>
                  <a:pt x="5760797" y="3815984"/>
                  <a:pt x="5762732" y="3815984"/>
                </a:cubicBezTo>
                <a:cubicBezTo>
                  <a:pt x="5760797" y="3815984"/>
                  <a:pt x="5758864" y="3815984"/>
                  <a:pt x="5756928" y="3815984"/>
                </a:cubicBezTo>
                <a:close/>
                <a:moveTo>
                  <a:pt x="5548045" y="3812118"/>
                </a:moveTo>
                <a:cubicBezTo>
                  <a:pt x="5548045" y="3812118"/>
                  <a:pt x="5549980" y="3814051"/>
                  <a:pt x="5549980" y="3814051"/>
                </a:cubicBezTo>
                <a:cubicBezTo>
                  <a:pt x="5549980" y="3814051"/>
                  <a:pt x="5551913" y="3812118"/>
                  <a:pt x="5551913" y="3812118"/>
                </a:cubicBezTo>
                <a:cubicBezTo>
                  <a:pt x="5551913" y="3812118"/>
                  <a:pt x="5549980" y="3812118"/>
                  <a:pt x="5549980" y="3812118"/>
                </a:cubicBezTo>
                <a:cubicBezTo>
                  <a:pt x="5549980" y="3812118"/>
                  <a:pt x="5548045" y="3812118"/>
                  <a:pt x="5548045" y="3812118"/>
                </a:cubicBezTo>
                <a:close/>
                <a:moveTo>
                  <a:pt x="5503561" y="3798578"/>
                </a:moveTo>
                <a:cubicBezTo>
                  <a:pt x="5501628" y="3800514"/>
                  <a:pt x="5497758" y="3800514"/>
                  <a:pt x="5495825" y="3800514"/>
                </a:cubicBezTo>
                <a:cubicBezTo>
                  <a:pt x="5470680" y="3796643"/>
                  <a:pt x="5445537" y="3806315"/>
                  <a:pt x="5422328" y="3812118"/>
                </a:cubicBezTo>
                <a:cubicBezTo>
                  <a:pt x="5406855" y="3815984"/>
                  <a:pt x="5393317" y="3819852"/>
                  <a:pt x="5377844" y="3821788"/>
                </a:cubicBezTo>
                <a:cubicBezTo>
                  <a:pt x="5377844" y="3821788"/>
                  <a:pt x="5375911" y="3823721"/>
                  <a:pt x="5375911" y="3823721"/>
                </a:cubicBezTo>
                <a:cubicBezTo>
                  <a:pt x="5368175" y="3825656"/>
                  <a:pt x="5362371" y="3825656"/>
                  <a:pt x="5354635" y="3825656"/>
                </a:cubicBezTo>
                <a:cubicBezTo>
                  <a:pt x="5350766" y="3825656"/>
                  <a:pt x="5346898" y="3827589"/>
                  <a:pt x="5343030" y="3825656"/>
                </a:cubicBezTo>
                <a:cubicBezTo>
                  <a:pt x="5339162" y="3823721"/>
                  <a:pt x="5335293" y="3823721"/>
                  <a:pt x="5331427" y="3823721"/>
                </a:cubicBezTo>
                <a:cubicBezTo>
                  <a:pt x="5331427" y="3825656"/>
                  <a:pt x="5331427" y="3825656"/>
                  <a:pt x="5331427" y="3827589"/>
                </a:cubicBezTo>
                <a:cubicBezTo>
                  <a:pt x="5325624" y="3829524"/>
                  <a:pt x="5321756" y="3827589"/>
                  <a:pt x="5317887" y="3825656"/>
                </a:cubicBezTo>
                <a:cubicBezTo>
                  <a:pt x="5314019" y="3827589"/>
                  <a:pt x="5310151" y="3827589"/>
                  <a:pt x="5306283" y="3829524"/>
                </a:cubicBezTo>
                <a:cubicBezTo>
                  <a:pt x="5308218" y="3831457"/>
                  <a:pt x="5308218" y="3831457"/>
                  <a:pt x="5308218" y="3833393"/>
                </a:cubicBezTo>
                <a:cubicBezTo>
                  <a:pt x="5304350" y="3835325"/>
                  <a:pt x="5298546" y="3835325"/>
                  <a:pt x="5296611" y="3835325"/>
                </a:cubicBezTo>
                <a:cubicBezTo>
                  <a:pt x="5292745" y="3837261"/>
                  <a:pt x="5290810" y="3841129"/>
                  <a:pt x="5288877" y="3843062"/>
                </a:cubicBezTo>
                <a:cubicBezTo>
                  <a:pt x="5306283" y="3843062"/>
                  <a:pt x="5323689" y="3841129"/>
                  <a:pt x="5341097" y="3839194"/>
                </a:cubicBezTo>
                <a:cubicBezTo>
                  <a:pt x="5343030" y="3839194"/>
                  <a:pt x="5343030" y="3839194"/>
                  <a:pt x="5344965" y="3839194"/>
                </a:cubicBezTo>
                <a:cubicBezTo>
                  <a:pt x="5350766" y="3837261"/>
                  <a:pt x="5356570" y="3835325"/>
                  <a:pt x="5362371" y="3831457"/>
                </a:cubicBezTo>
                <a:cubicBezTo>
                  <a:pt x="5364306" y="3831457"/>
                  <a:pt x="5366239" y="3831457"/>
                  <a:pt x="5368175" y="3831457"/>
                </a:cubicBezTo>
                <a:cubicBezTo>
                  <a:pt x="5385581" y="3833393"/>
                  <a:pt x="5404922" y="3827589"/>
                  <a:pt x="5422328" y="3823721"/>
                </a:cubicBezTo>
                <a:cubicBezTo>
                  <a:pt x="5437803" y="3819852"/>
                  <a:pt x="5453274" y="3817919"/>
                  <a:pt x="5468747" y="3815984"/>
                </a:cubicBezTo>
                <a:cubicBezTo>
                  <a:pt x="5482287" y="3814051"/>
                  <a:pt x="5495825" y="3810183"/>
                  <a:pt x="5503561" y="3798578"/>
                </a:cubicBezTo>
                <a:close/>
                <a:moveTo>
                  <a:pt x="5410723" y="3794710"/>
                </a:moveTo>
                <a:cubicBezTo>
                  <a:pt x="5406855" y="3796643"/>
                  <a:pt x="5401054" y="3796643"/>
                  <a:pt x="5395252" y="3796643"/>
                </a:cubicBezTo>
                <a:cubicBezTo>
                  <a:pt x="5395252" y="3796643"/>
                  <a:pt x="5397185" y="3796643"/>
                  <a:pt x="5399121" y="3796643"/>
                </a:cubicBezTo>
                <a:cubicBezTo>
                  <a:pt x="5399121" y="3796643"/>
                  <a:pt x="5401054" y="3796643"/>
                  <a:pt x="5401054" y="3796643"/>
                </a:cubicBezTo>
                <a:cubicBezTo>
                  <a:pt x="5404922" y="3796643"/>
                  <a:pt x="5406855" y="3794710"/>
                  <a:pt x="5410723" y="3794710"/>
                </a:cubicBezTo>
                <a:close/>
                <a:moveTo>
                  <a:pt x="5420395" y="3786973"/>
                </a:moveTo>
                <a:cubicBezTo>
                  <a:pt x="5416527" y="3788909"/>
                  <a:pt x="5412658" y="3788909"/>
                  <a:pt x="5408790" y="3790842"/>
                </a:cubicBezTo>
                <a:cubicBezTo>
                  <a:pt x="5410723" y="3790842"/>
                  <a:pt x="5412658" y="3792777"/>
                  <a:pt x="5414594" y="3794710"/>
                </a:cubicBezTo>
                <a:cubicBezTo>
                  <a:pt x="5416527" y="3792777"/>
                  <a:pt x="5418462" y="3788909"/>
                  <a:pt x="5420395" y="3786973"/>
                </a:cubicBezTo>
                <a:close/>
                <a:moveTo>
                  <a:pt x="5542244" y="3752159"/>
                </a:moveTo>
                <a:cubicBezTo>
                  <a:pt x="5522903" y="3756027"/>
                  <a:pt x="5503561" y="3754094"/>
                  <a:pt x="5484220" y="3761831"/>
                </a:cubicBezTo>
                <a:cubicBezTo>
                  <a:pt x="5482287" y="3763764"/>
                  <a:pt x="5476483" y="3763764"/>
                  <a:pt x="5472615" y="3763764"/>
                </a:cubicBezTo>
                <a:cubicBezTo>
                  <a:pt x="5445537" y="3761831"/>
                  <a:pt x="5420395" y="3767632"/>
                  <a:pt x="5395252" y="3775369"/>
                </a:cubicBezTo>
                <a:cubicBezTo>
                  <a:pt x="5391384" y="3777304"/>
                  <a:pt x="5385581" y="3781172"/>
                  <a:pt x="5379779" y="3783105"/>
                </a:cubicBezTo>
                <a:cubicBezTo>
                  <a:pt x="5395252" y="3783105"/>
                  <a:pt x="5410723" y="3781172"/>
                  <a:pt x="5424263" y="3779237"/>
                </a:cubicBezTo>
                <a:cubicBezTo>
                  <a:pt x="5430064" y="3775369"/>
                  <a:pt x="5439736" y="3775369"/>
                  <a:pt x="5447473" y="3773436"/>
                </a:cubicBezTo>
                <a:cubicBezTo>
                  <a:pt x="5468747" y="3769567"/>
                  <a:pt x="5488088" y="3767632"/>
                  <a:pt x="5509362" y="3769567"/>
                </a:cubicBezTo>
                <a:cubicBezTo>
                  <a:pt x="5509362" y="3769567"/>
                  <a:pt x="5511298" y="3769567"/>
                  <a:pt x="5511298" y="3769567"/>
                </a:cubicBezTo>
                <a:cubicBezTo>
                  <a:pt x="5526771" y="3767632"/>
                  <a:pt x="5540308" y="3767632"/>
                  <a:pt x="5555781" y="3765699"/>
                </a:cubicBezTo>
                <a:cubicBezTo>
                  <a:pt x="5557714" y="3765699"/>
                  <a:pt x="5557714" y="3765699"/>
                  <a:pt x="5557714" y="3765699"/>
                </a:cubicBezTo>
                <a:cubicBezTo>
                  <a:pt x="5565453" y="3763764"/>
                  <a:pt x="5573190" y="3761831"/>
                  <a:pt x="5580924" y="3757963"/>
                </a:cubicBezTo>
                <a:cubicBezTo>
                  <a:pt x="5582859" y="3756027"/>
                  <a:pt x="5582859" y="3756027"/>
                  <a:pt x="5584795" y="3756027"/>
                </a:cubicBezTo>
                <a:cubicBezTo>
                  <a:pt x="5571255" y="3754094"/>
                  <a:pt x="5557714" y="3754094"/>
                  <a:pt x="5542244" y="3752159"/>
                </a:cubicBezTo>
                <a:close/>
                <a:moveTo>
                  <a:pt x="5453274" y="3744423"/>
                </a:moveTo>
                <a:cubicBezTo>
                  <a:pt x="5447473" y="3742490"/>
                  <a:pt x="5441669" y="3746358"/>
                  <a:pt x="5435868" y="3748291"/>
                </a:cubicBezTo>
                <a:cubicBezTo>
                  <a:pt x="5437803" y="3748291"/>
                  <a:pt x="5441669" y="3746358"/>
                  <a:pt x="5443604" y="3746358"/>
                </a:cubicBezTo>
                <a:cubicBezTo>
                  <a:pt x="5447473" y="3746358"/>
                  <a:pt x="5449406" y="3748291"/>
                  <a:pt x="5453274" y="3748291"/>
                </a:cubicBezTo>
                <a:cubicBezTo>
                  <a:pt x="5453274" y="3746358"/>
                  <a:pt x="5453274" y="3746358"/>
                  <a:pt x="5453274" y="3744423"/>
                </a:cubicBezTo>
                <a:close/>
                <a:moveTo>
                  <a:pt x="5457142" y="3727017"/>
                </a:moveTo>
                <a:cubicBezTo>
                  <a:pt x="5451341" y="3728950"/>
                  <a:pt x="5443604" y="3730885"/>
                  <a:pt x="5435868" y="3732818"/>
                </a:cubicBezTo>
                <a:cubicBezTo>
                  <a:pt x="5430064" y="3734753"/>
                  <a:pt x="5424263" y="3734753"/>
                  <a:pt x="5418462" y="3736686"/>
                </a:cubicBezTo>
                <a:cubicBezTo>
                  <a:pt x="5410723" y="3738621"/>
                  <a:pt x="5401054" y="3740554"/>
                  <a:pt x="5393317" y="3744423"/>
                </a:cubicBezTo>
                <a:cubicBezTo>
                  <a:pt x="5397185" y="3744423"/>
                  <a:pt x="5402987" y="3744423"/>
                  <a:pt x="5406855" y="3744423"/>
                </a:cubicBezTo>
                <a:cubicBezTo>
                  <a:pt x="5416527" y="3742490"/>
                  <a:pt x="5424263" y="3740554"/>
                  <a:pt x="5433933" y="3742490"/>
                </a:cubicBezTo>
                <a:cubicBezTo>
                  <a:pt x="5433933" y="3742490"/>
                  <a:pt x="5435868" y="3742490"/>
                  <a:pt x="5435868" y="3742490"/>
                </a:cubicBezTo>
                <a:cubicBezTo>
                  <a:pt x="5435868" y="3738621"/>
                  <a:pt x="5437803" y="3738621"/>
                  <a:pt x="5439736" y="3738621"/>
                </a:cubicBezTo>
                <a:cubicBezTo>
                  <a:pt x="5449406" y="3734753"/>
                  <a:pt x="5461010" y="3732818"/>
                  <a:pt x="5470680" y="3730885"/>
                </a:cubicBezTo>
                <a:cubicBezTo>
                  <a:pt x="5470680" y="3728950"/>
                  <a:pt x="5470680" y="3728950"/>
                  <a:pt x="5470680" y="3728950"/>
                </a:cubicBezTo>
                <a:cubicBezTo>
                  <a:pt x="5470680" y="3728950"/>
                  <a:pt x="5468747" y="3727017"/>
                  <a:pt x="5466814" y="3727017"/>
                </a:cubicBezTo>
                <a:cubicBezTo>
                  <a:pt x="5462946" y="3728950"/>
                  <a:pt x="5461010" y="3727017"/>
                  <a:pt x="5457142" y="3727017"/>
                </a:cubicBezTo>
                <a:close/>
                <a:moveTo>
                  <a:pt x="5511298" y="3651587"/>
                </a:moveTo>
                <a:cubicBezTo>
                  <a:pt x="5511298" y="3653520"/>
                  <a:pt x="5511298" y="3653520"/>
                  <a:pt x="5511298" y="3655455"/>
                </a:cubicBezTo>
                <a:cubicBezTo>
                  <a:pt x="5511298" y="3655455"/>
                  <a:pt x="5513231" y="3655455"/>
                  <a:pt x="5513231" y="3655455"/>
                </a:cubicBezTo>
                <a:cubicBezTo>
                  <a:pt x="5515166" y="3653520"/>
                  <a:pt x="5515166" y="3653520"/>
                  <a:pt x="5515166" y="3651587"/>
                </a:cubicBezTo>
                <a:cubicBezTo>
                  <a:pt x="5513231" y="3651587"/>
                  <a:pt x="5511298" y="3651587"/>
                  <a:pt x="5511298" y="3651587"/>
                </a:cubicBezTo>
                <a:close/>
                <a:moveTo>
                  <a:pt x="5627343" y="3614840"/>
                </a:moveTo>
                <a:cubicBezTo>
                  <a:pt x="5633147" y="3618708"/>
                  <a:pt x="5637015" y="3616773"/>
                  <a:pt x="5642816" y="3614840"/>
                </a:cubicBezTo>
                <a:cubicBezTo>
                  <a:pt x="5638948" y="3614840"/>
                  <a:pt x="5637015" y="3614840"/>
                  <a:pt x="5633147" y="3614840"/>
                </a:cubicBezTo>
                <a:cubicBezTo>
                  <a:pt x="5633147" y="3614840"/>
                  <a:pt x="5631211" y="3614840"/>
                  <a:pt x="5631211" y="3614840"/>
                </a:cubicBezTo>
                <a:cubicBezTo>
                  <a:pt x="5629278" y="3614840"/>
                  <a:pt x="5627343" y="3614840"/>
                  <a:pt x="5627343" y="3614840"/>
                </a:cubicBezTo>
                <a:close/>
                <a:moveTo>
                  <a:pt x="5967745" y="3345999"/>
                </a:moveTo>
                <a:cubicBezTo>
                  <a:pt x="5967745" y="3345999"/>
                  <a:pt x="5967745" y="3347932"/>
                  <a:pt x="5967745" y="3347932"/>
                </a:cubicBezTo>
                <a:cubicBezTo>
                  <a:pt x="5967745" y="3349865"/>
                  <a:pt x="5967745" y="3349865"/>
                  <a:pt x="5965812" y="3353733"/>
                </a:cubicBezTo>
                <a:cubicBezTo>
                  <a:pt x="5963876" y="3349865"/>
                  <a:pt x="5963876" y="3347932"/>
                  <a:pt x="5963876" y="3347932"/>
                </a:cubicBezTo>
                <a:cubicBezTo>
                  <a:pt x="5965812" y="3345999"/>
                  <a:pt x="5967745" y="3345999"/>
                  <a:pt x="5967745" y="3345999"/>
                </a:cubicBezTo>
                <a:close/>
                <a:moveTo>
                  <a:pt x="5910690" y="3319888"/>
                </a:moveTo>
                <a:cubicBezTo>
                  <a:pt x="5909239" y="3320372"/>
                  <a:pt x="5907789" y="3321822"/>
                  <a:pt x="5905855" y="3324723"/>
                </a:cubicBezTo>
                <a:cubicBezTo>
                  <a:pt x="5909723" y="3326658"/>
                  <a:pt x="5913591" y="3326658"/>
                  <a:pt x="5915524" y="3320855"/>
                </a:cubicBezTo>
                <a:cubicBezTo>
                  <a:pt x="5913590" y="3319888"/>
                  <a:pt x="5912140" y="3319405"/>
                  <a:pt x="5910690" y="3319888"/>
                </a:cubicBezTo>
                <a:close/>
                <a:moveTo>
                  <a:pt x="5942844" y="3319163"/>
                </a:moveTo>
                <a:cubicBezTo>
                  <a:pt x="5934866" y="3319888"/>
                  <a:pt x="5926163" y="3321822"/>
                  <a:pt x="5919393" y="3324723"/>
                </a:cubicBezTo>
                <a:cubicBezTo>
                  <a:pt x="5923261" y="3332459"/>
                  <a:pt x="5929065" y="3326658"/>
                  <a:pt x="5932933" y="3326658"/>
                </a:cubicBezTo>
                <a:cubicBezTo>
                  <a:pt x="5938734" y="3326658"/>
                  <a:pt x="5942602" y="3326658"/>
                  <a:pt x="5948403" y="3326658"/>
                </a:cubicBezTo>
                <a:cubicBezTo>
                  <a:pt x="5954207" y="3326658"/>
                  <a:pt x="5958075" y="3326658"/>
                  <a:pt x="5961943" y="3320855"/>
                </a:cubicBezTo>
                <a:cubicBezTo>
                  <a:pt x="5958075" y="3318920"/>
                  <a:pt x="5950822" y="3318437"/>
                  <a:pt x="5942844" y="3319163"/>
                </a:cubicBezTo>
                <a:close/>
                <a:moveTo>
                  <a:pt x="5938734" y="3305381"/>
                </a:moveTo>
                <a:cubicBezTo>
                  <a:pt x="5936801" y="3307317"/>
                  <a:pt x="5936801" y="3309250"/>
                  <a:pt x="5936801" y="3309250"/>
                </a:cubicBezTo>
                <a:cubicBezTo>
                  <a:pt x="5936801" y="3309250"/>
                  <a:pt x="5938734" y="3311185"/>
                  <a:pt x="5938734" y="3313118"/>
                </a:cubicBezTo>
                <a:cubicBezTo>
                  <a:pt x="5940669" y="3309250"/>
                  <a:pt x="5940669" y="3307317"/>
                  <a:pt x="5940669" y="3307317"/>
                </a:cubicBezTo>
                <a:cubicBezTo>
                  <a:pt x="5940669" y="3307317"/>
                  <a:pt x="5938734" y="3305381"/>
                  <a:pt x="5938734" y="3305381"/>
                </a:cubicBezTo>
                <a:close/>
                <a:moveTo>
                  <a:pt x="5718246" y="3301513"/>
                </a:moveTo>
                <a:cubicBezTo>
                  <a:pt x="5716313" y="3303448"/>
                  <a:pt x="5714378" y="3305381"/>
                  <a:pt x="5710509" y="3305381"/>
                </a:cubicBezTo>
                <a:cubicBezTo>
                  <a:pt x="5714378" y="3305381"/>
                  <a:pt x="5716313" y="3305381"/>
                  <a:pt x="5720181" y="3305381"/>
                </a:cubicBezTo>
                <a:cubicBezTo>
                  <a:pt x="5720181" y="3303448"/>
                  <a:pt x="5720181" y="3303448"/>
                  <a:pt x="5718246" y="3301513"/>
                </a:cubicBezTo>
                <a:close/>
                <a:moveTo>
                  <a:pt x="5954207" y="3299580"/>
                </a:moveTo>
                <a:cubicBezTo>
                  <a:pt x="5952272" y="3299580"/>
                  <a:pt x="5950339" y="3299580"/>
                  <a:pt x="5946470" y="3301513"/>
                </a:cubicBezTo>
                <a:cubicBezTo>
                  <a:pt x="5946470" y="3301513"/>
                  <a:pt x="5946470" y="3303448"/>
                  <a:pt x="5946470" y="3303448"/>
                </a:cubicBezTo>
                <a:cubicBezTo>
                  <a:pt x="5950339" y="3303448"/>
                  <a:pt x="5952272" y="3303448"/>
                  <a:pt x="5954207" y="3303448"/>
                </a:cubicBezTo>
                <a:cubicBezTo>
                  <a:pt x="5954207" y="3301513"/>
                  <a:pt x="5954207" y="3301513"/>
                  <a:pt x="5954207" y="3299580"/>
                </a:cubicBezTo>
                <a:close/>
                <a:moveTo>
                  <a:pt x="5830425" y="3295712"/>
                </a:moveTo>
                <a:cubicBezTo>
                  <a:pt x="5828490" y="3295712"/>
                  <a:pt x="5828490" y="3297645"/>
                  <a:pt x="5826557" y="3299580"/>
                </a:cubicBezTo>
                <a:cubicBezTo>
                  <a:pt x="5826557" y="3299580"/>
                  <a:pt x="5828490" y="3301513"/>
                  <a:pt x="5828490" y="3301513"/>
                </a:cubicBezTo>
                <a:cubicBezTo>
                  <a:pt x="5828490" y="3299580"/>
                  <a:pt x="5830425" y="3297645"/>
                  <a:pt x="5832358" y="3297645"/>
                </a:cubicBezTo>
                <a:cubicBezTo>
                  <a:pt x="5830425" y="3297645"/>
                  <a:pt x="5830425" y="3295712"/>
                  <a:pt x="5830425" y="3295712"/>
                </a:cubicBezTo>
                <a:close/>
                <a:moveTo>
                  <a:pt x="5911656" y="3266699"/>
                </a:moveTo>
                <a:cubicBezTo>
                  <a:pt x="5911656" y="3268634"/>
                  <a:pt x="5911656" y="3268634"/>
                  <a:pt x="5911656" y="3270570"/>
                </a:cubicBezTo>
                <a:cubicBezTo>
                  <a:pt x="5915524" y="3268634"/>
                  <a:pt x="5917460" y="3268634"/>
                  <a:pt x="5919393" y="3266699"/>
                </a:cubicBezTo>
                <a:cubicBezTo>
                  <a:pt x="5915524" y="3264766"/>
                  <a:pt x="5913591" y="3266699"/>
                  <a:pt x="5911656" y="3266699"/>
                </a:cubicBezTo>
                <a:close/>
                <a:moveTo>
                  <a:pt x="5822689" y="3266699"/>
                </a:moveTo>
                <a:cubicBezTo>
                  <a:pt x="5822689" y="3266699"/>
                  <a:pt x="5822689" y="3268634"/>
                  <a:pt x="5822689" y="3270570"/>
                </a:cubicBezTo>
                <a:cubicBezTo>
                  <a:pt x="5824622" y="3270570"/>
                  <a:pt x="5826557" y="3270570"/>
                  <a:pt x="5828490" y="3270570"/>
                </a:cubicBezTo>
                <a:cubicBezTo>
                  <a:pt x="5828490" y="3268634"/>
                  <a:pt x="5828490" y="3268634"/>
                  <a:pt x="5828490" y="3266699"/>
                </a:cubicBezTo>
                <a:cubicBezTo>
                  <a:pt x="5826557" y="3266699"/>
                  <a:pt x="5824622" y="3266699"/>
                  <a:pt x="5822689" y="3266699"/>
                </a:cubicBezTo>
                <a:close/>
                <a:moveTo>
                  <a:pt x="5843963" y="3255094"/>
                </a:moveTo>
                <a:cubicBezTo>
                  <a:pt x="5838159" y="3255094"/>
                  <a:pt x="5834293" y="3257029"/>
                  <a:pt x="5830425" y="3260898"/>
                </a:cubicBezTo>
                <a:cubicBezTo>
                  <a:pt x="5830425" y="3260898"/>
                  <a:pt x="5830425" y="3262831"/>
                  <a:pt x="5830425" y="3264766"/>
                </a:cubicBezTo>
                <a:cubicBezTo>
                  <a:pt x="5834293" y="3264766"/>
                  <a:pt x="5840095" y="3264766"/>
                  <a:pt x="5843963" y="3264766"/>
                </a:cubicBezTo>
                <a:cubicBezTo>
                  <a:pt x="5845898" y="3264766"/>
                  <a:pt x="5845898" y="3260898"/>
                  <a:pt x="5847831" y="3258965"/>
                </a:cubicBezTo>
                <a:cubicBezTo>
                  <a:pt x="5845898" y="3257029"/>
                  <a:pt x="5845898" y="3255094"/>
                  <a:pt x="5843963" y="3255094"/>
                </a:cubicBezTo>
                <a:close/>
                <a:moveTo>
                  <a:pt x="5780138" y="3255094"/>
                </a:moveTo>
                <a:cubicBezTo>
                  <a:pt x="5776270" y="3264766"/>
                  <a:pt x="5766600" y="3253161"/>
                  <a:pt x="5762732" y="3266699"/>
                </a:cubicBezTo>
                <a:cubicBezTo>
                  <a:pt x="5772401" y="3266699"/>
                  <a:pt x="5778203" y="3264766"/>
                  <a:pt x="5780138" y="3255094"/>
                </a:cubicBezTo>
                <a:close/>
                <a:moveTo>
                  <a:pt x="5896183" y="3251228"/>
                </a:moveTo>
                <a:cubicBezTo>
                  <a:pt x="5898118" y="3253161"/>
                  <a:pt x="5900051" y="3255094"/>
                  <a:pt x="5900051" y="3255094"/>
                </a:cubicBezTo>
                <a:cubicBezTo>
                  <a:pt x="5894250" y="3264766"/>
                  <a:pt x="5888447" y="3268634"/>
                  <a:pt x="5880710" y="3262831"/>
                </a:cubicBezTo>
                <a:cubicBezTo>
                  <a:pt x="5880710" y="3262831"/>
                  <a:pt x="5878777" y="3262831"/>
                  <a:pt x="5876842" y="3262831"/>
                </a:cubicBezTo>
                <a:cubicBezTo>
                  <a:pt x="5872976" y="3262831"/>
                  <a:pt x="5872976" y="3266699"/>
                  <a:pt x="5874909" y="3270570"/>
                </a:cubicBezTo>
                <a:cubicBezTo>
                  <a:pt x="5882645" y="3272503"/>
                  <a:pt x="5888447" y="3274436"/>
                  <a:pt x="5896183" y="3268634"/>
                </a:cubicBezTo>
                <a:cubicBezTo>
                  <a:pt x="5901987" y="3262831"/>
                  <a:pt x="5909723" y="3257029"/>
                  <a:pt x="5917460" y="3251228"/>
                </a:cubicBezTo>
                <a:cubicBezTo>
                  <a:pt x="5909723" y="3251228"/>
                  <a:pt x="5903920" y="3251228"/>
                  <a:pt x="5896183" y="3251228"/>
                </a:cubicBezTo>
                <a:close/>
                <a:moveTo>
                  <a:pt x="5930997" y="3249293"/>
                </a:moveTo>
                <a:lnTo>
                  <a:pt x="5926416" y="3253872"/>
                </a:lnTo>
                <a:lnTo>
                  <a:pt x="5927996" y="3249793"/>
                </a:lnTo>
                <a:close/>
                <a:moveTo>
                  <a:pt x="5778203" y="3243489"/>
                </a:moveTo>
                <a:cubicBezTo>
                  <a:pt x="5772401" y="3245425"/>
                  <a:pt x="5766600" y="3247360"/>
                  <a:pt x="5762732" y="3247360"/>
                </a:cubicBezTo>
                <a:cubicBezTo>
                  <a:pt x="5754993" y="3245425"/>
                  <a:pt x="5747259" y="3245425"/>
                  <a:pt x="5741455" y="3249293"/>
                </a:cubicBezTo>
                <a:cubicBezTo>
                  <a:pt x="5741455" y="3249293"/>
                  <a:pt x="5741455" y="3251228"/>
                  <a:pt x="5741455" y="3253161"/>
                </a:cubicBezTo>
                <a:cubicBezTo>
                  <a:pt x="5743391" y="3253161"/>
                  <a:pt x="5745324" y="3251228"/>
                  <a:pt x="5749192" y="3251228"/>
                </a:cubicBezTo>
                <a:cubicBezTo>
                  <a:pt x="5747259" y="3251228"/>
                  <a:pt x="5745324" y="3253161"/>
                  <a:pt x="5743391" y="3253161"/>
                </a:cubicBezTo>
                <a:cubicBezTo>
                  <a:pt x="5749192" y="3253161"/>
                  <a:pt x="5753060" y="3253161"/>
                  <a:pt x="5756928" y="3253161"/>
                </a:cubicBezTo>
                <a:cubicBezTo>
                  <a:pt x="5760797" y="3253161"/>
                  <a:pt x="5762732" y="3251228"/>
                  <a:pt x="5766600" y="3251228"/>
                </a:cubicBezTo>
                <a:cubicBezTo>
                  <a:pt x="5784006" y="3251228"/>
                  <a:pt x="5803347" y="3251228"/>
                  <a:pt x="5822689" y="3251228"/>
                </a:cubicBezTo>
                <a:cubicBezTo>
                  <a:pt x="5824622" y="3251228"/>
                  <a:pt x="5826557" y="3249293"/>
                  <a:pt x="5828490" y="3249293"/>
                </a:cubicBezTo>
                <a:cubicBezTo>
                  <a:pt x="5822689" y="3247360"/>
                  <a:pt x="5816885" y="3245425"/>
                  <a:pt x="5813017" y="3245425"/>
                </a:cubicBezTo>
                <a:cubicBezTo>
                  <a:pt x="5805280" y="3243489"/>
                  <a:pt x="5797544" y="3243489"/>
                  <a:pt x="5789807" y="3243489"/>
                </a:cubicBezTo>
                <a:cubicBezTo>
                  <a:pt x="5785941" y="3243489"/>
                  <a:pt x="5782073" y="3243489"/>
                  <a:pt x="5778203" y="3243489"/>
                </a:cubicBezTo>
                <a:close/>
                <a:moveTo>
                  <a:pt x="5768533" y="3231887"/>
                </a:moveTo>
                <a:cubicBezTo>
                  <a:pt x="5766600" y="3231887"/>
                  <a:pt x="5766600" y="3233820"/>
                  <a:pt x="5766600" y="3235755"/>
                </a:cubicBezTo>
                <a:cubicBezTo>
                  <a:pt x="5770466" y="3235755"/>
                  <a:pt x="5774334" y="3237688"/>
                  <a:pt x="5776270" y="3237688"/>
                </a:cubicBezTo>
                <a:cubicBezTo>
                  <a:pt x="5787874" y="3237688"/>
                  <a:pt x="5799479" y="3239623"/>
                  <a:pt x="5811084" y="3235755"/>
                </a:cubicBezTo>
                <a:cubicBezTo>
                  <a:pt x="5811084" y="3235755"/>
                  <a:pt x="5813017" y="3235755"/>
                  <a:pt x="5813017" y="3235755"/>
                </a:cubicBezTo>
                <a:cubicBezTo>
                  <a:pt x="5822689" y="3241556"/>
                  <a:pt x="5832358" y="3237688"/>
                  <a:pt x="5840095" y="3235755"/>
                </a:cubicBezTo>
                <a:cubicBezTo>
                  <a:pt x="5842028" y="3235755"/>
                  <a:pt x="5843963" y="3235755"/>
                  <a:pt x="5845898" y="3235755"/>
                </a:cubicBezTo>
                <a:cubicBezTo>
                  <a:pt x="5826557" y="3235755"/>
                  <a:pt x="5805280" y="3233820"/>
                  <a:pt x="5785941" y="3231887"/>
                </a:cubicBezTo>
                <a:cubicBezTo>
                  <a:pt x="5780138" y="3231887"/>
                  <a:pt x="5774334" y="3231887"/>
                  <a:pt x="5768533" y="3231887"/>
                </a:cubicBezTo>
                <a:close/>
                <a:moveTo>
                  <a:pt x="5861369" y="3164194"/>
                </a:moveTo>
                <a:cubicBezTo>
                  <a:pt x="5861369" y="3164194"/>
                  <a:pt x="5863304" y="3164194"/>
                  <a:pt x="5863304" y="3164194"/>
                </a:cubicBezTo>
                <a:cubicBezTo>
                  <a:pt x="5863304" y="3166127"/>
                  <a:pt x="5863304" y="3166127"/>
                  <a:pt x="5863304" y="3168060"/>
                </a:cubicBezTo>
                <a:cubicBezTo>
                  <a:pt x="5863304" y="3166127"/>
                  <a:pt x="5861369" y="3166127"/>
                  <a:pt x="5861369" y="3164194"/>
                </a:cubicBezTo>
                <a:close/>
                <a:moveTo>
                  <a:pt x="5664090" y="3150654"/>
                </a:moveTo>
                <a:cubicBezTo>
                  <a:pt x="5660224" y="3152589"/>
                  <a:pt x="5662157" y="3156455"/>
                  <a:pt x="5662157" y="3158390"/>
                </a:cubicBezTo>
                <a:cubicBezTo>
                  <a:pt x="5664090" y="3156455"/>
                  <a:pt x="5666026" y="3154522"/>
                  <a:pt x="5664090" y="3150654"/>
                </a:cubicBezTo>
                <a:close/>
                <a:moveTo>
                  <a:pt x="5567386" y="3111971"/>
                </a:moveTo>
                <a:cubicBezTo>
                  <a:pt x="5567386" y="3111971"/>
                  <a:pt x="5569322" y="3113907"/>
                  <a:pt x="5569322" y="3113907"/>
                </a:cubicBezTo>
                <a:cubicBezTo>
                  <a:pt x="5573190" y="3115839"/>
                  <a:pt x="5577056" y="3115839"/>
                  <a:pt x="5580924" y="3115839"/>
                </a:cubicBezTo>
                <a:cubicBezTo>
                  <a:pt x="5582859" y="3115839"/>
                  <a:pt x="5584795" y="3115839"/>
                  <a:pt x="5586728" y="3113907"/>
                </a:cubicBezTo>
                <a:cubicBezTo>
                  <a:pt x="5580924" y="3111971"/>
                  <a:pt x="5575123" y="3111971"/>
                  <a:pt x="5567386" y="3111971"/>
                </a:cubicBezTo>
                <a:close/>
                <a:moveTo>
                  <a:pt x="5370108" y="3071355"/>
                </a:moveTo>
                <a:cubicBezTo>
                  <a:pt x="5368175" y="3071355"/>
                  <a:pt x="5366239" y="3073291"/>
                  <a:pt x="5364306" y="3075224"/>
                </a:cubicBezTo>
                <a:cubicBezTo>
                  <a:pt x="5364306" y="3075224"/>
                  <a:pt x="5364306" y="3077159"/>
                  <a:pt x="5364306" y="3077159"/>
                </a:cubicBezTo>
                <a:cubicBezTo>
                  <a:pt x="5372043" y="3075224"/>
                  <a:pt x="5379779" y="3075224"/>
                  <a:pt x="5387514" y="3073291"/>
                </a:cubicBezTo>
                <a:cubicBezTo>
                  <a:pt x="5381712" y="3073291"/>
                  <a:pt x="5375911" y="3071355"/>
                  <a:pt x="5370108" y="3071355"/>
                </a:cubicBezTo>
                <a:close/>
                <a:moveTo>
                  <a:pt x="5416527" y="3063619"/>
                </a:moveTo>
                <a:cubicBezTo>
                  <a:pt x="5412658" y="3065555"/>
                  <a:pt x="5406855" y="3067487"/>
                  <a:pt x="5402987" y="3071355"/>
                </a:cubicBezTo>
                <a:cubicBezTo>
                  <a:pt x="5402987" y="3071355"/>
                  <a:pt x="5402987" y="3073291"/>
                  <a:pt x="5402987" y="3073291"/>
                </a:cubicBezTo>
                <a:cubicBezTo>
                  <a:pt x="5414594" y="3073291"/>
                  <a:pt x="5416527" y="3071355"/>
                  <a:pt x="5416527" y="3063619"/>
                </a:cubicBezTo>
                <a:close/>
                <a:moveTo>
                  <a:pt x="5470680" y="3059751"/>
                </a:moveTo>
                <a:cubicBezTo>
                  <a:pt x="5466814" y="3061686"/>
                  <a:pt x="5462946" y="3061686"/>
                  <a:pt x="5459078" y="3065555"/>
                </a:cubicBezTo>
                <a:cubicBezTo>
                  <a:pt x="5462946" y="3065555"/>
                  <a:pt x="5464879" y="3065555"/>
                  <a:pt x="5468747" y="3065555"/>
                </a:cubicBezTo>
                <a:cubicBezTo>
                  <a:pt x="5468747" y="3065555"/>
                  <a:pt x="5470680" y="3063619"/>
                  <a:pt x="5470680" y="3059751"/>
                </a:cubicBezTo>
                <a:close/>
                <a:moveTo>
                  <a:pt x="5556265" y="3057817"/>
                </a:moveTo>
                <a:cubicBezTo>
                  <a:pt x="5554815" y="3058301"/>
                  <a:pt x="5553849" y="3059751"/>
                  <a:pt x="5553849" y="3063619"/>
                </a:cubicBezTo>
                <a:cubicBezTo>
                  <a:pt x="5555781" y="3063619"/>
                  <a:pt x="5557714" y="3063619"/>
                  <a:pt x="5557714" y="3063619"/>
                </a:cubicBezTo>
                <a:cubicBezTo>
                  <a:pt x="5559650" y="3061686"/>
                  <a:pt x="5559650" y="3061686"/>
                  <a:pt x="5561585" y="3061686"/>
                </a:cubicBezTo>
                <a:cubicBezTo>
                  <a:pt x="5561585" y="3059751"/>
                  <a:pt x="5561585" y="3059751"/>
                  <a:pt x="5561585" y="3057818"/>
                </a:cubicBezTo>
                <a:cubicBezTo>
                  <a:pt x="5559650" y="3057818"/>
                  <a:pt x="5557716" y="3057334"/>
                  <a:pt x="5556265" y="3057817"/>
                </a:cubicBezTo>
                <a:close/>
                <a:moveTo>
                  <a:pt x="5681499" y="2937902"/>
                </a:moveTo>
                <a:cubicBezTo>
                  <a:pt x="5681499" y="2937902"/>
                  <a:pt x="5683432" y="2937902"/>
                  <a:pt x="5685367" y="2937902"/>
                </a:cubicBezTo>
                <a:cubicBezTo>
                  <a:pt x="5685367" y="2945639"/>
                  <a:pt x="5683432" y="2941770"/>
                  <a:pt x="5681499" y="2941770"/>
                </a:cubicBezTo>
                <a:cubicBezTo>
                  <a:pt x="5681499" y="2939837"/>
                  <a:pt x="5681499" y="2939837"/>
                  <a:pt x="5681499" y="2937902"/>
                </a:cubicBezTo>
                <a:close/>
                <a:moveTo>
                  <a:pt x="128691" y="2382815"/>
                </a:moveTo>
                <a:cubicBezTo>
                  <a:pt x="122890" y="2386684"/>
                  <a:pt x="119019" y="2390552"/>
                  <a:pt x="113218" y="2396353"/>
                </a:cubicBezTo>
                <a:cubicBezTo>
                  <a:pt x="115154" y="2392485"/>
                  <a:pt x="119019" y="2390552"/>
                  <a:pt x="122890" y="2388616"/>
                </a:cubicBezTo>
                <a:cubicBezTo>
                  <a:pt x="122890" y="2388616"/>
                  <a:pt x="122890" y="2390552"/>
                  <a:pt x="122890" y="2390552"/>
                </a:cubicBezTo>
                <a:cubicBezTo>
                  <a:pt x="124823" y="2386684"/>
                  <a:pt x="126756" y="2384748"/>
                  <a:pt x="128691" y="2382815"/>
                </a:cubicBezTo>
                <a:close/>
                <a:moveTo>
                  <a:pt x="5683432" y="1839331"/>
                </a:moveTo>
                <a:cubicBezTo>
                  <a:pt x="5685367" y="1839331"/>
                  <a:pt x="5685367" y="1841267"/>
                  <a:pt x="5685367" y="1841267"/>
                </a:cubicBezTo>
                <a:cubicBezTo>
                  <a:pt x="5683432" y="1843200"/>
                  <a:pt x="5681499" y="1843200"/>
                  <a:pt x="5679566" y="1845135"/>
                </a:cubicBezTo>
                <a:cubicBezTo>
                  <a:pt x="5677630" y="1845135"/>
                  <a:pt x="5677630" y="1843200"/>
                  <a:pt x="5677630" y="1843200"/>
                </a:cubicBezTo>
                <a:cubicBezTo>
                  <a:pt x="5679566" y="1841267"/>
                  <a:pt x="5681499" y="1841267"/>
                  <a:pt x="5683432" y="1839331"/>
                </a:cubicBezTo>
                <a:close/>
                <a:moveTo>
                  <a:pt x="5644749" y="1810321"/>
                </a:moveTo>
                <a:cubicBezTo>
                  <a:pt x="5648620" y="1819992"/>
                  <a:pt x="5648620" y="1819992"/>
                  <a:pt x="5638948" y="1823858"/>
                </a:cubicBezTo>
                <a:lnTo>
                  <a:pt x="5632854" y="1825383"/>
                </a:lnTo>
                <a:lnTo>
                  <a:pt x="5631521" y="1814730"/>
                </a:lnTo>
                <a:close/>
                <a:moveTo>
                  <a:pt x="5584795" y="1796783"/>
                </a:moveTo>
                <a:cubicBezTo>
                  <a:pt x="5584795" y="1796783"/>
                  <a:pt x="5582859" y="1798716"/>
                  <a:pt x="5582859" y="1798716"/>
                </a:cubicBezTo>
                <a:cubicBezTo>
                  <a:pt x="5582859" y="1800651"/>
                  <a:pt x="5584795" y="1800651"/>
                  <a:pt x="5586728" y="1800651"/>
                </a:cubicBezTo>
                <a:cubicBezTo>
                  <a:pt x="5586728" y="1800651"/>
                  <a:pt x="5584795" y="1798716"/>
                  <a:pt x="5584795" y="1796783"/>
                </a:cubicBezTo>
                <a:close/>
                <a:moveTo>
                  <a:pt x="5663912" y="1792035"/>
                </a:moveTo>
                <a:lnTo>
                  <a:pt x="5659256" y="1799925"/>
                </a:lnTo>
                <a:cubicBezTo>
                  <a:pt x="5655871" y="1804034"/>
                  <a:pt x="5651519" y="1807419"/>
                  <a:pt x="5644749" y="1810321"/>
                </a:cubicBezTo>
                <a:cubicBezTo>
                  <a:pt x="5646684" y="1806452"/>
                  <a:pt x="5650553" y="1800651"/>
                  <a:pt x="5652488" y="1796783"/>
                </a:cubicBezTo>
                <a:lnTo>
                  <a:pt x="5653777" y="1795492"/>
                </a:lnTo>
                <a:lnTo>
                  <a:pt x="5656356" y="1800651"/>
                </a:lnTo>
                <a:cubicBezTo>
                  <a:pt x="5658289" y="1798716"/>
                  <a:pt x="5660224" y="1796783"/>
                  <a:pt x="5662157" y="1794848"/>
                </a:cubicBezTo>
                <a:cubicBezTo>
                  <a:pt x="5662157" y="1794848"/>
                  <a:pt x="5662157" y="1792912"/>
                  <a:pt x="5662157" y="1792912"/>
                </a:cubicBezTo>
                <a:close/>
                <a:moveTo>
                  <a:pt x="5667959" y="1785178"/>
                </a:moveTo>
                <a:lnTo>
                  <a:pt x="5673762" y="1785178"/>
                </a:lnTo>
                <a:cubicBezTo>
                  <a:pt x="5673762" y="1785178"/>
                  <a:pt x="5673762" y="1787111"/>
                  <a:pt x="5673762" y="1787111"/>
                </a:cubicBezTo>
                <a:lnTo>
                  <a:pt x="5663912" y="1792035"/>
                </a:lnTo>
                <a:close/>
                <a:moveTo>
                  <a:pt x="5638948" y="1783243"/>
                </a:moveTo>
                <a:cubicBezTo>
                  <a:pt x="5635080" y="1781310"/>
                  <a:pt x="5633147" y="1783243"/>
                  <a:pt x="5631211" y="1785178"/>
                </a:cubicBezTo>
                <a:cubicBezTo>
                  <a:pt x="5633147" y="1785178"/>
                  <a:pt x="5633147" y="1787111"/>
                  <a:pt x="5633147" y="1787111"/>
                </a:cubicBezTo>
                <a:cubicBezTo>
                  <a:pt x="5629278" y="1789046"/>
                  <a:pt x="5625410" y="1792912"/>
                  <a:pt x="5621542" y="1794848"/>
                </a:cubicBezTo>
                <a:cubicBezTo>
                  <a:pt x="5615738" y="1798716"/>
                  <a:pt x="5608002" y="1802584"/>
                  <a:pt x="5602201" y="1808388"/>
                </a:cubicBezTo>
                <a:cubicBezTo>
                  <a:pt x="5602201" y="1808388"/>
                  <a:pt x="5600265" y="1810321"/>
                  <a:pt x="5600265" y="1810321"/>
                </a:cubicBezTo>
                <a:cubicBezTo>
                  <a:pt x="5602201" y="1812254"/>
                  <a:pt x="5602201" y="1812254"/>
                  <a:pt x="5604133" y="1812254"/>
                </a:cubicBezTo>
                <a:cubicBezTo>
                  <a:pt x="5609937" y="1806452"/>
                  <a:pt x="5617674" y="1804517"/>
                  <a:pt x="5621542" y="1796783"/>
                </a:cubicBezTo>
                <a:cubicBezTo>
                  <a:pt x="5623475" y="1798716"/>
                  <a:pt x="5623475" y="1800651"/>
                  <a:pt x="5625410" y="1802584"/>
                </a:cubicBezTo>
                <a:cubicBezTo>
                  <a:pt x="5627343" y="1802584"/>
                  <a:pt x="5629278" y="1800651"/>
                  <a:pt x="5633147" y="1800651"/>
                </a:cubicBezTo>
                <a:cubicBezTo>
                  <a:pt x="5633147" y="1798716"/>
                  <a:pt x="5633147" y="1794848"/>
                  <a:pt x="5635080" y="1790979"/>
                </a:cubicBezTo>
                <a:cubicBezTo>
                  <a:pt x="5637015" y="1789046"/>
                  <a:pt x="5637015" y="1785178"/>
                  <a:pt x="5638948" y="1783243"/>
                </a:cubicBezTo>
                <a:close/>
                <a:moveTo>
                  <a:pt x="5646684" y="1761969"/>
                </a:moveTo>
                <a:cubicBezTo>
                  <a:pt x="5646684" y="1761969"/>
                  <a:pt x="5646684" y="1763902"/>
                  <a:pt x="5646684" y="1763902"/>
                </a:cubicBezTo>
                <a:cubicBezTo>
                  <a:pt x="5650553" y="1763902"/>
                  <a:pt x="5652488" y="1763902"/>
                  <a:pt x="5652488" y="1761969"/>
                </a:cubicBezTo>
                <a:cubicBezTo>
                  <a:pt x="5650553" y="1761969"/>
                  <a:pt x="5648620" y="1761969"/>
                  <a:pt x="5646684" y="1761969"/>
                </a:cubicBezTo>
                <a:close/>
                <a:moveTo>
                  <a:pt x="5573190" y="1742627"/>
                </a:moveTo>
                <a:cubicBezTo>
                  <a:pt x="5563518" y="1738759"/>
                  <a:pt x="5559650" y="1746496"/>
                  <a:pt x="5551913" y="1748429"/>
                </a:cubicBezTo>
                <a:cubicBezTo>
                  <a:pt x="5551913" y="1748429"/>
                  <a:pt x="5551913" y="1750364"/>
                  <a:pt x="5551913" y="1752297"/>
                </a:cubicBezTo>
                <a:cubicBezTo>
                  <a:pt x="5561585" y="1754232"/>
                  <a:pt x="5567386" y="1750364"/>
                  <a:pt x="5573190" y="1742627"/>
                </a:cubicBezTo>
                <a:close/>
                <a:moveTo>
                  <a:pt x="5524838" y="1742627"/>
                </a:moveTo>
                <a:cubicBezTo>
                  <a:pt x="5522903" y="1744560"/>
                  <a:pt x="5522903" y="1744560"/>
                  <a:pt x="5522903" y="1744560"/>
                </a:cubicBezTo>
                <a:cubicBezTo>
                  <a:pt x="5522903" y="1744560"/>
                  <a:pt x="5522903" y="1744560"/>
                  <a:pt x="5524838" y="1744560"/>
                </a:cubicBezTo>
                <a:cubicBezTo>
                  <a:pt x="5524838" y="1744560"/>
                  <a:pt x="5522903" y="1742627"/>
                  <a:pt x="5524838" y="1742627"/>
                </a:cubicBezTo>
                <a:close/>
                <a:moveTo>
                  <a:pt x="5731784" y="1711681"/>
                </a:moveTo>
                <a:cubicBezTo>
                  <a:pt x="5731784" y="1711681"/>
                  <a:pt x="5733719" y="1713616"/>
                  <a:pt x="5733719" y="1713616"/>
                </a:cubicBezTo>
                <a:cubicBezTo>
                  <a:pt x="5729851" y="1717482"/>
                  <a:pt x="5727918" y="1719418"/>
                  <a:pt x="5725982" y="1721353"/>
                </a:cubicBezTo>
                <a:cubicBezTo>
                  <a:pt x="5725982" y="1719418"/>
                  <a:pt x="5724049" y="1719418"/>
                  <a:pt x="5724049" y="1717482"/>
                </a:cubicBezTo>
                <a:cubicBezTo>
                  <a:pt x="5725982" y="1715549"/>
                  <a:pt x="5729851" y="1713616"/>
                  <a:pt x="5731784" y="1711681"/>
                </a:cubicBezTo>
                <a:close/>
                <a:moveTo>
                  <a:pt x="5588663" y="1698144"/>
                </a:moveTo>
                <a:cubicBezTo>
                  <a:pt x="5578991" y="1703945"/>
                  <a:pt x="5567386" y="1709748"/>
                  <a:pt x="5557714" y="1715549"/>
                </a:cubicBezTo>
                <a:cubicBezTo>
                  <a:pt x="5557714" y="1717482"/>
                  <a:pt x="5555781" y="1721353"/>
                  <a:pt x="5553849" y="1723286"/>
                </a:cubicBezTo>
                <a:cubicBezTo>
                  <a:pt x="5553849" y="1725219"/>
                  <a:pt x="5553849" y="1727154"/>
                  <a:pt x="5555781" y="1729087"/>
                </a:cubicBezTo>
                <a:cubicBezTo>
                  <a:pt x="5555781" y="1727154"/>
                  <a:pt x="5557714" y="1725219"/>
                  <a:pt x="5557714" y="1723286"/>
                </a:cubicBezTo>
                <a:cubicBezTo>
                  <a:pt x="5559650" y="1723286"/>
                  <a:pt x="5561585" y="1725219"/>
                  <a:pt x="5563518" y="1725219"/>
                </a:cubicBezTo>
                <a:cubicBezTo>
                  <a:pt x="5565453" y="1723286"/>
                  <a:pt x="5565453" y="1721353"/>
                  <a:pt x="5567386" y="1719418"/>
                </a:cubicBezTo>
                <a:cubicBezTo>
                  <a:pt x="5571255" y="1719418"/>
                  <a:pt x="5573190" y="1721353"/>
                  <a:pt x="5577056" y="1721353"/>
                </a:cubicBezTo>
                <a:cubicBezTo>
                  <a:pt x="5578991" y="1719418"/>
                  <a:pt x="5580924" y="1717482"/>
                  <a:pt x="5582859" y="1713616"/>
                </a:cubicBezTo>
                <a:cubicBezTo>
                  <a:pt x="5582859" y="1719418"/>
                  <a:pt x="5580924" y="1721353"/>
                  <a:pt x="5578991" y="1723286"/>
                </a:cubicBezTo>
                <a:cubicBezTo>
                  <a:pt x="5580924" y="1725219"/>
                  <a:pt x="5584795" y="1727154"/>
                  <a:pt x="5586728" y="1729087"/>
                </a:cubicBezTo>
                <a:cubicBezTo>
                  <a:pt x="5582859" y="1732958"/>
                  <a:pt x="5578991" y="1736824"/>
                  <a:pt x="5575123" y="1740692"/>
                </a:cubicBezTo>
                <a:cubicBezTo>
                  <a:pt x="5578991" y="1740692"/>
                  <a:pt x="5584795" y="1740692"/>
                  <a:pt x="5590596" y="1740692"/>
                </a:cubicBezTo>
                <a:cubicBezTo>
                  <a:pt x="5578991" y="1744560"/>
                  <a:pt x="5569322" y="1752297"/>
                  <a:pt x="5563518" y="1763902"/>
                </a:cubicBezTo>
                <a:cubicBezTo>
                  <a:pt x="5567386" y="1767770"/>
                  <a:pt x="5569322" y="1769705"/>
                  <a:pt x="5571255" y="1773573"/>
                </a:cubicBezTo>
                <a:cubicBezTo>
                  <a:pt x="5573190" y="1771638"/>
                  <a:pt x="5575123" y="1769705"/>
                  <a:pt x="5577056" y="1767770"/>
                </a:cubicBezTo>
                <a:cubicBezTo>
                  <a:pt x="5578991" y="1773573"/>
                  <a:pt x="5577056" y="1777442"/>
                  <a:pt x="5575123" y="1779374"/>
                </a:cubicBezTo>
                <a:cubicBezTo>
                  <a:pt x="5575123" y="1781310"/>
                  <a:pt x="5577056" y="1783243"/>
                  <a:pt x="5577056" y="1785178"/>
                </a:cubicBezTo>
                <a:cubicBezTo>
                  <a:pt x="5580924" y="1783243"/>
                  <a:pt x="5582859" y="1781310"/>
                  <a:pt x="5584795" y="1777442"/>
                </a:cubicBezTo>
                <a:cubicBezTo>
                  <a:pt x="5586728" y="1773573"/>
                  <a:pt x="5592531" y="1769705"/>
                  <a:pt x="5598332" y="1765837"/>
                </a:cubicBezTo>
                <a:cubicBezTo>
                  <a:pt x="5594464" y="1763902"/>
                  <a:pt x="5592531" y="1763902"/>
                  <a:pt x="5592531" y="1760033"/>
                </a:cubicBezTo>
                <a:cubicBezTo>
                  <a:pt x="5596397" y="1754232"/>
                  <a:pt x="5600265" y="1748429"/>
                  <a:pt x="5604133" y="1742627"/>
                </a:cubicBezTo>
                <a:cubicBezTo>
                  <a:pt x="5609937" y="1744560"/>
                  <a:pt x="5613805" y="1740692"/>
                  <a:pt x="5617674" y="1736824"/>
                </a:cubicBezTo>
                <a:cubicBezTo>
                  <a:pt x="5609937" y="1736824"/>
                  <a:pt x="5602201" y="1736824"/>
                  <a:pt x="5594464" y="1738759"/>
                </a:cubicBezTo>
                <a:cubicBezTo>
                  <a:pt x="5596397" y="1732958"/>
                  <a:pt x="5596397" y="1727154"/>
                  <a:pt x="5598332" y="1721353"/>
                </a:cubicBezTo>
                <a:cubicBezTo>
                  <a:pt x="5594464" y="1719418"/>
                  <a:pt x="5592531" y="1717482"/>
                  <a:pt x="5590596" y="1715549"/>
                </a:cubicBezTo>
                <a:cubicBezTo>
                  <a:pt x="5588663" y="1713616"/>
                  <a:pt x="5586728" y="1709748"/>
                  <a:pt x="5588663" y="1707813"/>
                </a:cubicBezTo>
                <a:cubicBezTo>
                  <a:pt x="5590596" y="1703945"/>
                  <a:pt x="5590596" y="1702012"/>
                  <a:pt x="5588663" y="1698144"/>
                </a:cubicBezTo>
                <a:close/>
                <a:moveTo>
                  <a:pt x="5684596" y="1686440"/>
                </a:moveTo>
                <a:lnTo>
                  <a:pt x="5679566" y="1702012"/>
                </a:lnTo>
                <a:cubicBezTo>
                  <a:pt x="5679566" y="1711681"/>
                  <a:pt x="5671829" y="1713616"/>
                  <a:pt x="5662157" y="1719418"/>
                </a:cubicBezTo>
                <a:cubicBezTo>
                  <a:pt x="5664090" y="1715549"/>
                  <a:pt x="5664090" y="1715549"/>
                  <a:pt x="5664090" y="1713616"/>
                </a:cubicBezTo>
                <a:cubicBezTo>
                  <a:pt x="5664090" y="1713616"/>
                  <a:pt x="5664090" y="1711681"/>
                  <a:pt x="5664090" y="1711681"/>
                </a:cubicBezTo>
                <a:cubicBezTo>
                  <a:pt x="5664090" y="1711681"/>
                  <a:pt x="5662157" y="1711681"/>
                  <a:pt x="5662157" y="1709748"/>
                </a:cubicBezTo>
                <a:lnTo>
                  <a:pt x="5661103" y="1711066"/>
                </a:lnTo>
                <a:lnTo>
                  <a:pt x="5667959" y="1696208"/>
                </a:lnTo>
                <a:cubicBezTo>
                  <a:pt x="5669894" y="1696208"/>
                  <a:pt x="5671829" y="1696208"/>
                  <a:pt x="5673762" y="1698144"/>
                </a:cubicBezTo>
                <a:cubicBezTo>
                  <a:pt x="5674730" y="1693308"/>
                  <a:pt x="5678114" y="1690890"/>
                  <a:pt x="5681499" y="1688956"/>
                </a:cubicBezTo>
                <a:close/>
                <a:moveTo>
                  <a:pt x="5747259" y="1680735"/>
                </a:moveTo>
                <a:lnTo>
                  <a:pt x="5740888" y="1691885"/>
                </a:lnTo>
                <a:lnTo>
                  <a:pt x="5739522" y="1692340"/>
                </a:lnTo>
                <a:lnTo>
                  <a:pt x="5734407" y="1687225"/>
                </a:lnTo>
                <a:lnTo>
                  <a:pt x="5736620" y="1682911"/>
                </a:lnTo>
                <a:cubicBezTo>
                  <a:pt x="5739038" y="1680736"/>
                  <a:pt x="5742423" y="1679769"/>
                  <a:pt x="5747259" y="1680735"/>
                </a:cubicBezTo>
                <a:close/>
                <a:moveTo>
                  <a:pt x="5739522" y="1620778"/>
                </a:moveTo>
                <a:cubicBezTo>
                  <a:pt x="5749192" y="1622714"/>
                  <a:pt x="5743391" y="1628515"/>
                  <a:pt x="5743391" y="1632383"/>
                </a:cubicBezTo>
                <a:lnTo>
                  <a:pt x="5748547" y="1632383"/>
                </a:lnTo>
                <a:lnTo>
                  <a:pt x="5741455" y="1640120"/>
                </a:lnTo>
                <a:cubicBezTo>
                  <a:pt x="5745324" y="1642053"/>
                  <a:pt x="5747259" y="1642053"/>
                  <a:pt x="5747259" y="1642053"/>
                </a:cubicBezTo>
                <a:cubicBezTo>
                  <a:pt x="5745324" y="1651724"/>
                  <a:pt x="5743391" y="1661394"/>
                  <a:pt x="5741455" y="1671066"/>
                </a:cubicBezTo>
                <a:cubicBezTo>
                  <a:pt x="5737587" y="1672999"/>
                  <a:pt x="5733719" y="1674934"/>
                  <a:pt x="5731784" y="1678802"/>
                </a:cubicBezTo>
                <a:cubicBezTo>
                  <a:pt x="5730817" y="1681703"/>
                  <a:pt x="5731785" y="1684120"/>
                  <a:pt x="5733478" y="1686296"/>
                </a:cubicBezTo>
                <a:lnTo>
                  <a:pt x="5734407" y="1687225"/>
                </a:lnTo>
                <a:lnTo>
                  <a:pt x="5731784" y="1692340"/>
                </a:lnTo>
                <a:cubicBezTo>
                  <a:pt x="5735654" y="1692340"/>
                  <a:pt x="5737587" y="1694275"/>
                  <a:pt x="5739522" y="1694275"/>
                </a:cubicBezTo>
                <a:lnTo>
                  <a:pt x="5740888" y="1691885"/>
                </a:lnTo>
                <a:lnTo>
                  <a:pt x="5756928" y="1686539"/>
                </a:lnTo>
                <a:cubicBezTo>
                  <a:pt x="5756928" y="1690407"/>
                  <a:pt x="5756928" y="1690407"/>
                  <a:pt x="5756928" y="1692340"/>
                </a:cubicBezTo>
                <a:cubicBezTo>
                  <a:pt x="5753060" y="1698144"/>
                  <a:pt x="5735654" y="1707813"/>
                  <a:pt x="5725982" y="1709748"/>
                </a:cubicBezTo>
                <a:cubicBezTo>
                  <a:pt x="5724049" y="1711681"/>
                  <a:pt x="5722114" y="1711681"/>
                  <a:pt x="5720181" y="1713616"/>
                </a:cubicBezTo>
                <a:cubicBezTo>
                  <a:pt x="5714378" y="1715549"/>
                  <a:pt x="5710509" y="1717482"/>
                  <a:pt x="5704708" y="1721353"/>
                </a:cubicBezTo>
                <a:cubicBezTo>
                  <a:pt x="5704708" y="1711681"/>
                  <a:pt x="5706641" y="1702012"/>
                  <a:pt x="5706641" y="1692340"/>
                </a:cubicBezTo>
                <a:cubicBezTo>
                  <a:pt x="5706641" y="1690407"/>
                  <a:pt x="5708576" y="1690407"/>
                  <a:pt x="5710509" y="1688472"/>
                </a:cubicBezTo>
                <a:cubicBezTo>
                  <a:pt x="5710509" y="1688472"/>
                  <a:pt x="5710509" y="1686539"/>
                  <a:pt x="5710509" y="1684603"/>
                </a:cubicBezTo>
                <a:cubicBezTo>
                  <a:pt x="5704708" y="1684603"/>
                  <a:pt x="5696972" y="1682670"/>
                  <a:pt x="5689235" y="1682670"/>
                </a:cubicBezTo>
                <a:lnTo>
                  <a:pt x="5684596" y="1686440"/>
                </a:lnTo>
                <a:lnTo>
                  <a:pt x="5684642" y="1686297"/>
                </a:lnTo>
                <a:cubicBezTo>
                  <a:pt x="5688268" y="1682187"/>
                  <a:pt x="5693103" y="1678802"/>
                  <a:pt x="5696972" y="1674934"/>
                </a:cubicBezTo>
                <a:cubicBezTo>
                  <a:pt x="5696972" y="1674934"/>
                  <a:pt x="5698907" y="1674934"/>
                  <a:pt x="5698907" y="1674934"/>
                </a:cubicBezTo>
                <a:cubicBezTo>
                  <a:pt x="5708576" y="1661394"/>
                  <a:pt x="5720181" y="1649789"/>
                  <a:pt x="5729851" y="1636251"/>
                </a:cubicBezTo>
                <a:cubicBezTo>
                  <a:pt x="5733719" y="1630448"/>
                  <a:pt x="5735654" y="1626582"/>
                  <a:pt x="5739522" y="1620778"/>
                </a:cubicBezTo>
                <a:close/>
                <a:moveTo>
                  <a:pt x="5784006" y="1613042"/>
                </a:moveTo>
                <a:lnTo>
                  <a:pt x="5790991" y="1616035"/>
                </a:lnTo>
                <a:lnTo>
                  <a:pt x="5789807" y="1616910"/>
                </a:lnTo>
                <a:cubicBezTo>
                  <a:pt x="5782073" y="1622714"/>
                  <a:pt x="5774334" y="1628515"/>
                  <a:pt x="5766600" y="1632383"/>
                </a:cubicBezTo>
                <a:lnTo>
                  <a:pt x="5761693" y="1631401"/>
                </a:lnTo>
                <a:lnTo>
                  <a:pt x="5770951" y="1621262"/>
                </a:lnTo>
                <a:cubicBezTo>
                  <a:pt x="5775303" y="1618360"/>
                  <a:pt x="5780138" y="1615942"/>
                  <a:pt x="5784006" y="1613042"/>
                </a:cubicBezTo>
                <a:close/>
                <a:moveTo>
                  <a:pt x="5770466" y="1603834"/>
                </a:moveTo>
                <a:lnTo>
                  <a:pt x="5770466" y="1618843"/>
                </a:lnTo>
                <a:cubicBezTo>
                  <a:pt x="5768533" y="1624647"/>
                  <a:pt x="5760797" y="1626582"/>
                  <a:pt x="5756928" y="1630448"/>
                </a:cubicBezTo>
                <a:lnTo>
                  <a:pt x="5761693" y="1631401"/>
                </a:lnTo>
                <a:lnTo>
                  <a:pt x="5760797" y="1632383"/>
                </a:lnTo>
                <a:lnTo>
                  <a:pt x="5748547" y="1632383"/>
                </a:lnTo>
                <a:lnTo>
                  <a:pt x="5762732" y="1616910"/>
                </a:lnTo>
                <a:cubicBezTo>
                  <a:pt x="5762732" y="1614977"/>
                  <a:pt x="5762732" y="1614977"/>
                  <a:pt x="5762732" y="1613042"/>
                </a:cubicBezTo>
                <a:cubicBezTo>
                  <a:pt x="5760797" y="1614977"/>
                  <a:pt x="5756928" y="1614977"/>
                  <a:pt x="5754993" y="1616910"/>
                </a:cubicBezTo>
                <a:cubicBezTo>
                  <a:pt x="5754993" y="1614977"/>
                  <a:pt x="5754993" y="1614977"/>
                  <a:pt x="5754993" y="1613042"/>
                </a:cubicBezTo>
                <a:lnTo>
                  <a:pt x="5757403" y="1610934"/>
                </a:lnTo>
                <a:close/>
                <a:moveTo>
                  <a:pt x="5814235" y="1598856"/>
                </a:moveTo>
                <a:lnTo>
                  <a:pt x="5824622" y="1603372"/>
                </a:lnTo>
                <a:cubicBezTo>
                  <a:pt x="5811084" y="1607241"/>
                  <a:pt x="5803347" y="1614977"/>
                  <a:pt x="5797544" y="1618843"/>
                </a:cubicBezTo>
                <a:lnTo>
                  <a:pt x="5790991" y="1616035"/>
                </a:lnTo>
                <a:close/>
                <a:moveTo>
                  <a:pt x="5834293" y="1584031"/>
                </a:moveTo>
                <a:cubicBezTo>
                  <a:pt x="5834293" y="1584031"/>
                  <a:pt x="5834293" y="1585964"/>
                  <a:pt x="5834293" y="1585964"/>
                </a:cubicBezTo>
                <a:lnTo>
                  <a:pt x="5831678" y="1585964"/>
                </a:lnTo>
                <a:close/>
                <a:moveTo>
                  <a:pt x="5846918" y="1573903"/>
                </a:moveTo>
                <a:lnTo>
                  <a:pt x="5847831" y="1574359"/>
                </a:lnTo>
                <a:cubicBezTo>
                  <a:pt x="5845898" y="1576295"/>
                  <a:pt x="5843963" y="1578227"/>
                  <a:pt x="5842028" y="1580163"/>
                </a:cubicBezTo>
                <a:lnTo>
                  <a:pt x="5840732" y="1578866"/>
                </a:lnTo>
                <a:close/>
                <a:moveTo>
                  <a:pt x="5818820" y="1572426"/>
                </a:moveTo>
                <a:cubicBezTo>
                  <a:pt x="5814952" y="1576295"/>
                  <a:pt x="5811084" y="1578227"/>
                  <a:pt x="5807216" y="1578227"/>
                </a:cubicBezTo>
                <a:cubicBezTo>
                  <a:pt x="5809149" y="1580163"/>
                  <a:pt x="5809149" y="1582096"/>
                  <a:pt x="5809149" y="1585964"/>
                </a:cubicBezTo>
                <a:cubicBezTo>
                  <a:pt x="5813017" y="1582096"/>
                  <a:pt x="5816885" y="1576295"/>
                  <a:pt x="5818820" y="1572426"/>
                </a:cubicBezTo>
                <a:close/>
                <a:moveTo>
                  <a:pt x="5843963" y="1560822"/>
                </a:moveTo>
                <a:cubicBezTo>
                  <a:pt x="5840095" y="1562754"/>
                  <a:pt x="5836226" y="1564690"/>
                  <a:pt x="5832358" y="1566623"/>
                </a:cubicBezTo>
                <a:cubicBezTo>
                  <a:pt x="5830425" y="1570491"/>
                  <a:pt x="5828490" y="1572426"/>
                  <a:pt x="5830425" y="1578227"/>
                </a:cubicBezTo>
                <a:cubicBezTo>
                  <a:pt x="5832358" y="1578227"/>
                  <a:pt x="5832358" y="1578227"/>
                  <a:pt x="5834293" y="1578227"/>
                </a:cubicBezTo>
                <a:cubicBezTo>
                  <a:pt x="5838159" y="1572426"/>
                  <a:pt x="5840095" y="1566623"/>
                  <a:pt x="5843963" y="1560822"/>
                </a:cubicBezTo>
                <a:close/>
                <a:moveTo>
                  <a:pt x="5876842" y="1555018"/>
                </a:moveTo>
                <a:cubicBezTo>
                  <a:pt x="5876842" y="1555018"/>
                  <a:pt x="5876842" y="1555018"/>
                  <a:pt x="5878777" y="1556953"/>
                </a:cubicBezTo>
                <a:cubicBezTo>
                  <a:pt x="5876842" y="1558886"/>
                  <a:pt x="5874909" y="1558886"/>
                  <a:pt x="5872976" y="1560822"/>
                </a:cubicBezTo>
                <a:cubicBezTo>
                  <a:pt x="5872976" y="1556953"/>
                  <a:pt x="5874909" y="1556953"/>
                  <a:pt x="5876842" y="1555018"/>
                </a:cubicBezTo>
                <a:close/>
                <a:moveTo>
                  <a:pt x="5890595" y="1530009"/>
                </a:moveTo>
                <a:lnTo>
                  <a:pt x="5882645" y="1539547"/>
                </a:lnTo>
                <a:cubicBezTo>
                  <a:pt x="5878777" y="1545349"/>
                  <a:pt x="5872976" y="1545349"/>
                  <a:pt x="5869108" y="1545349"/>
                </a:cubicBezTo>
                <a:lnTo>
                  <a:pt x="5875713" y="1538142"/>
                </a:lnTo>
                <a:lnTo>
                  <a:pt x="5884578" y="1531809"/>
                </a:lnTo>
                <a:close/>
                <a:moveTo>
                  <a:pt x="5987086" y="1481524"/>
                </a:moveTo>
                <a:cubicBezTo>
                  <a:pt x="5981285" y="1485392"/>
                  <a:pt x="5979352" y="1487325"/>
                  <a:pt x="5977417" y="1489260"/>
                </a:cubicBezTo>
                <a:cubicBezTo>
                  <a:pt x="5973548" y="1485392"/>
                  <a:pt x="5975481" y="1483457"/>
                  <a:pt x="5987086" y="1481524"/>
                </a:cubicBezTo>
                <a:close/>
                <a:moveTo>
                  <a:pt x="5468747" y="1429303"/>
                </a:moveTo>
                <a:cubicBezTo>
                  <a:pt x="5466814" y="1431236"/>
                  <a:pt x="5464879" y="1431236"/>
                  <a:pt x="5464879" y="1431236"/>
                </a:cubicBezTo>
                <a:cubicBezTo>
                  <a:pt x="5464879" y="1433172"/>
                  <a:pt x="5462946" y="1433172"/>
                  <a:pt x="5462946" y="1435104"/>
                </a:cubicBezTo>
                <a:cubicBezTo>
                  <a:pt x="5464879" y="1435104"/>
                  <a:pt x="5466814" y="1435104"/>
                  <a:pt x="5468747" y="1435104"/>
                </a:cubicBezTo>
                <a:cubicBezTo>
                  <a:pt x="5468747" y="1433172"/>
                  <a:pt x="5468747" y="1431236"/>
                  <a:pt x="5468747" y="1429303"/>
                </a:cubicBezTo>
                <a:close/>
                <a:moveTo>
                  <a:pt x="5488088" y="1419631"/>
                </a:moveTo>
                <a:cubicBezTo>
                  <a:pt x="5486155" y="1419631"/>
                  <a:pt x="5484220" y="1421567"/>
                  <a:pt x="5482287" y="1421567"/>
                </a:cubicBezTo>
                <a:cubicBezTo>
                  <a:pt x="5480352" y="1427368"/>
                  <a:pt x="5476483" y="1429303"/>
                  <a:pt x="5472615" y="1433172"/>
                </a:cubicBezTo>
                <a:cubicBezTo>
                  <a:pt x="5474551" y="1433172"/>
                  <a:pt x="5478419" y="1435104"/>
                  <a:pt x="5482287" y="1435104"/>
                </a:cubicBezTo>
                <a:cubicBezTo>
                  <a:pt x="5482287" y="1435104"/>
                  <a:pt x="5484220" y="1435104"/>
                  <a:pt x="5484220" y="1435104"/>
                </a:cubicBezTo>
                <a:cubicBezTo>
                  <a:pt x="5486155" y="1433172"/>
                  <a:pt x="5488088" y="1433172"/>
                  <a:pt x="5490021" y="1431236"/>
                </a:cubicBezTo>
                <a:cubicBezTo>
                  <a:pt x="5493889" y="1429303"/>
                  <a:pt x="5495825" y="1425435"/>
                  <a:pt x="5495825" y="1419631"/>
                </a:cubicBezTo>
                <a:cubicBezTo>
                  <a:pt x="5491956" y="1419631"/>
                  <a:pt x="5490021" y="1421567"/>
                  <a:pt x="5488088" y="1419631"/>
                </a:cubicBezTo>
                <a:close/>
                <a:moveTo>
                  <a:pt x="5476483" y="1408027"/>
                </a:moveTo>
                <a:cubicBezTo>
                  <a:pt x="5474551" y="1409962"/>
                  <a:pt x="5472615" y="1411895"/>
                  <a:pt x="5472615" y="1411895"/>
                </a:cubicBezTo>
                <a:cubicBezTo>
                  <a:pt x="5472615" y="1413830"/>
                  <a:pt x="5474551" y="1413830"/>
                  <a:pt x="5474551" y="1413830"/>
                </a:cubicBezTo>
                <a:cubicBezTo>
                  <a:pt x="5474551" y="1411895"/>
                  <a:pt x="5476483" y="1409962"/>
                  <a:pt x="5476483" y="1408027"/>
                </a:cubicBezTo>
                <a:close/>
                <a:moveTo>
                  <a:pt x="5975481" y="1390621"/>
                </a:moveTo>
                <a:cubicBezTo>
                  <a:pt x="5973548" y="1392554"/>
                  <a:pt x="5973548" y="1396422"/>
                  <a:pt x="5971613" y="1398357"/>
                </a:cubicBezTo>
                <a:cubicBezTo>
                  <a:pt x="5971613" y="1400290"/>
                  <a:pt x="5973548" y="1400290"/>
                  <a:pt x="5973548" y="1400290"/>
                </a:cubicBezTo>
                <a:cubicBezTo>
                  <a:pt x="5975481" y="1398357"/>
                  <a:pt x="5975481" y="1396422"/>
                  <a:pt x="5979352" y="1392554"/>
                </a:cubicBezTo>
                <a:cubicBezTo>
                  <a:pt x="5977417" y="1392554"/>
                  <a:pt x="5977417" y="1390621"/>
                  <a:pt x="5975481" y="1390621"/>
                </a:cubicBezTo>
                <a:close/>
                <a:moveTo>
                  <a:pt x="5987086" y="1385301"/>
                </a:moveTo>
                <a:lnTo>
                  <a:pt x="5987086" y="1390621"/>
                </a:lnTo>
                <a:lnTo>
                  <a:pt x="5982327" y="1387795"/>
                </a:lnTo>
                <a:lnTo>
                  <a:pt x="5981285" y="1386752"/>
                </a:lnTo>
                <a:close/>
                <a:moveTo>
                  <a:pt x="6021900" y="1379338"/>
                </a:moveTo>
                <a:lnTo>
                  <a:pt x="6021900" y="1380949"/>
                </a:lnTo>
                <a:lnTo>
                  <a:pt x="6020519" y="1380489"/>
                </a:lnTo>
                <a:close/>
                <a:moveTo>
                  <a:pt x="5529913" y="1372488"/>
                </a:moveTo>
                <a:cubicBezTo>
                  <a:pt x="5526770" y="1373213"/>
                  <a:pt x="5523869" y="1375148"/>
                  <a:pt x="5520967" y="1379016"/>
                </a:cubicBezTo>
                <a:cubicBezTo>
                  <a:pt x="5519034" y="1379016"/>
                  <a:pt x="5515166" y="1379016"/>
                  <a:pt x="5513231" y="1380949"/>
                </a:cubicBezTo>
                <a:cubicBezTo>
                  <a:pt x="5511298" y="1382884"/>
                  <a:pt x="5509362" y="1384817"/>
                  <a:pt x="5507430" y="1386752"/>
                </a:cubicBezTo>
                <a:cubicBezTo>
                  <a:pt x="5505497" y="1386752"/>
                  <a:pt x="5503561" y="1384817"/>
                  <a:pt x="5501628" y="1382884"/>
                </a:cubicBezTo>
                <a:cubicBezTo>
                  <a:pt x="5499693" y="1384817"/>
                  <a:pt x="5497758" y="1386752"/>
                  <a:pt x="5495825" y="1388685"/>
                </a:cubicBezTo>
                <a:cubicBezTo>
                  <a:pt x="5493889" y="1386752"/>
                  <a:pt x="5493889" y="1386752"/>
                  <a:pt x="5493889" y="1386752"/>
                </a:cubicBezTo>
                <a:cubicBezTo>
                  <a:pt x="5488088" y="1392554"/>
                  <a:pt x="5484220" y="1400290"/>
                  <a:pt x="5478419" y="1406094"/>
                </a:cubicBezTo>
                <a:cubicBezTo>
                  <a:pt x="5480352" y="1408027"/>
                  <a:pt x="5482287" y="1408027"/>
                  <a:pt x="5484220" y="1409962"/>
                </a:cubicBezTo>
                <a:cubicBezTo>
                  <a:pt x="5484220" y="1411895"/>
                  <a:pt x="5484220" y="1415763"/>
                  <a:pt x="5484220" y="1417699"/>
                </a:cubicBezTo>
                <a:cubicBezTo>
                  <a:pt x="5490021" y="1413830"/>
                  <a:pt x="5493889" y="1409962"/>
                  <a:pt x="5499693" y="1404158"/>
                </a:cubicBezTo>
                <a:cubicBezTo>
                  <a:pt x="5501628" y="1404158"/>
                  <a:pt x="5503561" y="1402225"/>
                  <a:pt x="5505497" y="1400290"/>
                </a:cubicBezTo>
                <a:cubicBezTo>
                  <a:pt x="5505497" y="1402225"/>
                  <a:pt x="5505497" y="1402225"/>
                  <a:pt x="5505497" y="1402225"/>
                </a:cubicBezTo>
                <a:cubicBezTo>
                  <a:pt x="5511298" y="1398357"/>
                  <a:pt x="5517099" y="1396422"/>
                  <a:pt x="5522903" y="1392554"/>
                </a:cubicBezTo>
                <a:cubicBezTo>
                  <a:pt x="5528704" y="1390621"/>
                  <a:pt x="5536440" y="1384817"/>
                  <a:pt x="5538376" y="1377081"/>
                </a:cubicBezTo>
                <a:cubicBezTo>
                  <a:pt x="5538376" y="1375148"/>
                  <a:pt x="5540308" y="1375148"/>
                  <a:pt x="5540308" y="1373212"/>
                </a:cubicBezTo>
                <a:cubicBezTo>
                  <a:pt x="5536440" y="1372246"/>
                  <a:pt x="5533056" y="1371763"/>
                  <a:pt x="5529913" y="1372488"/>
                </a:cubicBezTo>
                <a:close/>
                <a:moveTo>
                  <a:pt x="5546112" y="1369344"/>
                </a:moveTo>
                <a:cubicBezTo>
                  <a:pt x="5544177" y="1369344"/>
                  <a:pt x="5544177" y="1371279"/>
                  <a:pt x="5540308" y="1375148"/>
                </a:cubicBezTo>
                <a:cubicBezTo>
                  <a:pt x="5542244" y="1375148"/>
                  <a:pt x="5544177" y="1375148"/>
                  <a:pt x="5546112" y="1375148"/>
                </a:cubicBezTo>
                <a:cubicBezTo>
                  <a:pt x="5546112" y="1375148"/>
                  <a:pt x="5548045" y="1373212"/>
                  <a:pt x="5548045" y="1371279"/>
                </a:cubicBezTo>
                <a:cubicBezTo>
                  <a:pt x="5548045" y="1369344"/>
                  <a:pt x="5546112" y="1369344"/>
                  <a:pt x="5546112" y="1369344"/>
                </a:cubicBezTo>
                <a:close/>
                <a:moveTo>
                  <a:pt x="5971613" y="1361607"/>
                </a:moveTo>
                <a:cubicBezTo>
                  <a:pt x="5961943" y="1363543"/>
                  <a:pt x="5961943" y="1363543"/>
                  <a:pt x="5960011" y="1371279"/>
                </a:cubicBezTo>
                <a:cubicBezTo>
                  <a:pt x="5963876" y="1367411"/>
                  <a:pt x="5967745" y="1365478"/>
                  <a:pt x="5971613" y="1361607"/>
                </a:cubicBezTo>
                <a:close/>
                <a:moveTo>
                  <a:pt x="6023836" y="1351938"/>
                </a:moveTo>
                <a:lnTo>
                  <a:pt x="6024801" y="1351938"/>
                </a:lnTo>
                <a:lnTo>
                  <a:pt x="6025769" y="1353873"/>
                </a:lnTo>
                <a:lnTo>
                  <a:pt x="6027853" y="1352236"/>
                </a:lnTo>
                <a:lnTo>
                  <a:pt x="6029637" y="1355806"/>
                </a:lnTo>
                <a:cubicBezTo>
                  <a:pt x="6029637" y="1357739"/>
                  <a:pt x="6025769" y="1359675"/>
                  <a:pt x="6023836" y="1363543"/>
                </a:cubicBezTo>
                <a:cubicBezTo>
                  <a:pt x="6021900" y="1363543"/>
                  <a:pt x="6021900" y="1361607"/>
                  <a:pt x="6019967" y="1361607"/>
                </a:cubicBezTo>
                <a:cubicBezTo>
                  <a:pt x="6021900" y="1357739"/>
                  <a:pt x="6021900" y="1355806"/>
                  <a:pt x="6023836" y="1351938"/>
                </a:cubicBezTo>
                <a:close/>
                <a:moveTo>
                  <a:pt x="6019967" y="1342269"/>
                </a:moveTo>
                <a:lnTo>
                  <a:pt x="6020353" y="1343041"/>
                </a:lnTo>
                <a:lnTo>
                  <a:pt x="6012406" y="1347015"/>
                </a:lnTo>
                <a:lnTo>
                  <a:pt x="6010295" y="1344202"/>
                </a:lnTo>
                <a:cubicBezTo>
                  <a:pt x="6014164" y="1344202"/>
                  <a:pt x="6018032" y="1342269"/>
                  <a:pt x="6019967" y="1342269"/>
                </a:cubicBezTo>
                <a:close/>
                <a:moveTo>
                  <a:pt x="6033505" y="1336465"/>
                </a:moveTo>
                <a:lnTo>
                  <a:pt x="6036149" y="1345717"/>
                </a:lnTo>
                <a:lnTo>
                  <a:pt x="6027853" y="1352236"/>
                </a:lnTo>
                <a:lnTo>
                  <a:pt x="6027704" y="1351938"/>
                </a:lnTo>
                <a:lnTo>
                  <a:pt x="6024801" y="1351938"/>
                </a:lnTo>
                <a:lnTo>
                  <a:pt x="6020353" y="1343041"/>
                </a:lnTo>
                <a:close/>
                <a:moveTo>
                  <a:pt x="5608002" y="1324860"/>
                </a:moveTo>
                <a:cubicBezTo>
                  <a:pt x="5606069" y="1324860"/>
                  <a:pt x="5606069" y="1326796"/>
                  <a:pt x="5604133" y="1326796"/>
                </a:cubicBezTo>
                <a:cubicBezTo>
                  <a:pt x="5604133" y="1328729"/>
                  <a:pt x="5606069" y="1328729"/>
                  <a:pt x="5606069" y="1328729"/>
                </a:cubicBezTo>
                <a:cubicBezTo>
                  <a:pt x="5606069" y="1326796"/>
                  <a:pt x="5608002" y="1326796"/>
                  <a:pt x="5608002" y="1324860"/>
                </a:cubicBezTo>
                <a:close/>
                <a:moveTo>
                  <a:pt x="6095397" y="1307454"/>
                </a:moveTo>
                <a:cubicBezTo>
                  <a:pt x="6096364" y="1310355"/>
                  <a:pt x="6096364" y="1312289"/>
                  <a:pt x="6093946" y="1310597"/>
                </a:cubicBezTo>
                <a:lnTo>
                  <a:pt x="6092743" y="1309401"/>
                </a:lnTo>
                <a:close/>
                <a:moveTo>
                  <a:pt x="5642816" y="1303586"/>
                </a:moveTo>
                <a:cubicBezTo>
                  <a:pt x="5635080" y="1305519"/>
                  <a:pt x="5627343" y="1307454"/>
                  <a:pt x="5623475" y="1315191"/>
                </a:cubicBezTo>
                <a:cubicBezTo>
                  <a:pt x="5621542" y="1317124"/>
                  <a:pt x="5617674" y="1319059"/>
                  <a:pt x="5613805" y="1320992"/>
                </a:cubicBezTo>
                <a:cubicBezTo>
                  <a:pt x="5615738" y="1324860"/>
                  <a:pt x="5611872" y="1326796"/>
                  <a:pt x="5609937" y="1330664"/>
                </a:cubicBezTo>
                <a:cubicBezTo>
                  <a:pt x="5615738" y="1334532"/>
                  <a:pt x="5621542" y="1332597"/>
                  <a:pt x="5627343" y="1328729"/>
                </a:cubicBezTo>
                <a:cubicBezTo>
                  <a:pt x="5635080" y="1322927"/>
                  <a:pt x="5642816" y="1315191"/>
                  <a:pt x="5642816" y="1303586"/>
                </a:cubicBezTo>
                <a:close/>
                <a:moveTo>
                  <a:pt x="6077989" y="1291981"/>
                </a:moveTo>
                <a:cubicBezTo>
                  <a:pt x="6082341" y="1297784"/>
                  <a:pt x="6085726" y="1302014"/>
                  <a:pt x="6088325" y="1305006"/>
                </a:cubicBezTo>
                <a:lnTo>
                  <a:pt x="6092743" y="1309401"/>
                </a:lnTo>
                <a:lnTo>
                  <a:pt x="6066386" y="1328729"/>
                </a:lnTo>
                <a:cubicBezTo>
                  <a:pt x="6056715" y="1334532"/>
                  <a:pt x="6050911" y="1348070"/>
                  <a:pt x="6037373" y="1350003"/>
                </a:cubicBezTo>
                <a:lnTo>
                  <a:pt x="6036149" y="1345717"/>
                </a:lnTo>
                <a:lnTo>
                  <a:pt x="6052846" y="1332597"/>
                </a:lnTo>
                <a:cubicBezTo>
                  <a:pt x="6052846" y="1332597"/>
                  <a:pt x="6052846" y="1330664"/>
                  <a:pt x="6050911" y="1330664"/>
                </a:cubicBezTo>
                <a:cubicBezTo>
                  <a:pt x="6045110" y="1332597"/>
                  <a:pt x="6037373" y="1334532"/>
                  <a:pt x="6031570" y="1334532"/>
                </a:cubicBezTo>
                <a:cubicBezTo>
                  <a:pt x="6031570" y="1332597"/>
                  <a:pt x="6031570" y="1330664"/>
                  <a:pt x="6033505" y="1330664"/>
                </a:cubicBezTo>
                <a:cubicBezTo>
                  <a:pt x="6048978" y="1317124"/>
                  <a:pt x="6062516" y="1303586"/>
                  <a:pt x="6077989" y="1291981"/>
                </a:cubicBezTo>
                <a:close/>
                <a:moveTo>
                  <a:pt x="5644749" y="1251363"/>
                </a:moveTo>
                <a:cubicBezTo>
                  <a:pt x="5640883" y="1255234"/>
                  <a:pt x="5638948" y="1259102"/>
                  <a:pt x="5635080" y="1262968"/>
                </a:cubicBezTo>
                <a:cubicBezTo>
                  <a:pt x="5640883" y="1268772"/>
                  <a:pt x="5642816" y="1272640"/>
                  <a:pt x="5638948" y="1276508"/>
                </a:cubicBezTo>
                <a:cubicBezTo>
                  <a:pt x="5637015" y="1280376"/>
                  <a:pt x="5633147" y="1282309"/>
                  <a:pt x="5629278" y="1286178"/>
                </a:cubicBezTo>
                <a:cubicBezTo>
                  <a:pt x="5627343" y="1288113"/>
                  <a:pt x="5625410" y="1291981"/>
                  <a:pt x="5623475" y="1295850"/>
                </a:cubicBezTo>
                <a:cubicBezTo>
                  <a:pt x="5631211" y="1297782"/>
                  <a:pt x="5638948" y="1299718"/>
                  <a:pt x="5644749" y="1301651"/>
                </a:cubicBezTo>
                <a:cubicBezTo>
                  <a:pt x="5652488" y="1297782"/>
                  <a:pt x="5652488" y="1297782"/>
                  <a:pt x="5660224" y="1305519"/>
                </a:cubicBezTo>
                <a:cubicBezTo>
                  <a:pt x="5652488" y="1324860"/>
                  <a:pt x="5637015" y="1340333"/>
                  <a:pt x="5615738" y="1346137"/>
                </a:cubicBezTo>
                <a:cubicBezTo>
                  <a:pt x="5592531" y="1353873"/>
                  <a:pt x="5575123" y="1367411"/>
                  <a:pt x="5557714" y="1382884"/>
                </a:cubicBezTo>
                <a:cubicBezTo>
                  <a:pt x="5557714" y="1384817"/>
                  <a:pt x="5557714" y="1386752"/>
                  <a:pt x="5559650" y="1390621"/>
                </a:cubicBezTo>
                <a:cubicBezTo>
                  <a:pt x="5555781" y="1392554"/>
                  <a:pt x="5553849" y="1394489"/>
                  <a:pt x="5551913" y="1396422"/>
                </a:cubicBezTo>
                <a:cubicBezTo>
                  <a:pt x="5542244" y="1400290"/>
                  <a:pt x="5532572" y="1404158"/>
                  <a:pt x="5522903" y="1409962"/>
                </a:cubicBezTo>
                <a:cubicBezTo>
                  <a:pt x="5520967" y="1408027"/>
                  <a:pt x="5519034" y="1406094"/>
                  <a:pt x="5517099" y="1402225"/>
                </a:cubicBezTo>
                <a:cubicBezTo>
                  <a:pt x="5513231" y="1404158"/>
                  <a:pt x="5507430" y="1408027"/>
                  <a:pt x="5503561" y="1409962"/>
                </a:cubicBezTo>
                <a:cubicBezTo>
                  <a:pt x="5501628" y="1413830"/>
                  <a:pt x="5501628" y="1415763"/>
                  <a:pt x="5501628" y="1417699"/>
                </a:cubicBezTo>
                <a:cubicBezTo>
                  <a:pt x="5501628" y="1417699"/>
                  <a:pt x="5503561" y="1417699"/>
                  <a:pt x="5503561" y="1417699"/>
                </a:cubicBezTo>
                <a:cubicBezTo>
                  <a:pt x="5503561" y="1419631"/>
                  <a:pt x="5503561" y="1419631"/>
                  <a:pt x="5503561" y="1419631"/>
                </a:cubicBezTo>
                <a:lnTo>
                  <a:pt x="5502112" y="1421083"/>
                </a:lnTo>
                <a:lnTo>
                  <a:pt x="5501628" y="1419631"/>
                </a:lnTo>
                <a:cubicBezTo>
                  <a:pt x="5501628" y="1419631"/>
                  <a:pt x="5501628" y="1419631"/>
                  <a:pt x="5501628" y="1421567"/>
                </a:cubicBezTo>
                <a:lnTo>
                  <a:pt x="5502112" y="1421083"/>
                </a:lnTo>
                <a:lnTo>
                  <a:pt x="5503561" y="1425435"/>
                </a:lnTo>
                <a:cubicBezTo>
                  <a:pt x="5524838" y="1413830"/>
                  <a:pt x="5548045" y="1402225"/>
                  <a:pt x="5573190" y="1388685"/>
                </a:cubicBezTo>
                <a:cubicBezTo>
                  <a:pt x="5602201" y="1373212"/>
                  <a:pt x="5627343" y="1380949"/>
                  <a:pt x="5644749" y="1396422"/>
                </a:cubicBezTo>
                <a:cubicBezTo>
                  <a:pt x="5646684" y="1392554"/>
                  <a:pt x="5648620" y="1390621"/>
                  <a:pt x="5650553" y="1386752"/>
                </a:cubicBezTo>
                <a:cubicBezTo>
                  <a:pt x="5642816" y="1384817"/>
                  <a:pt x="5637015" y="1384817"/>
                  <a:pt x="5631211" y="1382884"/>
                </a:cubicBezTo>
                <a:cubicBezTo>
                  <a:pt x="5629278" y="1379016"/>
                  <a:pt x="5633147" y="1377081"/>
                  <a:pt x="5635080" y="1375148"/>
                </a:cubicBezTo>
                <a:cubicBezTo>
                  <a:pt x="5638948" y="1373212"/>
                  <a:pt x="5642816" y="1371279"/>
                  <a:pt x="5646684" y="1367411"/>
                </a:cubicBezTo>
                <a:cubicBezTo>
                  <a:pt x="5642816" y="1361607"/>
                  <a:pt x="5640883" y="1355806"/>
                  <a:pt x="5637015" y="1350003"/>
                </a:cubicBezTo>
                <a:cubicBezTo>
                  <a:pt x="5648620" y="1346137"/>
                  <a:pt x="5656356" y="1336465"/>
                  <a:pt x="5664090" y="1328729"/>
                </a:cubicBezTo>
                <a:cubicBezTo>
                  <a:pt x="5666026" y="1322927"/>
                  <a:pt x="5660224" y="1319059"/>
                  <a:pt x="5664090" y="1313255"/>
                </a:cubicBezTo>
                <a:cubicBezTo>
                  <a:pt x="5664090" y="1313255"/>
                  <a:pt x="5664090" y="1311323"/>
                  <a:pt x="5664090" y="1311323"/>
                </a:cubicBezTo>
                <a:cubicBezTo>
                  <a:pt x="5673762" y="1293914"/>
                  <a:pt x="5673762" y="1278444"/>
                  <a:pt x="5662157" y="1261035"/>
                </a:cubicBezTo>
                <a:cubicBezTo>
                  <a:pt x="5660224" y="1262968"/>
                  <a:pt x="5656356" y="1262968"/>
                  <a:pt x="5654421" y="1262968"/>
                </a:cubicBezTo>
                <a:cubicBezTo>
                  <a:pt x="5652488" y="1259102"/>
                  <a:pt x="5648620" y="1255234"/>
                  <a:pt x="5644749" y="1251363"/>
                </a:cubicBezTo>
                <a:close/>
                <a:moveTo>
                  <a:pt x="5635080" y="1241694"/>
                </a:moveTo>
                <a:cubicBezTo>
                  <a:pt x="5633147" y="1241694"/>
                  <a:pt x="5631211" y="1243629"/>
                  <a:pt x="5629278" y="1247497"/>
                </a:cubicBezTo>
                <a:cubicBezTo>
                  <a:pt x="5633147" y="1251363"/>
                  <a:pt x="5637015" y="1253299"/>
                  <a:pt x="5640883" y="1255234"/>
                </a:cubicBezTo>
                <a:cubicBezTo>
                  <a:pt x="5640883" y="1253299"/>
                  <a:pt x="5640883" y="1249430"/>
                  <a:pt x="5640883" y="1247497"/>
                </a:cubicBezTo>
                <a:cubicBezTo>
                  <a:pt x="5640883" y="1243629"/>
                  <a:pt x="5638948" y="1239761"/>
                  <a:pt x="5635080" y="1241694"/>
                </a:cubicBezTo>
                <a:close/>
                <a:moveTo>
                  <a:pt x="5573190" y="1013469"/>
                </a:moveTo>
                <a:cubicBezTo>
                  <a:pt x="5571255" y="1013469"/>
                  <a:pt x="5569322" y="1013469"/>
                  <a:pt x="5569322" y="1015404"/>
                </a:cubicBezTo>
                <a:cubicBezTo>
                  <a:pt x="5569322" y="1017337"/>
                  <a:pt x="5567386" y="1019273"/>
                  <a:pt x="5565453" y="1021206"/>
                </a:cubicBezTo>
                <a:cubicBezTo>
                  <a:pt x="5565453" y="1021206"/>
                  <a:pt x="5565453" y="1023141"/>
                  <a:pt x="5565453" y="1023141"/>
                </a:cubicBezTo>
                <a:cubicBezTo>
                  <a:pt x="5571255" y="1021206"/>
                  <a:pt x="5577056" y="1021206"/>
                  <a:pt x="5573190" y="1013469"/>
                </a:cubicBezTo>
                <a:close/>
                <a:moveTo>
                  <a:pt x="4991023" y="986394"/>
                </a:moveTo>
                <a:cubicBezTo>
                  <a:pt x="4989090" y="988327"/>
                  <a:pt x="4987155" y="990260"/>
                  <a:pt x="4985222" y="990260"/>
                </a:cubicBezTo>
                <a:cubicBezTo>
                  <a:pt x="4987155" y="990260"/>
                  <a:pt x="4987155" y="992195"/>
                  <a:pt x="4987155" y="992195"/>
                </a:cubicBezTo>
                <a:cubicBezTo>
                  <a:pt x="4989090" y="990260"/>
                  <a:pt x="4991023" y="990260"/>
                  <a:pt x="4992959" y="988327"/>
                </a:cubicBezTo>
                <a:cubicBezTo>
                  <a:pt x="4991023" y="988327"/>
                  <a:pt x="4991023" y="986394"/>
                  <a:pt x="4991023" y="986394"/>
                </a:cubicBezTo>
                <a:close/>
                <a:moveTo>
                  <a:pt x="5462946" y="965117"/>
                </a:moveTo>
                <a:cubicBezTo>
                  <a:pt x="5457142" y="965117"/>
                  <a:pt x="5453274" y="967052"/>
                  <a:pt x="5451341" y="967052"/>
                </a:cubicBezTo>
                <a:cubicBezTo>
                  <a:pt x="5441669" y="970921"/>
                  <a:pt x="5428131" y="970921"/>
                  <a:pt x="5428131" y="986394"/>
                </a:cubicBezTo>
                <a:cubicBezTo>
                  <a:pt x="5428131" y="988327"/>
                  <a:pt x="5426196" y="988327"/>
                  <a:pt x="5424263" y="990260"/>
                </a:cubicBezTo>
                <a:cubicBezTo>
                  <a:pt x="5418462" y="997998"/>
                  <a:pt x="5418462" y="999931"/>
                  <a:pt x="5426196" y="1009601"/>
                </a:cubicBezTo>
                <a:cubicBezTo>
                  <a:pt x="5433933" y="1005733"/>
                  <a:pt x="5439736" y="1001864"/>
                  <a:pt x="5445537" y="996063"/>
                </a:cubicBezTo>
                <a:cubicBezTo>
                  <a:pt x="5451341" y="990260"/>
                  <a:pt x="5457142" y="984458"/>
                  <a:pt x="5461010" y="978657"/>
                </a:cubicBezTo>
                <a:cubicBezTo>
                  <a:pt x="5462946" y="976722"/>
                  <a:pt x="5462946" y="970921"/>
                  <a:pt x="5462946" y="965117"/>
                </a:cubicBezTo>
                <a:close/>
                <a:moveTo>
                  <a:pt x="5468747" y="943843"/>
                </a:moveTo>
                <a:cubicBezTo>
                  <a:pt x="5466814" y="945776"/>
                  <a:pt x="5466814" y="947711"/>
                  <a:pt x="5466814" y="949644"/>
                </a:cubicBezTo>
                <a:cubicBezTo>
                  <a:pt x="5466814" y="951579"/>
                  <a:pt x="5468747" y="953512"/>
                  <a:pt x="5468747" y="955448"/>
                </a:cubicBezTo>
                <a:cubicBezTo>
                  <a:pt x="5470680" y="953512"/>
                  <a:pt x="5472615" y="953512"/>
                  <a:pt x="5472615" y="951579"/>
                </a:cubicBezTo>
                <a:cubicBezTo>
                  <a:pt x="5472615" y="949644"/>
                  <a:pt x="5472615" y="947711"/>
                  <a:pt x="5472615" y="945776"/>
                </a:cubicBezTo>
                <a:cubicBezTo>
                  <a:pt x="5472615" y="945776"/>
                  <a:pt x="5472615" y="943843"/>
                  <a:pt x="5470680" y="943843"/>
                </a:cubicBezTo>
                <a:cubicBezTo>
                  <a:pt x="5470680" y="941908"/>
                  <a:pt x="5470680" y="943843"/>
                  <a:pt x="5468747" y="943843"/>
                </a:cubicBezTo>
                <a:close/>
                <a:moveTo>
                  <a:pt x="5298546" y="878083"/>
                </a:moveTo>
                <a:cubicBezTo>
                  <a:pt x="5288877" y="880018"/>
                  <a:pt x="5281140" y="883884"/>
                  <a:pt x="5281140" y="893556"/>
                </a:cubicBezTo>
                <a:cubicBezTo>
                  <a:pt x="5281140" y="893556"/>
                  <a:pt x="5283073" y="895488"/>
                  <a:pt x="5283073" y="895488"/>
                </a:cubicBezTo>
                <a:cubicBezTo>
                  <a:pt x="5285008" y="891623"/>
                  <a:pt x="5288877" y="887754"/>
                  <a:pt x="5290810" y="883884"/>
                </a:cubicBezTo>
                <a:cubicBezTo>
                  <a:pt x="5290810" y="881951"/>
                  <a:pt x="5294678" y="880018"/>
                  <a:pt x="5298546" y="878083"/>
                </a:cubicBezTo>
                <a:close/>
                <a:moveTo>
                  <a:pt x="999037" y="876150"/>
                </a:moveTo>
                <a:cubicBezTo>
                  <a:pt x="999037" y="876150"/>
                  <a:pt x="999037" y="878083"/>
                  <a:pt x="999037" y="878083"/>
                </a:cubicBezTo>
                <a:cubicBezTo>
                  <a:pt x="999037" y="876150"/>
                  <a:pt x="1000972" y="876150"/>
                  <a:pt x="1000972" y="876150"/>
                </a:cubicBezTo>
                <a:cubicBezTo>
                  <a:pt x="999037" y="876150"/>
                  <a:pt x="999037" y="876150"/>
                  <a:pt x="999037" y="876150"/>
                </a:cubicBezTo>
                <a:close/>
                <a:moveTo>
                  <a:pt x="886860" y="860677"/>
                </a:moveTo>
                <a:cubicBezTo>
                  <a:pt x="886860" y="862609"/>
                  <a:pt x="886860" y="864545"/>
                  <a:pt x="886860" y="864545"/>
                </a:cubicBezTo>
                <a:cubicBezTo>
                  <a:pt x="886860" y="864545"/>
                  <a:pt x="888793" y="864545"/>
                  <a:pt x="890728" y="864545"/>
                </a:cubicBezTo>
                <a:cubicBezTo>
                  <a:pt x="890728" y="862609"/>
                  <a:pt x="892661" y="862609"/>
                  <a:pt x="892661" y="860677"/>
                </a:cubicBezTo>
                <a:cubicBezTo>
                  <a:pt x="890728" y="860677"/>
                  <a:pt x="888793" y="860677"/>
                  <a:pt x="886860" y="860677"/>
                </a:cubicBezTo>
                <a:close/>
                <a:moveTo>
                  <a:pt x="5321756" y="854873"/>
                </a:moveTo>
                <a:cubicBezTo>
                  <a:pt x="5314019" y="854873"/>
                  <a:pt x="5306283" y="858741"/>
                  <a:pt x="5304350" y="866478"/>
                </a:cubicBezTo>
                <a:cubicBezTo>
                  <a:pt x="5306283" y="868413"/>
                  <a:pt x="5308218" y="870346"/>
                  <a:pt x="5310151" y="872281"/>
                </a:cubicBezTo>
                <a:cubicBezTo>
                  <a:pt x="5315952" y="868413"/>
                  <a:pt x="5319820" y="862609"/>
                  <a:pt x="5321756" y="854873"/>
                </a:cubicBezTo>
                <a:close/>
                <a:moveTo>
                  <a:pt x="1873250" y="835532"/>
                </a:moveTo>
                <a:cubicBezTo>
                  <a:pt x="1871317" y="837467"/>
                  <a:pt x="1867449" y="839400"/>
                  <a:pt x="1865516" y="841335"/>
                </a:cubicBezTo>
                <a:cubicBezTo>
                  <a:pt x="1865516" y="841335"/>
                  <a:pt x="1865516" y="843268"/>
                  <a:pt x="1865516" y="843268"/>
                </a:cubicBezTo>
                <a:cubicBezTo>
                  <a:pt x="1869384" y="841335"/>
                  <a:pt x="1875186" y="839400"/>
                  <a:pt x="1879054" y="837467"/>
                </a:cubicBezTo>
                <a:cubicBezTo>
                  <a:pt x="1877119" y="837467"/>
                  <a:pt x="1875186" y="835532"/>
                  <a:pt x="1873250" y="835532"/>
                </a:cubicBezTo>
                <a:close/>
                <a:moveTo>
                  <a:pt x="1902263" y="827795"/>
                </a:moveTo>
                <a:cubicBezTo>
                  <a:pt x="1892592" y="825862"/>
                  <a:pt x="1888726" y="829731"/>
                  <a:pt x="1882922" y="835532"/>
                </a:cubicBezTo>
                <a:cubicBezTo>
                  <a:pt x="1882922" y="835532"/>
                  <a:pt x="1882922" y="835532"/>
                  <a:pt x="1884855" y="835532"/>
                </a:cubicBezTo>
                <a:cubicBezTo>
                  <a:pt x="1888726" y="839400"/>
                  <a:pt x="1884855" y="841335"/>
                  <a:pt x="1882922" y="843268"/>
                </a:cubicBezTo>
                <a:cubicBezTo>
                  <a:pt x="1882922" y="843268"/>
                  <a:pt x="1880987" y="845204"/>
                  <a:pt x="1880987" y="845204"/>
                </a:cubicBezTo>
                <a:cubicBezTo>
                  <a:pt x="1888726" y="841335"/>
                  <a:pt x="1896460" y="837467"/>
                  <a:pt x="1902263" y="827795"/>
                </a:cubicBezTo>
                <a:close/>
                <a:moveTo>
                  <a:pt x="1718523" y="816190"/>
                </a:moveTo>
                <a:cubicBezTo>
                  <a:pt x="1689512" y="821994"/>
                  <a:pt x="1689512" y="821994"/>
                  <a:pt x="1677907" y="835532"/>
                </a:cubicBezTo>
                <a:cubicBezTo>
                  <a:pt x="1691447" y="829731"/>
                  <a:pt x="1703050" y="823929"/>
                  <a:pt x="1718523" y="816190"/>
                </a:cubicBezTo>
                <a:close/>
                <a:moveTo>
                  <a:pt x="1991231" y="792983"/>
                </a:moveTo>
                <a:cubicBezTo>
                  <a:pt x="1987363" y="796849"/>
                  <a:pt x="1983494" y="798784"/>
                  <a:pt x="1979626" y="802653"/>
                </a:cubicBezTo>
                <a:cubicBezTo>
                  <a:pt x="1981562" y="802653"/>
                  <a:pt x="1985430" y="800720"/>
                  <a:pt x="1989298" y="800720"/>
                </a:cubicBezTo>
                <a:cubicBezTo>
                  <a:pt x="1991231" y="800720"/>
                  <a:pt x="1991231" y="798784"/>
                  <a:pt x="1993166" y="792983"/>
                </a:cubicBezTo>
                <a:cubicBezTo>
                  <a:pt x="1993166" y="792983"/>
                  <a:pt x="1991231" y="792983"/>
                  <a:pt x="1991231" y="792983"/>
                </a:cubicBezTo>
                <a:close/>
                <a:moveTo>
                  <a:pt x="1037719" y="781378"/>
                </a:moveTo>
                <a:cubicBezTo>
                  <a:pt x="1035784" y="781378"/>
                  <a:pt x="1033851" y="781378"/>
                  <a:pt x="1033851" y="783311"/>
                </a:cubicBezTo>
                <a:cubicBezTo>
                  <a:pt x="1033851" y="783311"/>
                  <a:pt x="1035784" y="785247"/>
                  <a:pt x="1035784" y="785247"/>
                </a:cubicBezTo>
                <a:cubicBezTo>
                  <a:pt x="1037719" y="785247"/>
                  <a:pt x="1037719" y="783311"/>
                  <a:pt x="1037719" y="781378"/>
                </a:cubicBezTo>
                <a:close/>
                <a:moveTo>
                  <a:pt x="1782350" y="777510"/>
                </a:moveTo>
                <a:cubicBezTo>
                  <a:pt x="1772678" y="783311"/>
                  <a:pt x="1763009" y="789115"/>
                  <a:pt x="1753337" y="794916"/>
                </a:cubicBezTo>
                <a:cubicBezTo>
                  <a:pt x="1753337" y="796849"/>
                  <a:pt x="1755272" y="798784"/>
                  <a:pt x="1755272" y="798784"/>
                </a:cubicBezTo>
                <a:cubicBezTo>
                  <a:pt x="1764942" y="792983"/>
                  <a:pt x="1774611" y="785247"/>
                  <a:pt x="1784283" y="779443"/>
                </a:cubicBezTo>
                <a:cubicBezTo>
                  <a:pt x="1782350" y="779443"/>
                  <a:pt x="1782350" y="777510"/>
                  <a:pt x="1782350" y="777510"/>
                </a:cubicBezTo>
                <a:close/>
                <a:moveTo>
                  <a:pt x="4911725" y="767838"/>
                </a:moveTo>
                <a:cubicBezTo>
                  <a:pt x="4907857" y="771707"/>
                  <a:pt x="4903989" y="773642"/>
                  <a:pt x="4900121" y="777510"/>
                </a:cubicBezTo>
                <a:cubicBezTo>
                  <a:pt x="4898188" y="779443"/>
                  <a:pt x="4896252" y="781378"/>
                  <a:pt x="4894319" y="781378"/>
                </a:cubicBezTo>
                <a:cubicBezTo>
                  <a:pt x="4886583" y="781378"/>
                  <a:pt x="4882715" y="783311"/>
                  <a:pt x="4878846" y="787180"/>
                </a:cubicBezTo>
                <a:cubicBezTo>
                  <a:pt x="4865306" y="798784"/>
                  <a:pt x="4849836" y="808454"/>
                  <a:pt x="4834363" y="820059"/>
                </a:cubicBezTo>
                <a:cubicBezTo>
                  <a:pt x="4830494" y="821994"/>
                  <a:pt x="4828559" y="825862"/>
                  <a:pt x="4826626" y="827795"/>
                </a:cubicBezTo>
                <a:cubicBezTo>
                  <a:pt x="4834363" y="827795"/>
                  <a:pt x="4838231" y="823929"/>
                  <a:pt x="4844032" y="820059"/>
                </a:cubicBezTo>
                <a:cubicBezTo>
                  <a:pt x="4845965" y="821994"/>
                  <a:pt x="4845965" y="823929"/>
                  <a:pt x="4847900" y="825862"/>
                </a:cubicBezTo>
                <a:cubicBezTo>
                  <a:pt x="4851769" y="823929"/>
                  <a:pt x="4857572" y="821994"/>
                  <a:pt x="4855637" y="816190"/>
                </a:cubicBezTo>
                <a:cubicBezTo>
                  <a:pt x="4853704" y="814257"/>
                  <a:pt x="4855637" y="810389"/>
                  <a:pt x="4857572" y="810389"/>
                </a:cubicBezTo>
                <a:cubicBezTo>
                  <a:pt x="4867242" y="804588"/>
                  <a:pt x="4876913" y="798784"/>
                  <a:pt x="4886583" y="792983"/>
                </a:cubicBezTo>
                <a:cubicBezTo>
                  <a:pt x="4896252" y="789115"/>
                  <a:pt x="4903989" y="785247"/>
                  <a:pt x="4911725" y="779443"/>
                </a:cubicBezTo>
                <a:cubicBezTo>
                  <a:pt x="4917529" y="777510"/>
                  <a:pt x="4917529" y="773642"/>
                  <a:pt x="4911725" y="767838"/>
                </a:cubicBezTo>
                <a:close/>
                <a:moveTo>
                  <a:pt x="5325624" y="762037"/>
                </a:moveTo>
                <a:cubicBezTo>
                  <a:pt x="5323689" y="763970"/>
                  <a:pt x="5323689" y="763970"/>
                  <a:pt x="5321756" y="765905"/>
                </a:cubicBezTo>
                <a:cubicBezTo>
                  <a:pt x="5323689" y="765905"/>
                  <a:pt x="5325624" y="767838"/>
                  <a:pt x="5325624" y="765905"/>
                </a:cubicBezTo>
                <a:cubicBezTo>
                  <a:pt x="5325624" y="765905"/>
                  <a:pt x="5327559" y="765905"/>
                  <a:pt x="5327559" y="763970"/>
                </a:cubicBezTo>
                <a:cubicBezTo>
                  <a:pt x="5327559" y="763970"/>
                  <a:pt x="5325624" y="762037"/>
                  <a:pt x="5325624" y="762037"/>
                </a:cubicBezTo>
                <a:close/>
                <a:moveTo>
                  <a:pt x="4902056" y="762037"/>
                </a:moveTo>
                <a:cubicBezTo>
                  <a:pt x="4900121" y="763970"/>
                  <a:pt x="4898188" y="763970"/>
                  <a:pt x="4898188" y="765905"/>
                </a:cubicBezTo>
                <a:cubicBezTo>
                  <a:pt x="4898188" y="767838"/>
                  <a:pt x="4898188" y="767838"/>
                  <a:pt x="4898188" y="767838"/>
                </a:cubicBezTo>
                <a:cubicBezTo>
                  <a:pt x="4900121" y="765905"/>
                  <a:pt x="4900121" y="763970"/>
                  <a:pt x="4902056" y="762037"/>
                </a:cubicBezTo>
                <a:close/>
                <a:moveTo>
                  <a:pt x="5401054" y="756234"/>
                </a:moveTo>
                <a:cubicBezTo>
                  <a:pt x="5395252" y="760102"/>
                  <a:pt x="5391384" y="763970"/>
                  <a:pt x="5385581" y="767838"/>
                </a:cubicBezTo>
                <a:cubicBezTo>
                  <a:pt x="5387514" y="767838"/>
                  <a:pt x="5389449" y="767838"/>
                  <a:pt x="5389449" y="767838"/>
                </a:cubicBezTo>
                <a:cubicBezTo>
                  <a:pt x="5391384" y="765905"/>
                  <a:pt x="5395252" y="763970"/>
                  <a:pt x="5397185" y="762037"/>
                </a:cubicBezTo>
                <a:cubicBezTo>
                  <a:pt x="5399121" y="760102"/>
                  <a:pt x="5401054" y="758169"/>
                  <a:pt x="5401054" y="756234"/>
                </a:cubicBezTo>
                <a:close/>
                <a:moveTo>
                  <a:pt x="1834568" y="756234"/>
                </a:moveTo>
                <a:cubicBezTo>
                  <a:pt x="1834568" y="756234"/>
                  <a:pt x="1832635" y="758169"/>
                  <a:pt x="1832635" y="758169"/>
                </a:cubicBezTo>
                <a:cubicBezTo>
                  <a:pt x="1834568" y="758169"/>
                  <a:pt x="1834568" y="758169"/>
                  <a:pt x="1836503" y="756234"/>
                </a:cubicBezTo>
                <a:cubicBezTo>
                  <a:pt x="1836503" y="756234"/>
                  <a:pt x="1834568" y="756234"/>
                  <a:pt x="1834568" y="756234"/>
                </a:cubicBezTo>
                <a:close/>
                <a:moveTo>
                  <a:pt x="1828767" y="748497"/>
                </a:moveTo>
                <a:cubicBezTo>
                  <a:pt x="1826834" y="748497"/>
                  <a:pt x="1824898" y="750432"/>
                  <a:pt x="1822965" y="750432"/>
                </a:cubicBezTo>
                <a:lnTo>
                  <a:pt x="1824898" y="750432"/>
                </a:lnTo>
                <a:cubicBezTo>
                  <a:pt x="1819097" y="754301"/>
                  <a:pt x="1813294" y="758169"/>
                  <a:pt x="1809425" y="763970"/>
                </a:cubicBezTo>
                <a:cubicBezTo>
                  <a:pt x="1813294" y="765905"/>
                  <a:pt x="1817162" y="767838"/>
                  <a:pt x="1819097" y="767838"/>
                </a:cubicBezTo>
                <a:cubicBezTo>
                  <a:pt x="1821030" y="763970"/>
                  <a:pt x="1822965" y="760102"/>
                  <a:pt x="1822965" y="756234"/>
                </a:cubicBezTo>
                <a:cubicBezTo>
                  <a:pt x="1824898" y="754301"/>
                  <a:pt x="1824898" y="752365"/>
                  <a:pt x="1826834" y="750432"/>
                </a:cubicBezTo>
                <a:cubicBezTo>
                  <a:pt x="1826834" y="750432"/>
                  <a:pt x="1828767" y="750432"/>
                  <a:pt x="1828767" y="748497"/>
                </a:cubicBezTo>
                <a:close/>
                <a:moveTo>
                  <a:pt x="5397185" y="742696"/>
                </a:moveTo>
                <a:cubicBezTo>
                  <a:pt x="5397185" y="744629"/>
                  <a:pt x="5395252" y="746564"/>
                  <a:pt x="5393317" y="748497"/>
                </a:cubicBezTo>
                <a:cubicBezTo>
                  <a:pt x="5395252" y="746564"/>
                  <a:pt x="5397185" y="746564"/>
                  <a:pt x="5399121" y="744629"/>
                </a:cubicBezTo>
                <a:cubicBezTo>
                  <a:pt x="5399121" y="742696"/>
                  <a:pt x="5399121" y="742696"/>
                  <a:pt x="5397185" y="742696"/>
                </a:cubicBezTo>
                <a:close/>
                <a:moveTo>
                  <a:pt x="2122235" y="705949"/>
                </a:moveTo>
                <a:lnTo>
                  <a:pt x="2122752" y="705949"/>
                </a:lnTo>
                <a:cubicBezTo>
                  <a:pt x="2122752" y="707882"/>
                  <a:pt x="2122752" y="707882"/>
                  <a:pt x="2122752" y="709815"/>
                </a:cubicBezTo>
                <a:lnTo>
                  <a:pt x="2121769" y="707852"/>
                </a:lnTo>
                <a:close/>
                <a:moveTo>
                  <a:pt x="5445537" y="702080"/>
                </a:moveTo>
                <a:cubicBezTo>
                  <a:pt x="5443604" y="704013"/>
                  <a:pt x="5443604" y="704013"/>
                  <a:pt x="5441669" y="705949"/>
                </a:cubicBezTo>
                <a:cubicBezTo>
                  <a:pt x="5443604" y="707882"/>
                  <a:pt x="5445537" y="707882"/>
                  <a:pt x="5445537" y="707882"/>
                </a:cubicBezTo>
                <a:cubicBezTo>
                  <a:pt x="5445537" y="707882"/>
                  <a:pt x="5447473" y="705949"/>
                  <a:pt x="5447473" y="704013"/>
                </a:cubicBezTo>
                <a:cubicBezTo>
                  <a:pt x="5447473" y="702080"/>
                  <a:pt x="5445537" y="702080"/>
                  <a:pt x="5445537" y="702080"/>
                </a:cubicBezTo>
                <a:close/>
                <a:moveTo>
                  <a:pt x="1832635" y="700145"/>
                </a:moveTo>
                <a:cubicBezTo>
                  <a:pt x="1822965" y="700145"/>
                  <a:pt x="1815229" y="702080"/>
                  <a:pt x="1805557" y="707882"/>
                </a:cubicBezTo>
                <a:cubicBezTo>
                  <a:pt x="1809425" y="709815"/>
                  <a:pt x="1811361" y="709815"/>
                  <a:pt x="1813294" y="711750"/>
                </a:cubicBezTo>
                <a:cubicBezTo>
                  <a:pt x="1811361" y="711750"/>
                  <a:pt x="1811361" y="713685"/>
                  <a:pt x="1811361" y="713685"/>
                </a:cubicBezTo>
                <a:cubicBezTo>
                  <a:pt x="1776546" y="727223"/>
                  <a:pt x="1741732" y="742696"/>
                  <a:pt x="1706918" y="756234"/>
                </a:cubicBezTo>
                <a:cubicBezTo>
                  <a:pt x="1704985" y="756234"/>
                  <a:pt x="1704985" y="758169"/>
                  <a:pt x="1703050" y="758169"/>
                </a:cubicBezTo>
                <a:cubicBezTo>
                  <a:pt x="1703050" y="762037"/>
                  <a:pt x="1699181" y="765905"/>
                  <a:pt x="1697248" y="769774"/>
                </a:cubicBezTo>
                <a:cubicBezTo>
                  <a:pt x="1693380" y="775575"/>
                  <a:pt x="1689512" y="783311"/>
                  <a:pt x="1689512" y="789115"/>
                </a:cubicBezTo>
                <a:cubicBezTo>
                  <a:pt x="1693380" y="787180"/>
                  <a:pt x="1697248" y="785247"/>
                  <a:pt x="1701117" y="783311"/>
                </a:cubicBezTo>
                <a:cubicBezTo>
                  <a:pt x="1703050" y="781378"/>
                  <a:pt x="1706918" y="779443"/>
                  <a:pt x="1710786" y="777510"/>
                </a:cubicBezTo>
                <a:cubicBezTo>
                  <a:pt x="1712721" y="777510"/>
                  <a:pt x="1712721" y="775575"/>
                  <a:pt x="1714654" y="775575"/>
                </a:cubicBezTo>
                <a:cubicBezTo>
                  <a:pt x="1718523" y="773642"/>
                  <a:pt x="1722391" y="771707"/>
                  <a:pt x="1726259" y="769774"/>
                </a:cubicBezTo>
                <a:cubicBezTo>
                  <a:pt x="1728194" y="769774"/>
                  <a:pt x="1728194" y="767838"/>
                  <a:pt x="1730127" y="767838"/>
                </a:cubicBezTo>
                <a:cubicBezTo>
                  <a:pt x="1733996" y="765905"/>
                  <a:pt x="1737864" y="763970"/>
                  <a:pt x="1741732" y="762037"/>
                </a:cubicBezTo>
                <a:cubicBezTo>
                  <a:pt x="1768810" y="740761"/>
                  <a:pt x="1801689" y="734959"/>
                  <a:pt x="1830702" y="719486"/>
                </a:cubicBezTo>
                <a:cubicBezTo>
                  <a:pt x="1832635" y="717553"/>
                  <a:pt x="1834568" y="717553"/>
                  <a:pt x="1836503" y="715618"/>
                </a:cubicBezTo>
                <a:cubicBezTo>
                  <a:pt x="1842307" y="711750"/>
                  <a:pt x="1848108" y="709815"/>
                  <a:pt x="1853909" y="705949"/>
                </a:cubicBezTo>
                <a:cubicBezTo>
                  <a:pt x="1850043" y="707882"/>
                  <a:pt x="1848108" y="707882"/>
                  <a:pt x="1844240" y="707882"/>
                </a:cubicBezTo>
                <a:cubicBezTo>
                  <a:pt x="1840371" y="707882"/>
                  <a:pt x="1838436" y="711750"/>
                  <a:pt x="1836503" y="713685"/>
                </a:cubicBezTo>
                <a:cubicBezTo>
                  <a:pt x="1836503" y="709815"/>
                  <a:pt x="1834568" y="705949"/>
                  <a:pt x="1832635" y="700145"/>
                </a:cubicBezTo>
                <a:close/>
                <a:moveTo>
                  <a:pt x="5372043" y="694344"/>
                </a:moveTo>
                <a:cubicBezTo>
                  <a:pt x="5370108" y="698212"/>
                  <a:pt x="5366239" y="700145"/>
                  <a:pt x="5364306" y="700145"/>
                </a:cubicBezTo>
                <a:cubicBezTo>
                  <a:pt x="5366239" y="700145"/>
                  <a:pt x="5366239" y="702080"/>
                  <a:pt x="5366239" y="702080"/>
                </a:cubicBezTo>
                <a:cubicBezTo>
                  <a:pt x="5368175" y="700145"/>
                  <a:pt x="5370108" y="698212"/>
                  <a:pt x="5372043" y="694344"/>
                </a:cubicBezTo>
                <a:close/>
                <a:moveTo>
                  <a:pt x="1981562" y="690476"/>
                </a:moveTo>
                <a:cubicBezTo>
                  <a:pt x="1971890" y="694344"/>
                  <a:pt x="1962220" y="696277"/>
                  <a:pt x="1952551" y="698212"/>
                </a:cubicBezTo>
                <a:cubicBezTo>
                  <a:pt x="1950615" y="698212"/>
                  <a:pt x="1948680" y="702080"/>
                  <a:pt x="1948680" y="707882"/>
                </a:cubicBezTo>
                <a:cubicBezTo>
                  <a:pt x="1956419" y="704013"/>
                  <a:pt x="1966088" y="702080"/>
                  <a:pt x="1973825" y="698212"/>
                </a:cubicBezTo>
                <a:cubicBezTo>
                  <a:pt x="1977693" y="696277"/>
                  <a:pt x="1979626" y="692409"/>
                  <a:pt x="1981562" y="690476"/>
                </a:cubicBezTo>
                <a:close/>
                <a:moveTo>
                  <a:pt x="1860437" y="685157"/>
                </a:moveTo>
                <a:cubicBezTo>
                  <a:pt x="1858745" y="685640"/>
                  <a:pt x="1855844" y="688542"/>
                  <a:pt x="1850043" y="694344"/>
                </a:cubicBezTo>
                <a:cubicBezTo>
                  <a:pt x="1855844" y="692409"/>
                  <a:pt x="1859713" y="690476"/>
                  <a:pt x="1863581" y="690476"/>
                </a:cubicBezTo>
                <a:cubicBezTo>
                  <a:pt x="1862613" y="686607"/>
                  <a:pt x="1862129" y="684673"/>
                  <a:pt x="1860437" y="685157"/>
                </a:cubicBezTo>
                <a:close/>
                <a:moveTo>
                  <a:pt x="1735931" y="684672"/>
                </a:moveTo>
                <a:cubicBezTo>
                  <a:pt x="1728194" y="684672"/>
                  <a:pt x="1720458" y="684672"/>
                  <a:pt x="1714654" y="686607"/>
                </a:cubicBezTo>
                <a:cubicBezTo>
                  <a:pt x="1716590" y="688540"/>
                  <a:pt x="1716590" y="690476"/>
                  <a:pt x="1718523" y="692409"/>
                </a:cubicBezTo>
                <a:cubicBezTo>
                  <a:pt x="1724326" y="690476"/>
                  <a:pt x="1730127" y="690476"/>
                  <a:pt x="1735931" y="688540"/>
                </a:cubicBezTo>
                <a:cubicBezTo>
                  <a:pt x="1735931" y="688540"/>
                  <a:pt x="1735931" y="688540"/>
                  <a:pt x="1735931" y="684672"/>
                </a:cubicBezTo>
                <a:close/>
                <a:moveTo>
                  <a:pt x="5414594" y="663398"/>
                </a:moveTo>
                <a:cubicBezTo>
                  <a:pt x="5410723" y="665331"/>
                  <a:pt x="5404922" y="667266"/>
                  <a:pt x="5399121" y="671134"/>
                </a:cubicBezTo>
                <a:cubicBezTo>
                  <a:pt x="5404922" y="663398"/>
                  <a:pt x="5404922" y="663398"/>
                  <a:pt x="5414594" y="663398"/>
                </a:cubicBezTo>
                <a:close/>
                <a:moveTo>
                  <a:pt x="1726259" y="663398"/>
                </a:moveTo>
                <a:cubicBezTo>
                  <a:pt x="1722391" y="665331"/>
                  <a:pt x="1720458" y="667266"/>
                  <a:pt x="1716590" y="669199"/>
                </a:cubicBezTo>
                <a:cubicBezTo>
                  <a:pt x="1712721" y="671134"/>
                  <a:pt x="1710786" y="675003"/>
                  <a:pt x="1708853" y="678871"/>
                </a:cubicBezTo>
                <a:cubicBezTo>
                  <a:pt x="1708853" y="680804"/>
                  <a:pt x="1710786" y="680804"/>
                  <a:pt x="1710786" y="682739"/>
                </a:cubicBezTo>
                <a:cubicBezTo>
                  <a:pt x="1710786" y="680804"/>
                  <a:pt x="1712721" y="680804"/>
                  <a:pt x="1712721" y="678871"/>
                </a:cubicBezTo>
                <a:cubicBezTo>
                  <a:pt x="1712721" y="676936"/>
                  <a:pt x="1714654" y="676936"/>
                  <a:pt x="1714654" y="676936"/>
                </a:cubicBezTo>
                <a:cubicBezTo>
                  <a:pt x="1722391" y="675003"/>
                  <a:pt x="1726259" y="669199"/>
                  <a:pt x="1726259" y="663398"/>
                </a:cubicBezTo>
                <a:close/>
                <a:moveTo>
                  <a:pt x="1163436" y="653726"/>
                </a:moveTo>
                <a:cubicBezTo>
                  <a:pt x="1147963" y="653726"/>
                  <a:pt x="1147963" y="653726"/>
                  <a:pt x="1118950" y="669199"/>
                </a:cubicBezTo>
                <a:cubicBezTo>
                  <a:pt x="1136359" y="669199"/>
                  <a:pt x="1149896" y="665331"/>
                  <a:pt x="1163436" y="653726"/>
                </a:cubicBezTo>
                <a:close/>
                <a:moveTo>
                  <a:pt x="3539475" y="647925"/>
                </a:moveTo>
                <a:lnTo>
                  <a:pt x="3542382" y="647925"/>
                </a:lnTo>
                <a:cubicBezTo>
                  <a:pt x="3538514" y="651793"/>
                  <a:pt x="3534646" y="653726"/>
                  <a:pt x="3530777" y="655661"/>
                </a:cubicBezTo>
                <a:lnTo>
                  <a:pt x="3526574" y="654461"/>
                </a:lnTo>
                <a:lnTo>
                  <a:pt x="3532710" y="649858"/>
                </a:lnTo>
                <a:close/>
                <a:moveTo>
                  <a:pt x="3563656" y="634385"/>
                </a:moveTo>
                <a:cubicBezTo>
                  <a:pt x="3563656" y="636320"/>
                  <a:pt x="3563656" y="638253"/>
                  <a:pt x="3563656" y="638253"/>
                </a:cubicBezTo>
                <a:cubicBezTo>
                  <a:pt x="3561723" y="640188"/>
                  <a:pt x="3559788" y="640188"/>
                  <a:pt x="3557855" y="642121"/>
                </a:cubicBezTo>
                <a:cubicBezTo>
                  <a:pt x="3557855" y="642121"/>
                  <a:pt x="3557855" y="640188"/>
                  <a:pt x="3557855" y="640188"/>
                </a:cubicBezTo>
                <a:cubicBezTo>
                  <a:pt x="3557855" y="638253"/>
                  <a:pt x="3559788" y="636320"/>
                  <a:pt x="3563656" y="634385"/>
                </a:cubicBezTo>
                <a:close/>
                <a:moveTo>
                  <a:pt x="3534646" y="632452"/>
                </a:moveTo>
                <a:cubicBezTo>
                  <a:pt x="3534646" y="632452"/>
                  <a:pt x="3532710" y="636320"/>
                  <a:pt x="3534646" y="636320"/>
                </a:cubicBezTo>
                <a:cubicBezTo>
                  <a:pt x="3534646" y="638253"/>
                  <a:pt x="3536579" y="640188"/>
                  <a:pt x="3538514" y="642121"/>
                </a:cubicBezTo>
                <a:cubicBezTo>
                  <a:pt x="3538514" y="640188"/>
                  <a:pt x="3540447" y="638253"/>
                  <a:pt x="3540447" y="636320"/>
                </a:cubicBezTo>
                <a:cubicBezTo>
                  <a:pt x="3538514" y="634385"/>
                  <a:pt x="3536579" y="632452"/>
                  <a:pt x="3534646" y="632452"/>
                </a:cubicBezTo>
                <a:close/>
                <a:moveTo>
                  <a:pt x="5248259" y="624715"/>
                </a:moveTo>
                <a:cubicBezTo>
                  <a:pt x="5248259" y="624715"/>
                  <a:pt x="5250194" y="626651"/>
                  <a:pt x="5250194" y="626651"/>
                </a:cubicBezTo>
                <a:cubicBezTo>
                  <a:pt x="5248259" y="628584"/>
                  <a:pt x="5246326" y="628584"/>
                  <a:pt x="5244393" y="630519"/>
                </a:cubicBezTo>
                <a:cubicBezTo>
                  <a:pt x="5244393" y="630519"/>
                  <a:pt x="5244393" y="630519"/>
                  <a:pt x="5242458" y="628584"/>
                </a:cubicBezTo>
                <a:cubicBezTo>
                  <a:pt x="5244393" y="628584"/>
                  <a:pt x="5246326" y="626651"/>
                  <a:pt x="5248259" y="624715"/>
                </a:cubicBezTo>
                <a:close/>
                <a:moveTo>
                  <a:pt x="2076333" y="616979"/>
                </a:moveTo>
                <a:cubicBezTo>
                  <a:pt x="2074397" y="620847"/>
                  <a:pt x="2076333" y="622780"/>
                  <a:pt x="2076333" y="624715"/>
                </a:cubicBezTo>
                <a:cubicBezTo>
                  <a:pt x="2078265" y="622780"/>
                  <a:pt x="2080201" y="618914"/>
                  <a:pt x="2076333" y="616979"/>
                </a:cubicBezTo>
                <a:close/>
                <a:moveTo>
                  <a:pt x="1991231" y="611178"/>
                </a:moveTo>
                <a:cubicBezTo>
                  <a:pt x="1983494" y="609242"/>
                  <a:pt x="1977693" y="613111"/>
                  <a:pt x="1969957" y="616979"/>
                </a:cubicBezTo>
                <a:cubicBezTo>
                  <a:pt x="1969957" y="616979"/>
                  <a:pt x="1971890" y="616979"/>
                  <a:pt x="1971890" y="616979"/>
                </a:cubicBezTo>
                <a:cubicBezTo>
                  <a:pt x="1975760" y="616979"/>
                  <a:pt x="1981562" y="616979"/>
                  <a:pt x="1985430" y="615046"/>
                </a:cubicBezTo>
                <a:cubicBezTo>
                  <a:pt x="1987363" y="613111"/>
                  <a:pt x="1989298" y="613111"/>
                  <a:pt x="1991231" y="611178"/>
                </a:cubicBezTo>
                <a:close/>
                <a:moveTo>
                  <a:pt x="1821030" y="603441"/>
                </a:moveTo>
                <a:lnTo>
                  <a:pt x="1820451" y="607623"/>
                </a:lnTo>
                <a:lnTo>
                  <a:pt x="1817162" y="609242"/>
                </a:lnTo>
                <a:lnTo>
                  <a:pt x="1816673" y="606553"/>
                </a:lnTo>
                <a:close/>
                <a:moveTo>
                  <a:pt x="3523041" y="601506"/>
                </a:moveTo>
                <a:cubicBezTo>
                  <a:pt x="3521106" y="601506"/>
                  <a:pt x="3519173" y="603441"/>
                  <a:pt x="3519173" y="603441"/>
                </a:cubicBezTo>
                <a:cubicBezTo>
                  <a:pt x="3519173" y="605374"/>
                  <a:pt x="3521106" y="605374"/>
                  <a:pt x="3521106" y="607309"/>
                </a:cubicBezTo>
                <a:cubicBezTo>
                  <a:pt x="3521106" y="607309"/>
                  <a:pt x="3523041" y="605374"/>
                  <a:pt x="3524974" y="603441"/>
                </a:cubicBezTo>
                <a:cubicBezTo>
                  <a:pt x="3524974" y="603441"/>
                  <a:pt x="3523041" y="601506"/>
                  <a:pt x="3523041" y="601506"/>
                </a:cubicBezTo>
                <a:close/>
                <a:moveTo>
                  <a:pt x="1478696" y="599573"/>
                </a:moveTo>
                <a:cubicBezTo>
                  <a:pt x="1474827" y="601506"/>
                  <a:pt x="1470957" y="601506"/>
                  <a:pt x="1467088" y="603441"/>
                </a:cubicBezTo>
                <a:cubicBezTo>
                  <a:pt x="1469024" y="605374"/>
                  <a:pt x="1472892" y="605374"/>
                  <a:pt x="1474827" y="605374"/>
                </a:cubicBezTo>
                <a:cubicBezTo>
                  <a:pt x="1474827" y="605374"/>
                  <a:pt x="1476760" y="605374"/>
                  <a:pt x="1476760" y="605374"/>
                </a:cubicBezTo>
                <a:cubicBezTo>
                  <a:pt x="1478696" y="605374"/>
                  <a:pt x="1480628" y="603441"/>
                  <a:pt x="1480628" y="601506"/>
                </a:cubicBezTo>
                <a:cubicBezTo>
                  <a:pt x="1478696" y="601506"/>
                  <a:pt x="1478696" y="599573"/>
                  <a:pt x="1478696" y="599573"/>
                </a:cubicBezTo>
                <a:close/>
                <a:moveTo>
                  <a:pt x="3473721" y="589901"/>
                </a:moveTo>
                <a:lnTo>
                  <a:pt x="3478555" y="589901"/>
                </a:lnTo>
                <a:cubicBezTo>
                  <a:pt x="3478555" y="589901"/>
                  <a:pt x="3478555" y="591836"/>
                  <a:pt x="3478555" y="591836"/>
                </a:cubicBezTo>
                <a:lnTo>
                  <a:pt x="3473778" y="590243"/>
                </a:lnTo>
                <a:close/>
                <a:moveTo>
                  <a:pt x="1420672" y="580232"/>
                </a:moveTo>
                <a:cubicBezTo>
                  <a:pt x="1412935" y="584100"/>
                  <a:pt x="1405199" y="587968"/>
                  <a:pt x="1391661" y="595705"/>
                </a:cubicBezTo>
                <a:cubicBezTo>
                  <a:pt x="1407132" y="593769"/>
                  <a:pt x="1416803" y="591836"/>
                  <a:pt x="1428408" y="589901"/>
                </a:cubicBezTo>
                <a:cubicBezTo>
                  <a:pt x="1428408" y="584100"/>
                  <a:pt x="1428408" y="580232"/>
                  <a:pt x="1420672" y="580232"/>
                </a:cubicBezTo>
                <a:close/>
                <a:moveTo>
                  <a:pt x="3492895" y="576352"/>
                </a:moveTo>
                <a:lnTo>
                  <a:pt x="3491611" y="580714"/>
                </a:lnTo>
                <a:cubicBezTo>
                  <a:pt x="3490644" y="581681"/>
                  <a:pt x="3489194" y="581198"/>
                  <a:pt x="3486294" y="580232"/>
                </a:cubicBezTo>
                <a:lnTo>
                  <a:pt x="3488472" y="578053"/>
                </a:lnTo>
                <a:close/>
                <a:moveTo>
                  <a:pt x="4145820" y="562823"/>
                </a:moveTo>
                <a:cubicBezTo>
                  <a:pt x="4141955" y="564758"/>
                  <a:pt x="4140019" y="564758"/>
                  <a:pt x="4138086" y="566691"/>
                </a:cubicBezTo>
                <a:cubicBezTo>
                  <a:pt x="4132283" y="570560"/>
                  <a:pt x="4124546" y="572495"/>
                  <a:pt x="4118745" y="576363"/>
                </a:cubicBezTo>
                <a:cubicBezTo>
                  <a:pt x="4126479" y="576363"/>
                  <a:pt x="4134216" y="576363"/>
                  <a:pt x="4141955" y="574428"/>
                </a:cubicBezTo>
                <a:cubicBezTo>
                  <a:pt x="4143888" y="572495"/>
                  <a:pt x="4147756" y="572495"/>
                  <a:pt x="4149689" y="570560"/>
                </a:cubicBezTo>
                <a:cubicBezTo>
                  <a:pt x="4151624" y="570560"/>
                  <a:pt x="4151624" y="568627"/>
                  <a:pt x="4151624" y="568627"/>
                </a:cubicBezTo>
                <a:cubicBezTo>
                  <a:pt x="4149689" y="566691"/>
                  <a:pt x="4147756" y="564758"/>
                  <a:pt x="4145820" y="562823"/>
                </a:cubicBezTo>
                <a:close/>
                <a:moveTo>
                  <a:pt x="1494166" y="562823"/>
                </a:moveTo>
                <a:cubicBezTo>
                  <a:pt x="1470957" y="566691"/>
                  <a:pt x="1470957" y="566691"/>
                  <a:pt x="1463222" y="572495"/>
                </a:cubicBezTo>
                <a:cubicBezTo>
                  <a:pt x="1486430" y="570560"/>
                  <a:pt x="1486430" y="570560"/>
                  <a:pt x="1494166" y="562823"/>
                </a:cubicBezTo>
                <a:close/>
                <a:moveTo>
                  <a:pt x="4027842" y="560890"/>
                </a:moveTo>
                <a:cubicBezTo>
                  <a:pt x="4023974" y="562823"/>
                  <a:pt x="4018170" y="564758"/>
                  <a:pt x="4014302" y="566691"/>
                </a:cubicBezTo>
                <a:cubicBezTo>
                  <a:pt x="4012369" y="568627"/>
                  <a:pt x="4010434" y="568627"/>
                  <a:pt x="4008501" y="570560"/>
                </a:cubicBezTo>
                <a:cubicBezTo>
                  <a:pt x="4008501" y="572495"/>
                  <a:pt x="4008501" y="572495"/>
                  <a:pt x="4008501" y="574428"/>
                </a:cubicBezTo>
                <a:cubicBezTo>
                  <a:pt x="4010434" y="574428"/>
                  <a:pt x="4012369" y="572495"/>
                  <a:pt x="4014302" y="572495"/>
                </a:cubicBezTo>
                <a:cubicBezTo>
                  <a:pt x="4020103" y="570560"/>
                  <a:pt x="4025907" y="570560"/>
                  <a:pt x="4027842" y="560890"/>
                </a:cubicBezTo>
                <a:close/>
                <a:moveTo>
                  <a:pt x="2269743" y="560890"/>
                </a:moveTo>
                <a:cubicBezTo>
                  <a:pt x="2267808" y="562823"/>
                  <a:pt x="2267808" y="562823"/>
                  <a:pt x="2267808" y="562823"/>
                </a:cubicBezTo>
                <a:cubicBezTo>
                  <a:pt x="2267808" y="562823"/>
                  <a:pt x="2267808" y="564758"/>
                  <a:pt x="2267808" y="564758"/>
                </a:cubicBezTo>
                <a:cubicBezTo>
                  <a:pt x="2267808" y="564758"/>
                  <a:pt x="2269743" y="564758"/>
                  <a:pt x="2269743" y="564758"/>
                </a:cubicBezTo>
                <a:cubicBezTo>
                  <a:pt x="2269743" y="562823"/>
                  <a:pt x="2269743" y="562823"/>
                  <a:pt x="2269743" y="560890"/>
                </a:cubicBezTo>
                <a:close/>
                <a:moveTo>
                  <a:pt x="4167097" y="551218"/>
                </a:moveTo>
                <a:cubicBezTo>
                  <a:pt x="4165162" y="551218"/>
                  <a:pt x="4165162" y="551218"/>
                  <a:pt x="4163229" y="555087"/>
                </a:cubicBezTo>
                <a:cubicBezTo>
                  <a:pt x="4163229" y="555087"/>
                  <a:pt x="4161296" y="557022"/>
                  <a:pt x="4161296" y="557022"/>
                </a:cubicBezTo>
                <a:cubicBezTo>
                  <a:pt x="4167097" y="558955"/>
                  <a:pt x="4165162" y="549285"/>
                  <a:pt x="4167097" y="551218"/>
                </a:cubicBezTo>
                <a:close/>
                <a:moveTo>
                  <a:pt x="4029775" y="551218"/>
                </a:moveTo>
                <a:cubicBezTo>
                  <a:pt x="4027842" y="553154"/>
                  <a:pt x="4027842" y="553154"/>
                  <a:pt x="4029775" y="555087"/>
                </a:cubicBezTo>
                <a:lnTo>
                  <a:pt x="4028324" y="553636"/>
                </a:lnTo>
                <a:lnTo>
                  <a:pt x="4028163" y="552832"/>
                </a:lnTo>
                <a:close/>
                <a:moveTo>
                  <a:pt x="4027840" y="551216"/>
                </a:moveTo>
                <a:lnTo>
                  <a:pt x="4027842" y="551218"/>
                </a:lnTo>
                <a:lnTo>
                  <a:pt x="4027841" y="551219"/>
                </a:lnTo>
                <a:close/>
                <a:moveTo>
                  <a:pt x="3540447" y="547350"/>
                </a:moveTo>
                <a:cubicBezTo>
                  <a:pt x="3540447" y="549285"/>
                  <a:pt x="3540447" y="549285"/>
                  <a:pt x="3542382" y="551218"/>
                </a:cubicBezTo>
                <a:cubicBezTo>
                  <a:pt x="3540447" y="553154"/>
                  <a:pt x="3536579" y="553154"/>
                  <a:pt x="3534646" y="555087"/>
                </a:cubicBezTo>
                <a:cubicBezTo>
                  <a:pt x="3534646" y="555087"/>
                  <a:pt x="3534646" y="553154"/>
                  <a:pt x="3532710" y="553154"/>
                </a:cubicBezTo>
                <a:cubicBezTo>
                  <a:pt x="3534646" y="549285"/>
                  <a:pt x="3538514" y="547350"/>
                  <a:pt x="3540447" y="547350"/>
                </a:cubicBezTo>
                <a:close/>
                <a:moveTo>
                  <a:pt x="3548183" y="541549"/>
                </a:moveTo>
                <a:cubicBezTo>
                  <a:pt x="3548183" y="541549"/>
                  <a:pt x="3550119" y="543484"/>
                  <a:pt x="3550119" y="543484"/>
                </a:cubicBezTo>
                <a:cubicBezTo>
                  <a:pt x="3548183" y="545417"/>
                  <a:pt x="3548183" y="547350"/>
                  <a:pt x="3546248" y="547350"/>
                </a:cubicBezTo>
                <a:cubicBezTo>
                  <a:pt x="3546248" y="547350"/>
                  <a:pt x="3544315" y="545417"/>
                  <a:pt x="3544315" y="545417"/>
                </a:cubicBezTo>
                <a:cubicBezTo>
                  <a:pt x="3546248" y="543484"/>
                  <a:pt x="3548183" y="543484"/>
                  <a:pt x="3548183" y="541549"/>
                </a:cubicBezTo>
                <a:close/>
                <a:moveTo>
                  <a:pt x="1641157" y="539614"/>
                </a:moveTo>
                <a:cubicBezTo>
                  <a:pt x="1639225" y="539614"/>
                  <a:pt x="1637292" y="541549"/>
                  <a:pt x="1637292" y="541549"/>
                </a:cubicBezTo>
                <a:cubicBezTo>
                  <a:pt x="1635356" y="541549"/>
                  <a:pt x="1637292" y="543484"/>
                  <a:pt x="1637292" y="547350"/>
                </a:cubicBezTo>
                <a:cubicBezTo>
                  <a:pt x="1639225" y="545417"/>
                  <a:pt x="1641157" y="545417"/>
                  <a:pt x="1643093" y="543484"/>
                </a:cubicBezTo>
                <a:cubicBezTo>
                  <a:pt x="1643093" y="543484"/>
                  <a:pt x="1641157" y="539614"/>
                  <a:pt x="1641157" y="539614"/>
                </a:cubicBezTo>
                <a:close/>
                <a:moveTo>
                  <a:pt x="1604410" y="537681"/>
                </a:moveTo>
                <a:cubicBezTo>
                  <a:pt x="1602477" y="539614"/>
                  <a:pt x="1602477" y="543484"/>
                  <a:pt x="1602477" y="547350"/>
                </a:cubicBezTo>
                <a:cubicBezTo>
                  <a:pt x="1606346" y="547350"/>
                  <a:pt x="1610214" y="547350"/>
                  <a:pt x="1612147" y="545417"/>
                </a:cubicBezTo>
                <a:cubicBezTo>
                  <a:pt x="1614082" y="543484"/>
                  <a:pt x="1614082" y="539614"/>
                  <a:pt x="1614082" y="537681"/>
                </a:cubicBezTo>
                <a:cubicBezTo>
                  <a:pt x="1610214" y="537681"/>
                  <a:pt x="1606346" y="535745"/>
                  <a:pt x="1604410" y="537681"/>
                </a:cubicBezTo>
                <a:close/>
                <a:moveTo>
                  <a:pt x="4130347" y="528009"/>
                </a:moveTo>
                <a:cubicBezTo>
                  <a:pt x="4124546" y="526076"/>
                  <a:pt x="4122613" y="528009"/>
                  <a:pt x="4118745" y="535745"/>
                </a:cubicBezTo>
                <a:cubicBezTo>
                  <a:pt x="4124546" y="533812"/>
                  <a:pt x="4128415" y="531879"/>
                  <a:pt x="4130347" y="528009"/>
                </a:cubicBezTo>
                <a:close/>
                <a:moveTo>
                  <a:pt x="4199976" y="520275"/>
                </a:moveTo>
                <a:cubicBezTo>
                  <a:pt x="4190307" y="524143"/>
                  <a:pt x="4184503" y="528009"/>
                  <a:pt x="4176767" y="531879"/>
                </a:cubicBezTo>
                <a:cubicBezTo>
                  <a:pt x="4176767" y="535745"/>
                  <a:pt x="4176767" y="537681"/>
                  <a:pt x="4176767" y="541549"/>
                </a:cubicBezTo>
                <a:cubicBezTo>
                  <a:pt x="4176767" y="541549"/>
                  <a:pt x="4178702" y="541549"/>
                  <a:pt x="4178702" y="541549"/>
                </a:cubicBezTo>
                <a:cubicBezTo>
                  <a:pt x="4178702" y="541549"/>
                  <a:pt x="4176767" y="543484"/>
                  <a:pt x="4176767" y="543484"/>
                </a:cubicBezTo>
                <a:cubicBezTo>
                  <a:pt x="4176767" y="545417"/>
                  <a:pt x="4176767" y="545417"/>
                  <a:pt x="4176767" y="547350"/>
                </a:cubicBezTo>
                <a:cubicBezTo>
                  <a:pt x="4178702" y="549285"/>
                  <a:pt x="4178702" y="549285"/>
                  <a:pt x="4180635" y="549285"/>
                </a:cubicBezTo>
                <a:cubicBezTo>
                  <a:pt x="4182570" y="537681"/>
                  <a:pt x="4201911" y="537681"/>
                  <a:pt x="4199976" y="520275"/>
                </a:cubicBezTo>
                <a:close/>
                <a:moveTo>
                  <a:pt x="4112941" y="518339"/>
                </a:moveTo>
                <a:cubicBezTo>
                  <a:pt x="4111009" y="518339"/>
                  <a:pt x="4109073" y="520275"/>
                  <a:pt x="4105205" y="520275"/>
                </a:cubicBezTo>
                <a:cubicBezTo>
                  <a:pt x="4107138" y="520275"/>
                  <a:pt x="4107138" y="522208"/>
                  <a:pt x="4107138" y="522208"/>
                </a:cubicBezTo>
                <a:cubicBezTo>
                  <a:pt x="4109073" y="522208"/>
                  <a:pt x="4111009" y="520275"/>
                  <a:pt x="4112941" y="518339"/>
                </a:cubicBezTo>
                <a:close/>
                <a:moveTo>
                  <a:pt x="4234790" y="504802"/>
                </a:moveTo>
                <a:cubicBezTo>
                  <a:pt x="4232855" y="506735"/>
                  <a:pt x="4228989" y="510603"/>
                  <a:pt x="4225121" y="512538"/>
                </a:cubicBezTo>
                <a:cubicBezTo>
                  <a:pt x="4232855" y="514471"/>
                  <a:pt x="4232855" y="514471"/>
                  <a:pt x="4234790" y="504802"/>
                </a:cubicBezTo>
                <a:close/>
                <a:moveTo>
                  <a:pt x="4917188" y="495811"/>
                </a:moveTo>
                <a:lnTo>
                  <a:pt x="4913661" y="502866"/>
                </a:lnTo>
                <a:cubicBezTo>
                  <a:pt x="4913661" y="502866"/>
                  <a:pt x="4911725" y="500933"/>
                  <a:pt x="4911725" y="500933"/>
                </a:cubicBezTo>
                <a:lnTo>
                  <a:pt x="4914633" y="498025"/>
                </a:lnTo>
                <a:close/>
                <a:moveTo>
                  <a:pt x="4252196" y="495130"/>
                </a:moveTo>
                <a:cubicBezTo>
                  <a:pt x="4242527" y="495130"/>
                  <a:pt x="4238659" y="502866"/>
                  <a:pt x="4234790" y="506735"/>
                </a:cubicBezTo>
                <a:cubicBezTo>
                  <a:pt x="4236723" y="506735"/>
                  <a:pt x="4238659" y="508670"/>
                  <a:pt x="4242527" y="508670"/>
                </a:cubicBezTo>
                <a:cubicBezTo>
                  <a:pt x="4246395" y="504802"/>
                  <a:pt x="4248330" y="500933"/>
                  <a:pt x="4252196" y="495130"/>
                </a:cubicBezTo>
                <a:close/>
                <a:moveTo>
                  <a:pt x="4184503" y="495130"/>
                </a:moveTo>
                <a:cubicBezTo>
                  <a:pt x="4182570" y="495130"/>
                  <a:pt x="4180635" y="498998"/>
                  <a:pt x="4178702" y="498998"/>
                </a:cubicBezTo>
                <a:cubicBezTo>
                  <a:pt x="4165162" y="497065"/>
                  <a:pt x="4159361" y="506735"/>
                  <a:pt x="4149689" y="512538"/>
                </a:cubicBezTo>
                <a:cubicBezTo>
                  <a:pt x="4145820" y="514471"/>
                  <a:pt x="4143888" y="518339"/>
                  <a:pt x="4140019" y="524143"/>
                </a:cubicBezTo>
                <a:cubicBezTo>
                  <a:pt x="4141955" y="526076"/>
                  <a:pt x="4141955" y="528009"/>
                  <a:pt x="4143888" y="529944"/>
                </a:cubicBezTo>
                <a:cubicBezTo>
                  <a:pt x="4147756" y="528009"/>
                  <a:pt x="4153557" y="526076"/>
                  <a:pt x="4157425" y="526076"/>
                </a:cubicBezTo>
                <a:cubicBezTo>
                  <a:pt x="4157425" y="526076"/>
                  <a:pt x="4159361" y="526076"/>
                  <a:pt x="4159361" y="526076"/>
                </a:cubicBezTo>
                <a:cubicBezTo>
                  <a:pt x="4159361" y="528009"/>
                  <a:pt x="4159361" y="528009"/>
                  <a:pt x="4159361" y="528009"/>
                </a:cubicBezTo>
                <a:cubicBezTo>
                  <a:pt x="4161296" y="528009"/>
                  <a:pt x="4161296" y="528009"/>
                  <a:pt x="4163229" y="529944"/>
                </a:cubicBezTo>
                <a:cubicBezTo>
                  <a:pt x="4163229" y="528009"/>
                  <a:pt x="4163229" y="526076"/>
                  <a:pt x="4163229" y="526076"/>
                </a:cubicBezTo>
                <a:cubicBezTo>
                  <a:pt x="4163229" y="520275"/>
                  <a:pt x="4165162" y="518339"/>
                  <a:pt x="4169030" y="516406"/>
                </a:cubicBezTo>
                <a:cubicBezTo>
                  <a:pt x="4176767" y="510603"/>
                  <a:pt x="4184503" y="504802"/>
                  <a:pt x="4192240" y="498998"/>
                </a:cubicBezTo>
                <a:cubicBezTo>
                  <a:pt x="4190307" y="497065"/>
                  <a:pt x="4190307" y="497065"/>
                  <a:pt x="4190307" y="495130"/>
                </a:cubicBezTo>
                <a:cubicBezTo>
                  <a:pt x="4188371" y="495130"/>
                  <a:pt x="4186438" y="495130"/>
                  <a:pt x="4184503" y="495130"/>
                </a:cubicBezTo>
                <a:close/>
                <a:moveTo>
                  <a:pt x="4143888" y="489329"/>
                </a:moveTo>
                <a:cubicBezTo>
                  <a:pt x="4141955" y="489329"/>
                  <a:pt x="4138086" y="491262"/>
                  <a:pt x="4136151" y="491262"/>
                </a:cubicBezTo>
                <a:cubicBezTo>
                  <a:pt x="4136151" y="491262"/>
                  <a:pt x="4136151" y="493197"/>
                  <a:pt x="4136151" y="493197"/>
                </a:cubicBezTo>
                <a:cubicBezTo>
                  <a:pt x="4138086" y="491262"/>
                  <a:pt x="4141955" y="491262"/>
                  <a:pt x="4143888" y="491262"/>
                </a:cubicBezTo>
                <a:cubicBezTo>
                  <a:pt x="4143888" y="489329"/>
                  <a:pt x="4143888" y="489329"/>
                  <a:pt x="4143888" y="489329"/>
                </a:cubicBezTo>
                <a:close/>
                <a:moveTo>
                  <a:pt x="4128415" y="489329"/>
                </a:moveTo>
                <a:cubicBezTo>
                  <a:pt x="4122613" y="493197"/>
                  <a:pt x="4118745" y="495130"/>
                  <a:pt x="4114877" y="497065"/>
                </a:cubicBezTo>
                <a:cubicBezTo>
                  <a:pt x="4114877" y="497065"/>
                  <a:pt x="4116810" y="498998"/>
                  <a:pt x="4116810" y="498998"/>
                </a:cubicBezTo>
                <a:cubicBezTo>
                  <a:pt x="4120678" y="497065"/>
                  <a:pt x="4126479" y="498998"/>
                  <a:pt x="4128415" y="489329"/>
                </a:cubicBezTo>
                <a:close/>
                <a:moveTo>
                  <a:pt x="3488227" y="485460"/>
                </a:moveTo>
                <a:cubicBezTo>
                  <a:pt x="3488227" y="485460"/>
                  <a:pt x="3486294" y="485460"/>
                  <a:pt x="3486294" y="487393"/>
                </a:cubicBezTo>
                <a:cubicBezTo>
                  <a:pt x="3484358" y="489329"/>
                  <a:pt x="3482423" y="489329"/>
                  <a:pt x="3480490" y="491262"/>
                </a:cubicBezTo>
                <a:cubicBezTo>
                  <a:pt x="3480490" y="489329"/>
                  <a:pt x="3482423" y="487393"/>
                  <a:pt x="3482423" y="487393"/>
                </a:cubicBezTo>
                <a:cubicBezTo>
                  <a:pt x="3484358" y="485460"/>
                  <a:pt x="3486294" y="485460"/>
                  <a:pt x="3488227" y="485460"/>
                </a:cubicBezTo>
                <a:close/>
                <a:moveTo>
                  <a:pt x="4136151" y="471920"/>
                </a:moveTo>
                <a:cubicBezTo>
                  <a:pt x="4132283" y="473856"/>
                  <a:pt x="4130347" y="475789"/>
                  <a:pt x="4128415" y="477724"/>
                </a:cubicBezTo>
                <a:cubicBezTo>
                  <a:pt x="4134216" y="481592"/>
                  <a:pt x="4136151" y="477724"/>
                  <a:pt x="4138086" y="473856"/>
                </a:cubicBezTo>
                <a:cubicBezTo>
                  <a:pt x="4138086" y="473856"/>
                  <a:pt x="4136151" y="473856"/>
                  <a:pt x="4136151" y="471920"/>
                </a:cubicBezTo>
                <a:close/>
                <a:moveTo>
                  <a:pt x="4247120" y="469019"/>
                </a:moveTo>
                <a:cubicBezTo>
                  <a:pt x="4245911" y="468536"/>
                  <a:pt x="4245427" y="469020"/>
                  <a:pt x="4244460" y="469987"/>
                </a:cubicBezTo>
                <a:cubicBezTo>
                  <a:pt x="4236723" y="475789"/>
                  <a:pt x="4230922" y="481592"/>
                  <a:pt x="4223186" y="487393"/>
                </a:cubicBezTo>
                <a:cubicBezTo>
                  <a:pt x="4213514" y="495130"/>
                  <a:pt x="4205780" y="504802"/>
                  <a:pt x="4190307" y="504802"/>
                </a:cubicBezTo>
                <a:cubicBezTo>
                  <a:pt x="4188371" y="504802"/>
                  <a:pt x="4186438" y="506735"/>
                  <a:pt x="4186438" y="508670"/>
                </a:cubicBezTo>
                <a:cubicBezTo>
                  <a:pt x="4186438" y="510603"/>
                  <a:pt x="4188371" y="512538"/>
                  <a:pt x="4190307" y="512538"/>
                </a:cubicBezTo>
                <a:cubicBezTo>
                  <a:pt x="4194172" y="512538"/>
                  <a:pt x="4198043" y="512538"/>
                  <a:pt x="4199976" y="510603"/>
                </a:cubicBezTo>
                <a:cubicBezTo>
                  <a:pt x="4211581" y="502866"/>
                  <a:pt x="4221253" y="495130"/>
                  <a:pt x="4232855" y="489329"/>
                </a:cubicBezTo>
                <a:cubicBezTo>
                  <a:pt x="4240592" y="483525"/>
                  <a:pt x="4246395" y="479657"/>
                  <a:pt x="4254132" y="473856"/>
                </a:cubicBezTo>
                <a:cubicBezTo>
                  <a:pt x="4250264" y="470954"/>
                  <a:pt x="4248329" y="469503"/>
                  <a:pt x="4247120" y="469019"/>
                </a:cubicBezTo>
                <a:close/>
                <a:moveTo>
                  <a:pt x="4238659" y="458383"/>
                </a:moveTo>
                <a:cubicBezTo>
                  <a:pt x="4236723" y="458383"/>
                  <a:pt x="4234790" y="458383"/>
                  <a:pt x="4232855" y="460316"/>
                </a:cubicBezTo>
                <a:cubicBezTo>
                  <a:pt x="4223186" y="468052"/>
                  <a:pt x="4211581" y="475789"/>
                  <a:pt x="4201911" y="483525"/>
                </a:cubicBezTo>
                <a:cubicBezTo>
                  <a:pt x="4201911" y="483525"/>
                  <a:pt x="4201911" y="483525"/>
                  <a:pt x="4201911" y="485460"/>
                </a:cubicBezTo>
                <a:cubicBezTo>
                  <a:pt x="4201911" y="485460"/>
                  <a:pt x="4201911" y="489329"/>
                  <a:pt x="4199976" y="495130"/>
                </a:cubicBezTo>
                <a:cubicBezTo>
                  <a:pt x="4205780" y="491262"/>
                  <a:pt x="4209648" y="487393"/>
                  <a:pt x="4215449" y="483525"/>
                </a:cubicBezTo>
                <a:cubicBezTo>
                  <a:pt x="4213514" y="483525"/>
                  <a:pt x="4213514" y="485460"/>
                  <a:pt x="4211581" y="485460"/>
                </a:cubicBezTo>
                <a:cubicBezTo>
                  <a:pt x="4209648" y="483525"/>
                  <a:pt x="4209648" y="483525"/>
                  <a:pt x="4209648" y="481592"/>
                </a:cubicBezTo>
                <a:cubicBezTo>
                  <a:pt x="4213514" y="475789"/>
                  <a:pt x="4217382" y="475789"/>
                  <a:pt x="4223186" y="475789"/>
                </a:cubicBezTo>
                <a:cubicBezTo>
                  <a:pt x="4228989" y="471920"/>
                  <a:pt x="4234790" y="466119"/>
                  <a:pt x="4240592" y="462251"/>
                </a:cubicBezTo>
                <a:cubicBezTo>
                  <a:pt x="4240592" y="460316"/>
                  <a:pt x="4238659" y="460316"/>
                  <a:pt x="4238659" y="458383"/>
                </a:cubicBezTo>
                <a:close/>
                <a:moveTo>
                  <a:pt x="2836434" y="448711"/>
                </a:moveTo>
                <a:cubicBezTo>
                  <a:pt x="2834501" y="448711"/>
                  <a:pt x="2832566" y="448711"/>
                  <a:pt x="2832566" y="450646"/>
                </a:cubicBezTo>
                <a:cubicBezTo>
                  <a:pt x="2832566" y="452579"/>
                  <a:pt x="2832566" y="454514"/>
                  <a:pt x="2828697" y="454514"/>
                </a:cubicBezTo>
                <a:cubicBezTo>
                  <a:pt x="2822896" y="452579"/>
                  <a:pt x="2820961" y="456450"/>
                  <a:pt x="2817093" y="458383"/>
                </a:cubicBezTo>
                <a:cubicBezTo>
                  <a:pt x="2815160" y="460316"/>
                  <a:pt x="2815160" y="464184"/>
                  <a:pt x="2819028" y="464184"/>
                </a:cubicBezTo>
                <a:cubicBezTo>
                  <a:pt x="2819028" y="466119"/>
                  <a:pt x="2820961" y="466119"/>
                  <a:pt x="2822896" y="466119"/>
                </a:cubicBezTo>
                <a:cubicBezTo>
                  <a:pt x="2824829" y="464184"/>
                  <a:pt x="2826764" y="464184"/>
                  <a:pt x="2828697" y="462251"/>
                </a:cubicBezTo>
                <a:cubicBezTo>
                  <a:pt x="2830630" y="460316"/>
                  <a:pt x="2834501" y="458383"/>
                  <a:pt x="2836434" y="456450"/>
                </a:cubicBezTo>
                <a:cubicBezTo>
                  <a:pt x="2836434" y="456450"/>
                  <a:pt x="2838369" y="454514"/>
                  <a:pt x="2838369" y="454514"/>
                </a:cubicBezTo>
                <a:cubicBezTo>
                  <a:pt x="2840302" y="452579"/>
                  <a:pt x="2840302" y="452579"/>
                  <a:pt x="2838369" y="450646"/>
                </a:cubicBezTo>
                <a:cubicBezTo>
                  <a:pt x="2836434" y="450646"/>
                  <a:pt x="2836434" y="448711"/>
                  <a:pt x="2836434" y="448711"/>
                </a:cubicBezTo>
                <a:close/>
                <a:moveTo>
                  <a:pt x="4221253" y="435173"/>
                </a:moveTo>
                <a:cubicBezTo>
                  <a:pt x="4215449" y="435173"/>
                  <a:pt x="4211581" y="433240"/>
                  <a:pt x="4211581" y="442910"/>
                </a:cubicBezTo>
                <a:cubicBezTo>
                  <a:pt x="4215449" y="439041"/>
                  <a:pt x="4217382" y="437108"/>
                  <a:pt x="4221253" y="435173"/>
                </a:cubicBezTo>
                <a:close/>
                <a:moveTo>
                  <a:pt x="4316024" y="415832"/>
                </a:moveTo>
                <a:cubicBezTo>
                  <a:pt x="4308287" y="413899"/>
                  <a:pt x="4302484" y="419700"/>
                  <a:pt x="4296682" y="423568"/>
                </a:cubicBezTo>
                <a:cubicBezTo>
                  <a:pt x="4296682" y="423568"/>
                  <a:pt x="4298615" y="425504"/>
                  <a:pt x="4298615" y="425504"/>
                </a:cubicBezTo>
                <a:cubicBezTo>
                  <a:pt x="4304417" y="421635"/>
                  <a:pt x="4310220" y="417767"/>
                  <a:pt x="4316024" y="415832"/>
                </a:cubicBezTo>
                <a:close/>
                <a:moveTo>
                  <a:pt x="4263560" y="406645"/>
                </a:moveTo>
                <a:cubicBezTo>
                  <a:pt x="4261867" y="406645"/>
                  <a:pt x="4259933" y="409063"/>
                  <a:pt x="4256065" y="413899"/>
                </a:cubicBezTo>
                <a:cubicBezTo>
                  <a:pt x="4259933" y="413899"/>
                  <a:pt x="4263801" y="413899"/>
                  <a:pt x="4269605" y="413899"/>
                </a:cubicBezTo>
                <a:cubicBezTo>
                  <a:pt x="4266703" y="409063"/>
                  <a:pt x="4265252" y="406645"/>
                  <a:pt x="4263560" y="406645"/>
                </a:cubicBezTo>
                <a:close/>
                <a:moveTo>
                  <a:pt x="4319890" y="406162"/>
                </a:moveTo>
                <a:cubicBezTo>
                  <a:pt x="4319890" y="408095"/>
                  <a:pt x="4319890" y="410031"/>
                  <a:pt x="4319890" y="411964"/>
                </a:cubicBezTo>
                <a:cubicBezTo>
                  <a:pt x="4321825" y="413899"/>
                  <a:pt x="4323758" y="413899"/>
                  <a:pt x="4327626" y="413899"/>
                </a:cubicBezTo>
                <a:cubicBezTo>
                  <a:pt x="4327626" y="410031"/>
                  <a:pt x="4329561" y="408095"/>
                  <a:pt x="4325693" y="406162"/>
                </a:cubicBezTo>
                <a:cubicBezTo>
                  <a:pt x="4323758" y="406162"/>
                  <a:pt x="4321825" y="406162"/>
                  <a:pt x="4319890" y="406162"/>
                </a:cubicBezTo>
                <a:close/>
                <a:moveTo>
                  <a:pt x="4304417" y="381018"/>
                </a:moveTo>
                <a:cubicBezTo>
                  <a:pt x="4302484" y="382953"/>
                  <a:pt x="4300548" y="382953"/>
                  <a:pt x="4300548" y="382953"/>
                </a:cubicBezTo>
                <a:cubicBezTo>
                  <a:pt x="4298615" y="384886"/>
                  <a:pt x="4300548" y="386821"/>
                  <a:pt x="4298615" y="388754"/>
                </a:cubicBezTo>
                <a:cubicBezTo>
                  <a:pt x="4302484" y="386821"/>
                  <a:pt x="4304417" y="386821"/>
                  <a:pt x="4304417" y="384886"/>
                </a:cubicBezTo>
                <a:cubicBezTo>
                  <a:pt x="4306352" y="384886"/>
                  <a:pt x="4304417" y="382953"/>
                  <a:pt x="4304417" y="381018"/>
                </a:cubicBezTo>
                <a:close/>
                <a:moveTo>
                  <a:pt x="4316024" y="373281"/>
                </a:moveTo>
                <a:cubicBezTo>
                  <a:pt x="4316024" y="373281"/>
                  <a:pt x="4314088" y="375216"/>
                  <a:pt x="4314088" y="379085"/>
                </a:cubicBezTo>
                <a:cubicBezTo>
                  <a:pt x="4316024" y="377149"/>
                  <a:pt x="4317957" y="375216"/>
                  <a:pt x="4317957" y="375216"/>
                </a:cubicBezTo>
                <a:cubicBezTo>
                  <a:pt x="4317957" y="375216"/>
                  <a:pt x="4316024" y="373281"/>
                  <a:pt x="4316024" y="373281"/>
                </a:cubicBezTo>
                <a:close/>
                <a:moveTo>
                  <a:pt x="4366309" y="350074"/>
                </a:moveTo>
                <a:cubicBezTo>
                  <a:pt x="4343099" y="353940"/>
                  <a:pt x="4337298" y="359743"/>
                  <a:pt x="4337298" y="369415"/>
                </a:cubicBezTo>
                <a:cubicBezTo>
                  <a:pt x="4346967" y="363612"/>
                  <a:pt x="4356639" y="355875"/>
                  <a:pt x="4366309" y="350074"/>
                </a:cubicBezTo>
                <a:close/>
                <a:moveTo>
                  <a:pt x="4780207" y="321061"/>
                </a:moveTo>
                <a:cubicBezTo>
                  <a:pt x="4780207" y="322996"/>
                  <a:pt x="4778272" y="322996"/>
                  <a:pt x="4778272" y="322996"/>
                </a:cubicBezTo>
                <a:cubicBezTo>
                  <a:pt x="4780207" y="324929"/>
                  <a:pt x="4780207" y="326864"/>
                  <a:pt x="4782140" y="328797"/>
                </a:cubicBezTo>
                <a:cubicBezTo>
                  <a:pt x="4782140" y="328797"/>
                  <a:pt x="4782140" y="328797"/>
                  <a:pt x="4784075" y="326864"/>
                </a:cubicBezTo>
                <a:cubicBezTo>
                  <a:pt x="4784075" y="324929"/>
                  <a:pt x="4782140" y="322996"/>
                  <a:pt x="4780207" y="321061"/>
                </a:cubicBezTo>
                <a:close/>
                <a:moveTo>
                  <a:pt x="4795680" y="317192"/>
                </a:moveTo>
                <a:cubicBezTo>
                  <a:pt x="4795680" y="317192"/>
                  <a:pt x="4795680" y="319128"/>
                  <a:pt x="4795680" y="319128"/>
                </a:cubicBezTo>
                <a:cubicBezTo>
                  <a:pt x="4795680" y="321061"/>
                  <a:pt x="4791812" y="322996"/>
                  <a:pt x="4787944" y="324929"/>
                </a:cubicBezTo>
                <a:lnTo>
                  <a:pt x="4787138" y="323317"/>
                </a:lnTo>
                <a:lnTo>
                  <a:pt x="4787420" y="320497"/>
                </a:lnTo>
                <a:close/>
                <a:moveTo>
                  <a:pt x="4420464" y="313324"/>
                </a:moveTo>
                <a:cubicBezTo>
                  <a:pt x="4406924" y="317192"/>
                  <a:pt x="4397255" y="322996"/>
                  <a:pt x="4385650" y="326864"/>
                </a:cubicBezTo>
                <a:cubicBezTo>
                  <a:pt x="4381782" y="330733"/>
                  <a:pt x="4375980" y="334601"/>
                  <a:pt x="4370177" y="340402"/>
                </a:cubicBezTo>
                <a:cubicBezTo>
                  <a:pt x="4374045" y="342335"/>
                  <a:pt x="4375980" y="342335"/>
                  <a:pt x="4375980" y="342335"/>
                </a:cubicBezTo>
                <a:cubicBezTo>
                  <a:pt x="4387583" y="336534"/>
                  <a:pt x="4399190" y="330733"/>
                  <a:pt x="4408859" y="324929"/>
                </a:cubicBezTo>
                <a:cubicBezTo>
                  <a:pt x="4412728" y="322996"/>
                  <a:pt x="4416596" y="319128"/>
                  <a:pt x="4420464" y="313324"/>
                </a:cubicBezTo>
                <a:close/>
                <a:moveTo>
                  <a:pt x="4453343" y="299786"/>
                </a:moveTo>
                <a:cubicBezTo>
                  <a:pt x="4441741" y="299786"/>
                  <a:pt x="4435937" y="305588"/>
                  <a:pt x="4428201" y="313324"/>
                </a:cubicBezTo>
                <a:cubicBezTo>
                  <a:pt x="4428201" y="313324"/>
                  <a:pt x="4430134" y="315260"/>
                  <a:pt x="4430134" y="315260"/>
                </a:cubicBezTo>
                <a:cubicBezTo>
                  <a:pt x="4437870" y="309456"/>
                  <a:pt x="4445607" y="303655"/>
                  <a:pt x="4453343" y="299786"/>
                </a:cubicBezTo>
                <a:close/>
                <a:moveTo>
                  <a:pt x="4787944" y="295918"/>
                </a:moveTo>
                <a:cubicBezTo>
                  <a:pt x="4787944" y="301719"/>
                  <a:pt x="4787944" y="305588"/>
                  <a:pt x="4787944" y="311391"/>
                </a:cubicBezTo>
                <a:cubicBezTo>
                  <a:pt x="4795680" y="303655"/>
                  <a:pt x="4795680" y="303655"/>
                  <a:pt x="4787944" y="295918"/>
                </a:cubicBezTo>
                <a:close/>
                <a:moveTo>
                  <a:pt x="4517168" y="282378"/>
                </a:moveTo>
                <a:cubicBezTo>
                  <a:pt x="4515235" y="282378"/>
                  <a:pt x="4515235" y="284313"/>
                  <a:pt x="4515235" y="286246"/>
                </a:cubicBezTo>
                <a:cubicBezTo>
                  <a:pt x="4517168" y="288182"/>
                  <a:pt x="4519103" y="288182"/>
                  <a:pt x="4521036" y="288182"/>
                </a:cubicBezTo>
                <a:cubicBezTo>
                  <a:pt x="4521036" y="286246"/>
                  <a:pt x="4521036" y="284313"/>
                  <a:pt x="4521036" y="282378"/>
                </a:cubicBezTo>
                <a:cubicBezTo>
                  <a:pt x="4521036" y="282378"/>
                  <a:pt x="4517168" y="282378"/>
                  <a:pt x="4517168" y="282378"/>
                </a:cubicBezTo>
                <a:close/>
                <a:moveTo>
                  <a:pt x="4764734" y="276577"/>
                </a:moveTo>
                <a:lnTo>
                  <a:pt x="4765701" y="277543"/>
                </a:lnTo>
                <a:lnTo>
                  <a:pt x="4764734" y="278510"/>
                </a:lnTo>
                <a:lnTo>
                  <a:pt x="4764033" y="277208"/>
                </a:lnTo>
                <a:close/>
                <a:moveTo>
                  <a:pt x="4567455" y="268840"/>
                </a:moveTo>
                <a:cubicBezTo>
                  <a:pt x="4559719" y="272709"/>
                  <a:pt x="4555851" y="274642"/>
                  <a:pt x="4548114" y="278510"/>
                </a:cubicBezTo>
                <a:cubicBezTo>
                  <a:pt x="4559719" y="282378"/>
                  <a:pt x="4559719" y="282378"/>
                  <a:pt x="4567455" y="268840"/>
                </a:cubicBezTo>
                <a:close/>
                <a:moveTo>
                  <a:pt x="4572774" y="254576"/>
                </a:moveTo>
                <a:cubicBezTo>
                  <a:pt x="4571324" y="255301"/>
                  <a:pt x="4571324" y="257236"/>
                  <a:pt x="4571324" y="261104"/>
                </a:cubicBezTo>
                <a:cubicBezTo>
                  <a:pt x="4575192" y="259171"/>
                  <a:pt x="4577127" y="257236"/>
                  <a:pt x="4582928" y="255300"/>
                </a:cubicBezTo>
                <a:cubicBezTo>
                  <a:pt x="4577126" y="254334"/>
                  <a:pt x="4574225" y="253851"/>
                  <a:pt x="4572774" y="254576"/>
                </a:cubicBezTo>
                <a:close/>
                <a:moveTo>
                  <a:pt x="4727987" y="253367"/>
                </a:moveTo>
                <a:cubicBezTo>
                  <a:pt x="4718315" y="253367"/>
                  <a:pt x="4714447" y="259171"/>
                  <a:pt x="4710579" y="266905"/>
                </a:cubicBezTo>
                <a:cubicBezTo>
                  <a:pt x="4726052" y="264972"/>
                  <a:pt x="4726052" y="264972"/>
                  <a:pt x="4727987" y="253367"/>
                </a:cubicBezTo>
                <a:close/>
                <a:moveTo>
                  <a:pt x="4596469" y="243698"/>
                </a:moveTo>
                <a:cubicBezTo>
                  <a:pt x="4592600" y="245631"/>
                  <a:pt x="4586797" y="247566"/>
                  <a:pt x="4582928" y="249499"/>
                </a:cubicBezTo>
                <a:cubicBezTo>
                  <a:pt x="4590665" y="253367"/>
                  <a:pt x="4596469" y="255300"/>
                  <a:pt x="4596469" y="243698"/>
                </a:cubicBezTo>
                <a:close/>
                <a:moveTo>
                  <a:pt x="4563587" y="230158"/>
                </a:moveTo>
                <a:lnTo>
                  <a:pt x="4557367" y="234824"/>
                </a:lnTo>
                <a:lnTo>
                  <a:pt x="4555372" y="235482"/>
                </a:lnTo>
                <a:lnTo>
                  <a:pt x="4555078" y="235188"/>
                </a:lnTo>
                <a:lnTo>
                  <a:pt x="4561177" y="231122"/>
                </a:lnTo>
                <a:close/>
                <a:moveTo>
                  <a:pt x="4712514" y="228225"/>
                </a:moveTo>
                <a:cubicBezTo>
                  <a:pt x="4706710" y="228225"/>
                  <a:pt x="4704777" y="232093"/>
                  <a:pt x="4704777" y="237894"/>
                </a:cubicBezTo>
                <a:cubicBezTo>
                  <a:pt x="4712514" y="235961"/>
                  <a:pt x="4712514" y="235961"/>
                  <a:pt x="4712514" y="228225"/>
                </a:cubicBezTo>
                <a:close/>
                <a:moveTo>
                  <a:pt x="3863443" y="0"/>
                </a:moveTo>
                <a:cubicBezTo>
                  <a:pt x="3865376" y="0"/>
                  <a:pt x="3869244" y="1935"/>
                  <a:pt x="3869244" y="3868"/>
                </a:cubicBezTo>
                <a:cubicBezTo>
                  <a:pt x="3869244" y="5801"/>
                  <a:pt x="3867311" y="5801"/>
                  <a:pt x="3867311" y="7737"/>
                </a:cubicBezTo>
                <a:cubicBezTo>
                  <a:pt x="3867311" y="9670"/>
                  <a:pt x="3865376" y="9670"/>
                  <a:pt x="3865376" y="9670"/>
                </a:cubicBezTo>
                <a:cubicBezTo>
                  <a:pt x="3859574" y="11605"/>
                  <a:pt x="3859574" y="17406"/>
                  <a:pt x="3859574" y="21274"/>
                </a:cubicBezTo>
                <a:cubicBezTo>
                  <a:pt x="3859574" y="27078"/>
                  <a:pt x="3859574" y="29011"/>
                  <a:pt x="3853771" y="32879"/>
                </a:cubicBezTo>
                <a:cubicBezTo>
                  <a:pt x="3846034" y="38683"/>
                  <a:pt x="3836365" y="44484"/>
                  <a:pt x="3826693" y="50288"/>
                </a:cubicBezTo>
                <a:cubicBezTo>
                  <a:pt x="3817024" y="58024"/>
                  <a:pt x="3805419" y="63825"/>
                  <a:pt x="3795749" y="71562"/>
                </a:cubicBezTo>
                <a:cubicBezTo>
                  <a:pt x="3793816" y="73495"/>
                  <a:pt x="3791881" y="75430"/>
                  <a:pt x="3791881" y="79298"/>
                </a:cubicBezTo>
                <a:cubicBezTo>
                  <a:pt x="3789946" y="83166"/>
                  <a:pt x="3791881" y="85099"/>
                  <a:pt x="3795749" y="87035"/>
                </a:cubicBezTo>
                <a:cubicBezTo>
                  <a:pt x="3797682" y="87035"/>
                  <a:pt x="3797682" y="87035"/>
                  <a:pt x="3799618" y="88970"/>
                </a:cubicBezTo>
                <a:cubicBezTo>
                  <a:pt x="3801551" y="88970"/>
                  <a:pt x="3801551" y="90903"/>
                  <a:pt x="3801551" y="92836"/>
                </a:cubicBezTo>
                <a:cubicBezTo>
                  <a:pt x="3801551" y="92836"/>
                  <a:pt x="3799618" y="94771"/>
                  <a:pt x="3799618" y="94771"/>
                </a:cubicBezTo>
                <a:cubicBezTo>
                  <a:pt x="3795749" y="94771"/>
                  <a:pt x="3793816" y="94771"/>
                  <a:pt x="3789946" y="96704"/>
                </a:cubicBezTo>
                <a:cubicBezTo>
                  <a:pt x="3784145" y="98639"/>
                  <a:pt x="3780276" y="100572"/>
                  <a:pt x="3774475" y="104441"/>
                </a:cubicBezTo>
                <a:cubicBezTo>
                  <a:pt x="3770607" y="106376"/>
                  <a:pt x="3766736" y="104441"/>
                  <a:pt x="3764803" y="106376"/>
                </a:cubicBezTo>
                <a:cubicBezTo>
                  <a:pt x="3762868" y="108309"/>
                  <a:pt x="3762868" y="110244"/>
                  <a:pt x="3760935" y="112177"/>
                </a:cubicBezTo>
                <a:cubicBezTo>
                  <a:pt x="3759000" y="116045"/>
                  <a:pt x="3755134" y="117981"/>
                  <a:pt x="3751266" y="119914"/>
                </a:cubicBezTo>
                <a:cubicBezTo>
                  <a:pt x="3747397" y="121849"/>
                  <a:pt x="3745462" y="123782"/>
                  <a:pt x="3745462" y="125717"/>
                </a:cubicBezTo>
                <a:cubicBezTo>
                  <a:pt x="3745462" y="129586"/>
                  <a:pt x="3743527" y="131519"/>
                  <a:pt x="3739658" y="133454"/>
                </a:cubicBezTo>
                <a:cubicBezTo>
                  <a:pt x="3733857" y="135387"/>
                  <a:pt x="3729989" y="139255"/>
                  <a:pt x="3726121" y="141190"/>
                </a:cubicBezTo>
                <a:cubicBezTo>
                  <a:pt x="3722253" y="145059"/>
                  <a:pt x="3722253" y="148927"/>
                  <a:pt x="3722253" y="154728"/>
                </a:cubicBezTo>
                <a:cubicBezTo>
                  <a:pt x="3722253" y="156663"/>
                  <a:pt x="3726121" y="158596"/>
                  <a:pt x="3728056" y="158596"/>
                </a:cubicBezTo>
                <a:cubicBezTo>
                  <a:pt x="3728056" y="160532"/>
                  <a:pt x="3729989" y="160532"/>
                  <a:pt x="3729989" y="160532"/>
                </a:cubicBezTo>
                <a:cubicBezTo>
                  <a:pt x="3729989" y="162465"/>
                  <a:pt x="3729989" y="164400"/>
                  <a:pt x="3728056" y="164400"/>
                </a:cubicBezTo>
                <a:cubicBezTo>
                  <a:pt x="3728056" y="166333"/>
                  <a:pt x="3726121" y="166333"/>
                  <a:pt x="3724188" y="166333"/>
                </a:cubicBezTo>
                <a:cubicBezTo>
                  <a:pt x="3722253" y="166333"/>
                  <a:pt x="3720320" y="166333"/>
                  <a:pt x="3720320" y="168266"/>
                </a:cubicBezTo>
                <a:cubicBezTo>
                  <a:pt x="3720320" y="172136"/>
                  <a:pt x="3718384" y="174069"/>
                  <a:pt x="3714516" y="176005"/>
                </a:cubicBezTo>
                <a:cubicBezTo>
                  <a:pt x="3708715" y="177938"/>
                  <a:pt x="3702911" y="181806"/>
                  <a:pt x="3697110" y="185674"/>
                </a:cubicBezTo>
                <a:cubicBezTo>
                  <a:pt x="3693242" y="187607"/>
                  <a:pt x="3689374" y="191475"/>
                  <a:pt x="3687441" y="195343"/>
                </a:cubicBezTo>
                <a:cubicBezTo>
                  <a:pt x="3685505" y="199212"/>
                  <a:pt x="3683572" y="199212"/>
                  <a:pt x="3679702" y="201147"/>
                </a:cubicBezTo>
                <a:cubicBezTo>
                  <a:pt x="3673901" y="199212"/>
                  <a:pt x="3668099" y="203080"/>
                  <a:pt x="3662296" y="206948"/>
                </a:cubicBezTo>
                <a:cubicBezTo>
                  <a:pt x="3658427" y="210817"/>
                  <a:pt x="3652624" y="212752"/>
                  <a:pt x="3648758" y="214685"/>
                </a:cubicBezTo>
                <a:cubicBezTo>
                  <a:pt x="3641022" y="218553"/>
                  <a:pt x="3637153" y="224357"/>
                  <a:pt x="3635218" y="232093"/>
                </a:cubicBezTo>
                <a:cubicBezTo>
                  <a:pt x="3635218" y="235961"/>
                  <a:pt x="3633283" y="235961"/>
                  <a:pt x="3631350" y="237894"/>
                </a:cubicBezTo>
                <a:cubicBezTo>
                  <a:pt x="3623613" y="243698"/>
                  <a:pt x="3615877" y="247566"/>
                  <a:pt x="3608140" y="253367"/>
                </a:cubicBezTo>
                <a:cubicBezTo>
                  <a:pt x="3606207" y="253367"/>
                  <a:pt x="3606207" y="257236"/>
                  <a:pt x="3606207" y="259171"/>
                </a:cubicBezTo>
                <a:cubicBezTo>
                  <a:pt x="3606207" y="259171"/>
                  <a:pt x="3606207" y="263039"/>
                  <a:pt x="3606207" y="263039"/>
                </a:cubicBezTo>
                <a:cubicBezTo>
                  <a:pt x="3602339" y="266905"/>
                  <a:pt x="3598471" y="270776"/>
                  <a:pt x="3594602" y="276577"/>
                </a:cubicBezTo>
                <a:cubicBezTo>
                  <a:pt x="3592667" y="278510"/>
                  <a:pt x="3590734" y="280445"/>
                  <a:pt x="3586866" y="282378"/>
                </a:cubicBezTo>
                <a:cubicBezTo>
                  <a:pt x="3584931" y="284313"/>
                  <a:pt x="3582998" y="286246"/>
                  <a:pt x="3582998" y="288182"/>
                </a:cubicBezTo>
                <a:cubicBezTo>
                  <a:pt x="3582998" y="295918"/>
                  <a:pt x="3584931" y="305588"/>
                  <a:pt x="3586866" y="311391"/>
                </a:cubicBezTo>
                <a:cubicBezTo>
                  <a:pt x="3588799" y="315260"/>
                  <a:pt x="3592667" y="319128"/>
                  <a:pt x="3594602" y="322996"/>
                </a:cubicBezTo>
                <a:cubicBezTo>
                  <a:pt x="3594602" y="322996"/>
                  <a:pt x="3594602" y="326864"/>
                  <a:pt x="3594602" y="326864"/>
                </a:cubicBezTo>
                <a:cubicBezTo>
                  <a:pt x="3586866" y="332665"/>
                  <a:pt x="3579129" y="338469"/>
                  <a:pt x="3569458" y="342335"/>
                </a:cubicBezTo>
                <a:cubicBezTo>
                  <a:pt x="3567525" y="342335"/>
                  <a:pt x="3565589" y="342335"/>
                  <a:pt x="3563656" y="342335"/>
                </a:cubicBezTo>
                <a:cubicBezTo>
                  <a:pt x="3561723" y="342335"/>
                  <a:pt x="3559788" y="344270"/>
                  <a:pt x="3559788" y="350074"/>
                </a:cubicBezTo>
                <a:cubicBezTo>
                  <a:pt x="3557855" y="350074"/>
                  <a:pt x="3559788" y="352007"/>
                  <a:pt x="3561723" y="352007"/>
                </a:cubicBezTo>
                <a:cubicBezTo>
                  <a:pt x="3561723" y="352007"/>
                  <a:pt x="3563656" y="352007"/>
                  <a:pt x="3563656" y="352007"/>
                </a:cubicBezTo>
                <a:cubicBezTo>
                  <a:pt x="3563656" y="355875"/>
                  <a:pt x="3563656" y="359743"/>
                  <a:pt x="3561723" y="361676"/>
                </a:cubicBezTo>
                <a:cubicBezTo>
                  <a:pt x="3561723" y="363612"/>
                  <a:pt x="3557855" y="363612"/>
                  <a:pt x="3555920" y="363612"/>
                </a:cubicBezTo>
                <a:cubicBezTo>
                  <a:pt x="3553987" y="363612"/>
                  <a:pt x="3552052" y="363612"/>
                  <a:pt x="3552052" y="365544"/>
                </a:cubicBezTo>
                <a:cubicBezTo>
                  <a:pt x="3552052" y="367480"/>
                  <a:pt x="3550119" y="369415"/>
                  <a:pt x="3548183" y="371348"/>
                </a:cubicBezTo>
                <a:cubicBezTo>
                  <a:pt x="3546248" y="375216"/>
                  <a:pt x="3542382" y="377149"/>
                  <a:pt x="3538514" y="379085"/>
                </a:cubicBezTo>
                <a:cubicBezTo>
                  <a:pt x="3534646" y="381018"/>
                  <a:pt x="3532710" y="382953"/>
                  <a:pt x="3532710" y="386821"/>
                </a:cubicBezTo>
                <a:cubicBezTo>
                  <a:pt x="3532710" y="392622"/>
                  <a:pt x="3530777" y="396491"/>
                  <a:pt x="3524974" y="398426"/>
                </a:cubicBezTo>
                <a:cubicBezTo>
                  <a:pt x="3519173" y="402294"/>
                  <a:pt x="3513372" y="406162"/>
                  <a:pt x="3511436" y="411964"/>
                </a:cubicBezTo>
                <a:cubicBezTo>
                  <a:pt x="3509501" y="413899"/>
                  <a:pt x="3505633" y="415832"/>
                  <a:pt x="3503700" y="417767"/>
                </a:cubicBezTo>
                <a:cubicBezTo>
                  <a:pt x="3501764" y="421635"/>
                  <a:pt x="3497896" y="423568"/>
                  <a:pt x="3494030" y="425504"/>
                </a:cubicBezTo>
                <a:cubicBezTo>
                  <a:pt x="3490162" y="427437"/>
                  <a:pt x="3490162" y="433240"/>
                  <a:pt x="3486294" y="435173"/>
                </a:cubicBezTo>
                <a:cubicBezTo>
                  <a:pt x="3484358" y="437108"/>
                  <a:pt x="3484358" y="439041"/>
                  <a:pt x="3488227" y="439041"/>
                </a:cubicBezTo>
                <a:cubicBezTo>
                  <a:pt x="3492095" y="439041"/>
                  <a:pt x="3494030" y="439041"/>
                  <a:pt x="3495963" y="435173"/>
                </a:cubicBezTo>
                <a:cubicBezTo>
                  <a:pt x="3497896" y="433240"/>
                  <a:pt x="3497896" y="431305"/>
                  <a:pt x="3499831" y="431305"/>
                </a:cubicBezTo>
                <a:cubicBezTo>
                  <a:pt x="3501764" y="429370"/>
                  <a:pt x="3505633" y="431305"/>
                  <a:pt x="3505633" y="433240"/>
                </a:cubicBezTo>
                <a:cubicBezTo>
                  <a:pt x="3505633" y="437108"/>
                  <a:pt x="3505633" y="439041"/>
                  <a:pt x="3505633" y="440974"/>
                </a:cubicBezTo>
                <a:cubicBezTo>
                  <a:pt x="3505633" y="442910"/>
                  <a:pt x="3505633" y="442910"/>
                  <a:pt x="3503700" y="444845"/>
                </a:cubicBezTo>
                <a:cubicBezTo>
                  <a:pt x="3499831" y="450646"/>
                  <a:pt x="3495963" y="456450"/>
                  <a:pt x="3492095" y="462251"/>
                </a:cubicBezTo>
                <a:cubicBezTo>
                  <a:pt x="3486294" y="468052"/>
                  <a:pt x="3478555" y="471920"/>
                  <a:pt x="3470821" y="475789"/>
                </a:cubicBezTo>
                <a:cubicBezTo>
                  <a:pt x="3470821" y="475789"/>
                  <a:pt x="3470821" y="475789"/>
                  <a:pt x="3472754" y="475789"/>
                </a:cubicBezTo>
                <a:cubicBezTo>
                  <a:pt x="3476622" y="475789"/>
                  <a:pt x="3480490" y="475789"/>
                  <a:pt x="3484358" y="473856"/>
                </a:cubicBezTo>
                <a:cubicBezTo>
                  <a:pt x="3497896" y="469987"/>
                  <a:pt x="3511436" y="466119"/>
                  <a:pt x="3524974" y="460316"/>
                </a:cubicBezTo>
                <a:cubicBezTo>
                  <a:pt x="3524974" y="462251"/>
                  <a:pt x="3524974" y="464184"/>
                  <a:pt x="3524974" y="466119"/>
                </a:cubicBezTo>
                <a:cubicBezTo>
                  <a:pt x="3517237" y="469987"/>
                  <a:pt x="3511436" y="475789"/>
                  <a:pt x="3501764" y="473856"/>
                </a:cubicBezTo>
                <a:cubicBezTo>
                  <a:pt x="3499831" y="471920"/>
                  <a:pt x="3495963" y="473856"/>
                  <a:pt x="3494030" y="475789"/>
                </a:cubicBezTo>
                <a:cubicBezTo>
                  <a:pt x="3488227" y="477724"/>
                  <a:pt x="3486294" y="481592"/>
                  <a:pt x="3480490" y="479657"/>
                </a:cubicBezTo>
                <a:cubicBezTo>
                  <a:pt x="3478555" y="477724"/>
                  <a:pt x="3476622" y="479657"/>
                  <a:pt x="3474689" y="481592"/>
                </a:cubicBezTo>
                <a:cubicBezTo>
                  <a:pt x="3466952" y="485460"/>
                  <a:pt x="3459214" y="491262"/>
                  <a:pt x="3449544" y="493197"/>
                </a:cubicBezTo>
                <a:cubicBezTo>
                  <a:pt x="3449544" y="493197"/>
                  <a:pt x="3447611" y="493197"/>
                  <a:pt x="3447611" y="493197"/>
                </a:cubicBezTo>
                <a:cubicBezTo>
                  <a:pt x="3445676" y="495130"/>
                  <a:pt x="3445676" y="497065"/>
                  <a:pt x="3443743" y="498998"/>
                </a:cubicBezTo>
                <a:cubicBezTo>
                  <a:pt x="3441808" y="500933"/>
                  <a:pt x="3439875" y="500933"/>
                  <a:pt x="3437939" y="502866"/>
                </a:cubicBezTo>
                <a:cubicBezTo>
                  <a:pt x="3437939" y="502866"/>
                  <a:pt x="3437939" y="504802"/>
                  <a:pt x="3437939" y="504802"/>
                </a:cubicBezTo>
                <a:cubicBezTo>
                  <a:pt x="3439875" y="506735"/>
                  <a:pt x="3441808" y="506735"/>
                  <a:pt x="3443743" y="508670"/>
                </a:cubicBezTo>
                <a:cubicBezTo>
                  <a:pt x="3441808" y="512538"/>
                  <a:pt x="3437939" y="514471"/>
                  <a:pt x="3434071" y="516406"/>
                </a:cubicBezTo>
                <a:cubicBezTo>
                  <a:pt x="3453412" y="510603"/>
                  <a:pt x="3499831" y="498998"/>
                  <a:pt x="3497896" y="502866"/>
                </a:cubicBezTo>
                <a:cubicBezTo>
                  <a:pt x="3495963" y="508670"/>
                  <a:pt x="3490162" y="510603"/>
                  <a:pt x="3488227" y="514471"/>
                </a:cubicBezTo>
                <a:cubicBezTo>
                  <a:pt x="3492095" y="512538"/>
                  <a:pt x="3497896" y="510603"/>
                  <a:pt x="3501764" y="508670"/>
                </a:cubicBezTo>
                <a:cubicBezTo>
                  <a:pt x="3524974" y="500933"/>
                  <a:pt x="3546248" y="493197"/>
                  <a:pt x="3569458" y="487393"/>
                </a:cubicBezTo>
                <a:cubicBezTo>
                  <a:pt x="3567525" y="491262"/>
                  <a:pt x="3565589" y="493197"/>
                  <a:pt x="3563656" y="495130"/>
                </a:cubicBezTo>
                <a:cubicBezTo>
                  <a:pt x="3565589" y="495130"/>
                  <a:pt x="3567525" y="497065"/>
                  <a:pt x="3571393" y="498998"/>
                </a:cubicBezTo>
                <a:cubicBezTo>
                  <a:pt x="3559788" y="502866"/>
                  <a:pt x="3550119" y="506735"/>
                  <a:pt x="3538514" y="510603"/>
                </a:cubicBezTo>
                <a:cubicBezTo>
                  <a:pt x="3536579" y="510603"/>
                  <a:pt x="3536579" y="510603"/>
                  <a:pt x="3534646" y="510603"/>
                </a:cubicBezTo>
                <a:cubicBezTo>
                  <a:pt x="3526909" y="510603"/>
                  <a:pt x="3519173" y="510603"/>
                  <a:pt x="3515304" y="518339"/>
                </a:cubicBezTo>
                <a:cubicBezTo>
                  <a:pt x="3513372" y="522208"/>
                  <a:pt x="3509501" y="526076"/>
                  <a:pt x="3503700" y="524143"/>
                </a:cubicBezTo>
                <a:cubicBezTo>
                  <a:pt x="3505633" y="522208"/>
                  <a:pt x="3505633" y="520275"/>
                  <a:pt x="3509501" y="516406"/>
                </a:cubicBezTo>
                <a:cubicBezTo>
                  <a:pt x="3499831" y="520275"/>
                  <a:pt x="3494030" y="520275"/>
                  <a:pt x="3488227" y="528009"/>
                </a:cubicBezTo>
                <a:cubicBezTo>
                  <a:pt x="3486294" y="531879"/>
                  <a:pt x="3480490" y="533812"/>
                  <a:pt x="3476622" y="535745"/>
                </a:cubicBezTo>
                <a:cubicBezTo>
                  <a:pt x="3476622" y="537681"/>
                  <a:pt x="3474689" y="537681"/>
                  <a:pt x="3472754" y="539614"/>
                </a:cubicBezTo>
                <a:cubicBezTo>
                  <a:pt x="3470821" y="539614"/>
                  <a:pt x="3470821" y="541549"/>
                  <a:pt x="3470821" y="541549"/>
                </a:cubicBezTo>
                <a:cubicBezTo>
                  <a:pt x="3470821" y="543484"/>
                  <a:pt x="3470821" y="545417"/>
                  <a:pt x="3472754" y="547350"/>
                </a:cubicBezTo>
                <a:cubicBezTo>
                  <a:pt x="3484358" y="543484"/>
                  <a:pt x="3495963" y="537681"/>
                  <a:pt x="3505633" y="533812"/>
                </a:cubicBezTo>
                <a:cubicBezTo>
                  <a:pt x="3517237" y="528009"/>
                  <a:pt x="3528842" y="524143"/>
                  <a:pt x="3540447" y="520275"/>
                </a:cubicBezTo>
                <a:cubicBezTo>
                  <a:pt x="3552052" y="516406"/>
                  <a:pt x="3563656" y="514471"/>
                  <a:pt x="3575261" y="510603"/>
                </a:cubicBezTo>
                <a:cubicBezTo>
                  <a:pt x="3575261" y="512538"/>
                  <a:pt x="3575261" y="514471"/>
                  <a:pt x="3577197" y="518339"/>
                </a:cubicBezTo>
                <a:cubicBezTo>
                  <a:pt x="3575261" y="520275"/>
                  <a:pt x="3573328" y="522208"/>
                  <a:pt x="3571393" y="522208"/>
                </a:cubicBezTo>
                <a:cubicBezTo>
                  <a:pt x="3561723" y="526076"/>
                  <a:pt x="3550119" y="529944"/>
                  <a:pt x="3540447" y="533812"/>
                </a:cubicBezTo>
                <a:cubicBezTo>
                  <a:pt x="3536579" y="535745"/>
                  <a:pt x="3534646" y="537681"/>
                  <a:pt x="3532710" y="543484"/>
                </a:cubicBezTo>
                <a:cubicBezTo>
                  <a:pt x="3532710" y="551218"/>
                  <a:pt x="3526909" y="553154"/>
                  <a:pt x="3524974" y="560890"/>
                </a:cubicBezTo>
                <a:cubicBezTo>
                  <a:pt x="3524974" y="562823"/>
                  <a:pt x="3524974" y="564758"/>
                  <a:pt x="3524974" y="566691"/>
                </a:cubicBezTo>
                <a:cubicBezTo>
                  <a:pt x="3519173" y="560890"/>
                  <a:pt x="3511436" y="574428"/>
                  <a:pt x="3505633" y="562823"/>
                </a:cubicBezTo>
                <a:cubicBezTo>
                  <a:pt x="3501764" y="564758"/>
                  <a:pt x="3499831" y="566691"/>
                  <a:pt x="3495963" y="568627"/>
                </a:cubicBezTo>
                <a:cubicBezTo>
                  <a:pt x="3495963" y="568627"/>
                  <a:pt x="3495963" y="570560"/>
                  <a:pt x="3497896" y="574428"/>
                </a:cubicBezTo>
                <a:lnTo>
                  <a:pt x="3492895" y="576352"/>
                </a:lnTo>
                <a:lnTo>
                  <a:pt x="3494030" y="572495"/>
                </a:lnTo>
                <a:lnTo>
                  <a:pt x="3488472" y="578053"/>
                </a:lnTo>
                <a:lnTo>
                  <a:pt x="3472754" y="584100"/>
                </a:lnTo>
                <a:lnTo>
                  <a:pt x="3473721" y="589901"/>
                </a:lnTo>
                <a:lnTo>
                  <a:pt x="3472754" y="589901"/>
                </a:lnTo>
                <a:lnTo>
                  <a:pt x="3473778" y="590243"/>
                </a:lnTo>
                <a:lnTo>
                  <a:pt x="3474689" y="595705"/>
                </a:lnTo>
                <a:cubicBezTo>
                  <a:pt x="3474689" y="601506"/>
                  <a:pt x="3472754" y="605374"/>
                  <a:pt x="3470821" y="609242"/>
                </a:cubicBezTo>
                <a:cubicBezTo>
                  <a:pt x="3468885" y="613111"/>
                  <a:pt x="3466952" y="615046"/>
                  <a:pt x="3463084" y="615046"/>
                </a:cubicBezTo>
                <a:cubicBezTo>
                  <a:pt x="3459214" y="615046"/>
                  <a:pt x="3455348" y="615046"/>
                  <a:pt x="3451479" y="616979"/>
                </a:cubicBezTo>
                <a:cubicBezTo>
                  <a:pt x="3447611" y="618914"/>
                  <a:pt x="3443743" y="618914"/>
                  <a:pt x="3441808" y="622780"/>
                </a:cubicBezTo>
                <a:cubicBezTo>
                  <a:pt x="3439875" y="630519"/>
                  <a:pt x="3434071" y="628584"/>
                  <a:pt x="3428270" y="628584"/>
                </a:cubicBezTo>
                <a:cubicBezTo>
                  <a:pt x="3420533" y="628584"/>
                  <a:pt x="3414730" y="632452"/>
                  <a:pt x="3410862" y="638253"/>
                </a:cubicBezTo>
                <a:cubicBezTo>
                  <a:pt x="3408929" y="638253"/>
                  <a:pt x="3408929" y="640188"/>
                  <a:pt x="3408929" y="644057"/>
                </a:cubicBezTo>
                <a:cubicBezTo>
                  <a:pt x="3414730" y="642121"/>
                  <a:pt x="3418598" y="640188"/>
                  <a:pt x="3422466" y="638253"/>
                </a:cubicBezTo>
                <a:cubicBezTo>
                  <a:pt x="3424402" y="640188"/>
                  <a:pt x="3424402" y="647925"/>
                  <a:pt x="3428270" y="644057"/>
                </a:cubicBezTo>
                <a:cubicBezTo>
                  <a:pt x="3432138" y="638253"/>
                  <a:pt x="3437939" y="638253"/>
                  <a:pt x="3441808" y="636320"/>
                </a:cubicBezTo>
                <a:cubicBezTo>
                  <a:pt x="3451479" y="632452"/>
                  <a:pt x="3461149" y="628584"/>
                  <a:pt x="3470821" y="622780"/>
                </a:cubicBezTo>
                <a:cubicBezTo>
                  <a:pt x="3476622" y="618914"/>
                  <a:pt x="3482423" y="615046"/>
                  <a:pt x="3486294" y="607309"/>
                </a:cubicBezTo>
                <a:cubicBezTo>
                  <a:pt x="3484358" y="605374"/>
                  <a:pt x="3482423" y="605374"/>
                  <a:pt x="3482423" y="603441"/>
                </a:cubicBezTo>
                <a:cubicBezTo>
                  <a:pt x="3480490" y="601506"/>
                  <a:pt x="3480490" y="597637"/>
                  <a:pt x="3480490" y="595705"/>
                </a:cubicBezTo>
                <a:cubicBezTo>
                  <a:pt x="3480490" y="595705"/>
                  <a:pt x="3484358" y="593769"/>
                  <a:pt x="3486294" y="593769"/>
                </a:cubicBezTo>
                <a:cubicBezTo>
                  <a:pt x="3495963" y="593769"/>
                  <a:pt x="3497896" y="591836"/>
                  <a:pt x="3497896" y="580232"/>
                </a:cubicBezTo>
                <a:cubicBezTo>
                  <a:pt x="3501764" y="576363"/>
                  <a:pt x="3505633" y="574428"/>
                  <a:pt x="3509501" y="570560"/>
                </a:cubicBezTo>
                <a:cubicBezTo>
                  <a:pt x="3515304" y="572495"/>
                  <a:pt x="3519173" y="574428"/>
                  <a:pt x="3523041" y="576363"/>
                </a:cubicBezTo>
                <a:cubicBezTo>
                  <a:pt x="3524974" y="587968"/>
                  <a:pt x="3509501" y="584100"/>
                  <a:pt x="3509501" y="597637"/>
                </a:cubicBezTo>
                <a:cubicBezTo>
                  <a:pt x="3517237" y="591836"/>
                  <a:pt x="3524974" y="587968"/>
                  <a:pt x="3532710" y="582164"/>
                </a:cubicBezTo>
                <a:cubicBezTo>
                  <a:pt x="3538514" y="568627"/>
                  <a:pt x="3548183" y="558955"/>
                  <a:pt x="3557855" y="560890"/>
                </a:cubicBezTo>
                <a:cubicBezTo>
                  <a:pt x="3557855" y="553154"/>
                  <a:pt x="3557855" y="553154"/>
                  <a:pt x="3559788" y="549285"/>
                </a:cubicBezTo>
                <a:cubicBezTo>
                  <a:pt x="3563656" y="555087"/>
                  <a:pt x="3567525" y="558955"/>
                  <a:pt x="3573328" y="566691"/>
                </a:cubicBezTo>
                <a:cubicBezTo>
                  <a:pt x="3569458" y="570560"/>
                  <a:pt x="3563656" y="572495"/>
                  <a:pt x="3559788" y="576363"/>
                </a:cubicBezTo>
                <a:cubicBezTo>
                  <a:pt x="3561723" y="578296"/>
                  <a:pt x="3561723" y="578296"/>
                  <a:pt x="3561723" y="580232"/>
                </a:cubicBezTo>
                <a:cubicBezTo>
                  <a:pt x="3573328" y="582164"/>
                  <a:pt x="3582998" y="578296"/>
                  <a:pt x="3592667" y="570560"/>
                </a:cubicBezTo>
                <a:cubicBezTo>
                  <a:pt x="3592667" y="570560"/>
                  <a:pt x="3592667" y="570560"/>
                  <a:pt x="3592667" y="568627"/>
                </a:cubicBezTo>
                <a:cubicBezTo>
                  <a:pt x="3590734" y="566691"/>
                  <a:pt x="3586866" y="566691"/>
                  <a:pt x="3582998" y="564758"/>
                </a:cubicBezTo>
                <a:cubicBezTo>
                  <a:pt x="3586866" y="558955"/>
                  <a:pt x="3586866" y="558955"/>
                  <a:pt x="3606207" y="558955"/>
                </a:cubicBezTo>
                <a:cubicBezTo>
                  <a:pt x="3608140" y="562823"/>
                  <a:pt x="3610075" y="568627"/>
                  <a:pt x="3612008" y="572495"/>
                </a:cubicBezTo>
                <a:cubicBezTo>
                  <a:pt x="3612008" y="574428"/>
                  <a:pt x="3610075" y="574428"/>
                  <a:pt x="3608140" y="576363"/>
                </a:cubicBezTo>
                <a:cubicBezTo>
                  <a:pt x="3606207" y="572495"/>
                  <a:pt x="3604272" y="568627"/>
                  <a:pt x="3602339" y="564758"/>
                </a:cubicBezTo>
                <a:cubicBezTo>
                  <a:pt x="3600406" y="566691"/>
                  <a:pt x="3598471" y="570560"/>
                  <a:pt x="3598471" y="570560"/>
                </a:cubicBezTo>
                <a:cubicBezTo>
                  <a:pt x="3602339" y="578296"/>
                  <a:pt x="3596535" y="578296"/>
                  <a:pt x="3592667" y="580232"/>
                </a:cubicBezTo>
                <a:cubicBezTo>
                  <a:pt x="3588799" y="582164"/>
                  <a:pt x="3581065" y="580232"/>
                  <a:pt x="3577197" y="587968"/>
                </a:cubicBezTo>
                <a:cubicBezTo>
                  <a:pt x="3577197" y="587968"/>
                  <a:pt x="3575261" y="587968"/>
                  <a:pt x="3575261" y="587968"/>
                </a:cubicBezTo>
                <a:cubicBezTo>
                  <a:pt x="3571393" y="584100"/>
                  <a:pt x="3567525" y="587968"/>
                  <a:pt x="3565589" y="589901"/>
                </a:cubicBezTo>
                <a:cubicBezTo>
                  <a:pt x="3557855" y="595705"/>
                  <a:pt x="3548183" y="599573"/>
                  <a:pt x="3540447" y="605374"/>
                </a:cubicBezTo>
                <a:cubicBezTo>
                  <a:pt x="3538514" y="601506"/>
                  <a:pt x="3536579" y="597637"/>
                  <a:pt x="3534646" y="595705"/>
                </a:cubicBezTo>
                <a:cubicBezTo>
                  <a:pt x="3528842" y="597637"/>
                  <a:pt x="3530777" y="605374"/>
                  <a:pt x="3528842" y="609242"/>
                </a:cubicBezTo>
                <a:cubicBezTo>
                  <a:pt x="3524974" y="611178"/>
                  <a:pt x="3519173" y="611178"/>
                  <a:pt x="3513372" y="613111"/>
                </a:cubicBezTo>
                <a:cubicBezTo>
                  <a:pt x="3513372" y="609242"/>
                  <a:pt x="3513372" y="609242"/>
                  <a:pt x="3515304" y="605374"/>
                </a:cubicBezTo>
                <a:cubicBezTo>
                  <a:pt x="3513372" y="605374"/>
                  <a:pt x="3511436" y="605374"/>
                  <a:pt x="3511436" y="605374"/>
                </a:cubicBezTo>
                <a:cubicBezTo>
                  <a:pt x="3509501" y="616979"/>
                  <a:pt x="3497896" y="615046"/>
                  <a:pt x="3492095" y="622780"/>
                </a:cubicBezTo>
                <a:cubicBezTo>
                  <a:pt x="3490162" y="624715"/>
                  <a:pt x="3488227" y="626651"/>
                  <a:pt x="3486294" y="630519"/>
                </a:cubicBezTo>
                <a:cubicBezTo>
                  <a:pt x="3488227" y="630519"/>
                  <a:pt x="3490162" y="630519"/>
                  <a:pt x="3492095" y="630519"/>
                </a:cubicBezTo>
                <a:cubicBezTo>
                  <a:pt x="3505633" y="624715"/>
                  <a:pt x="3519173" y="618914"/>
                  <a:pt x="3532710" y="613111"/>
                </a:cubicBezTo>
                <a:cubicBezTo>
                  <a:pt x="3536579" y="611178"/>
                  <a:pt x="3538514" y="611178"/>
                  <a:pt x="3542382" y="611178"/>
                </a:cubicBezTo>
                <a:cubicBezTo>
                  <a:pt x="3552052" y="607309"/>
                  <a:pt x="3563656" y="603441"/>
                  <a:pt x="3573328" y="599573"/>
                </a:cubicBezTo>
                <a:cubicBezTo>
                  <a:pt x="3575261" y="597637"/>
                  <a:pt x="3577197" y="597637"/>
                  <a:pt x="3579129" y="597637"/>
                </a:cubicBezTo>
                <a:cubicBezTo>
                  <a:pt x="3581065" y="601506"/>
                  <a:pt x="3582998" y="603441"/>
                  <a:pt x="3584931" y="605374"/>
                </a:cubicBezTo>
                <a:cubicBezTo>
                  <a:pt x="3584931" y="611178"/>
                  <a:pt x="3579129" y="611178"/>
                  <a:pt x="3569458" y="605374"/>
                </a:cubicBezTo>
                <a:cubicBezTo>
                  <a:pt x="3569458" y="616979"/>
                  <a:pt x="3567525" y="624715"/>
                  <a:pt x="3555920" y="624715"/>
                </a:cubicBezTo>
                <a:cubicBezTo>
                  <a:pt x="3557855" y="636320"/>
                  <a:pt x="3553987" y="642121"/>
                  <a:pt x="3546248" y="645990"/>
                </a:cubicBezTo>
                <a:lnTo>
                  <a:pt x="3539475" y="647925"/>
                </a:lnTo>
                <a:lnTo>
                  <a:pt x="3524974" y="647925"/>
                </a:lnTo>
                <a:cubicBezTo>
                  <a:pt x="3523041" y="638253"/>
                  <a:pt x="3523041" y="638253"/>
                  <a:pt x="3517237" y="640188"/>
                </a:cubicBezTo>
                <a:cubicBezTo>
                  <a:pt x="3513372" y="642121"/>
                  <a:pt x="3507568" y="644057"/>
                  <a:pt x="3503700" y="645990"/>
                </a:cubicBezTo>
                <a:cubicBezTo>
                  <a:pt x="3503700" y="645990"/>
                  <a:pt x="3503700" y="647925"/>
                  <a:pt x="3503700" y="647925"/>
                </a:cubicBezTo>
                <a:lnTo>
                  <a:pt x="3526574" y="654461"/>
                </a:lnTo>
                <a:lnTo>
                  <a:pt x="3524974" y="655661"/>
                </a:lnTo>
                <a:cubicBezTo>
                  <a:pt x="3528842" y="657594"/>
                  <a:pt x="3530777" y="659530"/>
                  <a:pt x="3532710" y="663398"/>
                </a:cubicBezTo>
                <a:cubicBezTo>
                  <a:pt x="3534646" y="661463"/>
                  <a:pt x="3534646" y="661463"/>
                  <a:pt x="3536579" y="661463"/>
                </a:cubicBezTo>
                <a:cubicBezTo>
                  <a:pt x="3536579" y="663398"/>
                  <a:pt x="3534646" y="665331"/>
                  <a:pt x="3534646" y="665331"/>
                </a:cubicBezTo>
                <a:cubicBezTo>
                  <a:pt x="3536579" y="667266"/>
                  <a:pt x="3536579" y="669199"/>
                  <a:pt x="3538514" y="671134"/>
                </a:cubicBezTo>
                <a:cubicBezTo>
                  <a:pt x="3658427" y="605374"/>
                  <a:pt x="3786078" y="551218"/>
                  <a:pt x="3917598" y="508670"/>
                </a:cubicBezTo>
                <a:cubicBezTo>
                  <a:pt x="3946609" y="500933"/>
                  <a:pt x="3971751" y="514471"/>
                  <a:pt x="3985291" y="537681"/>
                </a:cubicBezTo>
                <a:cubicBezTo>
                  <a:pt x="3985291" y="537681"/>
                  <a:pt x="3987224" y="537681"/>
                  <a:pt x="3987224" y="537681"/>
                </a:cubicBezTo>
                <a:cubicBezTo>
                  <a:pt x="3987224" y="537681"/>
                  <a:pt x="3987224" y="539614"/>
                  <a:pt x="3987224" y="539614"/>
                </a:cubicBezTo>
                <a:cubicBezTo>
                  <a:pt x="3987224" y="541549"/>
                  <a:pt x="3989160" y="543484"/>
                  <a:pt x="3989160" y="545417"/>
                </a:cubicBezTo>
                <a:cubicBezTo>
                  <a:pt x="3991093" y="543484"/>
                  <a:pt x="3993028" y="543484"/>
                  <a:pt x="3994961" y="541549"/>
                </a:cubicBezTo>
                <a:cubicBezTo>
                  <a:pt x="3996896" y="539614"/>
                  <a:pt x="3996896" y="539614"/>
                  <a:pt x="3998829" y="539614"/>
                </a:cubicBezTo>
                <a:cubicBezTo>
                  <a:pt x="3998829" y="539614"/>
                  <a:pt x="4000764" y="537681"/>
                  <a:pt x="4002697" y="537681"/>
                </a:cubicBezTo>
                <a:cubicBezTo>
                  <a:pt x="3998829" y="535745"/>
                  <a:pt x="3996896" y="535745"/>
                  <a:pt x="3994961" y="535745"/>
                </a:cubicBezTo>
                <a:cubicBezTo>
                  <a:pt x="4000764" y="529944"/>
                  <a:pt x="4008501" y="526076"/>
                  <a:pt x="4016237" y="529944"/>
                </a:cubicBezTo>
                <a:cubicBezTo>
                  <a:pt x="4018170" y="529944"/>
                  <a:pt x="4020103" y="528009"/>
                  <a:pt x="4022039" y="528009"/>
                </a:cubicBezTo>
                <a:cubicBezTo>
                  <a:pt x="4025907" y="526076"/>
                  <a:pt x="4027842" y="524143"/>
                  <a:pt x="4031711" y="522208"/>
                </a:cubicBezTo>
                <a:cubicBezTo>
                  <a:pt x="4029775" y="533812"/>
                  <a:pt x="4023974" y="535745"/>
                  <a:pt x="4018170" y="539614"/>
                </a:cubicBezTo>
                <a:cubicBezTo>
                  <a:pt x="4020103" y="539614"/>
                  <a:pt x="4023974" y="541549"/>
                  <a:pt x="4025907" y="541549"/>
                </a:cubicBezTo>
                <a:lnTo>
                  <a:pt x="4027840" y="551216"/>
                </a:lnTo>
                <a:lnTo>
                  <a:pt x="4025423" y="548559"/>
                </a:lnTo>
                <a:cubicBezTo>
                  <a:pt x="4024456" y="548801"/>
                  <a:pt x="4023005" y="550252"/>
                  <a:pt x="4020103" y="553154"/>
                </a:cubicBezTo>
                <a:cubicBezTo>
                  <a:pt x="4022039" y="553154"/>
                  <a:pt x="4022039" y="553154"/>
                  <a:pt x="4022039" y="553154"/>
                </a:cubicBezTo>
                <a:lnTo>
                  <a:pt x="4027841" y="551219"/>
                </a:lnTo>
                <a:lnTo>
                  <a:pt x="4028163" y="552832"/>
                </a:lnTo>
                <a:lnTo>
                  <a:pt x="4027842" y="553154"/>
                </a:lnTo>
                <a:lnTo>
                  <a:pt x="4028324" y="553636"/>
                </a:lnTo>
                <a:lnTo>
                  <a:pt x="4029775" y="560890"/>
                </a:lnTo>
                <a:cubicBezTo>
                  <a:pt x="4037512" y="555087"/>
                  <a:pt x="4043313" y="549285"/>
                  <a:pt x="4051052" y="545417"/>
                </a:cubicBezTo>
                <a:cubicBezTo>
                  <a:pt x="4051052" y="545417"/>
                  <a:pt x="4052985" y="543484"/>
                  <a:pt x="4052985" y="543484"/>
                </a:cubicBezTo>
                <a:cubicBezTo>
                  <a:pt x="4060721" y="537681"/>
                  <a:pt x="4068458" y="529944"/>
                  <a:pt x="4076194" y="524143"/>
                </a:cubicBezTo>
                <a:cubicBezTo>
                  <a:pt x="4076194" y="524143"/>
                  <a:pt x="4078127" y="522208"/>
                  <a:pt x="4078127" y="520275"/>
                </a:cubicBezTo>
                <a:cubicBezTo>
                  <a:pt x="4078127" y="522208"/>
                  <a:pt x="4080063" y="522208"/>
                  <a:pt x="4080063" y="522208"/>
                </a:cubicBezTo>
                <a:cubicBezTo>
                  <a:pt x="4083931" y="520275"/>
                  <a:pt x="4085864" y="520275"/>
                  <a:pt x="4085864" y="514471"/>
                </a:cubicBezTo>
                <a:cubicBezTo>
                  <a:pt x="4085864" y="512538"/>
                  <a:pt x="4091667" y="508670"/>
                  <a:pt x="4095536" y="504802"/>
                </a:cubicBezTo>
                <a:cubicBezTo>
                  <a:pt x="4097468" y="502866"/>
                  <a:pt x="4097468" y="500933"/>
                  <a:pt x="4099404" y="498998"/>
                </a:cubicBezTo>
                <a:cubicBezTo>
                  <a:pt x="4099404" y="498998"/>
                  <a:pt x="4097468" y="497065"/>
                  <a:pt x="4095536" y="497065"/>
                </a:cubicBezTo>
                <a:cubicBezTo>
                  <a:pt x="4087799" y="500933"/>
                  <a:pt x="4080063" y="504802"/>
                  <a:pt x="4072326" y="510603"/>
                </a:cubicBezTo>
                <a:cubicBezTo>
                  <a:pt x="4070391" y="514471"/>
                  <a:pt x="4066522" y="516406"/>
                  <a:pt x="4062654" y="520275"/>
                </a:cubicBezTo>
                <a:cubicBezTo>
                  <a:pt x="4062654" y="520275"/>
                  <a:pt x="4064589" y="522208"/>
                  <a:pt x="4066522" y="524143"/>
                </a:cubicBezTo>
                <a:cubicBezTo>
                  <a:pt x="4064589" y="529944"/>
                  <a:pt x="4060721" y="537681"/>
                  <a:pt x="4052985" y="537681"/>
                </a:cubicBezTo>
                <a:cubicBezTo>
                  <a:pt x="4047181" y="537681"/>
                  <a:pt x="4043313" y="541549"/>
                  <a:pt x="4039445" y="545417"/>
                </a:cubicBezTo>
                <a:cubicBezTo>
                  <a:pt x="4037512" y="545417"/>
                  <a:pt x="4037512" y="543484"/>
                  <a:pt x="4037512" y="543484"/>
                </a:cubicBezTo>
                <a:cubicBezTo>
                  <a:pt x="4043313" y="539614"/>
                  <a:pt x="4049116" y="535745"/>
                  <a:pt x="4054920" y="529944"/>
                </a:cubicBezTo>
                <a:cubicBezTo>
                  <a:pt x="4049116" y="528009"/>
                  <a:pt x="4045248" y="526076"/>
                  <a:pt x="4037512" y="522208"/>
                </a:cubicBezTo>
                <a:cubicBezTo>
                  <a:pt x="4041380" y="520275"/>
                  <a:pt x="4045248" y="518339"/>
                  <a:pt x="4049116" y="516406"/>
                </a:cubicBezTo>
                <a:cubicBezTo>
                  <a:pt x="4051052" y="516406"/>
                  <a:pt x="4051052" y="514471"/>
                  <a:pt x="4052985" y="514471"/>
                </a:cubicBezTo>
                <a:cubicBezTo>
                  <a:pt x="4062654" y="510603"/>
                  <a:pt x="4064589" y="510603"/>
                  <a:pt x="4056853" y="500933"/>
                </a:cubicBezTo>
                <a:cubicBezTo>
                  <a:pt x="4064589" y="495130"/>
                  <a:pt x="4072326" y="489329"/>
                  <a:pt x="4081995" y="483525"/>
                </a:cubicBezTo>
                <a:cubicBezTo>
                  <a:pt x="4089732" y="479657"/>
                  <a:pt x="4093600" y="468052"/>
                  <a:pt x="4105205" y="471920"/>
                </a:cubicBezTo>
                <a:cubicBezTo>
                  <a:pt x="4109073" y="468052"/>
                  <a:pt x="4114877" y="462251"/>
                  <a:pt x="4118745" y="458383"/>
                </a:cubicBezTo>
                <a:cubicBezTo>
                  <a:pt x="4124546" y="454514"/>
                  <a:pt x="4128415" y="448711"/>
                  <a:pt x="4134216" y="442910"/>
                </a:cubicBezTo>
                <a:cubicBezTo>
                  <a:pt x="4140019" y="439041"/>
                  <a:pt x="4143888" y="437108"/>
                  <a:pt x="4149689" y="433240"/>
                </a:cubicBezTo>
                <a:cubicBezTo>
                  <a:pt x="4149689" y="433240"/>
                  <a:pt x="4151624" y="435173"/>
                  <a:pt x="4151624" y="435173"/>
                </a:cubicBezTo>
                <a:cubicBezTo>
                  <a:pt x="4149689" y="439041"/>
                  <a:pt x="4149689" y="444845"/>
                  <a:pt x="4147756" y="448711"/>
                </a:cubicBezTo>
                <a:cubicBezTo>
                  <a:pt x="4155492" y="442910"/>
                  <a:pt x="4163229" y="440974"/>
                  <a:pt x="4167097" y="433240"/>
                </a:cubicBezTo>
                <a:cubicBezTo>
                  <a:pt x="4169030" y="425504"/>
                  <a:pt x="4174834" y="419700"/>
                  <a:pt x="4178702" y="411964"/>
                </a:cubicBezTo>
                <a:cubicBezTo>
                  <a:pt x="4186438" y="425504"/>
                  <a:pt x="4190307" y="427437"/>
                  <a:pt x="4201911" y="417767"/>
                </a:cubicBezTo>
                <a:cubicBezTo>
                  <a:pt x="4205780" y="415832"/>
                  <a:pt x="4209648" y="411964"/>
                  <a:pt x="4213514" y="410031"/>
                </a:cubicBezTo>
                <a:cubicBezTo>
                  <a:pt x="4219317" y="415832"/>
                  <a:pt x="4223186" y="419700"/>
                  <a:pt x="4227054" y="425504"/>
                </a:cubicBezTo>
                <a:cubicBezTo>
                  <a:pt x="4230922" y="419700"/>
                  <a:pt x="4234790" y="413899"/>
                  <a:pt x="4238659" y="408095"/>
                </a:cubicBezTo>
                <a:cubicBezTo>
                  <a:pt x="4238659" y="406162"/>
                  <a:pt x="4238659" y="404227"/>
                  <a:pt x="4236723" y="402294"/>
                </a:cubicBezTo>
                <a:cubicBezTo>
                  <a:pt x="4236723" y="402294"/>
                  <a:pt x="4238659" y="402294"/>
                  <a:pt x="4238659" y="402294"/>
                </a:cubicBezTo>
                <a:cubicBezTo>
                  <a:pt x="4254132" y="390689"/>
                  <a:pt x="4269605" y="381018"/>
                  <a:pt x="4285078" y="369415"/>
                </a:cubicBezTo>
                <a:cubicBezTo>
                  <a:pt x="4285078" y="369415"/>
                  <a:pt x="4287011" y="367480"/>
                  <a:pt x="4287011" y="367480"/>
                </a:cubicBezTo>
                <a:cubicBezTo>
                  <a:pt x="4290879" y="363612"/>
                  <a:pt x="4292814" y="357810"/>
                  <a:pt x="4296682" y="357810"/>
                </a:cubicBezTo>
                <a:cubicBezTo>
                  <a:pt x="4302484" y="357810"/>
                  <a:pt x="4310220" y="359743"/>
                  <a:pt x="4316024" y="361676"/>
                </a:cubicBezTo>
                <a:cubicBezTo>
                  <a:pt x="4316024" y="357810"/>
                  <a:pt x="4314088" y="353940"/>
                  <a:pt x="4314088" y="348139"/>
                </a:cubicBezTo>
                <a:cubicBezTo>
                  <a:pt x="4323758" y="340402"/>
                  <a:pt x="4335365" y="334601"/>
                  <a:pt x="4346967" y="326864"/>
                </a:cubicBezTo>
                <a:cubicBezTo>
                  <a:pt x="4348903" y="326864"/>
                  <a:pt x="4348903" y="328797"/>
                  <a:pt x="4348903" y="328797"/>
                </a:cubicBezTo>
                <a:cubicBezTo>
                  <a:pt x="4346967" y="332665"/>
                  <a:pt x="4343099" y="334601"/>
                  <a:pt x="4341166" y="338469"/>
                </a:cubicBezTo>
                <a:cubicBezTo>
                  <a:pt x="4343099" y="338469"/>
                  <a:pt x="4343099" y="340402"/>
                  <a:pt x="4343099" y="340402"/>
                </a:cubicBezTo>
                <a:cubicBezTo>
                  <a:pt x="4352771" y="334601"/>
                  <a:pt x="4362440" y="328797"/>
                  <a:pt x="4372112" y="322996"/>
                </a:cubicBezTo>
                <a:cubicBezTo>
                  <a:pt x="4372112" y="322996"/>
                  <a:pt x="4370177" y="319128"/>
                  <a:pt x="4370177" y="317192"/>
                </a:cubicBezTo>
                <a:cubicBezTo>
                  <a:pt x="4370177" y="315260"/>
                  <a:pt x="4372112" y="315260"/>
                  <a:pt x="4372112" y="315260"/>
                </a:cubicBezTo>
                <a:cubicBezTo>
                  <a:pt x="4372112" y="317192"/>
                  <a:pt x="4374045" y="321061"/>
                  <a:pt x="4375980" y="322996"/>
                </a:cubicBezTo>
                <a:cubicBezTo>
                  <a:pt x="4379849" y="317192"/>
                  <a:pt x="4389518" y="315260"/>
                  <a:pt x="4391451" y="307523"/>
                </a:cubicBezTo>
                <a:cubicBezTo>
                  <a:pt x="4391451" y="307523"/>
                  <a:pt x="4395322" y="305588"/>
                  <a:pt x="4395322" y="305588"/>
                </a:cubicBezTo>
                <a:cubicBezTo>
                  <a:pt x="4403058" y="307523"/>
                  <a:pt x="4406924" y="303655"/>
                  <a:pt x="4412728" y="299786"/>
                </a:cubicBezTo>
                <a:cubicBezTo>
                  <a:pt x="4418531" y="297851"/>
                  <a:pt x="4422399" y="295918"/>
                  <a:pt x="4426265" y="288182"/>
                </a:cubicBezTo>
                <a:cubicBezTo>
                  <a:pt x="4430134" y="280445"/>
                  <a:pt x="4439805" y="276577"/>
                  <a:pt x="4447542" y="274642"/>
                </a:cubicBezTo>
                <a:cubicBezTo>
                  <a:pt x="4445607" y="278510"/>
                  <a:pt x="4443674" y="280445"/>
                  <a:pt x="4439805" y="284313"/>
                </a:cubicBezTo>
                <a:cubicBezTo>
                  <a:pt x="4443674" y="284313"/>
                  <a:pt x="4449475" y="282378"/>
                  <a:pt x="4453343" y="282378"/>
                </a:cubicBezTo>
                <a:cubicBezTo>
                  <a:pt x="4453343" y="286246"/>
                  <a:pt x="4455278" y="288182"/>
                  <a:pt x="4455278" y="290115"/>
                </a:cubicBezTo>
                <a:cubicBezTo>
                  <a:pt x="4463015" y="286246"/>
                  <a:pt x="4470751" y="282378"/>
                  <a:pt x="4478488" y="278510"/>
                </a:cubicBezTo>
                <a:cubicBezTo>
                  <a:pt x="4480421" y="280445"/>
                  <a:pt x="4480421" y="282378"/>
                  <a:pt x="4482356" y="284313"/>
                </a:cubicBezTo>
                <a:cubicBezTo>
                  <a:pt x="4482356" y="282378"/>
                  <a:pt x="4484289" y="282378"/>
                  <a:pt x="4484289" y="282378"/>
                </a:cubicBezTo>
                <a:cubicBezTo>
                  <a:pt x="4486225" y="268840"/>
                  <a:pt x="4499762" y="268840"/>
                  <a:pt x="4507499" y="264972"/>
                </a:cubicBezTo>
                <a:cubicBezTo>
                  <a:pt x="4517168" y="261104"/>
                  <a:pt x="4526840" y="257236"/>
                  <a:pt x="4534577" y="251434"/>
                </a:cubicBezTo>
                <a:cubicBezTo>
                  <a:pt x="4538445" y="247566"/>
                  <a:pt x="4538445" y="245631"/>
                  <a:pt x="4534577" y="241763"/>
                </a:cubicBezTo>
                <a:cubicBezTo>
                  <a:pt x="4532641" y="239830"/>
                  <a:pt x="4530708" y="235961"/>
                  <a:pt x="4536509" y="234026"/>
                </a:cubicBezTo>
                <a:cubicBezTo>
                  <a:pt x="4540378" y="234026"/>
                  <a:pt x="4542313" y="228225"/>
                  <a:pt x="4546181" y="226290"/>
                </a:cubicBezTo>
                <a:cubicBezTo>
                  <a:pt x="4559719" y="218553"/>
                  <a:pt x="4573259" y="212752"/>
                  <a:pt x="4586797" y="208884"/>
                </a:cubicBezTo>
                <a:cubicBezTo>
                  <a:pt x="4580993" y="210817"/>
                  <a:pt x="4577127" y="214685"/>
                  <a:pt x="4573259" y="216620"/>
                </a:cubicBezTo>
                <a:cubicBezTo>
                  <a:pt x="4567455" y="218553"/>
                  <a:pt x="4571324" y="226290"/>
                  <a:pt x="4565523" y="228225"/>
                </a:cubicBezTo>
                <a:lnTo>
                  <a:pt x="4561177" y="231122"/>
                </a:lnTo>
                <a:lnTo>
                  <a:pt x="4553918" y="234026"/>
                </a:lnTo>
                <a:lnTo>
                  <a:pt x="4555078" y="235188"/>
                </a:lnTo>
                <a:lnTo>
                  <a:pt x="4553918" y="235961"/>
                </a:lnTo>
                <a:lnTo>
                  <a:pt x="4555372" y="235482"/>
                </a:lnTo>
                <a:lnTo>
                  <a:pt x="4555851" y="235961"/>
                </a:lnTo>
                <a:lnTo>
                  <a:pt x="4557367" y="234824"/>
                </a:lnTo>
                <a:lnTo>
                  <a:pt x="4575918" y="228708"/>
                </a:lnTo>
                <a:cubicBezTo>
                  <a:pt x="4582929" y="225323"/>
                  <a:pt x="4589698" y="221455"/>
                  <a:pt x="4596469" y="218553"/>
                </a:cubicBezTo>
                <a:cubicBezTo>
                  <a:pt x="4611939" y="210817"/>
                  <a:pt x="4625479" y="201147"/>
                  <a:pt x="4640952" y="197279"/>
                </a:cubicBezTo>
                <a:cubicBezTo>
                  <a:pt x="4656425" y="193411"/>
                  <a:pt x="4668028" y="179871"/>
                  <a:pt x="4685436" y="181806"/>
                </a:cubicBezTo>
                <a:cubicBezTo>
                  <a:pt x="4675767" y="187607"/>
                  <a:pt x="4666095" y="193411"/>
                  <a:pt x="4658358" y="197279"/>
                </a:cubicBezTo>
                <a:cubicBezTo>
                  <a:pt x="4648686" y="203080"/>
                  <a:pt x="4637084" y="208884"/>
                  <a:pt x="4629348" y="220488"/>
                </a:cubicBezTo>
                <a:cubicBezTo>
                  <a:pt x="4642885" y="214685"/>
                  <a:pt x="4656425" y="206948"/>
                  <a:pt x="4669963" y="201147"/>
                </a:cubicBezTo>
                <a:cubicBezTo>
                  <a:pt x="4671896" y="203080"/>
                  <a:pt x="4671896" y="205015"/>
                  <a:pt x="4673831" y="206948"/>
                </a:cubicBezTo>
                <a:cubicBezTo>
                  <a:pt x="4677700" y="206948"/>
                  <a:pt x="4683503" y="205015"/>
                  <a:pt x="4689304" y="203080"/>
                </a:cubicBezTo>
                <a:cubicBezTo>
                  <a:pt x="4689304" y="205015"/>
                  <a:pt x="4691237" y="208884"/>
                  <a:pt x="4691237" y="210817"/>
                </a:cubicBezTo>
                <a:cubicBezTo>
                  <a:pt x="4706710" y="208884"/>
                  <a:pt x="4720250" y="205015"/>
                  <a:pt x="4733788" y="197279"/>
                </a:cubicBezTo>
                <a:cubicBezTo>
                  <a:pt x="4731855" y="208884"/>
                  <a:pt x="4722183" y="208884"/>
                  <a:pt x="4712514" y="214685"/>
                </a:cubicBezTo>
                <a:cubicBezTo>
                  <a:pt x="4722183" y="220488"/>
                  <a:pt x="4729920" y="224357"/>
                  <a:pt x="4739592" y="228225"/>
                </a:cubicBezTo>
                <a:cubicBezTo>
                  <a:pt x="4737656" y="234026"/>
                  <a:pt x="4727987" y="226290"/>
                  <a:pt x="4726052" y="232093"/>
                </a:cubicBezTo>
                <a:cubicBezTo>
                  <a:pt x="4733788" y="241763"/>
                  <a:pt x="4739592" y="241763"/>
                  <a:pt x="4749261" y="235961"/>
                </a:cubicBezTo>
                <a:cubicBezTo>
                  <a:pt x="4755062" y="230158"/>
                  <a:pt x="4762801" y="226290"/>
                  <a:pt x="4770538" y="220488"/>
                </a:cubicBezTo>
                <a:cubicBezTo>
                  <a:pt x="4772471" y="234026"/>
                  <a:pt x="4758931" y="234026"/>
                  <a:pt x="4756998" y="243698"/>
                </a:cubicBezTo>
                <a:cubicBezTo>
                  <a:pt x="4762801" y="239830"/>
                  <a:pt x="4766669" y="235961"/>
                  <a:pt x="4774404" y="232093"/>
                </a:cubicBezTo>
                <a:cubicBezTo>
                  <a:pt x="4768602" y="237894"/>
                  <a:pt x="4766669" y="241763"/>
                  <a:pt x="4762801" y="245631"/>
                </a:cubicBezTo>
                <a:cubicBezTo>
                  <a:pt x="4766669" y="247566"/>
                  <a:pt x="4770538" y="247566"/>
                  <a:pt x="4774404" y="249499"/>
                </a:cubicBezTo>
                <a:cubicBezTo>
                  <a:pt x="4772471" y="261104"/>
                  <a:pt x="4751196" y="253367"/>
                  <a:pt x="4755062" y="268840"/>
                </a:cubicBezTo>
                <a:cubicBezTo>
                  <a:pt x="4760866" y="266906"/>
                  <a:pt x="4761350" y="269324"/>
                  <a:pt x="4761350" y="272225"/>
                </a:cubicBezTo>
                <a:lnTo>
                  <a:pt x="4764033" y="277208"/>
                </a:lnTo>
                <a:lnTo>
                  <a:pt x="4745393" y="293983"/>
                </a:lnTo>
                <a:cubicBezTo>
                  <a:pt x="4745393" y="293983"/>
                  <a:pt x="4745393" y="295918"/>
                  <a:pt x="4745393" y="295918"/>
                </a:cubicBezTo>
                <a:cubicBezTo>
                  <a:pt x="4749261" y="295918"/>
                  <a:pt x="4753129" y="295918"/>
                  <a:pt x="4756998" y="293983"/>
                </a:cubicBezTo>
                <a:cubicBezTo>
                  <a:pt x="4758931" y="297851"/>
                  <a:pt x="4760866" y="299786"/>
                  <a:pt x="4762801" y="301719"/>
                </a:cubicBezTo>
                <a:cubicBezTo>
                  <a:pt x="4766669" y="295918"/>
                  <a:pt x="4768602" y="290115"/>
                  <a:pt x="4772471" y="284313"/>
                </a:cubicBezTo>
                <a:cubicBezTo>
                  <a:pt x="4770538" y="286246"/>
                  <a:pt x="4766669" y="288182"/>
                  <a:pt x="4762801" y="290115"/>
                </a:cubicBezTo>
                <a:cubicBezTo>
                  <a:pt x="4762801" y="290115"/>
                  <a:pt x="4760866" y="288182"/>
                  <a:pt x="4760866" y="288182"/>
                </a:cubicBezTo>
                <a:cubicBezTo>
                  <a:pt x="4762801" y="284313"/>
                  <a:pt x="4764734" y="282378"/>
                  <a:pt x="4766669" y="278510"/>
                </a:cubicBezTo>
                <a:lnTo>
                  <a:pt x="4765701" y="277543"/>
                </a:lnTo>
                <a:lnTo>
                  <a:pt x="4784075" y="259171"/>
                </a:lnTo>
                <a:cubicBezTo>
                  <a:pt x="4791812" y="263039"/>
                  <a:pt x="4786011" y="268840"/>
                  <a:pt x="4787944" y="272709"/>
                </a:cubicBezTo>
                <a:cubicBezTo>
                  <a:pt x="4789879" y="280445"/>
                  <a:pt x="4778272" y="276577"/>
                  <a:pt x="4780207" y="284313"/>
                </a:cubicBezTo>
                <a:cubicBezTo>
                  <a:pt x="4787944" y="292050"/>
                  <a:pt x="4791812" y="280445"/>
                  <a:pt x="4799548" y="282378"/>
                </a:cubicBezTo>
                <a:cubicBezTo>
                  <a:pt x="4799548" y="286246"/>
                  <a:pt x="4799548" y="288182"/>
                  <a:pt x="4797613" y="292050"/>
                </a:cubicBezTo>
                <a:cubicBezTo>
                  <a:pt x="4799548" y="293983"/>
                  <a:pt x="4803417" y="293983"/>
                  <a:pt x="4805350" y="293983"/>
                </a:cubicBezTo>
                <a:cubicBezTo>
                  <a:pt x="4799548" y="301719"/>
                  <a:pt x="4791812" y="309456"/>
                  <a:pt x="4787944" y="315260"/>
                </a:cubicBezTo>
                <a:lnTo>
                  <a:pt x="4787420" y="320497"/>
                </a:lnTo>
                <a:lnTo>
                  <a:pt x="4786011" y="321061"/>
                </a:lnTo>
                <a:lnTo>
                  <a:pt x="4787138" y="323317"/>
                </a:lnTo>
                <a:lnTo>
                  <a:pt x="4786011" y="334601"/>
                </a:lnTo>
                <a:cubicBezTo>
                  <a:pt x="4795680" y="326864"/>
                  <a:pt x="4805350" y="319128"/>
                  <a:pt x="4815021" y="313324"/>
                </a:cubicBezTo>
                <a:cubicBezTo>
                  <a:pt x="4824691" y="307523"/>
                  <a:pt x="4834363" y="299786"/>
                  <a:pt x="4844032" y="293983"/>
                </a:cubicBezTo>
                <a:cubicBezTo>
                  <a:pt x="4845965" y="292050"/>
                  <a:pt x="4849836" y="292050"/>
                  <a:pt x="4851769" y="292050"/>
                </a:cubicBezTo>
                <a:cubicBezTo>
                  <a:pt x="4847900" y="293983"/>
                  <a:pt x="4845965" y="297851"/>
                  <a:pt x="4842097" y="299786"/>
                </a:cubicBezTo>
                <a:cubicBezTo>
                  <a:pt x="4842097" y="301719"/>
                  <a:pt x="4844032" y="301719"/>
                  <a:pt x="4844032" y="303655"/>
                </a:cubicBezTo>
                <a:cubicBezTo>
                  <a:pt x="4849836" y="301719"/>
                  <a:pt x="4853704" y="297851"/>
                  <a:pt x="4859505" y="295918"/>
                </a:cubicBezTo>
                <a:cubicBezTo>
                  <a:pt x="4847900" y="313324"/>
                  <a:pt x="4828559" y="321061"/>
                  <a:pt x="4816954" y="332665"/>
                </a:cubicBezTo>
                <a:cubicBezTo>
                  <a:pt x="4815021" y="340402"/>
                  <a:pt x="4813086" y="348139"/>
                  <a:pt x="4811153" y="355875"/>
                </a:cubicBezTo>
                <a:cubicBezTo>
                  <a:pt x="4815021" y="359743"/>
                  <a:pt x="4816954" y="365544"/>
                  <a:pt x="4818890" y="369415"/>
                </a:cubicBezTo>
                <a:cubicBezTo>
                  <a:pt x="4820823" y="375216"/>
                  <a:pt x="4832427" y="369415"/>
                  <a:pt x="4828559" y="379085"/>
                </a:cubicBezTo>
                <a:cubicBezTo>
                  <a:pt x="4840164" y="384886"/>
                  <a:pt x="4849836" y="375216"/>
                  <a:pt x="4861438" y="373281"/>
                </a:cubicBezTo>
                <a:cubicBezTo>
                  <a:pt x="4857572" y="377149"/>
                  <a:pt x="4855637" y="379085"/>
                  <a:pt x="4853704" y="382953"/>
                </a:cubicBezTo>
                <a:cubicBezTo>
                  <a:pt x="4869175" y="377149"/>
                  <a:pt x="4880779" y="363612"/>
                  <a:pt x="4900121" y="357810"/>
                </a:cubicBezTo>
                <a:cubicBezTo>
                  <a:pt x="4898188" y="369415"/>
                  <a:pt x="4886583" y="369415"/>
                  <a:pt x="4880779" y="375216"/>
                </a:cubicBezTo>
                <a:cubicBezTo>
                  <a:pt x="4873045" y="381018"/>
                  <a:pt x="4867242" y="388754"/>
                  <a:pt x="4859505" y="396491"/>
                </a:cubicBezTo>
                <a:cubicBezTo>
                  <a:pt x="4874978" y="396491"/>
                  <a:pt x="4878846" y="388754"/>
                  <a:pt x="4886583" y="382953"/>
                </a:cubicBezTo>
                <a:cubicBezTo>
                  <a:pt x="4894319" y="379085"/>
                  <a:pt x="4902056" y="375216"/>
                  <a:pt x="4911725" y="369415"/>
                </a:cubicBezTo>
                <a:cubicBezTo>
                  <a:pt x="4903989" y="388754"/>
                  <a:pt x="4888516" y="398426"/>
                  <a:pt x="4874978" y="410031"/>
                </a:cubicBezTo>
                <a:cubicBezTo>
                  <a:pt x="4874978" y="415832"/>
                  <a:pt x="4876913" y="419700"/>
                  <a:pt x="4876913" y="425504"/>
                </a:cubicBezTo>
                <a:cubicBezTo>
                  <a:pt x="4878846" y="425504"/>
                  <a:pt x="4882715" y="423568"/>
                  <a:pt x="4886583" y="421635"/>
                </a:cubicBezTo>
                <a:cubicBezTo>
                  <a:pt x="4886583" y="425504"/>
                  <a:pt x="4884648" y="429370"/>
                  <a:pt x="4884648" y="435173"/>
                </a:cubicBezTo>
                <a:cubicBezTo>
                  <a:pt x="4898188" y="427437"/>
                  <a:pt x="4907857" y="419700"/>
                  <a:pt x="4919462" y="411964"/>
                </a:cubicBezTo>
                <a:cubicBezTo>
                  <a:pt x="4921397" y="411964"/>
                  <a:pt x="4921397" y="413899"/>
                  <a:pt x="4921397" y="413899"/>
                </a:cubicBezTo>
                <a:cubicBezTo>
                  <a:pt x="4917529" y="419700"/>
                  <a:pt x="4913661" y="423568"/>
                  <a:pt x="4907857" y="431305"/>
                </a:cubicBezTo>
                <a:cubicBezTo>
                  <a:pt x="4911725" y="431305"/>
                  <a:pt x="4913661" y="431305"/>
                  <a:pt x="4919462" y="431305"/>
                </a:cubicBezTo>
                <a:cubicBezTo>
                  <a:pt x="4911725" y="439041"/>
                  <a:pt x="4903989" y="446778"/>
                  <a:pt x="4894319" y="456450"/>
                </a:cubicBezTo>
                <a:cubicBezTo>
                  <a:pt x="4900121" y="456450"/>
                  <a:pt x="4903989" y="456450"/>
                  <a:pt x="4907857" y="456450"/>
                </a:cubicBezTo>
                <a:cubicBezTo>
                  <a:pt x="4905924" y="460316"/>
                  <a:pt x="4903989" y="462251"/>
                  <a:pt x="4902056" y="466119"/>
                </a:cubicBezTo>
                <a:cubicBezTo>
                  <a:pt x="4913661" y="464184"/>
                  <a:pt x="4909792" y="479657"/>
                  <a:pt x="4921397" y="481592"/>
                </a:cubicBezTo>
                <a:cubicBezTo>
                  <a:pt x="4917529" y="483525"/>
                  <a:pt x="4913661" y="487393"/>
                  <a:pt x="4911725" y="489329"/>
                </a:cubicBezTo>
                <a:cubicBezTo>
                  <a:pt x="4913661" y="491262"/>
                  <a:pt x="4913661" y="491262"/>
                  <a:pt x="4913661" y="491262"/>
                </a:cubicBezTo>
                <a:cubicBezTo>
                  <a:pt x="4917529" y="487393"/>
                  <a:pt x="4923330" y="485460"/>
                  <a:pt x="4927198" y="483525"/>
                </a:cubicBezTo>
                <a:cubicBezTo>
                  <a:pt x="4927198" y="483525"/>
                  <a:pt x="4929131" y="485460"/>
                  <a:pt x="4929131" y="485460"/>
                </a:cubicBezTo>
                <a:lnTo>
                  <a:pt x="4917188" y="495811"/>
                </a:lnTo>
                <a:lnTo>
                  <a:pt x="4917529" y="495130"/>
                </a:lnTo>
                <a:lnTo>
                  <a:pt x="4914633" y="498025"/>
                </a:lnTo>
                <a:lnTo>
                  <a:pt x="4900121" y="510603"/>
                </a:lnTo>
                <a:cubicBezTo>
                  <a:pt x="4898188" y="508670"/>
                  <a:pt x="4894319" y="506735"/>
                  <a:pt x="4892384" y="504802"/>
                </a:cubicBezTo>
                <a:cubicBezTo>
                  <a:pt x="4882715" y="510603"/>
                  <a:pt x="4892384" y="514471"/>
                  <a:pt x="4890451" y="520275"/>
                </a:cubicBezTo>
                <a:cubicBezTo>
                  <a:pt x="4878846" y="526076"/>
                  <a:pt x="4882715" y="535745"/>
                  <a:pt x="4882715" y="547350"/>
                </a:cubicBezTo>
                <a:cubicBezTo>
                  <a:pt x="4888516" y="551218"/>
                  <a:pt x="4894319" y="555087"/>
                  <a:pt x="4902056" y="558955"/>
                </a:cubicBezTo>
                <a:cubicBezTo>
                  <a:pt x="4894319" y="568627"/>
                  <a:pt x="4886583" y="576363"/>
                  <a:pt x="4880779" y="584100"/>
                </a:cubicBezTo>
                <a:cubicBezTo>
                  <a:pt x="4880779" y="584100"/>
                  <a:pt x="4880779" y="586033"/>
                  <a:pt x="4880779" y="586033"/>
                </a:cubicBezTo>
                <a:cubicBezTo>
                  <a:pt x="4884648" y="586033"/>
                  <a:pt x="4888516" y="586033"/>
                  <a:pt x="4890451" y="584100"/>
                </a:cubicBezTo>
                <a:cubicBezTo>
                  <a:pt x="4905924" y="574428"/>
                  <a:pt x="4919462" y="562823"/>
                  <a:pt x="4934935" y="553154"/>
                </a:cubicBezTo>
                <a:cubicBezTo>
                  <a:pt x="4938803" y="551218"/>
                  <a:pt x="4940738" y="549285"/>
                  <a:pt x="4944607" y="549285"/>
                </a:cubicBezTo>
                <a:cubicBezTo>
                  <a:pt x="4946540" y="547350"/>
                  <a:pt x="4950408" y="549285"/>
                  <a:pt x="4950408" y="547350"/>
                </a:cubicBezTo>
                <a:cubicBezTo>
                  <a:pt x="4958144" y="535745"/>
                  <a:pt x="4971682" y="535745"/>
                  <a:pt x="4983289" y="529944"/>
                </a:cubicBezTo>
                <a:cubicBezTo>
                  <a:pt x="5006496" y="520275"/>
                  <a:pt x="4770538" y="818126"/>
                  <a:pt x="4789879" y="804588"/>
                </a:cubicBezTo>
                <a:cubicBezTo>
                  <a:pt x="4795680" y="800720"/>
                  <a:pt x="4803417" y="792983"/>
                  <a:pt x="4815021" y="796849"/>
                </a:cubicBezTo>
                <a:cubicBezTo>
                  <a:pt x="4816954" y="796849"/>
                  <a:pt x="4822758" y="794916"/>
                  <a:pt x="4824691" y="792983"/>
                </a:cubicBezTo>
                <a:cubicBezTo>
                  <a:pt x="4830494" y="785247"/>
                  <a:pt x="4836296" y="787180"/>
                  <a:pt x="4842097" y="789115"/>
                </a:cubicBezTo>
                <a:cubicBezTo>
                  <a:pt x="4847900" y="785247"/>
                  <a:pt x="4851769" y="781378"/>
                  <a:pt x="4857572" y="779443"/>
                </a:cubicBezTo>
                <a:cubicBezTo>
                  <a:pt x="4863373" y="775575"/>
                  <a:pt x="4871110" y="775575"/>
                  <a:pt x="4869175" y="763970"/>
                </a:cubicBezTo>
                <a:cubicBezTo>
                  <a:pt x="4869175" y="762037"/>
                  <a:pt x="4873045" y="758169"/>
                  <a:pt x="4874978" y="756234"/>
                </a:cubicBezTo>
                <a:cubicBezTo>
                  <a:pt x="4880779" y="752365"/>
                  <a:pt x="4888516" y="748497"/>
                  <a:pt x="4894319" y="744629"/>
                </a:cubicBezTo>
                <a:cubicBezTo>
                  <a:pt x="4896252" y="748497"/>
                  <a:pt x="4898188" y="750432"/>
                  <a:pt x="4900121" y="752365"/>
                </a:cubicBezTo>
                <a:cubicBezTo>
                  <a:pt x="4903989" y="744629"/>
                  <a:pt x="4913661" y="742696"/>
                  <a:pt x="4915594" y="733024"/>
                </a:cubicBezTo>
                <a:cubicBezTo>
                  <a:pt x="4915594" y="729156"/>
                  <a:pt x="4925265" y="723355"/>
                  <a:pt x="4929131" y="725290"/>
                </a:cubicBezTo>
                <a:cubicBezTo>
                  <a:pt x="4940738" y="729156"/>
                  <a:pt x="4946540" y="723355"/>
                  <a:pt x="4950408" y="715618"/>
                </a:cubicBezTo>
                <a:cubicBezTo>
                  <a:pt x="4958144" y="715618"/>
                  <a:pt x="4963948" y="715618"/>
                  <a:pt x="4971682" y="715618"/>
                </a:cubicBezTo>
                <a:cubicBezTo>
                  <a:pt x="4969749" y="711750"/>
                  <a:pt x="4967814" y="709815"/>
                  <a:pt x="4965881" y="707882"/>
                </a:cubicBezTo>
                <a:cubicBezTo>
                  <a:pt x="4983289" y="700145"/>
                  <a:pt x="4998760" y="690476"/>
                  <a:pt x="5016166" y="680804"/>
                </a:cubicBezTo>
                <a:cubicBezTo>
                  <a:pt x="5014233" y="682739"/>
                  <a:pt x="5012300" y="684672"/>
                  <a:pt x="5008432" y="688540"/>
                </a:cubicBezTo>
                <a:cubicBezTo>
                  <a:pt x="5020037" y="684672"/>
                  <a:pt x="5031641" y="684672"/>
                  <a:pt x="5039375" y="673067"/>
                </a:cubicBezTo>
                <a:cubicBezTo>
                  <a:pt x="5039375" y="673067"/>
                  <a:pt x="5041311" y="671134"/>
                  <a:pt x="5041311" y="671134"/>
                </a:cubicBezTo>
                <a:cubicBezTo>
                  <a:pt x="5052916" y="673067"/>
                  <a:pt x="5054848" y="663398"/>
                  <a:pt x="5060652" y="657594"/>
                </a:cubicBezTo>
                <a:cubicBezTo>
                  <a:pt x="5064520" y="651793"/>
                  <a:pt x="5070324" y="647925"/>
                  <a:pt x="5078058" y="647925"/>
                </a:cubicBezTo>
                <a:cubicBezTo>
                  <a:pt x="5078058" y="651793"/>
                  <a:pt x="5079993" y="653726"/>
                  <a:pt x="5079993" y="655661"/>
                </a:cubicBezTo>
                <a:cubicBezTo>
                  <a:pt x="5087730" y="653726"/>
                  <a:pt x="5091598" y="649858"/>
                  <a:pt x="5095466" y="642121"/>
                </a:cubicBezTo>
                <a:cubicBezTo>
                  <a:pt x="5097399" y="636320"/>
                  <a:pt x="5105136" y="632452"/>
                  <a:pt x="5114808" y="632452"/>
                </a:cubicBezTo>
                <a:cubicBezTo>
                  <a:pt x="5112872" y="636320"/>
                  <a:pt x="5110939" y="638253"/>
                  <a:pt x="5105136" y="644057"/>
                </a:cubicBezTo>
                <a:cubicBezTo>
                  <a:pt x="5120609" y="640188"/>
                  <a:pt x="5132214" y="636320"/>
                  <a:pt x="5147687" y="630519"/>
                </a:cubicBezTo>
                <a:cubicBezTo>
                  <a:pt x="5141883" y="634385"/>
                  <a:pt x="5139950" y="638253"/>
                  <a:pt x="5136082" y="640188"/>
                </a:cubicBezTo>
                <a:cubicBezTo>
                  <a:pt x="5138017" y="642121"/>
                  <a:pt x="5139950" y="642121"/>
                  <a:pt x="5139950" y="642121"/>
                </a:cubicBezTo>
                <a:cubicBezTo>
                  <a:pt x="5153488" y="634385"/>
                  <a:pt x="5168961" y="628584"/>
                  <a:pt x="5184434" y="620847"/>
                </a:cubicBezTo>
                <a:cubicBezTo>
                  <a:pt x="5203775" y="611178"/>
                  <a:pt x="5223116" y="603441"/>
                  <a:pt x="5242458" y="593769"/>
                </a:cubicBezTo>
                <a:cubicBezTo>
                  <a:pt x="5242458" y="591836"/>
                  <a:pt x="5244393" y="593769"/>
                  <a:pt x="5244393" y="593769"/>
                </a:cubicBezTo>
                <a:cubicBezTo>
                  <a:pt x="5232786" y="601506"/>
                  <a:pt x="5219248" y="609242"/>
                  <a:pt x="5207643" y="616979"/>
                </a:cubicBezTo>
                <a:cubicBezTo>
                  <a:pt x="5211512" y="620847"/>
                  <a:pt x="5215380" y="622780"/>
                  <a:pt x="5221183" y="620847"/>
                </a:cubicBezTo>
                <a:cubicBezTo>
                  <a:pt x="5234721" y="615046"/>
                  <a:pt x="5246326" y="611178"/>
                  <a:pt x="5259864" y="605374"/>
                </a:cubicBezTo>
                <a:cubicBezTo>
                  <a:pt x="5263732" y="603441"/>
                  <a:pt x="5267600" y="603441"/>
                  <a:pt x="5271468" y="603441"/>
                </a:cubicBezTo>
                <a:cubicBezTo>
                  <a:pt x="5267600" y="616979"/>
                  <a:pt x="5254062" y="620847"/>
                  <a:pt x="5244393" y="626651"/>
                </a:cubicBezTo>
                <a:cubicBezTo>
                  <a:pt x="5242458" y="628584"/>
                  <a:pt x="5240522" y="628584"/>
                  <a:pt x="5238589" y="630519"/>
                </a:cubicBezTo>
                <a:cubicBezTo>
                  <a:pt x="5240522" y="630519"/>
                  <a:pt x="5240522" y="632452"/>
                  <a:pt x="5240522" y="632452"/>
                </a:cubicBezTo>
                <a:cubicBezTo>
                  <a:pt x="5257931" y="624715"/>
                  <a:pt x="5273404" y="616979"/>
                  <a:pt x="5290810" y="609242"/>
                </a:cubicBezTo>
                <a:cubicBezTo>
                  <a:pt x="5294678" y="613111"/>
                  <a:pt x="5298546" y="620847"/>
                  <a:pt x="5308218" y="618914"/>
                </a:cubicBezTo>
                <a:cubicBezTo>
                  <a:pt x="5306283" y="615046"/>
                  <a:pt x="5304350" y="615046"/>
                  <a:pt x="5304350" y="613111"/>
                </a:cubicBezTo>
                <a:cubicBezTo>
                  <a:pt x="5302414" y="611178"/>
                  <a:pt x="5300479" y="607309"/>
                  <a:pt x="5300479" y="605374"/>
                </a:cubicBezTo>
                <a:cubicBezTo>
                  <a:pt x="5302414" y="601506"/>
                  <a:pt x="5306283" y="599573"/>
                  <a:pt x="5308218" y="599573"/>
                </a:cubicBezTo>
                <a:cubicBezTo>
                  <a:pt x="5317887" y="601506"/>
                  <a:pt x="5321756" y="595705"/>
                  <a:pt x="5329492" y="593769"/>
                </a:cubicBezTo>
                <a:cubicBezTo>
                  <a:pt x="5337229" y="591836"/>
                  <a:pt x="5343030" y="587968"/>
                  <a:pt x="5350766" y="584100"/>
                </a:cubicBezTo>
                <a:cubicBezTo>
                  <a:pt x="5356570" y="580232"/>
                  <a:pt x="5362371" y="578296"/>
                  <a:pt x="5370108" y="576363"/>
                </a:cubicBezTo>
                <a:cubicBezTo>
                  <a:pt x="5368175" y="578296"/>
                  <a:pt x="5366239" y="582164"/>
                  <a:pt x="5364306" y="586033"/>
                </a:cubicBezTo>
                <a:cubicBezTo>
                  <a:pt x="5393317" y="580232"/>
                  <a:pt x="5412658" y="558955"/>
                  <a:pt x="5439736" y="549285"/>
                </a:cubicBezTo>
                <a:cubicBezTo>
                  <a:pt x="5439736" y="553154"/>
                  <a:pt x="5441669" y="557022"/>
                  <a:pt x="5441669" y="560890"/>
                </a:cubicBezTo>
                <a:cubicBezTo>
                  <a:pt x="5441669" y="562823"/>
                  <a:pt x="5439736" y="562823"/>
                  <a:pt x="5439736" y="562823"/>
                </a:cubicBezTo>
                <a:cubicBezTo>
                  <a:pt x="5435868" y="558955"/>
                  <a:pt x="5432000" y="560890"/>
                  <a:pt x="5428131" y="562823"/>
                </a:cubicBezTo>
                <a:cubicBezTo>
                  <a:pt x="5414594" y="568627"/>
                  <a:pt x="5402987" y="576363"/>
                  <a:pt x="5389449" y="582164"/>
                </a:cubicBezTo>
                <a:cubicBezTo>
                  <a:pt x="5387514" y="584100"/>
                  <a:pt x="5383645" y="586033"/>
                  <a:pt x="5381712" y="586033"/>
                </a:cubicBezTo>
                <a:cubicBezTo>
                  <a:pt x="5370108" y="587968"/>
                  <a:pt x="5362371" y="595705"/>
                  <a:pt x="5352702" y="605374"/>
                </a:cubicBezTo>
                <a:cubicBezTo>
                  <a:pt x="5358503" y="605374"/>
                  <a:pt x="5360438" y="605374"/>
                  <a:pt x="5362371" y="605374"/>
                </a:cubicBezTo>
                <a:cubicBezTo>
                  <a:pt x="5370108" y="603441"/>
                  <a:pt x="5379779" y="597637"/>
                  <a:pt x="5387514" y="595705"/>
                </a:cubicBezTo>
                <a:cubicBezTo>
                  <a:pt x="5391384" y="595705"/>
                  <a:pt x="5395252" y="595705"/>
                  <a:pt x="5397185" y="597637"/>
                </a:cubicBezTo>
                <a:cubicBezTo>
                  <a:pt x="5401054" y="601506"/>
                  <a:pt x="5402987" y="603441"/>
                  <a:pt x="5406855" y="607309"/>
                </a:cubicBezTo>
                <a:cubicBezTo>
                  <a:pt x="5399121" y="611178"/>
                  <a:pt x="5387514" y="611178"/>
                  <a:pt x="5391384" y="626651"/>
                </a:cubicBezTo>
                <a:cubicBezTo>
                  <a:pt x="5385581" y="622780"/>
                  <a:pt x="5381712" y="618914"/>
                  <a:pt x="5377844" y="616979"/>
                </a:cubicBezTo>
                <a:cubicBezTo>
                  <a:pt x="5372043" y="620847"/>
                  <a:pt x="5370108" y="628584"/>
                  <a:pt x="5362371" y="630519"/>
                </a:cubicBezTo>
                <a:cubicBezTo>
                  <a:pt x="5360438" y="630519"/>
                  <a:pt x="5358503" y="638253"/>
                  <a:pt x="5356570" y="642121"/>
                </a:cubicBezTo>
                <a:cubicBezTo>
                  <a:pt x="5354635" y="642121"/>
                  <a:pt x="5350766" y="642121"/>
                  <a:pt x="5346898" y="642121"/>
                </a:cubicBezTo>
                <a:cubicBezTo>
                  <a:pt x="5346898" y="645990"/>
                  <a:pt x="5348833" y="649858"/>
                  <a:pt x="5350766" y="655661"/>
                </a:cubicBezTo>
                <a:cubicBezTo>
                  <a:pt x="5358503" y="644057"/>
                  <a:pt x="5366239" y="649858"/>
                  <a:pt x="5375911" y="649858"/>
                </a:cubicBezTo>
                <a:cubicBezTo>
                  <a:pt x="5372043" y="653726"/>
                  <a:pt x="5372043" y="655661"/>
                  <a:pt x="5370108" y="657594"/>
                </a:cubicBezTo>
                <a:cubicBezTo>
                  <a:pt x="5360438" y="663398"/>
                  <a:pt x="5354635" y="669199"/>
                  <a:pt x="5350766" y="678871"/>
                </a:cubicBezTo>
                <a:cubicBezTo>
                  <a:pt x="5348833" y="682739"/>
                  <a:pt x="5343030" y="686607"/>
                  <a:pt x="5339162" y="688540"/>
                </a:cubicBezTo>
                <a:cubicBezTo>
                  <a:pt x="5325624" y="698212"/>
                  <a:pt x="5315952" y="709815"/>
                  <a:pt x="5308218" y="727223"/>
                </a:cubicBezTo>
                <a:cubicBezTo>
                  <a:pt x="5314019" y="723355"/>
                  <a:pt x="5319820" y="719486"/>
                  <a:pt x="5325624" y="717553"/>
                </a:cubicBezTo>
                <a:cubicBezTo>
                  <a:pt x="5333360" y="715618"/>
                  <a:pt x="5339162" y="713685"/>
                  <a:pt x="5339162" y="702080"/>
                </a:cubicBezTo>
                <a:cubicBezTo>
                  <a:pt x="5341097" y="704013"/>
                  <a:pt x="5341097" y="704013"/>
                  <a:pt x="5343030" y="704013"/>
                </a:cubicBezTo>
                <a:cubicBezTo>
                  <a:pt x="5343030" y="702080"/>
                  <a:pt x="5341097" y="700145"/>
                  <a:pt x="5341097" y="698212"/>
                </a:cubicBezTo>
                <a:cubicBezTo>
                  <a:pt x="5344965" y="692409"/>
                  <a:pt x="5346898" y="688540"/>
                  <a:pt x="5350766" y="684672"/>
                </a:cubicBezTo>
                <a:cubicBezTo>
                  <a:pt x="5352702" y="682739"/>
                  <a:pt x="5354635" y="678871"/>
                  <a:pt x="5358503" y="678871"/>
                </a:cubicBezTo>
                <a:cubicBezTo>
                  <a:pt x="5368175" y="676936"/>
                  <a:pt x="5375911" y="673067"/>
                  <a:pt x="5385581" y="671134"/>
                </a:cubicBezTo>
                <a:cubicBezTo>
                  <a:pt x="5385581" y="669199"/>
                  <a:pt x="5383645" y="669199"/>
                  <a:pt x="5381712" y="667266"/>
                </a:cubicBezTo>
                <a:cubicBezTo>
                  <a:pt x="5385581" y="661463"/>
                  <a:pt x="5389449" y="665331"/>
                  <a:pt x="5391384" y="669199"/>
                </a:cubicBezTo>
                <a:cubicBezTo>
                  <a:pt x="5391384" y="671134"/>
                  <a:pt x="5391384" y="671134"/>
                  <a:pt x="5391384" y="671134"/>
                </a:cubicBezTo>
                <a:cubicBezTo>
                  <a:pt x="5393317" y="671134"/>
                  <a:pt x="5397185" y="671134"/>
                  <a:pt x="5399121" y="671134"/>
                </a:cubicBezTo>
                <a:cubicBezTo>
                  <a:pt x="5401054" y="671134"/>
                  <a:pt x="5402987" y="671134"/>
                  <a:pt x="5404922" y="671134"/>
                </a:cubicBezTo>
                <a:cubicBezTo>
                  <a:pt x="5404922" y="671134"/>
                  <a:pt x="5406855" y="671134"/>
                  <a:pt x="5406855" y="671134"/>
                </a:cubicBezTo>
                <a:cubicBezTo>
                  <a:pt x="5414594" y="667266"/>
                  <a:pt x="5422328" y="665331"/>
                  <a:pt x="5430064" y="665331"/>
                </a:cubicBezTo>
                <a:cubicBezTo>
                  <a:pt x="5428131" y="665331"/>
                  <a:pt x="5426196" y="667266"/>
                  <a:pt x="5424263" y="669199"/>
                </a:cubicBezTo>
                <a:cubicBezTo>
                  <a:pt x="5422328" y="669199"/>
                  <a:pt x="5420395" y="671134"/>
                  <a:pt x="5418462" y="671134"/>
                </a:cubicBezTo>
                <a:cubicBezTo>
                  <a:pt x="5424263" y="671134"/>
                  <a:pt x="5428131" y="671134"/>
                  <a:pt x="5433933" y="671134"/>
                </a:cubicBezTo>
                <a:cubicBezTo>
                  <a:pt x="5449406" y="669199"/>
                  <a:pt x="5464879" y="667266"/>
                  <a:pt x="5480352" y="665331"/>
                </a:cubicBezTo>
                <a:cubicBezTo>
                  <a:pt x="5484220" y="665331"/>
                  <a:pt x="5488088" y="663398"/>
                  <a:pt x="5490021" y="661463"/>
                </a:cubicBezTo>
                <a:cubicBezTo>
                  <a:pt x="5493889" y="657594"/>
                  <a:pt x="5497758" y="653726"/>
                  <a:pt x="5503561" y="651793"/>
                </a:cubicBezTo>
                <a:cubicBezTo>
                  <a:pt x="5515166" y="649858"/>
                  <a:pt x="5528704" y="649858"/>
                  <a:pt x="5540308" y="647925"/>
                </a:cubicBezTo>
                <a:cubicBezTo>
                  <a:pt x="5540308" y="653726"/>
                  <a:pt x="5542244" y="657594"/>
                  <a:pt x="5542244" y="663398"/>
                </a:cubicBezTo>
                <a:cubicBezTo>
                  <a:pt x="5548045" y="665331"/>
                  <a:pt x="5553849" y="665331"/>
                  <a:pt x="5561585" y="667266"/>
                </a:cubicBezTo>
                <a:cubicBezTo>
                  <a:pt x="5559650" y="673067"/>
                  <a:pt x="5555781" y="676936"/>
                  <a:pt x="5555781" y="680804"/>
                </a:cubicBezTo>
                <a:cubicBezTo>
                  <a:pt x="5555781" y="684672"/>
                  <a:pt x="5559650" y="690476"/>
                  <a:pt x="5559650" y="694344"/>
                </a:cubicBezTo>
                <a:cubicBezTo>
                  <a:pt x="5559650" y="698212"/>
                  <a:pt x="5561585" y="704013"/>
                  <a:pt x="5559650" y="707882"/>
                </a:cubicBezTo>
                <a:cubicBezTo>
                  <a:pt x="5557714" y="717553"/>
                  <a:pt x="5553849" y="729156"/>
                  <a:pt x="5548045" y="738828"/>
                </a:cubicBezTo>
                <a:cubicBezTo>
                  <a:pt x="5548045" y="738828"/>
                  <a:pt x="5549980" y="738828"/>
                  <a:pt x="5549980" y="738828"/>
                </a:cubicBezTo>
                <a:cubicBezTo>
                  <a:pt x="5549980" y="738828"/>
                  <a:pt x="5548045" y="740761"/>
                  <a:pt x="5548045" y="740761"/>
                </a:cubicBezTo>
                <a:cubicBezTo>
                  <a:pt x="5546112" y="744629"/>
                  <a:pt x="5542244" y="748497"/>
                  <a:pt x="5540308" y="752365"/>
                </a:cubicBezTo>
                <a:cubicBezTo>
                  <a:pt x="5530639" y="765905"/>
                  <a:pt x="5526771" y="779443"/>
                  <a:pt x="5528704" y="794916"/>
                </a:cubicBezTo>
                <a:cubicBezTo>
                  <a:pt x="5530639" y="808454"/>
                  <a:pt x="5528704" y="821994"/>
                  <a:pt x="5522903" y="835532"/>
                </a:cubicBezTo>
                <a:cubicBezTo>
                  <a:pt x="5517099" y="851005"/>
                  <a:pt x="5513231" y="868413"/>
                  <a:pt x="5511298" y="885819"/>
                </a:cubicBezTo>
                <a:cubicBezTo>
                  <a:pt x="5509362" y="891623"/>
                  <a:pt x="5509362" y="895488"/>
                  <a:pt x="5507430" y="901292"/>
                </a:cubicBezTo>
                <a:cubicBezTo>
                  <a:pt x="5519034" y="899359"/>
                  <a:pt x="5530639" y="897424"/>
                  <a:pt x="5544177" y="893556"/>
                </a:cubicBezTo>
                <a:cubicBezTo>
                  <a:pt x="5530639" y="903225"/>
                  <a:pt x="5528704" y="905160"/>
                  <a:pt x="5519034" y="907093"/>
                </a:cubicBezTo>
                <a:cubicBezTo>
                  <a:pt x="5513231" y="909029"/>
                  <a:pt x="5509362" y="909029"/>
                  <a:pt x="5503561" y="910964"/>
                </a:cubicBezTo>
                <a:cubicBezTo>
                  <a:pt x="5501628" y="914830"/>
                  <a:pt x="5499693" y="920633"/>
                  <a:pt x="5497758" y="926435"/>
                </a:cubicBezTo>
                <a:cubicBezTo>
                  <a:pt x="5497758" y="930303"/>
                  <a:pt x="5493889" y="932238"/>
                  <a:pt x="5493889" y="934171"/>
                </a:cubicBezTo>
                <a:cubicBezTo>
                  <a:pt x="5490021" y="959316"/>
                  <a:pt x="5476483" y="982523"/>
                  <a:pt x="5468747" y="1005733"/>
                </a:cubicBezTo>
                <a:cubicBezTo>
                  <a:pt x="5470680" y="1005733"/>
                  <a:pt x="5474551" y="1003800"/>
                  <a:pt x="5476483" y="1003800"/>
                </a:cubicBezTo>
                <a:cubicBezTo>
                  <a:pt x="5478419" y="1003800"/>
                  <a:pt x="5482287" y="1003800"/>
                  <a:pt x="5484220" y="1001864"/>
                </a:cubicBezTo>
                <a:cubicBezTo>
                  <a:pt x="5501628" y="990260"/>
                  <a:pt x="5520967" y="988327"/>
                  <a:pt x="5538376" y="982523"/>
                </a:cubicBezTo>
                <a:cubicBezTo>
                  <a:pt x="5542244" y="980590"/>
                  <a:pt x="5548045" y="980590"/>
                  <a:pt x="5553849" y="980590"/>
                </a:cubicBezTo>
                <a:cubicBezTo>
                  <a:pt x="5567386" y="982523"/>
                  <a:pt x="5580924" y="986394"/>
                  <a:pt x="5594464" y="990260"/>
                </a:cubicBezTo>
                <a:cubicBezTo>
                  <a:pt x="5594464" y="990260"/>
                  <a:pt x="5594464" y="992195"/>
                  <a:pt x="5594464" y="992195"/>
                </a:cubicBezTo>
                <a:cubicBezTo>
                  <a:pt x="5594464" y="994128"/>
                  <a:pt x="5592531" y="996063"/>
                  <a:pt x="5592531" y="996063"/>
                </a:cubicBezTo>
                <a:cubicBezTo>
                  <a:pt x="5584795" y="999931"/>
                  <a:pt x="5577056" y="1005733"/>
                  <a:pt x="5567386" y="1009601"/>
                </a:cubicBezTo>
                <a:cubicBezTo>
                  <a:pt x="5577056" y="1013469"/>
                  <a:pt x="5582859" y="1011536"/>
                  <a:pt x="5588663" y="1003800"/>
                </a:cubicBezTo>
                <a:cubicBezTo>
                  <a:pt x="5590596" y="1001864"/>
                  <a:pt x="5594464" y="999931"/>
                  <a:pt x="5596397" y="999931"/>
                </a:cubicBezTo>
                <a:cubicBezTo>
                  <a:pt x="5606069" y="1003800"/>
                  <a:pt x="5611872" y="997998"/>
                  <a:pt x="5617674" y="992195"/>
                </a:cubicBezTo>
                <a:cubicBezTo>
                  <a:pt x="5623475" y="984458"/>
                  <a:pt x="5631211" y="984458"/>
                  <a:pt x="5638948" y="984458"/>
                </a:cubicBezTo>
                <a:cubicBezTo>
                  <a:pt x="5638948" y="992195"/>
                  <a:pt x="5629278" y="994128"/>
                  <a:pt x="5625410" y="997998"/>
                </a:cubicBezTo>
                <a:cubicBezTo>
                  <a:pt x="5619607" y="1003800"/>
                  <a:pt x="5609937" y="1003800"/>
                  <a:pt x="5608002" y="1013469"/>
                </a:cubicBezTo>
                <a:cubicBezTo>
                  <a:pt x="5615738" y="1011536"/>
                  <a:pt x="5623475" y="1011536"/>
                  <a:pt x="5633147" y="1011536"/>
                </a:cubicBezTo>
                <a:cubicBezTo>
                  <a:pt x="5629278" y="1015404"/>
                  <a:pt x="5627343" y="1019273"/>
                  <a:pt x="5623475" y="1021206"/>
                </a:cubicBezTo>
                <a:cubicBezTo>
                  <a:pt x="5615738" y="1025074"/>
                  <a:pt x="5609937" y="1028942"/>
                  <a:pt x="5611872" y="1040547"/>
                </a:cubicBezTo>
                <a:cubicBezTo>
                  <a:pt x="5602201" y="1034746"/>
                  <a:pt x="5602201" y="1034746"/>
                  <a:pt x="5578991" y="1057955"/>
                </a:cubicBezTo>
                <a:cubicBezTo>
                  <a:pt x="5582859" y="1059888"/>
                  <a:pt x="5584795" y="1059888"/>
                  <a:pt x="5588663" y="1059888"/>
                </a:cubicBezTo>
                <a:cubicBezTo>
                  <a:pt x="5578991" y="1069560"/>
                  <a:pt x="5567386" y="1077294"/>
                  <a:pt x="5557714" y="1086966"/>
                </a:cubicBezTo>
                <a:cubicBezTo>
                  <a:pt x="5559650" y="1086966"/>
                  <a:pt x="5561585" y="1088899"/>
                  <a:pt x="5563518" y="1088899"/>
                </a:cubicBezTo>
                <a:cubicBezTo>
                  <a:pt x="5565453" y="1086966"/>
                  <a:pt x="5569322" y="1085033"/>
                  <a:pt x="5571255" y="1083098"/>
                </a:cubicBezTo>
                <a:cubicBezTo>
                  <a:pt x="5578991" y="1079230"/>
                  <a:pt x="5584795" y="1073428"/>
                  <a:pt x="5594464" y="1067625"/>
                </a:cubicBezTo>
                <a:cubicBezTo>
                  <a:pt x="5586728" y="1075361"/>
                  <a:pt x="5580924" y="1081162"/>
                  <a:pt x="5573190" y="1086966"/>
                </a:cubicBezTo>
                <a:cubicBezTo>
                  <a:pt x="5573190" y="1086966"/>
                  <a:pt x="5575123" y="1086966"/>
                  <a:pt x="5577056" y="1086966"/>
                </a:cubicBezTo>
                <a:cubicBezTo>
                  <a:pt x="5577056" y="1088899"/>
                  <a:pt x="5577056" y="1092767"/>
                  <a:pt x="5577056" y="1094703"/>
                </a:cubicBezTo>
                <a:cubicBezTo>
                  <a:pt x="5580924" y="1090834"/>
                  <a:pt x="5584795" y="1088899"/>
                  <a:pt x="5586728" y="1085033"/>
                </a:cubicBezTo>
                <a:cubicBezTo>
                  <a:pt x="5590596" y="1079230"/>
                  <a:pt x="5598332" y="1075361"/>
                  <a:pt x="5604133" y="1071493"/>
                </a:cubicBezTo>
                <a:cubicBezTo>
                  <a:pt x="5611872" y="1065692"/>
                  <a:pt x="5621542" y="1059888"/>
                  <a:pt x="5629278" y="1054087"/>
                </a:cubicBezTo>
                <a:cubicBezTo>
                  <a:pt x="5631211" y="1052152"/>
                  <a:pt x="5635080" y="1052152"/>
                  <a:pt x="5638948" y="1054087"/>
                </a:cubicBezTo>
                <a:cubicBezTo>
                  <a:pt x="5633147" y="1057955"/>
                  <a:pt x="5627343" y="1061824"/>
                  <a:pt x="5621542" y="1065692"/>
                </a:cubicBezTo>
                <a:cubicBezTo>
                  <a:pt x="5613805" y="1071493"/>
                  <a:pt x="5608002" y="1075361"/>
                  <a:pt x="5602201" y="1081162"/>
                </a:cubicBezTo>
                <a:cubicBezTo>
                  <a:pt x="5600265" y="1083098"/>
                  <a:pt x="5596397" y="1086966"/>
                  <a:pt x="5594464" y="1086966"/>
                </a:cubicBezTo>
                <a:cubicBezTo>
                  <a:pt x="5582859" y="1086966"/>
                  <a:pt x="5580924" y="1092767"/>
                  <a:pt x="5578991" y="1100504"/>
                </a:cubicBezTo>
                <a:cubicBezTo>
                  <a:pt x="5580924" y="1102439"/>
                  <a:pt x="5582859" y="1106307"/>
                  <a:pt x="5584795" y="1108240"/>
                </a:cubicBezTo>
                <a:cubicBezTo>
                  <a:pt x="5584795" y="1114044"/>
                  <a:pt x="5584795" y="1117912"/>
                  <a:pt x="5582859" y="1123713"/>
                </a:cubicBezTo>
                <a:cubicBezTo>
                  <a:pt x="5582859" y="1125649"/>
                  <a:pt x="5580924" y="1129517"/>
                  <a:pt x="5578991" y="1129517"/>
                </a:cubicBezTo>
                <a:cubicBezTo>
                  <a:pt x="5575123" y="1131450"/>
                  <a:pt x="5575123" y="1127582"/>
                  <a:pt x="5573190" y="1123713"/>
                </a:cubicBezTo>
                <a:cubicBezTo>
                  <a:pt x="5569322" y="1123713"/>
                  <a:pt x="5563518" y="1125649"/>
                  <a:pt x="5557714" y="1125649"/>
                </a:cubicBezTo>
                <a:cubicBezTo>
                  <a:pt x="5559650" y="1119845"/>
                  <a:pt x="5563518" y="1115977"/>
                  <a:pt x="5565453" y="1112109"/>
                </a:cubicBezTo>
                <a:cubicBezTo>
                  <a:pt x="5563518" y="1110176"/>
                  <a:pt x="5561585" y="1110176"/>
                  <a:pt x="5559650" y="1110176"/>
                </a:cubicBezTo>
                <a:cubicBezTo>
                  <a:pt x="5553849" y="1114044"/>
                  <a:pt x="5548045" y="1115977"/>
                  <a:pt x="5546112" y="1121780"/>
                </a:cubicBezTo>
                <a:cubicBezTo>
                  <a:pt x="5549980" y="1125649"/>
                  <a:pt x="5553849" y="1127582"/>
                  <a:pt x="5549980" y="1133385"/>
                </a:cubicBezTo>
                <a:cubicBezTo>
                  <a:pt x="5548045" y="1133385"/>
                  <a:pt x="5546112" y="1133385"/>
                  <a:pt x="5544177" y="1133385"/>
                </a:cubicBezTo>
                <a:cubicBezTo>
                  <a:pt x="5542244" y="1135318"/>
                  <a:pt x="5542244" y="1135318"/>
                  <a:pt x="5540308" y="1137253"/>
                </a:cubicBezTo>
                <a:cubicBezTo>
                  <a:pt x="5542244" y="1137253"/>
                  <a:pt x="5546112" y="1139186"/>
                  <a:pt x="5548045" y="1139186"/>
                </a:cubicBezTo>
                <a:cubicBezTo>
                  <a:pt x="5549980" y="1139186"/>
                  <a:pt x="5553849" y="1137253"/>
                  <a:pt x="5557714" y="1135318"/>
                </a:cubicBezTo>
                <a:cubicBezTo>
                  <a:pt x="5559650" y="1146923"/>
                  <a:pt x="5553849" y="1156595"/>
                  <a:pt x="5553849" y="1168199"/>
                </a:cubicBezTo>
                <a:cubicBezTo>
                  <a:pt x="5555781" y="1168199"/>
                  <a:pt x="5555781" y="1168199"/>
                  <a:pt x="5555781" y="1168199"/>
                </a:cubicBezTo>
                <a:cubicBezTo>
                  <a:pt x="5559650" y="1168199"/>
                  <a:pt x="5561585" y="1162396"/>
                  <a:pt x="5563518" y="1158528"/>
                </a:cubicBezTo>
                <a:cubicBezTo>
                  <a:pt x="5563518" y="1160463"/>
                  <a:pt x="5565453" y="1160463"/>
                  <a:pt x="5565453" y="1162396"/>
                </a:cubicBezTo>
                <a:cubicBezTo>
                  <a:pt x="5565453" y="1166264"/>
                  <a:pt x="5565453" y="1170132"/>
                  <a:pt x="5563518" y="1174001"/>
                </a:cubicBezTo>
                <a:cubicBezTo>
                  <a:pt x="5565453" y="1174001"/>
                  <a:pt x="5569322" y="1174001"/>
                  <a:pt x="5571255" y="1175934"/>
                </a:cubicBezTo>
                <a:cubicBezTo>
                  <a:pt x="5577056" y="1177869"/>
                  <a:pt x="5582859" y="1183670"/>
                  <a:pt x="5588663" y="1187538"/>
                </a:cubicBezTo>
                <a:cubicBezTo>
                  <a:pt x="5590596" y="1189474"/>
                  <a:pt x="5588663" y="1191407"/>
                  <a:pt x="5588663" y="1195275"/>
                </a:cubicBezTo>
                <a:cubicBezTo>
                  <a:pt x="5594464" y="1197210"/>
                  <a:pt x="5598332" y="1197210"/>
                  <a:pt x="5602201" y="1199143"/>
                </a:cubicBezTo>
                <a:cubicBezTo>
                  <a:pt x="5604133" y="1201078"/>
                  <a:pt x="5608002" y="1203011"/>
                  <a:pt x="5608002" y="1204947"/>
                </a:cubicBezTo>
                <a:cubicBezTo>
                  <a:pt x="5608002" y="1214616"/>
                  <a:pt x="5615738" y="1216551"/>
                  <a:pt x="5621542" y="1218484"/>
                </a:cubicBezTo>
                <a:cubicBezTo>
                  <a:pt x="5623475" y="1220420"/>
                  <a:pt x="5627343" y="1220420"/>
                  <a:pt x="5629278" y="1220420"/>
                </a:cubicBezTo>
                <a:cubicBezTo>
                  <a:pt x="5637015" y="1222353"/>
                  <a:pt x="5640883" y="1226221"/>
                  <a:pt x="5642816" y="1233957"/>
                </a:cubicBezTo>
                <a:cubicBezTo>
                  <a:pt x="5644749" y="1239761"/>
                  <a:pt x="5644749" y="1245562"/>
                  <a:pt x="5646684" y="1251363"/>
                </a:cubicBezTo>
                <a:cubicBezTo>
                  <a:pt x="5654421" y="1255234"/>
                  <a:pt x="5660224" y="1255234"/>
                  <a:pt x="5669894" y="1249430"/>
                </a:cubicBezTo>
                <a:cubicBezTo>
                  <a:pt x="5669894" y="1257167"/>
                  <a:pt x="5669894" y="1262968"/>
                  <a:pt x="5669894" y="1268772"/>
                </a:cubicBezTo>
                <a:cubicBezTo>
                  <a:pt x="5677630" y="1272640"/>
                  <a:pt x="5681499" y="1278444"/>
                  <a:pt x="5683432" y="1286178"/>
                </a:cubicBezTo>
                <a:cubicBezTo>
                  <a:pt x="5683432" y="1290046"/>
                  <a:pt x="5685367" y="1295850"/>
                  <a:pt x="5685367" y="1299718"/>
                </a:cubicBezTo>
                <a:cubicBezTo>
                  <a:pt x="5683432" y="1301651"/>
                  <a:pt x="5681499" y="1305519"/>
                  <a:pt x="5679566" y="1307454"/>
                </a:cubicBezTo>
                <a:cubicBezTo>
                  <a:pt x="5685367" y="1313255"/>
                  <a:pt x="5689235" y="1315191"/>
                  <a:pt x="5696972" y="1313255"/>
                </a:cubicBezTo>
                <a:cubicBezTo>
                  <a:pt x="5700840" y="1311323"/>
                  <a:pt x="5706641" y="1313255"/>
                  <a:pt x="5710509" y="1313255"/>
                </a:cubicBezTo>
                <a:lnTo>
                  <a:pt x="5699632" y="1331389"/>
                </a:lnTo>
                <a:lnTo>
                  <a:pt x="5698907" y="1332597"/>
                </a:lnTo>
                <a:cubicBezTo>
                  <a:pt x="5693103" y="1342269"/>
                  <a:pt x="5689235" y="1350003"/>
                  <a:pt x="5695036" y="1359675"/>
                </a:cubicBezTo>
                <a:cubicBezTo>
                  <a:pt x="5693103" y="1361607"/>
                  <a:pt x="5691168" y="1361607"/>
                  <a:pt x="5691168" y="1363543"/>
                </a:cubicBezTo>
                <a:cubicBezTo>
                  <a:pt x="5683432" y="1382884"/>
                  <a:pt x="5666026" y="1390621"/>
                  <a:pt x="5650553" y="1400290"/>
                </a:cubicBezTo>
                <a:cubicBezTo>
                  <a:pt x="5648620" y="1402225"/>
                  <a:pt x="5646684" y="1404158"/>
                  <a:pt x="5642816" y="1406094"/>
                </a:cubicBezTo>
                <a:cubicBezTo>
                  <a:pt x="5648620" y="1409962"/>
                  <a:pt x="5650553" y="1406094"/>
                  <a:pt x="5654421" y="1404158"/>
                </a:cubicBezTo>
                <a:cubicBezTo>
                  <a:pt x="5656356" y="1404158"/>
                  <a:pt x="5658289" y="1402225"/>
                  <a:pt x="5662157" y="1400290"/>
                </a:cubicBezTo>
                <a:cubicBezTo>
                  <a:pt x="5666026" y="1398357"/>
                  <a:pt x="5669894" y="1400290"/>
                  <a:pt x="5669894" y="1400290"/>
                </a:cubicBezTo>
                <a:cubicBezTo>
                  <a:pt x="5669894" y="1404158"/>
                  <a:pt x="5671829" y="1408027"/>
                  <a:pt x="5669894" y="1409962"/>
                </a:cubicBezTo>
                <a:cubicBezTo>
                  <a:pt x="5667959" y="1413830"/>
                  <a:pt x="5664090" y="1415763"/>
                  <a:pt x="5660224" y="1417699"/>
                </a:cubicBezTo>
                <a:cubicBezTo>
                  <a:pt x="5656356" y="1421567"/>
                  <a:pt x="5652488" y="1423500"/>
                  <a:pt x="5648620" y="1427368"/>
                </a:cubicBezTo>
                <a:cubicBezTo>
                  <a:pt x="5648620" y="1431236"/>
                  <a:pt x="5650553" y="1435104"/>
                  <a:pt x="5650553" y="1438973"/>
                </a:cubicBezTo>
                <a:cubicBezTo>
                  <a:pt x="5720181" y="1408027"/>
                  <a:pt x="5787874" y="1375148"/>
                  <a:pt x="5855568" y="1342269"/>
                </a:cubicBezTo>
                <a:cubicBezTo>
                  <a:pt x="5872976" y="1332597"/>
                  <a:pt x="5890382" y="1332597"/>
                  <a:pt x="5905855" y="1338398"/>
                </a:cubicBezTo>
                <a:cubicBezTo>
                  <a:pt x="5907788" y="1336465"/>
                  <a:pt x="5909723" y="1332597"/>
                  <a:pt x="5909723" y="1330664"/>
                </a:cubicBezTo>
                <a:cubicBezTo>
                  <a:pt x="5909723" y="1328729"/>
                  <a:pt x="5915524" y="1328729"/>
                  <a:pt x="5921328" y="1326796"/>
                </a:cubicBezTo>
                <a:cubicBezTo>
                  <a:pt x="5917460" y="1332597"/>
                  <a:pt x="5917460" y="1334532"/>
                  <a:pt x="5915524" y="1338398"/>
                </a:cubicBezTo>
                <a:cubicBezTo>
                  <a:pt x="5919393" y="1340333"/>
                  <a:pt x="5921328" y="1340333"/>
                  <a:pt x="5925194" y="1342269"/>
                </a:cubicBezTo>
                <a:cubicBezTo>
                  <a:pt x="5923261" y="1344202"/>
                  <a:pt x="5923261" y="1344202"/>
                  <a:pt x="5921328" y="1346137"/>
                </a:cubicBezTo>
                <a:cubicBezTo>
                  <a:pt x="5923261" y="1348070"/>
                  <a:pt x="5925194" y="1348070"/>
                  <a:pt x="5927129" y="1350003"/>
                </a:cubicBezTo>
                <a:cubicBezTo>
                  <a:pt x="5929065" y="1348070"/>
                  <a:pt x="5930997" y="1346137"/>
                  <a:pt x="5930997" y="1344202"/>
                </a:cubicBezTo>
                <a:cubicBezTo>
                  <a:pt x="5934866" y="1334532"/>
                  <a:pt x="5940669" y="1334532"/>
                  <a:pt x="5946470" y="1332597"/>
                </a:cubicBezTo>
                <a:cubicBezTo>
                  <a:pt x="5946470" y="1332597"/>
                  <a:pt x="5948403" y="1332597"/>
                  <a:pt x="5950339" y="1332597"/>
                </a:cubicBezTo>
                <a:cubicBezTo>
                  <a:pt x="5956142" y="1332597"/>
                  <a:pt x="5963876" y="1324860"/>
                  <a:pt x="5967745" y="1336465"/>
                </a:cubicBezTo>
                <a:cubicBezTo>
                  <a:pt x="5969680" y="1342269"/>
                  <a:pt x="5973548" y="1348070"/>
                  <a:pt x="5971613" y="1355806"/>
                </a:cubicBezTo>
                <a:cubicBezTo>
                  <a:pt x="5969680" y="1361607"/>
                  <a:pt x="5971613" y="1367411"/>
                  <a:pt x="5973548" y="1371279"/>
                </a:cubicBezTo>
                <a:cubicBezTo>
                  <a:pt x="5973548" y="1373212"/>
                  <a:pt x="5977417" y="1373212"/>
                  <a:pt x="5981285" y="1375148"/>
                </a:cubicBezTo>
                <a:cubicBezTo>
                  <a:pt x="5979352" y="1369344"/>
                  <a:pt x="5979352" y="1363543"/>
                  <a:pt x="5977417" y="1359675"/>
                </a:cubicBezTo>
                <a:cubicBezTo>
                  <a:pt x="5977417" y="1357739"/>
                  <a:pt x="5979352" y="1357739"/>
                  <a:pt x="5979352" y="1357739"/>
                </a:cubicBezTo>
                <a:cubicBezTo>
                  <a:pt x="5981285" y="1359675"/>
                  <a:pt x="5983218" y="1361607"/>
                  <a:pt x="5985153" y="1365478"/>
                </a:cubicBezTo>
                <a:cubicBezTo>
                  <a:pt x="5990954" y="1361607"/>
                  <a:pt x="5994822" y="1357739"/>
                  <a:pt x="5998691" y="1353873"/>
                </a:cubicBezTo>
                <a:cubicBezTo>
                  <a:pt x="5998691" y="1348070"/>
                  <a:pt x="5996758" y="1342269"/>
                  <a:pt x="5990954" y="1338398"/>
                </a:cubicBezTo>
                <a:cubicBezTo>
                  <a:pt x="5985153" y="1336465"/>
                  <a:pt x="5979352" y="1334532"/>
                  <a:pt x="5969680" y="1332597"/>
                </a:cubicBezTo>
                <a:cubicBezTo>
                  <a:pt x="5985153" y="1315191"/>
                  <a:pt x="6004494" y="1305519"/>
                  <a:pt x="6021900" y="1290046"/>
                </a:cubicBezTo>
                <a:cubicBezTo>
                  <a:pt x="6019967" y="1297782"/>
                  <a:pt x="6019967" y="1303586"/>
                  <a:pt x="6018032" y="1313255"/>
                </a:cubicBezTo>
                <a:cubicBezTo>
                  <a:pt x="6014164" y="1309387"/>
                  <a:pt x="6014164" y="1307454"/>
                  <a:pt x="6012228" y="1305519"/>
                </a:cubicBezTo>
                <a:cubicBezTo>
                  <a:pt x="6002559" y="1307454"/>
                  <a:pt x="6010295" y="1315191"/>
                  <a:pt x="6008363" y="1320992"/>
                </a:cubicBezTo>
                <a:cubicBezTo>
                  <a:pt x="6006427" y="1322927"/>
                  <a:pt x="6004494" y="1324860"/>
                  <a:pt x="6000626" y="1328729"/>
                </a:cubicBezTo>
                <a:cubicBezTo>
                  <a:pt x="6004494" y="1330664"/>
                  <a:pt x="6006427" y="1332597"/>
                  <a:pt x="6008363" y="1336465"/>
                </a:cubicBezTo>
                <a:cubicBezTo>
                  <a:pt x="6010295" y="1338398"/>
                  <a:pt x="6010295" y="1342269"/>
                  <a:pt x="6010295" y="1348070"/>
                </a:cubicBezTo>
                <a:lnTo>
                  <a:pt x="6012406" y="1347015"/>
                </a:lnTo>
                <a:lnTo>
                  <a:pt x="6016099" y="1351938"/>
                </a:lnTo>
                <a:cubicBezTo>
                  <a:pt x="6012228" y="1359675"/>
                  <a:pt x="6008363" y="1367411"/>
                  <a:pt x="6002559" y="1377081"/>
                </a:cubicBezTo>
                <a:cubicBezTo>
                  <a:pt x="6014164" y="1375148"/>
                  <a:pt x="6019967" y="1369344"/>
                  <a:pt x="6025769" y="1363543"/>
                </a:cubicBezTo>
                <a:cubicBezTo>
                  <a:pt x="6031570" y="1359675"/>
                  <a:pt x="6037373" y="1353873"/>
                  <a:pt x="6045110" y="1350003"/>
                </a:cubicBezTo>
                <a:cubicBezTo>
                  <a:pt x="6045110" y="1351938"/>
                  <a:pt x="6045110" y="1353873"/>
                  <a:pt x="6043177" y="1355806"/>
                </a:cubicBezTo>
                <a:cubicBezTo>
                  <a:pt x="6039306" y="1361607"/>
                  <a:pt x="6035438" y="1367411"/>
                  <a:pt x="6031570" y="1371279"/>
                </a:cubicBezTo>
                <a:lnTo>
                  <a:pt x="6021900" y="1379338"/>
                </a:lnTo>
                <a:lnTo>
                  <a:pt x="6021900" y="1375148"/>
                </a:lnTo>
                <a:cubicBezTo>
                  <a:pt x="6019967" y="1375148"/>
                  <a:pt x="6018032" y="1375148"/>
                  <a:pt x="6016099" y="1375148"/>
                </a:cubicBezTo>
                <a:cubicBezTo>
                  <a:pt x="6016099" y="1375148"/>
                  <a:pt x="6016099" y="1379016"/>
                  <a:pt x="6016099" y="1379016"/>
                </a:cubicBezTo>
                <a:lnTo>
                  <a:pt x="6020519" y="1380489"/>
                </a:lnTo>
                <a:lnTo>
                  <a:pt x="6019967" y="1380949"/>
                </a:lnTo>
                <a:cubicBezTo>
                  <a:pt x="6018032" y="1382884"/>
                  <a:pt x="6016099" y="1380949"/>
                  <a:pt x="6014164" y="1382884"/>
                </a:cubicBezTo>
                <a:cubicBezTo>
                  <a:pt x="6002559" y="1390621"/>
                  <a:pt x="6000626" y="1390621"/>
                  <a:pt x="5989021" y="1384817"/>
                </a:cubicBezTo>
                <a:lnTo>
                  <a:pt x="5987086" y="1385301"/>
                </a:lnTo>
                <a:lnTo>
                  <a:pt x="5987086" y="1377081"/>
                </a:lnTo>
                <a:cubicBezTo>
                  <a:pt x="5985153" y="1377081"/>
                  <a:pt x="5985153" y="1377081"/>
                  <a:pt x="5983218" y="1377081"/>
                </a:cubicBezTo>
                <a:cubicBezTo>
                  <a:pt x="5980317" y="1381916"/>
                  <a:pt x="5978867" y="1384334"/>
                  <a:pt x="5979350" y="1386027"/>
                </a:cubicBezTo>
                <a:lnTo>
                  <a:pt x="5982327" y="1387795"/>
                </a:lnTo>
                <a:lnTo>
                  <a:pt x="5987086" y="1392554"/>
                </a:lnTo>
                <a:cubicBezTo>
                  <a:pt x="5992890" y="1396422"/>
                  <a:pt x="5992890" y="1400290"/>
                  <a:pt x="5989021" y="1406094"/>
                </a:cubicBezTo>
                <a:cubicBezTo>
                  <a:pt x="5983218" y="1411895"/>
                  <a:pt x="5977417" y="1417699"/>
                  <a:pt x="5971613" y="1421567"/>
                </a:cubicBezTo>
                <a:cubicBezTo>
                  <a:pt x="5967745" y="1425435"/>
                  <a:pt x="5961943" y="1427368"/>
                  <a:pt x="5958075" y="1431236"/>
                </a:cubicBezTo>
                <a:cubicBezTo>
                  <a:pt x="5954207" y="1435104"/>
                  <a:pt x="5950339" y="1438973"/>
                  <a:pt x="5946470" y="1442841"/>
                </a:cubicBezTo>
                <a:cubicBezTo>
                  <a:pt x="5944535" y="1446709"/>
                  <a:pt x="5942602" y="1450577"/>
                  <a:pt x="5940669" y="1454446"/>
                </a:cubicBezTo>
                <a:cubicBezTo>
                  <a:pt x="5940669" y="1454446"/>
                  <a:pt x="5942602" y="1456379"/>
                  <a:pt x="5942602" y="1456379"/>
                </a:cubicBezTo>
                <a:cubicBezTo>
                  <a:pt x="5958075" y="1446709"/>
                  <a:pt x="5971613" y="1435104"/>
                  <a:pt x="5987086" y="1423500"/>
                </a:cubicBezTo>
                <a:cubicBezTo>
                  <a:pt x="5989021" y="1425435"/>
                  <a:pt x="5989021" y="1427368"/>
                  <a:pt x="5992890" y="1429303"/>
                </a:cubicBezTo>
                <a:cubicBezTo>
                  <a:pt x="5996758" y="1425435"/>
                  <a:pt x="5998691" y="1421567"/>
                  <a:pt x="6002559" y="1417699"/>
                </a:cubicBezTo>
                <a:cubicBezTo>
                  <a:pt x="6006427" y="1423500"/>
                  <a:pt x="6010295" y="1427368"/>
                  <a:pt x="6016099" y="1423500"/>
                </a:cubicBezTo>
                <a:cubicBezTo>
                  <a:pt x="6004494" y="1435104"/>
                  <a:pt x="5994822" y="1446709"/>
                  <a:pt x="5983218" y="1458314"/>
                </a:cubicBezTo>
                <a:cubicBezTo>
                  <a:pt x="5967745" y="1473787"/>
                  <a:pt x="5954207" y="1491193"/>
                  <a:pt x="5936801" y="1504733"/>
                </a:cubicBezTo>
                <a:cubicBezTo>
                  <a:pt x="5929065" y="1511502"/>
                  <a:pt x="5921328" y="1518271"/>
                  <a:pt x="5912866" y="1523347"/>
                </a:cubicBezTo>
                <a:lnTo>
                  <a:pt x="5890595" y="1530009"/>
                </a:lnTo>
                <a:lnTo>
                  <a:pt x="5892317" y="1527943"/>
                </a:lnTo>
                <a:cubicBezTo>
                  <a:pt x="5894250" y="1526007"/>
                  <a:pt x="5894250" y="1524074"/>
                  <a:pt x="5898118" y="1522139"/>
                </a:cubicBezTo>
                <a:cubicBezTo>
                  <a:pt x="5894250" y="1522139"/>
                  <a:pt x="5892317" y="1522139"/>
                  <a:pt x="5890382" y="1522139"/>
                </a:cubicBezTo>
                <a:lnTo>
                  <a:pt x="5875713" y="1538142"/>
                </a:lnTo>
                <a:lnTo>
                  <a:pt x="5871041" y="1541480"/>
                </a:lnTo>
                <a:cubicBezTo>
                  <a:pt x="5867172" y="1551151"/>
                  <a:pt x="5862337" y="1559371"/>
                  <a:pt x="5856293" y="1566382"/>
                </a:cubicBezTo>
                <a:lnTo>
                  <a:pt x="5846918" y="1573903"/>
                </a:lnTo>
                <a:lnTo>
                  <a:pt x="5843963" y="1572426"/>
                </a:lnTo>
                <a:cubicBezTo>
                  <a:pt x="5842028" y="1574359"/>
                  <a:pt x="5842028" y="1576295"/>
                  <a:pt x="5840095" y="1578227"/>
                </a:cubicBezTo>
                <a:lnTo>
                  <a:pt x="5840732" y="1578866"/>
                </a:lnTo>
                <a:lnTo>
                  <a:pt x="5834293" y="1584031"/>
                </a:lnTo>
                <a:cubicBezTo>
                  <a:pt x="5832358" y="1582096"/>
                  <a:pt x="5830425" y="1580163"/>
                  <a:pt x="5828490" y="1580163"/>
                </a:cubicBezTo>
                <a:cubicBezTo>
                  <a:pt x="5828490" y="1582096"/>
                  <a:pt x="5828490" y="1584031"/>
                  <a:pt x="5828490" y="1585964"/>
                </a:cubicBezTo>
                <a:lnTo>
                  <a:pt x="5831678" y="1585964"/>
                </a:lnTo>
                <a:lnTo>
                  <a:pt x="5814235" y="1598856"/>
                </a:lnTo>
                <a:lnTo>
                  <a:pt x="5813501" y="1598537"/>
                </a:lnTo>
                <a:cubicBezTo>
                  <a:pt x="5810600" y="1599987"/>
                  <a:pt x="5808182" y="1603371"/>
                  <a:pt x="5805280" y="1605305"/>
                </a:cubicBezTo>
                <a:cubicBezTo>
                  <a:pt x="5805280" y="1599504"/>
                  <a:pt x="5803347" y="1591768"/>
                  <a:pt x="5803347" y="1585964"/>
                </a:cubicBezTo>
                <a:lnTo>
                  <a:pt x="5770466" y="1603834"/>
                </a:lnTo>
                <a:lnTo>
                  <a:pt x="5770466" y="1599504"/>
                </a:lnTo>
                <a:lnTo>
                  <a:pt x="5757403" y="1610934"/>
                </a:lnTo>
                <a:lnTo>
                  <a:pt x="5714378" y="1634316"/>
                </a:lnTo>
                <a:cubicBezTo>
                  <a:pt x="5708576" y="1638184"/>
                  <a:pt x="5700840" y="1643988"/>
                  <a:pt x="5695036" y="1647856"/>
                </a:cubicBezTo>
                <a:cubicBezTo>
                  <a:pt x="5683432" y="1655593"/>
                  <a:pt x="5671829" y="1663329"/>
                  <a:pt x="5660224" y="1671066"/>
                </a:cubicBezTo>
                <a:cubicBezTo>
                  <a:pt x="5658289" y="1672999"/>
                  <a:pt x="5654421" y="1672999"/>
                  <a:pt x="5650553" y="1672999"/>
                </a:cubicBezTo>
                <a:cubicBezTo>
                  <a:pt x="5646684" y="1672999"/>
                  <a:pt x="5644749" y="1672999"/>
                  <a:pt x="5642816" y="1672999"/>
                </a:cubicBezTo>
                <a:cubicBezTo>
                  <a:pt x="5642816" y="1674934"/>
                  <a:pt x="5640883" y="1674934"/>
                  <a:pt x="5640883" y="1674934"/>
                </a:cubicBezTo>
                <a:cubicBezTo>
                  <a:pt x="5640883" y="1676867"/>
                  <a:pt x="5638948" y="1678802"/>
                  <a:pt x="5638948" y="1682670"/>
                </a:cubicBezTo>
                <a:cubicBezTo>
                  <a:pt x="5638948" y="1686539"/>
                  <a:pt x="5637015" y="1688472"/>
                  <a:pt x="5635080" y="1690407"/>
                </a:cubicBezTo>
                <a:cubicBezTo>
                  <a:pt x="5633147" y="1692340"/>
                  <a:pt x="5633147" y="1692340"/>
                  <a:pt x="5631211" y="1694275"/>
                </a:cubicBezTo>
                <a:cubicBezTo>
                  <a:pt x="5637015" y="1694275"/>
                  <a:pt x="5640883" y="1694275"/>
                  <a:pt x="5644749" y="1698144"/>
                </a:cubicBezTo>
                <a:cubicBezTo>
                  <a:pt x="5637015" y="1703945"/>
                  <a:pt x="5637015" y="1703945"/>
                  <a:pt x="5625410" y="1700077"/>
                </a:cubicBezTo>
                <a:cubicBezTo>
                  <a:pt x="5623475" y="1702012"/>
                  <a:pt x="5621542" y="1703945"/>
                  <a:pt x="5619607" y="1705878"/>
                </a:cubicBezTo>
                <a:cubicBezTo>
                  <a:pt x="5617674" y="1698144"/>
                  <a:pt x="5615738" y="1694275"/>
                  <a:pt x="5617674" y="1690407"/>
                </a:cubicBezTo>
                <a:cubicBezTo>
                  <a:pt x="5617674" y="1688472"/>
                  <a:pt x="5617674" y="1688472"/>
                  <a:pt x="5617674" y="1688472"/>
                </a:cubicBezTo>
                <a:cubicBezTo>
                  <a:pt x="5613805" y="1690407"/>
                  <a:pt x="5608002" y="1694275"/>
                  <a:pt x="5604133" y="1696208"/>
                </a:cubicBezTo>
                <a:cubicBezTo>
                  <a:pt x="5606069" y="1709748"/>
                  <a:pt x="5613805" y="1721353"/>
                  <a:pt x="5623475" y="1731022"/>
                </a:cubicBezTo>
                <a:cubicBezTo>
                  <a:pt x="5625410" y="1731022"/>
                  <a:pt x="5625410" y="1732958"/>
                  <a:pt x="5625410" y="1732958"/>
                </a:cubicBezTo>
                <a:cubicBezTo>
                  <a:pt x="5627343" y="1731022"/>
                  <a:pt x="5629278" y="1729087"/>
                  <a:pt x="5631211" y="1727154"/>
                </a:cubicBezTo>
                <a:cubicBezTo>
                  <a:pt x="5635080" y="1727154"/>
                  <a:pt x="5638948" y="1729087"/>
                  <a:pt x="5644749" y="1731022"/>
                </a:cubicBezTo>
                <a:cubicBezTo>
                  <a:pt x="5646684" y="1729087"/>
                  <a:pt x="5646684" y="1729087"/>
                  <a:pt x="5648620" y="1727154"/>
                </a:cubicBezTo>
                <a:cubicBezTo>
                  <a:pt x="5646684" y="1727154"/>
                  <a:pt x="5644749" y="1727154"/>
                  <a:pt x="5640883" y="1725219"/>
                </a:cubicBezTo>
                <a:cubicBezTo>
                  <a:pt x="5640883" y="1719418"/>
                  <a:pt x="5646684" y="1719418"/>
                  <a:pt x="5650553" y="1717482"/>
                </a:cubicBezTo>
                <a:cubicBezTo>
                  <a:pt x="5650553" y="1717482"/>
                  <a:pt x="5652488" y="1717482"/>
                  <a:pt x="5654421" y="1719418"/>
                </a:cubicBezTo>
                <a:lnTo>
                  <a:pt x="5661103" y="1711066"/>
                </a:lnTo>
                <a:lnTo>
                  <a:pt x="5656356" y="1721353"/>
                </a:lnTo>
                <a:cubicBezTo>
                  <a:pt x="5658289" y="1725219"/>
                  <a:pt x="5660224" y="1729087"/>
                  <a:pt x="5664090" y="1734891"/>
                </a:cubicBezTo>
                <a:cubicBezTo>
                  <a:pt x="5664090" y="1734891"/>
                  <a:pt x="5662157" y="1736824"/>
                  <a:pt x="5660224" y="1740692"/>
                </a:cubicBezTo>
                <a:cubicBezTo>
                  <a:pt x="5662157" y="1740692"/>
                  <a:pt x="5662157" y="1742627"/>
                  <a:pt x="5664090" y="1744560"/>
                </a:cubicBezTo>
                <a:cubicBezTo>
                  <a:pt x="5666026" y="1744560"/>
                  <a:pt x="5666026" y="1746496"/>
                  <a:pt x="5667959" y="1748429"/>
                </a:cubicBezTo>
                <a:cubicBezTo>
                  <a:pt x="5667959" y="1750364"/>
                  <a:pt x="5666026" y="1752297"/>
                  <a:pt x="5666026" y="1752297"/>
                </a:cubicBezTo>
                <a:cubicBezTo>
                  <a:pt x="5666026" y="1752297"/>
                  <a:pt x="5664090" y="1754232"/>
                  <a:pt x="5664090" y="1754232"/>
                </a:cubicBezTo>
                <a:cubicBezTo>
                  <a:pt x="5664090" y="1761969"/>
                  <a:pt x="5664090" y="1771638"/>
                  <a:pt x="5664090" y="1779374"/>
                </a:cubicBezTo>
                <a:cubicBezTo>
                  <a:pt x="5664090" y="1779374"/>
                  <a:pt x="5666026" y="1779374"/>
                  <a:pt x="5666026" y="1779374"/>
                </a:cubicBezTo>
                <a:cubicBezTo>
                  <a:pt x="5666026" y="1779374"/>
                  <a:pt x="5666026" y="1781310"/>
                  <a:pt x="5666026" y="1781310"/>
                </a:cubicBezTo>
                <a:cubicBezTo>
                  <a:pt x="5666026" y="1781310"/>
                  <a:pt x="5664090" y="1783243"/>
                  <a:pt x="5664090" y="1785178"/>
                </a:cubicBezTo>
                <a:lnTo>
                  <a:pt x="5667959" y="1785178"/>
                </a:lnTo>
                <a:cubicBezTo>
                  <a:pt x="5660224" y="1785178"/>
                  <a:pt x="5662157" y="1790979"/>
                  <a:pt x="5658289" y="1792912"/>
                </a:cubicBezTo>
                <a:cubicBezTo>
                  <a:pt x="5656356" y="1794848"/>
                  <a:pt x="5656356" y="1794848"/>
                  <a:pt x="5654421" y="1794848"/>
                </a:cubicBezTo>
                <a:lnTo>
                  <a:pt x="5653777" y="1795492"/>
                </a:lnTo>
                <a:lnTo>
                  <a:pt x="5652488" y="1792912"/>
                </a:lnTo>
                <a:cubicBezTo>
                  <a:pt x="5650553" y="1792912"/>
                  <a:pt x="5648620" y="1792912"/>
                  <a:pt x="5648620" y="1792912"/>
                </a:cubicBezTo>
                <a:cubicBezTo>
                  <a:pt x="5642816" y="1798716"/>
                  <a:pt x="5637015" y="1806452"/>
                  <a:pt x="5631211" y="1812254"/>
                </a:cubicBezTo>
                <a:lnTo>
                  <a:pt x="5631521" y="1814730"/>
                </a:lnTo>
                <a:lnTo>
                  <a:pt x="5621542" y="1818057"/>
                </a:lnTo>
                <a:cubicBezTo>
                  <a:pt x="5625410" y="1819992"/>
                  <a:pt x="5627343" y="1821925"/>
                  <a:pt x="5631211" y="1825794"/>
                </a:cubicBezTo>
                <a:lnTo>
                  <a:pt x="5632854" y="1825383"/>
                </a:lnTo>
                <a:lnTo>
                  <a:pt x="5633147" y="1827726"/>
                </a:lnTo>
                <a:cubicBezTo>
                  <a:pt x="5633147" y="1831595"/>
                  <a:pt x="5633147" y="1835463"/>
                  <a:pt x="5633147" y="1839331"/>
                </a:cubicBezTo>
                <a:cubicBezTo>
                  <a:pt x="5638948" y="1835463"/>
                  <a:pt x="5642816" y="1831595"/>
                  <a:pt x="5646684" y="1829662"/>
                </a:cubicBezTo>
                <a:cubicBezTo>
                  <a:pt x="5648620" y="1829662"/>
                  <a:pt x="5652488" y="1829662"/>
                  <a:pt x="5654421" y="1829662"/>
                </a:cubicBezTo>
                <a:cubicBezTo>
                  <a:pt x="5652488" y="1833530"/>
                  <a:pt x="5650553" y="1837398"/>
                  <a:pt x="5648620" y="1841267"/>
                </a:cubicBezTo>
                <a:cubicBezTo>
                  <a:pt x="5654421" y="1837398"/>
                  <a:pt x="5660224" y="1833530"/>
                  <a:pt x="5667959" y="1831595"/>
                </a:cubicBezTo>
                <a:cubicBezTo>
                  <a:pt x="5669894" y="1831595"/>
                  <a:pt x="5669894" y="1829662"/>
                  <a:pt x="5671829" y="1829662"/>
                </a:cubicBezTo>
                <a:cubicBezTo>
                  <a:pt x="5671829" y="1827726"/>
                  <a:pt x="5673762" y="1827726"/>
                  <a:pt x="5673762" y="1825794"/>
                </a:cubicBezTo>
                <a:cubicBezTo>
                  <a:pt x="5675697" y="1816122"/>
                  <a:pt x="5683432" y="1816122"/>
                  <a:pt x="5689235" y="1814189"/>
                </a:cubicBezTo>
                <a:cubicBezTo>
                  <a:pt x="5687300" y="1816122"/>
                  <a:pt x="5685367" y="1819992"/>
                  <a:pt x="5683432" y="1821925"/>
                </a:cubicBezTo>
                <a:cubicBezTo>
                  <a:pt x="5689235" y="1821925"/>
                  <a:pt x="5695036" y="1823858"/>
                  <a:pt x="5700840" y="1823858"/>
                </a:cubicBezTo>
                <a:cubicBezTo>
                  <a:pt x="5706641" y="1823858"/>
                  <a:pt x="5708576" y="1829662"/>
                  <a:pt x="5704708" y="1833530"/>
                </a:cubicBezTo>
                <a:cubicBezTo>
                  <a:pt x="5700840" y="1839331"/>
                  <a:pt x="5695036" y="1841267"/>
                  <a:pt x="5691168" y="1845135"/>
                </a:cubicBezTo>
                <a:cubicBezTo>
                  <a:pt x="5687300" y="1843200"/>
                  <a:pt x="5685367" y="1841267"/>
                  <a:pt x="5683432" y="1839331"/>
                </a:cubicBezTo>
                <a:cubicBezTo>
                  <a:pt x="5681499" y="1839331"/>
                  <a:pt x="5675697" y="1835463"/>
                  <a:pt x="5671829" y="1833530"/>
                </a:cubicBezTo>
                <a:cubicBezTo>
                  <a:pt x="5666026" y="1837398"/>
                  <a:pt x="5660224" y="1843200"/>
                  <a:pt x="5658289" y="1850936"/>
                </a:cubicBezTo>
                <a:cubicBezTo>
                  <a:pt x="5662157" y="1850936"/>
                  <a:pt x="5664090" y="1852871"/>
                  <a:pt x="5666026" y="1852871"/>
                </a:cubicBezTo>
                <a:cubicBezTo>
                  <a:pt x="5664090" y="1862541"/>
                  <a:pt x="5660224" y="1870277"/>
                  <a:pt x="5646684" y="1870277"/>
                </a:cubicBezTo>
                <a:cubicBezTo>
                  <a:pt x="5646684" y="1866409"/>
                  <a:pt x="5648620" y="1862541"/>
                  <a:pt x="5650553" y="1856740"/>
                </a:cubicBezTo>
                <a:cubicBezTo>
                  <a:pt x="5640883" y="1854804"/>
                  <a:pt x="5637015" y="1860608"/>
                  <a:pt x="5631211" y="1864476"/>
                </a:cubicBezTo>
                <a:cubicBezTo>
                  <a:pt x="5629278" y="1866409"/>
                  <a:pt x="5627343" y="1868344"/>
                  <a:pt x="5623475" y="1870277"/>
                </a:cubicBezTo>
                <a:cubicBezTo>
                  <a:pt x="5617674" y="1887686"/>
                  <a:pt x="5613805" y="1907027"/>
                  <a:pt x="5604133" y="1924433"/>
                </a:cubicBezTo>
                <a:cubicBezTo>
                  <a:pt x="5596397" y="1937971"/>
                  <a:pt x="5594464" y="1951511"/>
                  <a:pt x="5588663" y="1965049"/>
                </a:cubicBezTo>
                <a:cubicBezTo>
                  <a:pt x="5580924" y="1982457"/>
                  <a:pt x="5573190" y="1999863"/>
                  <a:pt x="5565453" y="2015336"/>
                </a:cubicBezTo>
                <a:cubicBezTo>
                  <a:pt x="5571255" y="2013400"/>
                  <a:pt x="5577056" y="2011468"/>
                  <a:pt x="5582859" y="2011468"/>
                </a:cubicBezTo>
                <a:cubicBezTo>
                  <a:pt x="5584795" y="2011468"/>
                  <a:pt x="5586728" y="2013400"/>
                  <a:pt x="5588663" y="2013400"/>
                </a:cubicBezTo>
                <a:cubicBezTo>
                  <a:pt x="5580924" y="2019204"/>
                  <a:pt x="5571255" y="2023072"/>
                  <a:pt x="5561585" y="2025005"/>
                </a:cubicBezTo>
                <a:cubicBezTo>
                  <a:pt x="5555781" y="2038545"/>
                  <a:pt x="5549980" y="2052083"/>
                  <a:pt x="5544177" y="2065623"/>
                </a:cubicBezTo>
                <a:cubicBezTo>
                  <a:pt x="5544177" y="2065623"/>
                  <a:pt x="5542244" y="2067556"/>
                  <a:pt x="5542244" y="2069491"/>
                </a:cubicBezTo>
                <a:cubicBezTo>
                  <a:pt x="5546112" y="2065623"/>
                  <a:pt x="5551913" y="2061755"/>
                  <a:pt x="5559650" y="2063688"/>
                </a:cubicBezTo>
                <a:cubicBezTo>
                  <a:pt x="5551913" y="2067556"/>
                  <a:pt x="5549980" y="2075293"/>
                  <a:pt x="5546112" y="2081096"/>
                </a:cubicBezTo>
                <a:cubicBezTo>
                  <a:pt x="5544177" y="2084962"/>
                  <a:pt x="5540308" y="2086897"/>
                  <a:pt x="5536440" y="2088830"/>
                </a:cubicBezTo>
                <a:cubicBezTo>
                  <a:pt x="5534507" y="2088830"/>
                  <a:pt x="5532572" y="2090766"/>
                  <a:pt x="5530639" y="2092698"/>
                </a:cubicBezTo>
                <a:cubicBezTo>
                  <a:pt x="5519034" y="2119776"/>
                  <a:pt x="5509362" y="2144921"/>
                  <a:pt x="5497758" y="2170064"/>
                </a:cubicBezTo>
                <a:cubicBezTo>
                  <a:pt x="5495825" y="2177800"/>
                  <a:pt x="5491956" y="2185537"/>
                  <a:pt x="5490021" y="2193273"/>
                </a:cubicBezTo>
                <a:cubicBezTo>
                  <a:pt x="5488088" y="2197142"/>
                  <a:pt x="5488088" y="2201010"/>
                  <a:pt x="5488088" y="2206811"/>
                </a:cubicBezTo>
                <a:cubicBezTo>
                  <a:pt x="5495825" y="2202943"/>
                  <a:pt x="5499693" y="2202943"/>
                  <a:pt x="5503561" y="2201010"/>
                </a:cubicBezTo>
                <a:cubicBezTo>
                  <a:pt x="5517099" y="2195206"/>
                  <a:pt x="5530639" y="2187470"/>
                  <a:pt x="5546112" y="2183602"/>
                </a:cubicBezTo>
                <a:cubicBezTo>
                  <a:pt x="5567386" y="2177800"/>
                  <a:pt x="5658289" y="2129448"/>
                  <a:pt x="5679566" y="2123645"/>
                </a:cubicBezTo>
                <a:cubicBezTo>
                  <a:pt x="5693103" y="2121712"/>
                  <a:pt x="5706641" y="2115908"/>
                  <a:pt x="5720181" y="2113975"/>
                </a:cubicBezTo>
                <a:cubicBezTo>
                  <a:pt x="5731784" y="2112040"/>
                  <a:pt x="5745324" y="2113975"/>
                  <a:pt x="5756928" y="2113975"/>
                </a:cubicBezTo>
                <a:cubicBezTo>
                  <a:pt x="5766600" y="2113975"/>
                  <a:pt x="5774334" y="2115908"/>
                  <a:pt x="5782073" y="2121712"/>
                </a:cubicBezTo>
                <a:cubicBezTo>
                  <a:pt x="5789807" y="2127513"/>
                  <a:pt x="5799479" y="2131381"/>
                  <a:pt x="5811084" y="2129448"/>
                </a:cubicBezTo>
                <a:cubicBezTo>
                  <a:pt x="5822689" y="2127513"/>
                  <a:pt x="5828490" y="2135250"/>
                  <a:pt x="5836226" y="2141053"/>
                </a:cubicBezTo>
                <a:cubicBezTo>
                  <a:pt x="5838159" y="2144921"/>
                  <a:pt x="5842028" y="2146854"/>
                  <a:pt x="5845898" y="2148789"/>
                </a:cubicBezTo>
                <a:cubicBezTo>
                  <a:pt x="5859436" y="2154591"/>
                  <a:pt x="5872976" y="2164262"/>
                  <a:pt x="5882645" y="2175867"/>
                </a:cubicBezTo>
                <a:cubicBezTo>
                  <a:pt x="5888447" y="2181669"/>
                  <a:pt x="5896183" y="2185537"/>
                  <a:pt x="5898118" y="2195206"/>
                </a:cubicBezTo>
                <a:cubicBezTo>
                  <a:pt x="5898118" y="2197142"/>
                  <a:pt x="5900051" y="2199075"/>
                  <a:pt x="5901987" y="2199075"/>
                </a:cubicBezTo>
                <a:cubicBezTo>
                  <a:pt x="5917460" y="2202943"/>
                  <a:pt x="5921328" y="2218416"/>
                  <a:pt x="5929065" y="2230020"/>
                </a:cubicBezTo>
                <a:cubicBezTo>
                  <a:pt x="5932933" y="2237757"/>
                  <a:pt x="5936801" y="2245494"/>
                  <a:pt x="5942602" y="2251297"/>
                </a:cubicBezTo>
                <a:cubicBezTo>
                  <a:pt x="5954207" y="2260966"/>
                  <a:pt x="5960011" y="2276439"/>
                  <a:pt x="5967745" y="2289977"/>
                </a:cubicBezTo>
                <a:cubicBezTo>
                  <a:pt x="5971613" y="2295781"/>
                  <a:pt x="5975481" y="2299649"/>
                  <a:pt x="5979352" y="2305450"/>
                </a:cubicBezTo>
                <a:cubicBezTo>
                  <a:pt x="5985153" y="2313187"/>
                  <a:pt x="5990954" y="2318990"/>
                  <a:pt x="5992890" y="2326727"/>
                </a:cubicBezTo>
                <a:cubicBezTo>
                  <a:pt x="5994822" y="2334461"/>
                  <a:pt x="5998691" y="2342200"/>
                  <a:pt x="6000626" y="2349937"/>
                </a:cubicBezTo>
                <a:cubicBezTo>
                  <a:pt x="6002559" y="2355738"/>
                  <a:pt x="6000626" y="2363474"/>
                  <a:pt x="6000626" y="2371211"/>
                </a:cubicBezTo>
                <a:cubicBezTo>
                  <a:pt x="6000626" y="2373143"/>
                  <a:pt x="5998691" y="2375079"/>
                  <a:pt x="6000626" y="2377012"/>
                </a:cubicBezTo>
                <a:cubicBezTo>
                  <a:pt x="6014164" y="2400222"/>
                  <a:pt x="6010295" y="2423431"/>
                  <a:pt x="6008363" y="2446640"/>
                </a:cubicBezTo>
                <a:cubicBezTo>
                  <a:pt x="6008363" y="2462114"/>
                  <a:pt x="6000626" y="2475651"/>
                  <a:pt x="5990954" y="2489191"/>
                </a:cubicBezTo>
                <a:cubicBezTo>
                  <a:pt x="5987086" y="2493059"/>
                  <a:pt x="5985153" y="2500796"/>
                  <a:pt x="5981285" y="2508533"/>
                </a:cubicBezTo>
                <a:cubicBezTo>
                  <a:pt x="5981285" y="2510466"/>
                  <a:pt x="5981285" y="2512401"/>
                  <a:pt x="5979352" y="2514334"/>
                </a:cubicBezTo>
                <a:cubicBezTo>
                  <a:pt x="5971613" y="2525938"/>
                  <a:pt x="5963876" y="2537543"/>
                  <a:pt x="5956142" y="2547213"/>
                </a:cubicBezTo>
                <a:cubicBezTo>
                  <a:pt x="5942602" y="2564621"/>
                  <a:pt x="5929065" y="2583962"/>
                  <a:pt x="5913591" y="2599435"/>
                </a:cubicBezTo>
                <a:cubicBezTo>
                  <a:pt x="5892317" y="2620710"/>
                  <a:pt x="5869108" y="2638115"/>
                  <a:pt x="5847831" y="2655524"/>
                </a:cubicBezTo>
                <a:cubicBezTo>
                  <a:pt x="5845898" y="2657457"/>
                  <a:pt x="5843963" y="2657457"/>
                  <a:pt x="5842028" y="2659392"/>
                </a:cubicBezTo>
                <a:cubicBezTo>
                  <a:pt x="5820753" y="2684535"/>
                  <a:pt x="5716313" y="2736755"/>
                  <a:pt x="5693103" y="2759964"/>
                </a:cubicBezTo>
                <a:cubicBezTo>
                  <a:pt x="5677630" y="2775438"/>
                  <a:pt x="5660224" y="2788978"/>
                  <a:pt x="5642816" y="2804451"/>
                </a:cubicBezTo>
                <a:cubicBezTo>
                  <a:pt x="5621542" y="2823789"/>
                  <a:pt x="5598332" y="2843131"/>
                  <a:pt x="5577056" y="2862472"/>
                </a:cubicBezTo>
                <a:cubicBezTo>
                  <a:pt x="5578991" y="2862472"/>
                  <a:pt x="5578991" y="2864407"/>
                  <a:pt x="5580924" y="2866340"/>
                </a:cubicBezTo>
                <a:cubicBezTo>
                  <a:pt x="5586728" y="2862472"/>
                  <a:pt x="5592531" y="2858604"/>
                  <a:pt x="5598332" y="2854735"/>
                </a:cubicBezTo>
                <a:cubicBezTo>
                  <a:pt x="5598332" y="2862472"/>
                  <a:pt x="5596397" y="2866340"/>
                  <a:pt x="5592531" y="2868276"/>
                </a:cubicBezTo>
                <a:cubicBezTo>
                  <a:pt x="5590596" y="2868276"/>
                  <a:pt x="5586728" y="2870208"/>
                  <a:pt x="5582859" y="2870208"/>
                </a:cubicBezTo>
                <a:cubicBezTo>
                  <a:pt x="5577056" y="2872144"/>
                  <a:pt x="5571255" y="2872144"/>
                  <a:pt x="5569322" y="2881813"/>
                </a:cubicBezTo>
                <a:cubicBezTo>
                  <a:pt x="5567386" y="2883749"/>
                  <a:pt x="5563518" y="2885682"/>
                  <a:pt x="5561585" y="2887617"/>
                </a:cubicBezTo>
                <a:cubicBezTo>
                  <a:pt x="5561585" y="2887617"/>
                  <a:pt x="5559650" y="2889550"/>
                  <a:pt x="5559650" y="2889550"/>
                </a:cubicBezTo>
                <a:cubicBezTo>
                  <a:pt x="5561585" y="2891485"/>
                  <a:pt x="5563518" y="2891485"/>
                  <a:pt x="5563518" y="2893418"/>
                </a:cubicBezTo>
                <a:cubicBezTo>
                  <a:pt x="5571255" y="2889550"/>
                  <a:pt x="5577056" y="2885682"/>
                  <a:pt x="5584795" y="2883749"/>
                </a:cubicBezTo>
                <a:cubicBezTo>
                  <a:pt x="5586728" y="2881813"/>
                  <a:pt x="5588663" y="2883749"/>
                  <a:pt x="5592531" y="2885682"/>
                </a:cubicBezTo>
                <a:cubicBezTo>
                  <a:pt x="5586728" y="2887617"/>
                  <a:pt x="5582859" y="2889550"/>
                  <a:pt x="5580924" y="2889550"/>
                </a:cubicBezTo>
                <a:cubicBezTo>
                  <a:pt x="5577056" y="2889550"/>
                  <a:pt x="5575123" y="2889550"/>
                  <a:pt x="5573190" y="2893418"/>
                </a:cubicBezTo>
                <a:cubicBezTo>
                  <a:pt x="5571255" y="2895351"/>
                  <a:pt x="5567386" y="2897287"/>
                  <a:pt x="5563518" y="2897287"/>
                </a:cubicBezTo>
                <a:cubicBezTo>
                  <a:pt x="5563518" y="2897287"/>
                  <a:pt x="5561585" y="2897287"/>
                  <a:pt x="5561585" y="2897287"/>
                </a:cubicBezTo>
                <a:cubicBezTo>
                  <a:pt x="5561585" y="2899219"/>
                  <a:pt x="5561585" y="2899219"/>
                  <a:pt x="5561585" y="2899219"/>
                </a:cubicBezTo>
                <a:cubicBezTo>
                  <a:pt x="5555781" y="2899219"/>
                  <a:pt x="5548045" y="2901155"/>
                  <a:pt x="5542244" y="2901155"/>
                </a:cubicBezTo>
                <a:cubicBezTo>
                  <a:pt x="5538376" y="2901155"/>
                  <a:pt x="5534507" y="2903090"/>
                  <a:pt x="5530639" y="2903090"/>
                </a:cubicBezTo>
                <a:cubicBezTo>
                  <a:pt x="5530639" y="2905023"/>
                  <a:pt x="5528704" y="2905023"/>
                  <a:pt x="5526771" y="2906956"/>
                </a:cubicBezTo>
                <a:cubicBezTo>
                  <a:pt x="5546112" y="2910824"/>
                  <a:pt x="5565453" y="2912759"/>
                  <a:pt x="5584795" y="2910824"/>
                </a:cubicBezTo>
                <a:cubicBezTo>
                  <a:pt x="5580924" y="2910824"/>
                  <a:pt x="5578991" y="2912759"/>
                  <a:pt x="5577056" y="2912759"/>
                </a:cubicBezTo>
                <a:cubicBezTo>
                  <a:pt x="5590596" y="2912759"/>
                  <a:pt x="5604133" y="2914692"/>
                  <a:pt x="5617674" y="2916628"/>
                </a:cubicBezTo>
                <a:cubicBezTo>
                  <a:pt x="5619607" y="2916628"/>
                  <a:pt x="5621542" y="2916628"/>
                  <a:pt x="5623475" y="2916628"/>
                </a:cubicBezTo>
                <a:cubicBezTo>
                  <a:pt x="5625410" y="2916628"/>
                  <a:pt x="5625410" y="2916628"/>
                  <a:pt x="5627343" y="2916628"/>
                </a:cubicBezTo>
                <a:cubicBezTo>
                  <a:pt x="5637015" y="2914692"/>
                  <a:pt x="5642816" y="2914692"/>
                  <a:pt x="5648620" y="2905023"/>
                </a:cubicBezTo>
                <a:cubicBezTo>
                  <a:pt x="5650553" y="2901155"/>
                  <a:pt x="5656356" y="2899219"/>
                  <a:pt x="5662157" y="2899219"/>
                </a:cubicBezTo>
                <a:cubicBezTo>
                  <a:pt x="5660224" y="2901155"/>
                  <a:pt x="5658289" y="2903090"/>
                  <a:pt x="5656356" y="2905023"/>
                </a:cubicBezTo>
                <a:cubicBezTo>
                  <a:pt x="5658289" y="2905023"/>
                  <a:pt x="5658289" y="2906956"/>
                  <a:pt x="5658289" y="2906956"/>
                </a:cubicBezTo>
                <a:cubicBezTo>
                  <a:pt x="5667959" y="2908891"/>
                  <a:pt x="5675697" y="2910824"/>
                  <a:pt x="5685367" y="2910824"/>
                </a:cubicBezTo>
                <a:cubicBezTo>
                  <a:pt x="5698907" y="2910824"/>
                  <a:pt x="5700840" y="2908891"/>
                  <a:pt x="5696972" y="2891485"/>
                </a:cubicBezTo>
                <a:cubicBezTo>
                  <a:pt x="5700840" y="2883749"/>
                  <a:pt x="5706641" y="2889550"/>
                  <a:pt x="5712445" y="2891485"/>
                </a:cubicBezTo>
                <a:cubicBezTo>
                  <a:pt x="5708576" y="2893418"/>
                  <a:pt x="5706641" y="2893418"/>
                  <a:pt x="5702773" y="2895351"/>
                </a:cubicBezTo>
                <a:cubicBezTo>
                  <a:pt x="5704708" y="2897287"/>
                  <a:pt x="5706641" y="2899219"/>
                  <a:pt x="5708576" y="2901155"/>
                </a:cubicBezTo>
                <a:cubicBezTo>
                  <a:pt x="5708576" y="2903090"/>
                  <a:pt x="5706641" y="2905023"/>
                  <a:pt x="5704708" y="2908891"/>
                </a:cubicBezTo>
                <a:cubicBezTo>
                  <a:pt x="5714378" y="2910824"/>
                  <a:pt x="5724049" y="2908891"/>
                  <a:pt x="5733719" y="2908891"/>
                </a:cubicBezTo>
                <a:cubicBezTo>
                  <a:pt x="5733719" y="2910824"/>
                  <a:pt x="5733719" y="2912759"/>
                  <a:pt x="5733719" y="2916628"/>
                </a:cubicBezTo>
                <a:cubicBezTo>
                  <a:pt x="5720181" y="2918561"/>
                  <a:pt x="5706641" y="2920496"/>
                  <a:pt x="5693103" y="2922429"/>
                </a:cubicBezTo>
                <a:cubicBezTo>
                  <a:pt x="5677630" y="2924364"/>
                  <a:pt x="5662157" y="2924364"/>
                  <a:pt x="5646684" y="2926297"/>
                </a:cubicBezTo>
                <a:cubicBezTo>
                  <a:pt x="5648620" y="2928232"/>
                  <a:pt x="5650553" y="2928232"/>
                  <a:pt x="5650553" y="2930165"/>
                </a:cubicBezTo>
                <a:cubicBezTo>
                  <a:pt x="5652488" y="2932101"/>
                  <a:pt x="5652488" y="2932101"/>
                  <a:pt x="5654421" y="2934034"/>
                </a:cubicBezTo>
                <a:cubicBezTo>
                  <a:pt x="5662157" y="2934034"/>
                  <a:pt x="5667959" y="2932101"/>
                  <a:pt x="5673762" y="2932101"/>
                </a:cubicBezTo>
                <a:cubicBezTo>
                  <a:pt x="5669894" y="2934034"/>
                  <a:pt x="5664090" y="2937902"/>
                  <a:pt x="5658289" y="2939837"/>
                </a:cubicBezTo>
                <a:cubicBezTo>
                  <a:pt x="5658289" y="2941770"/>
                  <a:pt x="5658289" y="2945639"/>
                  <a:pt x="5658289" y="2947574"/>
                </a:cubicBezTo>
                <a:cubicBezTo>
                  <a:pt x="5656356" y="2951442"/>
                  <a:pt x="5654421" y="2955310"/>
                  <a:pt x="5652488" y="2959178"/>
                </a:cubicBezTo>
                <a:cubicBezTo>
                  <a:pt x="5654421" y="2959178"/>
                  <a:pt x="5658289" y="2959178"/>
                  <a:pt x="5660224" y="2959178"/>
                </a:cubicBezTo>
                <a:cubicBezTo>
                  <a:pt x="5660224" y="2961111"/>
                  <a:pt x="5658289" y="2963047"/>
                  <a:pt x="5658289" y="2963047"/>
                </a:cubicBezTo>
                <a:cubicBezTo>
                  <a:pt x="5667959" y="2963047"/>
                  <a:pt x="5675697" y="2959178"/>
                  <a:pt x="5687300" y="2963047"/>
                </a:cubicBezTo>
                <a:cubicBezTo>
                  <a:pt x="5650553" y="2976584"/>
                  <a:pt x="5617674" y="2978520"/>
                  <a:pt x="5582859" y="2988189"/>
                </a:cubicBezTo>
                <a:cubicBezTo>
                  <a:pt x="5586728" y="2993991"/>
                  <a:pt x="5588663" y="2999794"/>
                  <a:pt x="5590596" y="3003662"/>
                </a:cubicBezTo>
                <a:cubicBezTo>
                  <a:pt x="5590596" y="3005595"/>
                  <a:pt x="5592531" y="3007531"/>
                  <a:pt x="5594464" y="3007531"/>
                </a:cubicBezTo>
                <a:cubicBezTo>
                  <a:pt x="5600265" y="3007531"/>
                  <a:pt x="5608002" y="3009464"/>
                  <a:pt x="5613805" y="3009464"/>
                </a:cubicBezTo>
                <a:cubicBezTo>
                  <a:pt x="5646684" y="3011399"/>
                  <a:pt x="5681499" y="3013332"/>
                  <a:pt x="5714378" y="3017200"/>
                </a:cubicBezTo>
                <a:cubicBezTo>
                  <a:pt x="5716313" y="3015267"/>
                  <a:pt x="5718246" y="3011399"/>
                  <a:pt x="5722114" y="3009464"/>
                </a:cubicBezTo>
                <a:cubicBezTo>
                  <a:pt x="5722114" y="3013332"/>
                  <a:pt x="5720181" y="3017200"/>
                  <a:pt x="5720181" y="3019135"/>
                </a:cubicBezTo>
                <a:cubicBezTo>
                  <a:pt x="5729851" y="3021068"/>
                  <a:pt x="5737587" y="3023003"/>
                  <a:pt x="5747259" y="3024936"/>
                </a:cubicBezTo>
                <a:cubicBezTo>
                  <a:pt x="5753060" y="3024936"/>
                  <a:pt x="5756928" y="3024936"/>
                  <a:pt x="5762732" y="3024936"/>
                </a:cubicBezTo>
                <a:cubicBezTo>
                  <a:pt x="5758864" y="3026872"/>
                  <a:pt x="5756928" y="3028805"/>
                  <a:pt x="5754993" y="3028805"/>
                </a:cubicBezTo>
                <a:cubicBezTo>
                  <a:pt x="5756928" y="3028805"/>
                  <a:pt x="5758864" y="3032673"/>
                  <a:pt x="5764665" y="3036541"/>
                </a:cubicBezTo>
                <a:cubicBezTo>
                  <a:pt x="5754993" y="3036541"/>
                  <a:pt x="5749192" y="3036541"/>
                  <a:pt x="5745324" y="3036541"/>
                </a:cubicBezTo>
                <a:cubicBezTo>
                  <a:pt x="5689235" y="3030740"/>
                  <a:pt x="5635080" y="3026872"/>
                  <a:pt x="5578991" y="3021068"/>
                </a:cubicBezTo>
                <a:cubicBezTo>
                  <a:pt x="5577056" y="3021068"/>
                  <a:pt x="5577056" y="3021068"/>
                  <a:pt x="5575123" y="3021068"/>
                </a:cubicBezTo>
                <a:cubicBezTo>
                  <a:pt x="5577056" y="3021068"/>
                  <a:pt x="5578991" y="3023003"/>
                  <a:pt x="5577056" y="3026872"/>
                </a:cubicBezTo>
                <a:cubicBezTo>
                  <a:pt x="5567386" y="3026872"/>
                  <a:pt x="5555781" y="3024936"/>
                  <a:pt x="5544177" y="3024936"/>
                </a:cubicBezTo>
                <a:cubicBezTo>
                  <a:pt x="5548045" y="3026872"/>
                  <a:pt x="5549980" y="3028805"/>
                  <a:pt x="5551913" y="3032673"/>
                </a:cubicBezTo>
                <a:cubicBezTo>
                  <a:pt x="5530639" y="3032673"/>
                  <a:pt x="5509362" y="3036541"/>
                  <a:pt x="5490021" y="3034608"/>
                </a:cubicBezTo>
                <a:cubicBezTo>
                  <a:pt x="5488088" y="3036541"/>
                  <a:pt x="5484220" y="3038476"/>
                  <a:pt x="5480352" y="3038476"/>
                </a:cubicBezTo>
                <a:cubicBezTo>
                  <a:pt x="5478419" y="3038476"/>
                  <a:pt x="5480352" y="3036541"/>
                  <a:pt x="5480352" y="3034608"/>
                </a:cubicBezTo>
                <a:cubicBezTo>
                  <a:pt x="5478419" y="3034608"/>
                  <a:pt x="5478419" y="3034608"/>
                  <a:pt x="5476483" y="3034608"/>
                </a:cubicBezTo>
                <a:cubicBezTo>
                  <a:pt x="5474551" y="3038476"/>
                  <a:pt x="5474551" y="3044278"/>
                  <a:pt x="5474551" y="3048146"/>
                </a:cubicBezTo>
                <a:cubicBezTo>
                  <a:pt x="5482287" y="3048146"/>
                  <a:pt x="5490021" y="3048146"/>
                  <a:pt x="5497758" y="3048146"/>
                </a:cubicBezTo>
                <a:cubicBezTo>
                  <a:pt x="5507430" y="3044278"/>
                  <a:pt x="5515166" y="3042345"/>
                  <a:pt x="5524838" y="3044278"/>
                </a:cubicBezTo>
                <a:cubicBezTo>
                  <a:pt x="5526771" y="3044278"/>
                  <a:pt x="5528704" y="3042345"/>
                  <a:pt x="5530639" y="3040409"/>
                </a:cubicBezTo>
                <a:cubicBezTo>
                  <a:pt x="5536440" y="3034608"/>
                  <a:pt x="5542244" y="3038476"/>
                  <a:pt x="5548045" y="3036541"/>
                </a:cubicBezTo>
                <a:cubicBezTo>
                  <a:pt x="5548045" y="3038476"/>
                  <a:pt x="5548045" y="3038476"/>
                  <a:pt x="5548045" y="3040409"/>
                </a:cubicBezTo>
                <a:cubicBezTo>
                  <a:pt x="5549980" y="3040409"/>
                  <a:pt x="5549980" y="3042345"/>
                  <a:pt x="5551913" y="3042345"/>
                </a:cubicBezTo>
                <a:cubicBezTo>
                  <a:pt x="5555781" y="3040409"/>
                  <a:pt x="5559650" y="3040409"/>
                  <a:pt x="5563518" y="3040409"/>
                </a:cubicBezTo>
                <a:cubicBezTo>
                  <a:pt x="5565453" y="3040409"/>
                  <a:pt x="5567386" y="3040409"/>
                  <a:pt x="5569322" y="3040409"/>
                </a:cubicBezTo>
                <a:cubicBezTo>
                  <a:pt x="5578991" y="3040409"/>
                  <a:pt x="5590596" y="3040409"/>
                  <a:pt x="5600265" y="3042345"/>
                </a:cubicBezTo>
                <a:cubicBezTo>
                  <a:pt x="5600265" y="3042345"/>
                  <a:pt x="5600265" y="3040409"/>
                  <a:pt x="5600265" y="3040409"/>
                </a:cubicBezTo>
                <a:cubicBezTo>
                  <a:pt x="5600265" y="3042345"/>
                  <a:pt x="5602201" y="3042345"/>
                  <a:pt x="5602201" y="3042345"/>
                </a:cubicBezTo>
                <a:cubicBezTo>
                  <a:pt x="5602201" y="3042345"/>
                  <a:pt x="5602201" y="3044278"/>
                  <a:pt x="5602201" y="3044278"/>
                </a:cubicBezTo>
                <a:cubicBezTo>
                  <a:pt x="5606069" y="3044278"/>
                  <a:pt x="5611872" y="3046213"/>
                  <a:pt x="5617674" y="3046213"/>
                </a:cubicBezTo>
                <a:cubicBezTo>
                  <a:pt x="5615738" y="3046213"/>
                  <a:pt x="5615738" y="3044278"/>
                  <a:pt x="5613805" y="3044278"/>
                </a:cubicBezTo>
                <a:cubicBezTo>
                  <a:pt x="5619607" y="3040409"/>
                  <a:pt x="5625410" y="3038476"/>
                  <a:pt x="5633147" y="3036541"/>
                </a:cubicBezTo>
                <a:cubicBezTo>
                  <a:pt x="5631211" y="3040409"/>
                  <a:pt x="5629278" y="3044278"/>
                  <a:pt x="5627343" y="3046213"/>
                </a:cubicBezTo>
                <a:cubicBezTo>
                  <a:pt x="5637015" y="3048146"/>
                  <a:pt x="5648620" y="3050081"/>
                  <a:pt x="5658289" y="3050081"/>
                </a:cubicBezTo>
                <a:cubicBezTo>
                  <a:pt x="5669894" y="3052014"/>
                  <a:pt x="5683432" y="3052014"/>
                  <a:pt x="5696972" y="3052014"/>
                </a:cubicBezTo>
                <a:cubicBezTo>
                  <a:pt x="5710509" y="3052014"/>
                  <a:pt x="5724049" y="3053950"/>
                  <a:pt x="5735654" y="3057818"/>
                </a:cubicBezTo>
                <a:cubicBezTo>
                  <a:pt x="5735654" y="3057818"/>
                  <a:pt x="5735654" y="3055883"/>
                  <a:pt x="5735654" y="3055883"/>
                </a:cubicBezTo>
                <a:cubicBezTo>
                  <a:pt x="5735654" y="3055883"/>
                  <a:pt x="5737587" y="3057818"/>
                  <a:pt x="5737587" y="3057818"/>
                </a:cubicBezTo>
                <a:cubicBezTo>
                  <a:pt x="5739522" y="3061686"/>
                  <a:pt x="5741455" y="3057818"/>
                  <a:pt x="5743391" y="3057818"/>
                </a:cubicBezTo>
                <a:cubicBezTo>
                  <a:pt x="5745324" y="3055883"/>
                  <a:pt x="5749192" y="3053950"/>
                  <a:pt x="5751125" y="3061686"/>
                </a:cubicBezTo>
                <a:cubicBezTo>
                  <a:pt x="5745324" y="3063619"/>
                  <a:pt x="5741455" y="3063619"/>
                  <a:pt x="5735654" y="3065555"/>
                </a:cubicBezTo>
                <a:cubicBezTo>
                  <a:pt x="5735654" y="3065555"/>
                  <a:pt x="5733719" y="3067487"/>
                  <a:pt x="5731784" y="3067487"/>
                </a:cubicBezTo>
                <a:cubicBezTo>
                  <a:pt x="5735654" y="3071355"/>
                  <a:pt x="5739522" y="3075224"/>
                  <a:pt x="5745324" y="3077159"/>
                </a:cubicBezTo>
                <a:cubicBezTo>
                  <a:pt x="5753060" y="3079092"/>
                  <a:pt x="5760797" y="3079092"/>
                  <a:pt x="5768533" y="3079092"/>
                </a:cubicBezTo>
                <a:cubicBezTo>
                  <a:pt x="5772401" y="3082960"/>
                  <a:pt x="5776270" y="3086828"/>
                  <a:pt x="5782073" y="3092630"/>
                </a:cubicBezTo>
                <a:cubicBezTo>
                  <a:pt x="5776270" y="3096498"/>
                  <a:pt x="5774334" y="3098433"/>
                  <a:pt x="5770466" y="3098433"/>
                </a:cubicBezTo>
                <a:cubicBezTo>
                  <a:pt x="5733719" y="3100366"/>
                  <a:pt x="5698907" y="3102302"/>
                  <a:pt x="5662157" y="3106170"/>
                </a:cubicBezTo>
                <a:cubicBezTo>
                  <a:pt x="5652488" y="3108103"/>
                  <a:pt x="5642816" y="3111971"/>
                  <a:pt x="5633147" y="3111971"/>
                </a:cubicBezTo>
                <a:cubicBezTo>
                  <a:pt x="5629278" y="3111971"/>
                  <a:pt x="5627343" y="3111971"/>
                  <a:pt x="5623475" y="3111971"/>
                </a:cubicBezTo>
                <a:cubicBezTo>
                  <a:pt x="5627343" y="3113907"/>
                  <a:pt x="5631211" y="3115839"/>
                  <a:pt x="5635080" y="3115839"/>
                </a:cubicBezTo>
                <a:cubicBezTo>
                  <a:pt x="5638948" y="3113907"/>
                  <a:pt x="5642816" y="3113907"/>
                  <a:pt x="5648620" y="3113907"/>
                </a:cubicBezTo>
                <a:cubicBezTo>
                  <a:pt x="5646684" y="3115839"/>
                  <a:pt x="5646684" y="3117775"/>
                  <a:pt x="5644749" y="3117775"/>
                </a:cubicBezTo>
                <a:cubicBezTo>
                  <a:pt x="5646684" y="3119708"/>
                  <a:pt x="5646684" y="3119708"/>
                  <a:pt x="5648620" y="3119708"/>
                </a:cubicBezTo>
                <a:cubicBezTo>
                  <a:pt x="5656356" y="3121643"/>
                  <a:pt x="5658289" y="3129379"/>
                  <a:pt x="5652488" y="3137116"/>
                </a:cubicBezTo>
                <a:cubicBezTo>
                  <a:pt x="5650553" y="3139049"/>
                  <a:pt x="5646684" y="3139049"/>
                  <a:pt x="5644749" y="3140984"/>
                </a:cubicBezTo>
                <a:cubicBezTo>
                  <a:pt x="5644749" y="3142917"/>
                  <a:pt x="5642816" y="3142917"/>
                  <a:pt x="5642816" y="3144852"/>
                </a:cubicBezTo>
                <a:cubicBezTo>
                  <a:pt x="5646684" y="3144852"/>
                  <a:pt x="5648620" y="3144852"/>
                  <a:pt x="5652488" y="3144852"/>
                </a:cubicBezTo>
                <a:cubicBezTo>
                  <a:pt x="5654421" y="3142917"/>
                  <a:pt x="5656356" y="3140984"/>
                  <a:pt x="5658289" y="3139049"/>
                </a:cubicBezTo>
                <a:cubicBezTo>
                  <a:pt x="5662157" y="3135181"/>
                  <a:pt x="5667959" y="3137116"/>
                  <a:pt x="5669894" y="3139049"/>
                </a:cubicBezTo>
                <a:cubicBezTo>
                  <a:pt x="5669894" y="3137116"/>
                  <a:pt x="5669894" y="3137116"/>
                  <a:pt x="5669894" y="3137116"/>
                </a:cubicBezTo>
                <a:cubicBezTo>
                  <a:pt x="5673762" y="3135181"/>
                  <a:pt x="5675697" y="3135181"/>
                  <a:pt x="5677630" y="3135181"/>
                </a:cubicBezTo>
                <a:cubicBezTo>
                  <a:pt x="5677630" y="3135181"/>
                  <a:pt x="5677630" y="3137116"/>
                  <a:pt x="5677630" y="3137116"/>
                </a:cubicBezTo>
                <a:lnTo>
                  <a:pt x="5681499" y="3137116"/>
                </a:lnTo>
                <a:cubicBezTo>
                  <a:pt x="5691168" y="3139049"/>
                  <a:pt x="5698907" y="3139049"/>
                  <a:pt x="5708576" y="3139049"/>
                </a:cubicBezTo>
                <a:cubicBezTo>
                  <a:pt x="5743391" y="3135181"/>
                  <a:pt x="5776270" y="3133248"/>
                  <a:pt x="5809149" y="3135181"/>
                </a:cubicBezTo>
                <a:cubicBezTo>
                  <a:pt x="5816885" y="3135181"/>
                  <a:pt x="5822689" y="3133248"/>
                  <a:pt x="5830425" y="3131312"/>
                </a:cubicBezTo>
                <a:cubicBezTo>
                  <a:pt x="5845898" y="3127444"/>
                  <a:pt x="5861369" y="3123576"/>
                  <a:pt x="5876842" y="3119708"/>
                </a:cubicBezTo>
                <a:cubicBezTo>
                  <a:pt x="5882645" y="3119708"/>
                  <a:pt x="5888447" y="3121643"/>
                  <a:pt x="5894250" y="3123576"/>
                </a:cubicBezTo>
                <a:cubicBezTo>
                  <a:pt x="5894250" y="3125511"/>
                  <a:pt x="5896183" y="3127444"/>
                  <a:pt x="5896183" y="3129379"/>
                </a:cubicBezTo>
                <a:cubicBezTo>
                  <a:pt x="5894250" y="3131312"/>
                  <a:pt x="5894250" y="3133248"/>
                  <a:pt x="5892317" y="3135181"/>
                </a:cubicBezTo>
                <a:cubicBezTo>
                  <a:pt x="5886514" y="3139049"/>
                  <a:pt x="5874909" y="3133248"/>
                  <a:pt x="5871041" y="3144852"/>
                </a:cubicBezTo>
                <a:cubicBezTo>
                  <a:pt x="5872976" y="3152589"/>
                  <a:pt x="5876842" y="3152589"/>
                  <a:pt x="5882645" y="3152589"/>
                </a:cubicBezTo>
                <a:cubicBezTo>
                  <a:pt x="5907788" y="3152589"/>
                  <a:pt x="5930997" y="3154522"/>
                  <a:pt x="5956142" y="3162259"/>
                </a:cubicBezTo>
                <a:cubicBezTo>
                  <a:pt x="5932933" y="3160326"/>
                  <a:pt x="5907788" y="3160326"/>
                  <a:pt x="5884578" y="3160326"/>
                </a:cubicBezTo>
                <a:cubicBezTo>
                  <a:pt x="5872976" y="3160326"/>
                  <a:pt x="5863304" y="3160326"/>
                  <a:pt x="5853635" y="3162259"/>
                </a:cubicBezTo>
                <a:cubicBezTo>
                  <a:pt x="5842028" y="3164194"/>
                  <a:pt x="5832358" y="3166127"/>
                  <a:pt x="5820753" y="3164194"/>
                </a:cubicBezTo>
                <a:cubicBezTo>
                  <a:pt x="5814952" y="3164194"/>
                  <a:pt x="5809149" y="3168060"/>
                  <a:pt x="5797544" y="3169995"/>
                </a:cubicBezTo>
                <a:cubicBezTo>
                  <a:pt x="5805280" y="3173863"/>
                  <a:pt x="5807216" y="3175796"/>
                  <a:pt x="5809149" y="3175796"/>
                </a:cubicBezTo>
                <a:cubicBezTo>
                  <a:pt x="5824622" y="3181600"/>
                  <a:pt x="5843963" y="3171930"/>
                  <a:pt x="5855568" y="3189336"/>
                </a:cubicBezTo>
                <a:cubicBezTo>
                  <a:pt x="5869108" y="3189336"/>
                  <a:pt x="5884578" y="3189336"/>
                  <a:pt x="5898118" y="3189336"/>
                </a:cubicBezTo>
                <a:cubicBezTo>
                  <a:pt x="5938734" y="3191269"/>
                  <a:pt x="5977417" y="3193204"/>
                  <a:pt x="6018032" y="3195137"/>
                </a:cubicBezTo>
                <a:cubicBezTo>
                  <a:pt x="6025769" y="3195137"/>
                  <a:pt x="6033505" y="3197073"/>
                  <a:pt x="6043177" y="3199006"/>
                </a:cubicBezTo>
                <a:cubicBezTo>
                  <a:pt x="6039306" y="3202874"/>
                  <a:pt x="6039306" y="3204809"/>
                  <a:pt x="6037373" y="3204809"/>
                </a:cubicBezTo>
                <a:cubicBezTo>
                  <a:pt x="6010295" y="3208678"/>
                  <a:pt x="5983218" y="3218347"/>
                  <a:pt x="5956142" y="3218347"/>
                </a:cubicBezTo>
                <a:cubicBezTo>
                  <a:pt x="5938734" y="3218347"/>
                  <a:pt x="5919393" y="3218347"/>
                  <a:pt x="5901987" y="3218347"/>
                </a:cubicBezTo>
                <a:cubicBezTo>
                  <a:pt x="5900051" y="3218347"/>
                  <a:pt x="5900051" y="3218347"/>
                  <a:pt x="5898118" y="3218347"/>
                </a:cubicBezTo>
                <a:cubicBezTo>
                  <a:pt x="5896183" y="3220282"/>
                  <a:pt x="5892317" y="3220282"/>
                  <a:pt x="5890382" y="3222215"/>
                </a:cubicBezTo>
                <a:cubicBezTo>
                  <a:pt x="5890382" y="3220282"/>
                  <a:pt x="5890382" y="3220282"/>
                  <a:pt x="5890382" y="3218347"/>
                </a:cubicBezTo>
                <a:lnTo>
                  <a:pt x="5853635" y="3218347"/>
                </a:lnTo>
                <a:cubicBezTo>
                  <a:pt x="5849766" y="3226084"/>
                  <a:pt x="5845898" y="3228019"/>
                  <a:pt x="5838159" y="3228019"/>
                </a:cubicBezTo>
                <a:cubicBezTo>
                  <a:pt x="5832358" y="3228019"/>
                  <a:pt x="5828490" y="3228019"/>
                  <a:pt x="5822689" y="3228019"/>
                </a:cubicBezTo>
                <a:cubicBezTo>
                  <a:pt x="5822689" y="3229952"/>
                  <a:pt x="5822689" y="3231887"/>
                  <a:pt x="5822689" y="3231887"/>
                </a:cubicBezTo>
                <a:cubicBezTo>
                  <a:pt x="5832358" y="3231887"/>
                  <a:pt x="5842028" y="3233820"/>
                  <a:pt x="5851699" y="3233820"/>
                </a:cubicBezTo>
                <a:cubicBezTo>
                  <a:pt x="5857501" y="3235755"/>
                  <a:pt x="5863304" y="3235755"/>
                  <a:pt x="5869108" y="3235755"/>
                </a:cubicBezTo>
                <a:cubicBezTo>
                  <a:pt x="5871041" y="3235755"/>
                  <a:pt x="5874909" y="3237688"/>
                  <a:pt x="5874909" y="3235755"/>
                </a:cubicBezTo>
                <a:cubicBezTo>
                  <a:pt x="5882645" y="3226084"/>
                  <a:pt x="5890382" y="3229952"/>
                  <a:pt x="5898118" y="3229952"/>
                </a:cubicBezTo>
                <a:cubicBezTo>
                  <a:pt x="5903920" y="3229952"/>
                  <a:pt x="5909723" y="3228019"/>
                  <a:pt x="5915524" y="3228019"/>
                </a:cubicBezTo>
                <a:cubicBezTo>
                  <a:pt x="5923261" y="3228019"/>
                  <a:pt x="5932933" y="3228019"/>
                  <a:pt x="5942602" y="3229952"/>
                </a:cubicBezTo>
                <a:cubicBezTo>
                  <a:pt x="5938734" y="3229952"/>
                  <a:pt x="5936801" y="3231887"/>
                  <a:pt x="5930997" y="3233820"/>
                </a:cubicBezTo>
                <a:cubicBezTo>
                  <a:pt x="5934866" y="3233820"/>
                  <a:pt x="5936801" y="3235755"/>
                  <a:pt x="5942602" y="3235755"/>
                </a:cubicBezTo>
                <a:cubicBezTo>
                  <a:pt x="5937768" y="3236722"/>
                  <a:pt x="5933899" y="3238655"/>
                  <a:pt x="5930998" y="3242040"/>
                </a:cubicBezTo>
                <a:lnTo>
                  <a:pt x="5927996" y="3249793"/>
                </a:lnTo>
                <a:lnTo>
                  <a:pt x="5926645" y="3250018"/>
                </a:lnTo>
                <a:cubicBezTo>
                  <a:pt x="5925678" y="3250743"/>
                  <a:pt x="5925194" y="3252194"/>
                  <a:pt x="5925194" y="3255094"/>
                </a:cubicBezTo>
                <a:lnTo>
                  <a:pt x="5926416" y="3253872"/>
                </a:lnTo>
                <a:lnTo>
                  <a:pt x="5925194" y="3257029"/>
                </a:lnTo>
                <a:cubicBezTo>
                  <a:pt x="5946470" y="3258965"/>
                  <a:pt x="5967745" y="3260898"/>
                  <a:pt x="5989021" y="3262831"/>
                </a:cubicBezTo>
                <a:cubicBezTo>
                  <a:pt x="5989021" y="3266699"/>
                  <a:pt x="5987086" y="3268634"/>
                  <a:pt x="5987086" y="3270570"/>
                </a:cubicBezTo>
                <a:cubicBezTo>
                  <a:pt x="5987086" y="3272503"/>
                  <a:pt x="5985153" y="3274436"/>
                  <a:pt x="5983218" y="3276371"/>
                </a:cubicBezTo>
                <a:cubicBezTo>
                  <a:pt x="5981285" y="3280239"/>
                  <a:pt x="5977417" y="3284107"/>
                  <a:pt x="5973548" y="3280239"/>
                </a:cubicBezTo>
                <a:cubicBezTo>
                  <a:pt x="5965812" y="3272503"/>
                  <a:pt x="5960011" y="3280239"/>
                  <a:pt x="5952272" y="3282172"/>
                </a:cubicBezTo>
                <a:cubicBezTo>
                  <a:pt x="5954207" y="3287975"/>
                  <a:pt x="5956142" y="3291844"/>
                  <a:pt x="5958075" y="3297645"/>
                </a:cubicBezTo>
                <a:cubicBezTo>
                  <a:pt x="5960011" y="3301513"/>
                  <a:pt x="5969680" y="3303448"/>
                  <a:pt x="5973548" y="3301513"/>
                </a:cubicBezTo>
                <a:cubicBezTo>
                  <a:pt x="5979352" y="3299580"/>
                  <a:pt x="5979352" y="3299580"/>
                  <a:pt x="5985153" y="3301513"/>
                </a:cubicBezTo>
                <a:cubicBezTo>
                  <a:pt x="5981285" y="3305381"/>
                  <a:pt x="5977417" y="3307317"/>
                  <a:pt x="5973548" y="3309250"/>
                </a:cubicBezTo>
                <a:cubicBezTo>
                  <a:pt x="5975481" y="3313118"/>
                  <a:pt x="5975481" y="3316986"/>
                  <a:pt x="5977417" y="3320855"/>
                </a:cubicBezTo>
                <a:cubicBezTo>
                  <a:pt x="5983218" y="3318922"/>
                  <a:pt x="5989021" y="3316986"/>
                  <a:pt x="5994822" y="3316986"/>
                </a:cubicBezTo>
                <a:cubicBezTo>
                  <a:pt x="6006427" y="3316986"/>
                  <a:pt x="6018032" y="3315053"/>
                  <a:pt x="6027704" y="3322790"/>
                </a:cubicBezTo>
                <a:cubicBezTo>
                  <a:pt x="6023836" y="3322790"/>
                  <a:pt x="6019967" y="3322790"/>
                  <a:pt x="6016099" y="3322790"/>
                </a:cubicBezTo>
                <a:cubicBezTo>
                  <a:pt x="6012228" y="3322790"/>
                  <a:pt x="6008363" y="3324723"/>
                  <a:pt x="6004494" y="3324723"/>
                </a:cubicBezTo>
                <a:cubicBezTo>
                  <a:pt x="6002559" y="3326658"/>
                  <a:pt x="5998691" y="3326658"/>
                  <a:pt x="5996758" y="3326658"/>
                </a:cubicBezTo>
                <a:cubicBezTo>
                  <a:pt x="5989021" y="3326658"/>
                  <a:pt x="5987086" y="3328591"/>
                  <a:pt x="5985153" y="3340196"/>
                </a:cubicBezTo>
                <a:cubicBezTo>
                  <a:pt x="5979352" y="3338263"/>
                  <a:pt x="5975481" y="3334395"/>
                  <a:pt x="5971613" y="3330527"/>
                </a:cubicBezTo>
                <a:cubicBezTo>
                  <a:pt x="5971613" y="3332459"/>
                  <a:pt x="5969680" y="3336328"/>
                  <a:pt x="5967745" y="3338263"/>
                </a:cubicBezTo>
                <a:cubicBezTo>
                  <a:pt x="5954207" y="3340196"/>
                  <a:pt x="5938734" y="3340196"/>
                  <a:pt x="5925194" y="3342129"/>
                </a:cubicBezTo>
                <a:cubicBezTo>
                  <a:pt x="5923261" y="3342129"/>
                  <a:pt x="5923261" y="3342129"/>
                  <a:pt x="5921328" y="3344064"/>
                </a:cubicBezTo>
                <a:cubicBezTo>
                  <a:pt x="5929065" y="3351801"/>
                  <a:pt x="5940669" y="3344064"/>
                  <a:pt x="5948403" y="3349865"/>
                </a:cubicBezTo>
                <a:cubicBezTo>
                  <a:pt x="5934866" y="3349865"/>
                  <a:pt x="5923261" y="3351801"/>
                  <a:pt x="5909723" y="3351801"/>
                </a:cubicBezTo>
                <a:cubicBezTo>
                  <a:pt x="5909723" y="3359537"/>
                  <a:pt x="5909723" y="3365338"/>
                  <a:pt x="5907788" y="3373075"/>
                </a:cubicBezTo>
                <a:cubicBezTo>
                  <a:pt x="5929065" y="3375010"/>
                  <a:pt x="5948403" y="3375010"/>
                  <a:pt x="5969680" y="3376943"/>
                </a:cubicBezTo>
                <a:cubicBezTo>
                  <a:pt x="6048978" y="3382747"/>
                  <a:pt x="6021900" y="3473649"/>
                  <a:pt x="5942602" y="3477518"/>
                </a:cubicBezTo>
                <a:cubicBezTo>
                  <a:pt x="5907788" y="3479451"/>
                  <a:pt x="5900051" y="3502660"/>
                  <a:pt x="5867172" y="3504595"/>
                </a:cubicBezTo>
                <a:cubicBezTo>
                  <a:pt x="5861369" y="3520068"/>
                  <a:pt x="5847831" y="3535539"/>
                  <a:pt x="5824622" y="3541343"/>
                </a:cubicBezTo>
                <a:cubicBezTo>
                  <a:pt x="5789807" y="3551012"/>
                  <a:pt x="5754993" y="3558749"/>
                  <a:pt x="5720181" y="3568420"/>
                </a:cubicBezTo>
                <a:cubicBezTo>
                  <a:pt x="5720181" y="3568420"/>
                  <a:pt x="5722114" y="3568420"/>
                  <a:pt x="5722114" y="3568420"/>
                </a:cubicBezTo>
                <a:cubicBezTo>
                  <a:pt x="5735654" y="3568420"/>
                  <a:pt x="5749192" y="3568420"/>
                  <a:pt x="5762732" y="3568420"/>
                </a:cubicBezTo>
                <a:cubicBezTo>
                  <a:pt x="5784006" y="3568420"/>
                  <a:pt x="5803347" y="3566485"/>
                  <a:pt x="5824622" y="3564552"/>
                </a:cubicBezTo>
                <a:cubicBezTo>
                  <a:pt x="5828490" y="3564552"/>
                  <a:pt x="5830425" y="3562617"/>
                  <a:pt x="5834293" y="3562617"/>
                </a:cubicBezTo>
                <a:cubicBezTo>
                  <a:pt x="5845898" y="3562617"/>
                  <a:pt x="5857501" y="3570353"/>
                  <a:pt x="5855568" y="3576157"/>
                </a:cubicBezTo>
                <a:cubicBezTo>
                  <a:pt x="5851699" y="3585826"/>
                  <a:pt x="5843963" y="3583894"/>
                  <a:pt x="5836226" y="3583894"/>
                </a:cubicBezTo>
                <a:cubicBezTo>
                  <a:pt x="5811084" y="3585826"/>
                  <a:pt x="5787874" y="3587762"/>
                  <a:pt x="5762732" y="3589695"/>
                </a:cubicBezTo>
                <a:cubicBezTo>
                  <a:pt x="5754993" y="3589695"/>
                  <a:pt x="5749192" y="3589695"/>
                  <a:pt x="5741455" y="3589695"/>
                </a:cubicBezTo>
                <a:cubicBezTo>
                  <a:pt x="5727918" y="3587762"/>
                  <a:pt x="5716313" y="3589695"/>
                  <a:pt x="5702773" y="3593563"/>
                </a:cubicBezTo>
                <a:cubicBezTo>
                  <a:pt x="5708576" y="3593563"/>
                  <a:pt x="5712445" y="3595498"/>
                  <a:pt x="5716313" y="3597431"/>
                </a:cubicBezTo>
                <a:cubicBezTo>
                  <a:pt x="5716313" y="3597431"/>
                  <a:pt x="5718246" y="3597431"/>
                  <a:pt x="5718246" y="3597431"/>
                </a:cubicBezTo>
                <a:cubicBezTo>
                  <a:pt x="5733719" y="3595498"/>
                  <a:pt x="5749192" y="3593563"/>
                  <a:pt x="5762732" y="3589695"/>
                </a:cubicBezTo>
                <a:cubicBezTo>
                  <a:pt x="5758864" y="3593563"/>
                  <a:pt x="5753060" y="3597431"/>
                  <a:pt x="5749192" y="3599367"/>
                </a:cubicBezTo>
                <a:cubicBezTo>
                  <a:pt x="5754993" y="3601299"/>
                  <a:pt x="5762732" y="3603235"/>
                  <a:pt x="5768533" y="3605168"/>
                </a:cubicBezTo>
                <a:cubicBezTo>
                  <a:pt x="5770466" y="3607103"/>
                  <a:pt x="5772401" y="3607103"/>
                  <a:pt x="5774334" y="3607103"/>
                </a:cubicBezTo>
                <a:cubicBezTo>
                  <a:pt x="5776270" y="3610969"/>
                  <a:pt x="5782073" y="3610969"/>
                  <a:pt x="5785941" y="3610969"/>
                </a:cubicBezTo>
                <a:cubicBezTo>
                  <a:pt x="5789807" y="3614840"/>
                  <a:pt x="5793676" y="3616773"/>
                  <a:pt x="5797544" y="3620641"/>
                </a:cubicBezTo>
                <a:cubicBezTo>
                  <a:pt x="5803347" y="3626444"/>
                  <a:pt x="5803347" y="3632246"/>
                  <a:pt x="5799479" y="3639982"/>
                </a:cubicBezTo>
                <a:cubicBezTo>
                  <a:pt x="5795611" y="3641915"/>
                  <a:pt x="5793676" y="3641915"/>
                  <a:pt x="5789807" y="3641915"/>
                </a:cubicBezTo>
                <a:cubicBezTo>
                  <a:pt x="5789807" y="3638049"/>
                  <a:pt x="5791743" y="3634178"/>
                  <a:pt x="5793676" y="3630310"/>
                </a:cubicBezTo>
                <a:cubicBezTo>
                  <a:pt x="5787874" y="3622574"/>
                  <a:pt x="5782073" y="3616773"/>
                  <a:pt x="5772401" y="3616773"/>
                </a:cubicBezTo>
                <a:cubicBezTo>
                  <a:pt x="5768533" y="3616773"/>
                  <a:pt x="5766600" y="3614840"/>
                  <a:pt x="5762732" y="3612904"/>
                </a:cubicBezTo>
                <a:cubicBezTo>
                  <a:pt x="5758864" y="3610969"/>
                  <a:pt x="5754993" y="3607103"/>
                  <a:pt x="5749192" y="3607103"/>
                </a:cubicBezTo>
                <a:cubicBezTo>
                  <a:pt x="5739522" y="3607103"/>
                  <a:pt x="5731784" y="3605168"/>
                  <a:pt x="5722114" y="3605168"/>
                </a:cubicBezTo>
                <a:cubicBezTo>
                  <a:pt x="5710509" y="3605168"/>
                  <a:pt x="5696972" y="3607103"/>
                  <a:pt x="5687300" y="3616773"/>
                </a:cubicBezTo>
                <a:cubicBezTo>
                  <a:pt x="5681499" y="3612904"/>
                  <a:pt x="5677630" y="3610969"/>
                  <a:pt x="5671829" y="3610969"/>
                </a:cubicBezTo>
                <a:cubicBezTo>
                  <a:pt x="5669894" y="3612904"/>
                  <a:pt x="5667959" y="3612904"/>
                  <a:pt x="5667959" y="3614840"/>
                </a:cubicBezTo>
                <a:cubicBezTo>
                  <a:pt x="5666026" y="3618708"/>
                  <a:pt x="5666026" y="3622574"/>
                  <a:pt x="5666026" y="3624509"/>
                </a:cubicBezTo>
                <a:cubicBezTo>
                  <a:pt x="5671829" y="3624509"/>
                  <a:pt x="5675697" y="3626444"/>
                  <a:pt x="5681499" y="3628377"/>
                </a:cubicBezTo>
                <a:cubicBezTo>
                  <a:pt x="5677630" y="3630310"/>
                  <a:pt x="5673762" y="3630310"/>
                  <a:pt x="5669894" y="3632246"/>
                </a:cubicBezTo>
                <a:cubicBezTo>
                  <a:pt x="5671829" y="3634178"/>
                  <a:pt x="5673762" y="3634178"/>
                  <a:pt x="5675697" y="3636114"/>
                </a:cubicBezTo>
                <a:cubicBezTo>
                  <a:pt x="5679566" y="3641915"/>
                  <a:pt x="5685367" y="3647719"/>
                  <a:pt x="5689235" y="3653520"/>
                </a:cubicBezTo>
                <a:cubicBezTo>
                  <a:pt x="5687300" y="3661256"/>
                  <a:pt x="5679566" y="3653520"/>
                  <a:pt x="5675697" y="3659323"/>
                </a:cubicBezTo>
                <a:cubicBezTo>
                  <a:pt x="5677630" y="3661256"/>
                  <a:pt x="5679566" y="3663192"/>
                  <a:pt x="5681499" y="3665125"/>
                </a:cubicBezTo>
                <a:cubicBezTo>
                  <a:pt x="5693103" y="3663192"/>
                  <a:pt x="5704708" y="3659323"/>
                  <a:pt x="5716313" y="3657388"/>
                </a:cubicBezTo>
                <a:cubicBezTo>
                  <a:pt x="5725982" y="3655455"/>
                  <a:pt x="5737587" y="3653520"/>
                  <a:pt x="5747259" y="3653520"/>
                </a:cubicBezTo>
                <a:cubicBezTo>
                  <a:pt x="5747259" y="3657388"/>
                  <a:pt x="5747259" y="3659323"/>
                  <a:pt x="5747259" y="3663192"/>
                </a:cubicBezTo>
                <a:cubicBezTo>
                  <a:pt x="5727918" y="3670928"/>
                  <a:pt x="5708576" y="3670928"/>
                  <a:pt x="5689235" y="3670928"/>
                </a:cubicBezTo>
                <a:cubicBezTo>
                  <a:pt x="5691168" y="3672861"/>
                  <a:pt x="5693103" y="3674796"/>
                  <a:pt x="5695036" y="3676729"/>
                </a:cubicBezTo>
                <a:cubicBezTo>
                  <a:pt x="5696972" y="3676729"/>
                  <a:pt x="5696972" y="3678665"/>
                  <a:pt x="5696972" y="3678665"/>
                </a:cubicBezTo>
                <a:cubicBezTo>
                  <a:pt x="5698907" y="3678665"/>
                  <a:pt x="5700840" y="3678665"/>
                  <a:pt x="5702773" y="3678665"/>
                </a:cubicBezTo>
                <a:cubicBezTo>
                  <a:pt x="5702773" y="3680598"/>
                  <a:pt x="5702773" y="3682533"/>
                  <a:pt x="5704708" y="3684466"/>
                </a:cubicBezTo>
                <a:cubicBezTo>
                  <a:pt x="5708576" y="3684466"/>
                  <a:pt x="5710509" y="3684466"/>
                  <a:pt x="5712445" y="3684466"/>
                </a:cubicBezTo>
                <a:cubicBezTo>
                  <a:pt x="5710509" y="3688334"/>
                  <a:pt x="5712445" y="3692202"/>
                  <a:pt x="5716313" y="3692202"/>
                </a:cubicBezTo>
                <a:cubicBezTo>
                  <a:pt x="5716313" y="3692202"/>
                  <a:pt x="5718246" y="3692202"/>
                  <a:pt x="5718246" y="3692202"/>
                </a:cubicBezTo>
                <a:cubicBezTo>
                  <a:pt x="5722114" y="3688334"/>
                  <a:pt x="5727918" y="3686401"/>
                  <a:pt x="5731784" y="3686401"/>
                </a:cubicBezTo>
                <a:cubicBezTo>
                  <a:pt x="5739522" y="3686401"/>
                  <a:pt x="5745324" y="3688334"/>
                  <a:pt x="5753060" y="3686401"/>
                </a:cubicBezTo>
                <a:cubicBezTo>
                  <a:pt x="5785941" y="3678665"/>
                  <a:pt x="5820753" y="3672861"/>
                  <a:pt x="5853635" y="3668993"/>
                </a:cubicBezTo>
                <a:cubicBezTo>
                  <a:pt x="5890382" y="3665125"/>
                  <a:pt x="5927129" y="3667060"/>
                  <a:pt x="5963876" y="3670928"/>
                </a:cubicBezTo>
                <a:cubicBezTo>
                  <a:pt x="5965812" y="3678665"/>
                  <a:pt x="5960011" y="3678665"/>
                  <a:pt x="5956142" y="3678665"/>
                </a:cubicBezTo>
                <a:cubicBezTo>
                  <a:pt x="5942602" y="3680598"/>
                  <a:pt x="5930997" y="3682533"/>
                  <a:pt x="5919393" y="3686401"/>
                </a:cubicBezTo>
                <a:cubicBezTo>
                  <a:pt x="5911656" y="3690269"/>
                  <a:pt x="5905855" y="3682533"/>
                  <a:pt x="5900051" y="3682533"/>
                </a:cubicBezTo>
                <a:cubicBezTo>
                  <a:pt x="5896183" y="3682533"/>
                  <a:pt x="5892317" y="3694138"/>
                  <a:pt x="5884578" y="3686401"/>
                </a:cubicBezTo>
                <a:cubicBezTo>
                  <a:pt x="5882645" y="3684466"/>
                  <a:pt x="5876842" y="3682533"/>
                  <a:pt x="5872976" y="3684466"/>
                </a:cubicBezTo>
                <a:cubicBezTo>
                  <a:pt x="5865237" y="3688334"/>
                  <a:pt x="5859436" y="3688334"/>
                  <a:pt x="5851699" y="3684466"/>
                </a:cubicBezTo>
                <a:cubicBezTo>
                  <a:pt x="5842028" y="3678665"/>
                  <a:pt x="5830425" y="3678665"/>
                  <a:pt x="5822689" y="3686401"/>
                </a:cubicBezTo>
                <a:cubicBezTo>
                  <a:pt x="5813017" y="3696071"/>
                  <a:pt x="5799479" y="3694138"/>
                  <a:pt x="5787874" y="3696071"/>
                </a:cubicBezTo>
                <a:cubicBezTo>
                  <a:pt x="5776270" y="3698004"/>
                  <a:pt x="5762732" y="3698004"/>
                  <a:pt x="5751125" y="3699939"/>
                </a:cubicBezTo>
                <a:cubicBezTo>
                  <a:pt x="5756928" y="3699939"/>
                  <a:pt x="5762732" y="3701874"/>
                  <a:pt x="5768533" y="3703807"/>
                </a:cubicBezTo>
                <a:cubicBezTo>
                  <a:pt x="5774334" y="3705742"/>
                  <a:pt x="5778203" y="3705742"/>
                  <a:pt x="5784006" y="3705742"/>
                </a:cubicBezTo>
                <a:cubicBezTo>
                  <a:pt x="5797544" y="3703807"/>
                  <a:pt x="5811084" y="3709608"/>
                  <a:pt x="5822689" y="3713479"/>
                </a:cubicBezTo>
                <a:cubicBezTo>
                  <a:pt x="5824622" y="3715412"/>
                  <a:pt x="5826557" y="3715412"/>
                  <a:pt x="5828490" y="3715412"/>
                </a:cubicBezTo>
                <a:cubicBezTo>
                  <a:pt x="5830425" y="3719280"/>
                  <a:pt x="5836226" y="3719280"/>
                  <a:pt x="5840095" y="3719280"/>
                </a:cubicBezTo>
                <a:cubicBezTo>
                  <a:pt x="5843963" y="3723148"/>
                  <a:pt x="5847831" y="3725084"/>
                  <a:pt x="5851699" y="3728950"/>
                </a:cubicBezTo>
                <a:cubicBezTo>
                  <a:pt x="5857501" y="3734753"/>
                  <a:pt x="5857501" y="3740554"/>
                  <a:pt x="5853635" y="3748291"/>
                </a:cubicBezTo>
                <a:cubicBezTo>
                  <a:pt x="5849766" y="3750226"/>
                  <a:pt x="5847831" y="3750226"/>
                  <a:pt x="5843963" y="3750226"/>
                </a:cubicBezTo>
                <a:cubicBezTo>
                  <a:pt x="5843963" y="3746358"/>
                  <a:pt x="5845898" y="3742490"/>
                  <a:pt x="5847831" y="3738621"/>
                </a:cubicBezTo>
                <a:cubicBezTo>
                  <a:pt x="5842028" y="3730885"/>
                  <a:pt x="5836226" y="3725084"/>
                  <a:pt x="5826557" y="3725084"/>
                </a:cubicBezTo>
                <a:cubicBezTo>
                  <a:pt x="5822689" y="3725084"/>
                  <a:pt x="5820753" y="3723148"/>
                  <a:pt x="5816885" y="3721213"/>
                </a:cubicBezTo>
                <a:cubicBezTo>
                  <a:pt x="5813017" y="3719280"/>
                  <a:pt x="5809149" y="3715412"/>
                  <a:pt x="5803347" y="3715412"/>
                </a:cubicBezTo>
                <a:cubicBezTo>
                  <a:pt x="5785941" y="3715412"/>
                  <a:pt x="5770466" y="3711544"/>
                  <a:pt x="5754993" y="3713479"/>
                </a:cubicBezTo>
                <a:cubicBezTo>
                  <a:pt x="5749192" y="3713479"/>
                  <a:pt x="5743391" y="3715412"/>
                  <a:pt x="5737587" y="3711544"/>
                </a:cubicBezTo>
                <a:cubicBezTo>
                  <a:pt x="5739522" y="3711544"/>
                  <a:pt x="5741455" y="3709608"/>
                  <a:pt x="5743391" y="3709608"/>
                </a:cubicBezTo>
                <a:cubicBezTo>
                  <a:pt x="5743391" y="3709608"/>
                  <a:pt x="5743391" y="3707675"/>
                  <a:pt x="5743391" y="3707675"/>
                </a:cubicBezTo>
                <a:cubicBezTo>
                  <a:pt x="5739522" y="3707675"/>
                  <a:pt x="5733719" y="3707675"/>
                  <a:pt x="5729851" y="3707675"/>
                </a:cubicBezTo>
                <a:cubicBezTo>
                  <a:pt x="5716313" y="3711544"/>
                  <a:pt x="5702773" y="3715412"/>
                  <a:pt x="5689235" y="3717345"/>
                </a:cubicBezTo>
                <a:cubicBezTo>
                  <a:pt x="5687300" y="3719280"/>
                  <a:pt x="5685367" y="3721213"/>
                  <a:pt x="5685367" y="3723148"/>
                </a:cubicBezTo>
                <a:cubicBezTo>
                  <a:pt x="5685367" y="3725084"/>
                  <a:pt x="5683432" y="3728950"/>
                  <a:pt x="5683432" y="3730885"/>
                </a:cubicBezTo>
                <a:cubicBezTo>
                  <a:pt x="5673762" y="3728950"/>
                  <a:pt x="5667959" y="3727017"/>
                  <a:pt x="5660224" y="3725084"/>
                </a:cubicBezTo>
                <a:cubicBezTo>
                  <a:pt x="5658289" y="3725084"/>
                  <a:pt x="5656356" y="3727017"/>
                  <a:pt x="5654421" y="3728950"/>
                </a:cubicBezTo>
                <a:cubicBezTo>
                  <a:pt x="5652488" y="3734753"/>
                  <a:pt x="5650553" y="3736686"/>
                  <a:pt x="5644749" y="3736686"/>
                </a:cubicBezTo>
                <a:cubicBezTo>
                  <a:pt x="5640883" y="3738621"/>
                  <a:pt x="5635080" y="3738621"/>
                  <a:pt x="5631211" y="3738621"/>
                </a:cubicBezTo>
                <a:cubicBezTo>
                  <a:pt x="5621542" y="3736686"/>
                  <a:pt x="5613805" y="3738621"/>
                  <a:pt x="5606069" y="3742490"/>
                </a:cubicBezTo>
                <a:cubicBezTo>
                  <a:pt x="5625410" y="3742490"/>
                  <a:pt x="5646684" y="3740554"/>
                  <a:pt x="5666026" y="3736686"/>
                </a:cubicBezTo>
                <a:cubicBezTo>
                  <a:pt x="5675697" y="3734753"/>
                  <a:pt x="5685367" y="3732818"/>
                  <a:pt x="5695036" y="3736686"/>
                </a:cubicBezTo>
                <a:cubicBezTo>
                  <a:pt x="5695036" y="3738621"/>
                  <a:pt x="5695036" y="3740554"/>
                  <a:pt x="5695036" y="3740554"/>
                </a:cubicBezTo>
                <a:cubicBezTo>
                  <a:pt x="5671829" y="3756027"/>
                  <a:pt x="5650553" y="3769567"/>
                  <a:pt x="5621542" y="3769567"/>
                </a:cubicBezTo>
                <a:cubicBezTo>
                  <a:pt x="5598332" y="3769567"/>
                  <a:pt x="5577056" y="3775369"/>
                  <a:pt x="5553849" y="3781172"/>
                </a:cubicBezTo>
                <a:cubicBezTo>
                  <a:pt x="5567386" y="3781172"/>
                  <a:pt x="5580924" y="3781172"/>
                  <a:pt x="5598332" y="3779237"/>
                </a:cubicBezTo>
                <a:cubicBezTo>
                  <a:pt x="5590596" y="3790842"/>
                  <a:pt x="5577056" y="3785038"/>
                  <a:pt x="5573190" y="3792777"/>
                </a:cubicBezTo>
                <a:cubicBezTo>
                  <a:pt x="5569322" y="3800514"/>
                  <a:pt x="5563518" y="3804379"/>
                  <a:pt x="5557714" y="3806315"/>
                </a:cubicBezTo>
                <a:cubicBezTo>
                  <a:pt x="5580924" y="3806315"/>
                  <a:pt x="5606069" y="3806315"/>
                  <a:pt x="5629278" y="3806315"/>
                </a:cubicBezTo>
                <a:cubicBezTo>
                  <a:pt x="5637015" y="3806315"/>
                  <a:pt x="5642816" y="3804379"/>
                  <a:pt x="5650553" y="3804379"/>
                </a:cubicBezTo>
                <a:cubicBezTo>
                  <a:pt x="5652488" y="3808248"/>
                  <a:pt x="5650553" y="3812118"/>
                  <a:pt x="5646684" y="3812118"/>
                </a:cubicBezTo>
                <a:cubicBezTo>
                  <a:pt x="5650553" y="3812118"/>
                  <a:pt x="5652488" y="3812118"/>
                  <a:pt x="5656356" y="3814051"/>
                </a:cubicBezTo>
                <a:cubicBezTo>
                  <a:pt x="5660224" y="3815984"/>
                  <a:pt x="5664090" y="3817919"/>
                  <a:pt x="5669894" y="3819852"/>
                </a:cubicBezTo>
                <a:cubicBezTo>
                  <a:pt x="5671829" y="3815984"/>
                  <a:pt x="5673762" y="3808248"/>
                  <a:pt x="5675697" y="3808248"/>
                </a:cubicBezTo>
                <a:cubicBezTo>
                  <a:pt x="5679566" y="3806315"/>
                  <a:pt x="5685367" y="3806315"/>
                  <a:pt x="5691168" y="3804379"/>
                </a:cubicBezTo>
                <a:cubicBezTo>
                  <a:pt x="5691168" y="3804379"/>
                  <a:pt x="5689235" y="3804379"/>
                  <a:pt x="5687300" y="3804379"/>
                </a:cubicBezTo>
                <a:cubicBezTo>
                  <a:pt x="5681499" y="3804379"/>
                  <a:pt x="5675697" y="3804379"/>
                  <a:pt x="5669894" y="3802446"/>
                </a:cubicBezTo>
                <a:cubicBezTo>
                  <a:pt x="5687300" y="3800514"/>
                  <a:pt x="5702773" y="3798578"/>
                  <a:pt x="5718246" y="3796643"/>
                </a:cubicBezTo>
                <a:cubicBezTo>
                  <a:pt x="5731784" y="3790842"/>
                  <a:pt x="5747259" y="3786973"/>
                  <a:pt x="5762732" y="3786973"/>
                </a:cubicBezTo>
                <a:cubicBezTo>
                  <a:pt x="5782073" y="3786973"/>
                  <a:pt x="5801412" y="3786973"/>
                  <a:pt x="5820753" y="3781172"/>
                </a:cubicBezTo>
                <a:cubicBezTo>
                  <a:pt x="5822689" y="3781172"/>
                  <a:pt x="5826557" y="3781172"/>
                  <a:pt x="5828490" y="3783105"/>
                </a:cubicBezTo>
                <a:cubicBezTo>
                  <a:pt x="5830425" y="3785038"/>
                  <a:pt x="5830425" y="3790842"/>
                  <a:pt x="5832358" y="3796643"/>
                </a:cubicBezTo>
                <a:cubicBezTo>
                  <a:pt x="5840095" y="3798578"/>
                  <a:pt x="5853635" y="3792777"/>
                  <a:pt x="5867172" y="3796643"/>
                </a:cubicBezTo>
                <a:cubicBezTo>
                  <a:pt x="5861369" y="3804379"/>
                  <a:pt x="5853635" y="3802446"/>
                  <a:pt x="5847831" y="3804379"/>
                </a:cubicBezTo>
                <a:cubicBezTo>
                  <a:pt x="5840095" y="3806315"/>
                  <a:pt x="5834293" y="3806315"/>
                  <a:pt x="5826557" y="3808248"/>
                </a:cubicBezTo>
                <a:cubicBezTo>
                  <a:pt x="5818820" y="3810183"/>
                  <a:pt x="5813017" y="3812118"/>
                  <a:pt x="5805280" y="3814051"/>
                </a:cubicBezTo>
                <a:cubicBezTo>
                  <a:pt x="5797544" y="3815984"/>
                  <a:pt x="5791743" y="3815984"/>
                  <a:pt x="5784006" y="3817919"/>
                </a:cubicBezTo>
                <a:cubicBezTo>
                  <a:pt x="5776270" y="3819852"/>
                  <a:pt x="5770466" y="3823721"/>
                  <a:pt x="5762732" y="3823721"/>
                </a:cubicBezTo>
                <a:cubicBezTo>
                  <a:pt x="5756928" y="3823721"/>
                  <a:pt x="5749192" y="3823721"/>
                  <a:pt x="5739522" y="3823721"/>
                </a:cubicBezTo>
                <a:cubicBezTo>
                  <a:pt x="5749192" y="3835325"/>
                  <a:pt x="5760797" y="3825656"/>
                  <a:pt x="5768533" y="3831457"/>
                </a:cubicBezTo>
                <a:cubicBezTo>
                  <a:pt x="5766600" y="3831457"/>
                  <a:pt x="5766600" y="3833393"/>
                  <a:pt x="5764665" y="3833393"/>
                </a:cubicBezTo>
                <a:cubicBezTo>
                  <a:pt x="5768533" y="3833393"/>
                  <a:pt x="5770466" y="3833393"/>
                  <a:pt x="5774334" y="3833393"/>
                </a:cubicBezTo>
                <a:cubicBezTo>
                  <a:pt x="5766600" y="3837261"/>
                  <a:pt x="5756928" y="3839194"/>
                  <a:pt x="5747259" y="3839194"/>
                </a:cubicBezTo>
                <a:cubicBezTo>
                  <a:pt x="5727918" y="3843062"/>
                  <a:pt x="5708576" y="3852734"/>
                  <a:pt x="5689235" y="3848866"/>
                </a:cubicBezTo>
                <a:cubicBezTo>
                  <a:pt x="5683432" y="3848866"/>
                  <a:pt x="5677630" y="3850798"/>
                  <a:pt x="5671829" y="3852734"/>
                </a:cubicBezTo>
                <a:cubicBezTo>
                  <a:pt x="5662157" y="3856602"/>
                  <a:pt x="5654421" y="3854667"/>
                  <a:pt x="5646684" y="3854667"/>
                </a:cubicBezTo>
                <a:cubicBezTo>
                  <a:pt x="5644749" y="3856602"/>
                  <a:pt x="5644749" y="3858535"/>
                  <a:pt x="5642816" y="3860470"/>
                </a:cubicBezTo>
                <a:cubicBezTo>
                  <a:pt x="5642816" y="3860470"/>
                  <a:pt x="5644749" y="3862403"/>
                  <a:pt x="5644749" y="3862403"/>
                </a:cubicBezTo>
                <a:cubicBezTo>
                  <a:pt x="5656356" y="3860470"/>
                  <a:pt x="5666026" y="3858535"/>
                  <a:pt x="5679566" y="3856602"/>
                </a:cubicBezTo>
                <a:cubicBezTo>
                  <a:pt x="5671829" y="3864339"/>
                  <a:pt x="5666026" y="3864339"/>
                  <a:pt x="5660224" y="3866272"/>
                </a:cubicBezTo>
                <a:cubicBezTo>
                  <a:pt x="5656356" y="3866272"/>
                  <a:pt x="5654421" y="3868207"/>
                  <a:pt x="5650553" y="3868207"/>
                </a:cubicBezTo>
                <a:cubicBezTo>
                  <a:pt x="5652488" y="3868207"/>
                  <a:pt x="5652488" y="3870140"/>
                  <a:pt x="5654421" y="3870140"/>
                </a:cubicBezTo>
                <a:cubicBezTo>
                  <a:pt x="5658289" y="3872075"/>
                  <a:pt x="5662157" y="3872075"/>
                  <a:pt x="5666026" y="3874008"/>
                </a:cubicBezTo>
                <a:cubicBezTo>
                  <a:pt x="5671829" y="3874008"/>
                  <a:pt x="5675697" y="3872075"/>
                  <a:pt x="5679566" y="3872075"/>
                </a:cubicBezTo>
                <a:cubicBezTo>
                  <a:pt x="5714378" y="3866272"/>
                  <a:pt x="5751125" y="3860470"/>
                  <a:pt x="5785941" y="3854667"/>
                </a:cubicBezTo>
                <a:cubicBezTo>
                  <a:pt x="5793676" y="3852734"/>
                  <a:pt x="5803347" y="3852734"/>
                  <a:pt x="5811084" y="3852734"/>
                </a:cubicBezTo>
                <a:cubicBezTo>
                  <a:pt x="5813017" y="3852734"/>
                  <a:pt x="5816885" y="3854667"/>
                  <a:pt x="5820753" y="3856602"/>
                </a:cubicBezTo>
                <a:cubicBezTo>
                  <a:pt x="5818820" y="3856602"/>
                  <a:pt x="5814952" y="3856602"/>
                  <a:pt x="5811084" y="3858535"/>
                </a:cubicBezTo>
                <a:cubicBezTo>
                  <a:pt x="5830425" y="3856602"/>
                  <a:pt x="5849766" y="3852734"/>
                  <a:pt x="5869108" y="3850798"/>
                </a:cubicBezTo>
                <a:cubicBezTo>
                  <a:pt x="5882645" y="3848866"/>
                  <a:pt x="5898118" y="3848866"/>
                  <a:pt x="5913591" y="3846930"/>
                </a:cubicBezTo>
                <a:cubicBezTo>
                  <a:pt x="5913591" y="3852734"/>
                  <a:pt x="5909723" y="3854667"/>
                  <a:pt x="5907788" y="3854667"/>
                </a:cubicBezTo>
                <a:cubicBezTo>
                  <a:pt x="5884578" y="3858535"/>
                  <a:pt x="5859436" y="3862403"/>
                  <a:pt x="5836226" y="3866272"/>
                </a:cubicBezTo>
                <a:cubicBezTo>
                  <a:pt x="5816885" y="3870140"/>
                  <a:pt x="5797544" y="3870140"/>
                  <a:pt x="5778203" y="3872075"/>
                </a:cubicBezTo>
                <a:cubicBezTo>
                  <a:pt x="5758864" y="3874008"/>
                  <a:pt x="5741455" y="3877876"/>
                  <a:pt x="5722114" y="3881745"/>
                </a:cubicBezTo>
                <a:cubicBezTo>
                  <a:pt x="5708576" y="3885613"/>
                  <a:pt x="5693103" y="3885613"/>
                  <a:pt x="5679566" y="3883677"/>
                </a:cubicBezTo>
                <a:cubicBezTo>
                  <a:pt x="5675697" y="3885613"/>
                  <a:pt x="5673762" y="3885613"/>
                  <a:pt x="5669894" y="3887548"/>
                </a:cubicBezTo>
                <a:cubicBezTo>
                  <a:pt x="5662157" y="3889481"/>
                  <a:pt x="5654421" y="3889481"/>
                  <a:pt x="5646684" y="3895282"/>
                </a:cubicBezTo>
                <a:cubicBezTo>
                  <a:pt x="5666026" y="3893349"/>
                  <a:pt x="5687300" y="3891414"/>
                  <a:pt x="5708576" y="3889481"/>
                </a:cubicBezTo>
                <a:cubicBezTo>
                  <a:pt x="5714378" y="3885613"/>
                  <a:pt x="5720181" y="3883677"/>
                  <a:pt x="5727918" y="3883677"/>
                </a:cubicBezTo>
                <a:cubicBezTo>
                  <a:pt x="5737587" y="3883677"/>
                  <a:pt x="5747259" y="3881745"/>
                  <a:pt x="5756928" y="3881745"/>
                </a:cubicBezTo>
                <a:cubicBezTo>
                  <a:pt x="5772401" y="3879812"/>
                  <a:pt x="5787874" y="3877876"/>
                  <a:pt x="5803347" y="3874008"/>
                </a:cubicBezTo>
                <a:cubicBezTo>
                  <a:pt x="5809149" y="3872075"/>
                  <a:pt x="5816885" y="3870140"/>
                  <a:pt x="5826557" y="3872075"/>
                </a:cubicBezTo>
                <a:cubicBezTo>
                  <a:pt x="5822689" y="3874008"/>
                  <a:pt x="5822689" y="3875943"/>
                  <a:pt x="5820753" y="3875943"/>
                </a:cubicBezTo>
                <a:cubicBezTo>
                  <a:pt x="5805280" y="3879812"/>
                  <a:pt x="5791743" y="3883677"/>
                  <a:pt x="5776270" y="3885613"/>
                </a:cubicBezTo>
                <a:cubicBezTo>
                  <a:pt x="5758864" y="3887548"/>
                  <a:pt x="5743391" y="3891414"/>
                  <a:pt x="5725982" y="3895282"/>
                </a:cubicBezTo>
                <a:cubicBezTo>
                  <a:pt x="5718246" y="3895282"/>
                  <a:pt x="5708576" y="3897218"/>
                  <a:pt x="5698907" y="3899153"/>
                </a:cubicBezTo>
                <a:cubicBezTo>
                  <a:pt x="5698907" y="3897218"/>
                  <a:pt x="5700840" y="3897218"/>
                  <a:pt x="5700840" y="3895282"/>
                </a:cubicBezTo>
                <a:cubicBezTo>
                  <a:pt x="5685367" y="3897218"/>
                  <a:pt x="5669894" y="3901086"/>
                  <a:pt x="5654421" y="3904954"/>
                </a:cubicBezTo>
                <a:cubicBezTo>
                  <a:pt x="5656356" y="3904954"/>
                  <a:pt x="5656356" y="3904954"/>
                  <a:pt x="5656356" y="3904954"/>
                </a:cubicBezTo>
                <a:cubicBezTo>
                  <a:pt x="5667959" y="3906887"/>
                  <a:pt x="5681499" y="3908822"/>
                  <a:pt x="5693103" y="3910755"/>
                </a:cubicBezTo>
                <a:cubicBezTo>
                  <a:pt x="5696972" y="3910755"/>
                  <a:pt x="5700840" y="3910755"/>
                  <a:pt x="5704708" y="3910755"/>
                </a:cubicBezTo>
                <a:cubicBezTo>
                  <a:pt x="5704708" y="3912691"/>
                  <a:pt x="5704708" y="3912691"/>
                  <a:pt x="5704708" y="3914624"/>
                </a:cubicBezTo>
                <a:cubicBezTo>
                  <a:pt x="5704708" y="3916559"/>
                  <a:pt x="5706641" y="3918492"/>
                  <a:pt x="5706641" y="3920427"/>
                </a:cubicBezTo>
                <a:cubicBezTo>
                  <a:pt x="5702773" y="3924295"/>
                  <a:pt x="5698907" y="3926228"/>
                  <a:pt x="5695036" y="3928164"/>
                </a:cubicBezTo>
                <a:cubicBezTo>
                  <a:pt x="5704708" y="3926228"/>
                  <a:pt x="5716313" y="3924295"/>
                  <a:pt x="5727918" y="3922360"/>
                </a:cubicBezTo>
                <a:cubicBezTo>
                  <a:pt x="5727918" y="3922360"/>
                  <a:pt x="5725982" y="3920427"/>
                  <a:pt x="5725982" y="3920427"/>
                </a:cubicBezTo>
                <a:cubicBezTo>
                  <a:pt x="5741455" y="3912691"/>
                  <a:pt x="5758864" y="3908822"/>
                  <a:pt x="5778203" y="3906887"/>
                </a:cubicBezTo>
                <a:cubicBezTo>
                  <a:pt x="5776270" y="3908822"/>
                  <a:pt x="5774334" y="3910755"/>
                  <a:pt x="5774334" y="3910755"/>
                </a:cubicBezTo>
                <a:cubicBezTo>
                  <a:pt x="5770466" y="3910755"/>
                  <a:pt x="5768533" y="3912691"/>
                  <a:pt x="5764665" y="3912691"/>
                </a:cubicBezTo>
                <a:cubicBezTo>
                  <a:pt x="5762732" y="3914624"/>
                  <a:pt x="5760797" y="3914624"/>
                  <a:pt x="5756928" y="3914624"/>
                </a:cubicBezTo>
                <a:cubicBezTo>
                  <a:pt x="5753060" y="3914624"/>
                  <a:pt x="5749192" y="3916559"/>
                  <a:pt x="5745324" y="3918492"/>
                </a:cubicBezTo>
                <a:cubicBezTo>
                  <a:pt x="5745324" y="3918492"/>
                  <a:pt x="5743391" y="3918492"/>
                  <a:pt x="5743391" y="3918492"/>
                </a:cubicBezTo>
                <a:cubicBezTo>
                  <a:pt x="5737587" y="3928164"/>
                  <a:pt x="5729851" y="3930097"/>
                  <a:pt x="5720181" y="3932032"/>
                </a:cubicBezTo>
                <a:cubicBezTo>
                  <a:pt x="5708576" y="3933965"/>
                  <a:pt x="5698907" y="3935900"/>
                  <a:pt x="5687300" y="3941701"/>
                </a:cubicBezTo>
                <a:cubicBezTo>
                  <a:pt x="5696972" y="3945570"/>
                  <a:pt x="5704708" y="3933965"/>
                  <a:pt x="5712445" y="3943637"/>
                </a:cubicBezTo>
                <a:cubicBezTo>
                  <a:pt x="5712445" y="3947505"/>
                  <a:pt x="5708576" y="3947505"/>
                  <a:pt x="5706641" y="3947505"/>
                </a:cubicBezTo>
                <a:cubicBezTo>
                  <a:pt x="5700840" y="3947505"/>
                  <a:pt x="5696972" y="3949438"/>
                  <a:pt x="5693103" y="3949438"/>
                </a:cubicBezTo>
                <a:cubicBezTo>
                  <a:pt x="5693103" y="3953306"/>
                  <a:pt x="5691168" y="3957174"/>
                  <a:pt x="5687300" y="3961043"/>
                </a:cubicBezTo>
                <a:cubicBezTo>
                  <a:pt x="5691168" y="3962978"/>
                  <a:pt x="5695036" y="3966846"/>
                  <a:pt x="5698907" y="3968779"/>
                </a:cubicBezTo>
                <a:cubicBezTo>
                  <a:pt x="5702773" y="3970714"/>
                  <a:pt x="5708576" y="3972647"/>
                  <a:pt x="5712445" y="3974583"/>
                </a:cubicBezTo>
                <a:cubicBezTo>
                  <a:pt x="5710509" y="3980384"/>
                  <a:pt x="5700840" y="3976516"/>
                  <a:pt x="5702773" y="3984252"/>
                </a:cubicBezTo>
                <a:cubicBezTo>
                  <a:pt x="5698907" y="3986187"/>
                  <a:pt x="5696972" y="3988120"/>
                  <a:pt x="5693103" y="3988120"/>
                </a:cubicBezTo>
                <a:cubicBezTo>
                  <a:pt x="5685367" y="3986187"/>
                  <a:pt x="5679566" y="3984252"/>
                  <a:pt x="5671829" y="3982319"/>
                </a:cubicBezTo>
                <a:cubicBezTo>
                  <a:pt x="5660224" y="3976516"/>
                  <a:pt x="5648620" y="3976516"/>
                  <a:pt x="5635080" y="3978449"/>
                </a:cubicBezTo>
                <a:cubicBezTo>
                  <a:pt x="5631211" y="3978449"/>
                  <a:pt x="5627343" y="3978449"/>
                  <a:pt x="5623475" y="3978449"/>
                </a:cubicBezTo>
                <a:cubicBezTo>
                  <a:pt x="5621542" y="3980384"/>
                  <a:pt x="5617674" y="3978449"/>
                  <a:pt x="5617674" y="3980384"/>
                </a:cubicBezTo>
                <a:cubicBezTo>
                  <a:pt x="5613805" y="3988120"/>
                  <a:pt x="5606069" y="3986187"/>
                  <a:pt x="5598332" y="3986187"/>
                </a:cubicBezTo>
                <a:cubicBezTo>
                  <a:pt x="5592531" y="3986187"/>
                  <a:pt x="5586728" y="3986187"/>
                  <a:pt x="5580924" y="3986187"/>
                </a:cubicBezTo>
                <a:cubicBezTo>
                  <a:pt x="5580924" y="3986187"/>
                  <a:pt x="5578991" y="3986187"/>
                  <a:pt x="5578991" y="3986187"/>
                </a:cubicBezTo>
                <a:cubicBezTo>
                  <a:pt x="5575123" y="3988120"/>
                  <a:pt x="5569322" y="3988120"/>
                  <a:pt x="5563518" y="3990053"/>
                </a:cubicBezTo>
                <a:cubicBezTo>
                  <a:pt x="5548045" y="3993922"/>
                  <a:pt x="5532572" y="3997790"/>
                  <a:pt x="5519034" y="4001658"/>
                </a:cubicBezTo>
                <a:cubicBezTo>
                  <a:pt x="5519034" y="4001658"/>
                  <a:pt x="5517099" y="4003593"/>
                  <a:pt x="5515166" y="4003593"/>
                </a:cubicBezTo>
                <a:cubicBezTo>
                  <a:pt x="5519034" y="4003593"/>
                  <a:pt x="5522903" y="4001658"/>
                  <a:pt x="5526771" y="4001658"/>
                </a:cubicBezTo>
                <a:cubicBezTo>
                  <a:pt x="5534507" y="3999725"/>
                  <a:pt x="5536440" y="4003593"/>
                  <a:pt x="5538376" y="4009395"/>
                </a:cubicBezTo>
                <a:cubicBezTo>
                  <a:pt x="5540308" y="4009395"/>
                  <a:pt x="5540308" y="4009395"/>
                  <a:pt x="5540308" y="4009395"/>
                </a:cubicBezTo>
                <a:cubicBezTo>
                  <a:pt x="5553849" y="4013263"/>
                  <a:pt x="5565453" y="4015198"/>
                  <a:pt x="5577056" y="4007462"/>
                </a:cubicBezTo>
                <a:cubicBezTo>
                  <a:pt x="5578991" y="4005526"/>
                  <a:pt x="5582859" y="4005526"/>
                  <a:pt x="5586728" y="4005526"/>
                </a:cubicBezTo>
                <a:cubicBezTo>
                  <a:pt x="5592531" y="4007462"/>
                  <a:pt x="5600265" y="4007462"/>
                  <a:pt x="5606069" y="4007462"/>
                </a:cubicBezTo>
                <a:cubicBezTo>
                  <a:pt x="5613805" y="4005526"/>
                  <a:pt x="5619607" y="4003593"/>
                  <a:pt x="5627343" y="4001658"/>
                </a:cubicBezTo>
                <a:cubicBezTo>
                  <a:pt x="5652488" y="3995857"/>
                  <a:pt x="5675697" y="3991989"/>
                  <a:pt x="5700840" y="3988120"/>
                </a:cubicBezTo>
                <a:cubicBezTo>
                  <a:pt x="5702773" y="3988120"/>
                  <a:pt x="5706641" y="3986187"/>
                  <a:pt x="5712445" y="3986187"/>
                </a:cubicBezTo>
                <a:cubicBezTo>
                  <a:pt x="5706641" y="3993922"/>
                  <a:pt x="5702773" y="3995857"/>
                  <a:pt x="5696972" y="3997790"/>
                </a:cubicBezTo>
                <a:cubicBezTo>
                  <a:pt x="5696972" y="3999725"/>
                  <a:pt x="5695036" y="3999725"/>
                  <a:pt x="5693103" y="3999725"/>
                </a:cubicBezTo>
                <a:cubicBezTo>
                  <a:pt x="5698907" y="3999725"/>
                  <a:pt x="5704708" y="4001658"/>
                  <a:pt x="5710509" y="4001658"/>
                </a:cubicBezTo>
                <a:cubicBezTo>
                  <a:pt x="5725982" y="4003593"/>
                  <a:pt x="5739522" y="4005526"/>
                  <a:pt x="5753060" y="4007462"/>
                </a:cubicBezTo>
                <a:cubicBezTo>
                  <a:pt x="5754993" y="4007462"/>
                  <a:pt x="5756928" y="4009395"/>
                  <a:pt x="5758864" y="4011330"/>
                </a:cubicBezTo>
                <a:cubicBezTo>
                  <a:pt x="5758864" y="4013263"/>
                  <a:pt x="5760797" y="4015198"/>
                  <a:pt x="5760797" y="4017131"/>
                </a:cubicBezTo>
                <a:cubicBezTo>
                  <a:pt x="5754993" y="4020999"/>
                  <a:pt x="5749192" y="4024868"/>
                  <a:pt x="5743391" y="4028736"/>
                </a:cubicBezTo>
                <a:cubicBezTo>
                  <a:pt x="5729851" y="4024868"/>
                  <a:pt x="5714378" y="4024868"/>
                  <a:pt x="5698907" y="4028736"/>
                </a:cubicBezTo>
                <a:cubicBezTo>
                  <a:pt x="5704708" y="4032604"/>
                  <a:pt x="5710509" y="4030671"/>
                  <a:pt x="5716313" y="4030671"/>
                </a:cubicBezTo>
                <a:cubicBezTo>
                  <a:pt x="5722114" y="4030671"/>
                  <a:pt x="5725982" y="4032604"/>
                  <a:pt x="5733719" y="4034539"/>
                </a:cubicBezTo>
                <a:cubicBezTo>
                  <a:pt x="5729851" y="4036472"/>
                  <a:pt x="5729851" y="4038408"/>
                  <a:pt x="5727918" y="4038408"/>
                </a:cubicBezTo>
                <a:cubicBezTo>
                  <a:pt x="5712445" y="4038408"/>
                  <a:pt x="5695036" y="4040341"/>
                  <a:pt x="5679566" y="4040341"/>
                </a:cubicBezTo>
                <a:cubicBezTo>
                  <a:pt x="5673762" y="4040341"/>
                  <a:pt x="5666026" y="4038408"/>
                  <a:pt x="5658289" y="4036472"/>
                </a:cubicBezTo>
                <a:cubicBezTo>
                  <a:pt x="5650553" y="4034539"/>
                  <a:pt x="5642816" y="4034539"/>
                  <a:pt x="5635080" y="4038408"/>
                </a:cubicBezTo>
                <a:cubicBezTo>
                  <a:pt x="5625410" y="4044209"/>
                  <a:pt x="5613805" y="4044209"/>
                  <a:pt x="5604133" y="4044209"/>
                </a:cubicBezTo>
                <a:cubicBezTo>
                  <a:pt x="5575123" y="4046144"/>
                  <a:pt x="5544177" y="4046144"/>
                  <a:pt x="5515166" y="4048077"/>
                </a:cubicBezTo>
                <a:cubicBezTo>
                  <a:pt x="5505497" y="4051945"/>
                  <a:pt x="5491956" y="4048077"/>
                  <a:pt x="5484220" y="4059682"/>
                </a:cubicBezTo>
                <a:cubicBezTo>
                  <a:pt x="5476483" y="4061617"/>
                  <a:pt x="5470680" y="4063550"/>
                  <a:pt x="5462946" y="4065483"/>
                </a:cubicBezTo>
                <a:cubicBezTo>
                  <a:pt x="5455209" y="4067418"/>
                  <a:pt x="5445537" y="4069354"/>
                  <a:pt x="5437803" y="4071287"/>
                </a:cubicBezTo>
                <a:cubicBezTo>
                  <a:pt x="5430064" y="4075155"/>
                  <a:pt x="5422328" y="4077088"/>
                  <a:pt x="5412658" y="4077088"/>
                </a:cubicBezTo>
                <a:cubicBezTo>
                  <a:pt x="5404922" y="4079023"/>
                  <a:pt x="5397185" y="4080959"/>
                  <a:pt x="5389449" y="4084824"/>
                </a:cubicBezTo>
                <a:cubicBezTo>
                  <a:pt x="5383645" y="4086760"/>
                  <a:pt x="5375911" y="4088693"/>
                  <a:pt x="5368175" y="4090628"/>
                </a:cubicBezTo>
                <a:cubicBezTo>
                  <a:pt x="5354635" y="4094496"/>
                  <a:pt x="5339162" y="4096429"/>
                  <a:pt x="5323689" y="4102233"/>
                </a:cubicBezTo>
                <a:cubicBezTo>
                  <a:pt x="5315952" y="4104166"/>
                  <a:pt x="5310151" y="4104166"/>
                  <a:pt x="5302414" y="4104166"/>
                </a:cubicBezTo>
                <a:cubicBezTo>
                  <a:pt x="5300479" y="4104166"/>
                  <a:pt x="5300479" y="4104166"/>
                  <a:pt x="5298546" y="4102233"/>
                </a:cubicBezTo>
                <a:cubicBezTo>
                  <a:pt x="5296611" y="4102233"/>
                  <a:pt x="5294678" y="4104166"/>
                  <a:pt x="5292745" y="4104166"/>
                </a:cubicBezTo>
                <a:cubicBezTo>
                  <a:pt x="5283073" y="4111902"/>
                  <a:pt x="5273404" y="4119639"/>
                  <a:pt x="5259864" y="4119639"/>
                </a:cubicBezTo>
                <a:cubicBezTo>
                  <a:pt x="5255995" y="4119639"/>
                  <a:pt x="5254062" y="4117706"/>
                  <a:pt x="5250194" y="4117706"/>
                </a:cubicBezTo>
                <a:lnTo>
                  <a:pt x="5253096" y="4114805"/>
                </a:lnTo>
                <a:lnTo>
                  <a:pt x="5255995" y="4113838"/>
                </a:lnTo>
                <a:cubicBezTo>
                  <a:pt x="5255995" y="4113838"/>
                  <a:pt x="5254062" y="4113838"/>
                  <a:pt x="5254062" y="4113838"/>
                </a:cubicBezTo>
                <a:lnTo>
                  <a:pt x="5253096" y="4114805"/>
                </a:lnTo>
                <a:lnTo>
                  <a:pt x="5246050" y="4117154"/>
                </a:lnTo>
                <a:lnTo>
                  <a:pt x="5244393" y="4113838"/>
                </a:lnTo>
                <a:cubicBezTo>
                  <a:pt x="5244393" y="4113838"/>
                  <a:pt x="5242458" y="4113838"/>
                  <a:pt x="5242458" y="4113838"/>
                </a:cubicBezTo>
                <a:lnTo>
                  <a:pt x="5242458" y="4118672"/>
                </a:lnTo>
                <a:lnTo>
                  <a:pt x="5240522" y="4119639"/>
                </a:lnTo>
                <a:cubicBezTo>
                  <a:pt x="5242458" y="4119639"/>
                  <a:pt x="5242458" y="4119639"/>
                  <a:pt x="5242458" y="4119639"/>
                </a:cubicBezTo>
                <a:cubicBezTo>
                  <a:pt x="5244393" y="4121574"/>
                  <a:pt x="5244393" y="4121574"/>
                  <a:pt x="5246326" y="4123507"/>
                </a:cubicBezTo>
                <a:cubicBezTo>
                  <a:pt x="5244393" y="4127375"/>
                  <a:pt x="5242458" y="4129311"/>
                  <a:pt x="5238589" y="4129311"/>
                </a:cubicBezTo>
                <a:cubicBezTo>
                  <a:pt x="5232786" y="4129311"/>
                  <a:pt x="5226985" y="4129311"/>
                  <a:pt x="5223116" y="4133179"/>
                </a:cubicBezTo>
                <a:cubicBezTo>
                  <a:pt x="5221183" y="4135112"/>
                  <a:pt x="5221183" y="4135112"/>
                  <a:pt x="5219248" y="4135112"/>
                </a:cubicBezTo>
                <a:cubicBezTo>
                  <a:pt x="5213445" y="4137047"/>
                  <a:pt x="5203775" y="4133179"/>
                  <a:pt x="5197974" y="4138980"/>
                </a:cubicBezTo>
                <a:cubicBezTo>
                  <a:pt x="5192170" y="4144784"/>
                  <a:pt x="5186369" y="4146717"/>
                  <a:pt x="5180566" y="4148652"/>
                </a:cubicBezTo>
                <a:cubicBezTo>
                  <a:pt x="5178633" y="4150585"/>
                  <a:pt x="5176697" y="4152518"/>
                  <a:pt x="5174764" y="4156388"/>
                </a:cubicBezTo>
                <a:cubicBezTo>
                  <a:pt x="5151555" y="4166058"/>
                  <a:pt x="5126410" y="4177663"/>
                  <a:pt x="5101268" y="4189267"/>
                </a:cubicBezTo>
                <a:cubicBezTo>
                  <a:pt x="5099335" y="4189267"/>
                  <a:pt x="5097399" y="4189267"/>
                  <a:pt x="5095466" y="4191200"/>
                </a:cubicBezTo>
                <a:cubicBezTo>
                  <a:pt x="5081926" y="4204741"/>
                  <a:pt x="5064520" y="4208609"/>
                  <a:pt x="5049047" y="4214410"/>
                </a:cubicBezTo>
                <a:cubicBezTo>
                  <a:pt x="5043244" y="4216345"/>
                  <a:pt x="5039375" y="4220214"/>
                  <a:pt x="5035507" y="4224082"/>
                </a:cubicBezTo>
                <a:cubicBezTo>
                  <a:pt x="5031641" y="4231818"/>
                  <a:pt x="5023905" y="4235687"/>
                  <a:pt x="5014233" y="4241488"/>
                </a:cubicBezTo>
                <a:cubicBezTo>
                  <a:pt x="5031641" y="4241488"/>
                  <a:pt x="5045179" y="4237620"/>
                  <a:pt x="5058717" y="4229883"/>
                </a:cubicBezTo>
                <a:cubicBezTo>
                  <a:pt x="5068389" y="4224082"/>
                  <a:pt x="5076125" y="4222146"/>
                  <a:pt x="5085794" y="4220214"/>
                </a:cubicBezTo>
                <a:cubicBezTo>
                  <a:pt x="5087730" y="4220214"/>
                  <a:pt x="5091598" y="4218278"/>
                  <a:pt x="5093531" y="4218278"/>
                </a:cubicBezTo>
                <a:cubicBezTo>
                  <a:pt x="5116741" y="4210542"/>
                  <a:pt x="5138017" y="4204741"/>
                  <a:pt x="5161224" y="4197004"/>
                </a:cubicBezTo>
                <a:cubicBezTo>
                  <a:pt x="5167028" y="4195069"/>
                  <a:pt x="5172829" y="4195069"/>
                  <a:pt x="5180566" y="4195069"/>
                </a:cubicBezTo>
                <a:cubicBezTo>
                  <a:pt x="5188302" y="4189267"/>
                  <a:pt x="5199907" y="4185399"/>
                  <a:pt x="5211512" y="4181531"/>
                </a:cubicBezTo>
                <a:cubicBezTo>
                  <a:pt x="5230853" y="4175727"/>
                  <a:pt x="5248259" y="4167993"/>
                  <a:pt x="5267600" y="4162190"/>
                </a:cubicBezTo>
                <a:cubicBezTo>
                  <a:pt x="5277270" y="4158321"/>
                  <a:pt x="5286941" y="4154453"/>
                  <a:pt x="5300479" y="4154453"/>
                </a:cubicBezTo>
                <a:cubicBezTo>
                  <a:pt x="5296611" y="4158321"/>
                  <a:pt x="5292745" y="4162190"/>
                  <a:pt x="5288877" y="4166058"/>
                </a:cubicBezTo>
                <a:cubicBezTo>
                  <a:pt x="5294678" y="4166058"/>
                  <a:pt x="5298546" y="4166058"/>
                  <a:pt x="5304350" y="4166058"/>
                </a:cubicBezTo>
                <a:cubicBezTo>
                  <a:pt x="5304350" y="4169926"/>
                  <a:pt x="5302414" y="4171859"/>
                  <a:pt x="5302414" y="4177663"/>
                </a:cubicBezTo>
                <a:cubicBezTo>
                  <a:pt x="5298546" y="4175727"/>
                  <a:pt x="5294678" y="4175727"/>
                  <a:pt x="5292745" y="4173794"/>
                </a:cubicBezTo>
                <a:cubicBezTo>
                  <a:pt x="5290810" y="4175727"/>
                  <a:pt x="5288877" y="4175727"/>
                  <a:pt x="5288877" y="4175727"/>
                </a:cubicBezTo>
                <a:cubicBezTo>
                  <a:pt x="5283073" y="4185399"/>
                  <a:pt x="5273404" y="4193136"/>
                  <a:pt x="5261799" y="4197004"/>
                </a:cubicBezTo>
                <a:cubicBezTo>
                  <a:pt x="5238589" y="4204741"/>
                  <a:pt x="5215380" y="4210542"/>
                  <a:pt x="5192170" y="4218278"/>
                </a:cubicBezTo>
                <a:cubicBezTo>
                  <a:pt x="5188302" y="4218278"/>
                  <a:pt x="5182501" y="4220214"/>
                  <a:pt x="5182501" y="4214410"/>
                </a:cubicBezTo>
                <a:cubicBezTo>
                  <a:pt x="5170896" y="4216345"/>
                  <a:pt x="5159291" y="4218278"/>
                  <a:pt x="5149620" y="4222146"/>
                </a:cubicBezTo>
                <a:cubicBezTo>
                  <a:pt x="5143818" y="4224082"/>
                  <a:pt x="5136082" y="4226015"/>
                  <a:pt x="5132214" y="4231818"/>
                </a:cubicBezTo>
                <a:cubicBezTo>
                  <a:pt x="5126410" y="4237620"/>
                  <a:pt x="5120609" y="4241488"/>
                  <a:pt x="5112872" y="4243423"/>
                </a:cubicBezTo>
                <a:cubicBezTo>
                  <a:pt x="5118676" y="4241488"/>
                  <a:pt x="5124477" y="4241488"/>
                  <a:pt x="5130281" y="4239552"/>
                </a:cubicBezTo>
                <a:cubicBezTo>
                  <a:pt x="5122542" y="4249224"/>
                  <a:pt x="5118676" y="4251157"/>
                  <a:pt x="5109004" y="4251157"/>
                </a:cubicBezTo>
                <a:cubicBezTo>
                  <a:pt x="5107071" y="4253093"/>
                  <a:pt x="5105136" y="4251157"/>
                  <a:pt x="5101268" y="4249224"/>
                </a:cubicBezTo>
                <a:cubicBezTo>
                  <a:pt x="5097399" y="4251157"/>
                  <a:pt x="5091598" y="4253093"/>
                  <a:pt x="5085794" y="4255028"/>
                </a:cubicBezTo>
                <a:cubicBezTo>
                  <a:pt x="5085794" y="4255028"/>
                  <a:pt x="5085794" y="4256961"/>
                  <a:pt x="5085794" y="4256961"/>
                </a:cubicBezTo>
                <a:cubicBezTo>
                  <a:pt x="5079993" y="4258894"/>
                  <a:pt x="5074190" y="4264697"/>
                  <a:pt x="5066453" y="4262762"/>
                </a:cubicBezTo>
                <a:cubicBezTo>
                  <a:pt x="5066453" y="4262762"/>
                  <a:pt x="5068389" y="4260829"/>
                  <a:pt x="5068389" y="4260829"/>
                </a:cubicBezTo>
                <a:cubicBezTo>
                  <a:pt x="5054848" y="4266633"/>
                  <a:pt x="5039375" y="4270499"/>
                  <a:pt x="5025838" y="4276302"/>
                </a:cubicBezTo>
                <a:cubicBezTo>
                  <a:pt x="4998760" y="4285972"/>
                  <a:pt x="4971682" y="4297576"/>
                  <a:pt x="4944607" y="4307248"/>
                </a:cubicBezTo>
                <a:cubicBezTo>
                  <a:pt x="4905924" y="4322721"/>
                  <a:pt x="4867242" y="4336259"/>
                  <a:pt x="4828559" y="4351732"/>
                </a:cubicBezTo>
                <a:cubicBezTo>
                  <a:pt x="4820823" y="4355600"/>
                  <a:pt x="4811153" y="4359468"/>
                  <a:pt x="4805350" y="4365270"/>
                </a:cubicBezTo>
                <a:cubicBezTo>
                  <a:pt x="4803417" y="4367205"/>
                  <a:pt x="4799548" y="4369138"/>
                  <a:pt x="4795680" y="4371073"/>
                </a:cubicBezTo>
                <a:cubicBezTo>
                  <a:pt x="4787944" y="4374941"/>
                  <a:pt x="4778272" y="4378810"/>
                  <a:pt x="4772471" y="4384611"/>
                </a:cubicBezTo>
                <a:cubicBezTo>
                  <a:pt x="4768602" y="4388479"/>
                  <a:pt x="4760866" y="4390414"/>
                  <a:pt x="4753129" y="4394283"/>
                </a:cubicBezTo>
                <a:cubicBezTo>
                  <a:pt x="4718315" y="4407820"/>
                  <a:pt x="4683503" y="4423293"/>
                  <a:pt x="4648686" y="4438766"/>
                </a:cubicBezTo>
                <a:cubicBezTo>
                  <a:pt x="4637084" y="4442635"/>
                  <a:pt x="4627412" y="4448436"/>
                  <a:pt x="4617743" y="4454239"/>
                </a:cubicBezTo>
                <a:cubicBezTo>
                  <a:pt x="4598402" y="4463909"/>
                  <a:pt x="4577127" y="4473581"/>
                  <a:pt x="4557786" y="4483250"/>
                </a:cubicBezTo>
                <a:cubicBezTo>
                  <a:pt x="4553918" y="4485186"/>
                  <a:pt x="4550050" y="4487118"/>
                  <a:pt x="4548114" y="4490987"/>
                </a:cubicBezTo>
                <a:cubicBezTo>
                  <a:pt x="4550050" y="4492922"/>
                  <a:pt x="4551982" y="4492922"/>
                  <a:pt x="4553918" y="4494855"/>
                </a:cubicBezTo>
                <a:cubicBezTo>
                  <a:pt x="4550050" y="4496790"/>
                  <a:pt x="4546181" y="4500659"/>
                  <a:pt x="4540378" y="4498723"/>
                </a:cubicBezTo>
                <a:cubicBezTo>
                  <a:pt x="4530708" y="4494855"/>
                  <a:pt x="4521036" y="4500659"/>
                  <a:pt x="4517168" y="4506460"/>
                </a:cubicBezTo>
                <a:cubicBezTo>
                  <a:pt x="4509434" y="4518065"/>
                  <a:pt x="4497827" y="4523868"/>
                  <a:pt x="4486225" y="4529669"/>
                </a:cubicBezTo>
                <a:cubicBezTo>
                  <a:pt x="4470751" y="4539339"/>
                  <a:pt x="4453343" y="4547075"/>
                  <a:pt x="4435937" y="4556747"/>
                </a:cubicBezTo>
                <a:cubicBezTo>
                  <a:pt x="4418531" y="4568352"/>
                  <a:pt x="4399190" y="4578021"/>
                  <a:pt x="4381782" y="4587693"/>
                </a:cubicBezTo>
                <a:cubicBezTo>
                  <a:pt x="4379849" y="4589626"/>
                  <a:pt x="4375980" y="4591561"/>
                  <a:pt x="4374045" y="4593494"/>
                </a:cubicBezTo>
                <a:cubicBezTo>
                  <a:pt x="4366309" y="4599298"/>
                  <a:pt x="4356639" y="4607032"/>
                  <a:pt x="4346967" y="4610903"/>
                </a:cubicBezTo>
                <a:cubicBezTo>
                  <a:pt x="4319890" y="4622505"/>
                  <a:pt x="4261868" y="4748222"/>
                  <a:pt x="4234790" y="4763695"/>
                </a:cubicBezTo>
                <a:cubicBezTo>
                  <a:pt x="4225121" y="4767564"/>
                  <a:pt x="4213514" y="4773367"/>
                  <a:pt x="4203844" y="4777233"/>
                </a:cubicBezTo>
                <a:cubicBezTo>
                  <a:pt x="4201911" y="4779168"/>
                  <a:pt x="4198043" y="4779168"/>
                  <a:pt x="4196108" y="4779168"/>
                </a:cubicBezTo>
                <a:cubicBezTo>
                  <a:pt x="4190307" y="4777233"/>
                  <a:pt x="4186438" y="4777233"/>
                  <a:pt x="4182570" y="4779168"/>
                </a:cubicBezTo>
                <a:cubicBezTo>
                  <a:pt x="4180635" y="4779168"/>
                  <a:pt x="4180635" y="4781101"/>
                  <a:pt x="4178702" y="4781101"/>
                </a:cubicBezTo>
                <a:cubicBezTo>
                  <a:pt x="4178702" y="4783037"/>
                  <a:pt x="4176767" y="4783037"/>
                  <a:pt x="4176767" y="4783037"/>
                </a:cubicBezTo>
                <a:cubicBezTo>
                  <a:pt x="4151624" y="4798510"/>
                  <a:pt x="4124546" y="4812050"/>
                  <a:pt x="4099404" y="4827520"/>
                </a:cubicBezTo>
                <a:cubicBezTo>
                  <a:pt x="4083931" y="4835257"/>
                  <a:pt x="4068458" y="4844929"/>
                  <a:pt x="4052985" y="4852665"/>
                </a:cubicBezTo>
                <a:cubicBezTo>
                  <a:pt x="4033643" y="4862335"/>
                  <a:pt x="4018170" y="4873939"/>
                  <a:pt x="4002697" y="4887477"/>
                </a:cubicBezTo>
                <a:cubicBezTo>
                  <a:pt x="3991093" y="4899084"/>
                  <a:pt x="3977555" y="4908754"/>
                  <a:pt x="3964015" y="4918426"/>
                </a:cubicBezTo>
                <a:cubicBezTo>
                  <a:pt x="3944676" y="4933896"/>
                  <a:pt x="3923399" y="4949369"/>
                  <a:pt x="3904058" y="4964842"/>
                </a:cubicBezTo>
                <a:cubicBezTo>
                  <a:pt x="3884717" y="4980315"/>
                  <a:pt x="3865376" y="4993853"/>
                  <a:pt x="3844101" y="5005460"/>
                </a:cubicBezTo>
                <a:cubicBezTo>
                  <a:pt x="3832497" y="5011261"/>
                  <a:pt x="3820892" y="5018998"/>
                  <a:pt x="3809287" y="5026734"/>
                </a:cubicBezTo>
                <a:cubicBezTo>
                  <a:pt x="3786078" y="5042207"/>
                  <a:pt x="3760935" y="5053812"/>
                  <a:pt x="3733857" y="5063482"/>
                </a:cubicBezTo>
                <a:cubicBezTo>
                  <a:pt x="3729989" y="5063482"/>
                  <a:pt x="3728056" y="5065417"/>
                  <a:pt x="3724188" y="5065417"/>
                </a:cubicBezTo>
                <a:cubicBezTo>
                  <a:pt x="3704847" y="5065417"/>
                  <a:pt x="3687441" y="5077019"/>
                  <a:pt x="3670032" y="5082823"/>
                </a:cubicBezTo>
                <a:cubicBezTo>
                  <a:pt x="3650691" y="5088626"/>
                  <a:pt x="3633283" y="5094428"/>
                  <a:pt x="3615877" y="5096361"/>
                </a:cubicBezTo>
                <a:cubicBezTo>
                  <a:pt x="3608140" y="5098296"/>
                  <a:pt x="3598471" y="5098296"/>
                  <a:pt x="3590734" y="5096361"/>
                </a:cubicBezTo>
                <a:cubicBezTo>
                  <a:pt x="3590734" y="5096361"/>
                  <a:pt x="3588799" y="5098296"/>
                  <a:pt x="3586866" y="5100229"/>
                </a:cubicBezTo>
                <a:cubicBezTo>
                  <a:pt x="3579129" y="5106032"/>
                  <a:pt x="3573328" y="5113769"/>
                  <a:pt x="3567525" y="5123438"/>
                </a:cubicBezTo>
                <a:cubicBezTo>
                  <a:pt x="3555920" y="5133110"/>
                  <a:pt x="3550119" y="5146648"/>
                  <a:pt x="3540447" y="5156320"/>
                </a:cubicBezTo>
                <a:cubicBezTo>
                  <a:pt x="3538514" y="5156320"/>
                  <a:pt x="3538514" y="5158253"/>
                  <a:pt x="3536579" y="5160188"/>
                </a:cubicBezTo>
                <a:cubicBezTo>
                  <a:pt x="3517237" y="5177594"/>
                  <a:pt x="3501764" y="5198871"/>
                  <a:pt x="3484358" y="5218209"/>
                </a:cubicBezTo>
                <a:cubicBezTo>
                  <a:pt x="3482423" y="5220145"/>
                  <a:pt x="3480490" y="5220145"/>
                  <a:pt x="3478555" y="5222078"/>
                </a:cubicBezTo>
                <a:cubicBezTo>
                  <a:pt x="3478555" y="5218209"/>
                  <a:pt x="3482423" y="5216277"/>
                  <a:pt x="3484358" y="5212408"/>
                </a:cubicBezTo>
                <a:cubicBezTo>
                  <a:pt x="3505633" y="5185330"/>
                  <a:pt x="3524974" y="5160188"/>
                  <a:pt x="3546248" y="5135043"/>
                </a:cubicBezTo>
                <a:cubicBezTo>
                  <a:pt x="3557855" y="5119570"/>
                  <a:pt x="3569458" y="5106032"/>
                  <a:pt x="3581065" y="5092495"/>
                </a:cubicBezTo>
                <a:cubicBezTo>
                  <a:pt x="3577197" y="5092495"/>
                  <a:pt x="3571393" y="5092495"/>
                  <a:pt x="3567525" y="5092495"/>
                </a:cubicBezTo>
                <a:cubicBezTo>
                  <a:pt x="3565589" y="5098296"/>
                  <a:pt x="3561723" y="5102164"/>
                  <a:pt x="3555920" y="5102164"/>
                </a:cubicBezTo>
                <a:cubicBezTo>
                  <a:pt x="3557855" y="5098296"/>
                  <a:pt x="3559788" y="5096361"/>
                  <a:pt x="3561723" y="5092495"/>
                </a:cubicBezTo>
                <a:cubicBezTo>
                  <a:pt x="3559788" y="5092495"/>
                  <a:pt x="3559788" y="5092495"/>
                  <a:pt x="3557855" y="5092495"/>
                </a:cubicBezTo>
                <a:cubicBezTo>
                  <a:pt x="3553987" y="5096361"/>
                  <a:pt x="3550119" y="5100229"/>
                  <a:pt x="3548183" y="5106032"/>
                </a:cubicBezTo>
                <a:cubicBezTo>
                  <a:pt x="3548183" y="5111836"/>
                  <a:pt x="3546248" y="5113769"/>
                  <a:pt x="3542382" y="5115702"/>
                </a:cubicBezTo>
                <a:cubicBezTo>
                  <a:pt x="3534646" y="5117637"/>
                  <a:pt x="3530777" y="5123438"/>
                  <a:pt x="3526909" y="5129242"/>
                </a:cubicBezTo>
                <a:cubicBezTo>
                  <a:pt x="3513372" y="5144713"/>
                  <a:pt x="3503700" y="5162121"/>
                  <a:pt x="3490162" y="5175661"/>
                </a:cubicBezTo>
                <a:cubicBezTo>
                  <a:pt x="3486294" y="5181462"/>
                  <a:pt x="3478555" y="5185330"/>
                  <a:pt x="3478555" y="5195000"/>
                </a:cubicBezTo>
                <a:cubicBezTo>
                  <a:pt x="3472754" y="5195000"/>
                  <a:pt x="3470821" y="5200804"/>
                  <a:pt x="3468885" y="5204672"/>
                </a:cubicBezTo>
                <a:cubicBezTo>
                  <a:pt x="3463084" y="5208540"/>
                  <a:pt x="3459214" y="5212408"/>
                  <a:pt x="3455348" y="5218209"/>
                </a:cubicBezTo>
                <a:cubicBezTo>
                  <a:pt x="3449544" y="5224013"/>
                  <a:pt x="3445676" y="5229814"/>
                  <a:pt x="3439875" y="5235618"/>
                </a:cubicBezTo>
                <a:lnTo>
                  <a:pt x="3430203" y="5234005"/>
                </a:lnTo>
                <a:lnTo>
                  <a:pt x="3432138" y="5231747"/>
                </a:lnTo>
                <a:lnTo>
                  <a:pt x="3429777" y="5233934"/>
                </a:lnTo>
                <a:lnTo>
                  <a:pt x="3428270" y="5233683"/>
                </a:lnTo>
                <a:cubicBezTo>
                  <a:pt x="3434071" y="5218209"/>
                  <a:pt x="3443743" y="5206605"/>
                  <a:pt x="3453412" y="5195000"/>
                </a:cubicBezTo>
                <a:cubicBezTo>
                  <a:pt x="3466952" y="5173726"/>
                  <a:pt x="3482423" y="5154384"/>
                  <a:pt x="3497896" y="5135043"/>
                </a:cubicBezTo>
                <a:cubicBezTo>
                  <a:pt x="3497896" y="5135043"/>
                  <a:pt x="3497896" y="5133110"/>
                  <a:pt x="3499831" y="5129242"/>
                </a:cubicBezTo>
                <a:cubicBezTo>
                  <a:pt x="3492095" y="5133110"/>
                  <a:pt x="3490162" y="5138911"/>
                  <a:pt x="3486294" y="5142780"/>
                </a:cubicBezTo>
                <a:cubicBezTo>
                  <a:pt x="3488227" y="5138911"/>
                  <a:pt x="3488227" y="5133110"/>
                  <a:pt x="3488227" y="5129242"/>
                </a:cubicBezTo>
                <a:cubicBezTo>
                  <a:pt x="3486294" y="5129242"/>
                  <a:pt x="3484358" y="5129242"/>
                  <a:pt x="3484358" y="5129242"/>
                </a:cubicBezTo>
                <a:cubicBezTo>
                  <a:pt x="3474689" y="5125374"/>
                  <a:pt x="3468885" y="5129242"/>
                  <a:pt x="3463084" y="5136978"/>
                </a:cubicBezTo>
                <a:cubicBezTo>
                  <a:pt x="3451479" y="5152451"/>
                  <a:pt x="3439875" y="5167922"/>
                  <a:pt x="3428270" y="5183395"/>
                </a:cubicBezTo>
                <a:cubicBezTo>
                  <a:pt x="3426337" y="5185330"/>
                  <a:pt x="3426337" y="5185330"/>
                  <a:pt x="3426337" y="5189199"/>
                </a:cubicBezTo>
                <a:cubicBezTo>
                  <a:pt x="3434071" y="5185330"/>
                  <a:pt x="3436006" y="5175661"/>
                  <a:pt x="3443743" y="5173726"/>
                </a:cubicBezTo>
                <a:cubicBezTo>
                  <a:pt x="3443743" y="5183395"/>
                  <a:pt x="3443743" y="5183395"/>
                  <a:pt x="3439875" y="5191132"/>
                </a:cubicBezTo>
                <a:cubicBezTo>
                  <a:pt x="3443743" y="5187263"/>
                  <a:pt x="3447611" y="5185330"/>
                  <a:pt x="3449544" y="5181462"/>
                </a:cubicBezTo>
                <a:cubicBezTo>
                  <a:pt x="3455348" y="5171790"/>
                  <a:pt x="3463084" y="5162121"/>
                  <a:pt x="3470821" y="5152451"/>
                </a:cubicBezTo>
                <a:cubicBezTo>
                  <a:pt x="3474689" y="5148583"/>
                  <a:pt x="3478555" y="5142780"/>
                  <a:pt x="3484358" y="5142780"/>
                </a:cubicBezTo>
                <a:cubicBezTo>
                  <a:pt x="3470821" y="5162121"/>
                  <a:pt x="3455348" y="5181462"/>
                  <a:pt x="3441808" y="5200804"/>
                </a:cubicBezTo>
                <a:cubicBezTo>
                  <a:pt x="3439875" y="5202736"/>
                  <a:pt x="3436006" y="5204672"/>
                  <a:pt x="3434071" y="5206605"/>
                </a:cubicBezTo>
                <a:cubicBezTo>
                  <a:pt x="3434071" y="5204672"/>
                  <a:pt x="3434071" y="5204672"/>
                  <a:pt x="3434071" y="5202736"/>
                </a:cubicBezTo>
                <a:cubicBezTo>
                  <a:pt x="3436006" y="5200804"/>
                  <a:pt x="3437939" y="5196935"/>
                  <a:pt x="3437939" y="5193067"/>
                </a:cubicBezTo>
                <a:cubicBezTo>
                  <a:pt x="3434071" y="5195000"/>
                  <a:pt x="3432138" y="5198871"/>
                  <a:pt x="3432138" y="5202736"/>
                </a:cubicBezTo>
                <a:cubicBezTo>
                  <a:pt x="3426337" y="5204672"/>
                  <a:pt x="3420533" y="5210473"/>
                  <a:pt x="3422466" y="5218209"/>
                </a:cubicBezTo>
                <a:cubicBezTo>
                  <a:pt x="3424402" y="5216277"/>
                  <a:pt x="3426337" y="5216277"/>
                  <a:pt x="3428270" y="5214341"/>
                </a:cubicBezTo>
                <a:cubicBezTo>
                  <a:pt x="3422466" y="5229814"/>
                  <a:pt x="3412797" y="5243354"/>
                  <a:pt x="3399257" y="5253024"/>
                </a:cubicBezTo>
                <a:cubicBezTo>
                  <a:pt x="3401192" y="5251088"/>
                  <a:pt x="3401192" y="5251088"/>
                  <a:pt x="3401192" y="5249156"/>
                </a:cubicBezTo>
                <a:cubicBezTo>
                  <a:pt x="3399257" y="5251088"/>
                  <a:pt x="3395389" y="5253024"/>
                  <a:pt x="3393456" y="5254957"/>
                </a:cubicBezTo>
                <a:cubicBezTo>
                  <a:pt x="3389587" y="5260760"/>
                  <a:pt x="3385719" y="5266564"/>
                  <a:pt x="3381851" y="5272365"/>
                </a:cubicBezTo>
                <a:cubicBezTo>
                  <a:pt x="3376050" y="5280102"/>
                  <a:pt x="3370246" y="5287838"/>
                  <a:pt x="3364445" y="5295575"/>
                </a:cubicBezTo>
                <a:cubicBezTo>
                  <a:pt x="3366378" y="5293639"/>
                  <a:pt x="3368313" y="5293639"/>
                  <a:pt x="3372179" y="5291706"/>
                </a:cubicBezTo>
                <a:cubicBezTo>
                  <a:pt x="3372179" y="5301376"/>
                  <a:pt x="3366378" y="5305244"/>
                  <a:pt x="3362510" y="5311048"/>
                </a:cubicBezTo>
                <a:cubicBezTo>
                  <a:pt x="3362510" y="5307179"/>
                  <a:pt x="3360577" y="5305244"/>
                  <a:pt x="3360577" y="5303311"/>
                </a:cubicBezTo>
                <a:cubicBezTo>
                  <a:pt x="3358641" y="5307179"/>
                  <a:pt x="3356708" y="5309112"/>
                  <a:pt x="3354773" y="5312981"/>
                </a:cubicBezTo>
                <a:cubicBezTo>
                  <a:pt x="3347037" y="5316849"/>
                  <a:pt x="3347037" y="5316849"/>
                  <a:pt x="3348972" y="5324585"/>
                </a:cubicBezTo>
                <a:cubicBezTo>
                  <a:pt x="3345104" y="5326521"/>
                  <a:pt x="3343168" y="5328454"/>
                  <a:pt x="3339302" y="5328454"/>
                </a:cubicBezTo>
                <a:cubicBezTo>
                  <a:pt x="3335432" y="5328454"/>
                  <a:pt x="3331564" y="5326521"/>
                  <a:pt x="3331564" y="5322652"/>
                </a:cubicBezTo>
                <a:cubicBezTo>
                  <a:pt x="3331564" y="5318782"/>
                  <a:pt x="3331564" y="5316849"/>
                  <a:pt x="3331564" y="5314916"/>
                </a:cubicBezTo>
                <a:cubicBezTo>
                  <a:pt x="3331564" y="5312981"/>
                  <a:pt x="3329631" y="5309112"/>
                  <a:pt x="3329631" y="5309112"/>
                </a:cubicBezTo>
                <a:cubicBezTo>
                  <a:pt x="3319961" y="5307179"/>
                  <a:pt x="3327695" y="5301376"/>
                  <a:pt x="3323827" y="5297508"/>
                </a:cubicBezTo>
                <a:cubicBezTo>
                  <a:pt x="3319961" y="5299443"/>
                  <a:pt x="3316093" y="5303311"/>
                  <a:pt x="3310289" y="5309112"/>
                </a:cubicBezTo>
                <a:cubicBezTo>
                  <a:pt x="3310289" y="5305244"/>
                  <a:pt x="3310289" y="5303311"/>
                  <a:pt x="3310289" y="5301376"/>
                </a:cubicBezTo>
                <a:cubicBezTo>
                  <a:pt x="3310289" y="5299443"/>
                  <a:pt x="3312222" y="5295575"/>
                  <a:pt x="3314158" y="5293639"/>
                </a:cubicBezTo>
                <a:cubicBezTo>
                  <a:pt x="3312222" y="5289771"/>
                  <a:pt x="3308354" y="5293639"/>
                  <a:pt x="3306421" y="5293639"/>
                </a:cubicBezTo>
                <a:cubicBezTo>
                  <a:pt x="3304486" y="5293639"/>
                  <a:pt x="3302553" y="5291706"/>
                  <a:pt x="3302553" y="5289771"/>
                </a:cubicBezTo>
                <a:cubicBezTo>
                  <a:pt x="3302553" y="5291706"/>
                  <a:pt x="3300620" y="5291706"/>
                  <a:pt x="3300620" y="5293639"/>
                </a:cubicBezTo>
                <a:cubicBezTo>
                  <a:pt x="3296752" y="5297508"/>
                  <a:pt x="3292883" y="5297508"/>
                  <a:pt x="3290948" y="5293639"/>
                </a:cubicBezTo>
                <a:cubicBezTo>
                  <a:pt x="3290948" y="5291706"/>
                  <a:pt x="3290948" y="5287838"/>
                  <a:pt x="3290948" y="5285905"/>
                </a:cubicBezTo>
                <a:cubicBezTo>
                  <a:pt x="3292883" y="5278166"/>
                  <a:pt x="3296752" y="5272365"/>
                  <a:pt x="3298685" y="5264629"/>
                </a:cubicBezTo>
                <a:cubicBezTo>
                  <a:pt x="3296752" y="5262696"/>
                  <a:pt x="3296752" y="5262696"/>
                  <a:pt x="3294816" y="5260760"/>
                </a:cubicBezTo>
                <a:cubicBezTo>
                  <a:pt x="3294816" y="5260760"/>
                  <a:pt x="3294816" y="5262696"/>
                  <a:pt x="3294816" y="5262696"/>
                </a:cubicBezTo>
                <a:cubicBezTo>
                  <a:pt x="3292883" y="5262696"/>
                  <a:pt x="3290948" y="5262696"/>
                  <a:pt x="3290948" y="5260760"/>
                </a:cubicBezTo>
                <a:cubicBezTo>
                  <a:pt x="3289013" y="5258827"/>
                  <a:pt x="3290948" y="5256892"/>
                  <a:pt x="3290948" y="5256892"/>
                </a:cubicBezTo>
                <a:cubicBezTo>
                  <a:pt x="3283212" y="5247223"/>
                  <a:pt x="3279343" y="5235618"/>
                  <a:pt x="3277410" y="5224013"/>
                </a:cubicBezTo>
                <a:cubicBezTo>
                  <a:pt x="3275475" y="5222078"/>
                  <a:pt x="3275475" y="5222078"/>
                  <a:pt x="3275475" y="5220145"/>
                </a:cubicBezTo>
                <a:cubicBezTo>
                  <a:pt x="3275475" y="5218209"/>
                  <a:pt x="3275475" y="5218209"/>
                  <a:pt x="3275475" y="5216277"/>
                </a:cubicBezTo>
                <a:cubicBezTo>
                  <a:pt x="3275475" y="5214341"/>
                  <a:pt x="3275475" y="5212408"/>
                  <a:pt x="3275475" y="5210473"/>
                </a:cubicBezTo>
                <a:cubicBezTo>
                  <a:pt x="3273542" y="5210473"/>
                  <a:pt x="3273542" y="5208540"/>
                  <a:pt x="3273542" y="5208540"/>
                </a:cubicBezTo>
                <a:cubicBezTo>
                  <a:pt x="3263870" y="5206605"/>
                  <a:pt x="3271607" y="5200804"/>
                  <a:pt x="3267739" y="5196935"/>
                </a:cubicBezTo>
                <a:cubicBezTo>
                  <a:pt x="3263870" y="5198871"/>
                  <a:pt x="3260002" y="5202736"/>
                  <a:pt x="3254201" y="5208540"/>
                </a:cubicBezTo>
                <a:cubicBezTo>
                  <a:pt x="3254201" y="5204672"/>
                  <a:pt x="3254201" y="5202736"/>
                  <a:pt x="3254201" y="5200804"/>
                </a:cubicBezTo>
                <a:cubicBezTo>
                  <a:pt x="3254201" y="5198871"/>
                  <a:pt x="3254201" y="5198871"/>
                  <a:pt x="3254201" y="5198871"/>
                </a:cubicBezTo>
                <a:cubicBezTo>
                  <a:pt x="3254201" y="5200804"/>
                  <a:pt x="3252265" y="5200804"/>
                  <a:pt x="3252265" y="5200804"/>
                </a:cubicBezTo>
                <a:cubicBezTo>
                  <a:pt x="3250333" y="5198871"/>
                  <a:pt x="3250333" y="5198871"/>
                  <a:pt x="3250333" y="5196935"/>
                </a:cubicBezTo>
                <a:cubicBezTo>
                  <a:pt x="3252265" y="5195000"/>
                  <a:pt x="3252265" y="5195000"/>
                  <a:pt x="3254201" y="5193067"/>
                </a:cubicBezTo>
                <a:cubicBezTo>
                  <a:pt x="3254201" y="5193067"/>
                  <a:pt x="3256134" y="5195000"/>
                  <a:pt x="3256134" y="5195000"/>
                </a:cubicBezTo>
                <a:cubicBezTo>
                  <a:pt x="3256134" y="5196935"/>
                  <a:pt x="3256134" y="5196935"/>
                  <a:pt x="3256134" y="5196935"/>
                </a:cubicBezTo>
                <a:cubicBezTo>
                  <a:pt x="3256134" y="5195000"/>
                  <a:pt x="3258069" y="5193067"/>
                  <a:pt x="3258069" y="5191132"/>
                </a:cubicBezTo>
                <a:cubicBezTo>
                  <a:pt x="3256134" y="5187263"/>
                  <a:pt x="3252265" y="5191132"/>
                  <a:pt x="3250333" y="5191132"/>
                </a:cubicBezTo>
                <a:cubicBezTo>
                  <a:pt x="3248397" y="5191132"/>
                  <a:pt x="3246464" y="5189199"/>
                  <a:pt x="3246464" y="5187263"/>
                </a:cubicBezTo>
                <a:cubicBezTo>
                  <a:pt x="3246464" y="5189199"/>
                  <a:pt x="3244529" y="5189199"/>
                  <a:pt x="3244529" y="5191132"/>
                </a:cubicBezTo>
                <a:cubicBezTo>
                  <a:pt x="3240661" y="5195000"/>
                  <a:pt x="3236792" y="5195000"/>
                  <a:pt x="3234860" y="5191132"/>
                </a:cubicBezTo>
                <a:cubicBezTo>
                  <a:pt x="3234860" y="5189199"/>
                  <a:pt x="3234860" y="5185330"/>
                  <a:pt x="3234860" y="5183395"/>
                </a:cubicBezTo>
                <a:cubicBezTo>
                  <a:pt x="3236792" y="5175661"/>
                  <a:pt x="3240661" y="5169857"/>
                  <a:pt x="3242596" y="5162121"/>
                </a:cubicBezTo>
                <a:cubicBezTo>
                  <a:pt x="3232927" y="5148583"/>
                  <a:pt x="3225188" y="5133110"/>
                  <a:pt x="3223255" y="5117637"/>
                </a:cubicBezTo>
                <a:cubicBezTo>
                  <a:pt x="3221319" y="5115702"/>
                  <a:pt x="3221319" y="5111836"/>
                  <a:pt x="3221319" y="5107965"/>
                </a:cubicBezTo>
                <a:cubicBezTo>
                  <a:pt x="3215518" y="5113769"/>
                  <a:pt x="3207782" y="5117637"/>
                  <a:pt x="3201978" y="5121505"/>
                </a:cubicBezTo>
                <a:cubicBezTo>
                  <a:pt x="3201978" y="5117637"/>
                  <a:pt x="3201978" y="5115702"/>
                  <a:pt x="3203913" y="5113769"/>
                </a:cubicBezTo>
                <a:cubicBezTo>
                  <a:pt x="3209717" y="5107965"/>
                  <a:pt x="3215518" y="5102164"/>
                  <a:pt x="3221319" y="5098296"/>
                </a:cubicBezTo>
                <a:cubicBezTo>
                  <a:pt x="3221319" y="5094428"/>
                  <a:pt x="3223255" y="5088626"/>
                  <a:pt x="3225188" y="5082823"/>
                </a:cubicBezTo>
                <a:cubicBezTo>
                  <a:pt x="3227123" y="5080888"/>
                  <a:pt x="3227123" y="5078955"/>
                  <a:pt x="3227123" y="5077019"/>
                </a:cubicBezTo>
                <a:cubicBezTo>
                  <a:pt x="3225188" y="5077019"/>
                  <a:pt x="3225188" y="5077019"/>
                  <a:pt x="3225188" y="5077019"/>
                </a:cubicBezTo>
                <a:cubicBezTo>
                  <a:pt x="3213585" y="5077019"/>
                  <a:pt x="3203913" y="5073153"/>
                  <a:pt x="3198110" y="5063482"/>
                </a:cubicBezTo>
                <a:cubicBezTo>
                  <a:pt x="3201978" y="5055745"/>
                  <a:pt x="3209717" y="5049944"/>
                  <a:pt x="3215518" y="5042207"/>
                </a:cubicBezTo>
                <a:cubicBezTo>
                  <a:pt x="3215518" y="5040272"/>
                  <a:pt x="3217451" y="5038339"/>
                  <a:pt x="3217451" y="5036404"/>
                </a:cubicBezTo>
                <a:cubicBezTo>
                  <a:pt x="3215518" y="5034471"/>
                  <a:pt x="3213585" y="5032536"/>
                  <a:pt x="3211650" y="5028667"/>
                </a:cubicBezTo>
                <a:cubicBezTo>
                  <a:pt x="3213585" y="5026734"/>
                  <a:pt x="3217451" y="5024801"/>
                  <a:pt x="3219387" y="5024801"/>
                </a:cubicBezTo>
                <a:cubicBezTo>
                  <a:pt x="3219387" y="5024801"/>
                  <a:pt x="3219387" y="5022866"/>
                  <a:pt x="3219387" y="5022866"/>
                </a:cubicBezTo>
                <a:cubicBezTo>
                  <a:pt x="3219387" y="5020931"/>
                  <a:pt x="3217451" y="5018998"/>
                  <a:pt x="3215518" y="5018998"/>
                </a:cubicBezTo>
                <a:cubicBezTo>
                  <a:pt x="3211650" y="5017063"/>
                  <a:pt x="3205849" y="5015130"/>
                  <a:pt x="3203913" y="5009326"/>
                </a:cubicBezTo>
                <a:cubicBezTo>
                  <a:pt x="3201978" y="5005460"/>
                  <a:pt x="3200045" y="5003525"/>
                  <a:pt x="3196177" y="4999657"/>
                </a:cubicBezTo>
                <a:cubicBezTo>
                  <a:pt x="3188440" y="5005460"/>
                  <a:pt x="3178771" y="5013194"/>
                  <a:pt x="3167166" y="5015130"/>
                </a:cubicBezTo>
                <a:cubicBezTo>
                  <a:pt x="3172967" y="5009326"/>
                  <a:pt x="3178771" y="5003525"/>
                  <a:pt x="3184572" y="4999657"/>
                </a:cubicBezTo>
                <a:cubicBezTo>
                  <a:pt x="3184572" y="4997721"/>
                  <a:pt x="3184572" y="4995788"/>
                  <a:pt x="3184572" y="4995788"/>
                </a:cubicBezTo>
                <a:cubicBezTo>
                  <a:pt x="3190376" y="4989985"/>
                  <a:pt x="3198110" y="4982251"/>
                  <a:pt x="3203913" y="4974512"/>
                </a:cubicBezTo>
                <a:cubicBezTo>
                  <a:pt x="3209717" y="4968710"/>
                  <a:pt x="3213585" y="4962909"/>
                  <a:pt x="3219387" y="4959041"/>
                </a:cubicBezTo>
                <a:cubicBezTo>
                  <a:pt x="3217451" y="4957106"/>
                  <a:pt x="3215518" y="4955173"/>
                  <a:pt x="3213585" y="4953237"/>
                </a:cubicBezTo>
                <a:cubicBezTo>
                  <a:pt x="3213585" y="4953237"/>
                  <a:pt x="3211650" y="4955173"/>
                  <a:pt x="3211650" y="4955173"/>
                </a:cubicBezTo>
                <a:cubicBezTo>
                  <a:pt x="3200045" y="4966778"/>
                  <a:pt x="3188440" y="4976447"/>
                  <a:pt x="3176836" y="4988052"/>
                </a:cubicBezTo>
                <a:lnTo>
                  <a:pt x="3173291" y="4990416"/>
                </a:lnTo>
                <a:lnTo>
                  <a:pt x="3172967" y="4989985"/>
                </a:lnTo>
                <a:cubicBezTo>
                  <a:pt x="3172967" y="4989985"/>
                  <a:pt x="3171034" y="4989985"/>
                  <a:pt x="3171034" y="4991920"/>
                </a:cubicBezTo>
                <a:lnTo>
                  <a:pt x="3173291" y="4990416"/>
                </a:lnTo>
                <a:lnTo>
                  <a:pt x="3175144" y="4992887"/>
                </a:lnTo>
                <a:cubicBezTo>
                  <a:pt x="3174902" y="4993854"/>
                  <a:pt x="3173935" y="4994821"/>
                  <a:pt x="3172967" y="4995788"/>
                </a:cubicBezTo>
                <a:cubicBezTo>
                  <a:pt x="3165231" y="5005460"/>
                  <a:pt x="3155561" y="5011261"/>
                  <a:pt x="3145892" y="5017063"/>
                </a:cubicBezTo>
                <a:cubicBezTo>
                  <a:pt x="3145892" y="5013194"/>
                  <a:pt x="3145892" y="5011261"/>
                  <a:pt x="3147825" y="5009326"/>
                </a:cubicBezTo>
                <a:cubicBezTo>
                  <a:pt x="3153626" y="5005460"/>
                  <a:pt x="3157494" y="4997721"/>
                  <a:pt x="3165231" y="4993853"/>
                </a:cubicBezTo>
                <a:cubicBezTo>
                  <a:pt x="3167166" y="4989985"/>
                  <a:pt x="3167166" y="4988052"/>
                  <a:pt x="3169099" y="4986119"/>
                </a:cubicBezTo>
                <a:cubicBezTo>
                  <a:pt x="3176836" y="4978380"/>
                  <a:pt x="3182639" y="4968710"/>
                  <a:pt x="3192309" y="4962909"/>
                </a:cubicBezTo>
                <a:cubicBezTo>
                  <a:pt x="3196177" y="4960974"/>
                  <a:pt x="3200045" y="4955173"/>
                  <a:pt x="3203913" y="4951302"/>
                </a:cubicBezTo>
                <a:cubicBezTo>
                  <a:pt x="3205849" y="4949369"/>
                  <a:pt x="3205849" y="4949369"/>
                  <a:pt x="3205849" y="4949369"/>
                </a:cubicBezTo>
                <a:cubicBezTo>
                  <a:pt x="3201978" y="4947436"/>
                  <a:pt x="3200045" y="4943568"/>
                  <a:pt x="3196177" y="4941633"/>
                </a:cubicBezTo>
                <a:cubicBezTo>
                  <a:pt x="3190376" y="4945501"/>
                  <a:pt x="3186507" y="4945501"/>
                  <a:pt x="3180704" y="4947436"/>
                </a:cubicBezTo>
                <a:cubicBezTo>
                  <a:pt x="3178771" y="4949369"/>
                  <a:pt x="3176836" y="4951302"/>
                  <a:pt x="3174903" y="4953237"/>
                </a:cubicBezTo>
                <a:cubicBezTo>
                  <a:pt x="3172967" y="4957106"/>
                  <a:pt x="3174903" y="4959041"/>
                  <a:pt x="3176836" y="4960974"/>
                </a:cubicBezTo>
                <a:lnTo>
                  <a:pt x="3178771" y="4960974"/>
                </a:lnTo>
                <a:cubicBezTo>
                  <a:pt x="3182639" y="4966778"/>
                  <a:pt x="3180704" y="4972579"/>
                  <a:pt x="3171034" y="4972579"/>
                </a:cubicBezTo>
                <a:cubicBezTo>
                  <a:pt x="3171034" y="4972579"/>
                  <a:pt x="3169099" y="4972579"/>
                  <a:pt x="3167166" y="4972579"/>
                </a:cubicBezTo>
                <a:cubicBezTo>
                  <a:pt x="3165231" y="4974512"/>
                  <a:pt x="3163298" y="4976447"/>
                  <a:pt x="3161363" y="4978380"/>
                </a:cubicBezTo>
                <a:cubicBezTo>
                  <a:pt x="3151693" y="4984184"/>
                  <a:pt x="3142024" y="4991920"/>
                  <a:pt x="3134285" y="5001592"/>
                </a:cubicBezTo>
                <a:cubicBezTo>
                  <a:pt x="3130417" y="5007393"/>
                  <a:pt x="3124615" y="5011261"/>
                  <a:pt x="3114944" y="5013194"/>
                </a:cubicBezTo>
                <a:cubicBezTo>
                  <a:pt x="3114944" y="5001592"/>
                  <a:pt x="3122682" y="4993853"/>
                  <a:pt x="3130417" y="4988052"/>
                </a:cubicBezTo>
                <a:cubicBezTo>
                  <a:pt x="3136220" y="4984184"/>
                  <a:pt x="3142024" y="4976447"/>
                  <a:pt x="3149758" y="4976447"/>
                </a:cubicBezTo>
                <a:cubicBezTo>
                  <a:pt x="3151693" y="4974512"/>
                  <a:pt x="3153626" y="4972579"/>
                  <a:pt x="3155561" y="4970643"/>
                </a:cubicBezTo>
                <a:cubicBezTo>
                  <a:pt x="3157494" y="4970643"/>
                  <a:pt x="3157494" y="4968710"/>
                  <a:pt x="3157494" y="4968710"/>
                </a:cubicBezTo>
                <a:cubicBezTo>
                  <a:pt x="3153626" y="4966778"/>
                  <a:pt x="3149758" y="4962909"/>
                  <a:pt x="3145892" y="4957106"/>
                </a:cubicBezTo>
                <a:cubicBezTo>
                  <a:pt x="3147825" y="4949369"/>
                  <a:pt x="3151693" y="4945501"/>
                  <a:pt x="3157494" y="4939700"/>
                </a:cubicBezTo>
                <a:cubicBezTo>
                  <a:pt x="3153626" y="4939700"/>
                  <a:pt x="3151693" y="4937764"/>
                  <a:pt x="3147825" y="4937764"/>
                </a:cubicBezTo>
                <a:cubicBezTo>
                  <a:pt x="3142024" y="4941633"/>
                  <a:pt x="3138153" y="4947436"/>
                  <a:pt x="3132352" y="4953237"/>
                </a:cubicBezTo>
                <a:cubicBezTo>
                  <a:pt x="3128484" y="4947436"/>
                  <a:pt x="3124615" y="4941633"/>
                  <a:pt x="3116879" y="4951302"/>
                </a:cubicBezTo>
                <a:cubicBezTo>
                  <a:pt x="3116879" y="4949369"/>
                  <a:pt x="3116879" y="4947436"/>
                  <a:pt x="3116879" y="4945501"/>
                </a:cubicBezTo>
                <a:cubicBezTo>
                  <a:pt x="3118814" y="4941633"/>
                  <a:pt x="3122682" y="4937764"/>
                  <a:pt x="3126551" y="4931963"/>
                </a:cubicBezTo>
                <a:cubicBezTo>
                  <a:pt x="3120747" y="4935832"/>
                  <a:pt x="3114944" y="4939700"/>
                  <a:pt x="3109142" y="4941633"/>
                </a:cubicBezTo>
                <a:cubicBezTo>
                  <a:pt x="3103341" y="4933896"/>
                  <a:pt x="3111075" y="4931963"/>
                  <a:pt x="3113011" y="4926160"/>
                </a:cubicBezTo>
                <a:cubicBezTo>
                  <a:pt x="3109142" y="4928095"/>
                  <a:pt x="3107209" y="4930028"/>
                  <a:pt x="3103341" y="4931963"/>
                </a:cubicBezTo>
                <a:cubicBezTo>
                  <a:pt x="3103341" y="4930028"/>
                  <a:pt x="3105274" y="4928095"/>
                  <a:pt x="3105274" y="4926160"/>
                </a:cubicBezTo>
                <a:cubicBezTo>
                  <a:pt x="3097538" y="4930028"/>
                  <a:pt x="3091734" y="4933896"/>
                  <a:pt x="3087868" y="4941633"/>
                </a:cubicBezTo>
                <a:lnTo>
                  <a:pt x="3085933" y="4943567"/>
                </a:lnTo>
                <a:lnTo>
                  <a:pt x="3087384" y="4941150"/>
                </a:lnTo>
                <a:cubicBezTo>
                  <a:pt x="3088351" y="4940182"/>
                  <a:pt x="3089801" y="4938732"/>
                  <a:pt x="3091734" y="4935832"/>
                </a:cubicBezTo>
                <a:cubicBezTo>
                  <a:pt x="3089801" y="4935832"/>
                  <a:pt x="3089801" y="4937764"/>
                  <a:pt x="3087868" y="4937764"/>
                </a:cubicBezTo>
                <a:cubicBezTo>
                  <a:pt x="3084000" y="4935832"/>
                  <a:pt x="3080132" y="4933896"/>
                  <a:pt x="3076263" y="4930028"/>
                </a:cubicBezTo>
                <a:cubicBezTo>
                  <a:pt x="3076263" y="4930028"/>
                  <a:pt x="3074328" y="4930028"/>
                  <a:pt x="3074328" y="4930028"/>
                </a:cubicBezTo>
                <a:cubicBezTo>
                  <a:pt x="3070460" y="4931963"/>
                  <a:pt x="3068527" y="4933896"/>
                  <a:pt x="3064659" y="4935832"/>
                </a:cubicBezTo>
                <a:cubicBezTo>
                  <a:pt x="3064659" y="4933896"/>
                  <a:pt x="3064659" y="4933896"/>
                  <a:pt x="3064659" y="4933896"/>
                </a:cubicBezTo>
                <a:cubicBezTo>
                  <a:pt x="3045317" y="4949369"/>
                  <a:pt x="3024041" y="4960974"/>
                  <a:pt x="3006635" y="4976447"/>
                </a:cubicBezTo>
                <a:cubicBezTo>
                  <a:pt x="3004699" y="4978380"/>
                  <a:pt x="3002767" y="4980315"/>
                  <a:pt x="2998898" y="4984184"/>
                </a:cubicBezTo>
                <a:cubicBezTo>
                  <a:pt x="3006635" y="4982251"/>
                  <a:pt x="3010503" y="4982251"/>
                  <a:pt x="3012438" y="4986119"/>
                </a:cubicBezTo>
                <a:cubicBezTo>
                  <a:pt x="3018240" y="4978380"/>
                  <a:pt x="3025976" y="4974512"/>
                  <a:pt x="3033713" y="4970643"/>
                </a:cubicBezTo>
                <a:cubicBezTo>
                  <a:pt x="3031780" y="4976447"/>
                  <a:pt x="3029844" y="4980315"/>
                  <a:pt x="3027909" y="4986119"/>
                </a:cubicBezTo>
                <a:cubicBezTo>
                  <a:pt x="3029844" y="4988052"/>
                  <a:pt x="3031780" y="4988052"/>
                  <a:pt x="3033713" y="4986119"/>
                </a:cubicBezTo>
                <a:cubicBezTo>
                  <a:pt x="3035648" y="4984184"/>
                  <a:pt x="3039516" y="4980315"/>
                  <a:pt x="3041449" y="4976447"/>
                </a:cubicBezTo>
                <a:cubicBezTo>
                  <a:pt x="3041449" y="4976447"/>
                  <a:pt x="3041449" y="4974512"/>
                  <a:pt x="3041449" y="4974512"/>
                </a:cubicBezTo>
                <a:cubicBezTo>
                  <a:pt x="3043382" y="4972579"/>
                  <a:pt x="3043382" y="4972579"/>
                  <a:pt x="3045317" y="4972579"/>
                </a:cubicBezTo>
                <a:cubicBezTo>
                  <a:pt x="3047250" y="4970643"/>
                  <a:pt x="3051118" y="4968710"/>
                  <a:pt x="3053054" y="4966778"/>
                </a:cubicBezTo>
                <a:cubicBezTo>
                  <a:pt x="3054987" y="4964842"/>
                  <a:pt x="3056922" y="4962909"/>
                  <a:pt x="3060790" y="4962909"/>
                </a:cubicBezTo>
                <a:cubicBezTo>
                  <a:pt x="3064659" y="4960974"/>
                  <a:pt x="3066592" y="4959041"/>
                  <a:pt x="3068527" y="4959041"/>
                </a:cubicBezTo>
                <a:cubicBezTo>
                  <a:pt x="3066592" y="4968710"/>
                  <a:pt x="3058857" y="4972579"/>
                  <a:pt x="3053054" y="4978380"/>
                </a:cubicBezTo>
                <a:cubicBezTo>
                  <a:pt x="3051118" y="4978380"/>
                  <a:pt x="3051118" y="4978380"/>
                  <a:pt x="3049186" y="4978380"/>
                </a:cubicBezTo>
                <a:cubicBezTo>
                  <a:pt x="3049186" y="4978380"/>
                  <a:pt x="3049186" y="4978380"/>
                  <a:pt x="3047250" y="4978380"/>
                </a:cubicBezTo>
                <a:cubicBezTo>
                  <a:pt x="3045317" y="4984184"/>
                  <a:pt x="3043382" y="4988052"/>
                  <a:pt x="3043382" y="4995788"/>
                </a:cubicBezTo>
                <a:cubicBezTo>
                  <a:pt x="3049186" y="4989985"/>
                  <a:pt x="3054987" y="4984184"/>
                  <a:pt x="3058857" y="4980315"/>
                </a:cubicBezTo>
                <a:cubicBezTo>
                  <a:pt x="3064659" y="4976447"/>
                  <a:pt x="3068527" y="4972579"/>
                  <a:pt x="3074328" y="4966778"/>
                </a:cubicBezTo>
                <a:cubicBezTo>
                  <a:pt x="3076263" y="4968710"/>
                  <a:pt x="3076263" y="4970643"/>
                  <a:pt x="3078196" y="4972579"/>
                </a:cubicBezTo>
                <a:cubicBezTo>
                  <a:pt x="3066592" y="4988052"/>
                  <a:pt x="3053054" y="4999657"/>
                  <a:pt x="3051118" y="5018998"/>
                </a:cubicBezTo>
                <a:cubicBezTo>
                  <a:pt x="3047250" y="5018998"/>
                  <a:pt x="3045317" y="5018998"/>
                  <a:pt x="3043382" y="5018998"/>
                </a:cubicBezTo>
                <a:cubicBezTo>
                  <a:pt x="3039516" y="5024801"/>
                  <a:pt x="3035648" y="5028667"/>
                  <a:pt x="3031780" y="5034471"/>
                </a:cubicBezTo>
                <a:cubicBezTo>
                  <a:pt x="3031780" y="5036404"/>
                  <a:pt x="3031780" y="5038339"/>
                  <a:pt x="3033713" y="5040272"/>
                </a:cubicBezTo>
                <a:cubicBezTo>
                  <a:pt x="3035648" y="5036404"/>
                  <a:pt x="3037581" y="5032536"/>
                  <a:pt x="3039516" y="5028667"/>
                </a:cubicBezTo>
                <a:cubicBezTo>
                  <a:pt x="3039516" y="5028667"/>
                  <a:pt x="3041449" y="5026734"/>
                  <a:pt x="3043382" y="5026734"/>
                </a:cubicBezTo>
                <a:cubicBezTo>
                  <a:pt x="3045317" y="5028667"/>
                  <a:pt x="3047250" y="5032536"/>
                  <a:pt x="3049186" y="5034471"/>
                </a:cubicBezTo>
                <a:cubicBezTo>
                  <a:pt x="3047250" y="5044140"/>
                  <a:pt x="3039516" y="5049944"/>
                  <a:pt x="3041449" y="5059613"/>
                </a:cubicBezTo>
                <a:cubicBezTo>
                  <a:pt x="3043382" y="5067350"/>
                  <a:pt x="3043382" y="5075086"/>
                  <a:pt x="3043382" y="5084756"/>
                </a:cubicBezTo>
                <a:cubicBezTo>
                  <a:pt x="3045317" y="5084756"/>
                  <a:pt x="3047250" y="5086691"/>
                  <a:pt x="3049186" y="5088626"/>
                </a:cubicBezTo>
                <a:cubicBezTo>
                  <a:pt x="3050152" y="5089593"/>
                  <a:pt x="3048701" y="5092493"/>
                  <a:pt x="3045800" y="5096119"/>
                </a:cubicBezTo>
                <a:lnTo>
                  <a:pt x="3034689" y="5107009"/>
                </a:lnTo>
                <a:lnTo>
                  <a:pt x="3033713" y="5106032"/>
                </a:lnTo>
                <a:cubicBezTo>
                  <a:pt x="3033713" y="5106032"/>
                  <a:pt x="3033713" y="5104097"/>
                  <a:pt x="3033713" y="5104097"/>
                </a:cubicBezTo>
                <a:cubicBezTo>
                  <a:pt x="3031780" y="5106032"/>
                  <a:pt x="3031780" y="5106032"/>
                  <a:pt x="3029844" y="5107965"/>
                </a:cubicBezTo>
                <a:lnTo>
                  <a:pt x="3033713" y="5108933"/>
                </a:lnTo>
                <a:lnTo>
                  <a:pt x="3033713" y="5109901"/>
                </a:lnTo>
                <a:lnTo>
                  <a:pt x="3037581" y="5109901"/>
                </a:lnTo>
                <a:lnTo>
                  <a:pt x="3043382" y="5109901"/>
                </a:lnTo>
                <a:cubicBezTo>
                  <a:pt x="3043382" y="5111836"/>
                  <a:pt x="3043382" y="5113769"/>
                  <a:pt x="3043382" y="5113769"/>
                </a:cubicBezTo>
                <a:lnTo>
                  <a:pt x="3042975" y="5114379"/>
                </a:lnTo>
                <a:lnTo>
                  <a:pt x="3041449" y="5111836"/>
                </a:lnTo>
                <a:lnTo>
                  <a:pt x="3041449" y="5116669"/>
                </a:lnTo>
                <a:lnTo>
                  <a:pt x="3039516" y="5119570"/>
                </a:lnTo>
                <a:lnTo>
                  <a:pt x="3041449" y="5120538"/>
                </a:lnTo>
                <a:lnTo>
                  <a:pt x="3041449" y="5122665"/>
                </a:lnTo>
                <a:lnTo>
                  <a:pt x="3033713" y="5127307"/>
                </a:lnTo>
                <a:cubicBezTo>
                  <a:pt x="3033713" y="5125374"/>
                  <a:pt x="3031780" y="5125374"/>
                  <a:pt x="3031780" y="5125374"/>
                </a:cubicBezTo>
                <a:cubicBezTo>
                  <a:pt x="3016307" y="5135043"/>
                  <a:pt x="3004699" y="5148583"/>
                  <a:pt x="2991162" y="5160188"/>
                </a:cubicBezTo>
                <a:cubicBezTo>
                  <a:pt x="2983425" y="5165989"/>
                  <a:pt x="2977624" y="5169857"/>
                  <a:pt x="2969888" y="5171790"/>
                </a:cubicBezTo>
                <a:cubicBezTo>
                  <a:pt x="2966019" y="5171790"/>
                  <a:pt x="2960216" y="5175661"/>
                  <a:pt x="2956347" y="5177594"/>
                </a:cubicBezTo>
                <a:cubicBezTo>
                  <a:pt x="2946678" y="5177594"/>
                  <a:pt x="2942810" y="5169857"/>
                  <a:pt x="2938941" y="5164054"/>
                </a:cubicBezTo>
                <a:cubicBezTo>
                  <a:pt x="2935073" y="5156320"/>
                  <a:pt x="2927337" y="5148583"/>
                  <a:pt x="2929272" y="5138911"/>
                </a:cubicBezTo>
                <a:cubicBezTo>
                  <a:pt x="2931205" y="5135043"/>
                  <a:pt x="2927337" y="5129242"/>
                  <a:pt x="2925404" y="5123438"/>
                </a:cubicBezTo>
                <a:cubicBezTo>
                  <a:pt x="2917665" y="5123438"/>
                  <a:pt x="2909931" y="5127307"/>
                  <a:pt x="2900259" y="5127307"/>
                </a:cubicBezTo>
                <a:cubicBezTo>
                  <a:pt x="2900259" y="5125374"/>
                  <a:pt x="2898326" y="5123438"/>
                  <a:pt x="2898326" y="5121505"/>
                </a:cubicBezTo>
                <a:cubicBezTo>
                  <a:pt x="2898326" y="5121505"/>
                  <a:pt x="2898326" y="5119570"/>
                  <a:pt x="2898326" y="5117637"/>
                </a:cubicBezTo>
                <a:cubicBezTo>
                  <a:pt x="2894458" y="5121505"/>
                  <a:pt x="2892522" y="5123438"/>
                  <a:pt x="2888654" y="5127307"/>
                </a:cubicBezTo>
                <a:cubicBezTo>
                  <a:pt x="2882853" y="5131175"/>
                  <a:pt x="2878985" y="5133110"/>
                  <a:pt x="2873181" y="5136978"/>
                </a:cubicBezTo>
                <a:cubicBezTo>
                  <a:pt x="2873181" y="5136978"/>
                  <a:pt x="2871248" y="5135043"/>
                  <a:pt x="2871248" y="5135043"/>
                </a:cubicBezTo>
                <a:cubicBezTo>
                  <a:pt x="2873181" y="5131175"/>
                  <a:pt x="2873181" y="5125374"/>
                  <a:pt x="2875116" y="5121505"/>
                </a:cubicBezTo>
                <a:cubicBezTo>
                  <a:pt x="2867380" y="5127307"/>
                  <a:pt x="2859643" y="5127307"/>
                  <a:pt x="2855775" y="5136978"/>
                </a:cubicBezTo>
                <a:cubicBezTo>
                  <a:pt x="2853840" y="5144713"/>
                  <a:pt x="2848039" y="5150516"/>
                  <a:pt x="2844170" y="5158253"/>
                </a:cubicBezTo>
                <a:lnTo>
                  <a:pt x="2840101" y="5153312"/>
                </a:lnTo>
                <a:lnTo>
                  <a:pt x="2842237" y="5148583"/>
                </a:lnTo>
                <a:lnTo>
                  <a:pt x="2838602" y="5151491"/>
                </a:lnTo>
                <a:lnTo>
                  <a:pt x="2834016" y="5145923"/>
                </a:lnTo>
                <a:cubicBezTo>
                  <a:pt x="2830632" y="5145198"/>
                  <a:pt x="2826763" y="5147615"/>
                  <a:pt x="2820961" y="5152451"/>
                </a:cubicBezTo>
                <a:cubicBezTo>
                  <a:pt x="2819028" y="5154384"/>
                  <a:pt x="2815160" y="5158253"/>
                  <a:pt x="2811291" y="5160188"/>
                </a:cubicBezTo>
                <a:cubicBezTo>
                  <a:pt x="2805488" y="5156320"/>
                  <a:pt x="2801620" y="5152451"/>
                  <a:pt x="2797754" y="5146648"/>
                </a:cubicBezTo>
                <a:cubicBezTo>
                  <a:pt x="2793883" y="5152451"/>
                  <a:pt x="2790015" y="5158253"/>
                  <a:pt x="2786147" y="5164054"/>
                </a:cubicBezTo>
                <a:cubicBezTo>
                  <a:pt x="2788082" y="5165989"/>
                  <a:pt x="2788082" y="5167922"/>
                  <a:pt x="2790015" y="5169857"/>
                </a:cubicBezTo>
                <a:cubicBezTo>
                  <a:pt x="2790015" y="5169857"/>
                  <a:pt x="2788082" y="5169857"/>
                  <a:pt x="2788082" y="5169857"/>
                </a:cubicBezTo>
                <a:cubicBezTo>
                  <a:pt x="2772609" y="5181462"/>
                  <a:pt x="2757136" y="5191132"/>
                  <a:pt x="2741663" y="5202736"/>
                </a:cubicBezTo>
                <a:cubicBezTo>
                  <a:pt x="2741663" y="5202736"/>
                  <a:pt x="2739730" y="5204672"/>
                  <a:pt x="2739730" y="5204672"/>
                </a:cubicBezTo>
                <a:cubicBezTo>
                  <a:pt x="2735862" y="5208540"/>
                  <a:pt x="2733926" y="5214341"/>
                  <a:pt x="2730058" y="5214341"/>
                </a:cubicBezTo>
                <a:cubicBezTo>
                  <a:pt x="2724257" y="5214341"/>
                  <a:pt x="2716520" y="5212408"/>
                  <a:pt x="2710717" y="5210473"/>
                </a:cubicBezTo>
                <a:cubicBezTo>
                  <a:pt x="2710717" y="5214341"/>
                  <a:pt x="2712652" y="5218209"/>
                  <a:pt x="2712652" y="5224013"/>
                </a:cubicBezTo>
                <a:cubicBezTo>
                  <a:pt x="2702980" y="5231747"/>
                  <a:pt x="2691378" y="5237551"/>
                  <a:pt x="2679771" y="5245287"/>
                </a:cubicBezTo>
                <a:cubicBezTo>
                  <a:pt x="2677838" y="5245287"/>
                  <a:pt x="2677838" y="5243354"/>
                  <a:pt x="2677838" y="5243354"/>
                </a:cubicBezTo>
                <a:cubicBezTo>
                  <a:pt x="2679771" y="5239486"/>
                  <a:pt x="2683639" y="5237551"/>
                  <a:pt x="2685574" y="5233683"/>
                </a:cubicBezTo>
                <a:cubicBezTo>
                  <a:pt x="2683639" y="5233683"/>
                  <a:pt x="2683639" y="5231747"/>
                  <a:pt x="2683639" y="5231747"/>
                </a:cubicBezTo>
                <a:cubicBezTo>
                  <a:pt x="2673970" y="5237551"/>
                  <a:pt x="2664300" y="5243354"/>
                  <a:pt x="2654628" y="5249156"/>
                </a:cubicBezTo>
                <a:cubicBezTo>
                  <a:pt x="2654628" y="5249156"/>
                  <a:pt x="2656561" y="5253024"/>
                  <a:pt x="2656561" y="5254957"/>
                </a:cubicBezTo>
                <a:cubicBezTo>
                  <a:pt x="2656561" y="5256892"/>
                  <a:pt x="2654628" y="5256892"/>
                  <a:pt x="2654628" y="5256892"/>
                </a:cubicBezTo>
                <a:cubicBezTo>
                  <a:pt x="2654628" y="5254957"/>
                  <a:pt x="2652695" y="5251088"/>
                  <a:pt x="2650760" y="5249156"/>
                </a:cubicBezTo>
                <a:cubicBezTo>
                  <a:pt x="2646892" y="5254957"/>
                  <a:pt x="2637220" y="5256892"/>
                  <a:pt x="2635287" y="5264629"/>
                </a:cubicBezTo>
                <a:cubicBezTo>
                  <a:pt x="2635287" y="5264629"/>
                  <a:pt x="2631419" y="5266564"/>
                  <a:pt x="2631419" y="5266564"/>
                </a:cubicBezTo>
                <a:cubicBezTo>
                  <a:pt x="2623682" y="5264629"/>
                  <a:pt x="2619814" y="5268497"/>
                  <a:pt x="2614013" y="5272365"/>
                </a:cubicBezTo>
                <a:cubicBezTo>
                  <a:pt x="2608209" y="5276233"/>
                  <a:pt x="2604343" y="5278166"/>
                  <a:pt x="2600473" y="5285905"/>
                </a:cubicBezTo>
                <a:cubicBezTo>
                  <a:pt x="2596605" y="5293639"/>
                  <a:pt x="2586935" y="5295575"/>
                  <a:pt x="2579199" y="5299443"/>
                </a:cubicBezTo>
                <a:cubicBezTo>
                  <a:pt x="2581134" y="5297508"/>
                  <a:pt x="2583067" y="5293639"/>
                  <a:pt x="2586935" y="5289771"/>
                </a:cubicBezTo>
                <a:cubicBezTo>
                  <a:pt x="2583067" y="5289771"/>
                  <a:pt x="2577266" y="5291706"/>
                  <a:pt x="2573395" y="5291706"/>
                </a:cubicBezTo>
                <a:cubicBezTo>
                  <a:pt x="2573395" y="5287838"/>
                  <a:pt x="2571462" y="5285905"/>
                  <a:pt x="2571462" y="5283970"/>
                </a:cubicBezTo>
                <a:cubicBezTo>
                  <a:pt x="2563726" y="5287838"/>
                  <a:pt x="2555989" y="5291706"/>
                  <a:pt x="2548253" y="5295575"/>
                </a:cubicBezTo>
                <a:cubicBezTo>
                  <a:pt x="2546320" y="5293639"/>
                  <a:pt x="2546320" y="5291706"/>
                  <a:pt x="2544384" y="5289771"/>
                </a:cubicBezTo>
                <a:cubicBezTo>
                  <a:pt x="2544384" y="5291706"/>
                  <a:pt x="2542451" y="5291706"/>
                  <a:pt x="2542451" y="5291706"/>
                </a:cubicBezTo>
                <a:cubicBezTo>
                  <a:pt x="2540516" y="5305244"/>
                  <a:pt x="2526978" y="5303311"/>
                  <a:pt x="2519242" y="5309112"/>
                </a:cubicBezTo>
                <a:lnTo>
                  <a:pt x="2507636" y="5314916"/>
                </a:lnTo>
                <a:lnTo>
                  <a:pt x="2495066" y="5313223"/>
                </a:lnTo>
                <a:cubicBezTo>
                  <a:pt x="2492648" y="5314432"/>
                  <a:pt x="2491197" y="5317816"/>
                  <a:pt x="2488296" y="5324585"/>
                </a:cubicBezTo>
                <a:lnTo>
                  <a:pt x="2501533" y="5317968"/>
                </a:lnTo>
                <a:lnTo>
                  <a:pt x="2492164" y="5322652"/>
                </a:lnTo>
                <a:cubicBezTo>
                  <a:pt x="2488296" y="5326521"/>
                  <a:pt x="2490229" y="5328454"/>
                  <a:pt x="2494099" y="5332322"/>
                </a:cubicBezTo>
                <a:cubicBezTo>
                  <a:pt x="2496032" y="5334257"/>
                  <a:pt x="2497968" y="5338123"/>
                  <a:pt x="2492164" y="5340058"/>
                </a:cubicBezTo>
                <a:cubicBezTo>
                  <a:pt x="2488296" y="5340058"/>
                  <a:pt x="2486360" y="5345862"/>
                  <a:pt x="2482492" y="5347795"/>
                </a:cubicBezTo>
                <a:cubicBezTo>
                  <a:pt x="2468954" y="5355531"/>
                  <a:pt x="2455417" y="5361333"/>
                  <a:pt x="2441877" y="5365201"/>
                </a:cubicBezTo>
                <a:cubicBezTo>
                  <a:pt x="2447680" y="5363268"/>
                  <a:pt x="2451549" y="5359400"/>
                  <a:pt x="2455417" y="5357464"/>
                </a:cubicBezTo>
                <a:cubicBezTo>
                  <a:pt x="2457351" y="5356498"/>
                  <a:pt x="2457351" y="5354080"/>
                  <a:pt x="2457593" y="5351663"/>
                </a:cubicBezTo>
                <a:lnTo>
                  <a:pt x="2459331" y="5348881"/>
                </a:lnTo>
                <a:lnTo>
                  <a:pt x="2470890" y="5343927"/>
                </a:lnTo>
                <a:lnTo>
                  <a:pt x="2466220" y="5342526"/>
                </a:lnTo>
                <a:lnTo>
                  <a:pt x="2472823" y="5338123"/>
                </a:lnTo>
                <a:lnTo>
                  <a:pt x="2462686" y="5341466"/>
                </a:lnTo>
                <a:lnTo>
                  <a:pt x="2461218" y="5341025"/>
                </a:lnTo>
                <a:lnTo>
                  <a:pt x="2460736" y="5342109"/>
                </a:lnTo>
                <a:lnTo>
                  <a:pt x="2450823" y="5345378"/>
                </a:lnTo>
                <a:cubicBezTo>
                  <a:pt x="2443812" y="5348762"/>
                  <a:pt x="2437043" y="5352631"/>
                  <a:pt x="2430274" y="5355531"/>
                </a:cubicBezTo>
                <a:cubicBezTo>
                  <a:pt x="2414799" y="5363268"/>
                  <a:pt x="2401261" y="5372940"/>
                  <a:pt x="2385788" y="5376806"/>
                </a:cubicBezTo>
                <a:cubicBezTo>
                  <a:pt x="2370315" y="5380674"/>
                  <a:pt x="2358710" y="5394214"/>
                  <a:pt x="2341304" y="5392279"/>
                </a:cubicBezTo>
                <a:cubicBezTo>
                  <a:pt x="2349041" y="5386477"/>
                  <a:pt x="2358710" y="5380674"/>
                  <a:pt x="2366447" y="5376806"/>
                </a:cubicBezTo>
                <a:cubicBezTo>
                  <a:pt x="2376117" y="5371004"/>
                  <a:pt x="2387723" y="5365201"/>
                  <a:pt x="2395458" y="5353598"/>
                </a:cubicBezTo>
                <a:cubicBezTo>
                  <a:pt x="2381920" y="5359400"/>
                  <a:pt x="2368382" y="5367136"/>
                  <a:pt x="2354842" y="5372940"/>
                </a:cubicBezTo>
                <a:cubicBezTo>
                  <a:pt x="2352909" y="5371004"/>
                  <a:pt x="2352909" y="5369071"/>
                  <a:pt x="2350974" y="5367136"/>
                </a:cubicBezTo>
                <a:cubicBezTo>
                  <a:pt x="2347106" y="5367136"/>
                  <a:pt x="2341304" y="5369071"/>
                  <a:pt x="2335501" y="5371004"/>
                </a:cubicBezTo>
                <a:cubicBezTo>
                  <a:pt x="2335501" y="5369071"/>
                  <a:pt x="2333568" y="5365201"/>
                  <a:pt x="2333568" y="5363268"/>
                </a:cubicBezTo>
                <a:cubicBezTo>
                  <a:pt x="2318095" y="5363268"/>
                  <a:pt x="2304557" y="5369071"/>
                  <a:pt x="2291017" y="5376806"/>
                </a:cubicBezTo>
                <a:cubicBezTo>
                  <a:pt x="2292950" y="5365201"/>
                  <a:pt x="2302622" y="5365201"/>
                  <a:pt x="2312291" y="5359400"/>
                </a:cubicBezTo>
                <a:cubicBezTo>
                  <a:pt x="2302622" y="5353598"/>
                  <a:pt x="2294885" y="5349730"/>
                  <a:pt x="2285216" y="5345862"/>
                </a:cubicBezTo>
                <a:cubicBezTo>
                  <a:pt x="2287149" y="5340058"/>
                  <a:pt x="2296821" y="5347795"/>
                  <a:pt x="2298754" y="5341991"/>
                </a:cubicBezTo>
                <a:cubicBezTo>
                  <a:pt x="2291017" y="5334257"/>
                  <a:pt x="2285216" y="5334257"/>
                  <a:pt x="2275544" y="5340058"/>
                </a:cubicBezTo>
                <a:cubicBezTo>
                  <a:pt x="2269743" y="5343927"/>
                  <a:pt x="2262007" y="5349730"/>
                  <a:pt x="2254270" y="5355531"/>
                </a:cubicBezTo>
                <a:cubicBezTo>
                  <a:pt x="2252335" y="5341991"/>
                  <a:pt x="2265875" y="5341991"/>
                  <a:pt x="2267808" y="5332322"/>
                </a:cubicBezTo>
                <a:cubicBezTo>
                  <a:pt x="2262007" y="5336190"/>
                  <a:pt x="2258138" y="5340058"/>
                  <a:pt x="2250402" y="5343927"/>
                </a:cubicBezTo>
                <a:cubicBezTo>
                  <a:pt x="2254270" y="5338123"/>
                  <a:pt x="2256203" y="5334257"/>
                  <a:pt x="2260071" y="5330389"/>
                </a:cubicBezTo>
                <a:cubicBezTo>
                  <a:pt x="2256203" y="5328454"/>
                  <a:pt x="2252335" y="5328454"/>
                  <a:pt x="2248466" y="5326521"/>
                </a:cubicBezTo>
                <a:cubicBezTo>
                  <a:pt x="2250402" y="5314916"/>
                  <a:pt x="2271676" y="5322652"/>
                  <a:pt x="2267808" y="5307179"/>
                </a:cubicBezTo>
                <a:cubicBezTo>
                  <a:pt x="2256203" y="5311048"/>
                  <a:pt x="2265875" y="5297508"/>
                  <a:pt x="2258138" y="5297508"/>
                </a:cubicBezTo>
                <a:cubicBezTo>
                  <a:pt x="2250402" y="5303311"/>
                  <a:pt x="2244598" y="5311048"/>
                  <a:pt x="2238797" y="5316849"/>
                </a:cubicBezTo>
                <a:cubicBezTo>
                  <a:pt x="2231061" y="5312981"/>
                  <a:pt x="2236864" y="5307179"/>
                  <a:pt x="2234929" y="5303311"/>
                </a:cubicBezTo>
                <a:cubicBezTo>
                  <a:pt x="2232996" y="5295575"/>
                  <a:pt x="2244598" y="5299443"/>
                  <a:pt x="2242665" y="5291706"/>
                </a:cubicBezTo>
                <a:cubicBezTo>
                  <a:pt x="2234929" y="5283970"/>
                  <a:pt x="2231061" y="5295575"/>
                  <a:pt x="2223324" y="5293639"/>
                </a:cubicBezTo>
                <a:cubicBezTo>
                  <a:pt x="2223324" y="5291706"/>
                  <a:pt x="2223324" y="5287838"/>
                  <a:pt x="2225257" y="5283970"/>
                </a:cubicBezTo>
                <a:cubicBezTo>
                  <a:pt x="2223324" y="5282035"/>
                  <a:pt x="2219456" y="5282035"/>
                  <a:pt x="2217523" y="5282035"/>
                </a:cubicBezTo>
                <a:cubicBezTo>
                  <a:pt x="2223324" y="5274298"/>
                  <a:pt x="2231061" y="5266564"/>
                  <a:pt x="2234929" y="5260760"/>
                </a:cubicBezTo>
                <a:cubicBezTo>
                  <a:pt x="2234929" y="5253024"/>
                  <a:pt x="2236864" y="5247223"/>
                  <a:pt x="2236864" y="5241419"/>
                </a:cubicBezTo>
                <a:cubicBezTo>
                  <a:pt x="2227192" y="5249156"/>
                  <a:pt x="2217523" y="5254957"/>
                  <a:pt x="2207851" y="5262696"/>
                </a:cubicBezTo>
                <a:cubicBezTo>
                  <a:pt x="2200114" y="5268497"/>
                  <a:pt x="2190445" y="5276233"/>
                  <a:pt x="2180773" y="5282035"/>
                </a:cubicBezTo>
                <a:cubicBezTo>
                  <a:pt x="2178840" y="5283970"/>
                  <a:pt x="2174972" y="5283970"/>
                  <a:pt x="2173037" y="5283970"/>
                </a:cubicBezTo>
                <a:cubicBezTo>
                  <a:pt x="2176905" y="5282035"/>
                  <a:pt x="2178840" y="5278166"/>
                  <a:pt x="2182706" y="5276233"/>
                </a:cubicBezTo>
                <a:cubicBezTo>
                  <a:pt x="2182706" y="5276233"/>
                  <a:pt x="2180773" y="5274298"/>
                  <a:pt x="2180773" y="5274298"/>
                </a:cubicBezTo>
                <a:cubicBezTo>
                  <a:pt x="2174972" y="5276233"/>
                  <a:pt x="2171104" y="5280102"/>
                  <a:pt x="2165300" y="5282035"/>
                </a:cubicBezTo>
                <a:cubicBezTo>
                  <a:pt x="2176905" y="5266564"/>
                  <a:pt x="2196246" y="5256892"/>
                  <a:pt x="2207851" y="5245287"/>
                </a:cubicBezTo>
                <a:cubicBezTo>
                  <a:pt x="2209786" y="5237551"/>
                  <a:pt x="2211719" y="5229814"/>
                  <a:pt x="2213655" y="5222078"/>
                </a:cubicBezTo>
                <a:cubicBezTo>
                  <a:pt x="2209786" y="5218209"/>
                  <a:pt x="2207851" y="5212408"/>
                  <a:pt x="2205916" y="5208540"/>
                </a:cubicBezTo>
                <a:cubicBezTo>
                  <a:pt x="2203983" y="5202736"/>
                  <a:pt x="2192378" y="5208540"/>
                  <a:pt x="2196246" y="5198871"/>
                </a:cubicBezTo>
                <a:cubicBezTo>
                  <a:pt x="2182706" y="5193067"/>
                  <a:pt x="2174972" y="5202736"/>
                  <a:pt x="2163367" y="5204672"/>
                </a:cubicBezTo>
                <a:cubicBezTo>
                  <a:pt x="2167236" y="5200804"/>
                  <a:pt x="2169168" y="5198871"/>
                  <a:pt x="2171104" y="5195000"/>
                </a:cubicBezTo>
                <a:cubicBezTo>
                  <a:pt x="2153695" y="5200804"/>
                  <a:pt x="2142091" y="5214341"/>
                  <a:pt x="2124685" y="5220145"/>
                </a:cubicBezTo>
                <a:cubicBezTo>
                  <a:pt x="2126620" y="5208540"/>
                  <a:pt x="2138223" y="5208540"/>
                  <a:pt x="2144026" y="5202736"/>
                </a:cubicBezTo>
                <a:cubicBezTo>
                  <a:pt x="2151762" y="5196935"/>
                  <a:pt x="2157564" y="5189199"/>
                  <a:pt x="2165300" y="5181462"/>
                </a:cubicBezTo>
                <a:cubicBezTo>
                  <a:pt x="2149829" y="5181462"/>
                  <a:pt x="2145959" y="5189199"/>
                  <a:pt x="2138223" y="5195000"/>
                </a:cubicBezTo>
                <a:cubicBezTo>
                  <a:pt x="2130488" y="5200804"/>
                  <a:pt x="2122752" y="5204672"/>
                  <a:pt x="2113080" y="5210473"/>
                </a:cubicBezTo>
                <a:cubicBezTo>
                  <a:pt x="2120816" y="5191132"/>
                  <a:pt x="2136290" y="5181462"/>
                  <a:pt x="2149829" y="5169857"/>
                </a:cubicBezTo>
                <a:cubicBezTo>
                  <a:pt x="2149829" y="5164054"/>
                  <a:pt x="2147894" y="5160188"/>
                  <a:pt x="2147894" y="5154384"/>
                </a:cubicBezTo>
                <a:cubicBezTo>
                  <a:pt x="2145959" y="5154384"/>
                  <a:pt x="2142091" y="5156320"/>
                  <a:pt x="2138223" y="5158253"/>
                </a:cubicBezTo>
                <a:cubicBezTo>
                  <a:pt x="2138223" y="5154384"/>
                  <a:pt x="2140158" y="5150516"/>
                  <a:pt x="2140158" y="5144713"/>
                </a:cubicBezTo>
                <a:cubicBezTo>
                  <a:pt x="2128553" y="5152451"/>
                  <a:pt x="2118881" y="5160188"/>
                  <a:pt x="2107279" y="5167922"/>
                </a:cubicBezTo>
                <a:cubicBezTo>
                  <a:pt x="2105343" y="5167922"/>
                  <a:pt x="2105343" y="5165989"/>
                  <a:pt x="2105343" y="5165989"/>
                </a:cubicBezTo>
                <a:cubicBezTo>
                  <a:pt x="2109212" y="5160188"/>
                  <a:pt x="2113080" y="5156320"/>
                  <a:pt x="2118881" y="5148583"/>
                </a:cubicBezTo>
                <a:cubicBezTo>
                  <a:pt x="2115013" y="5148583"/>
                  <a:pt x="2113080" y="5148583"/>
                  <a:pt x="2107279" y="5148583"/>
                </a:cubicBezTo>
                <a:cubicBezTo>
                  <a:pt x="2115013" y="5138911"/>
                  <a:pt x="2122752" y="5131175"/>
                  <a:pt x="2132421" y="5121505"/>
                </a:cubicBezTo>
                <a:cubicBezTo>
                  <a:pt x="2126620" y="5121505"/>
                  <a:pt x="2122752" y="5121505"/>
                  <a:pt x="2118881" y="5121505"/>
                </a:cubicBezTo>
                <a:cubicBezTo>
                  <a:pt x="2120816" y="5117637"/>
                  <a:pt x="2122752" y="5115702"/>
                  <a:pt x="2124685" y="5111836"/>
                </a:cubicBezTo>
                <a:cubicBezTo>
                  <a:pt x="2113080" y="5113769"/>
                  <a:pt x="2116948" y="5098296"/>
                  <a:pt x="2105343" y="5096361"/>
                </a:cubicBezTo>
                <a:cubicBezTo>
                  <a:pt x="2109212" y="5094428"/>
                  <a:pt x="2113080" y="5090559"/>
                  <a:pt x="2115013" y="5088626"/>
                </a:cubicBezTo>
                <a:cubicBezTo>
                  <a:pt x="2113080" y="5086691"/>
                  <a:pt x="2113080" y="5086691"/>
                  <a:pt x="2113080" y="5086691"/>
                </a:cubicBezTo>
                <a:cubicBezTo>
                  <a:pt x="2109212" y="5090559"/>
                  <a:pt x="2103410" y="5092495"/>
                  <a:pt x="2099542" y="5094428"/>
                </a:cubicBezTo>
                <a:cubicBezTo>
                  <a:pt x="2099542" y="5094428"/>
                  <a:pt x="2097607" y="5092495"/>
                  <a:pt x="2097607" y="5092495"/>
                </a:cubicBezTo>
                <a:cubicBezTo>
                  <a:pt x="2107279" y="5084756"/>
                  <a:pt x="2116948" y="5077019"/>
                  <a:pt x="2126620" y="5067350"/>
                </a:cubicBezTo>
                <a:cubicBezTo>
                  <a:pt x="2128553" y="5069285"/>
                  <a:pt x="2132421" y="5071218"/>
                  <a:pt x="2134354" y="5073153"/>
                </a:cubicBezTo>
                <a:cubicBezTo>
                  <a:pt x="2144026" y="5067350"/>
                  <a:pt x="2134354" y="5063482"/>
                  <a:pt x="2136290" y="5057678"/>
                </a:cubicBezTo>
                <a:cubicBezTo>
                  <a:pt x="2147894" y="5051877"/>
                  <a:pt x="2144026" y="5042207"/>
                  <a:pt x="2144026" y="5030603"/>
                </a:cubicBezTo>
                <a:cubicBezTo>
                  <a:pt x="2138223" y="5026734"/>
                  <a:pt x="2132421" y="5022866"/>
                  <a:pt x="2124685" y="5018998"/>
                </a:cubicBezTo>
                <a:cubicBezTo>
                  <a:pt x="2130488" y="5009326"/>
                  <a:pt x="2138223" y="5001592"/>
                  <a:pt x="2144026" y="4993853"/>
                </a:cubicBezTo>
                <a:cubicBezTo>
                  <a:pt x="2144026" y="4993853"/>
                  <a:pt x="2144026" y="4991920"/>
                  <a:pt x="2144026" y="4991920"/>
                </a:cubicBezTo>
                <a:cubicBezTo>
                  <a:pt x="2140158" y="4991920"/>
                  <a:pt x="2136290" y="4991920"/>
                  <a:pt x="2134354" y="4993853"/>
                </a:cubicBezTo>
                <a:cubicBezTo>
                  <a:pt x="2118881" y="5003525"/>
                  <a:pt x="2105343" y="5015130"/>
                  <a:pt x="2089870" y="5024801"/>
                </a:cubicBezTo>
                <a:cubicBezTo>
                  <a:pt x="2086002" y="5026734"/>
                  <a:pt x="2084069" y="5028667"/>
                  <a:pt x="2080201" y="5028667"/>
                </a:cubicBezTo>
                <a:cubicBezTo>
                  <a:pt x="2078265" y="5030603"/>
                  <a:pt x="2074397" y="5028667"/>
                  <a:pt x="2074397" y="5030603"/>
                </a:cubicBezTo>
                <a:cubicBezTo>
                  <a:pt x="2066661" y="5042207"/>
                  <a:pt x="2053123" y="5042207"/>
                  <a:pt x="2041518" y="5048009"/>
                </a:cubicBezTo>
                <a:cubicBezTo>
                  <a:pt x="2020244" y="5057678"/>
                  <a:pt x="1911933" y="5030603"/>
                  <a:pt x="1892592" y="5044140"/>
                </a:cubicBezTo>
                <a:cubicBezTo>
                  <a:pt x="1889691" y="5046074"/>
                  <a:pt x="1886307" y="5048976"/>
                  <a:pt x="1882197" y="5050910"/>
                </a:cubicBezTo>
                <a:lnTo>
                  <a:pt x="1870196" y="5051697"/>
                </a:lnTo>
                <a:lnTo>
                  <a:pt x="1875186" y="5048009"/>
                </a:lnTo>
                <a:cubicBezTo>
                  <a:pt x="1879054" y="5046076"/>
                  <a:pt x="1880987" y="5042207"/>
                  <a:pt x="1882922" y="5042207"/>
                </a:cubicBezTo>
                <a:cubicBezTo>
                  <a:pt x="1882922" y="5042207"/>
                  <a:pt x="1880987" y="5040272"/>
                  <a:pt x="1880987" y="5040272"/>
                </a:cubicBezTo>
                <a:cubicBezTo>
                  <a:pt x="1875186" y="5042207"/>
                  <a:pt x="1871317" y="5046076"/>
                  <a:pt x="1865516" y="5048009"/>
                </a:cubicBezTo>
                <a:cubicBezTo>
                  <a:pt x="1863581" y="5046076"/>
                  <a:pt x="1863581" y="5044140"/>
                  <a:pt x="1861646" y="5042207"/>
                </a:cubicBezTo>
                <a:cubicBezTo>
                  <a:pt x="1857777" y="5044140"/>
                  <a:pt x="1851976" y="5046076"/>
                  <a:pt x="1853909" y="5051877"/>
                </a:cubicBezTo>
                <a:cubicBezTo>
                  <a:pt x="1855844" y="5053812"/>
                  <a:pt x="1853909" y="5057678"/>
                  <a:pt x="1851976" y="5057678"/>
                </a:cubicBezTo>
                <a:lnTo>
                  <a:pt x="1846700" y="5060844"/>
                </a:lnTo>
                <a:lnTo>
                  <a:pt x="1840371" y="5059613"/>
                </a:lnTo>
                <a:cubicBezTo>
                  <a:pt x="1834568" y="5063482"/>
                  <a:pt x="1830702" y="5067350"/>
                  <a:pt x="1824898" y="5069285"/>
                </a:cubicBezTo>
                <a:cubicBezTo>
                  <a:pt x="1821998" y="5071219"/>
                  <a:pt x="1818613" y="5072186"/>
                  <a:pt x="1816196" y="5074120"/>
                </a:cubicBezTo>
                <a:lnTo>
                  <a:pt x="1814721" y="5079526"/>
                </a:lnTo>
                <a:lnTo>
                  <a:pt x="1797821" y="5088626"/>
                </a:lnTo>
                <a:cubicBezTo>
                  <a:pt x="1794920" y="5090560"/>
                  <a:pt x="1793470" y="5092011"/>
                  <a:pt x="1793470" y="5093703"/>
                </a:cubicBezTo>
                <a:lnTo>
                  <a:pt x="1796901" y="5098849"/>
                </a:lnTo>
                <a:lnTo>
                  <a:pt x="1788151" y="5104097"/>
                </a:lnTo>
                <a:cubicBezTo>
                  <a:pt x="1786216" y="5100229"/>
                  <a:pt x="1784283" y="5098296"/>
                  <a:pt x="1782350" y="5096361"/>
                </a:cubicBezTo>
                <a:cubicBezTo>
                  <a:pt x="1780415" y="5104097"/>
                  <a:pt x="1770743" y="5106032"/>
                  <a:pt x="1768810" y="5115702"/>
                </a:cubicBezTo>
                <a:cubicBezTo>
                  <a:pt x="1768810" y="5119570"/>
                  <a:pt x="1759140" y="5125374"/>
                  <a:pt x="1755272" y="5123438"/>
                </a:cubicBezTo>
                <a:cubicBezTo>
                  <a:pt x="1743667" y="5119570"/>
                  <a:pt x="1737864" y="5125374"/>
                  <a:pt x="1733996" y="5133110"/>
                </a:cubicBezTo>
                <a:cubicBezTo>
                  <a:pt x="1726259" y="5135043"/>
                  <a:pt x="1720458" y="5135043"/>
                  <a:pt x="1712721" y="5135043"/>
                </a:cubicBezTo>
                <a:cubicBezTo>
                  <a:pt x="1714654" y="5138911"/>
                  <a:pt x="1716590" y="5140847"/>
                  <a:pt x="1718523" y="5142780"/>
                </a:cubicBezTo>
                <a:cubicBezTo>
                  <a:pt x="1701117" y="5152451"/>
                  <a:pt x="1685644" y="5162121"/>
                  <a:pt x="1668238" y="5171790"/>
                </a:cubicBezTo>
                <a:cubicBezTo>
                  <a:pt x="1670171" y="5169857"/>
                  <a:pt x="1672106" y="5167922"/>
                  <a:pt x="1675974" y="5164054"/>
                </a:cubicBezTo>
                <a:cubicBezTo>
                  <a:pt x="1664367" y="5167922"/>
                  <a:pt x="1652765" y="5167922"/>
                  <a:pt x="1645028" y="5179529"/>
                </a:cubicBezTo>
                <a:cubicBezTo>
                  <a:pt x="1645028" y="5179529"/>
                  <a:pt x="1643093" y="5181462"/>
                  <a:pt x="1643093" y="5181462"/>
                </a:cubicBezTo>
                <a:cubicBezTo>
                  <a:pt x="1631488" y="5179529"/>
                  <a:pt x="1629555" y="5189199"/>
                  <a:pt x="1623752" y="5195000"/>
                </a:cubicBezTo>
                <a:cubicBezTo>
                  <a:pt x="1619883" y="5200804"/>
                  <a:pt x="1614082" y="5204672"/>
                  <a:pt x="1606346" y="5204672"/>
                </a:cubicBezTo>
                <a:cubicBezTo>
                  <a:pt x="1606346" y="5200804"/>
                  <a:pt x="1604410" y="5198871"/>
                  <a:pt x="1604410" y="5196935"/>
                </a:cubicBezTo>
                <a:cubicBezTo>
                  <a:pt x="1596674" y="5198871"/>
                  <a:pt x="1592805" y="5202736"/>
                  <a:pt x="1588940" y="5210473"/>
                </a:cubicBezTo>
                <a:cubicBezTo>
                  <a:pt x="1587004" y="5216277"/>
                  <a:pt x="1579268" y="5220145"/>
                  <a:pt x="1569598" y="5220145"/>
                </a:cubicBezTo>
                <a:cubicBezTo>
                  <a:pt x="1571531" y="5216277"/>
                  <a:pt x="1575400" y="5214341"/>
                  <a:pt x="1579268" y="5208540"/>
                </a:cubicBezTo>
                <a:cubicBezTo>
                  <a:pt x="1563795" y="5212408"/>
                  <a:pt x="1552190" y="5216277"/>
                  <a:pt x="1536717" y="5222078"/>
                </a:cubicBezTo>
                <a:cubicBezTo>
                  <a:pt x="1540585" y="5218209"/>
                  <a:pt x="1542521" y="5214341"/>
                  <a:pt x="1546389" y="5212408"/>
                </a:cubicBezTo>
                <a:cubicBezTo>
                  <a:pt x="1544453" y="5210473"/>
                  <a:pt x="1542521" y="5210473"/>
                  <a:pt x="1542521" y="5210473"/>
                </a:cubicBezTo>
                <a:cubicBezTo>
                  <a:pt x="1527048" y="5218209"/>
                  <a:pt x="1513507" y="5224013"/>
                  <a:pt x="1498037" y="5231747"/>
                </a:cubicBezTo>
                <a:cubicBezTo>
                  <a:pt x="1478696" y="5241419"/>
                  <a:pt x="1459354" y="5249156"/>
                  <a:pt x="1440013" y="5258827"/>
                </a:cubicBezTo>
                <a:cubicBezTo>
                  <a:pt x="1440013" y="5258827"/>
                  <a:pt x="1438078" y="5258827"/>
                  <a:pt x="1438078" y="5258827"/>
                </a:cubicBezTo>
                <a:lnTo>
                  <a:pt x="1461787" y="5243853"/>
                </a:lnTo>
                <a:lnTo>
                  <a:pt x="1463222" y="5245287"/>
                </a:lnTo>
                <a:cubicBezTo>
                  <a:pt x="1465155" y="5243354"/>
                  <a:pt x="1467088" y="5243354"/>
                  <a:pt x="1469024" y="5241419"/>
                </a:cubicBezTo>
                <a:lnTo>
                  <a:pt x="1467713" y="5240111"/>
                </a:lnTo>
                <a:lnTo>
                  <a:pt x="1474827" y="5235618"/>
                </a:lnTo>
                <a:cubicBezTo>
                  <a:pt x="1470957" y="5231747"/>
                  <a:pt x="1467088" y="5229814"/>
                  <a:pt x="1461287" y="5231747"/>
                </a:cubicBezTo>
                <a:cubicBezTo>
                  <a:pt x="1447749" y="5237551"/>
                  <a:pt x="1436145" y="5241419"/>
                  <a:pt x="1422605" y="5247223"/>
                </a:cubicBezTo>
                <a:cubicBezTo>
                  <a:pt x="1418736" y="5249156"/>
                  <a:pt x="1414870" y="5249156"/>
                  <a:pt x="1411002" y="5249156"/>
                </a:cubicBezTo>
                <a:cubicBezTo>
                  <a:pt x="1416803" y="5235618"/>
                  <a:pt x="1428408" y="5231747"/>
                  <a:pt x="1438078" y="5225946"/>
                </a:cubicBezTo>
                <a:cubicBezTo>
                  <a:pt x="1440013" y="5224013"/>
                  <a:pt x="1441946" y="5224013"/>
                  <a:pt x="1443881" y="5222078"/>
                </a:cubicBezTo>
                <a:cubicBezTo>
                  <a:pt x="1441946" y="5222078"/>
                  <a:pt x="1441946" y="5220145"/>
                  <a:pt x="1441946" y="5220145"/>
                </a:cubicBezTo>
                <a:cubicBezTo>
                  <a:pt x="1424540" y="5227881"/>
                  <a:pt x="1409067" y="5235618"/>
                  <a:pt x="1391661" y="5243354"/>
                </a:cubicBezTo>
                <a:cubicBezTo>
                  <a:pt x="1387793" y="5239486"/>
                  <a:pt x="1383922" y="5231747"/>
                  <a:pt x="1374253" y="5233683"/>
                </a:cubicBezTo>
                <a:cubicBezTo>
                  <a:pt x="1376188" y="5237551"/>
                  <a:pt x="1378121" y="5237551"/>
                  <a:pt x="1378121" y="5239486"/>
                </a:cubicBezTo>
                <a:cubicBezTo>
                  <a:pt x="1380054" y="5241419"/>
                  <a:pt x="1381989" y="5245287"/>
                  <a:pt x="1381989" y="5247223"/>
                </a:cubicBezTo>
                <a:cubicBezTo>
                  <a:pt x="1380054" y="5251088"/>
                  <a:pt x="1376188" y="5253024"/>
                  <a:pt x="1374253" y="5253024"/>
                </a:cubicBezTo>
                <a:cubicBezTo>
                  <a:pt x="1364583" y="5251088"/>
                  <a:pt x="1360713" y="5256892"/>
                  <a:pt x="1352978" y="5258827"/>
                </a:cubicBezTo>
                <a:cubicBezTo>
                  <a:pt x="1345242" y="5260760"/>
                  <a:pt x="1337505" y="5264629"/>
                  <a:pt x="1331702" y="5268497"/>
                </a:cubicBezTo>
                <a:cubicBezTo>
                  <a:pt x="1325901" y="5272365"/>
                  <a:pt x="1320097" y="5274298"/>
                  <a:pt x="1312361" y="5276233"/>
                </a:cubicBezTo>
                <a:cubicBezTo>
                  <a:pt x="1314296" y="5274298"/>
                  <a:pt x="1316229" y="5270430"/>
                  <a:pt x="1318164" y="5266564"/>
                </a:cubicBezTo>
                <a:cubicBezTo>
                  <a:pt x="1289153" y="5272365"/>
                  <a:pt x="1269812" y="5293639"/>
                  <a:pt x="1242734" y="5303311"/>
                </a:cubicBezTo>
                <a:cubicBezTo>
                  <a:pt x="1242734" y="5299443"/>
                  <a:pt x="1240801" y="5295575"/>
                  <a:pt x="1240801" y="5291706"/>
                </a:cubicBezTo>
                <a:cubicBezTo>
                  <a:pt x="1240801" y="5289771"/>
                  <a:pt x="1242734" y="5289771"/>
                  <a:pt x="1242734" y="5289771"/>
                </a:cubicBezTo>
                <a:cubicBezTo>
                  <a:pt x="1246603" y="5293639"/>
                  <a:pt x="1250471" y="5291706"/>
                  <a:pt x="1254339" y="5289771"/>
                </a:cubicBezTo>
                <a:cubicBezTo>
                  <a:pt x="1267877" y="5283970"/>
                  <a:pt x="1279482" y="5276233"/>
                  <a:pt x="1293019" y="5270430"/>
                </a:cubicBezTo>
                <a:cubicBezTo>
                  <a:pt x="1294955" y="5268497"/>
                  <a:pt x="1298823" y="5266564"/>
                  <a:pt x="1300758" y="5266564"/>
                </a:cubicBezTo>
                <a:cubicBezTo>
                  <a:pt x="1312361" y="5264629"/>
                  <a:pt x="1320097" y="5256892"/>
                  <a:pt x="1329769" y="5247223"/>
                </a:cubicBezTo>
                <a:cubicBezTo>
                  <a:pt x="1323965" y="5247223"/>
                  <a:pt x="1322032" y="5247223"/>
                  <a:pt x="1320097" y="5247223"/>
                </a:cubicBezTo>
                <a:cubicBezTo>
                  <a:pt x="1312361" y="5249156"/>
                  <a:pt x="1302691" y="5253024"/>
                  <a:pt x="1294955" y="5256892"/>
                </a:cubicBezTo>
                <a:cubicBezTo>
                  <a:pt x="1291086" y="5256892"/>
                  <a:pt x="1287218" y="5256892"/>
                  <a:pt x="1285285" y="5254957"/>
                </a:cubicBezTo>
                <a:cubicBezTo>
                  <a:pt x="1281417" y="5253024"/>
                  <a:pt x="1279482" y="5251088"/>
                  <a:pt x="1275613" y="5247223"/>
                </a:cubicBezTo>
                <a:cubicBezTo>
                  <a:pt x="1283350" y="5243354"/>
                  <a:pt x="1294955" y="5243354"/>
                  <a:pt x="1291086" y="5227881"/>
                </a:cubicBezTo>
                <a:cubicBezTo>
                  <a:pt x="1296888" y="5231747"/>
                  <a:pt x="1300758" y="5235618"/>
                  <a:pt x="1304626" y="5237551"/>
                </a:cubicBezTo>
                <a:cubicBezTo>
                  <a:pt x="1310428" y="5233683"/>
                  <a:pt x="1312361" y="5225946"/>
                  <a:pt x="1320097" y="5224013"/>
                </a:cubicBezTo>
                <a:cubicBezTo>
                  <a:pt x="1322032" y="5224013"/>
                  <a:pt x="1323965" y="5216277"/>
                  <a:pt x="1325901" y="5212408"/>
                </a:cubicBezTo>
                <a:cubicBezTo>
                  <a:pt x="1327836" y="5212408"/>
                  <a:pt x="1331702" y="5212408"/>
                  <a:pt x="1335570" y="5212408"/>
                </a:cubicBezTo>
                <a:cubicBezTo>
                  <a:pt x="1335570" y="5208540"/>
                  <a:pt x="1333637" y="5204672"/>
                  <a:pt x="1331702" y="5198871"/>
                </a:cubicBezTo>
                <a:cubicBezTo>
                  <a:pt x="1323965" y="5210473"/>
                  <a:pt x="1316229" y="5204672"/>
                  <a:pt x="1306559" y="5204672"/>
                </a:cubicBezTo>
                <a:cubicBezTo>
                  <a:pt x="1310428" y="5200804"/>
                  <a:pt x="1310428" y="5198871"/>
                  <a:pt x="1312361" y="5196935"/>
                </a:cubicBezTo>
                <a:cubicBezTo>
                  <a:pt x="1322032" y="5191132"/>
                  <a:pt x="1327836" y="5185330"/>
                  <a:pt x="1331702" y="5175661"/>
                </a:cubicBezTo>
                <a:cubicBezTo>
                  <a:pt x="1333637" y="5171790"/>
                  <a:pt x="1339438" y="5169857"/>
                  <a:pt x="1343307" y="5165989"/>
                </a:cubicBezTo>
                <a:cubicBezTo>
                  <a:pt x="1356847" y="5156320"/>
                  <a:pt x="1366516" y="5144713"/>
                  <a:pt x="1374253" y="5127307"/>
                </a:cubicBezTo>
                <a:cubicBezTo>
                  <a:pt x="1368451" y="5131175"/>
                  <a:pt x="1362648" y="5135043"/>
                  <a:pt x="1356847" y="5136978"/>
                </a:cubicBezTo>
                <a:cubicBezTo>
                  <a:pt x="1349110" y="5138911"/>
                  <a:pt x="1341374" y="5140847"/>
                  <a:pt x="1343307" y="5152451"/>
                </a:cubicBezTo>
                <a:cubicBezTo>
                  <a:pt x="1337505" y="5148583"/>
                  <a:pt x="1331702" y="5152451"/>
                  <a:pt x="1325901" y="5156320"/>
                </a:cubicBezTo>
                <a:cubicBezTo>
                  <a:pt x="1316229" y="5164054"/>
                  <a:pt x="1306559" y="5171790"/>
                  <a:pt x="1294955" y="5181462"/>
                </a:cubicBezTo>
                <a:cubicBezTo>
                  <a:pt x="1298823" y="5183395"/>
                  <a:pt x="1300758" y="5185330"/>
                  <a:pt x="1302691" y="5187263"/>
                </a:cubicBezTo>
                <a:cubicBezTo>
                  <a:pt x="1298823" y="5193067"/>
                  <a:pt x="1294955" y="5189199"/>
                  <a:pt x="1293019" y="5185330"/>
                </a:cubicBezTo>
                <a:cubicBezTo>
                  <a:pt x="1291086" y="5183395"/>
                  <a:pt x="1291086" y="5179529"/>
                  <a:pt x="1291086" y="5175661"/>
                </a:cubicBezTo>
                <a:cubicBezTo>
                  <a:pt x="1279482" y="5183395"/>
                  <a:pt x="1267877" y="5191132"/>
                  <a:pt x="1252404" y="5191132"/>
                </a:cubicBezTo>
                <a:cubicBezTo>
                  <a:pt x="1254339" y="5191132"/>
                  <a:pt x="1256272" y="5189199"/>
                  <a:pt x="1258207" y="5187263"/>
                </a:cubicBezTo>
                <a:cubicBezTo>
                  <a:pt x="1264009" y="5183395"/>
                  <a:pt x="1269812" y="5181462"/>
                  <a:pt x="1275613" y="5177594"/>
                </a:cubicBezTo>
                <a:cubicBezTo>
                  <a:pt x="1283350" y="5173726"/>
                  <a:pt x="1289153" y="5165989"/>
                  <a:pt x="1293019" y="5156320"/>
                </a:cubicBezTo>
                <a:cubicBezTo>
                  <a:pt x="1296888" y="5150516"/>
                  <a:pt x="1300758" y="5148583"/>
                  <a:pt x="1306559" y="5142780"/>
                </a:cubicBezTo>
                <a:cubicBezTo>
                  <a:pt x="1310428" y="5146648"/>
                  <a:pt x="1310428" y="5148583"/>
                  <a:pt x="1312361" y="5150516"/>
                </a:cubicBezTo>
                <a:cubicBezTo>
                  <a:pt x="1320097" y="5148583"/>
                  <a:pt x="1320097" y="5142780"/>
                  <a:pt x="1318164" y="5138911"/>
                </a:cubicBezTo>
                <a:cubicBezTo>
                  <a:pt x="1325901" y="5131175"/>
                  <a:pt x="1331702" y="5125374"/>
                  <a:pt x="1337505" y="5117637"/>
                </a:cubicBezTo>
                <a:cubicBezTo>
                  <a:pt x="1339438" y="5115702"/>
                  <a:pt x="1343307" y="5111836"/>
                  <a:pt x="1345242" y="5111836"/>
                </a:cubicBezTo>
                <a:cubicBezTo>
                  <a:pt x="1352978" y="5111836"/>
                  <a:pt x="1358780" y="5107965"/>
                  <a:pt x="1364583" y="5102164"/>
                </a:cubicBezTo>
                <a:lnTo>
                  <a:pt x="1369543" y="5095551"/>
                </a:lnTo>
                <a:lnTo>
                  <a:pt x="1376429" y="5094427"/>
                </a:lnTo>
                <a:cubicBezTo>
                  <a:pt x="1379088" y="5092010"/>
                  <a:pt x="1381022" y="5088625"/>
                  <a:pt x="1383922" y="5086691"/>
                </a:cubicBezTo>
                <a:lnTo>
                  <a:pt x="1375502" y="5087606"/>
                </a:lnTo>
                <a:lnTo>
                  <a:pt x="1376188" y="5086691"/>
                </a:lnTo>
                <a:cubicBezTo>
                  <a:pt x="1376188" y="5086691"/>
                  <a:pt x="1374253" y="5084756"/>
                  <a:pt x="1374253" y="5084756"/>
                </a:cubicBezTo>
                <a:cubicBezTo>
                  <a:pt x="1368451" y="5088626"/>
                  <a:pt x="1360713" y="5092495"/>
                  <a:pt x="1354911" y="5096361"/>
                </a:cubicBezTo>
                <a:cubicBezTo>
                  <a:pt x="1352978" y="5096361"/>
                  <a:pt x="1351043" y="5098296"/>
                  <a:pt x="1349110" y="5100229"/>
                </a:cubicBezTo>
                <a:cubicBezTo>
                  <a:pt x="1339438" y="5107965"/>
                  <a:pt x="1327836" y="5113769"/>
                  <a:pt x="1316229" y="5107965"/>
                </a:cubicBezTo>
                <a:cubicBezTo>
                  <a:pt x="1308495" y="5113769"/>
                  <a:pt x="1318164" y="5119570"/>
                  <a:pt x="1310428" y="5123438"/>
                </a:cubicBezTo>
                <a:cubicBezTo>
                  <a:pt x="1304626" y="5125374"/>
                  <a:pt x="1298823" y="5125374"/>
                  <a:pt x="1293019" y="5127307"/>
                </a:cubicBezTo>
                <a:cubicBezTo>
                  <a:pt x="1294955" y="5121505"/>
                  <a:pt x="1296888" y="5117637"/>
                  <a:pt x="1298823" y="5111836"/>
                </a:cubicBezTo>
                <a:cubicBezTo>
                  <a:pt x="1281417" y="5119570"/>
                  <a:pt x="1265944" y="5127307"/>
                  <a:pt x="1252404" y="5135043"/>
                </a:cubicBezTo>
                <a:cubicBezTo>
                  <a:pt x="1252404" y="5135043"/>
                  <a:pt x="1250471" y="5133110"/>
                  <a:pt x="1250471" y="5133110"/>
                </a:cubicBezTo>
                <a:cubicBezTo>
                  <a:pt x="1258207" y="5123438"/>
                  <a:pt x="1269812" y="5119570"/>
                  <a:pt x="1279482" y="5111836"/>
                </a:cubicBezTo>
                <a:cubicBezTo>
                  <a:pt x="1287218" y="5104097"/>
                  <a:pt x="1298823" y="5098296"/>
                  <a:pt x="1306559" y="5088626"/>
                </a:cubicBezTo>
                <a:cubicBezTo>
                  <a:pt x="1296888" y="5094428"/>
                  <a:pt x="1285285" y="5102164"/>
                  <a:pt x="1275613" y="5107965"/>
                </a:cubicBezTo>
                <a:cubicBezTo>
                  <a:pt x="1275613" y="5106032"/>
                  <a:pt x="1275613" y="5106032"/>
                  <a:pt x="1275613" y="5106032"/>
                </a:cubicBezTo>
                <a:cubicBezTo>
                  <a:pt x="1279482" y="5102164"/>
                  <a:pt x="1285285" y="5098296"/>
                  <a:pt x="1289153" y="5094428"/>
                </a:cubicBezTo>
                <a:cubicBezTo>
                  <a:pt x="1293019" y="5090559"/>
                  <a:pt x="1298823" y="5088626"/>
                  <a:pt x="1302691" y="5082823"/>
                </a:cubicBezTo>
                <a:cubicBezTo>
                  <a:pt x="1283350" y="5094428"/>
                  <a:pt x="1264009" y="5104097"/>
                  <a:pt x="1244667" y="5115702"/>
                </a:cubicBezTo>
                <a:cubicBezTo>
                  <a:pt x="1242734" y="5115702"/>
                  <a:pt x="1242734" y="5115702"/>
                  <a:pt x="1240801" y="5113769"/>
                </a:cubicBezTo>
                <a:cubicBezTo>
                  <a:pt x="1242734" y="5111836"/>
                  <a:pt x="1244667" y="5109901"/>
                  <a:pt x="1246603" y="5107965"/>
                </a:cubicBezTo>
                <a:cubicBezTo>
                  <a:pt x="1256272" y="5100229"/>
                  <a:pt x="1267877" y="5092495"/>
                  <a:pt x="1277549" y="5084756"/>
                </a:cubicBezTo>
                <a:cubicBezTo>
                  <a:pt x="1279482" y="5082823"/>
                  <a:pt x="1283350" y="5082823"/>
                  <a:pt x="1283350" y="5080888"/>
                </a:cubicBezTo>
                <a:cubicBezTo>
                  <a:pt x="1283350" y="5067350"/>
                  <a:pt x="1296888" y="5071218"/>
                  <a:pt x="1302691" y="5067350"/>
                </a:cubicBezTo>
                <a:cubicBezTo>
                  <a:pt x="1304626" y="5065417"/>
                  <a:pt x="1306559" y="5075086"/>
                  <a:pt x="1310428" y="5069285"/>
                </a:cubicBezTo>
                <a:cubicBezTo>
                  <a:pt x="1312361" y="5065417"/>
                  <a:pt x="1314296" y="5061549"/>
                  <a:pt x="1316229" y="5059613"/>
                </a:cubicBezTo>
                <a:cubicBezTo>
                  <a:pt x="1325901" y="5055745"/>
                  <a:pt x="1325901" y="5044140"/>
                  <a:pt x="1331702" y="5038339"/>
                </a:cubicBezTo>
                <a:cubicBezTo>
                  <a:pt x="1337505" y="5034471"/>
                  <a:pt x="1341374" y="5036404"/>
                  <a:pt x="1345242" y="5036404"/>
                </a:cubicBezTo>
                <a:cubicBezTo>
                  <a:pt x="1349110" y="5026734"/>
                  <a:pt x="1352978" y="5018998"/>
                  <a:pt x="1358780" y="5011261"/>
                </a:cubicBezTo>
                <a:cubicBezTo>
                  <a:pt x="1362648" y="5007393"/>
                  <a:pt x="1364583" y="5003525"/>
                  <a:pt x="1370384" y="5003525"/>
                </a:cubicBezTo>
                <a:cubicBezTo>
                  <a:pt x="1378121" y="5003525"/>
                  <a:pt x="1383922" y="4999657"/>
                  <a:pt x="1387793" y="4991920"/>
                </a:cubicBezTo>
                <a:cubicBezTo>
                  <a:pt x="1385857" y="4989985"/>
                  <a:pt x="1383922" y="4988052"/>
                  <a:pt x="1381989" y="4986119"/>
                </a:cubicBezTo>
                <a:cubicBezTo>
                  <a:pt x="1393594" y="4978380"/>
                  <a:pt x="1409067" y="4978380"/>
                  <a:pt x="1412935" y="4964842"/>
                </a:cubicBezTo>
                <a:cubicBezTo>
                  <a:pt x="1409067" y="4962909"/>
                  <a:pt x="1407132" y="4959041"/>
                  <a:pt x="1403263" y="4957106"/>
                </a:cubicBezTo>
                <a:cubicBezTo>
                  <a:pt x="1397462" y="4957106"/>
                  <a:pt x="1407132" y="4970643"/>
                  <a:pt x="1395529" y="4970643"/>
                </a:cubicBezTo>
                <a:cubicBezTo>
                  <a:pt x="1395529" y="4966778"/>
                  <a:pt x="1393594" y="4964842"/>
                  <a:pt x="1393594" y="4960974"/>
                </a:cubicBezTo>
                <a:cubicBezTo>
                  <a:pt x="1389726" y="4964842"/>
                  <a:pt x="1385857" y="4966778"/>
                  <a:pt x="1381989" y="4968710"/>
                </a:cubicBezTo>
                <a:cubicBezTo>
                  <a:pt x="1380054" y="4970643"/>
                  <a:pt x="1376188" y="4972579"/>
                  <a:pt x="1372320" y="4972579"/>
                </a:cubicBezTo>
                <a:cubicBezTo>
                  <a:pt x="1360713" y="4976447"/>
                  <a:pt x="1351043" y="4980315"/>
                  <a:pt x="1343307" y="4989985"/>
                </a:cubicBezTo>
                <a:cubicBezTo>
                  <a:pt x="1339438" y="4993853"/>
                  <a:pt x="1333637" y="4995788"/>
                  <a:pt x="1327836" y="4995788"/>
                </a:cubicBezTo>
                <a:cubicBezTo>
                  <a:pt x="1312361" y="4993853"/>
                  <a:pt x="1304626" y="4995788"/>
                  <a:pt x="1291086" y="5005460"/>
                </a:cubicBezTo>
                <a:cubicBezTo>
                  <a:pt x="1291086" y="5005460"/>
                  <a:pt x="1289153" y="5005460"/>
                  <a:pt x="1287218" y="5005460"/>
                </a:cubicBezTo>
                <a:cubicBezTo>
                  <a:pt x="1291086" y="4999657"/>
                  <a:pt x="1291086" y="4991920"/>
                  <a:pt x="1298823" y="4993853"/>
                </a:cubicBezTo>
                <a:cubicBezTo>
                  <a:pt x="1298823" y="4993853"/>
                  <a:pt x="1300758" y="4991920"/>
                  <a:pt x="1300758" y="4989985"/>
                </a:cubicBezTo>
                <a:cubicBezTo>
                  <a:pt x="1300758" y="4980315"/>
                  <a:pt x="1306559" y="4976447"/>
                  <a:pt x="1312361" y="4972579"/>
                </a:cubicBezTo>
                <a:cubicBezTo>
                  <a:pt x="1318164" y="4968710"/>
                  <a:pt x="1325901" y="4964842"/>
                  <a:pt x="1331702" y="4960974"/>
                </a:cubicBezTo>
                <a:cubicBezTo>
                  <a:pt x="1339438" y="4955173"/>
                  <a:pt x="1345242" y="4949369"/>
                  <a:pt x="1351043" y="4943568"/>
                </a:cubicBezTo>
                <a:cubicBezTo>
                  <a:pt x="1337505" y="4947436"/>
                  <a:pt x="1325901" y="4951302"/>
                  <a:pt x="1312361" y="4955173"/>
                </a:cubicBezTo>
                <a:cubicBezTo>
                  <a:pt x="1308495" y="4957106"/>
                  <a:pt x="1306559" y="4959041"/>
                  <a:pt x="1304626" y="4960974"/>
                </a:cubicBezTo>
                <a:cubicBezTo>
                  <a:pt x="1294955" y="4968710"/>
                  <a:pt x="1283350" y="4976447"/>
                  <a:pt x="1273678" y="4984184"/>
                </a:cubicBezTo>
                <a:cubicBezTo>
                  <a:pt x="1271745" y="4986119"/>
                  <a:pt x="1271745" y="4991920"/>
                  <a:pt x="1269812" y="4995788"/>
                </a:cubicBezTo>
                <a:cubicBezTo>
                  <a:pt x="1269812" y="4995788"/>
                  <a:pt x="1265944" y="4995788"/>
                  <a:pt x="1264009" y="4997721"/>
                </a:cubicBezTo>
                <a:cubicBezTo>
                  <a:pt x="1262076" y="4993853"/>
                  <a:pt x="1260140" y="4991920"/>
                  <a:pt x="1258207" y="4989985"/>
                </a:cubicBezTo>
                <a:cubicBezTo>
                  <a:pt x="1265944" y="4984184"/>
                  <a:pt x="1271745" y="4976447"/>
                  <a:pt x="1279482" y="4970643"/>
                </a:cubicBezTo>
                <a:cubicBezTo>
                  <a:pt x="1281417" y="4970643"/>
                  <a:pt x="1283350" y="4968710"/>
                  <a:pt x="1285285" y="4968710"/>
                </a:cubicBezTo>
                <a:cubicBezTo>
                  <a:pt x="1293019" y="4966778"/>
                  <a:pt x="1294955" y="4964842"/>
                  <a:pt x="1294955" y="4959041"/>
                </a:cubicBezTo>
                <a:cubicBezTo>
                  <a:pt x="1289153" y="4960974"/>
                  <a:pt x="1283350" y="4962909"/>
                  <a:pt x="1277549" y="4964842"/>
                </a:cubicBezTo>
                <a:cubicBezTo>
                  <a:pt x="1275613" y="4966778"/>
                  <a:pt x="1273678" y="4968710"/>
                  <a:pt x="1271745" y="4970643"/>
                </a:cubicBezTo>
                <a:cubicBezTo>
                  <a:pt x="1269812" y="4968710"/>
                  <a:pt x="1269812" y="4968710"/>
                  <a:pt x="1267877" y="4966778"/>
                </a:cubicBezTo>
                <a:cubicBezTo>
                  <a:pt x="1264009" y="4966778"/>
                  <a:pt x="1258207" y="4968710"/>
                  <a:pt x="1254339" y="4962909"/>
                </a:cubicBezTo>
                <a:cubicBezTo>
                  <a:pt x="1258207" y="4959041"/>
                  <a:pt x="1264009" y="4957106"/>
                  <a:pt x="1267877" y="4955173"/>
                </a:cubicBezTo>
                <a:cubicBezTo>
                  <a:pt x="1267877" y="4953237"/>
                  <a:pt x="1267877" y="4953237"/>
                  <a:pt x="1267877" y="4953237"/>
                </a:cubicBezTo>
                <a:cubicBezTo>
                  <a:pt x="1267877" y="4953237"/>
                  <a:pt x="1269812" y="4953237"/>
                  <a:pt x="1269812" y="4953237"/>
                </a:cubicBezTo>
                <a:cubicBezTo>
                  <a:pt x="1273678" y="4951302"/>
                  <a:pt x="1277549" y="4949369"/>
                  <a:pt x="1281417" y="4945501"/>
                </a:cubicBezTo>
                <a:cubicBezTo>
                  <a:pt x="1283350" y="4943568"/>
                  <a:pt x="1289153" y="4945501"/>
                  <a:pt x="1293019" y="4945501"/>
                </a:cubicBezTo>
                <a:cubicBezTo>
                  <a:pt x="1293019" y="4937764"/>
                  <a:pt x="1294955" y="4931963"/>
                  <a:pt x="1302691" y="4926160"/>
                </a:cubicBezTo>
                <a:cubicBezTo>
                  <a:pt x="1300758" y="4926160"/>
                  <a:pt x="1300758" y="4924227"/>
                  <a:pt x="1298823" y="4924227"/>
                </a:cubicBezTo>
                <a:cubicBezTo>
                  <a:pt x="1285285" y="4931963"/>
                  <a:pt x="1273678" y="4941633"/>
                  <a:pt x="1260140" y="4951302"/>
                </a:cubicBezTo>
                <a:cubicBezTo>
                  <a:pt x="1256272" y="4943568"/>
                  <a:pt x="1262076" y="4941633"/>
                  <a:pt x="1265944" y="4939700"/>
                </a:cubicBezTo>
                <a:cubicBezTo>
                  <a:pt x="1273678" y="4935832"/>
                  <a:pt x="1279482" y="4930028"/>
                  <a:pt x="1279482" y="4922291"/>
                </a:cubicBezTo>
                <a:cubicBezTo>
                  <a:pt x="1269812" y="4926160"/>
                  <a:pt x="1260140" y="4928095"/>
                  <a:pt x="1250471" y="4931963"/>
                </a:cubicBezTo>
                <a:cubicBezTo>
                  <a:pt x="1234998" y="4937764"/>
                  <a:pt x="1219525" y="4939700"/>
                  <a:pt x="1204052" y="4943568"/>
                </a:cubicBezTo>
                <a:cubicBezTo>
                  <a:pt x="1196315" y="4945501"/>
                  <a:pt x="1190514" y="4947436"/>
                  <a:pt x="1184711" y="4949369"/>
                </a:cubicBezTo>
                <a:cubicBezTo>
                  <a:pt x="1169238" y="4953237"/>
                  <a:pt x="1155700" y="4957106"/>
                  <a:pt x="1138291" y="4960974"/>
                </a:cubicBezTo>
                <a:cubicBezTo>
                  <a:pt x="1151832" y="4951302"/>
                  <a:pt x="1153767" y="4949369"/>
                  <a:pt x="1163436" y="4947436"/>
                </a:cubicBezTo>
                <a:cubicBezTo>
                  <a:pt x="1180842" y="4943568"/>
                  <a:pt x="1198251" y="4937764"/>
                  <a:pt x="1215657" y="4930028"/>
                </a:cubicBezTo>
                <a:cubicBezTo>
                  <a:pt x="1223393" y="4926160"/>
                  <a:pt x="1229194" y="4924227"/>
                  <a:pt x="1236931" y="4922291"/>
                </a:cubicBezTo>
                <a:cubicBezTo>
                  <a:pt x="1248536" y="4920358"/>
                  <a:pt x="1258207" y="4918426"/>
                  <a:pt x="1269812" y="4914555"/>
                </a:cubicBezTo>
                <a:cubicBezTo>
                  <a:pt x="1271745" y="4912622"/>
                  <a:pt x="1273678" y="4910687"/>
                  <a:pt x="1277549" y="4908754"/>
                </a:cubicBezTo>
                <a:cubicBezTo>
                  <a:pt x="1283350" y="4904885"/>
                  <a:pt x="1289153" y="4901017"/>
                  <a:pt x="1294955" y="4901017"/>
                </a:cubicBezTo>
                <a:cubicBezTo>
                  <a:pt x="1298823" y="4899084"/>
                  <a:pt x="1300758" y="4897149"/>
                  <a:pt x="1302691" y="4895216"/>
                </a:cubicBezTo>
                <a:cubicBezTo>
                  <a:pt x="1308495" y="4891345"/>
                  <a:pt x="1312361" y="4887477"/>
                  <a:pt x="1320097" y="4879743"/>
                </a:cubicBezTo>
                <a:cubicBezTo>
                  <a:pt x="1312361" y="4881676"/>
                  <a:pt x="1308495" y="4883609"/>
                  <a:pt x="1300758" y="4885544"/>
                </a:cubicBezTo>
                <a:cubicBezTo>
                  <a:pt x="1323965" y="4870071"/>
                  <a:pt x="1343307" y="4854598"/>
                  <a:pt x="1362648" y="4839125"/>
                </a:cubicBezTo>
                <a:cubicBezTo>
                  <a:pt x="1362648" y="4839125"/>
                  <a:pt x="1360713" y="4837192"/>
                  <a:pt x="1360713" y="4837192"/>
                </a:cubicBezTo>
                <a:cubicBezTo>
                  <a:pt x="1339438" y="4850730"/>
                  <a:pt x="1318164" y="4866203"/>
                  <a:pt x="1294955" y="4881676"/>
                </a:cubicBezTo>
                <a:cubicBezTo>
                  <a:pt x="1296888" y="4872006"/>
                  <a:pt x="1298823" y="4866203"/>
                  <a:pt x="1304626" y="4862335"/>
                </a:cubicBezTo>
                <a:cubicBezTo>
                  <a:pt x="1322032" y="4848797"/>
                  <a:pt x="1339438" y="4835257"/>
                  <a:pt x="1356847" y="4821719"/>
                </a:cubicBezTo>
                <a:cubicBezTo>
                  <a:pt x="1358780" y="4819784"/>
                  <a:pt x="1358780" y="4815916"/>
                  <a:pt x="1360713" y="4812050"/>
                </a:cubicBezTo>
                <a:cubicBezTo>
                  <a:pt x="1349110" y="4819784"/>
                  <a:pt x="1339438" y="4827520"/>
                  <a:pt x="1325901" y="4837192"/>
                </a:cubicBezTo>
                <a:cubicBezTo>
                  <a:pt x="1325901" y="4831391"/>
                  <a:pt x="1325901" y="4827520"/>
                  <a:pt x="1325901" y="4823652"/>
                </a:cubicBezTo>
                <a:cubicBezTo>
                  <a:pt x="1316229" y="4825587"/>
                  <a:pt x="1316229" y="4831391"/>
                  <a:pt x="1316229" y="4839125"/>
                </a:cubicBezTo>
                <a:cubicBezTo>
                  <a:pt x="1310428" y="4839125"/>
                  <a:pt x="1304626" y="4839125"/>
                  <a:pt x="1294955" y="4839125"/>
                </a:cubicBezTo>
                <a:cubicBezTo>
                  <a:pt x="1308495" y="4827520"/>
                  <a:pt x="1320097" y="4817851"/>
                  <a:pt x="1333637" y="4808181"/>
                </a:cubicBezTo>
                <a:cubicBezTo>
                  <a:pt x="1337505" y="4812050"/>
                  <a:pt x="1339438" y="4815916"/>
                  <a:pt x="1343307" y="4819784"/>
                </a:cubicBezTo>
                <a:cubicBezTo>
                  <a:pt x="1345242" y="4812050"/>
                  <a:pt x="1343307" y="4808181"/>
                  <a:pt x="1339438" y="4804311"/>
                </a:cubicBezTo>
                <a:cubicBezTo>
                  <a:pt x="1349110" y="4796574"/>
                  <a:pt x="1358780" y="4790773"/>
                  <a:pt x="1368451" y="4783037"/>
                </a:cubicBezTo>
                <a:cubicBezTo>
                  <a:pt x="1368451" y="4781101"/>
                  <a:pt x="1370384" y="4781101"/>
                  <a:pt x="1372320" y="4779168"/>
                </a:cubicBezTo>
                <a:cubicBezTo>
                  <a:pt x="1378121" y="4771432"/>
                  <a:pt x="1385857" y="4765631"/>
                  <a:pt x="1393594" y="4761762"/>
                </a:cubicBezTo>
                <a:cubicBezTo>
                  <a:pt x="1387793" y="4763695"/>
                  <a:pt x="1380054" y="4767564"/>
                  <a:pt x="1374253" y="4769499"/>
                </a:cubicBezTo>
                <a:cubicBezTo>
                  <a:pt x="1370384" y="4771432"/>
                  <a:pt x="1368451" y="4773367"/>
                  <a:pt x="1364583" y="4775300"/>
                </a:cubicBezTo>
                <a:cubicBezTo>
                  <a:pt x="1362648" y="4777233"/>
                  <a:pt x="1360713" y="4777233"/>
                  <a:pt x="1358780" y="4779168"/>
                </a:cubicBezTo>
                <a:cubicBezTo>
                  <a:pt x="1358780" y="4781101"/>
                  <a:pt x="1356847" y="4781101"/>
                  <a:pt x="1356847" y="4781101"/>
                </a:cubicBezTo>
                <a:cubicBezTo>
                  <a:pt x="1345242" y="4790773"/>
                  <a:pt x="1333637" y="4798510"/>
                  <a:pt x="1322032" y="4808181"/>
                </a:cubicBezTo>
                <a:cubicBezTo>
                  <a:pt x="1318164" y="4810114"/>
                  <a:pt x="1314296" y="4812050"/>
                  <a:pt x="1310428" y="4813983"/>
                </a:cubicBezTo>
                <a:cubicBezTo>
                  <a:pt x="1312361" y="4810114"/>
                  <a:pt x="1314296" y="4806246"/>
                  <a:pt x="1316229" y="4802378"/>
                </a:cubicBezTo>
                <a:cubicBezTo>
                  <a:pt x="1314296" y="4802378"/>
                  <a:pt x="1310428" y="4804311"/>
                  <a:pt x="1308495" y="4804311"/>
                </a:cubicBezTo>
                <a:cubicBezTo>
                  <a:pt x="1294955" y="4804311"/>
                  <a:pt x="1285285" y="4810114"/>
                  <a:pt x="1275613" y="4817851"/>
                </a:cubicBezTo>
                <a:cubicBezTo>
                  <a:pt x="1273678" y="4819784"/>
                  <a:pt x="1269812" y="4821719"/>
                  <a:pt x="1267877" y="4821719"/>
                </a:cubicBezTo>
                <a:cubicBezTo>
                  <a:pt x="1256272" y="4821719"/>
                  <a:pt x="1246603" y="4829456"/>
                  <a:pt x="1236931" y="4835257"/>
                </a:cubicBezTo>
                <a:cubicBezTo>
                  <a:pt x="1225326" y="4842993"/>
                  <a:pt x="1213724" y="4846862"/>
                  <a:pt x="1202119" y="4850730"/>
                </a:cubicBezTo>
                <a:cubicBezTo>
                  <a:pt x="1200184" y="4850730"/>
                  <a:pt x="1196315" y="4850730"/>
                  <a:pt x="1194382" y="4852665"/>
                </a:cubicBezTo>
                <a:cubicBezTo>
                  <a:pt x="1176974" y="4864268"/>
                  <a:pt x="1157633" y="4866203"/>
                  <a:pt x="1140227" y="4872006"/>
                </a:cubicBezTo>
                <a:cubicBezTo>
                  <a:pt x="1136359" y="4873939"/>
                  <a:pt x="1130557" y="4873939"/>
                  <a:pt x="1124754" y="4873939"/>
                </a:cubicBezTo>
                <a:cubicBezTo>
                  <a:pt x="1111216" y="4872006"/>
                  <a:pt x="1097676" y="4868138"/>
                  <a:pt x="1084138" y="4864268"/>
                </a:cubicBezTo>
                <a:cubicBezTo>
                  <a:pt x="1084138" y="4864268"/>
                  <a:pt x="1084138" y="4862335"/>
                  <a:pt x="1084138" y="4862335"/>
                </a:cubicBezTo>
                <a:cubicBezTo>
                  <a:pt x="1084138" y="4860402"/>
                  <a:pt x="1086071" y="4858466"/>
                  <a:pt x="1086071" y="4858466"/>
                </a:cubicBezTo>
                <a:cubicBezTo>
                  <a:pt x="1093808" y="4854598"/>
                  <a:pt x="1103480" y="4848797"/>
                  <a:pt x="1111216" y="4844929"/>
                </a:cubicBezTo>
                <a:cubicBezTo>
                  <a:pt x="1101544" y="4841060"/>
                  <a:pt x="1095743" y="4842993"/>
                  <a:pt x="1089939" y="4850730"/>
                </a:cubicBezTo>
                <a:cubicBezTo>
                  <a:pt x="1088007" y="4852665"/>
                  <a:pt x="1084138" y="4854598"/>
                  <a:pt x="1082203" y="4854598"/>
                </a:cubicBezTo>
                <a:cubicBezTo>
                  <a:pt x="1072534" y="4852665"/>
                  <a:pt x="1066732" y="4858466"/>
                  <a:pt x="1060929" y="4864268"/>
                </a:cubicBezTo>
                <a:cubicBezTo>
                  <a:pt x="1055125" y="4870071"/>
                  <a:pt x="1047389" y="4872006"/>
                  <a:pt x="1039652" y="4872006"/>
                </a:cubicBezTo>
                <a:cubicBezTo>
                  <a:pt x="1039652" y="4864268"/>
                  <a:pt x="1049324" y="4862335"/>
                  <a:pt x="1053192" y="4858466"/>
                </a:cubicBezTo>
                <a:cubicBezTo>
                  <a:pt x="1058994" y="4854598"/>
                  <a:pt x="1068665" y="4852665"/>
                  <a:pt x="1070598" y="4842993"/>
                </a:cubicBezTo>
                <a:cubicBezTo>
                  <a:pt x="1062862" y="4842993"/>
                  <a:pt x="1055125" y="4844929"/>
                  <a:pt x="1045456" y="4844929"/>
                </a:cubicBezTo>
                <a:cubicBezTo>
                  <a:pt x="1049324" y="4841060"/>
                  <a:pt x="1051257" y="4837192"/>
                  <a:pt x="1055125" y="4835257"/>
                </a:cubicBezTo>
                <a:cubicBezTo>
                  <a:pt x="1062862" y="4831391"/>
                  <a:pt x="1068665" y="4827520"/>
                  <a:pt x="1066732" y="4815916"/>
                </a:cubicBezTo>
                <a:cubicBezTo>
                  <a:pt x="1076402" y="4819784"/>
                  <a:pt x="1076402" y="4819784"/>
                  <a:pt x="1099609" y="4796574"/>
                </a:cubicBezTo>
                <a:cubicBezTo>
                  <a:pt x="1095743" y="4796574"/>
                  <a:pt x="1093808" y="4796574"/>
                  <a:pt x="1089939" y="4796574"/>
                </a:cubicBezTo>
                <a:cubicBezTo>
                  <a:pt x="1099609" y="4786905"/>
                  <a:pt x="1111216" y="4779168"/>
                  <a:pt x="1120886" y="4769499"/>
                </a:cubicBezTo>
                <a:cubicBezTo>
                  <a:pt x="1118950" y="4769499"/>
                  <a:pt x="1117017" y="4767564"/>
                  <a:pt x="1115084" y="4767564"/>
                </a:cubicBezTo>
                <a:cubicBezTo>
                  <a:pt x="1113149" y="4769499"/>
                  <a:pt x="1109281" y="4771432"/>
                  <a:pt x="1107348" y="4773367"/>
                </a:cubicBezTo>
                <a:cubicBezTo>
                  <a:pt x="1099609" y="4777233"/>
                  <a:pt x="1093808" y="4783037"/>
                  <a:pt x="1084138" y="4788840"/>
                </a:cubicBezTo>
                <a:cubicBezTo>
                  <a:pt x="1091875" y="4781101"/>
                  <a:pt x="1099609" y="4775300"/>
                  <a:pt x="1105413" y="4769499"/>
                </a:cubicBezTo>
                <a:cubicBezTo>
                  <a:pt x="1105413" y="4769499"/>
                  <a:pt x="1103480" y="4769499"/>
                  <a:pt x="1101544" y="4769499"/>
                </a:cubicBezTo>
                <a:cubicBezTo>
                  <a:pt x="1101544" y="4767564"/>
                  <a:pt x="1101544" y="4763695"/>
                  <a:pt x="1101544" y="4761762"/>
                </a:cubicBezTo>
                <a:cubicBezTo>
                  <a:pt x="1097676" y="4763695"/>
                  <a:pt x="1093808" y="4767564"/>
                  <a:pt x="1091875" y="4771432"/>
                </a:cubicBezTo>
                <a:cubicBezTo>
                  <a:pt x="1088007" y="4777233"/>
                  <a:pt x="1080270" y="4781101"/>
                  <a:pt x="1074467" y="4784972"/>
                </a:cubicBezTo>
                <a:cubicBezTo>
                  <a:pt x="1066732" y="4790773"/>
                  <a:pt x="1057061" y="4796574"/>
                  <a:pt x="1049324" y="4802378"/>
                </a:cubicBezTo>
                <a:cubicBezTo>
                  <a:pt x="1047389" y="4804311"/>
                  <a:pt x="1043523" y="4804311"/>
                  <a:pt x="1039652" y="4802378"/>
                </a:cubicBezTo>
                <a:cubicBezTo>
                  <a:pt x="1045456" y="4798510"/>
                  <a:pt x="1051257" y="4794641"/>
                  <a:pt x="1057061" y="4790773"/>
                </a:cubicBezTo>
                <a:cubicBezTo>
                  <a:pt x="1064797" y="4784972"/>
                  <a:pt x="1070598" y="4781101"/>
                  <a:pt x="1076402" y="4775300"/>
                </a:cubicBezTo>
                <a:cubicBezTo>
                  <a:pt x="1078335" y="4773367"/>
                  <a:pt x="1082203" y="4769499"/>
                  <a:pt x="1084138" y="4769499"/>
                </a:cubicBezTo>
                <a:cubicBezTo>
                  <a:pt x="1095743" y="4769499"/>
                  <a:pt x="1097676" y="4763695"/>
                  <a:pt x="1099609" y="4755959"/>
                </a:cubicBezTo>
                <a:cubicBezTo>
                  <a:pt x="1097676" y="4754026"/>
                  <a:pt x="1095743" y="4750158"/>
                  <a:pt x="1093808" y="4748222"/>
                </a:cubicBezTo>
                <a:cubicBezTo>
                  <a:pt x="1093808" y="4742421"/>
                  <a:pt x="1093808" y="4738553"/>
                  <a:pt x="1095743" y="4732749"/>
                </a:cubicBezTo>
                <a:cubicBezTo>
                  <a:pt x="1095743" y="4730816"/>
                  <a:pt x="1097676" y="4726948"/>
                  <a:pt x="1099609" y="4726948"/>
                </a:cubicBezTo>
                <a:cubicBezTo>
                  <a:pt x="1103480" y="4725015"/>
                  <a:pt x="1103480" y="4728881"/>
                  <a:pt x="1105413" y="4732749"/>
                </a:cubicBezTo>
                <a:cubicBezTo>
                  <a:pt x="1109281" y="4732749"/>
                  <a:pt x="1115084" y="4730816"/>
                  <a:pt x="1120886" y="4730816"/>
                </a:cubicBezTo>
                <a:cubicBezTo>
                  <a:pt x="1118950" y="4736617"/>
                  <a:pt x="1115084" y="4740486"/>
                  <a:pt x="1113149" y="4744354"/>
                </a:cubicBezTo>
                <a:cubicBezTo>
                  <a:pt x="1115084" y="4746289"/>
                  <a:pt x="1117017" y="4746289"/>
                  <a:pt x="1118950" y="4746289"/>
                </a:cubicBezTo>
                <a:cubicBezTo>
                  <a:pt x="1124754" y="4742421"/>
                  <a:pt x="1130557" y="4740486"/>
                  <a:pt x="1132490" y="4734685"/>
                </a:cubicBezTo>
                <a:cubicBezTo>
                  <a:pt x="1128622" y="4730816"/>
                  <a:pt x="1126687" y="4728881"/>
                  <a:pt x="1128622" y="4723080"/>
                </a:cubicBezTo>
                <a:cubicBezTo>
                  <a:pt x="1130557" y="4723080"/>
                  <a:pt x="1132490" y="4723080"/>
                  <a:pt x="1134426" y="4723080"/>
                </a:cubicBezTo>
                <a:cubicBezTo>
                  <a:pt x="1136359" y="4721147"/>
                  <a:pt x="1136359" y="4721147"/>
                  <a:pt x="1138291" y="4719212"/>
                </a:cubicBezTo>
                <a:cubicBezTo>
                  <a:pt x="1136359" y="4719212"/>
                  <a:pt x="1132490" y="4717276"/>
                  <a:pt x="1130557" y="4717276"/>
                </a:cubicBezTo>
                <a:cubicBezTo>
                  <a:pt x="1128622" y="4717276"/>
                  <a:pt x="1124754" y="4719212"/>
                  <a:pt x="1120886" y="4721147"/>
                </a:cubicBezTo>
                <a:cubicBezTo>
                  <a:pt x="1118950" y="4709540"/>
                  <a:pt x="1124754" y="4699870"/>
                  <a:pt x="1124754" y="4688265"/>
                </a:cubicBezTo>
                <a:cubicBezTo>
                  <a:pt x="1122818" y="4688265"/>
                  <a:pt x="1122818" y="4688265"/>
                  <a:pt x="1122818" y="4688265"/>
                </a:cubicBezTo>
                <a:cubicBezTo>
                  <a:pt x="1118950" y="4688265"/>
                  <a:pt x="1117017" y="4694067"/>
                  <a:pt x="1115084" y="4697937"/>
                </a:cubicBezTo>
                <a:cubicBezTo>
                  <a:pt x="1115084" y="4696002"/>
                  <a:pt x="1113149" y="4696002"/>
                  <a:pt x="1113149" y="4694067"/>
                </a:cubicBezTo>
                <a:cubicBezTo>
                  <a:pt x="1113149" y="4690198"/>
                  <a:pt x="1113149" y="4686333"/>
                  <a:pt x="1115084" y="4682464"/>
                </a:cubicBezTo>
                <a:cubicBezTo>
                  <a:pt x="1113149" y="4684397"/>
                  <a:pt x="1109281" y="4684397"/>
                  <a:pt x="1107348" y="4682464"/>
                </a:cubicBezTo>
                <a:cubicBezTo>
                  <a:pt x="1101544" y="4680529"/>
                  <a:pt x="1095743" y="4674728"/>
                  <a:pt x="1089939" y="4670859"/>
                </a:cubicBezTo>
                <a:cubicBezTo>
                  <a:pt x="1089939" y="4670859"/>
                  <a:pt x="1146028" y="4645715"/>
                  <a:pt x="1146028" y="4641846"/>
                </a:cubicBezTo>
                <a:cubicBezTo>
                  <a:pt x="1140227" y="4639913"/>
                  <a:pt x="1136359" y="4639913"/>
                  <a:pt x="1132490" y="4637980"/>
                </a:cubicBezTo>
                <a:cubicBezTo>
                  <a:pt x="1130557" y="4636045"/>
                  <a:pt x="1126687" y="4634112"/>
                  <a:pt x="1126687" y="4632177"/>
                </a:cubicBezTo>
                <a:cubicBezTo>
                  <a:pt x="1126687" y="4622505"/>
                  <a:pt x="1118950" y="4620572"/>
                  <a:pt x="1113149" y="4618639"/>
                </a:cubicBezTo>
                <a:cubicBezTo>
                  <a:pt x="1111216" y="4616704"/>
                  <a:pt x="1107348" y="4616704"/>
                  <a:pt x="1105413" y="4616704"/>
                </a:cubicBezTo>
                <a:cubicBezTo>
                  <a:pt x="1097676" y="4614771"/>
                  <a:pt x="1093808" y="4610903"/>
                  <a:pt x="1091875" y="4603164"/>
                </a:cubicBezTo>
                <a:cubicBezTo>
                  <a:pt x="1089939" y="4597363"/>
                  <a:pt x="1089939" y="4591561"/>
                  <a:pt x="1088007" y="4585758"/>
                </a:cubicBezTo>
                <a:cubicBezTo>
                  <a:pt x="1080270" y="4581890"/>
                  <a:pt x="1074467" y="4581890"/>
                  <a:pt x="1064797" y="4587693"/>
                </a:cubicBezTo>
                <a:cubicBezTo>
                  <a:pt x="1064797" y="4581890"/>
                  <a:pt x="1064797" y="4576088"/>
                  <a:pt x="1064797" y="4572220"/>
                </a:cubicBezTo>
                <a:cubicBezTo>
                  <a:pt x="1058994" y="4570285"/>
                  <a:pt x="1053192" y="4568352"/>
                  <a:pt x="1049324" y="4564484"/>
                </a:cubicBezTo>
                <a:cubicBezTo>
                  <a:pt x="1045456" y="4560615"/>
                  <a:pt x="1035784" y="4558680"/>
                  <a:pt x="1029983" y="4556747"/>
                </a:cubicBezTo>
                <a:cubicBezTo>
                  <a:pt x="1028047" y="4556747"/>
                  <a:pt x="1024182" y="4554812"/>
                  <a:pt x="1024182" y="4552879"/>
                </a:cubicBezTo>
                <a:cubicBezTo>
                  <a:pt x="1020313" y="4543207"/>
                  <a:pt x="1012577" y="4541274"/>
                  <a:pt x="1004840" y="4539339"/>
                </a:cubicBezTo>
                <a:cubicBezTo>
                  <a:pt x="1000972" y="4539339"/>
                  <a:pt x="999037" y="4537406"/>
                  <a:pt x="997104" y="4537406"/>
                </a:cubicBezTo>
                <a:cubicBezTo>
                  <a:pt x="995168" y="4535471"/>
                  <a:pt x="993235" y="4535471"/>
                  <a:pt x="991300" y="4537406"/>
                </a:cubicBezTo>
                <a:cubicBezTo>
                  <a:pt x="979695" y="4545142"/>
                  <a:pt x="966158" y="4550944"/>
                  <a:pt x="954553" y="4558680"/>
                </a:cubicBezTo>
                <a:cubicBezTo>
                  <a:pt x="954553" y="4558680"/>
                  <a:pt x="952618" y="4558680"/>
                  <a:pt x="952618" y="4560615"/>
                </a:cubicBezTo>
                <a:cubicBezTo>
                  <a:pt x="950685" y="4564484"/>
                  <a:pt x="948749" y="4566417"/>
                  <a:pt x="942948" y="4566417"/>
                </a:cubicBezTo>
                <a:cubicBezTo>
                  <a:pt x="935212" y="4566417"/>
                  <a:pt x="933279" y="4570285"/>
                  <a:pt x="935212" y="4578021"/>
                </a:cubicBezTo>
                <a:cubicBezTo>
                  <a:pt x="937147" y="4579957"/>
                  <a:pt x="939080" y="4581890"/>
                  <a:pt x="939080" y="4583823"/>
                </a:cubicBezTo>
                <a:cubicBezTo>
                  <a:pt x="941013" y="4585758"/>
                  <a:pt x="941013" y="4589626"/>
                  <a:pt x="939080" y="4589626"/>
                </a:cubicBezTo>
                <a:cubicBezTo>
                  <a:pt x="927475" y="4593494"/>
                  <a:pt x="925542" y="4605099"/>
                  <a:pt x="915870" y="4610903"/>
                </a:cubicBezTo>
                <a:cubicBezTo>
                  <a:pt x="912002" y="4612836"/>
                  <a:pt x="912002" y="4616704"/>
                  <a:pt x="910069" y="4618639"/>
                </a:cubicBezTo>
                <a:cubicBezTo>
                  <a:pt x="904266" y="4626373"/>
                  <a:pt x="898464" y="4628309"/>
                  <a:pt x="888793" y="4626373"/>
                </a:cubicBezTo>
                <a:cubicBezTo>
                  <a:pt x="886860" y="4624440"/>
                  <a:pt x="882991" y="4624440"/>
                  <a:pt x="881056" y="4620572"/>
                </a:cubicBezTo>
                <a:cubicBezTo>
                  <a:pt x="879123" y="4616704"/>
                  <a:pt x="877188" y="4614771"/>
                  <a:pt x="875255" y="4610903"/>
                </a:cubicBezTo>
                <a:cubicBezTo>
                  <a:pt x="873320" y="4607032"/>
                  <a:pt x="873320" y="4603164"/>
                  <a:pt x="877188" y="4599298"/>
                </a:cubicBezTo>
                <a:cubicBezTo>
                  <a:pt x="879123" y="4597363"/>
                  <a:pt x="881056" y="4593494"/>
                  <a:pt x="879123" y="4589626"/>
                </a:cubicBezTo>
                <a:cubicBezTo>
                  <a:pt x="877188" y="4583823"/>
                  <a:pt x="875255" y="4579957"/>
                  <a:pt x="873320" y="4576088"/>
                </a:cubicBezTo>
                <a:cubicBezTo>
                  <a:pt x="871387" y="4572220"/>
                  <a:pt x="869454" y="4568352"/>
                  <a:pt x="863650" y="4566417"/>
                </a:cubicBezTo>
                <a:cubicBezTo>
                  <a:pt x="857849" y="4564484"/>
                  <a:pt x="852045" y="4562548"/>
                  <a:pt x="846244" y="4566417"/>
                </a:cubicBezTo>
                <a:cubicBezTo>
                  <a:pt x="840441" y="4570285"/>
                  <a:pt x="832704" y="4568352"/>
                  <a:pt x="826903" y="4564484"/>
                </a:cubicBezTo>
                <a:cubicBezTo>
                  <a:pt x="819166" y="4554812"/>
                  <a:pt x="807562" y="4554812"/>
                  <a:pt x="797890" y="4552879"/>
                </a:cubicBezTo>
                <a:cubicBezTo>
                  <a:pt x="795957" y="4550944"/>
                  <a:pt x="794022" y="4552879"/>
                  <a:pt x="792089" y="4554812"/>
                </a:cubicBezTo>
                <a:cubicBezTo>
                  <a:pt x="788220" y="4556747"/>
                  <a:pt x="784352" y="4556747"/>
                  <a:pt x="780484" y="4552879"/>
                </a:cubicBezTo>
                <a:cubicBezTo>
                  <a:pt x="778549" y="4550944"/>
                  <a:pt x="774680" y="4549011"/>
                  <a:pt x="770812" y="4550944"/>
                </a:cubicBezTo>
                <a:cubicBezTo>
                  <a:pt x="768879" y="4550944"/>
                  <a:pt x="766944" y="4552879"/>
                  <a:pt x="765011" y="4552879"/>
                </a:cubicBezTo>
                <a:cubicBezTo>
                  <a:pt x="763078" y="4552879"/>
                  <a:pt x="759210" y="4554812"/>
                  <a:pt x="759210" y="4552879"/>
                </a:cubicBezTo>
                <a:cubicBezTo>
                  <a:pt x="755339" y="4549011"/>
                  <a:pt x="749538" y="4547075"/>
                  <a:pt x="745670" y="4543207"/>
                </a:cubicBezTo>
                <a:cubicBezTo>
                  <a:pt x="741801" y="4539339"/>
                  <a:pt x="739868" y="4537406"/>
                  <a:pt x="734065" y="4539339"/>
                </a:cubicBezTo>
                <a:cubicBezTo>
                  <a:pt x="732132" y="4541274"/>
                  <a:pt x="728264" y="4539339"/>
                  <a:pt x="724395" y="4539339"/>
                </a:cubicBezTo>
                <a:cubicBezTo>
                  <a:pt x="718592" y="4541274"/>
                  <a:pt x="712791" y="4541274"/>
                  <a:pt x="708922" y="4535471"/>
                </a:cubicBezTo>
                <a:cubicBezTo>
                  <a:pt x="701186" y="4533538"/>
                  <a:pt x="697318" y="4529669"/>
                  <a:pt x="693449" y="4521933"/>
                </a:cubicBezTo>
                <a:cubicBezTo>
                  <a:pt x="693449" y="4519997"/>
                  <a:pt x="689581" y="4516132"/>
                  <a:pt x="687646" y="4514196"/>
                </a:cubicBezTo>
                <a:cubicBezTo>
                  <a:pt x="681845" y="4510328"/>
                  <a:pt x="676043" y="4506460"/>
                  <a:pt x="670240" y="4502592"/>
                </a:cubicBezTo>
                <a:cubicBezTo>
                  <a:pt x="664439" y="4500659"/>
                  <a:pt x="712791" y="4450371"/>
                  <a:pt x="706987" y="4448436"/>
                </a:cubicBezTo>
                <a:cubicBezTo>
                  <a:pt x="699251" y="4444568"/>
                  <a:pt x="695382" y="4438766"/>
                  <a:pt x="691514" y="4432963"/>
                </a:cubicBezTo>
                <a:cubicBezTo>
                  <a:pt x="685713" y="4431030"/>
                  <a:pt x="683778" y="4429097"/>
                  <a:pt x="679909" y="4425229"/>
                </a:cubicBezTo>
                <a:cubicBezTo>
                  <a:pt x="674108" y="4429097"/>
                  <a:pt x="666371" y="4432963"/>
                  <a:pt x="658635" y="4436831"/>
                </a:cubicBezTo>
                <a:cubicBezTo>
                  <a:pt x="654767" y="4438766"/>
                  <a:pt x="648965" y="4440702"/>
                  <a:pt x="645097" y="4442635"/>
                </a:cubicBezTo>
                <a:cubicBezTo>
                  <a:pt x="641229" y="4442635"/>
                  <a:pt x="635426" y="4442635"/>
                  <a:pt x="631557" y="4444568"/>
                </a:cubicBezTo>
                <a:cubicBezTo>
                  <a:pt x="625756" y="4444568"/>
                  <a:pt x="621888" y="4446503"/>
                  <a:pt x="618019" y="4448436"/>
                </a:cubicBezTo>
                <a:cubicBezTo>
                  <a:pt x="614151" y="4450371"/>
                  <a:pt x="610283" y="4448436"/>
                  <a:pt x="606415" y="4450371"/>
                </a:cubicBezTo>
                <a:cubicBezTo>
                  <a:pt x="600611" y="4454239"/>
                  <a:pt x="596743" y="4452304"/>
                  <a:pt x="592875" y="4448436"/>
                </a:cubicBezTo>
                <a:cubicBezTo>
                  <a:pt x="589009" y="4446503"/>
                  <a:pt x="585138" y="4444568"/>
                  <a:pt x="583205" y="4440702"/>
                </a:cubicBezTo>
                <a:cubicBezTo>
                  <a:pt x="581270" y="4438766"/>
                  <a:pt x="577404" y="4438766"/>
                  <a:pt x="575469" y="4434898"/>
                </a:cubicBezTo>
                <a:cubicBezTo>
                  <a:pt x="569667" y="4438766"/>
                  <a:pt x="563864" y="4440702"/>
                  <a:pt x="558063" y="4444568"/>
                </a:cubicBezTo>
                <a:cubicBezTo>
                  <a:pt x="554195" y="4448436"/>
                  <a:pt x="548391" y="4446503"/>
                  <a:pt x="544523" y="4446503"/>
                </a:cubicBezTo>
                <a:cubicBezTo>
                  <a:pt x="542590" y="4452304"/>
                  <a:pt x="538722" y="4458108"/>
                  <a:pt x="532918" y="4460041"/>
                </a:cubicBezTo>
                <a:cubicBezTo>
                  <a:pt x="523248" y="4465844"/>
                  <a:pt x="513577" y="4469713"/>
                  <a:pt x="503907" y="4475514"/>
                </a:cubicBezTo>
                <a:cubicBezTo>
                  <a:pt x="498104" y="4477449"/>
                  <a:pt x="494235" y="4479382"/>
                  <a:pt x="490370" y="4481317"/>
                </a:cubicBezTo>
                <a:cubicBezTo>
                  <a:pt x="480698" y="4487118"/>
                  <a:pt x="465225" y="4489054"/>
                  <a:pt x="459424" y="4502592"/>
                </a:cubicBezTo>
                <a:cubicBezTo>
                  <a:pt x="459424" y="4504527"/>
                  <a:pt x="455555" y="4506460"/>
                  <a:pt x="451687" y="4508395"/>
                </a:cubicBezTo>
                <a:cubicBezTo>
                  <a:pt x="426542" y="4519997"/>
                  <a:pt x="403335" y="4533538"/>
                  <a:pt x="378190" y="4545142"/>
                </a:cubicBezTo>
                <a:cubicBezTo>
                  <a:pt x="376257" y="4547075"/>
                  <a:pt x="372389" y="4547075"/>
                  <a:pt x="368521" y="4547075"/>
                </a:cubicBezTo>
                <a:cubicBezTo>
                  <a:pt x="362717" y="4547075"/>
                  <a:pt x="356916" y="4549011"/>
                  <a:pt x="354981" y="4554812"/>
                </a:cubicBezTo>
                <a:cubicBezTo>
                  <a:pt x="353048" y="4558680"/>
                  <a:pt x="351112" y="4560615"/>
                  <a:pt x="347244" y="4560615"/>
                </a:cubicBezTo>
                <a:cubicBezTo>
                  <a:pt x="345311" y="4560615"/>
                  <a:pt x="339507" y="4558680"/>
                  <a:pt x="337575" y="4560615"/>
                </a:cubicBezTo>
                <a:cubicBezTo>
                  <a:pt x="318233" y="4570285"/>
                  <a:pt x="296959" y="4581890"/>
                  <a:pt x="277618" y="4591561"/>
                </a:cubicBezTo>
                <a:cubicBezTo>
                  <a:pt x="275682" y="4591561"/>
                  <a:pt x="237000" y="4570285"/>
                  <a:pt x="237000" y="4572220"/>
                </a:cubicBezTo>
                <a:cubicBezTo>
                  <a:pt x="229264" y="4587693"/>
                  <a:pt x="213791" y="4589626"/>
                  <a:pt x="200253" y="4597363"/>
                </a:cubicBezTo>
                <a:cubicBezTo>
                  <a:pt x="184780" y="4605099"/>
                  <a:pt x="171242" y="4612836"/>
                  <a:pt x="155769" y="4620572"/>
                </a:cubicBezTo>
                <a:cubicBezTo>
                  <a:pt x="148032" y="4624440"/>
                  <a:pt x="140296" y="4628309"/>
                  <a:pt x="132559" y="4630242"/>
                </a:cubicBezTo>
                <a:cubicBezTo>
                  <a:pt x="124823" y="4632177"/>
                  <a:pt x="117087" y="4630242"/>
                  <a:pt x="109350" y="4634112"/>
                </a:cubicBezTo>
                <a:cubicBezTo>
                  <a:pt x="101613" y="4632177"/>
                  <a:pt x="93877" y="4636045"/>
                  <a:pt x="86140" y="4639913"/>
                </a:cubicBezTo>
                <a:cubicBezTo>
                  <a:pt x="78404" y="4643782"/>
                  <a:pt x="70667" y="4639913"/>
                  <a:pt x="64866" y="4643782"/>
                </a:cubicBezTo>
                <a:cubicBezTo>
                  <a:pt x="55194" y="4649583"/>
                  <a:pt x="47460" y="4645715"/>
                  <a:pt x="41657" y="4639913"/>
                </a:cubicBezTo>
                <a:cubicBezTo>
                  <a:pt x="37788" y="4636045"/>
                  <a:pt x="28119" y="4634112"/>
                  <a:pt x="26184" y="4626373"/>
                </a:cubicBezTo>
                <a:cubicBezTo>
                  <a:pt x="24251" y="4620572"/>
                  <a:pt x="14579" y="4620572"/>
                  <a:pt x="12646" y="4614771"/>
                </a:cubicBezTo>
                <a:cubicBezTo>
                  <a:pt x="9744" y="4609935"/>
                  <a:pt x="6359" y="4606550"/>
                  <a:pt x="2491" y="4604132"/>
                </a:cubicBezTo>
                <a:lnTo>
                  <a:pt x="0" y="4603210"/>
                </a:lnTo>
                <a:lnTo>
                  <a:pt x="0" y="1780731"/>
                </a:lnTo>
                <a:lnTo>
                  <a:pt x="12646" y="1765837"/>
                </a:lnTo>
                <a:lnTo>
                  <a:pt x="0" y="1774315"/>
                </a:lnTo>
                <a:lnTo>
                  <a:pt x="0" y="1288043"/>
                </a:lnTo>
                <a:lnTo>
                  <a:pt x="9019" y="1280134"/>
                </a:lnTo>
                <a:cubicBezTo>
                  <a:pt x="14096" y="1276024"/>
                  <a:pt x="19415" y="1272639"/>
                  <a:pt x="26184" y="1270705"/>
                </a:cubicBezTo>
                <a:cubicBezTo>
                  <a:pt x="28119" y="1270705"/>
                  <a:pt x="31985" y="1266839"/>
                  <a:pt x="33920" y="1264903"/>
                </a:cubicBezTo>
                <a:cubicBezTo>
                  <a:pt x="55194" y="1247497"/>
                  <a:pt x="68735" y="1210748"/>
                  <a:pt x="91944" y="1195275"/>
                </a:cubicBezTo>
                <a:cubicBezTo>
                  <a:pt x="113218" y="1181737"/>
                  <a:pt x="130624" y="1160463"/>
                  <a:pt x="155769" y="1150791"/>
                </a:cubicBezTo>
                <a:cubicBezTo>
                  <a:pt x="163506" y="1146923"/>
                  <a:pt x="169307" y="1139186"/>
                  <a:pt x="175110" y="1133385"/>
                </a:cubicBezTo>
                <a:cubicBezTo>
                  <a:pt x="182847" y="1125649"/>
                  <a:pt x="190583" y="1117912"/>
                  <a:pt x="202188" y="1114044"/>
                </a:cubicBezTo>
                <a:cubicBezTo>
                  <a:pt x="225395" y="1106307"/>
                  <a:pt x="244736" y="1092767"/>
                  <a:pt x="266013" y="1079230"/>
                </a:cubicBezTo>
                <a:cubicBezTo>
                  <a:pt x="283419" y="1069560"/>
                  <a:pt x="300825" y="1057955"/>
                  <a:pt x="318233" y="1046350"/>
                </a:cubicBezTo>
                <a:cubicBezTo>
                  <a:pt x="341443" y="1032810"/>
                  <a:pt x="376257" y="994128"/>
                  <a:pt x="399464" y="980590"/>
                </a:cubicBezTo>
                <a:cubicBezTo>
                  <a:pt x="424609" y="965117"/>
                  <a:pt x="449752" y="951579"/>
                  <a:pt x="474894" y="936106"/>
                </a:cubicBezTo>
                <a:cubicBezTo>
                  <a:pt x="482633" y="932238"/>
                  <a:pt x="490370" y="928370"/>
                  <a:pt x="498104" y="922566"/>
                </a:cubicBezTo>
                <a:cubicBezTo>
                  <a:pt x="532918" y="897424"/>
                  <a:pt x="571600" y="876150"/>
                  <a:pt x="610283" y="854873"/>
                </a:cubicBezTo>
                <a:cubicBezTo>
                  <a:pt x="616084" y="851005"/>
                  <a:pt x="623821" y="849072"/>
                  <a:pt x="627689" y="843268"/>
                </a:cubicBezTo>
                <a:cubicBezTo>
                  <a:pt x="641229" y="829731"/>
                  <a:pt x="656702" y="821994"/>
                  <a:pt x="674108" y="816190"/>
                </a:cubicBezTo>
                <a:cubicBezTo>
                  <a:pt x="689581" y="810389"/>
                  <a:pt x="705054" y="800720"/>
                  <a:pt x="718592" y="792983"/>
                </a:cubicBezTo>
                <a:cubicBezTo>
                  <a:pt x="788220" y="752365"/>
                  <a:pt x="855914" y="762037"/>
                  <a:pt x="927475" y="725290"/>
                </a:cubicBezTo>
                <a:cubicBezTo>
                  <a:pt x="950685" y="713685"/>
                  <a:pt x="973894" y="705949"/>
                  <a:pt x="997104" y="694344"/>
                </a:cubicBezTo>
                <a:cubicBezTo>
                  <a:pt x="1020313" y="682739"/>
                  <a:pt x="1043523" y="669199"/>
                  <a:pt x="1068665" y="657594"/>
                </a:cubicBezTo>
                <a:cubicBezTo>
                  <a:pt x="1099609" y="642121"/>
                  <a:pt x="1132490" y="630519"/>
                  <a:pt x="1167305" y="624715"/>
                </a:cubicBezTo>
                <a:cubicBezTo>
                  <a:pt x="1171173" y="624715"/>
                  <a:pt x="1175041" y="624715"/>
                  <a:pt x="1176974" y="622780"/>
                </a:cubicBezTo>
                <a:cubicBezTo>
                  <a:pt x="1188579" y="613111"/>
                  <a:pt x="1204052" y="609242"/>
                  <a:pt x="1215657" y="601506"/>
                </a:cubicBezTo>
                <a:cubicBezTo>
                  <a:pt x="1236931" y="587968"/>
                  <a:pt x="1260140" y="578296"/>
                  <a:pt x="1283350" y="572495"/>
                </a:cubicBezTo>
                <a:cubicBezTo>
                  <a:pt x="1289153" y="572495"/>
                  <a:pt x="1294955" y="570560"/>
                  <a:pt x="1300758" y="568627"/>
                </a:cubicBezTo>
                <a:cubicBezTo>
                  <a:pt x="1320097" y="562823"/>
                  <a:pt x="1341374" y="558955"/>
                  <a:pt x="1358780" y="547350"/>
                </a:cubicBezTo>
                <a:cubicBezTo>
                  <a:pt x="1362648" y="545417"/>
                  <a:pt x="1364583" y="543484"/>
                  <a:pt x="1368451" y="543484"/>
                </a:cubicBezTo>
                <a:cubicBezTo>
                  <a:pt x="1395529" y="537681"/>
                  <a:pt x="1420672" y="531879"/>
                  <a:pt x="1447749" y="526076"/>
                </a:cubicBezTo>
                <a:cubicBezTo>
                  <a:pt x="1474827" y="520275"/>
                  <a:pt x="1499970" y="514471"/>
                  <a:pt x="1525112" y="508670"/>
                </a:cubicBezTo>
                <a:cubicBezTo>
                  <a:pt x="1538652" y="504802"/>
                  <a:pt x="1550257" y="502866"/>
                  <a:pt x="1561862" y="500933"/>
                </a:cubicBezTo>
                <a:cubicBezTo>
                  <a:pt x="1567663" y="500933"/>
                  <a:pt x="1573464" y="498998"/>
                  <a:pt x="1579268" y="497065"/>
                </a:cubicBezTo>
                <a:cubicBezTo>
                  <a:pt x="1600542" y="487393"/>
                  <a:pt x="1623752" y="487393"/>
                  <a:pt x="1646961" y="495130"/>
                </a:cubicBezTo>
                <a:cubicBezTo>
                  <a:pt x="1654698" y="498998"/>
                  <a:pt x="1660499" y="495130"/>
                  <a:pt x="1666302" y="491262"/>
                </a:cubicBezTo>
                <a:cubicBezTo>
                  <a:pt x="1674039" y="493197"/>
                  <a:pt x="1681775" y="497065"/>
                  <a:pt x="1691447" y="500933"/>
                </a:cubicBezTo>
                <a:cubicBezTo>
                  <a:pt x="1691447" y="502866"/>
                  <a:pt x="1691447" y="502866"/>
                  <a:pt x="1691447" y="502866"/>
                </a:cubicBezTo>
                <a:cubicBezTo>
                  <a:pt x="1712721" y="491262"/>
                  <a:pt x="1733996" y="479657"/>
                  <a:pt x="1755272" y="469987"/>
                </a:cubicBezTo>
                <a:cubicBezTo>
                  <a:pt x="1793952" y="452579"/>
                  <a:pt x="1832635" y="435173"/>
                  <a:pt x="1871317" y="417767"/>
                </a:cubicBezTo>
                <a:cubicBezTo>
                  <a:pt x="1879054" y="413899"/>
                  <a:pt x="1886790" y="411964"/>
                  <a:pt x="1894527" y="410031"/>
                </a:cubicBezTo>
                <a:cubicBezTo>
                  <a:pt x="1898395" y="408095"/>
                  <a:pt x="1904196" y="410031"/>
                  <a:pt x="1904196" y="415832"/>
                </a:cubicBezTo>
                <a:cubicBezTo>
                  <a:pt x="1890659" y="421635"/>
                  <a:pt x="1875186" y="429370"/>
                  <a:pt x="1861646" y="437108"/>
                </a:cubicBezTo>
                <a:cubicBezTo>
                  <a:pt x="1848108" y="444845"/>
                  <a:pt x="1832635" y="452579"/>
                  <a:pt x="1819097" y="460316"/>
                </a:cubicBezTo>
                <a:cubicBezTo>
                  <a:pt x="1805557" y="468052"/>
                  <a:pt x="1790084" y="475789"/>
                  <a:pt x="1776546" y="483525"/>
                </a:cubicBezTo>
                <a:cubicBezTo>
                  <a:pt x="1782350" y="487393"/>
                  <a:pt x="1788151" y="485460"/>
                  <a:pt x="1792019" y="483525"/>
                </a:cubicBezTo>
                <a:cubicBezTo>
                  <a:pt x="1813294" y="471920"/>
                  <a:pt x="1834568" y="462251"/>
                  <a:pt x="1855844" y="450646"/>
                </a:cubicBezTo>
                <a:cubicBezTo>
                  <a:pt x="1890659" y="433240"/>
                  <a:pt x="1927406" y="419700"/>
                  <a:pt x="1964153" y="411964"/>
                </a:cubicBezTo>
                <a:cubicBezTo>
                  <a:pt x="1969957" y="410031"/>
                  <a:pt x="1975760" y="408095"/>
                  <a:pt x="1979626" y="410031"/>
                </a:cubicBezTo>
                <a:cubicBezTo>
                  <a:pt x="1983494" y="411964"/>
                  <a:pt x="1989298" y="413899"/>
                  <a:pt x="1993166" y="417767"/>
                </a:cubicBezTo>
                <a:cubicBezTo>
                  <a:pt x="1997035" y="421635"/>
                  <a:pt x="2004771" y="423568"/>
                  <a:pt x="2004771" y="431305"/>
                </a:cubicBezTo>
                <a:cubicBezTo>
                  <a:pt x="2004771" y="437108"/>
                  <a:pt x="2002836" y="440974"/>
                  <a:pt x="2002836" y="446778"/>
                </a:cubicBezTo>
                <a:cubicBezTo>
                  <a:pt x="2012508" y="442910"/>
                  <a:pt x="2020244" y="433240"/>
                  <a:pt x="2035717" y="433240"/>
                </a:cubicBezTo>
                <a:cubicBezTo>
                  <a:pt x="2004771" y="458383"/>
                  <a:pt x="1973825" y="471920"/>
                  <a:pt x="1944812" y="493197"/>
                </a:cubicBezTo>
                <a:cubicBezTo>
                  <a:pt x="1948680" y="497065"/>
                  <a:pt x="1952551" y="500933"/>
                  <a:pt x="1956419" y="504802"/>
                </a:cubicBezTo>
                <a:cubicBezTo>
                  <a:pt x="1958352" y="506735"/>
                  <a:pt x="1960285" y="506735"/>
                  <a:pt x="1962220" y="506735"/>
                </a:cubicBezTo>
                <a:cubicBezTo>
                  <a:pt x="1968021" y="506735"/>
                  <a:pt x="1975760" y="504802"/>
                  <a:pt x="1981562" y="502866"/>
                </a:cubicBezTo>
                <a:cubicBezTo>
                  <a:pt x="2014440" y="493197"/>
                  <a:pt x="2045387" y="483525"/>
                  <a:pt x="2078265" y="475789"/>
                </a:cubicBezTo>
                <a:cubicBezTo>
                  <a:pt x="2089870" y="471920"/>
                  <a:pt x="2103410" y="471920"/>
                  <a:pt x="2116948" y="469987"/>
                </a:cubicBezTo>
                <a:cubicBezTo>
                  <a:pt x="2120816" y="469987"/>
                  <a:pt x="2124685" y="471920"/>
                  <a:pt x="2132421" y="475789"/>
                </a:cubicBezTo>
                <a:cubicBezTo>
                  <a:pt x="2124685" y="479657"/>
                  <a:pt x="2118881" y="481592"/>
                  <a:pt x="2115013" y="483525"/>
                </a:cubicBezTo>
                <a:cubicBezTo>
                  <a:pt x="2062795" y="497065"/>
                  <a:pt x="2008637" y="512538"/>
                  <a:pt x="1954484" y="526076"/>
                </a:cubicBezTo>
                <a:cubicBezTo>
                  <a:pt x="1954484" y="526076"/>
                  <a:pt x="1952551" y="528009"/>
                  <a:pt x="1952551" y="528009"/>
                </a:cubicBezTo>
                <a:cubicBezTo>
                  <a:pt x="1954484" y="528009"/>
                  <a:pt x="1956419" y="528009"/>
                  <a:pt x="1956419" y="533812"/>
                </a:cubicBezTo>
                <a:cubicBezTo>
                  <a:pt x="1944812" y="537681"/>
                  <a:pt x="1935142" y="539614"/>
                  <a:pt x="1923538" y="543484"/>
                </a:cubicBezTo>
                <a:cubicBezTo>
                  <a:pt x="1927406" y="543484"/>
                  <a:pt x="1929341" y="545417"/>
                  <a:pt x="1933210" y="547350"/>
                </a:cubicBezTo>
                <a:cubicBezTo>
                  <a:pt x="1906132" y="557022"/>
                  <a:pt x="1882922" y="570560"/>
                  <a:pt x="1855844" y="574428"/>
                </a:cubicBezTo>
                <a:cubicBezTo>
                  <a:pt x="1867449" y="560890"/>
                  <a:pt x="1884855" y="555087"/>
                  <a:pt x="1900328" y="549285"/>
                </a:cubicBezTo>
                <a:cubicBezTo>
                  <a:pt x="1898395" y="551218"/>
                  <a:pt x="1894527" y="551218"/>
                  <a:pt x="1890659" y="553154"/>
                </a:cubicBezTo>
                <a:cubicBezTo>
                  <a:pt x="1875186" y="557022"/>
                  <a:pt x="1861646" y="562823"/>
                  <a:pt x="1848108" y="570560"/>
                </a:cubicBezTo>
                <a:cubicBezTo>
                  <a:pt x="1836503" y="576363"/>
                  <a:pt x="1824898" y="584100"/>
                  <a:pt x="1813294" y="587968"/>
                </a:cubicBezTo>
                <a:lnTo>
                  <a:pt x="1816673" y="606553"/>
                </a:lnTo>
                <a:lnTo>
                  <a:pt x="1807492" y="613111"/>
                </a:lnTo>
                <a:cubicBezTo>
                  <a:pt x="1799756" y="618914"/>
                  <a:pt x="1790084" y="626651"/>
                  <a:pt x="1780415" y="630519"/>
                </a:cubicBezTo>
                <a:cubicBezTo>
                  <a:pt x="1763009" y="638253"/>
                  <a:pt x="1747533" y="647925"/>
                  <a:pt x="1733996" y="655661"/>
                </a:cubicBezTo>
                <a:cubicBezTo>
                  <a:pt x="1735931" y="657594"/>
                  <a:pt x="1737864" y="661463"/>
                  <a:pt x="1737864" y="665331"/>
                </a:cubicBezTo>
                <a:cubicBezTo>
                  <a:pt x="1763009" y="653726"/>
                  <a:pt x="1786216" y="642121"/>
                  <a:pt x="1811361" y="632452"/>
                </a:cubicBezTo>
                <a:cubicBezTo>
                  <a:pt x="1813294" y="632452"/>
                  <a:pt x="1813294" y="630519"/>
                  <a:pt x="1815229" y="630519"/>
                </a:cubicBezTo>
                <a:cubicBezTo>
                  <a:pt x="1817163" y="626649"/>
                  <a:pt x="1818130" y="623264"/>
                  <a:pt x="1818855" y="619155"/>
                </a:cubicBezTo>
                <a:lnTo>
                  <a:pt x="1820451" y="607623"/>
                </a:lnTo>
                <a:lnTo>
                  <a:pt x="1864789" y="585791"/>
                </a:lnTo>
                <a:cubicBezTo>
                  <a:pt x="1880988" y="579264"/>
                  <a:pt x="1897428" y="573461"/>
                  <a:pt x="1913868" y="566691"/>
                </a:cubicBezTo>
                <a:cubicBezTo>
                  <a:pt x="1917736" y="564758"/>
                  <a:pt x="1923538" y="564758"/>
                  <a:pt x="1927406" y="560890"/>
                </a:cubicBezTo>
                <a:cubicBezTo>
                  <a:pt x="1944812" y="549285"/>
                  <a:pt x="1962220" y="543484"/>
                  <a:pt x="1981562" y="539614"/>
                </a:cubicBezTo>
                <a:cubicBezTo>
                  <a:pt x="1998967" y="535745"/>
                  <a:pt x="2018309" y="531879"/>
                  <a:pt x="2037650" y="526076"/>
                </a:cubicBezTo>
                <a:cubicBezTo>
                  <a:pt x="2051188" y="522208"/>
                  <a:pt x="2064728" y="518339"/>
                  <a:pt x="2076333" y="514471"/>
                </a:cubicBezTo>
                <a:cubicBezTo>
                  <a:pt x="2089870" y="510603"/>
                  <a:pt x="2103410" y="506735"/>
                  <a:pt x="2116948" y="506735"/>
                </a:cubicBezTo>
                <a:cubicBezTo>
                  <a:pt x="2120816" y="512538"/>
                  <a:pt x="2120816" y="516406"/>
                  <a:pt x="2116948" y="518339"/>
                </a:cubicBezTo>
                <a:cubicBezTo>
                  <a:pt x="2122752" y="520275"/>
                  <a:pt x="2126620" y="522208"/>
                  <a:pt x="2132421" y="522208"/>
                </a:cubicBezTo>
                <a:cubicBezTo>
                  <a:pt x="2138223" y="522208"/>
                  <a:pt x="2145959" y="518339"/>
                  <a:pt x="2153695" y="516406"/>
                </a:cubicBezTo>
                <a:cubicBezTo>
                  <a:pt x="2157564" y="518339"/>
                  <a:pt x="2163367" y="520275"/>
                  <a:pt x="2171104" y="524143"/>
                </a:cubicBezTo>
                <a:cubicBezTo>
                  <a:pt x="2167236" y="529944"/>
                  <a:pt x="2165300" y="531879"/>
                  <a:pt x="2161432" y="533812"/>
                </a:cubicBezTo>
                <a:cubicBezTo>
                  <a:pt x="2128553" y="549285"/>
                  <a:pt x="2095671" y="562823"/>
                  <a:pt x="2062795" y="578296"/>
                </a:cubicBezTo>
                <a:cubicBezTo>
                  <a:pt x="2055056" y="582164"/>
                  <a:pt x="2047319" y="589901"/>
                  <a:pt x="2037650" y="593769"/>
                </a:cubicBezTo>
                <a:cubicBezTo>
                  <a:pt x="2035717" y="595705"/>
                  <a:pt x="2031846" y="595705"/>
                  <a:pt x="2029913" y="597637"/>
                </a:cubicBezTo>
                <a:cubicBezTo>
                  <a:pt x="2035717" y="599573"/>
                  <a:pt x="2039585" y="599573"/>
                  <a:pt x="2045387" y="597637"/>
                </a:cubicBezTo>
                <a:cubicBezTo>
                  <a:pt x="2049255" y="595705"/>
                  <a:pt x="2053123" y="595705"/>
                  <a:pt x="2056991" y="595705"/>
                </a:cubicBezTo>
                <a:cubicBezTo>
                  <a:pt x="2066661" y="595705"/>
                  <a:pt x="2070529" y="601506"/>
                  <a:pt x="2066661" y="611178"/>
                </a:cubicBezTo>
                <a:cubicBezTo>
                  <a:pt x="2064728" y="613111"/>
                  <a:pt x="2062795" y="615046"/>
                  <a:pt x="2060860" y="616979"/>
                </a:cubicBezTo>
                <a:cubicBezTo>
                  <a:pt x="2060860" y="616979"/>
                  <a:pt x="2060860" y="618914"/>
                  <a:pt x="2060860" y="620847"/>
                </a:cubicBezTo>
                <a:cubicBezTo>
                  <a:pt x="2062795" y="618914"/>
                  <a:pt x="2066661" y="618914"/>
                  <a:pt x="2068596" y="616979"/>
                </a:cubicBezTo>
                <a:cubicBezTo>
                  <a:pt x="2068596" y="615046"/>
                  <a:pt x="2070529" y="611178"/>
                  <a:pt x="2072464" y="609242"/>
                </a:cubicBezTo>
                <a:cubicBezTo>
                  <a:pt x="2074397" y="605374"/>
                  <a:pt x="2082134" y="603441"/>
                  <a:pt x="2084069" y="607309"/>
                </a:cubicBezTo>
                <a:cubicBezTo>
                  <a:pt x="2087937" y="607309"/>
                  <a:pt x="2089870" y="605374"/>
                  <a:pt x="2093739" y="605374"/>
                </a:cubicBezTo>
                <a:cubicBezTo>
                  <a:pt x="2101475" y="603441"/>
                  <a:pt x="2111147" y="601506"/>
                  <a:pt x="2118881" y="597637"/>
                </a:cubicBezTo>
                <a:cubicBezTo>
                  <a:pt x="2149829" y="584100"/>
                  <a:pt x="2180773" y="570560"/>
                  <a:pt x="2211719" y="560890"/>
                </a:cubicBezTo>
                <a:cubicBezTo>
                  <a:pt x="2217523" y="558955"/>
                  <a:pt x="2223324" y="555087"/>
                  <a:pt x="2229125" y="551218"/>
                </a:cubicBezTo>
                <a:cubicBezTo>
                  <a:pt x="2242665" y="541549"/>
                  <a:pt x="2256203" y="531879"/>
                  <a:pt x="2269743" y="524143"/>
                </a:cubicBezTo>
                <a:cubicBezTo>
                  <a:pt x="2273611" y="520275"/>
                  <a:pt x="2281348" y="520275"/>
                  <a:pt x="2287149" y="520275"/>
                </a:cubicBezTo>
                <a:cubicBezTo>
                  <a:pt x="2289082" y="520275"/>
                  <a:pt x="2291017" y="522208"/>
                  <a:pt x="2291017" y="524143"/>
                </a:cubicBezTo>
                <a:cubicBezTo>
                  <a:pt x="2291017" y="526076"/>
                  <a:pt x="2291017" y="528009"/>
                  <a:pt x="2289082" y="529944"/>
                </a:cubicBezTo>
                <a:cubicBezTo>
                  <a:pt x="2283281" y="535745"/>
                  <a:pt x="2271676" y="533812"/>
                  <a:pt x="2271676" y="545417"/>
                </a:cubicBezTo>
                <a:cubicBezTo>
                  <a:pt x="2275544" y="553154"/>
                  <a:pt x="2281348" y="551218"/>
                  <a:pt x="2285216" y="549285"/>
                </a:cubicBezTo>
                <a:cubicBezTo>
                  <a:pt x="2308423" y="541549"/>
                  <a:pt x="2333568" y="535745"/>
                  <a:pt x="2358710" y="533812"/>
                </a:cubicBezTo>
                <a:cubicBezTo>
                  <a:pt x="2335501" y="541549"/>
                  <a:pt x="2314227" y="549285"/>
                  <a:pt x="2291017" y="557022"/>
                </a:cubicBezTo>
                <a:cubicBezTo>
                  <a:pt x="2281348" y="560890"/>
                  <a:pt x="2269743" y="562823"/>
                  <a:pt x="2262007" y="568627"/>
                </a:cubicBezTo>
                <a:cubicBezTo>
                  <a:pt x="2252335" y="574428"/>
                  <a:pt x="2242665" y="580232"/>
                  <a:pt x="2231061" y="582164"/>
                </a:cubicBezTo>
                <a:cubicBezTo>
                  <a:pt x="2223324" y="584100"/>
                  <a:pt x="2219456" y="589901"/>
                  <a:pt x="2209786" y="595705"/>
                </a:cubicBezTo>
                <a:cubicBezTo>
                  <a:pt x="2215587" y="597637"/>
                  <a:pt x="2219456" y="597637"/>
                  <a:pt x="2221389" y="597637"/>
                </a:cubicBezTo>
                <a:cubicBezTo>
                  <a:pt x="2236864" y="597637"/>
                  <a:pt x="2252335" y="584100"/>
                  <a:pt x="2269743" y="595705"/>
                </a:cubicBezTo>
                <a:cubicBezTo>
                  <a:pt x="2283281" y="591836"/>
                  <a:pt x="2296821" y="586033"/>
                  <a:pt x="2310359" y="582164"/>
                </a:cubicBezTo>
                <a:cubicBezTo>
                  <a:pt x="2349041" y="570560"/>
                  <a:pt x="2385788" y="558955"/>
                  <a:pt x="2424471" y="547350"/>
                </a:cubicBezTo>
                <a:cubicBezTo>
                  <a:pt x="2432207" y="545417"/>
                  <a:pt x="2439944" y="545417"/>
                  <a:pt x="2449613" y="543484"/>
                </a:cubicBezTo>
                <a:cubicBezTo>
                  <a:pt x="2447680" y="545417"/>
                  <a:pt x="2447680" y="549285"/>
                  <a:pt x="2445745" y="549285"/>
                </a:cubicBezTo>
                <a:cubicBezTo>
                  <a:pt x="2420602" y="562823"/>
                  <a:pt x="2399326" y="580232"/>
                  <a:pt x="2374184" y="589901"/>
                </a:cubicBezTo>
                <a:cubicBezTo>
                  <a:pt x="2356778" y="595705"/>
                  <a:pt x="2339369" y="603441"/>
                  <a:pt x="2321963" y="609242"/>
                </a:cubicBezTo>
                <a:cubicBezTo>
                  <a:pt x="2279413" y="622780"/>
                  <a:pt x="2238797" y="640188"/>
                  <a:pt x="2196246" y="649858"/>
                </a:cubicBezTo>
                <a:cubicBezTo>
                  <a:pt x="2165300" y="657594"/>
                  <a:pt x="2136290" y="675003"/>
                  <a:pt x="2107279" y="684672"/>
                </a:cubicBezTo>
                <a:cubicBezTo>
                  <a:pt x="2109212" y="686607"/>
                  <a:pt x="2109212" y="690476"/>
                  <a:pt x="2109212" y="692409"/>
                </a:cubicBezTo>
                <a:lnTo>
                  <a:pt x="2120816" y="692409"/>
                </a:lnTo>
                <a:cubicBezTo>
                  <a:pt x="2118881" y="692409"/>
                  <a:pt x="2115013" y="692409"/>
                  <a:pt x="2113080" y="696277"/>
                </a:cubicBezTo>
                <a:cubicBezTo>
                  <a:pt x="2113080" y="698212"/>
                  <a:pt x="2115013" y="698212"/>
                  <a:pt x="2115013" y="700145"/>
                </a:cubicBezTo>
                <a:cubicBezTo>
                  <a:pt x="2116948" y="698212"/>
                  <a:pt x="2120816" y="698212"/>
                  <a:pt x="2122752" y="698212"/>
                </a:cubicBezTo>
                <a:cubicBezTo>
                  <a:pt x="2122752" y="696277"/>
                  <a:pt x="2122752" y="694344"/>
                  <a:pt x="2120816" y="692409"/>
                </a:cubicBezTo>
                <a:lnTo>
                  <a:pt x="2126620" y="692409"/>
                </a:lnTo>
                <a:cubicBezTo>
                  <a:pt x="2128553" y="692409"/>
                  <a:pt x="2128553" y="692409"/>
                  <a:pt x="2130488" y="694344"/>
                </a:cubicBezTo>
                <a:cubicBezTo>
                  <a:pt x="2127587" y="696278"/>
                  <a:pt x="2125169" y="698212"/>
                  <a:pt x="2123476" y="700871"/>
                </a:cubicBezTo>
                <a:lnTo>
                  <a:pt x="2122235" y="705949"/>
                </a:lnTo>
                <a:lnTo>
                  <a:pt x="2120816" y="705949"/>
                </a:lnTo>
                <a:lnTo>
                  <a:pt x="2121769" y="707852"/>
                </a:lnTo>
                <a:lnTo>
                  <a:pt x="2120816" y="711750"/>
                </a:lnTo>
                <a:cubicBezTo>
                  <a:pt x="2116948" y="709815"/>
                  <a:pt x="2111147" y="707882"/>
                  <a:pt x="2105343" y="704013"/>
                </a:cubicBezTo>
                <a:cubicBezTo>
                  <a:pt x="2103410" y="704013"/>
                  <a:pt x="2101475" y="705949"/>
                  <a:pt x="2099542" y="705949"/>
                </a:cubicBezTo>
                <a:cubicBezTo>
                  <a:pt x="2097607" y="709815"/>
                  <a:pt x="2097607" y="713685"/>
                  <a:pt x="2095671" y="717553"/>
                </a:cubicBezTo>
                <a:cubicBezTo>
                  <a:pt x="2087937" y="717553"/>
                  <a:pt x="2082134" y="717553"/>
                  <a:pt x="2078265" y="723355"/>
                </a:cubicBezTo>
                <a:cubicBezTo>
                  <a:pt x="2076333" y="727223"/>
                  <a:pt x="2072464" y="727223"/>
                  <a:pt x="2070529" y="725290"/>
                </a:cubicBezTo>
                <a:cubicBezTo>
                  <a:pt x="2070529" y="719486"/>
                  <a:pt x="2072464" y="711750"/>
                  <a:pt x="2072464" y="704013"/>
                </a:cubicBezTo>
                <a:cubicBezTo>
                  <a:pt x="2060860" y="707882"/>
                  <a:pt x="2051188" y="711750"/>
                  <a:pt x="2045387" y="721419"/>
                </a:cubicBezTo>
                <a:cubicBezTo>
                  <a:pt x="2049255" y="719486"/>
                  <a:pt x="2055056" y="715618"/>
                  <a:pt x="2058924" y="713685"/>
                </a:cubicBezTo>
                <a:cubicBezTo>
                  <a:pt x="2056991" y="725290"/>
                  <a:pt x="2053123" y="731091"/>
                  <a:pt x="2039585" y="729156"/>
                </a:cubicBezTo>
                <a:cubicBezTo>
                  <a:pt x="2033782" y="738828"/>
                  <a:pt x="2024112" y="748497"/>
                  <a:pt x="2014440" y="758169"/>
                </a:cubicBezTo>
                <a:cubicBezTo>
                  <a:pt x="2031846" y="752365"/>
                  <a:pt x="2049255" y="746564"/>
                  <a:pt x="2066661" y="740761"/>
                </a:cubicBezTo>
                <a:cubicBezTo>
                  <a:pt x="2064728" y="742696"/>
                  <a:pt x="2062795" y="746564"/>
                  <a:pt x="2058924" y="748497"/>
                </a:cubicBezTo>
                <a:cubicBezTo>
                  <a:pt x="2043454" y="756234"/>
                  <a:pt x="2026045" y="762037"/>
                  <a:pt x="2008637" y="769774"/>
                </a:cubicBezTo>
                <a:cubicBezTo>
                  <a:pt x="2002836" y="773642"/>
                  <a:pt x="1997035" y="775575"/>
                  <a:pt x="1989298" y="779443"/>
                </a:cubicBezTo>
                <a:cubicBezTo>
                  <a:pt x="1991231" y="783311"/>
                  <a:pt x="1995099" y="785247"/>
                  <a:pt x="1997035" y="789115"/>
                </a:cubicBezTo>
                <a:cubicBezTo>
                  <a:pt x="2000903" y="787180"/>
                  <a:pt x="2006704" y="787180"/>
                  <a:pt x="2010572" y="785247"/>
                </a:cubicBezTo>
                <a:cubicBezTo>
                  <a:pt x="2012508" y="783311"/>
                  <a:pt x="2016376" y="781378"/>
                  <a:pt x="2018309" y="779443"/>
                </a:cubicBezTo>
                <a:cubicBezTo>
                  <a:pt x="2029913" y="769774"/>
                  <a:pt x="2045387" y="769774"/>
                  <a:pt x="2058924" y="771707"/>
                </a:cubicBezTo>
                <a:cubicBezTo>
                  <a:pt x="2144026" y="750432"/>
                  <a:pt x="2231061" y="733024"/>
                  <a:pt x="2314227" y="704013"/>
                </a:cubicBezTo>
                <a:cubicBezTo>
                  <a:pt x="2318095" y="702080"/>
                  <a:pt x="2323898" y="702080"/>
                  <a:pt x="2329700" y="702080"/>
                </a:cubicBezTo>
                <a:cubicBezTo>
                  <a:pt x="2331633" y="702080"/>
                  <a:pt x="2331633" y="700145"/>
                  <a:pt x="2331633" y="700145"/>
                </a:cubicBezTo>
                <a:cubicBezTo>
                  <a:pt x="2333568" y="698212"/>
                  <a:pt x="2335501" y="696277"/>
                  <a:pt x="2337436" y="696277"/>
                </a:cubicBezTo>
                <a:cubicBezTo>
                  <a:pt x="2347106" y="696277"/>
                  <a:pt x="2352909" y="690476"/>
                  <a:pt x="2360646" y="686607"/>
                </a:cubicBezTo>
                <a:cubicBezTo>
                  <a:pt x="2360646" y="686607"/>
                  <a:pt x="2362579" y="684672"/>
                  <a:pt x="2362579" y="682739"/>
                </a:cubicBezTo>
                <a:cubicBezTo>
                  <a:pt x="2364514" y="678871"/>
                  <a:pt x="2366447" y="678871"/>
                  <a:pt x="2370315" y="678871"/>
                </a:cubicBezTo>
                <a:cubicBezTo>
                  <a:pt x="2374184" y="678871"/>
                  <a:pt x="2376117" y="678871"/>
                  <a:pt x="2378052" y="675003"/>
                </a:cubicBezTo>
                <a:cubicBezTo>
                  <a:pt x="2378052" y="673067"/>
                  <a:pt x="2379987" y="671134"/>
                  <a:pt x="2381920" y="669199"/>
                </a:cubicBezTo>
                <a:cubicBezTo>
                  <a:pt x="2387723" y="665331"/>
                  <a:pt x="2393525" y="661463"/>
                  <a:pt x="2399326" y="657594"/>
                </a:cubicBezTo>
                <a:cubicBezTo>
                  <a:pt x="2403194" y="653726"/>
                  <a:pt x="2407065" y="653726"/>
                  <a:pt x="2410933" y="653726"/>
                </a:cubicBezTo>
                <a:cubicBezTo>
                  <a:pt x="2414799" y="653726"/>
                  <a:pt x="2416734" y="651793"/>
                  <a:pt x="2420602" y="651793"/>
                </a:cubicBezTo>
                <a:cubicBezTo>
                  <a:pt x="2424471" y="651793"/>
                  <a:pt x="2426404" y="647925"/>
                  <a:pt x="2428339" y="644057"/>
                </a:cubicBezTo>
                <a:cubicBezTo>
                  <a:pt x="2430274" y="644057"/>
                  <a:pt x="2430274" y="642121"/>
                  <a:pt x="2430274" y="640188"/>
                </a:cubicBezTo>
                <a:cubicBezTo>
                  <a:pt x="2432207" y="636320"/>
                  <a:pt x="2434140" y="634385"/>
                  <a:pt x="2438008" y="634385"/>
                </a:cubicBezTo>
                <a:cubicBezTo>
                  <a:pt x="2439944" y="634385"/>
                  <a:pt x="2443812" y="634385"/>
                  <a:pt x="2445745" y="630519"/>
                </a:cubicBezTo>
                <a:cubicBezTo>
                  <a:pt x="2447680" y="626651"/>
                  <a:pt x="2449613" y="622780"/>
                  <a:pt x="2453481" y="620847"/>
                </a:cubicBezTo>
                <a:cubicBezTo>
                  <a:pt x="2474758" y="609242"/>
                  <a:pt x="2496032" y="595705"/>
                  <a:pt x="2517309" y="582164"/>
                </a:cubicBezTo>
                <a:cubicBezTo>
                  <a:pt x="2521175" y="580232"/>
                  <a:pt x="2525043" y="578296"/>
                  <a:pt x="2530847" y="580232"/>
                </a:cubicBezTo>
                <a:cubicBezTo>
                  <a:pt x="2534715" y="582164"/>
                  <a:pt x="2538583" y="580232"/>
                  <a:pt x="2542451" y="578296"/>
                </a:cubicBezTo>
                <a:cubicBezTo>
                  <a:pt x="2550185" y="574428"/>
                  <a:pt x="2557924" y="568627"/>
                  <a:pt x="2565661" y="564758"/>
                </a:cubicBezTo>
                <a:cubicBezTo>
                  <a:pt x="2569527" y="562823"/>
                  <a:pt x="2571462" y="562823"/>
                  <a:pt x="2575330" y="562823"/>
                </a:cubicBezTo>
                <a:cubicBezTo>
                  <a:pt x="2583067" y="560890"/>
                  <a:pt x="2590803" y="557022"/>
                  <a:pt x="2594672" y="549285"/>
                </a:cubicBezTo>
                <a:cubicBezTo>
                  <a:pt x="2596605" y="549285"/>
                  <a:pt x="2596605" y="547350"/>
                  <a:pt x="2598540" y="547350"/>
                </a:cubicBezTo>
                <a:cubicBezTo>
                  <a:pt x="2602408" y="547350"/>
                  <a:pt x="2604343" y="547350"/>
                  <a:pt x="2606276" y="545417"/>
                </a:cubicBezTo>
                <a:cubicBezTo>
                  <a:pt x="2621749" y="535745"/>
                  <a:pt x="2637220" y="526076"/>
                  <a:pt x="2652695" y="516406"/>
                </a:cubicBezTo>
                <a:cubicBezTo>
                  <a:pt x="2666233" y="506735"/>
                  <a:pt x="2679771" y="498998"/>
                  <a:pt x="2693311" y="491262"/>
                </a:cubicBezTo>
                <a:cubicBezTo>
                  <a:pt x="2697179" y="489329"/>
                  <a:pt x="2699112" y="489329"/>
                  <a:pt x="2701047" y="489329"/>
                </a:cubicBezTo>
                <a:cubicBezTo>
                  <a:pt x="2702980" y="489329"/>
                  <a:pt x="2704916" y="489329"/>
                  <a:pt x="2704916" y="487393"/>
                </a:cubicBezTo>
                <a:cubicBezTo>
                  <a:pt x="2704916" y="483525"/>
                  <a:pt x="2706849" y="481592"/>
                  <a:pt x="2708784" y="481592"/>
                </a:cubicBezTo>
                <a:cubicBezTo>
                  <a:pt x="2714585" y="481592"/>
                  <a:pt x="2718453" y="479657"/>
                  <a:pt x="2724257" y="475789"/>
                </a:cubicBezTo>
                <a:cubicBezTo>
                  <a:pt x="2731993" y="469987"/>
                  <a:pt x="2741663" y="464184"/>
                  <a:pt x="2751335" y="458383"/>
                </a:cubicBezTo>
                <a:cubicBezTo>
                  <a:pt x="2755203" y="454514"/>
                  <a:pt x="2759071" y="454514"/>
                  <a:pt x="2762937" y="454514"/>
                </a:cubicBezTo>
                <a:cubicBezTo>
                  <a:pt x="2766805" y="454514"/>
                  <a:pt x="2770674" y="452579"/>
                  <a:pt x="2772609" y="448711"/>
                </a:cubicBezTo>
                <a:cubicBezTo>
                  <a:pt x="2774544" y="444845"/>
                  <a:pt x="2780345" y="440974"/>
                  <a:pt x="2786147" y="440974"/>
                </a:cubicBezTo>
                <a:cubicBezTo>
                  <a:pt x="2790015" y="440974"/>
                  <a:pt x="2793883" y="439041"/>
                  <a:pt x="2795818" y="435173"/>
                </a:cubicBezTo>
                <a:cubicBezTo>
                  <a:pt x="2797754" y="431305"/>
                  <a:pt x="2801620" y="427437"/>
                  <a:pt x="2805488" y="425504"/>
                </a:cubicBezTo>
                <a:cubicBezTo>
                  <a:pt x="2809356" y="423568"/>
                  <a:pt x="2811291" y="419700"/>
                  <a:pt x="2815160" y="417767"/>
                </a:cubicBezTo>
                <a:cubicBezTo>
                  <a:pt x="2822896" y="410031"/>
                  <a:pt x="2832566" y="410031"/>
                  <a:pt x="2842237" y="413899"/>
                </a:cubicBezTo>
                <a:cubicBezTo>
                  <a:pt x="2842237" y="413899"/>
                  <a:pt x="2844170" y="415832"/>
                  <a:pt x="2844170" y="417767"/>
                </a:cubicBezTo>
                <a:cubicBezTo>
                  <a:pt x="2844170" y="417767"/>
                  <a:pt x="2844170" y="421635"/>
                  <a:pt x="2842237" y="421635"/>
                </a:cubicBezTo>
                <a:cubicBezTo>
                  <a:pt x="2840302" y="423568"/>
                  <a:pt x="2838369" y="423568"/>
                  <a:pt x="2836434" y="425504"/>
                </a:cubicBezTo>
                <a:cubicBezTo>
                  <a:pt x="2830630" y="429370"/>
                  <a:pt x="2824829" y="433240"/>
                  <a:pt x="2819028" y="437108"/>
                </a:cubicBezTo>
                <a:cubicBezTo>
                  <a:pt x="2817093" y="437108"/>
                  <a:pt x="2817093" y="439041"/>
                  <a:pt x="2817093" y="439041"/>
                </a:cubicBezTo>
                <a:cubicBezTo>
                  <a:pt x="2819028" y="439041"/>
                  <a:pt x="2819028" y="440974"/>
                  <a:pt x="2820961" y="440974"/>
                </a:cubicBezTo>
                <a:cubicBezTo>
                  <a:pt x="2824829" y="442910"/>
                  <a:pt x="2826764" y="442910"/>
                  <a:pt x="2830630" y="440974"/>
                </a:cubicBezTo>
                <a:cubicBezTo>
                  <a:pt x="2838369" y="437108"/>
                  <a:pt x="2846106" y="431305"/>
                  <a:pt x="2853840" y="427437"/>
                </a:cubicBezTo>
                <a:cubicBezTo>
                  <a:pt x="2857708" y="425504"/>
                  <a:pt x="2859643" y="425504"/>
                  <a:pt x="2861579" y="425504"/>
                </a:cubicBezTo>
                <a:cubicBezTo>
                  <a:pt x="2867380" y="425504"/>
                  <a:pt x="2871248" y="421635"/>
                  <a:pt x="2873181" y="417767"/>
                </a:cubicBezTo>
                <a:cubicBezTo>
                  <a:pt x="2873181" y="415832"/>
                  <a:pt x="2875116" y="413899"/>
                  <a:pt x="2877049" y="411964"/>
                </a:cubicBezTo>
                <a:cubicBezTo>
                  <a:pt x="2880918" y="411964"/>
                  <a:pt x="2882853" y="410031"/>
                  <a:pt x="2884788" y="410031"/>
                </a:cubicBezTo>
                <a:cubicBezTo>
                  <a:pt x="2894458" y="411964"/>
                  <a:pt x="2904127" y="413899"/>
                  <a:pt x="2913799" y="415832"/>
                </a:cubicBezTo>
                <a:cubicBezTo>
                  <a:pt x="2917665" y="417767"/>
                  <a:pt x="2919600" y="415832"/>
                  <a:pt x="2921536" y="411964"/>
                </a:cubicBezTo>
                <a:cubicBezTo>
                  <a:pt x="2923468" y="410031"/>
                  <a:pt x="2923468" y="408095"/>
                  <a:pt x="2925404" y="408095"/>
                </a:cubicBezTo>
                <a:cubicBezTo>
                  <a:pt x="2929272" y="408095"/>
                  <a:pt x="2931205" y="408095"/>
                  <a:pt x="2935073" y="406162"/>
                </a:cubicBezTo>
                <a:cubicBezTo>
                  <a:pt x="2940874" y="402294"/>
                  <a:pt x="2946678" y="400359"/>
                  <a:pt x="2952482" y="396491"/>
                </a:cubicBezTo>
                <a:cubicBezTo>
                  <a:pt x="2958283" y="394558"/>
                  <a:pt x="2962151" y="388754"/>
                  <a:pt x="2969888" y="390689"/>
                </a:cubicBezTo>
                <a:cubicBezTo>
                  <a:pt x="2969888" y="390689"/>
                  <a:pt x="2971823" y="390689"/>
                  <a:pt x="2971823" y="390689"/>
                </a:cubicBezTo>
                <a:cubicBezTo>
                  <a:pt x="2977624" y="386821"/>
                  <a:pt x="2985361" y="384886"/>
                  <a:pt x="2989229" y="377149"/>
                </a:cubicBezTo>
                <a:cubicBezTo>
                  <a:pt x="2989229" y="375216"/>
                  <a:pt x="2991162" y="375216"/>
                  <a:pt x="2993097" y="375216"/>
                </a:cubicBezTo>
                <a:cubicBezTo>
                  <a:pt x="2996965" y="375216"/>
                  <a:pt x="2998898" y="375216"/>
                  <a:pt x="3000834" y="373281"/>
                </a:cubicBezTo>
                <a:cubicBezTo>
                  <a:pt x="3008570" y="369415"/>
                  <a:pt x="3016307" y="363612"/>
                  <a:pt x="3024041" y="359743"/>
                </a:cubicBezTo>
                <a:cubicBezTo>
                  <a:pt x="3025976" y="357810"/>
                  <a:pt x="3027909" y="355875"/>
                  <a:pt x="3029844" y="355875"/>
                </a:cubicBezTo>
                <a:cubicBezTo>
                  <a:pt x="3039516" y="357810"/>
                  <a:pt x="3047250" y="350074"/>
                  <a:pt x="3054987" y="346206"/>
                </a:cubicBezTo>
                <a:cubicBezTo>
                  <a:pt x="3058857" y="344270"/>
                  <a:pt x="3060790" y="344270"/>
                  <a:pt x="3062723" y="344270"/>
                </a:cubicBezTo>
                <a:cubicBezTo>
                  <a:pt x="3070460" y="342335"/>
                  <a:pt x="3078196" y="338469"/>
                  <a:pt x="3082065" y="330733"/>
                </a:cubicBezTo>
                <a:cubicBezTo>
                  <a:pt x="3084000" y="326864"/>
                  <a:pt x="3087868" y="324929"/>
                  <a:pt x="3091734" y="324929"/>
                </a:cubicBezTo>
                <a:cubicBezTo>
                  <a:pt x="3093669" y="324929"/>
                  <a:pt x="3095605" y="324929"/>
                  <a:pt x="3095605" y="322996"/>
                </a:cubicBezTo>
                <a:cubicBezTo>
                  <a:pt x="3097538" y="317192"/>
                  <a:pt x="3103341" y="315260"/>
                  <a:pt x="3109142" y="313324"/>
                </a:cubicBezTo>
                <a:cubicBezTo>
                  <a:pt x="3118814" y="313324"/>
                  <a:pt x="3124615" y="307523"/>
                  <a:pt x="3132352" y="303655"/>
                </a:cubicBezTo>
                <a:cubicBezTo>
                  <a:pt x="3134285" y="303655"/>
                  <a:pt x="3136220" y="301719"/>
                  <a:pt x="3138153" y="301719"/>
                </a:cubicBezTo>
                <a:cubicBezTo>
                  <a:pt x="3143957" y="303655"/>
                  <a:pt x="3147825" y="299786"/>
                  <a:pt x="3151693" y="297851"/>
                </a:cubicBezTo>
                <a:cubicBezTo>
                  <a:pt x="3169099" y="288182"/>
                  <a:pt x="3186507" y="276577"/>
                  <a:pt x="3203913" y="266905"/>
                </a:cubicBezTo>
                <a:cubicBezTo>
                  <a:pt x="3207782" y="264972"/>
                  <a:pt x="3211650" y="263039"/>
                  <a:pt x="3217451" y="263039"/>
                </a:cubicBezTo>
                <a:cubicBezTo>
                  <a:pt x="3221319" y="264972"/>
                  <a:pt x="3223255" y="263039"/>
                  <a:pt x="3225188" y="261104"/>
                </a:cubicBezTo>
                <a:cubicBezTo>
                  <a:pt x="3236792" y="253367"/>
                  <a:pt x="3250333" y="247566"/>
                  <a:pt x="3261937" y="239830"/>
                </a:cubicBezTo>
                <a:cubicBezTo>
                  <a:pt x="3263870" y="239830"/>
                  <a:pt x="3265806" y="237894"/>
                  <a:pt x="3267739" y="237894"/>
                </a:cubicBezTo>
                <a:cubicBezTo>
                  <a:pt x="3271607" y="239830"/>
                  <a:pt x="3273542" y="237894"/>
                  <a:pt x="3275475" y="234026"/>
                </a:cubicBezTo>
                <a:cubicBezTo>
                  <a:pt x="3275475" y="232093"/>
                  <a:pt x="3277410" y="230158"/>
                  <a:pt x="3279343" y="230158"/>
                </a:cubicBezTo>
                <a:cubicBezTo>
                  <a:pt x="3285144" y="230158"/>
                  <a:pt x="3289013" y="228225"/>
                  <a:pt x="3294816" y="224357"/>
                </a:cubicBezTo>
                <a:cubicBezTo>
                  <a:pt x="3306421" y="218553"/>
                  <a:pt x="3316093" y="212752"/>
                  <a:pt x="3325762" y="206948"/>
                </a:cubicBezTo>
                <a:cubicBezTo>
                  <a:pt x="3329631" y="205015"/>
                  <a:pt x="3331564" y="205015"/>
                  <a:pt x="3333499" y="205015"/>
                </a:cubicBezTo>
                <a:cubicBezTo>
                  <a:pt x="3341235" y="206948"/>
                  <a:pt x="3347037" y="206948"/>
                  <a:pt x="3352840" y="203080"/>
                </a:cubicBezTo>
                <a:cubicBezTo>
                  <a:pt x="3356708" y="203080"/>
                  <a:pt x="3362510" y="201147"/>
                  <a:pt x="3366378" y="199212"/>
                </a:cubicBezTo>
                <a:cubicBezTo>
                  <a:pt x="3372179" y="195343"/>
                  <a:pt x="3379918" y="191475"/>
                  <a:pt x="3385719" y="187607"/>
                </a:cubicBezTo>
                <a:cubicBezTo>
                  <a:pt x="3387654" y="185674"/>
                  <a:pt x="3391520" y="185674"/>
                  <a:pt x="3393456" y="185674"/>
                </a:cubicBezTo>
                <a:cubicBezTo>
                  <a:pt x="3397324" y="185674"/>
                  <a:pt x="3399257" y="185674"/>
                  <a:pt x="3401192" y="183739"/>
                </a:cubicBezTo>
                <a:cubicBezTo>
                  <a:pt x="3406996" y="181806"/>
                  <a:pt x="3410862" y="179871"/>
                  <a:pt x="3416665" y="176005"/>
                </a:cubicBezTo>
                <a:cubicBezTo>
                  <a:pt x="3420533" y="174069"/>
                  <a:pt x="3424402" y="172136"/>
                  <a:pt x="3428270" y="172136"/>
                </a:cubicBezTo>
                <a:cubicBezTo>
                  <a:pt x="3428270" y="172136"/>
                  <a:pt x="3430203" y="170201"/>
                  <a:pt x="3432138" y="170201"/>
                </a:cubicBezTo>
                <a:cubicBezTo>
                  <a:pt x="3437939" y="166333"/>
                  <a:pt x="3441808" y="162465"/>
                  <a:pt x="3447611" y="160532"/>
                </a:cubicBezTo>
                <a:cubicBezTo>
                  <a:pt x="3447611" y="158596"/>
                  <a:pt x="3449544" y="158596"/>
                  <a:pt x="3451479" y="158596"/>
                </a:cubicBezTo>
                <a:cubicBezTo>
                  <a:pt x="3455348" y="158596"/>
                  <a:pt x="3459214" y="156663"/>
                  <a:pt x="3463084" y="154728"/>
                </a:cubicBezTo>
                <a:cubicBezTo>
                  <a:pt x="3470821" y="150860"/>
                  <a:pt x="3478555" y="145059"/>
                  <a:pt x="3486294" y="141190"/>
                </a:cubicBezTo>
                <a:cubicBezTo>
                  <a:pt x="3495963" y="141190"/>
                  <a:pt x="3501764" y="135387"/>
                  <a:pt x="3509501" y="131519"/>
                </a:cubicBezTo>
                <a:cubicBezTo>
                  <a:pt x="3515304" y="127650"/>
                  <a:pt x="3519173" y="123782"/>
                  <a:pt x="3524974" y="121849"/>
                </a:cubicBezTo>
                <a:cubicBezTo>
                  <a:pt x="3524974" y="119914"/>
                  <a:pt x="3526909" y="119914"/>
                  <a:pt x="3528842" y="119914"/>
                </a:cubicBezTo>
                <a:cubicBezTo>
                  <a:pt x="3532710" y="119914"/>
                  <a:pt x="3534646" y="119914"/>
                  <a:pt x="3538514" y="117981"/>
                </a:cubicBezTo>
                <a:cubicBezTo>
                  <a:pt x="3542382" y="114113"/>
                  <a:pt x="3548183" y="112177"/>
                  <a:pt x="3552052" y="110244"/>
                </a:cubicBezTo>
                <a:cubicBezTo>
                  <a:pt x="3555920" y="108309"/>
                  <a:pt x="3557855" y="108309"/>
                  <a:pt x="3561723" y="108309"/>
                </a:cubicBezTo>
                <a:cubicBezTo>
                  <a:pt x="3565589" y="110244"/>
                  <a:pt x="3571393" y="110244"/>
                  <a:pt x="3575261" y="106376"/>
                </a:cubicBezTo>
                <a:cubicBezTo>
                  <a:pt x="3579129" y="104441"/>
                  <a:pt x="3584931" y="100572"/>
                  <a:pt x="3592667" y="100572"/>
                </a:cubicBezTo>
                <a:cubicBezTo>
                  <a:pt x="3592667" y="100572"/>
                  <a:pt x="3594602" y="98639"/>
                  <a:pt x="3596535" y="98639"/>
                </a:cubicBezTo>
                <a:cubicBezTo>
                  <a:pt x="3604272" y="94771"/>
                  <a:pt x="3610075" y="88970"/>
                  <a:pt x="3619745" y="88970"/>
                </a:cubicBezTo>
                <a:cubicBezTo>
                  <a:pt x="3623613" y="87035"/>
                  <a:pt x="3627481" y="85099"/>
                  <a:pt x="3631350" y="83166"/>
                </a:cubicBezTo>
                <a:cubicBezTo>
                  <a:pt x="3641022" y="77365"/>
                  <a:pt x="3650691" y="77365"/>
                  <a:pt x="3660363" y="77365"/>
                </a:cubicBezTo>
                <a:cubicBezTo>
                  <a:pt x="3662296" y="77365"/>
                  <a:pt x="3664231" y="77365"/>
                  <a:pt x="3666164" y="77365"/>
                </a:cubicBezTo>
                <a:cubicBezTo>
                  <a:pt x="3670032" y="77365"/>
                  <a:pt x="3673901" y="75430"/>
                  <a:pt x="3675833" y="71562"/>
                </a:cubicBezTo>
                <a:cubicBezTo>
                  <a:pt x="3677769" y="67693"/>
                  <a:pt x="3681637" y="63825"/>
                  <a:pt x="3685505" y="61892"/>
                </a:cubicBezTo>
                <a:cubicBezTo>
                  <a:pt x="3700978" y="52220"/>
                  <a:pt x="3716451" y="42551"/>
                  <a:pt x="3731924" y="32879"/>
                </a:cubicBezTo>
                <a:cubicBezTo>
                  <a:pt x="3735793" y="30946"/>
                  <a:pt x="3737726" y="30946"/>
                  <a:pt x="3741594" y="30946"/>
                </a:cubicBezTo>
                <a:cubicBezTo>
                  <a:pt x="3741594" y="30946"/>
                  <a:pt x="3743527" y="30946"/>
                  <a:pt x="3743527" y="30946"/>
                </a:cubicBezTo>
                <a:cubicBezTo>
                  <a:pt x="3747397" y="27078"/>
                  <a:pt x="3753199" y="25143"/>
                  <a:pt x="3757067" y="23210"/>
                </a:cubicBezTo>
                <a:cubicBezTo>
                  <a:pt x="3760935" y="21274"/>
                  <a:pt x="3766736" y="21274"/>
                  <a:pt x="3770607" y="19341"/>
                </a:cubicBezTo>
                <a:cubicBezTo>
                  <a:pt x="3770607" y="19341"/>
                  <a:pt x="3772540" y="17406"/>
                  <a:pt x="3772540" y="17406"/>
                </a:cubicBezTo>
                <a:cubicBezTo>
                  <a:pt x="3776408" y="15473"/>
                  <a:pt x="3780276" y="13538"/>
                  <a:pt x="3784145" y="13538"/>
                </a:cubicBezTo>
                <a:cubicBezTo>
                  <a:pt x="3788013" y="13538"/>
                  <a:pt x="3793816" y="13538"/>
                  <a:pt x="3797682" y="11605"/>
                </a:cubicBezTo>
                <a:cubicBezTo>
                  <a:pt x="3801551" y="9670"/>
                  <a:pt x="3805419" y="7737"/>
                  <a:pt x="3809287" y="7737"/>
                </a:cubicBezTo>
                <a:cubicBezTo>
                  <a:pt x="3813155" y="9670"/>
                  <a:pt x="3817024" y="7737"/>
                  <a:pt x="3820892" y="7737"/>
                </a:cubicBezTo>
                <a:cubicBezTo>
                  <a:pt x="3824760" y="7737"/>
                  <a:pt x="3828628" y="3868"/>
                  <a:pt x="3834432" y="3868"/>
                </a:cubicBezTo>
                <a:cubicBezTo>
                  <a:pt x="3840233" y="3868"/>
                  <a:pt x="3844101" y="1935"/>
                  <a:pt x="3849903" y="1935"/>
                </a:cubicBezTo>
                <a:cubicBezTo>
                  <a:pt x="3853771" y="1935"/>
                  <a:pt x="3859574" y="0"/>
                  <a:pt x="3863443" y="0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B4175EF-5CFE-7F5C-A0FF-EE9F5B2619E2}"/>
              </a:ext>
            </a:extLst>
          </p:cNvPr>
          <p:cNvSpPr/>
          <p:nvPr/>
        </p:nvSpPr>
        <p:spPr>
          <a:xfrm flipH="1">
            <a:off x="15193567" y="6527863"/>
            <a:ext cx="5681" cy="4297"/>
          </a:xfrm>
          <a:custGeom>
            <a:avLst/>
            <a:gdLst>
              <a:gd name="connsiteX0" fmla="*/ 1629 w 1629"/>
              <a:gd name="connsiteY0" fmla="*/ 814 h 1176"/>
              <a:gd name="connsiteX1" fmla="*/ 815 w 1629"/>
              <a:gd name="connsiteY1" fmla="*/ 0 h 1176"/>
              <a:gd name="connsiteX2" fmla="*/ 0 w 1629"/>
              <a:gd name="connsiteY2" fmla="*/ 814 h 1176"/>
              <a:gd name="connsiteX3" fmla="*/ 1629 w 1629"/>
              <a:gd name="connsiteY3" fmla="*/ 814 h 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9" h="1176">
                <a:moveTo>
                  <a:pt x="1629" y="814"/>
                </a:moveTo>
                <a:cubicBezTo>
                  <a:pt x="1629" y="814"/>
                  <a:pt x="815" y="814"/>
                  <a:pt x="815" y="0"/>
                </a:cubicBezTo>
                <a:cubicBezTo>
                  <a:pt x="815" y="814"/>
                  <a:pt x="0" y="814"/>
                  <a:pt x="0" y="814"/>
                </a:cubicBezTo>
                <a:cubicBezTo>
                  <a:pt x="0" y="1629"/>
                  <a:pt x="815" y="814"/>
                  <a:pt x="1629" y="814"/>
                </a:cubicBezTo>
                <a:close/>
              </a:path>
            </a:pathLst>
          </a:custGeom>
          <a:solidFill>
            <a:schemeClr val="bg1"/>
          </a:solidFill>
          <a:ln w="8141" cap="flat">
            <a:noFill/>
            <a:prstDash val="solid"/>
            <a:miter/>
          </a:ln>
        </p:spPr>
        <p:txBody>
          <a:bodyPr rtlCol="0" anchor="ctr"/>
          <a:lstStyle/>
          <a:p>
            <a:endParaRPr lang="sv-SE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DAF04E7-38BF-29BA-605A-F69A4AAF4D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988175"/>
            <a:ext cx="27432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fld id="{3D6540E8-C1ED-4BB6-8E49-2AB716C3034F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809BB07-4178-4E14-CCDB-14940774C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988175"/>
            <a:ext cx="41148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00BB0F83-7D52-B6DC-0D67-1B43FB4C6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988175"/>
            <a:ext cx="27432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  <a:alpha val="0"/>
                  </a:schemeClr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705391-4E48-0E22-653A-9A0354465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54036"/>
            <a:ext cx="5516880" cy="1899890"/>
          </a:xfrm>
        </p:spPr>
        <p:txBody>
          <a:bodyPr anchor="ctr"/>
          <a:lstStyle>
            <a:lvl1pPr>
              <a:defRPr sz="3600">
                <a:solidFill>
                  <a:srgbClr val="004E59"/>
                </a:solidFill>
                <a:latin typeface="+mj-lt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34ABDBD-75F5-3860-ABA1-CD4B1444F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5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">
    <p:bg>
      <p:bgPr>
        <a:solidFill>
          <a:srgbClr val="004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D1B8AA7-66D1-63D4-9ECE-DCDC5CC2BA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6647" y="5260160"/>
            <a:ext cx="4679734" cy="1121409"/>
          </a:xfrm>
          <a:custGeom>
            <a:avLst/>
            <a:gdLst>
              <a:gd name="connsiteX0" fmla="*/ 1576772 w 4679734"/>
              <a:gd name="connsiteY0" fmla="*/ 1021329 h 1121409"/>
              <a:gd name="connsiteX1" fmla="*/ 1574419 w 4679734"/>
              <a:gd name="connsiteY1" fmla="*/ 1025282 h 1121409"/>
              <a:gd name="connsiteX2" fmla="*/ 1580301 w 4679734"/>
              <a:gd name="connsiteY2" fmla="*/ 1027260 h 1121409"/>
              <a:gd name="connsiteX3" fmla="*/ 1586182 w 4679734"/>
              <a:gd name="connsiteY3" fmla="*/ 1024295 h 1121409"/>
              <a:gd name="connsiteX4" fmla="*/ 1576772 w 4679734"/>
              <a:gd name="connsiteY4" fmla="*/ 1021329 h 1121409"/>
              <a:gd name="connsiteX5" fmla="*/ 1801437 w 4679734"/>
              <a:gd name="connsiteY5" fmla="*/ 1007489 h 1121409"/>
              <a:gd name="connsiteX6" fmla="*/ 1799083 w 4679734"/>
              <a:gd name="connsiteY6" fmla="*/ 1009467 h 1121409"/>
              <a:gd name="connsiteX7" fmla="*/ 1801437 w 4679734"/>
              <a:gd name="connsiteY7" fmla="*/ 1013420 h 1121409"/>
              <a:gd name="connsiteX8" fmla="*/ 1806140 w 4679734"/>
              <a:gd name="connsiteY8" fmla="*/ 1013420 h 1121409"/>
              <a:gd name="connsiteX9" fmla="*/ 1820255 w 4679734"/>
              <a:gd name="connsiteY9" fmla="*/ 1013420 h 1121409"/>
              <a:gd name="connsiteX10" fmla="*/ 1826138 w 4679734"/>
              <a:gd name="connsiteY10" fmla="*/ 1010455 h 1121409"/>
              <a:gd name="connsiteX11" fmla="*/ 1820255 w 4679734"/>
              <a:gd name="connsiteY11" fmla="*/ 1007489 h 1121409"/>
              <a:gd name="connsiteX12" fmla="*/ 1801437 w 4679734"/>
              <a:gd name="connsiteY12" fmla="*/ 1007489 h 1121409"/>
              <a:gd name="connsiteX13" fmla="*/ 1944939 w 4679734"/>
              <a:gd name="connsiteY13" fmla="*/ 1001558 h 1121409"/>
              <a:gd name="connsiteX14" fmla="*/ 1935529 w 4679734"/>
              <a:gd name="connsiteY14" fmla="*/ 1002548 h 1121409"/>
              <a:gd name="connsiteX15" fmla="*/ 1935529 w 4679734"/>
              <a:gd name="connsiteY15" fmla="*/ 1004524 h 1121409"/>
              <a:gd name="connsiteX16" fmla="*/ 1937881 w 4679734"/>
              <a:gd name="connsiteY16" fmla="*/ 1006502 h 1121409"/>
              <a:gd name="connsiteX17" fmla="*/ 1947291 w 4679734"/>
              <a:gd name="connsiteY17" fmla="*/ 1003536 h 1121409"/>
              <a:gd name="connsiteX18" fmla="*/ 1944939 w 4679734"/>
              <a:gd name="connsiteY18" fmla="*/ 1001558 h 1121409"/>
              <a:gd name="connsiteX19" fmla="*/ 1528545 w 4679734"/>
              <a:gd name="connsiteY19" fmla="*/ 981791 h 1121409"/>
              <a:gd name="connsiteX20" fmla="*/ 1526192 w 4679734"/>
              <a:gd name="connsiteY20" fmla="*/ 982778 h 1121409"/>
              <a:gd name="connsiteX21" fmla="*/ 1528545 w 4679734"/>
              <a:gd name="connsiteY21" fmla="*/ 985744 h 1121409"/>
              <a:gd name="connsiteX22" fmla="*/ 1530897 w 4679734"/>
              <a:gd name="connsiteY22" fmla="*/ 983768 h 1121409"/>
              <a:gd name="connsiteX23" fmla="*/ 1528545 w 4679734"/>
              <a:gd name="connsiteY23" fmla="*/ 981791 h 1121409"/>
              <a:gd name="connsiteX24" fmla="*/ 2003752 w 4679734"/>
              <a:gd name="connsiteY24" fmla="*/ 968940 h 1121409"/>
              <a:gd name="connsiteX25" fmla="*/ 2000223 w 4679734"/>
              <a:gd name="connsiteY25" fmla="*/ 969929 h 1121409"/>
              <a:gd name="connsiteX26" fmla="*/ 1997871 w 4679734"/>
              <a:gd name="connsiteY26" fmla="*/ 977837 h 1121409"/>
              <a:gd name="connsiteX27" fmla="*/ 2003752 w 4679734"/>
              <a:gd name="connsiteY27" fmla="*/ 977837 h 1121409"/>
              <a:gd name="connsiteX28" fmla="*/ 2014338 w 4679734"/>
              <a:gd name="connsiteY28" fmla="*/ 973882 h 1121409"/>
              <a:gd name="connsiteX29" fmla="*/ 2017867 w 4679734"/>
              <a:gd name="connsiteY29" fmla="*/ 970917 h 1121409"/>
              <a:gd name="connsiteX30" fmla="*/ 2011986 w 4679734"/>
              <a:gd name="connsiteY30" fmla="*/ 968940 h 1121409"/>
              <a:gd name="connsiteX31" fmla="*/ 2003752 w 4679734"/>
              <a:gd name="connsiteY31" fmla="*/ 968940 h 1121409"/>
              <a:gd name="connsiteX32" fmla="*/ 3552881 w 4679734"/>
              <a:gd name="connsiteY32" fmla="*/ 753455 h 1121409"/>
              <a:gd name="connsiteX33" fmla="*/ 3548176 w 4679734"/>
              <a:gd name="connsiteY33" fmla="*/ 756420 h 1121409"/>
              <a:gd name="connsiteX34" fmla="*/ 3550529 w 4679734"/>
              <a:gd name="connsiteY34" fmla="*/ 758397 h 1121409"/>
              <a:gd name="connsiteX35" fmla="*/ 3555234 w 4679734"/>
              <a:gd name="connsiteY35" fmla="*/ 756420 h 1121409"/>
              <a:gd name="connsiteX36" fmla="*/ 3552881 w 4679734"/>
              <a:gd name="connsiteY36" fmla="*/ 753455 h 1121409"/>
              <a:gd name="connsiteX37" fmla="*/ 3735201 w 4679734"/>
              <a:gd name="connsiteY37" fmla="*/ 732697 h 1121409"/>
              <a:gd name="connsiteX38" fmla="*/ 3734024 w 4679734"/>
              <a:gd name="connsiteY38" fmla="*/ 736651 h 1121409"/>
              <a:gd name="connsiteX39" fmla="*/ 3736378 w 4679734"/>
              <a:gd name="connsiteY39" fmla="*/ 738628 h 1121409"/>
              <a:gd name="connsiteX40" fmla="*/ 3738731 w 4679734"/>
              <a:gd name="connsiteY40" fmla="*/ 738628 h 1121409"/>
              <a:gd name="connsiteX41" fmla="*/ 3741082 w 4679734"/>
              <a:gd name="connsiteY41" fmla="*/ 738628 h 1121409"/>
              <a:gd name="connsiteX42" fmla="*/ 3742258 w 4679734"/>
              <a:gd name="connsiteY42" fmla="*/ 736651 h 1121409"/>
              <a:gd name="connsiteX43" fmla="*/ 3737553 w 4679734"/>
              <a:gd name="connsiteY43" fmla="*/ 732697 h 1121409"/>
              <a:gd name="connsiteX44" fmla="*/ 3735201 w 4679734"/>
              <a:gd name="connsiteY44" fmla="*/ 732697 h 1121409"/>
              <a:gd name="connsiteX45" fmla="*/ 3719910 w 4679734"/>
              <a:gd name="connsiteY45" fmla="*/ 707986 h 1121409"/>
              <a:gd name="connsiteX46" fmla="*/ 3717556 w 4679734"/>
              <a:gd name="connsiteY46" fmla="*/ 708975 h 1121409"/>
              <a:gd name="connsiteX47" fmla="*/ 3718733 w 4679734"/>
              <a:gd name="connsiteY47" fmla="*/ 709963 h 1121409"/>
              <a:gd name="connsiteX48" fmla="*/ 3726968 w 4679734"/>
              <a:gd name="connsiteY48" fmla="*/ 711940 h 1121409"/>
              <a:gd name="connsiteX49" fmla="*/ 3735201 w 4679734"/>
              <a:gd name="connsiteY49" fmla="*/ 710951 h 1121409"/>
              <a:gd name="connsiteX50" fmla="*/ 3736378 w 4679734"/>
              <a:gd name="connsiteY50" fmla="*/ 709963 h 1121409"/>
              <a:gd name="connsiteX51" fmla="*/ 3735201 w 4679734"/>
              <a:gd name="connsiteY51" fmla="*/ 707986 h 1121409"/>
              <a:gd name="connsiteX52" fmla="*/ 3728143 w 4679734"/>
              <a:gd name="connsiteY52" fmla="*/ 707986 h 1121409"/>
              <a:gd name="connsiteX53" fmla="*/ 3719910 w 4679734"/>
              <a:gd name="connsiteY53" fmla="*/ 707986 h 1121409"/>
              <a:gd name="connsiteX54" fmla="*/ 3746963 w 4679734"/>
              <a:gd name="connsiteY54" fmla="*/ 706009 h 1121409"/>
              <a:gd name="connsiteX55" fmla="*/ 3744611 w 4679734"/>
              <a:gd name="connsiteY55" fmla="*/ 706998 h 1121409"/>
              <a:gd name="connsiteX56" fmla="*/ 3743434 w 4679734"/>
              <a:gd name="connsiteY56" fmla="*/ 707986 h 1121409"/>
              <a:gd name="connsiteX57" fmla="*/ 3742258 w 4679734"/>
              <a:gd name="connsiteY57" fmla="*/ 709963 h 1121409"/>
              <a:gd name="connsiteX58" fmla="*/ 3744611 w 4679734"/>
              <a:gd name="connsiteY58" fmla="*/ 710951 h 1121409"/>
              <a:gd name="connsiteX59" fmla="*/ 3746963 w 4679734"/>
              <a:gd name="connsiteY59" fmla="*/ 709963 h 1121409"/>
              <a:gd name="connsiteX60" fmla="*/ 3746963 w 4679734"/>
              <a:gd name="connsiteY60" fmla="*/ 706009 h 1121409"/>
              <a:gd name="connsiteX61" fmla="*/ 3677565 w 4679734"/>
              <a:gd name="connsiteY61" fmla="*/ 705021 h 1121409"/>
              <a:gd name="connsiteX62" fmla="*/ 3676387 w 4679734"/>
              <a:gd name="connsiteY62" fmla="*/ 707986 h 1121409"/>
              <a:gd name="connsiteX63" fmla="*/ 3678740 w 4679734"/>
              <a:gd name="connsiteY63" fmla="*/ 708975 h 1121409"/>
              <a:gd name="connsiteX64" fmla="*/ 3697562 w 4679734"/>
              <a:gd name="connsiteY64" fmla="*/ 708975 h 1121409"/>
              <a:gd name="connsiteX65" fmla="*/ 3698738 w 4679734"/>
              <a:gd name="connsiteY65" fmla="*/ 707986 h 1121409"/>
              <a:gd name="connsiteX66" fmla="*/ 3696385 w 4679734"/>
              <a:gd name="connsiteY66" fmla="*/ 706009 h 1121409"/>
              <a:gd name="connsiteX67" fmla="*/ 3688150 w 4679734"/>
              <a:gd name="connsiteY67" fmla="*/ 705021 h 1121409"/>
              <a:gd name="connsiteX68" fmla="*/ 3677565 w 4679734"/>
              <a:gd name="connsiteY68" fmla="*/ 705021 h 1121409"/>
              <a:gd name="connsiteX69" fmla="*/ 3625809 w 4679734"/>
              <a:gd name="connsiteY69" fmla="*/ 704032 h 1121409"/>
              <a:gd name="connsiteX70" fmla="*/ 3624633 w 4679734"/>
              <a:gd name="connsiteY70" fmla="*/ 706009 h 1121409"/>
              <a:gd name="connsiteX71" fmla="*/ 3625809 w 4679734"/>
              <a:gd name="connsiteY71" fmla="*/ 707986 h 1121409"/>
              <a:gd name="connsiteX72" fmla="*/ 3628161 w 4679734"/>
              <a:gd name="connsiteY72" fmla="*/ 706009 h 1121409"/>
              <a:gd name="connsiteX73" fmla="*/ 3626985 w 4679734"/>
              <a:gd name="connsiteY73" fmla="*/ 704032 h 1121409"/>
              <a:gd name="connsiteX74" fmla="*/ 3625809 w 4679734"/>
              <a:gd name="connsiteY74" fmla="*/ 704032 h 1121409"/>
              <a:gd name="connsiteX75" fmla="*/ 3716380 w 4679734"/>
              <a:gd name="connsiteY75" fmla="*/ 656586 h 1121409"/>
              <a:gd name="connsiteX76" fmla="*/ 3714028 w 4679734"/>
              <a:gd name="connsiteY76" fmla="*/ 658563 h 1121409"/>
              <a:gd name="connsiteX77" fmla="*/ 3715205 w 4679734"/>
              <a:gd name="connsiteY77" fmla="*/ 659551 h 1121409"/>
              <a:gd name="connsiteX78" fmla="*/ 3723438 w 4679734"/>
              <a:gd name="connsiteY78" fmla="*/ 659551 h 1121409"/>
              <a:gd name="connsiteX79" fmla="*/ 3725791 w 4679734"/>
              <a:gd name="connsiteY79" fmla="*/ 661528 h 1121409"/>
              <a:gd name="connsiteX80" fmla="*/ 3725791 w 4679734"/>
              <a:gd name="connsiteY80" fmla="*/ 660541 h 1121409"/>
              <a:gd name="connsiteX81" fmla="*/ 3723438 w 4679734"/>
              <a:gd name="connsiteY81" fmla="*/ 659551 h 1121409"/>
              <a:gd name="connsiteX82" fmla="*/ 3721085 w 4679734"/>
              <a:gd name="connsiteY82" fmla="*/ 656586 h 1121409"/>
              <a:gd name="connsiteX83" fmla="*/ 3716380 w 4679734"/>
              <a:gd name="connsiteY83" fmla="*/ 656586 h 1121409"/>
              <a:gd name="connsiteX84" fmla="*/ 3643453 w 4679734"/>
              <a:gd name="connsiteY84" fmla="*/ 647689 h 1121409"/>
              <a:gd name="connsiteX85" fmla="*/ 3636395 w 4679734"/>
              <a:gd name="connsiteY85" fmla="*/ 652633 h 1121409"/>
              <a:gd name="connsiteX86" fmla="*/ 3636395 w 4679734"/>
              <a:gd name="connsiteY86" fmla="*/ 653620 h 1121409"/>
              <a:gd name="connsiteX87" fmla="*/ 3639924 w 4679734"/>
              <a:gd name="connsiteY87" fmla="*/ 654610 h 1121409"/>
              <a:gd name="connsiteX88" fmla="*/ 3651687 w 4679734"/>
              <a:gd name="connsiteY88" fmla="*/ 653620 h 1121409"/>
              <a:gd name="connsiteX89" fmla="*/ 3659921 w 4679734"/>
              <a:gd name="connsiteY89" fmla="*/ 653620 h 1121409"/>
              <a:gd name="connsiteX90" fmla="*/ 3669331 w 4679734"/>
              <a:gd name="connsiteY90" fmla="*/ 656586 h 1121409"/>
              <a:gd name="connsiteX91" fmla="*/ 3670507 w 4679734"/>
              <a:gd name="connsiteY91" fmla="*/ 656586 h 1121409"/>
              <a:gd name="connsiteX92" fmla="*/ 3674036 w 4679734"/>
              <a:gd name="connsiteY92" fmla="*/ 655597 h 1121409"/>
              <a:gd name="connsiteX93" fmla="*/ 3672860 w 4679734"/>
              <a:gd name="connsiteY93" fmla="*/ 654610 h 1121409"/>
              <a:gd name="connsiteX94" fmla="*/ 3668154 w 4679734"/>
              <a:gd name="connsiteY94" fmla="*/ 650655 h 1121409"/>
              <a:gd name="connsiteX95" fmla="*/ 3657568 w 4679734"/>
              <a:gd name="connsiteY95" fmla="*/ 649666 h 1121409"/>
              <a:gd name="connsiteX96" fmla="*/ 3645806 w 4679734"/>
              <a:gd name="connsiteY96" fmla="*/ 648679 h 1121409"/>
              <a:gd name="connsiteX97" fmla="*/ 3643453 w 4679734"/>
              <a:gd name="connsiteY97" fmla="*/ 647689 h 1121409"/>
              <a:gd name="connsiteX98" fmla="*/ 3586992 w 4679734"/>
              <a:gd name="connsiteY98" fmla="*/ 645713 h 1121409"/>
              <a:gd name="connsiteX99" fmla="*/ 3584639 w 4679734"/>
              <a:gd name="connsiteY99" fmla="*/ 647689 h 1121409"/>
              <a:gd name="connsiteX100" fmla="*/ 3585817 w 4679734"/>
              <a:gd name="connsiteY100" fmla="*/ 649666 h 1121409"/>
              <a:gd name="connsiteX101" fmla="*/ 3595227 w 4679734"/>
              <a:gd name="connsiteY101" fmla="*/ 652633 h 1121409"/>
              <a:gd name="connsiteX102" fmla="*/ 3598755 w 4679734"/>
              <a:gd name="connsiteY102" fmla="*/ 653620 h 1121409"/>
              <a:gd name="connsiteX103" fmla="*/ 3614046 w 4679734"/>
              <a:gd name="connsiteY103" fmla="*/ 652633 h 1121409"/>
              <a:gd name="connsiteX104" fmla="*/ 3617575 w 4679734"/>
              <a:gd name="connsiteY104" fmla="*/ 651644 h 1121409"/>
              <a:gd name="connsiteX105" fmla="*/ 3628161 w 4679734"/>
              <a:gd name="connsiteY105" fmla="*/ 651644 h 1121409"/>
              <a:gd name="connsiteX106" fmla="*/ 3629338 w 4679734"/>
              <a:gd name="connsiteY106" fmla="*/ 650655 h 1121409"/>
              <a:gd name="connsiteX107" fmla="*/ 3629338 w 4679734"/>
              <a:gd name="connsiteY107" fmla="*/ 648679 h 1121409"/>
              <a:gd name="connsiteX108" fmla="*/ 3617575 w 4679734"/>
              <a:gd name="connsiteY108" fmla="*/ 646702 h 1121409"/>
              <a:gd name="connsiteX109" fmla="*/ 3606989 w 4679734"/>
              <a:gd name="connsiteY109" fmla="*/ 647689 h 1121409"/>
              <a:gd name="connsiteX110" fmla="*/ 3603460 w 4679734"/>
              <a:gd name="connsiteY110" fmla="*/ 646702 h 1121409"/>
              <a:gd name="connsiteX111" fmla="*/ 3597579 w 4679734"/>
              <a:gd name="connsiteY111" fmla="*/ 645713 h 1121409"/>
              <a:gd name="connsiteX112" fmla="*/ 3586992 w 4679734"/>
              <a:gd name="connsiteY112" fmla="*/ 645713 h 1121409"/>
              <a:gd name="connsiteX113" fmla="*/ 3575229 w 4679734"/>
              <a:gd name="connsiteY113" fmla="*/ 642748 h 1121409"/>
              <a:gd name="connsiteX114" fmla="*/ 3571702 w 4679734"/>
              <a:gd name="connsiteY114" fmla="*/ 643735 h 1121409"/>
              <a:gd name="connsiteX115" fmla="*/ 3565821 w 4679734"/>
              <a:gd name="connsiteY115" fmla="*/ 644724 h 1121409"/>
              <a:gd name="connsiteX116" fmla="*/ 3566997 w 4679734"/>
              <a:gd name="connsiteY116" fmla="*/ 648679 h 1121409"/>
              <a:gd name="connsiteX117" fmla="*/ 3570524 w 4679734"/>
              <a:gd name="connsiteY117" fmla="*/ 648679 h 1121409"/>
              <a:gd name="connsiteX118" fmla="*/ 3576407 w 4679734"/>
              <a:gd name="connsiteY118" fmla="*/ 645713 h 1121409"/>
              <a:gd name="connsiteX119" fmla="*/ 3576407 w 4679734"/>
              <a:gd name="connsiteY119" fmla="*/ 643735 h 1121409"/>
              <a:gd name="connsiteX120" fmla="*/ 3575229 w 4679734"/>
              <a:gd name="connsiteY120" fmla="*/ 642748 h 1121409"/>
              <a:gd name="connsiteX121" fmla="*/ 449918 w 4679734"/>
              <a:gd name="connsiteY121" fmla="*/ 1235 h 1121409"/>
              <a:gd name="connsiteX122" fmla="*/ 460505 w 4679734"/>
              <a:gd name="connsiteY122" fmla="*/ 4201 h 1121409"/>
              <a:gd name="connsiteX123" fmla="*/ 467562 w 4679734"/>
              <a:gd name="connsiteY123" fmla="*/ 4201 h 1121409"/>
              <a:gd name="connsiteX124" fmla="*/ 498145 w 4679734"/>
              <a:gd name="connsiteY124" fmla="*/ 3212 h 1121409"/>
              <a:gd name="connsiteX125" fmla="*/ 544018 w 4679734"/>
              <a:gd name="connsiteY125" fmla="*/ 2225 h 1121409"/>
              <a:gd name="connsiteX126" fmla="*/ 559311 w 4679734"/>
              <a:gd name="connsiteY126" fmla="*/ 2225 h 1121409"/>
              <a:gd name="connsiteX127" fmla="*/ 578131 w 4679734"/>
              <a:gd name="connsiteY127" fmla="*/ 7166 h 1121409"/>
              <a:gd name="connsiteX128" fmla="*/ 609889 w 4679734"/>
              <a:gd name="connsiteY128" fmla="*/ 5190 h 1121409"/>
              <a:gd name="connsiteX129" fmla="*/ 624004 w 4679734"/>
              <a:gd name="connsiteY129" fmla="*/ 6179 h 1121409"/>
              <a:gd name="connsiteX130" fmla="*/ 635767 w 4679734"/>
              <a:gd name="connsiteY130" fmla="*/ 7166 h 1121409"/>
              <a:gd name="connsiteX131" fmla="*/ 986290 w 4679734"/>
              <a:gd name="connsiteY131" fmla="*/ 8156 h 1121409"/>
              <a:gd name="connsiteX132" fmla="*/ 1046280 w 4679734"/>
              <a:gd name="connsiteY132" fmla="*/ 8156 h 1121409"/>
              <a:gd name="connsiteX133" fmla="*/ 1061571 w 4679734"/>
              <a:gd name="connsiteY133" fmla="*/ 12110 h 1121409"/>
              <a:gd name="connsiteX134" fmla="*/ 1072158 w 4679734"/>
              <a:gd name="connsiteY134" fmla="*/ 12110 h 1121409"/>
              <a:gd name="connsiteX135" fmla="*/ 1098036 w 4679734"/>
              <a:gd name="connsiteY135" fmla="*/ 11121 h 1121409"/>
              <a:gd name="connsiteX136" fmla="*/ 1116856 w 4679734"/>
              <a:gd name="connsiteY136" fmla="*/ 11121 h 1121409"/>
              <a:gd name="connsiteX137" fmla="*/ 1123914 w 4679734"/>
              <a:gd name="connsiteY137" fmla="*/ 9143 h 1121409"/>
              <a:gd name="connsiteX138" fmla="*/ 1135675 w 4679734"/>
              <a:gd name="connsiteY138" fmla="*/ 9143 h 1121409"/>
              <a:gd name="connsiteX139" fmla="*/ 1166258 w 4679734"/>
              <a:gd name="connsiteY139" fmla="*/ 13097 h 1121409"/>
              <a:gd name="connsiteX140" fmla="*/ 1178020 w 4679734"/>
              <a:gd name="connsiteY140" fmla="*/ 14085 h 1121409"/>
              <a:gd name="connsiteX141" fmla="*/ 1289765 w 4679734"/>
              <a:gd name="connsiteY141" fmla="*/ 15074 h 1121409"/>
              <a:gd name="connsiteX142" fmla="*/ 1416800 w 4679734"/>
              <a:gd name="connsiteY142" fmla="*/ 16063 h 1121409"/>
              <a:gd name="connsiteX143" fmla="*/ 1435620 w 4679734"/>
              <a:gd name="connsiteY143" fmla="*/ 20016 h 1121409"/>
              <a:gd name="connsiteX144" fmla="*/ 1447383 w 4679734"/>
              <a:gd name="connsiteY144" fmla="*/ 21994 h 1121409"/>
              <a:gd name="connsiteX145" fmla="*/ 1634408 w 4679734"/>
              <a:gd name="connsiteY145" fmla="*/ 22982 h 1121409"/>
              <a:gd name="connsiteX146" fmla="*/ 1653228 w 4679734"/>
              <a:gd name="connsiteY146" fmla="*/ 27924 h 1121409"/>
              <a:gd name="connsiteX147" fmla="*/ 1668519 w 4679734"/>
              <a:gd name="connsiteY147" fmla="*/ 28913 h 1121409"/>
              <a:gd name="connsiteX148" fmla="*/ 1867306 w 4679734"/>
              <a:gd name="connsiteY148" fmla="*/ 29901 h 1121409"/>
              <a:gd name="connsiteX149" fmla="*/ 1889655 w 4679734"/>
              <a:gd name="connsiteY149" fmla="*/ 33855 h 1121409"/>
              <a:gd name="connsiteX150" fmla="*/ 1901418 w 4679734"/>
              <a:gd name="connsiteY150" fmla="*/ 35832 h 1121409"/>
              <a:gd name="connsiteX151" fmla="*/ 2056685 w 4679734"/>
              <a:gd name="connsiteY151" fmla="*/ 36821 h 1121409"/>
              <a:gd name="connsiteX152" fmla="*/ 2068447 w 4679734"/>
              <a:gd name="connsiteY152" fmla="*/ 38797 h 1121409"/>
              <a:gd name="connsiteX153" fmla="*/ 2083737 w 4679734"/>
              <a:gd name="connsiteY153" fmla="*/ 42752 h 1121409"/>
              <a:gd name="connsiteX154" fmla="*/ 2155490 w 4679734"/>
              <a:gd name="connsiteY154" fmla="*/ 42752 h 1121409"/>
              <a:gd name="connsiteX155" fmla="*/ 2239004 w 4679734"/>
              <a:gd name="connsiteY155" fmla="*/ 43739 h 1121409"/>
              <a:gd name="connsiteX156" fmla="*/ 2266058 w 4679734"/>
              <a:gd name="connsiteY156" fmla="*/ 47693 h 1121409"/>
              <a:gd name="connsiteX157" fmla="*/ 2277820 w 4679734"/>
              <a:gd name="connsiteY157" fmla="*/ 48683 h 1121409"/>
              <a:gd name="connsiteX158" fmla="*/ 2404854 w 4679734"/>
              <a:gd name="connsiteY158" fmla="*/ 49670 h 1121409"/>
              <a:gd name="connsiteX159" fmla="*/ 2458963 w 4679734"/>
              <a:gd name="connsiteY159" fmla="*/ 54613 h 1121409"/>
              <a:gd name="connsiteX160" fmla="*/ 2480136 w 4679734"/>
              <a:gd name="connsiteY160" fmla="*/ 56590 h 1121409"/>
              <a:gd name="connsiteX161" fmla="*/ 2503661 w 4679734"/>
              <a:gd name="connsiteY161" fmla="*/ 56590 h 1121409"/>
              <a:gd name="connsiteX162" fmla="*/ 2527187 w 4679734"/>
              <a:gd name="connsiteY162" fmla="*/ 56590 h 1121409"/>
              <a:gd name="connsiteX163" fmla="*/ 2550711 w 4679734"/>
              <a:gd name="connsiteY163" fmla="*/ 56590 h 1121409"/>
              <a:gd name="connsiteX164" fmla="*/ 2574236 w 4679734"/>
              <a:gd name="connsiteY164" fmla="*/ 56590 h 1121409"/>
              <a:gd name="connsiteX165" fmla="*/ 2605995 w 4679734"/>
              <a:gd name="connsiteY165" fmla="*/ 56590 h 1121409"/>
              <a:gd name="connsiteX166" fmla="*/ 2633050 w 4679734"/>
              <a:gd name="connsiteY166" fmla="*/ 61532 h 1121409"/>
              <a:gd name="connsiteX167" fmla="*/ 2644812 w 4679734"/>
              <a:gd name="connsiteY167" fmla="*/ 62521 h 1121409"/>
              <a:gd name="connsiteX168" fmla="*/ 2748321 w 4679734"/>
              <a:gd name="connsiteY168" fmla="*/ 63509 h 1121409"/>
              <a:gd name="connsiteX169" fmla="*/ 2782433 w 4679734"/>
              <a:gd name="connsiteY169" fmla="*/ 68450 h 1121409"/>
              <a:gd name="connsiteX170" fmla="*/ 2794195 w 4679734"/>
              <a:gd name="connsiteY170" fmla="*/ 69439 h 1121409"/>
              <a:gd name="connsiteX171" fmla="*/ 2901235 w 4679734"/>
              <a:gd name="connsiteY171" fmla="*/ 70428 h 1121409"/>
              <a:gd name="connsiteX172" fmla="*/ 2916526 w 4679734"/>
              <a:gd name="connsiteY172" fmla="*/ 74381 h 1121409"/>
              <a:gd name="connsiteX173" fmla="*/ 2928289 w 4679734"/>
              <a:gd name="connsiteY173" fmla="*/ 76359 h 1121409"/>
              <a:gd name="connsiteX174" fmla="*/ 3008274 w 4679734"/>
              <a:gd name="connsiteY174" fmla="*/ 77348 h 1121409"/>
              <a:gd name="connsiteX175" fmla="*/ 3030623 w 4679734"/>
              <a:gd name="connsiteY175" fmla="*/ 82290 h 1121409"/>
              <a:gd name="connsiteX176" fmla="*/ 3041209 w 4679734"/>
              <a:gd name="connsiteY176" fmla="*/ 80312 h 1121409"/>
              <a:gd name="connsiteX177" fmla="*/ 3048267 w 4679734"/>
              <a:gd name="connsiteY177" fmla="*/ 79325 h 1121409"/>
              <a:gd name="connsiteX178" fmla="*/ 3063559 w 4679734"/>
              <a:gd name="connsiteY178" fmla="*/ 83279 h 1121409"/>
              <a:gd name="connsiteX179" fmla="*/ 3103551 w 4679734"/>
              <a:gd name="connsiteY179" fmla="*/ 84266 h 1121409"/>
              <a:gd name="connsiteX180" fmla="*/ 3134134 w 4679734"/>
              <a:gd name="connsiteY180" fmla="*/ 89209 h 1121409"/>
              <a:gd name="connsiteX181" fmla="*/ 3145896 w 4679734"/>
              <a:gd name="connsiteY181" fmla="*/ 90197 h 1121409"/>
              <a:gd name="connsiteX182" fmla="*/ 3201181 w 4679734"/>
              <a:gd name="connsiteY182" fmla="*/ 91186 h 1121409"/>
              <a:gd name="connsiteX183" fmla="*/ 3220001 w 4679734"/>
              <a:gd name="connsiteY183" fmla="*/ 95140 h 1121409"/>
              <a:gd name="connsiteX184" fmla="*/ 3227059 w 4679734"/>
              <a:gd name="connsiteY184" fmla="*/ 97117 h 1121409"/>
              <a:gd name="connsiteX185" fmla="*/ 3262345 w 4679734"/>
              <a:gd name="connsiteY185" fmla="*/ 98105 h 1121409"/>
              <a:gd name="connsiteX186" fmla="*/ 3301163 w 4679734"/>
              <a:gd name="connsiteY186" fmla="*/ 103046 h 1121409"/>
              <a:gd name="connsiteX187" fmla="*/ 3312925 w 4679734"/>
              <a:gd name="connsiteY187" fmla="*/ 104036 h 1121409"/>
              <a:gd name="connsiteX188" fmla="*/ 3368210 w 4679734"/>
              <a:gd name="connsiteY188" fmla="*/ 105025 h 1121409"/>
              <a:gd name="connsiteX189" fmla="*/ 3379971 w 4679734"/>
              <a:gd name="connsiteY189" fmla="*/ 106013 h 1121409"/>
              <a:gd name="connsiteX190" fmla="*/ 3427022 w 4679734"/>
              <a:gd name="connsiteY190" fmla="*/ 110956 h 1121409"/>
              <a:gd name="connsiteX191" fmla="*/ 3438785 w 4679734"/>
              <a:gd name="connsiteY191" fmla="*/ 112931 h 1121409"/>
              <a:gd name="connsiteX192" fmla="*/ 3457605 w 4679734"/>
              <a:gd name="connsiteY192" fmla="*/ 116887 h 1121409"/>
              <a:gd name="connsiteX193" fmla="*/ 3481129 w 4679734"/>
              <a:gd name="connsiteY193" fmla="*/ 116887 h 1121409"/>
              <a:gd name="connsiteX194" fmla="*/ 3508183 w 4679734"/>
              <a:gd name="connsiteY194" fmla="*/ 121828 h 1121409"/>
              <a:gd name="connsiteX195" fmla="*/ 3511712 w 4679734"/>
              <a:gd name="connsiteY195" fmla="*/ 122816 h 1121409"/>
              <a:gd name="connsiteX196" fmla="*/ 3519946 w 4679734"/>
              <a:gd name="connsiteY196" fmla="*/ 122816 h 1121409"/>
              <a:gd name="connsiteX197" fmla="*/ 3574054 w 4679734"/>
              <a:gd name="connsiteY197" fmla="*/ 128747 h 1121409"/>
              <a:gd name="connsiteX198" fmla="*/ 3584639 w 4679734"/>
              <a:gd name="connsiteY198" fmla="*/ 126770 h 1121409"/>
              <a:gd name="connsiteX199" fmla="*/ 3602284 w 4679734"/>
              <a:gd name="connsiteY199" fmla="*/ 126770 h 1121409"/>
              <a:gd name="connsiteX200" fmla="*/ 3609342 w 4679734"/>
              <a:gd name="connsiteY200" fmla="*/ 127759 h 1121409"/>
              <a:gd name="connsiteX201" fmla="*/ 3624633 w 4679734"/>
              <a:gd name="connsiteY201" fmla="*/ 130724 h 1121409"/>
              <a:gd name="connsiteX202" fmla="*/ 3692855 w 4679734"/>
              <a:gd name="connsiteY202" fmla="*/ 130724 h 1121409"/>
              <a:gd name="connsiteX203" fmla="*/ 3701090 w 4679734"/>
              <a:gd name="connsiteY203" fmla="*/ 131713 h 1121409"/>
              <a:gd name="connsiteX204" fmla="*/ 3746963 w 4679734"/>
              <a:gd name="connsiteY204" fmla="*/ 137644 h 1121409"/>
              <a:gd name="connsiteX205" fmla="*/ 3772841 w 4679734"/>
              <a:gd name="connsiteY205" fmla="*/ 142586 h 1121409"/>
              <a:gd name="connsiteX206" fmla="*/ 3779899 w 4679734"/>
              <a:gd name="connsiteY206" fmla="*/ 143575 h 1121409"/>
              <a:gd name="connsiteX207" fmla="*/ 3814011 w 4679734"/>
              <a:gd name="connsiteY207" fmla="*/ 149505 h 1121409"/>
              <a:gd name="connsiteX208" fmla="*/ 3829301 w 4679734"/>
              <a:gd name="connsiteY208" fmla="*/ 150493 h 1121409"/>
              <a:gd name="connsiteX209" fmla="*/ 3851650 w 4679734"/>
              <a:gd name="connsiteY209" fmla="*/ 155436 h 1121409"/>
              <a:gd name="connsiteX210" fmla="*/ 3858707 w 4679734"/>
              <a:gd name="connsiteY210" fmla="*/ 155436 h 1121409"/>
              <a:gd name="connsiteX211" fmla="*/ 3905758 w 4679734"/>
              <a:gd name="connsiteY211" fmla="*/ 150493 h 1121409"/>
              <a:gd name="connsiteX212" fmla="*/ 3909287 w 4679734"/>
              <a:gd name="connsiteY212" fmla="*/ 152470 h 1121409"/>
              <a:gd name="connsiteX213" fmla="*/ 3928106 w 4679734"/>
              <a:gd name="connsiteY213" fmla="*/ 156424 h 1121409"/>
              <a:gd name="connsiteX214" fmla="*/ 3951632 w 4679734"/>
              <a:gd name="connsiteY214" fmla="*/ 156424 h 1121409"/>
              <a:gd name="connsiteX215" fmla="*/ 3970452 w 4679734"/>
              <a:gd name="connsiteY215" fmla="*/ 161367 h 1121409"/>
              <a:gd name="connsiteX216" fmla="*/ 3996330 w 4679734"/>
              <a:gd name="connsiteY216" fmla="*/ 169274 h 1121409"/>
              <a:gd name="connsiteX217" fmla="*/ 4028089 w 4679734"/>
              <a:gd name="connsiteY217" fmla="*/ 171251 h 1121409"/>
              <a:gd name="connsiteX218" fmla="*/ 4072786 w 4679734"/>
              <a:gd name="connsiteY218" fmla="*/ 181135 h 1121409"/>
              <a:gd name="connsiteX219" fmla="*/ 4089254 w 4679734"/>
              <a:gd name="connsiteY219" fmla="*/ 189043 h 1121409"/>
              <a:gd name="connsiteX220" fmla="*/ 4113954 w 4679734"/>
              <a:gd name="connsiteY220" fmla="*/ 196951 h 1121409"/>
              <a:gd name="connsiteX221" fmla="*/ 4125717 w 4679734"/>
              <a:gd name="connsiteY221" fmla="*/ 199917 h 1121409"/>
              <a:gd name="connsiteX222" fmla="*/ 4146890 w 4679734"/>
              <a:gd name="connsiteY222" fmla="*/ 209801 h 1121409"/>
              <a:gd name="connsiteX223" fmla="*/ 4164533 w 4679734"/>
              <a:gd name="connsiteY223" fmla="*/ 216721 h 1121409"/>
              <a:gd name="connsiteX224" fmla="*/ 4184530 w 4679734"/>
              <a:gd name="connsiteY224" fmla="*/ 217708 h 1121409"/>
              <a:gd name="connsiteX225" fmla="*/ 4199822 w 4679734"/>
              <a:gd name="connsiteY225" fmla="*/ 221662 h 1121409"/>
              <a:gd name="connsiteX226" fmla="*/ 4217465 w 4679734"/>
              <a:gd name="connsiteY226" fmla="*/ 229570 h 1121409"/>
              <a:gd name="connsiteX227" fmla="*/ 4224524 w 4679734"/>
              <a:gd name="connsiteY227" fmla="*/ 231548 h 1121409"/>
              <a:gd name="connsiteX228" fmla="*/ 4251578 w 4679734"/>
              <a:gd name="connsiteY228" fmla="*/ 237478 h 1121409"/>
              <a:gd name="connsiteX229" fmla="*/ 4258635 w 4679734"/>
              <a:gd name="connsiteY229" fmla="*/ 238467 h 1121409"/>
              <a:gd name="connsiteX230" fmla="*/ 4286864 w 4679734"/>
              <a:gd name="connsiteY230" fmla="*/ 239455 h 1121409"/>
              <a:gd name="connsiteX231" fmla="*/ 4306862 w 4679734"/>
              <a:gd name="connsiteY231" fmla="*/ 240444 h 1121409"/>
              <a:gd name="connsiteX232" fmla="*/ 4324505 w 4679734"/>
              <a:gd name="connsiteY232" fmla="*/ 247363 h 1121409"/>
              <a:gd name="connsiteX233" fmla="*/ 4350383 w 4679734"/>
              <a:gd name="connsiteY233" fmla="*/ 253294 h 1121409"/>
              <a:gd name="connsiteX234" fmla="*/ 4358616 w 4679734"/>
              <a:gd name="connsiteY234" fmla="*/ 259224 h 1121409"/>
              <a:gd name="connsiteX235" fmla="*/ 4366851 w 4679734"/>
              <a:gd name="connsiteY235" fmla="*/ 265155 h 1121409"/>
              <a:gd name="connsiteX236" fmla="*/ 4375084 w 4679734"/>
              <a:gd name="connsiteY236" fmla="*/ 265155 h 1121409"/>
              <a:gd name="connsiteX237" fmla="*/ 4397434 w 4679734"/>
              <a:gd name="connsiteY237" fmla="*/ 272074 h 1121409"/>
              <a:gd name="connsiteX238" fmla="*/ 4417430 w 4679734"/>
              <a:gd name="connsiteY238" fmla="*/ 273063 h 1121409"/>
              <a:gd name="connsiteX239" fmla="*/ 4435073 w 4679734"/>
              <a:gd name="connsiteY239" fmla="*/ 279982 h 1121409"/>
              <a:gd name="connsiteX240" fmla="*/ 4457422 w 4679734"/>
              <a:gd name="connsiteY240" fmla="*/ 285913 h 1121409"/>
              <a:gd name="connsiteX241" fmla="*/ 4483300 w 4679734"/>
              <a:gd name="connsiteY241" fmla="*/ 292832 h 1121409"/>
              <a:gd name="connsiteX242" fmla="*/ 4506825 w 4679734"/>
              <a:gd name="connsiteY242" fmla="*/ 293821 h 1121409"/>
              <a:gd name="connsiteX243" fmla="*/ 4513883 w 4679734"/>
              <a:gd name="connsiteY243" fmla="*/ 296786 h 1121409"/>
              <a:gd name="connsiteX244" fmla="*/ 4535056 w 4679734"/>
              <a:gd name="connsiteY244" fmla="*/ 304693 h 1121409"/>
              <a:gd name="connsiteX245" fmla="*/ 4553876 w 4679734"/>
              <a:gd name="connsiteY245" fmla="*/ 309636 h 1121409"/>
              <a:gd name="connsiteX246" fmla="*/ 4565639 w 4679734"/>
              <a:gd name="connsiteY246" fmla="*/ 311613 h 1121409"/>
              <a:gd name="connsiteX247" fmla="*/ 4596220 w 4679734"/>
              <a:gd name="connsiteY247" fmla="*/ 317544 h 1121409"/>
              <a:gd name="connsiteX248" fmla="*/ 4603278 w 4679734"/>
              <a:gd name="connsiteY248" fmla="*/ 318532 h 1121409"/>
              <a:gd name="connsiteX249" fmla="*/ 4640919 w 4679734"/>
              <a:gd name="connsiteY249" fmla="*/ 326439 h 1121409"/>
              <a:gd name="connsiteX250" fmla="*/ 4658561 w 4679734"/>
              <a:gd name="connsiteY250" fmla="*/ 332370 h 1121409"/>
              <a:gd name="connsiteX251" fmla="*/ 4673854 w 4679734"/>
              <a:gd name="connsiteY251" fmla="*/ 333359 h 1121409"/>
              <a:gd name="connsiteX252" fmla="*/ 4679734 w 4679734"/>
              <a:gd name="connsiteY252" fmla="*/ 343244 h 1121409"/>
              <a:gd name="connsiteX253" fmla="*/ 4673854 w 4679734"/>
              <a:gd name="connsiteY253" fmla="*/ 347197 h 1121409"/>
              <a:gd name="connsiteX254" fmla="*/ 4670324 w 4679734"/>
              <a:gd name="connsiteY254" fmla="*/ 347197 h 1121409"/>
              <a:gd name="connsiteX255" fmla="*/ 4632685 w 4679734"/>
              <a:gd name="connsiteY255" fmla="*/ 347197 h 1121409"/>
              <a:gd name="connsiteX256" fmla="*/ 4598573 w 4679734"/>
              <a:gd name="connsiteY256" fmla="*/ 346209 h 1121409"/>
              <a:gd name="connsiteX257" fmla="*/ 4584457 w 4679734"/>
              <a:gd name="connsiteY257" fmla="*/ 355104 h 1121409"/>
              <a:gd name="connsiteX258" fmla="*/ 4576224 w 4679734"/>
              <a:gd name="connsiteY258" fmla="*/ 360048 h 1121409"/>
              <a:gd name="connsiteX259" fmla="*/ 4540936 w 4679734"/>
              <a:gd name="connsiteY259" fmla="*/ 360048 h 1121409"/>
              <a:gd name="connsiteX260" fmla="*/ 4531526 w 4679734"/>
              <a:gd name="connsiteY260" fmla="*/ 367955 h 1121409"/>
              <a:gd name="connsiteX261" fmla="*/ 4519763 w 4679734"/>
              <a:gd name="connsiteY261" fmla="*/ 392666 h 1121409"/>
              <a:gd name="connsiteX262" fmla="*/ 4506825 w 4679734"/>
              <a:gd name="connsiteY262" fmla="*/ 399586 h 1121409"/>
              <a:gd name="connsiteX263" fmla="*/ 4489181 w 4679734"/>
              <a:gd name="connsiteY263" fmla="*/ 405517 h 1121409"/>
              <a:gd name="connsiteX264" fmla="*/ 4465656 w 4679734"/>
              <a:gd name="connsiteY264" fmla="*/ 418367 h 1121409"/>
              <a:gd name="connsiteX265" fmla="*/ 4458598 w 4679734"/>
              <a:gd name="connsiteY265" fmla="*/ 420344 h 1121409"/>
              <a:gd name="connsiteX266" fmla="*/ 4428015 w 4679734"/>
              <a:gd name="connsiteY266" fmla="*/ 426275 h 1121409"/>
              <a:gd name="connsiteX267" fmla="*/ 4404490 w 4679734"/>
              <a:gd name="connsiteY267" fmla="*/ 437148 h 1121409"/>
              <a:gd name="connsiteX268" fmla="*/ 4395081 w 4679734"/>
              <a:gd name="connsiteY268" fmla="*/ 447032 h 1121409"/>
              <a:gd name="connsiteX269" fmla="*/ 4377437 w 4679734"/>
              <a:gd name="connsiteY269" fmla="*/ 453951 h 1121409"/>
              <a:gd name="connsiteX270" fmla="*/ 4350383 w 4679734"/>
              <a:gd name="connsiteY270" fmla="*/ 459882 h 1121409"/>
              <a:gd name="connsiteX271" fmla="*/ 4318624 w 4679734"/>
              <a:gd name="connsiteY271" fmla="*/ 460871 h 1121409"/>
              <a:gd name="connsiteX272" fmla="*/ 4279808 w 4679734"/>
              <a:gd name="connsiteY272" fmla="*/ 455928 h 1121409"/>
              <a:gd name="connsiteX273" fmla="*/ 4231581 w 4679734"/>
              <a:gd name="connsiteY273" fmla="*/ 454940 h 1121409"/>
              <a:gd name="connsiteX274" fmla="*/ 4209232 w 4679734"/>
              <a:gd name="connsiteY274" fmla="*/ 469766 h 1121409"/>
              <a:gd name="connsiteX275" fmla="*/ 4200998 w 4679734"/>
              <a:gd name="connsiteY275" fmla="*/ 475697 h 1121409"/>
              <a:gd name="connsiteX276" fmla="*/ 4189235 w 4679734"/>
              <a:gd name="connsiteY276" fmla="*/ 475697 h 1121409"/>
              <a:gd name="connsiteX277" fmla="*/ 4166886 w 4679734"/>
              <a:gd name="connsiteY277" fmla="*/ 470755 h 1121409"/>
              <a:gd name="connsiteX278" fmla="*/ 4159830 w 4679734"/>
              <a:gd name="connsiteY278" fmla="*/ 468779 h 1121409"/>
              <a:gd name="connsiteX279" fmla="*/ 4131599 w 4679734"/>
              <a:gd name="connsiteY279" fmla="*/ 468779 h 1121409"/>
              <a:gd name="connsiteX280" fmla="*/ 4113954 w 4679734"/>
              <a:gd name="connsiteY280" fmla="*/ 473721 h 1121409"/>
              <a:gd name="connsiteX281" fmla="*/ 4078667 w 4679734"/>
              <a:gd name="connsiteY281" fmla="*/ 473721 h 1121409"/>
              <a:gd name="connsiteX282" fmla="*/ 4048084 w 4679734"/>
              <a:gd name="connsiteY282" fmla="*/ 469766 h 1121409"/>
              <a:gd name="connsiteX283" fmla="*/ 4041027 w 4679734"/>
              <a:gd name="connsiteY283" fmla="*/ 471744 h 1121409"/>
              <a:gd name="connsiteX284" fmla="*/ 4033969 w 4679734"/>
              <a:gd name="connsiteY284" fmla="*/ 473721 h 1121409"/>
              <a:gd name="connsiteX285" fmla="*/ 4015150 w 4679734"/>
              <a:gd name="connsiteY285" fmla="*/ 468779 h 1121409"/>
              <a:gd name="connsiteX286" fmla="*/ 3995153 w 4679734"/>
              <a:gd name="connsiteY286" fmla="*/ 468779 h 1121409"/>
              <a:gd name="connsiteX287" fmla="*/ 3959867 w 4679734"/>
              <a:gd name="connsiteY287" fmla="*/ 467790 h 1121409"/>
              <a:gd name="connsiteX288" fmla="*/ 3917521 w 4679734"/>
              <a:gd name="connsiteY288" fmla="*/ 462848 h 1121409"/>
              <a:gd name="connsiteX289" fmla="*/ 3906935 w 4679734"/>
              <a:gd name="connsiteY289" fmla="*/ 465813 h 1121409"/>
              <a:gd name="connsiteX290" fmla="*/ 3896348 w 4679734"/>
              <a:gd name="connsiteY290" fmla="*/ 468779 h 1121409"/>
              <a:gd name="connsiteX291" fmla="*/ 3852826 w 4679734"/>
              <a:gd name="connsiteY291" fmla="*/ 468779 h 1121409"/>
              <a:gd name="connsiteX292" fmla="*/ 3822243 w 4679734"/>
              <a:gd name="connsiteY292" fmla="*/ 474710 h 1121409"/>
              <a:gd name="connsiteX293" fmla="*/ 3814011 w 4679734"/>
              <a:gd name="connsiteY293" fmla="*/ 475697 h 1121409"/>
              <a:gd name="connsiteX294" fmla="*/ 3803425 w 4679734"/>
              <a:gd name="connsiteY294" fmla="*/ 483606 h 1121409"/>
              <a:gd name="connsiteX295" fmla="*/ 3798718 w 4679734"/>
              <a:gd name="connsiteY295" fmla="*/ 488547 h 1121409"/>
              <a:gd name="connsiteX296" fmla="*/ 3771665 w 4679734"/>
              <a:gd name="connsiteY296" fmla="*/ 485582 h 1121409"/>
              <a:gd name="connsiteX297" fmla="*/ 3764607 w 4679734"/>
              <a:gd name="connsiteY297" fmla="*/ 485582 h 1121409"/>
              <a:gd name="connsiteX298" fmla="*/ 3757550 w 4679734"/>
              <a:gd name="connsiteY298" fmla="*/ 488547 h 1121409"/>
              <a:gd name="connsiteX299" fmla="*/ 3734024 w 4679734"/>
              <a:gd name="connsiteY299" fmla="*/ 488547 h 1121409"/>
              <a:gd name="connsiteX300" fmla="*/ 3705795 w 4679734"/>
              <a:gd name="connsiteY300" fmla="*/ 489536 h 1121409"/>
              <a:gd name="connsiteX301" fmla="*/ 3681092 w 4679734"/>
              <a:gd name="connsiteY301" fmla="*/ 500409 h 1121409"/>
              <a:gd name="connsiteX302" fmla="*/ 3658744 w 4679734"/>
              <a:gd name="connsiteY302" fmla="*/ 498432 h 1121409"/>
              <a:gd name="connsiteX303" fmla="*/ 3651687 w 4679734"/>
              <a:gd name="connsiteY303" fmla="*/ 498432 h 1121409"/>
              <a:gd name="connsiteX304" fmla="*/ 3641101 w 4679734"/>
              <a:gd name="connsiteY304" fmla="*/ 501397 h 1121409"/>
              <a:gd name="connsiteX305" fmla="*/ 3626985 w 4679734"/>
              <a:gd name="connsiteY305" fmla="*/ 506339 h 1121409"/>
              <a:gd name="connsiteX306" fmla="*/ 3606989 w 4679734"/>
              <a:gd name="connsiteY306" fmla="*/ 517213 h 1121409"/>
              <a:gd name="connsiteX307" fmla="*/ 3598755 w 4679734"/>
              <a:gd name="connsiteY307" fmla="*/ 524132 h 1121409"/>
              <a:gd name="connsiteX308" fmla="*/ 3590522 w 4679734"/>
              <a:gd name="connsiteY308" fmla="*/ 535004 h 1121409"/>
              <a:gd name="connsiteX309" fmla="*/ 3575229 w 4679734"/>
              <a:gd name="connsiteY309" fmla="*/ 535994 h 1121409"/>
              <a:gd name="connsiteX310" fmla="*/ 3638417 w 4679734"/>
              <a:gd name="connsiteY310" fmla="*/ 575748 h 1121409"/>
              <a:gd name="connsiteX311" fmla="*/ 3648920 w 4679734"/>
              <a:gd name="connsiteY311" fmla="*/ 583148 h 1121409"/>
              <a:gd name="connsiteX312" fmla="*/ 3648603 w 4679734"/>
              <a:gd name="connsiteY312" fmla="*/ 583681 h 1121409"/>
              <a:gd name="connsiteX313" fmla="*/ 3636249 w 4679734"/>
              <a:gd name="connsiteY313" fmla="*/ 587764 h 1121409"/>
              <a:gd name="connsiteX314" fmla="*/ 3622280 w 4679734"/>
              <a:gd name="connsiteY314" fmla="*/ 588382 h 1121409"/>
              <a:gd name="connsiteX315" fmla="*/ 3612870 w 4679734"/>
              <a:gd name="connsiteY315" fmla="*/ 589370 h 1121409"/>
              <a:gd name="connsiteX316" fmla="*/ 3629338 w 4679734"/>
              <a:gd name="connsiteY316" fmla="*/ 592337 h 1121409"/>
              <a:gd name="connsiteX317" fmla="*/ 3634043 w 4679734"/>
              <a:gd name="connsiteY317" fmla="*/ 591347 h 1121409"/>
              <a:gd name="connsiteX318" fmla="*/ 3642276 w 4679734"/>
              <a:gd name="connsiteY318" fmla="*/ 591347 h 1121409"/>
              <a:gd name="connsiteX319" fmla="*/ 3645806 w 4679734"/>
              <a:gd name="connsiteY319" fmla="*/ 592337 h 1121409"/>
              <a:gd name="connsiteX320" fmla="*/ 3683446 w 4679734"/>
              <a:gd name="connsiteY320" fmla="*/ 593324 h 1121409"/>
              <a:gd name="connsiteX321" fmla="*/ 3684622 w 4679734"/>
              <a:gd name="connsiteY321" fmla="*/ 592337 h 1121409"/>
              <a:gd name="connsiteX322" fmla="*/ 3683446 w 4679734"/>
              <a:gd name="connsiteY322" fmla="*/ 591347 h 1121409"/>
              <a:gd name="connsiteX323" fmla="*/ 3672860 w 4679734"/>
              <a:gd name="connsiteY323" fmla="*/ 590359 h 1121409"/>
              <a:gd name="connsiteX324" fmla="*/ 3665802 w 4679734"/>
              <a:gd name="connsiteY324" fmla="*/ 587393 h 1121409"/>
              <a:gd name="connsiteX325" fmla="*/ 3659921 w 4679734"/>
              <a:gd name="connsiteY325" fmla="*/ 587393 h 1121409"/>
              <a:gd name="connsiteX326" fmla="*/ 3656392 w 4679734"/>
              <a:gd name="connsiteY326" fmla="*/ 586406 h 1121409"/>
              <a:gd name="connsiteX327" fmla="*/ 3649334 w 4679734"/>
              <a:gd name="connsiteY327" fmla="*/ 585416 h 1121409"/>
              <a:gd name="connsiteX328" fmla="*/ 3648158 w 4679734"/>
              <a:gd name="connsiteY328" fmla="*/ 584428 h 1121409"/>
              <a:gd name="connsiteX329" fmla="*/ 3648603 w 4679734"/>
              <a:gd name="connsiteY329" fmla="*/ 583681 h 1121409"/>
              <a:gd name="connsiteX330" fmla="*/ 3649334 w 4679734"/>
              <a:gd name="connsiteY330" fmla="*/ 583439 h 1121409"/>
              <a:gd name="connsiteX331" fmla="*/ 3648920 w 4679734"/>
              <a:gd name="connsiteY331" fmla="*/ 583148 h 1121409"/>
              <a:gd name="connsiteX332" fmla="*/ 3649334 w 4679734"/>
              <a:gd name="connsiteY332" fmla="*/ 582451 h 1121409"/>
              <a:gd name="connsiteX333" fmla="*/ 3695207 w 4679734"/>
              <a:gd name="connsiteY333" fmla="*/ 584428 h 1121409"/>
              <a:gd name="connsiteX334" fmla="*/ 3698738 w 4679734"/>
              <a:gd name="connsiteY334" fmla="*/ 585416 h 1121409"/>
              <a:gd name="connsiteX335" fmla="*/ 3708148 w 4679734"/>
              <a:gd name="connsiteY335" fmla="*/ 588382 h 1121409"/>
              <a:gd name="connsiteX336" fmla="*/ 3731672 w 4679734"/>
              <a:gd name="connsiteY336" fmla="*/ 589370 h 1121409"/>
              <a:gd name="connsiteX337" fmla="*/ 3739906 w 4679734"/>
              <a:gd name="connsiteY337" fmla="*/ 591347 h 1121409"/>
              <a:gd name="connsiteX338" fmla="*/ 3743434 w 4679734"/>
              <a:gd name="connsiteY338" fmla="*/ 592337 h 1121409"/>
              <a:gd name="connsiteX339" fmla="*/ 3756374 w 4679734"/>
              <a:gd name="connsiteY339" fmla="*/ 593324 h 1121409"/>
              <a:gd name="connsiteX340" fmla="*/ 3765784 w 4679734"/>
              <a:gd name="connsiteY340" fmla="*/ 594313 h 1121409"/>
              <a:gd name="connsiteX341" fmla="*/ 3778722 w 4679734"/>
              <a:gd name="connsiteY341" fmla="*/ 599255 h 1121409"/>
              <a:gd name="connsiteX342" fmla="*/ 3785780 w 4679734"/>
              <a:gd name="connsiteY342" fmla="*/ 601232 h 1121409"/>
              <a:gd name="connsiteX343" fmla="*/ 3812833 w 4679734"/>
              <a:gd name="connsiteY343" fmla="*/ 603209 h 1121409"/>
              <a:gd name="connsiteX344" fmla="*/ 3831653 w 4679734"/>
              <a:gd name="connsiteY344" fmla="*/ 606175 h 1121409"/>
              <a:gd name="connsiteX345" fmla="*/ 3836359 w 4679734"/>
              <a:gd name="connsiteY345" fmla="*/ 607163 h 1121409"/>
              <a:gd name="connsiteX346" fmla="*/ 3856356 w 4679734"/>
              <a:gd name="connsiteY346" fmla="*/ 608152 h 1121409"/>
              <a:gd name="connsiteX347" fmla="*/ 3865765 w 4679734"/>
              <a:gd name="connsiteY347" fmla="*/ 611117 h 1121409"/>
              <a:gd name="connsiteX348" fmla="*/ 3870470 w 4679734"/>
              <a:gd name="connsiteY348" fmla="*/ 612104 h 1121409"/>
              <a:gd name="connsiteX349" fmla="*/ 3909287 w 4679734"/>
              <a:gd name="connsiteY349" fmla="*/ 614083 h 1121409"/>
              <a:gd name="connsiteX350" fmla="*/ 3918696 w 4679734"/>
              <a:gd name="connsiteY350" fmla="*/ 617048 h 1121409"/>
              <a:gd name="connsiteX351" fmla="*/ 3928106 w 4679734"/>
              <a:gd name="connsiteY351" fmla="*/ 620013 h 1121409"/>
              <a:gd name="connsiteX352" fmla="*/ 3938694 w 4679734"/>
              <a:gd name="connsiteY352" fmla="*/ 621002 h 1121409"/>
              <a:gd name="connsiteX353" fmla="*/ 3957513 w 4679734"/>
              <a:gd name="connsiteY353" fmla="*/ 624955 h 1121409"/>
              <a:gd name="connsiteX354" fmla="*/ 3968099 w 4679734"/>
              <a:gd name="connsiteY354" fmla="*/ 625944 h 1121409"/>
              <a:gd name="connsiteX355" fmla="*/ 3978686 w 4679734"/>
              <a:gd name="connsiteY355" fmla="*/ 628909 h 1121409"/>
              <a:gd name="connsiteX356" fmla="*/ 3983391 w 4679734"/>
              <a:gd name="connsiteY356" fmla="*/ 629897 h 1121409"/>
              <a:gd name="connsiteX357" fmla="*/ 3993976 w 4679734"/>
              <a:gd name="connsiteY357" fmla="*/ 630886 h 1121409"/>
              <a:gd name="connsiteX358" fmla="*/ 3997506 w 4679734"/>
              <a:gd name="connsiteY358" fmla="*/ 631874 h 1121409"/>
              <a:gd name="connsiteX359" fmla="*/ 4006916 w 4679734"/>
              <a:gd name="connsiteY359" fmla="*/ 634840 h 1121409"/>
              <a:gd name="connsiteX360" fmla="*/ 4011621 w 4679734"/>
              <a:gd name="connsiteY360" fmla="*/ 634840 h 1121409"/>
              <a:gd name="connsiteX361" fmla="*/ 4023384 w 4679734"/>
              <a:gd name="connsiteY361" fmla="*/ 637805 h 1121409"/>
              <a:gd name="connsiteX362" fmla="*/ 4036322 w 4679734"/>
              <a:gd name="connsiteY362" fmla="*/ 638794 h 1121409"/>
              <a:gd name="connsiteX363" fmla="*/ 4042204 w 4679734"/>
              <a:gd name="connsiteY363" fmla="*/ 641759 h 1121409"/>
              <a:gd name="connsiteX364" fmla="*/ 4056320 w 4679734"/>
              <a:gd name="connsiteY364" fmla="*/ 642748 h 1121409"/>
              <a:gd name="connsiteX365" fmla="*/ 4057494 w 4679734"/>
              <a:gd name="connsiteY365" fmla="*/ 641759 h 1121409"/>
              <a:gd name="connsiteX366" fmla="*/ 4066905 w 4679734"/>
              <a:gd name="connsiteY366" fmla="*/ 643735 h 1121409"/>
              <a:gd name="connsiteX367" fmla="*/ 4066905 w 4679734"/>
              <a:gd name="connsiteY367" fmla="*/ 645713 h 1121409"/>
              <a:gd name="connsiteX368" fmla="*/ 4065730 w 4679734"/>
              <a:gd name="connsiteY368" fmla="*/ 646702 h 1121409"/>
              <a:gd name="connsiteX369" fmla="*/ 4055142 w 4679734"/>
              <a:gd name="connsiteY369" fmla="*/ 645713 h 1121409"/>
              <a:gd name="connsiteX370" fmla="*/ 4035147 w 4679734"/>
              <a:gd name="connsiteY370" fmla="*/ 644724 h 1121409"/>
              <a:gd name="connsiteX371" fmla="*/ 4032794 w 4679734"/>
              <a:gd name="connsiteY371" fmla="*/ 646702 h 1121409"/>
              <a:gd name="connsiteX372" fmla="*/ 4033969 w 4679734"/>
              <a:gd name="connsiteY372" fmla="*/ 647689 h 1121409"/>
              <a:gd name="connsiteX373" fmla="*/ 4041027 w 4679734"/>
              <a:gd name="connsiteY373" fmla="*/ 650655 h 1121409"/>
              <a:gd name="connsiteX374" fmla="*/ 4042204 w 4679734"/>
              <a:gd name="connsiteY374" fmla="*/ 650655 h 1121409"/>
              <a:gd name="connsiteX375" fmla="*/ 4044557 w 4679734"/>
              <a:gd name="connsiteY375" fmla="*/ 652633 h 1121409"/>
              <a:gd name="connsiteX376" fmla="*/ 4043379 w 4679734"/>
              <a:gd name="connsiteY376" fmla="*/ 653620 h 1121409"/>
              <a:gd name="connsiteX377" fmla="*/ 4035147 w 4679734"/>
              <a:gd name="connsiteY377" fmla="*/ 656586 h 1121409"/>
              <a:gd name="connsiteX378" fmla="*/ 4025736 w 4679734"/>
              <a:gd name="connsiteY378" fmla="*/ 653620 h 1121409"/>
              <a:gd name="connsiteX379" fmla="*/ 4021031 w 4679734"/>
              <a:gd name="connsiteY379" fmla="*/ 652633 h 1121409"/>
              <a:gd name="connsiteX380" fmla="*/ 3999858 w 4679734"/>
              <a:gd name="connsiteY380" fmla="*/ 651644 h 1121409"/>
              <a:gd name="connsiteX381" fmla="*/ 3995153 w 4679734"/>
              <a:gd name="connsiteY381" fmla="*/ 650655 h 1121409"/>
              <a:gd name="connsiteX382" fmla="*/ 3972805 w 4679734"/>
              <a:gd name="connsiteY382" fmla="*/ 646702 h 1121409"/>
              <a:gd name="connsiteX383" fmla="*/ 3956337 w 4679734"/>
              <a:gd name="connsiteY383" fmla="*/ 645713 h 1121409"/>
              <a:gd name="connsiteX384" fmla="*/ 3944574 w 4679734"/>
              <a:gd name="connsiteY384" fmla="*/ 645713 h 1121409"/>
              <a:gd name="connsiteX385" fmla="*/ 3936341 w 4679734"/>
              <a:gd name="connsiteY385" fmla="*/ 651644 h 1121409"/>
              <a:gd name="connsiteX386" fmla="*/ 3929284 w 4679734"/>
              <a:gd name="connsiteY386" fmla="*/ 653620 h 1121409"/>
              <a:gd name="connsiteX387" fmla="*/ 3928106 w 4679734"/>
              <a:gd name="connsiteY387" fmla="*/ 655597 h 1121409"/>
              <a:gd name="connsiteX388" fmla="*/ 3931636 w 4679734"/>
              <a:gd name="connsiteY388" fmla="*/ 663506 h 1121409"/>
              <a:gd name="connsiteX389" fmla="*/ 3942221 w 4679734"/>
              <a:gd name="connsiteY389" fmla="*/ 668447 h 1121409"/>
              <a:gd name="connsiteX390" fmla="*/ 3962219 w 4679734"/>
              <a:gd name="connsiteY390" fmla="*/ 669436 h 1121409"/>
              <a:gd name="connsiteX391" fmla="*/ 3966923 w 4679734"/>
              <a:gd name="connsiteY391" fmla="*/ 668447 h 1121409"/>
              <a:gd name="connsiteX392" fmla="*/ 3971628 w 4679734"/>
              <a:gd name="connsiteY392" fmla="*/ 668447 h 1121409"/>
              <a:gd name="connsiteX393" fmla="*/ 3981038 w 4679734"/>
              <a:gd name="connsiteY393" fmla="*/ 671413 h 1121409"/>
              <a:gd name="connsiteX394" fmla="*/ 3992801 w 4679734"/>
              <a:gd name="connsiteY394" fmla="*/ 674378 h 1121409"/>
              <a:gd name="connsiteX395" fmla="*/ 3996330 w 4679734"/>
              <a:gd name="connsiteY395" fmla="*/ 675367 h 1121409"/>
              <a:gd name="connsiteX396" fmla="*/ 4003388 w 4679734"/>
              <a:gd name="connsiteY396" fmla="*/ 679321 h 1121409"/>
              <a:gd name="connsiteX397" fmla="*/ 4003388 w 4679734"/>
              <a:gd name="connsiteY397" fmla="*/ 680309 h 1121409"/>
              <a:gd name="connsiteX398" fmla="*/ 4002211 w 4679734"/>
              <a:gd name="connsiteY398" fmla="*/ 681298 h 1121409"/>
              <a:gd name="connsiteX399" fmla="*/ 3989272 w 4679734"/>
              <a:gd name="connsiteY399" fmla="*/ 678331 h 1121409"/>
              <a:gd name="connsiteX400" fmla="*/ 3975157 w 4679734"/>
              <a:gd name="connsiteY400" fmla="*/ 677344 h 1121409"/>
              <a:gd name="connsiteX401" fmla="*/ 3973982 w 4679734"/>
              <a:gd name="connsiteY401" fmla="*/ 678331 h 1121409"/>
              <a:gd name="connsiteX402" fmla="*/ 3966923 w 4679734"/>
              <a:gd name="connsiteY402" fmla="*/ 680309 h 1121409"/>
              <a:gd name="connsiteX403" fmla="*/ 3949279 w 4679734"/>
              <a:gd name="connsiteY403" fmla="*/ 679321 h 1121409"/>
              <a:gd name="connsiteX404" fmla="*/ 3935164 w 4679734"/>
              <a:gd name="connsiteY404" fmla="*/ 680309 h 1121409"/>
              <a:gd name="connsiteX405" fmla="*/ 3921050 w 4679734"/>
              <a:gd name="connsiteY405" fmla="*/ 680309 h 1121409"/>
              <a:gd name="connsiteX406" fmla="*/ 3913991 w 4679734"/>
              <a:gd name="connsiteY406" fmla="*/ 678331 h 1121409"/>
              <a:gd name="connsiteX407" fmla="*/ 3912816 w 4679734"/>
              <a:gd name="connsiteY407" fmla="*/ 677344 h 1121409"/>
              <a:gd name="connsiteX408" fmla="*/ 3896348 w 4679734"/>
              <a:gd name="connsiteY408" fmla="*/ 673390 h 1121409"/>
              <a:gd name="connsiteX409" fmla="*/ 3895172 w 4679734"/>
              <a:gd name="connsiteY409" fmla="*/ 673390 h 1121409"/>
              <a:gd name="connsiteX410" fmla="*/ 3890465 w 4679734"/>
              <a:gd name="connsiteY410" fmla="*/ 674378 h 1121409"/>
              <a:gd name="connsiteX411" fmla="*/ 3877528 w 4679734"/>
              <a:gd name="connsiteY411" fmla="*/ 673390 h 1121409"/>
              <a:gd name="connsiteX412" fmla="*/ 3872823 w 4679734"/>
              <a:gd name="connsiteY412" fmla="*/ 674378 h 1121409"/>
              <a:gd name="connsiteX413" fmla="*/ 3869294 w 4679734"/>
              <a:gd name="connsiteY413" fmla="*/ 674378 h 1121409"/>
              <a:gd name="connsiteX414" fmla="*/ 3857531 w 4679734"/>
              <a:gd name="connsiteY414" fmla="*/ 673390 h 1121409"/>
              <a:gd name="connsiteX415" fmla="*/ 3842241 w 4679734"/>
              <a:gd name="connsiteY415" fmla="*/ 671413 h 1121409"/>
              <a:gd name="connsiteX416" fmla="*/ 3835182 w 4679734"/>
              <a:gd name="connsiteY416" fmla="*/ 670425 h 1121409"/>
              <a:gd name="connsiteX417" fmla="*/ 3834006 w 4679734"/>
              <a:gd name="connsiteY417" fmla="*/ 671413 h 1121409"/>
              <a:gd name="connsiteX418" fmla="*/ 3822243 w 4679734"/>
              <a:gd name="connsiteY418" fmla="*/ 675367 h 1121409"/>
              <a:gd name="connsiteX419" fmla="*/ 3808128 w 4679734"/>
              <a:gd name="connsiteY419" fmla="*/ 674378 h 1121409"/>
              <a:gd name="connsiteX420" fmla="*/ 3803425 w 4679734"/>
              <a:gd name="connsiteY420" fmla="*/ 672401 h 1121409"/>
              <a:gd name="connsiteX421" fmla="*/ 3792838 w 4679734"/>
              <a:gd name="connsiteY421" fmla="*/ 671413 h 1121409"/>
              <a:gd name="connsiteX422" fmla="*/ 3784602 w 4679734"/>
              <a:gd name="connsiteY422" fmla="*/ 671413 h 1121409"/>
              <a:gd name="connsiteX423" fmla="*/ 3775194 w 4679734"/>
              <a:gd name="connsiteY423" fmla="*/ 671413 h 1121409"/>
              <a:gd name="connsiteX424" fmla="*/ 3764607 w 4679734"/>
              <a:gd name="connsiteY424" fmla="*/ 671413 h 1121409"/>
              <a:gd name="connsiteX425" fmla="*/ 3762255 w 4679734"/>
              <a:gd name="connsiteY425" fmla="*/ 670425 h 1121409"/>
              <a:gd name="connsiteX426" fmla="*/ 3759902 w 4679734"/>
              <a:gd name="connsiteY426" fmla="*/ 672401 h 1121409"/>
              <a:gd name="connsiteX427" fmla="*/ 3757550 w 4679734"/>
              <a:gd name="connsiteY427" fmla="*/ 674378 h 1121409"/>
              <a:gd name="connsiteX428" fmla="*/ 3759902 w 4679734"/>
              <a:gd name="connsiteY428" fmla="*/ 678331 h 1121409"/>
              <a:gd name="connsiteX429" fmla="*/ 3779899 w 4679734"/>
              <a:gd name="connsiteY429" fmla="*/ 679321 h 1121409"/>
              <a:gd name="connsiteX430" fmla="*/ 3786957 w 4679734"/>
              <a:gd name="connsiteY430" fmla="*/ 681298 h 1121409"/>
              <a:gd name="connsiteX431" fmla="*/ 3791662 w 4679734"/>
              <a:gd name="connsiteY431" fmla="*/ 682286 h 1121409"/>
              <a:gd name="connsiteX432" fmla="*/ 3819891 w 4679734"/>
              <a:gd name="connsiteY432" fmla="*/ 684262 h 1121409"/>
              <a:gd name="connsiteX433" fmla="*/ 3837534 w 4679734"/>
              <a:gd name="connsiteY433" fmla="*/ 687228 h 1121409"/>
              <a:gd name="connsiteX434" fmla="*/ 3841064 w 4679734"/>
              <a:gd name="connsiteY434" fmla="*/ 686240 h 1121409"/>
              <a:gd name="connsiteX435" fmla="*/ 3852826 w 4679734"/>
              <a:gd name="connsiteY435" fmla="*/ 686240 h 1121409"/>
              <a:gd name="connsiteX436" fmla="*/ 3864589 w 4679734"/>
              <a:gd name="connsiteY436" fmla="*/ 693159 h 1121409"/>
              <a:gd name="connsiteX437" fmla="*/ 3870470 w 4679734"/>
              <a:gd name="connsiteY437" fmla="*/ 693159 h 1121409"/>
              <a:gd name="connsiteX438" fmla="*/ 3875175 w 4679734"/>
              <a:gd name="connsiteY438" fmla="*/ 694147 h 1121409"/>
              <a:gd name="connsiteX439" fmla="*/ 3884585 w 4679734"/>
              <a:gd name="connsiteY439" fmla="*/ 695137 h 1121409"/>
              <a:gd name="connsiteX440" fmla="*/ 3890465 w 4679734"/>
              <a:gd name="connsiteY440" fmla="*/ 696124 h 1121409"/>
              <a:gd name="connsiteX441" fmla="*/ 3893996 w 4679734"/>
              <a:gd name="connsiteY441" fmla="*/ 696124 h 1121409"/>
              <a:gd name="connsiteX442" fmla="*/ 3905758 w 4679734"/>
              <a:gd name="connsiteY442" fmla="*/ 694147 h 1121409"/>
              <a:gd name="connsiteX443" fmla="*/ 3919874 w 4679734"/>
              <a:gd name="connsiteY443" fmla="*/ 695137 h 1121409"/>
              <a:gd name="connsiteX444" fmla="*/ 3924579 w 4679734"/>
              <a:gd name="connsiteY444" fmla="*/ 697113 h 1121409"/>
              <a:gd name="connsiteX445" fmla="*/ 3928106 w 4679734"/>
              <a:gd name="connsiteY445" fmla="*/ 697113 h 1121409"/>
              <a:gd name="connsiteX446" fmla="*/ 3939869 w 4679734"/>
              <a:gd name="connsiteY446" fmla="*/ 698102 h 1121409"/>
              <a:gd name="connsiteX447" fmla="*/ 3945752 w 4679734"/>
              <a:gd name="connsiteY447" fmla="*/ 698102 h 1121409"/>
              <a:gd name="connsiteX448" fmla="*/ 3953984 w 4679734"/>
              <a:gd name="connsiteY448" fmla="*/ 699090 h 1121409"/>
              <a:gd name="connsiteX449" fmla="*/ 3957513 w 4679734"/>
              <a:gd name="connsiteY449" fmla="*/ 700078 h 1121409"/>
              <a:gd name="connsiteX450" fmla="*/ 3964570 w 4679734"/>
              <a:gd name="connsiteY450" fmla="*/ 701067 h 1121409"/>
              <a:gd name="connsiteX451" fmla="*/ 3972805 w 4679734"/>
              <a:gd name="connsiteY451" fmla="*/ 699090 h 1121409"/>
              <a:gd name="connsiteX452" fmla="*/ 3981038 w 4679734"/>
              <a:gd name="connsiteY452" fmla="*/ 700078 h 1121409"/>
              <a:gd name="connsiteX453" fmla="*/ 3986920 w 4679734"/>
              <a:gd name="connsiteY453" fmla="*/ 703044 h 1121409"/>
              <a:gd name="connsiteX454" fmla="*/ 3996330 w 4679734"/>
              <a:gd name="connsiteY454" fmla="*/ 706009 h 1121409"/>
              <a:gd name="connsiteX455" fmla="*/ 3999858 w 4679734"/>
              <a:gd name="connsiteY455" fmla="*/ 706998 h 1121409"/>
              <a:gd name="connsiteX456" fmla="*/ 4015150 w 4679734"/>
              <a:gd name="connsiteY456" fmla="*/ 709963 h 1121409"/>
              <a:gd name="connsiteX457" fmla="*/ 4031616 w 4679734"/>
              <a:gd name="connsiteY457" fmla="*/ 710951 h 1121409"/>
              <a:gd name="connsiteX458" fmla="*/ 4036322 w 4679734"/>
              <a:gd name="connsiteY458" fmla="*/ 711940 h 1121409"/>
              <a:gd name="connsiteX459" fmla="*/ 4051614 w 4679734"/>
              <a:gd name="connsiteY459" fmla="*/ 714906 h 1121409"/>
              <a:gd name="connsiteX460" fmla="*/ 4058670 w 4679734"/>
              <a:gd name="connsiteY460" fmla="*/ 718858 h 1121409"/>
              <a:gd name="connsiteX461" fmla="*/ 4057494 w 4679734"/>
              <a:gd name="connsiteY461" fmla="*/ 719848 h 1121409"/>
              <a:gd name="connsiteX462" fmla="*/ 4056320 w 4679734"/>
              <a:gd name="connsiteY462" fmla="*/ 720835 h 1121409"/>
              <a:gd name="connsiteX463" fmla="*/ 4021031 w 4679734"/>
              <a:gd name="connsiteY463" fmla="*/ 718858 h 1121409"/>
              <a:gd name="connsiteX464" fmla="*/ 4016326 w 4679734"/>
              <a:gd name="connsiteY464" fmla="*/ 716882 h 1121409"/>
              <a:gd name="connsiteX465" fmla="*/ 4006916 w 4679734"/>
              <a:gd name="connsiteY465" fmla="*/ 716882 h 1121409"/>
              <a:gd name="connsiteX466" fmla="*/ 3998683 w 4679734"/>
              <a:gd name="connsiteY466" fmla="*/ 715893 h 1121409"/>
              <a:gd name="connsiteX467" fmla="*/ 3993976 w 4679734"/>
              <a:gd name="connsiteY467" fmla="*/ 715893 h 1121409"/>
              <a:gd name="connsiteX468" fmla="*/ 3985743 w 4679734"/>
              <a:gd name="connsiteY468" fmla="*/ 717871 h 1121409"/>
              <a:gd name="connsiteX469" fmla="*/ 3984567 w 4679734"/>
              <a:gd name="connsiteY469" fmla="*/ 721824 h 1121409"/>
              <a:gd name="connsiteX470" fmla="*/ 3984567 w 4679734"/>
              <a:gd name="connsiteY470" fmla="*/ 722813 h 1121409"/>
              <a:gd name="connsiteX471" fmla="*/ 3981038 w 4679734"/>
              <a:gd name="connsiteY471" fmla="*/ 723802 h 1121409"/>
              <a:gd name="connsiteX472" fmla="*/ 3975157 w 4679734"/>
              <a:gd name="connsiteY472" fmla="*/ 716882 h 1121409"/>
              <a:gd name="connsiteX473" fmla="*/ 3971628 w 4679734"/>
              <a:gd name="connsiteY473" fmla="*/ 713917 h 1121409"/>
              <a:gd name="connsiteX474" fmla="*/ 3969275 w 4679734"/>
              <a:gd name="connsiteY474" fmla="*/ 713917 h 1121409"/>
              <a:gd name="connsiteX475" fmla="*/ 3964570 w 4679734"/>
              <a:gd name="connsiteY475" fmla="*/ 709963 h 1121409"/>
              <a:gd name="connsiteX476" fmla="*/ 3961042 w 4679734"/>
              <a:gd name="connsiteY476" fmla="*/ 708975 h 1121409"/>
              <a:gd name="connsiteX477" fmla="*/ 3951632 w 4679734"/>
              <a:gd name="connsiteY477" fmla="*/ 712929 h 1121409"/>
              <a:gd name="connsiteX478" fmla="*/ 3944574 w 4679734"/>
              <a:gd name="connsiteY478" fmla="*/ 716882 h 1121409"/>
              <a:gd name="connsiteX479" fmla="*/ 3942221 w 4679734"/>
              <a:gd name="connsiteY479" fmla="*/ 715893 h 1121409"/>
              <a:gd name="connsiteX480" fmla="*/ 3936341 w 4679734"/>
              <a:gd name="connsiteY480" fmla="*/ 712929 h 1121409"/>
              <a:gd name="connsiteX481" fmla="*/ 3930459 w 4679734"/>
              <a:gd name="connsiteY481" fmla="*/ 714906 h 1121409"/>
              <a:gd name="connsiteX482" fmla="*/ 3919874 w 4679734"/>
              <a:gd name="connsiteY482" fmla="*/ 716882 h 1121409"/>
              <a:gd name="connsiteX483" fmla="*/ 3910463 w 4679734"/>
              <a:gd name="connsiteY483" fmla="*/ 715893 h 1121409"/>
              <a:gd name="connsiteX484" fmla="*/ 3893996 w 4679734"/>
              <a:gd name="connsiteY484" fmla="*/ 719848 h 1121409"/>
              <a:gd name="connsiteX485" fmla="*/ 3889290 w 4679734"/>
              <a:gd name="connsiteY485" fmla="*/ 720835 h 1121409"/>
              <a:gd name="connsiteX486" fmla="*/ 3884585 w 4679734"/>
              <a:gd name="connsiteY486" fmla="*/ 721824 h 1121409"/>
              <a:gd name="connsiteX487" fmla="*/ 3868118 w 4679734"/>
              <a:gd name="connsiteY487" fmla="*/ 730720 h 1121409"/>
              <a:gd name="connsiteX488" fmla="*/ 3863412 w 4679734"/>
              <a:gd name="connsiteY488" fmla="*/ 730720 h 1121409"/>
              <a:gd name="connsiteX489" fmla="*/ 3855179 w 4679734"/>
              <a:gd name="connsiteY489" fmla="*/ 729733 h 1121409"/>
              <a:gd name="connsiteX490" fmla="*/ 3843416 w 4679734"/>
              <a:gd name="connsiteY490" fmla="*/ 728744 h 1121409"/>
              <a:gd name="connsiteX491" fmla="*/ 3835182 w 4679734"/>
              <a:gd name="connsiteY491" fmla="*/ 727755 h 1121409"/>
              <a:gd name="connsiteX492" fmla="*/ 3825773 w 4679734"/>
              <a:gd name="connsiteY492" fmla="*/ 726766 h 1121409"/>
              <a:gd name="connsiteX493" fmla="*/ 3821068 w 4679734"/>
              <a:gd name="connsiteY493" fmla="*/ 726766 h 1121409"/>
              <a:gd name="connsiteX494" fmla="*/ 3814011 w 4679734"/>
              <a:gd name="connsiteY494" fmla="*/ 728744 h 1121409"/>
              <a:gd name="connsiteX495" fmla="*/ 3798718 w 4679734"/>
              <a:gd name="connsiteY495" fmla="*/ 730720 h 1121409"/>
              <a:gd name="connsiteX496" fmla="*/ 3783428 w 4679734"/>
              <a:gd name="connsiteY496" fmla="*/ 732697 h 1121409"/>
              <a:gd name="connsiteX497" fmla="*/ 3775194 w 4679734"/>
              <a:gd name="connsiteY497" fmla="*/ 734674 h 1121409"/>
              <a:gd name="connsiteX498" fmla="*/ 3765784 w 4679734"/>
              <a:gd name="connsiteY498" fmla="*/ 734674 h 1121409"/>
              <a:gd name="connsiteX499" fmla="*/ 3757550 w 4679734"/>
              <a:gd name="connsiteY499" fmla="*/ 745548 h 1121409"/>
              <a:gd name="connsiteX500" fmla="*/ 3759902 w 4679734"/>
              <a:gd name="connsiteY500" fmla="*/ 748513 h 1121409"/>
              <a:gd name="connsiteX501" fmla="*/ 3758726 w 4679734"/>
              <a:gd name="connsiteY501" fmla="*/ 752467 h 1121409"/>
              <a:gd name="connsiteX502" fmla="*/ 3748139 w 4679734"/>
              <a:gd name="connsiteY502" fmla="*/ 754444 h 1121409"/>
              <a:gd name="connsiteX503" fmla="*/ 3745787 w 4679734"/>
              <a:gd name="connsiteY503" fmla="*/ 753455 h 1121409"/>
              <a:gd name="connsiteX504" fmla="*/ 3737553 w 4679734"/>
              <a:gd name="connsiteY504" fmla="*/ 752467 h 1121409"/>
              <a:gd name="connsiteX505" fmla="*/ 3729319 w 4679734"/>
              <a:gd name="connsiteY505" fmla="*/ 754444 h 1121409"/>
              <a:gd name="connsiteX506" fmla="*/ 3708148 w 4679734"/>
              <a:gd name="connsiteY506" fmla="*/ 753455 h 1121409"/>
              <a:gd name="connsiteX507" fmla="*/ 3698738 w 4679734"/>
              <a:gd name="connsiteY507" fmla="*/ 756420 h 1121409"/>
              <a:gd name="connsiteX508" fmla="*/ 3689327 w 4679734"/>
              <a:gd name="connsiteY508" fmla="*/ 759386 h 1121409"/>
              <a:gd name="connsiteX509" fmla="*/ 3679917 w 4679734"/>
              <a:gd name="connsiteY509" fmla="*/ 762351 h 1121409"/>
              <a:gd name="connsiteX510" fmla="*/ 3671684 w 4679734"/>
              <a:gd name="connsiteY510" fmla="*/ 764328 h 1121409"/>
              <a:gd name="connsiteX511" fmla="*/ 3630515 w 4679734"/>
              <a:gd name="connsiteY511" fmla="*/ 762351 h 1121409"/>
              <a:gd name="connsiteX512" fmla="*/ 3623456 w 4679734"/>
              <a:gd name="connsiteY512" fmla="*/ 763341 h 1121409"/>
              <a:gd name="connsiteX513" fmla="*/ 3622280 w 4679734"/>
              <a:gd name="connsiteY513" fmla="*/ 763341 h 1121409"/>
              <a:gd name="connsiteX514" fmla="*/ 3610517 w 4679734"/>
              <a:gd name="connsiteY514" fmla="*/ 760375 h 1121409"/>
              <a:gd name="connsiteX515" fmla="*/ 3602284 w 4679734"/>
              <a:gd name="connsiteY515" fmla="*/ 762351 h 1121409"/>
              <a:gd name="connsiteX516" fmla="*/ 3598755 w 4679734"/>
              <a:gd name="connsiteY516" fmla="*/ 763341 h 1121409"/>
              <a:gd name="connsiteX517" fmla="*/ 3588169 w 4679734"/>
              <a:gd name="connsiteY517" fmla="*/ 763341 h 1121409"/>
              <a:gd name="connsiteX518" fmla="*/ 3585817 w 4679734"/>
              <a:gd name="connsiteY518" fmla="*/ 765316 h 1121409"/>
              <a:gd name="connsiteX519" fmla="*/ 3586992 w 4679734"/>
              <a:gd name="connsiteY519" fmla="*/ 766306 h 1121409"/>
              <a:gd name="connsiteX520" fmla="*/ 3614046 w 4679734"/>
              <a:gd name="connsiteY520" fmla="*/ 768282 h 1121409"/>
              <a:gd name="connsiteX521" fmla="*/ 3622280 w 4679734"/>
              <a:gd name="connsiteY521" fmla="*/ 771247 h 1121409"/>
              <a:gd name="connsiteX522" fmla="*/ 3623456 w 4679734"/>
              <a:gd name="connsiteY522" fmla="*/ 772236 h 1121409"/>
              <a:gd name="connsiteX523" fmla="*/ 3635219 w 4679734"/>
              <a:gd name="connsiteY523" fmla="*/ 771247 h 1121409"/>
              <a:gd name="connsiteX524" fmla="*/ 3639924 w 4679734"/>
              <a:gd name="connsiteY524" fmla="*/ 771247 h 1121409"/>
              <a:gd name="connsiteX525" fmla="*/ 3650511 w 4679734"/>
              <a:gd name="connsiteY525" fmla="*/ 777178 h 1121409"/>
              <a:gd name="connsiteX526" fmla="*/ 3649334 w 4679734"/>
              <a:gd name="connsiteY526" fmla="*/ 780144 h 1121409"/>
              <a:gd name="connsiteX527" fmla="*/ 3644630 w 4679734"/>
              <a:gd name="connsiteY527" fmla="*/ 782121 h 1121409"/>
              <a:gd name="connsiteX528" fmla="*/ 3636395 w 4679734"/>
              <a:gd name="connsiteY528" fmla="*/ 784098 h 1121409"/>
              <a:gd name="connsiteX529" fmla="*/ 3632867 w 4679734"/>
              <a:gd name="connsiteY529" fmla="*/ 783109 h 1121409"/>
              <a:gd name="connsiteX530" fmla="*/ 3628161 w 4679734"/>
              <a:gd name="connsiteY530" fmla="*/ 781131 h 1121409"/>
              <a:gd name="connsiteX531" fmla="*/ 3611693 w 4679734"/>
              <a:gd name="connsiteY531" fmla="*/ 780144 h 1121409"/>
              <a:gd name="connsiteX532" fmla="*/ 3606989 w 4679734"/>
              <a:gd name="connsiteY532" fmla="*/ 782121 h 1121409"/>
              <a:gd name="connsiteX533" fmla="*/ 3595227 w 4679734"/>
              <a:gd name="connsiteY533" fmla="*/ 785086 h 1121409"/>
              <a:gd name="connsiteX534" fmla="*/ 3586992 w 4679734"/>
              <a:gd name="connsiteY534" fmla="*/ 785086 h 1121409"/>
              <a:gd name="connsiteX535" fmla="*/ 3574054 w 4679734"/>
              <a:gd name="connsiteY535" fmla="*/ 785086 h 1121409"/>
              <a:gd name="connsiteX536" fmla="*/ 3568173 w 4679734"/>
              <a:gd name="connsiteY536" fmla="*/ 783109 h 1121409"/>
              <a:gd name="connsiteX537" fmla="*/ 3564644 w 4679734"/>
              <a:gd name="connsiteY537" fmla="*/ 782121 h 1121409"/>
              <a:gd name="connsiteX538" fmla="*/ 3549353 w 4679734"/>
              <a:gd name="connsiteY538" fmla="*/ 783109 h 1121409"/>
              <a:gd name="connsiteX539" fmla="*/ 3541119 w 4679734"/>
              <a:gd name="connsiteY539" fmla="*/ 783109 h 1121409"/>
              <a:gd name="connsiteX540" fmla="*/ 3532885 w 4679734"/>
              <a:gd name="connsiteY540" fmla="*/ 785086 h 1121409"/>
              <a:gd name="connsiteX541" fmla="*/ 3529356 w 4679734"/>
              <a:gd name="connsiteY541" fmla="*/ 784098 h 1121409"/>
              <a:gd name="connsiteX542" fmla="*/ 3518770 w 4679734"/>
              <a:gd name="connsiteY542" fmla="*/ 782121 h 1121409"/>
              <a:gd name="connsiteX543" fmla="*/ 3511712 w 4679734"/>
              <a:gd name="connsiteY543" fmla="*/ 783109 h 1121409"/>
              <a:gd name="connsiteX544" fmla="*/ 3507007 w 4679734"/>
              <a:gd name="connsiteY544" fmla="*/ 781131 h 1121409"/>
              <a:gd name="connsiteX545" fmla="*/ 3499949 w 4679734"/>
              <a:gd name="connsiteY545" fmla="*/ 782121 h 1121409"/>
              <a:gd name="connsiteX546" fmla="*/ 3488187 w 4679734"/>
              <a:gd name="connsiteY546" fmla="*/ 781131 h 1121409"/>
              <a:gd name="connsiteX547" fmla="*/ 3476424 w 4679734"/>
              <a:gd name="connsiteY547" fmla="*/ 782121 h 1121409"/>
              <a:gd name="connsiteX548" fmla="*/ 3464661 w 4679734"/>
              <a:gd name="connsiteY548" fmla="*/ 785086 h 1121409"/>
              <a:gd name="connsiteX549" fmla="*/ 3448195 w 4679734"/>
              <a:gd name="connsiteY549" fmla="*/ 784098 h 1121409"/>
              <a:gd name="connsiteX550" fmla="*/ 3443490 w 4679734"/>
              <a:gd name="connsiteY550" fmla="*/ 782121 h 1121409"/>
              <a:gd name="connsiteX551" fmla="*/ 3442313 w 4679734"/>
              <a:gd name="connsiteY551" fmla="*/ 782121 h 1121409"/>
              <a:gd name="connsiteX552" fmla="*/ 3447018 w 4679734"/>
              <a:gd name="connsiteY552" fmla="*/ 786075 h 1121409"/>
              <a:gd name="connsiteX553" fmla="*/ 3454076 w 4679734"/>
              <a:gd name="connsiteY553" fmla="*/ 789040 h 1121409"/>
              <a:gd name="connsiteX554" fmla="*/ 3454076 w 4679734"/>
              <a:gd name="connsiteY554" fmla="*/ 797937 h 1121409"/>
              <a:gd name="connsiteX555" fmla="*/ 3447018 w 4679734"/>
              <a:gd name="connsiteY555" fmla="*/ 799912 h 1121409"/>
              <a:gd name="connsiteX556" fmla="*/ 3439961 w 4679734"/>
              <a:gd name="connsiteY556" fmla="*/ 796947 h 1121409"/>
              <a:gd name="connsiteX557" fmla="*/ 3431727 w 4679734"/>
              <a:gd name="connsiteY557" fmla="*/ 801890 h 1121409"/>
              <a:gd name="connsiteX558" fmla="*/ 3436432 w 4679734"/>
              <a:gd name="connsiteY558" fmla="*/ 810786 h 1121409"/>
              <a:gd name="connsiteX559" fmla="*/ 3447018 w 4679734"/>
              <a:gd name="connsiteY559" fmla="*/ 811774 h 1121409"/>
              <a:gd name="connsiteX560" fmla="*/ 3448195 w 4679734"/>
              <a:gd name="connsiteY560" fmla="*/ 812763 h 1121409"/>
              <a:gd name="connsiteX561" fmla="*/ 3471719 w 4679734"/>
              <a:gd name="connsiteY561" fmla="*/ 813752 h 1121409"/>
              <a:gd name="connsiteX562" fmla="*/ 3479953 w 4679734"/>
              <a:gd name="connsiteY562" fmla="*/ 813752 h 1121409"/>
              <a:gd name="connsiteX563" fmla="*/ 3494068 w 4679734"/>
              <a:gd name="connsiteY563" fmla="*/ 819682 h 1121409"/>
              <a:gd name="connsiteX564" fmla="*/ 3423493 w 4679734"/>
              <a:gd name="connsiteY564" fmla="*/ 817705 h 1121409"/>
              <a:gd name="connsiteX565" fmla="*/ 3422317 w 4679734"/>
              <a:gd name="connsiteY565" fmla="*/ 817705 h 1121409"/>
              <a:gd name="connsiteX566" fmla="*/ 3401144 w 4679734"/>
              <a:gd name="connsiteY566" fmla="*/ 816717 h 1121409"/>
              <a:gd name="connsiteX567" fmla="*/ 3398791 w 4679734"/>
              <a:gd name="connsiteY567" fmla="*/ 816717 h 1121409"/>
              <a:gd name="connsiteX568" fmla="*/ 3382324 w 4679734"/>
              <a:gd name="connsiteY568" fmla="*/ 815728 h 1121409"/>
              <a:gd name="connsiteX569" fmla="*/ 3374090 w 4679734"/>
              <a:gd name="connsiteY569" fmla="*/ 816717 h 1121409"/>
              <a:gd name="connsiteX570" fmla="*/ 3369385 w 4679734"/>
              <a:gd name="connsiteY570" fmla="*/ 817705 h 1121409"/>
              <a:gd name="connsiteX571" fmla="*/ 3356447 w 4679734"/>
              <a:gd name="connsiteY571" fmla="*/ 821659 h 1121409"/>
              <a:gd name="connsiteX572" fmla="*/ 3347035 w 4679734"/>
              <a:gd name="connsiteY572" fmla="*/ 825613 h 1121409"/>
              <a:gd name="connsiteX573" fmla="*/ 3335273 w 4679734"/>
              <a:gd name="connsiteY573" fmla="*/ 827589 h 1121409"/>
              <a:gd name="connsiteX574" fmla="*/ 3331745 w 4679734"/>
              <a:gd name="connsiteY574" fmla="*/ 826602 h 1121409"/>
              <a:gd name="connsiteX575" fmla="*/ 3329392 w 4679734"/>
              <a:gd name="connsiteY575" fmla="*/ 825613 h 1121409"/>
              <a:gd name="connsiteX576" fmla="*/ 3315277 w 4679734"/>
              <a:gd name="connsiteY576" fmla="*/ 826602 h 1121409"/>
              <a:gd name="connsiteX577" fmla="*/ 3309396 w 4679734"/>
              <a:gd name="connsiteY577" fmla="*/ 828579 h 1121409"/>
              <a:gd name="connsiteX578" fmla="*/ 3302339 w 4679734"/>
              <a:gd name="connsiteY578" fmla="*/ 835497 h 1121409"/>
              <a:gd name="connsiteX579" fmla="*/ 3284694 w 4679734"/>
              <a:gd name="connsiteY579" fmla="*/ 857244 h 1121409"/>
              <a:gd name="connsiteX580" fmla="*/ 3264698 w 4679734"/>
              <a:gd name="connsiteY580" fmla="*/ 874047 h 1121409"/>
              <a:gd name="connsiteX581" fmla="*/ 3248232 w 4679734"/>
              <a:gd name="connsiteY581" fmla="*/ 886898 h 1121409"/>
              <a:gd name="connsiteX582" fmla="*/ 3237644 w 4679734"/>
              <a:gd name="connsiteY582" fmla="*/ 890852 h 1121409"/>
              <a:gd name="connsiteX583" fmla="*/ 3229410 w 4679734"/>
              <a:gd name="connsiteY583" fmla="*/ 890852 h 1121409"/>
              <a:gd name="connsiteX584" fmla="*/ 3184713 w 4679734"/>
              <a:gd name="connsiteY584" fmla="*/ 906666 h 1121409"/>
              <a:gd name="connsiteX585" fmla="*/ 3170598 w 4679734"/>
              <a:gd name="connsiteY585" fmla="*/ 911609 h 1121409"/>
              <a:gd name="connsiteX586" fmla="*/ 3163540 w 4679734"/>
              <a:gd name="connsiteY586" fmla="*/ 913586 h 1121409"/>
              <a:gd name="connsiteX587" fmla="*/ 3122371 w 4679734"/>
              <a:gd name="connsiteY587" fmla="*/ 933355 h 1121409"/>
              <a:gd name="connsiteX588" fmla="*/ 3118844 w 4679734"/>
              <a:gd name="connsiteY588" fmla="*/ 935333 h 1121409"/>
              <a:gd name="connsiteX589" fmla="*/ 3208239 w 4679734"/>
              <a:gd name="connsiteY589" fmla="*/ 977837 h 1121409"/>
              <a:gd name="connsiteX590" fmla="*/ 3174127 w 4679734"/>
              <a:gd name="connsiteY590" fmla="*/ 984755 h 1121409"/>
              <a:gd name="connsiteX591" fmla="*/ 3158835 w 4679734"/>
              <a:gd name="connsiteY591" fmla="*/ 988709 h 1121409"/>
              <a:gd name="connsiteX592" fmla="*/ 3148249 w 4679734"/>
              <a:gd name="connsiteY592" fmla="*/ 991675 h 1121409"/>
              <a:gd name="connsiteX593" fmla="*/ 3128252 w 4679734"/>
              <a:gd name="connsiteY593" fmla="*/ 991675 h 1121409"/>
              <a:gd name="connsiteX594" fmla="*/ 3109433 w 4679734"/>
              <a:gd name="connsiteY594" fmla="*/ 995629 h 1121409"/>
              <a:gd name="connsiteX595" fmla="*/ 3098846 w 4679734"/>
              <a:gd name="connsiteY595" fmla="*/ 999582 h 1121409"/>
              <a:gd name="connsiteX596" fmla="*/ 3084730 w 4679734"/>
              <a:gd name="connsiteY596" fmla="*/ 999582 h 1121409"/>
              <a:gd name="connsiteX597" fmla="*/ 3077674 w 4679734"/>
              <a:gd name="connsiteY597" fmla="*/ 998593 h 1121409"/>
              <a:gd name="connsiteX598" fmla="*/ 3051796 w 4679734"/>
              <a:gd name="connsiteY598" fmla="*/ 1003536 h 1121409"/>
              <a:gd name="connsiteX599" fmla="*/ 2956520 w 4679734"/>
              <a:gd name="connsiteY599" fmla="*/ 1003536 h 1121409"/>
              <a:gd name="connsiteX600" fmla="*/ 2761262 w 4679734"/>
              <a:gd name="connsiteY600" fmla="*/ 1003536 h 1121409"/>
              <a:gd name="connsiteX601" fmla="*/ 2745969 w 4679734"/>
              <a:gd name="connsiteY601" fmla="*/ 1000571 h 1121409"/>
              <a:gd name="connsiteX602" fmla="*/ 2738913 w 4679734"/>
              <a:gd name="connsiteY602" fmla="*/ 1000571 h 1121409"/>
              <a:gd name="connsiteX603" fmla="*/ 2728326 w 4679734"/>
              <a:gd name="connsiteY603" fmla="*/ 1003536 h 1121409"/>
              <a:gd name="connsiteX604" fmla="*/ 2684804 w 4679734"/>
              <a:gd name="connsiteY604" fmla="*/ 1003536 h 1121409"/>
              <a:gd name="connsiteX605" fmla="*/ 2677746 w 4679734"/>
              <a:gd name="connsiteY605" fmla="*/ 1001558 h 1121409"/>
              <a:gd name="connsiteX606" fmla="*/ 2658926 w 4679734"/>
              <a:gd name="connsiteY606" fmla="*/ 997605 h 1121409"/>
              <a:gd name="connsiteX607" fmla="*/ 2551888 w 4679734"/>
              <a:gd name="connsiteY607" fmla="*/ 996617 h 1121409"/>
              <a:gd name="connsiteX608" fmla="*/ 2528363 w 4679734"/>
              <a:gd name="connsiteY608" fmla="*/ 996617 h 1121409"/>
              <a:gd name="connsiteX609" fmla="*/ 2506012 w 4679734"/>
              <a:gd name="connsiteY609" fmla="*/ 992663 h 1121409"/>
              <a:gd name="connsiteX610" fmla="*/ 2490722 w 4679734"/>
              <a:gd name="connsiteY610" fmla="*/ 990686 h 1121409"/>
              <a:gd name="connsiteX611" fmla="*/ 2363686 w 4679734"/>
              <a:gd name="connsiteY611" fmla="*/ 989698 h 1121409"/>
              <a:gd name="connsiteX612" fmla="*/ 2351924 w 4679734"/>
              <a:gd name="connsiteY612" fmla="*/ 987720 h 1121409"/>
              <a:gd name="connsiteX613" fmla="*/ 2336632 w 4679734"/>
              <a:gd name="connsiteY613" fmla="*/ 983768 h 1121409"/>
              <a:gd name="connsiteX614" fmla="*/ 2301346 w 4679734"/>
              <a:gd name="connsiteY614" fmla="*/ 982778 h 1121409"/>
              <a:gd name="connsiteX615" fmla="*/ 2257823 w 4679734"/>
              <a:gd name="connsiteY615" fmla="*/ 982778 h 1121409"/>
              <a:gd name="connsiteX616" fmla="*/ 2227241 w 4679734"/>
              <a:gd name="connsiteY616" fmla="*/ 977837 h 1121409"/>
              <a:gd name="connsiteX617" fmla="*/ 2220183 w 4679734"/>
              <a:gd name="connsiteY617" fmla="*/ 976847 h 1121409"/>
              <a:gd name="connsiteX618" fmla="*/ 2191953 w 4679734"/>
              <a:gd name="connsiteY618" fmla="*/ 976847 h 1121409"/>
              <a:gd name="connsiteX619" fmla="*/ 2181368 w 4679734"/>
              <a:gd name="connsiteY619" fmla="*/ 980802 h 1121409"/>
              <a:gd name="connsiteX620" fmla="*/ 2180190 w 4679734"/>
              <a:gd name="connsiteY620" fmla="*/ 990686 h 1121409"/>
              <a:gd name="connsiteX621" fmla="*/ 2188424 w 4679734"/>
              <a:gd name="connsiteY621" fmla="*/ 997605 h 1121409"/>
              <a:gd name="connsiteX622" fmla="*/ 2189600 w 4679734"/>
              <a:gd name="connsiteY622" fmla="*/ 1000571 h 1121409"/>
              <a:gd name="connsiteX623" fmla="*/ 2186073 w 4679734"/>
              <a:gd name="connsiteY623" fmla="*/ 1002548 h 1121409"/>
              <a:gd name="connsiteX624" fmla="*/ 2167253 w 4679734"/>
              <a:gd name="connsiteY624" fmla="*/ 1006502 h 1121409"/>
              <a:gd name="connsiteX625" fmla="*/ 2160195 w 4679734"/>
              <a:gd name="connsiteY625" fmla="*/ 1007489 h 1121409"/>
              <a:gd name="connsiteX626" fmla="*/ 2139022 w 4679734"/>
              <a:gd name="connsiteY626" fmla="*/ 998593 h 1121409"/>
              <a:gd name="connsiteX627" fmla="*/ 2128434 w 4679734"/>
              <a:gd name="connsiteY627" fmla="*/ 999582 h 1121409"/>
              <a:gd name="connsiteX628" fmla="*/ 2095500 w 4679734"/>
              <a:gd name="connsiteY628" fmla="*/ 999582 h 1121409"/>
              <a:gd name="connsiteX629" fmla="*/ 2084913 w 4679734"/>
              <a:gd name="connsiteY629" fmla="*/ 997605 h 1121409"/>
              <a:gd name="connsiteX630" fmla="*/ 2080210 w 4679734"/>
              <a:gd name="connsiteY630" fmla="*/ 1002548 h 1121409"/>
              <a:gd name="connsiteX631" fmla="*/ 2082561 w 4679734"/>
              <a:gd name="connsiteY631" fmla="*/ 1008479 h 1121409"/>
              <a:gd name="connsiteX632" fmla="*/ 2086090 w 4679734"/>
              <a:gd name="connsiteY632" fmla="*/ 1009467 h 1121409"/>
              <a:gd name="connsiteX633" fmla="*/ 2101381 w 4679734"/>
              <a:gd name="connsiteY633" fmla="*/ 1009467 h 1121409"/>
              <a:gd name="connsiteX634" fmla="*/ 2139022 w 4679734"/>
              <a:gd name="connsiteY634" fmla="*/ 1023305 h 1121409"/>
              <a:gd name="connsiteX635" fmla="*/ 2141374 w 4679734"/>
              <a:gd name="connsiteY635" fmla="*/ 1026271 h 1121409"/>
              <a:gd name="connsiteX636" fmla="*/ 2135492 w 4679734"/>
              <a:gd name="connsiteY636" fmla="*/ 1029236 h 1121409"/>
              <a:gd name="connsiteX637" fmla="*/ 2115496 w 4679734"/>
              <a:gd name="connsiteY637" fmla="*/ 1030225 h 1121409"/>
              <a:gd name="connsiteX638" fmla="*/ 2084913 w 4679734"/>
              <a:gd name="connsiteY638" fmla="*/ 1036156 h 1121409"/>
              <a:gd name="connsiteX639" fmla="*/ 2066094 w 4679734"/>
              <a:gd name="connsiteY639" fmla="*/ 1031213 h 1121409"/>
              <a:gd name="connsiteX640" fmla="*/ 2030806 w 4679734"/>
              <a:gd name="connsiteY640" fmla="*/ 1030225 h 1121409"/>
              <a:gd name="connsiteX641" fmla="*/ 2008456 w 4679734"/>
              <a:gd name="connsiteY641" fmla="*/ 1036156 h 1121409"/>
              <a:gd name="connsiteX642" fmla="*/ 1988460 w 4679734"/>
              <a:gd name="connsiteY642" fmla="*/ 1036156 h 1121409"/>
              <a:gd name="connsiteX643" fmla="*/ 1981403 w 4679734"/>
              <a:gd name="connsiteY643" fmla="*/ 1039120 h 1121409"/>
              <a:gd name="connsiteX644" fmla="*/ 1962584 w 4679734"/>
              <a:gd name="connsiteY644" fmla="*/ 1041098 h 1121409"/>
              <a:gd name="connsiteX645" fmla="*/ 1935529 w 4679734"/>
              <a:gd name="connsiteY645" fmla="*/ 1036156 h 1121409"/>
              <a:gd name="connsiteX646" fmla="*/ 1920238 w 4679734"/>
              <a:gd name="connsiteY646" fmla="*/ 1034179 h 1121409"/>
              <a:gd name="connsiteX647" fmla="*/ 1901418 w 4679734"/>
              <a:gd name="connsiteY647" fmla="*/ 1029236 h 1121409"/>
              <a:gd name="connsiteX648" fmla="*/ 1881422 w 4679734"/>
              <a:gd name="connsiteY648" fmla="*/ 1029236 h 1121409"/>
              <a:gd name="connsiteX649" fmla="*/ 1855544 w 4679734"/>
              <a:gd name="connsiteY649" fmla="*/ 1023305 h 1121409"/>
              <a:gd name="connsiteX650" fmla="*/ 1843781 w 4679734"/>
              <a:gd name="connsiteY650" fmla="*/ 1022317 h 1121409"/>
              <a:gd name="connsiteX651" fmla="*/ 1841429 w 4679734"/>
              <a:gd name="connsiteY651" fmla="*/ 1029236 h 1121409"/>
              <a:gd name="connsiteX652" fmla="*/ 1843781 w 4679734"/>
              <a:gd name="connsiteY652" fmla="*/ 1032201 h 1121409"/>
              <a:gd name="connsiteX653" fmla="*/ 1833196 w 4679734"/>
              <a:gd name="connsiteY653" fmla="*/ 1041098 h 1121409"/>
              <a:gd name="connsiteX654" fmla="*/ 1822608 w 4679734"/>
              <a:gd name="connsiteY654" fmla="*/ 1039120 h 1121409"/>
              <a:gd name="connsiteX655" fmla="*/ 1815552 w 4679734"/>
              <a:gd name="connsiteY655" fmla="*/ 1035167 h 1121409"/>
              <a:gd name="connsiteX656" fmla="*/ 1787322 w 4679734"/>
              <a:gd name="connsiteY656" fmla="*/ 1035167 h 1121409"/>
              <a:gd name="connsiteX657" fmla="*/ 1746152 w 4679734"/>
              <a:gd name="connsiteY657" fmla="*/ 1043075 h 1121409"/>
              <a:gd name="connsiteX658" fmla="*/ 1742623 w 4679734"/>
              <a:gd name="connsiteY658" fmla="*/ 1048016 h 1121409"/>
              <a:gd name="connsiteX659" fmla="*/ 1742623 w 4679734"/>
              <a:gd name="connsiteY659" fmla="*/ 1050982 h 1121409"/>
              <a:gd name="connsiteX660" fmla="*/ 1744976 w 4679734"/>
              <a:gd name="connsiteY660" fmla="*/ 1052960 h 1121409"/>
              <a:gd name="connsiteX661" fmla="*/ 1775559 w 4679734"/>
              <a:gd name="connsiteY661" fmla="*/ 1049993 h 1121409"/>
              <a:gd name="connsiteX662" fmla="*/ 1782615 w 4679734"/>
              <a:gd name="connsiteY662" fmla="*/ 1051971 h 1121409"/>
              <a:gd name="connsiteX663" fmla="*/ 1789674 w 4679734"/>
              <a:gd name="connsiteY663" fmla="*/ 1050982 h 1121409"/>
              <a:gd name="connsiteX664" fmla="*/ 1812023 w 4679734"/>
              <a:gd name="connsiteY664" fmla="*/ 1049993 h 1121409"/>
              <a:gd name="connsiteX665" fmla="*/ 1833196 w 4679734"/>
              <a:gd name="connsiteY665" fmla="*/ 1058891 h 1121409"/>
              <a:gd name="connsiteX666" fmla="*/ 1852014 w 4679734"/>
              <a:gd name="connsiteY666" fmla="*/ 1057901 h 1121409"/>
              <a:gd name="connsiteX667" fmla="*/ 1867306 w 4679734"/>
              <a:gd name="connsiteY667" fmla="*/ 1053947 h 1121409"/>
              <a:gd name="connsiteX668" fmla="*/ 1879069 w 4679734"/>
              <a:gd name="connsiteY668" fmla="*/ 1053947 h 1121409"/>
              <a:gd name="connsiteX669" fmla="*/ 1897889 w 4679734"/>
              <a:gd name="connsiteY669" fmla="*/ 1058891 h 1121409"/>
              <a:gd name="connsiteX670" fmla="*/ 1913181 w 4679734"/>
              <a:gd name="connsiteY670" fmla="*/ 1060867 h 1121409"/>
              <a:gd name="connsiteX671" fmla="*/ 1927296 w 4679734"/>
              <a:gd name="connsiteY671" fmla="*/ 1066798 h 1121409"/>
              <a:gd name="connsiteX672" fmla="*/ 1930823 w 4679734"/>
              <a:gd name="connsiteY672" fmla="*/ 1066798 h 1121409"/>
              <a:gd name="connsiteX673" fmla="*/ 1955525 w 4679734"/>
              <a:gd name="connsiteY673" fmla="*/ 1058891 h 1121409"/>
              <a:gd name="connsiteX674" fmla="*/ 1968464 w 4679734"/>
              <a:gd name="connsiteY674" fmla="*/ 1059878 h 1121409"/>
              <a:gd name="connsiteX675" fmla="*/ 1977874 w 4679734"/>
              <a:gd name="connsiteY675" fmla="*/ 1065809 h 1121409"/>
              <a:gd name="connsiteX676" fmla="*/ 1984932 w 4679734"/>
              <a:gd name="connsiteY676" fmla="*/ 1067786 h 1121409"/>
              <a:gd name="connsiteX677" fmla="*/ 1984932 w 4679734"/>
              <a:gd name="connsiteY677" fmla="*/ 1074706 h 1121409"/>
              <a:gd name="connsiteX678" fmla="*/ 1981403 w 4679734"/>
              <a:gd name="connsiteY678" fmla="*/ 1076682 h 1121409"/>
              <a:gd name="connsiteX679" fmla="*/ 1967288 w 4679734"/>
              <a:gd name="connsiteY679" fmla="*/ 1078660 h 1121409"/>
              <a:gd name="connsiteX680" fmla="*/ 1960232 w 4679734"/>
              <a:gd name="connsiteY680" fmla="*/ 1075694 h 1121409"/>
              <a:gd name="connsiteX681" fmla="*/ 1926118 w 4679734"/>
              <a:gd name="connsiteY681" fmla="*/ 1080637 h 1121409"/>
              <a:gd name="connsiteX682" fmla="*/ 1915533 w 4679734"/>
              <a:gd name="connsiteY682" fmla="*/ 1084591 h 1121409"/>
              <a:gd name="connsiteX683" fmla="*/ 1904947 w 4679734"/>
              <a:gd name="connsiteY683" fmla="*/ 1084591 h 1121409"/>
              <a:gd name="connsiteX684" fmla="*/ 1886127 w 4679734"/>
              <a:gd name="connsiteY684" fmla="*/ 1079647 h 1121409"/>
              <a:gd name="connsiteX685" fmla="*/ 1837901 w 4679734"/>
              <a:gd name="connsiteY685" fmla="*/ 1079647 h 1121409"/>
              <a:gd name="connsiteX686" fmla="*/ 1769677 w 4679734"/>
              <a:gd name="connsiteY686" fmla="*/ 1079647 h 1121409"/>
              <a:gd name="connsiteX687" fmla="*/ 1755562 w 4679734"/>
              <a:gd name="connsiteY687" fmla="*/ 1075694 h 1121409"/>
              <a:gd name="connsiteX688" fmla="*/ 1736743 w 4679734"/>
              <a:gd name="connsiteY688" fmla="*/ 1071740 h 1121409"/>
              <a:gd name="connsiteX689" fmla="*/ 1722628 w 4679734"/>
              <a:gd name="connsiteY689" fmla="*/ 1066798 h 1121409"/>
              <a:gd name="connsiteX690" fmla="*/ 1557951 w 4679734"/>
              <a:gd name="connsiteY690" fmla="*/ 1033190 h 1121409"/>
              <a:gd name="connsiteX691" fmla="*/ 1554423 w 4679734"/>
              <a:gd name="connsiteY691" fmla="*/ 1034179 h 1121409"/>
              <a:gd name="connsiteX692" fmla="*/ 1540308 w 4679734"/>
              <a:gd name="connsiteY692" fmla="*/ 1039120 h 1121409"/>
              <a:gd name="connsiteX693" fmla="*/ 1526192 w 4679734"/>
              <a:gd name="connsiteY693" fmla="*/ 1034179 h 1121409"/>
              <a:gd name="connsiteX694" fmla="*/ 1510901 w 4679734"/>
              <a:gd name="connsiteY694" fmla="*/ 1036156 h 1121409"/>
              <a:gd name="connsiteX695" fmla="*/ 1501491 w 4679734"/>
              <a:gd name="connsiteY695" fmla="*/ 1043075 h 1121409"/>
              <a:gd name="connsiteX696" fmla="*/ 1490904 w 4679734"/>
              <a:gd name="connsiteY696" fmla="*/ 1047029 h 1121409"/>
              <a:gd name="connsiteX697" fmla="*/ 1435620 w 4679734"/>
              <a:gd name="connsiteY697" fmla="*/ 1048016 h 1121409"/>
              <a:gd name="connsiteX698" fmla="*/ 1423858 w 4679734"/>
              <a:gd name="connsiteY698" fmla="*/ 1049993 h 1121409"/>
              <a:gd name="connsiteX699" fmla="*/ 1425035 w 4679734"/>
              <a:gd name="connsiteY699" fmla="*/ 1089533 h 1121409"/>
              <a:gd name="connsiteX700" fmla="*/ 1365046 w 4679734"/>
              <a:gd name="connsiteY700" fmla="*/ 1089533 h 1121409"/>
              <a:gd name="connsiteX701" fmla="*/ 1349753 w 4679734"/>
              <a:gd name="connsiteY701" fmla="*/ 1092498 h 1121409"/>
              <a:gd name="connsiteX702" fmla="*/ 1332110 w 4679734"/>
              <a:gd name="connsiteY702" fmla="*/ 1092498 h 1121409"/>
              <a:gd name="connsiteX703" fmla="*/ 1305056 w 4679734"/>
              <a:gd name="connsiteY703" fmla="*/ 1091509 h 1121409"/>
              <a:gd name="connsiteX704" fmla="*/ 1286236 w 4679734"/>
              <a:gd name="connsiteY704" fmla="*/ 1095463 h 1121409"/>
              <a:gd name="connsiteX705" fmla="*/ 1234482 w 4679734"/>
              <a:gd name="connsiteY705" fmla="*/ 1095463 h 1121409"/>
              <a:gd name="connsiteX706" fmla="*/ 1220366 w 4679734"/>
              <a:gd name="connsiteY706" fmla="*/ 1099417 h 1121409"/>
              <a:gd name="connsiteX707" fmla="*/ 1213309 w 4679734"/>
              <a:gd name="connsiteY707" fmla="*/ 1098428 h 1121409"/>
              <a:gd name="connsiteX708" fmla="*/ 1190959 w 4679734"/>
              <a:gd name="connsiteY708" fmla="*/ 1097440 h 1121409"/>
              <a:gd name="connsiteX709" fmla="*/ 1180373 w 4679734"/>
              <a:gd name="connsiteY709" fmla="*/ 1101394 h 1121409"/>
              <a:gd name="connsiteX710" fmla="*/ 1148614 w 4679734"/>
              <a:gd name="connsiteY710" fmla="*/ 1101394 h 1121409"/>
              <a:gd name="connsiteX711" fmla="*/ 1114503 w 4679734"/>
              <a:gd name="connsiteY711" fmla="*/ 1108313 h 1121409"/>
              <a:gd name="connsiteX712" fmla="*/ 1092154 w 4679734"/>
              <a:gd name="connsiteY712" fmla="*/ 1114244 h 1121409"/>
              <a:gd name="connsiteX713" fmla="*/ 1056866 w 4679734"/>
              <a:gd name="connsiteY713" fmla="*/ 1114244 h 1121409"/>
              <a:gd name="connsiteX714" fmla="*/ 1042751 w 4679734"/>
              <a:gd name="connsiteY714" fmla="*/ 1109302 h 1121409"/>
              <a:gd name="connsiteX715" fmla="*/ 1025108 w 4679734"/>
              <a:gd name="connsiteY715" fmla="*/ 1115233 h 1121409"/>
              <a:gd name="connsiteX716" fmla="*/ 989820 w 4679734"/>
              <a:gd name="connsiteY716" fmla="*/ 1115233 h 1121409"/>
              <a:gd name="connsiteX717" fmla="*/ 973352 w 4679734"/>
              <a:gd name="connsiteY717" fmla="*/ 1115233 h 1121409"/>
              <a:gd name="connsiteX718" fmla="*/ 931006 w 4679734"/>
              <a:gd name="connsiteY718" fmla="*/ 1120175 h 1121409"/>
              <a:gd name="connsiteX719" fmla="*/ 919245 w 4679734"/>
              <a:gd name="connsiteY719" fmla="*/ 1121162 h 1121409"/>
              <a:gd name="connsiteX720" fmla="*/ 827496 w 4679734"/>
              <a:gd name="connsiteY720" fmla="*/ 1121162 h 1121409"/>
              <a:gd name="connsiteX721" fmla="*/ 816910 w 4679734"/>
              <a:gd name="connsiteY721" fmla="*/ 1118198 h 1121409"/>
              <a:gd name="connsiteX722" fmla="*/ 799267 w 4679734"/>
              <a:gd name="connsiteY722" fmla="*/ 1118198 h 1121409"/>
              <a:gd name="connsiteX723" fmla="*/ 788679 w 4679734"/>
              <a:gd name="connsiteY723" fmla="*/ 1119187 h 1121409"/>
              <a:gd name="connsiteX724" fmla="*/ 778094 w 4679734"/>
              <a:gd name="connsiteY724" fmla="*/ 1115233 h 1121409"/>
              <a:gd name="connsiteX725" fmla="*/ 702813 w 4679734"/>
              <a:gd name="connsiteY725" fmla="*/ 1114244 h 1121409"/>
              <a:gd name="connsiteX726" fmla="*/ 671054 w 4679734"/>
              <a:gd name="connsiteY726" fmla="*/ 1080637 h 1121409"/>
              <a:gd name="connsiteX727" fmla="*/ 620475 w 4679734"/>
              <a:gd name="connsiteY727" fmla="*/ 1086567 h 1121409"/>
              <a:gd name="connsiteX728" fmla="*/ 565191 w 4679734"/>
              <a:gd name="connsiteY728" fmla="*/ 1086567 h 1121409"/>
              <a:gd name="connsiteX729" fmla="*/ 536960 w 4679734"/>
              <a:gd name="connsiteY729" fmla="*/ 1085578 h 1121409"/>
              <a:gd name="connsiteX730" fmla="*/ 511084 w 4679734"/>
              <a:gd name="connsiteY730" fmla="*/ 1078660 h 1121409"/>
              <a:gd name="connsiteX731" fmla="*/ 485206 w 4679734"/>
              <a:gd name="connsiteY731" fmla="*/ 1072729 h 1121409"/>
              <a:gd name="connsiteX732" fmla="*/ 462856 w 4679734"/>
              <a:gd name="connsiteY732" fmla="*/ 1066798 h 1121409"/>
              <a:gd name="connsiteX733" fmla="*/ 442860 w 4679734"/>
              <a:gd name="connsiteY733" fmla="*/ 1052960 h 1121409"/>
              <a:gd name="connsiteX734" fmla="*/ 434628 w 4679734"/>
              <a:gd name="connsiteY734" fmla="*/ 1034179 h 1121409"/>
              <a:gd name="connsiteX735" fmla="*/ 427569 w 4679734"/>
              <a:gd name="connsiteY735" fmla="*/ 1019351 h 1121409"/>
              <a:gd name="connsiteX736" fmla="*/ 412279 w 4679734"/>
              <a:gd name="connsiteY736" fmla="*/ 996617 h 1121409"/>
              <a:gd name="connsiteX737" fmla="*/ 395811 w 4679734"/>
              <a:gd name="connsiteY737" fmla="*/ 981791 h 1121409"/>
              <a:gd name="connsiteX738" fmla="*/ 385224 w 4679734"/>
              <a:gd name="connsiteY738" fmla="*/ 967952 h 1121409"/>
              <a:gd name="connsiteX739" fmla="*/ 354642 w 4679734"/>
              <a:gd name="connsiteY739" fmla="*/ 962021 h 1121409"/>
              <a:gd name="connsiteX740" fmla="*/ 344055 w 4679734"/>
              <a:gd name="connsiteY740" fmla="*/ 964986 h 1121409"/>
              <a:gd name="connsiteX741" fmla="*/ 315824 w 4679734"/>
              <a:gd name="connsiteY741" fmla="*/ 965975 h 1121409"/>
              <a:gd name="connsiteX742" fmla="*/ 308767 w 4679734"/>
              <a:gd name="connsiteY742" fmla="*/ 967952 h 1121409"/>
              <a:gd name="connsiteX743" fmla="*/ 289948 w 4679734"/>
              <a:gd name="connsiteY743" fmla="*/ 971906 h 1121409"/>
              <a:gd name="connsiteX744" fmla="*/ 262893 w 4679734"/>
              <a:gd name="connsiteY744" fmla="*/ 976847 h 1121409"/>
              <a:gd name="connsiteX745" fmla="*/ 160560 w 4679734"/>
              <a:gd name="connsiteY745" fmla="*/ 1012433 h 1121409"/>
              <a:gd name="connsiteX746" fmla="*/ 148797 w 4679734"/>
              <a:gd name="connsiteY746" fmla="*/ 1013420 h 1121409"/>
              <a:gd name="connsiteX747" fmla="*/ 94688 w 4679734"/>
              <a:gd name="connsiteY747" fmla="*/ 1018364 h 1121409"/>
              <a:gd name="connsiteX748" fmla="*/ 87631 w 4679734"/>
              <a:gd name="connsiteY748" fmla="*/ 1015398 h 1121409"/>
              <a:gd name="connsiteX749" fmla="*/ 71165 w 4679734"/>
              <a:gd name="connsiteY749" fmla="*/ 1005513 h 1121409"/>
              <a:gd name="connsiteX750" fmla="*/ 62929 w 4679734"/>
              <a:gd name="connsiteY750" fmla="*/ 998593 h 1121409"/>
              <a:gd name="connsiteX751" fmla="*/ 51167 w 4679734"/>
              <a:gd name="connsiteY751" fmla="*/ 977837 h 1121409"/>
              <a:gd name="connsiteX752" fmla="*/ 40581 w 4679734"/>
              <a:gd name="connsiteY752" fmla="*/ 960044 h 1121409"/>
              <a:gd name="connsiteX753" fmla="*/ 39404 w 4679734"/>
              <a:gd name="connsiteY753" fmla="*/ 940275 h 1121409"/>
              <a:gd name="connsiteX754" fmla="*/ 33524 w 4679734"/>
              <a:gd name="connsiteY754" fmla="*/ 921494 h 1121409"/>
              <a:gd name="connsiteX755" fmla="*/ 32346 w 4679734"/>
              <a:gd name="connsiteY755" fmla="*/ 911609 h 1121409"/>
              <a:gd name="connsiteX756" fmla="*/ 32346 w 4679734"/>
              <a:gd name="connsiteY756" fmla="*/ 880967 h 1121409"/>
              <a:gd name="connsiteX757" fmla="*/ 27641 w 4679734"/>
              <a:gd name="connsiteY757" fmla="*/ 869106 h 1121409"/>
              <a:gd name="connsiteX758" fmla="*/ 29995 w 4679734"/>
              <a:gd name="connsiteY758" fmla="*/ 860209 h 1121409"/>
              <a:gd name="connsiteX759" fmla="*/ 25290 w 4679734"/>
              <a:gd name="connsiteY759" fmla="*/ 827589 h 1121409"/>
              <a:gd name="connsiteX760" fmla="*/ 17056 w 4679734"/>
              <a:gd name="connsiteY760" fmla="*/ 805843 h 1121409"/>
              <a:gd name="connsiteX761" fmla="*/ 7646 w 4679734"/>
              <a:gd name="connsiteY761" fmla="*/ 767293 h 1121409"/>
              <a:gd name="connsiteX762" fmla="*/ 2941 w 4679734"/>
              <a:gd name="connsiteY762" fmla="*/ 754444 h 1121409"/>
              <a:gd name="connsiteX763" fmla="*/ 588 w 4679734"/>
              <a:gd name="connsiteY763" fmla="*/ 748513 h 1121409"/>
              <a:gd name="connsiteX764" fmla="*/ 51167 w 4679734"/>
              <a:gd name="connsiteY764" fmla="*/ 586406 h 1121409"/>
              <a:gd name="connsiteX765" fmla="*/ 37051 w 4679734"/>
              <a:gd name="connsiteY765" fmla="*/ 555763 h 1121409"/>
              <a:gd name="connsiteX766" fmla="*/ 114685 w 4679734"/>
              <a:gd name="connsiteY766" fmla="*/ 509306 h 1121409"/>
              <a:gd name="connsiteX767" fmla="*/ 109980 w 4679734"/>
              <a:gd name="connsiteY767" fmla="*/ 500409 h 1121409"/>
              <a:gd name="connsiteX768" fmla="*/ 108804 w 4679734"/>
              <a:gd name="connsiteY768" fmla="*/ 486570 h 1121409"/>
              <a:gd name="connsiteX769" fmla="*/ 105275 w 4679734"/>
              <a:gd name="connsiteY769" fmla="*/ 477675 h 1121409"/>
              <a:gd name="connsiteX770" fmla="*/ 86455 w 4679734"/>
              <a:gd name="connsiteY770" fmla="*/ 451974 h 1121409"/>
              <a:gd name="connsiteX771" fmla="*/ 64107 w 4679734"/>
              <a:gd name="connsiteY771" fmla="*/ 421332 h 1121409"/>
              <a:gd name="connsiteX772" fmla="*/ 60577 w 4679734"/>
              <a:gd name="connsiteY772" fmla="*/ 415401 h 1121409"/>
              <a:gd name="connsiteX773" fmla="*/ 47639 w 4679734"/>
              <a:gd name="connsiteY773" fmla="*/ 387725 h 1121409"/>
              <a:gd name="connsiteX774" fmla="*/ 37051 w 4679734"/>
              <a:gd name="connsiteY774" fmla="*/ 366966 h 1121409"/>
              <a:gd name="connsiteX775" fmla="*/ 28819 w 4679734"/>
              <a:gd name="connsiteY775" fmla="*/ 345220 h 1121409"/>
              <a:gd name="connsiteX776" fmla="*/ 28819 w 4679734"/>
              <a:gd name="connsiteY776" fmla="*/ 342255 h 1121409"/>
              <a:gd name="connsiteX777" fmla="*/ 14703 w 4679734"/>
              <a:gd name="connsiteY777" fmla="*/ 315567 h 1121409"/>
              <a:gd name="connsiteX778" fmla="*/ 1765 w 4679734"/>
              <a:gd name="connsiteY778" fmla="*/ 287890 h 1121409"/>
              <a:gd name="connsiteX779" fmla="*/ 1765 w 4679734"/>
              <a:gd name="connsiteY779" fmla="*/ 275040 h 1121409"/>
              <a:gd name="connsiteX780" fmla="*/ 5293 w 4679734"/>
              <a:gd name="connsiteY780" fmla="*/ 266143 h 1121409"/>
              <a:gd name="connsiteX781" fmla="*/ 8822 w 4679734"/>
              <a:gd name="connsiteY781" fmla="*/ 236490 h 1121409"/>
              <a:gd name="connsiteX782" fmla="*/ 31171 w 4679734"/>
              <a:gd name="connsiteY782" fmla="*/ 217708 h 1121409"/>
              <a:gd name="connsiteX783" fmla="*/ 39404 w 4679734"/>
              <a:gd name="connsiteY783" fmla="*/ 202882 h 1121409"/>
              <a:gd name="connsiteX784" fmla="*/ 52344 w 4679734"/>
              <a:gd name="connsiteY784" fmla="*/ 179159 h 1121409"/>
              <a:gd name="connsiteX785" fmla="*/ 92336 w 4679734"/>
              <a:gd name="connsiteY785" fmla="*/ 146539 h 1121409"/>
              <a:gd name="connsiteX786" fmla="*/ 104098 w 4679734"/>
              <a:gd name="connsiteY786" fmla="*/ 136655 h 1121409"/>
              <a:gd name="connsiteX787" fmla="*/ 109980 w 4679734"/>
              <a:gd name="connsiteY787" fmla="*/ 121828 h 1121409"/>
              <a:gd name="connsiteX788" fmla="*/ 114685 w 4679734"/>
              <a:gd name="connsiteY788" fmla="*/ 112931 h 1121409"/>
              <a:gd name="connsiteX789" fmla="*/ 120566 w 4679734"/>
              <a:gd name="connsiteY789" fmla="*/ 108977 h 1121409"/>
              <a:gd name="connsiteX790" fmla="*/ 146444 w 4679734"/>
              <a:gd name="connsiteY790" fmla="*/ 94151 h 1121409"/>
              <a:gd name="connsiteX791" fmla="*/ 154678 w 4679734"/>
              <a:gd name="connsiteY791" fmla="*/ 93163 h 1121409"/>
              <a:gd name="connsiteX792" fmla="*/ 177027 w 4679734"/>
              <a:gd name="connsiteY792" fmla="*/ 85255 h 1121409"/>
              <a:gd name="connsiteX793" fmla="*/ 180555 w 4679734"/>
              <a:gd name="connsiteY793" fmla="*/ 80312 h 1121409"/>
              <a:gd name="connsiteX794" fmla="*/ 189966 w 4679734"/>
              <a:gd name="connsiteY794" fmla="*/ 51647 h 1121409"/>
              <a:gd name="connsiteX795" fmla="*/ 194671 w 4679734"/>
              <a:gd name="connsiteY795" fmla="*/ 46705 h 1121409"/>
              <a:gd name="connsiteX796" fmla="*/ 208786 w 4679734"/>
              <a:gd name="connsiteY796" fmla="*/ 40774 h 1121409"/>
              <a:gd name="connsiteX797" fmla="*/ 229958 w 4679734"/>
              <a:gd name="connsiteY797" fmla="*/ 31877 h 1121409"/>
              <a:gd name="connsiteX798" fmla="*/ 242897 w 4679734"/>
              <a:gd name="connsiteY798" fmla="*/ 23970 h 1121409"/>
              <a:gd name="connsiteX799" fmla="*/ 257012 w 4679734"/>
              <a:gd name="connsiteY799" fmla="*/ 19028 h 1121409"/>
              <a:gd name="connsiteX800" fmla="*/ 267598 w 4679734"/>
              <a:gd name="connsiteY800" fmla="*/ 16063 h 1121409"/>
              <a:gd name="connsiteX801" fmla="*/ 304062 w 4679734"/>
              <a:gd name="connsiteY801" fmla="*/ 5190 h 1121409"/>
              <a:gd name="connsiteX802" fmla="*/ 355818 w 4679734"/>
              <a:gd name="connsiteY802" fmla="*/ 5190 h 1121409"/>
              <a:gd name="connsiteX803" fmla="*/ 366404 w 4679734"/>
              <a:gd name="connsiteY803" fmla="*/ 2225 h 1121409"/>
              <a:gd name="connsiteX804" fmla="*/ 393458 w 4679734"/>
              <a:gd name="connsiteY804" fmla="*/ 2225 h 1121409"/>
              <a:gd name="connsiteX805" fmla="*/ 415807 w 4679734"/>
              <a:gd name="connsiteY805" fmla="*/ 6179 h 1121409"/>
              <a:gd name="connsiteX806" fmla="*/ 449918 w 4679734"/>
              <a:gd name="connsiteY806" fmla="*/ 1235 h 1121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</a:cxnLst>
            <a:rect l="l" t="t" r="r" b="b"/>
            <a:pathLst>
              <a:path w="4679734" h="1121409">
                <a:moveTo>
                  <a:pt x="1576772" y="1021329"/>
                </a:moveTo>
                <a:cubicBezTo>
                  <a:pt x="1574419" y="1022317"/>
                  <a:pt x="1573242" y="1024295"/>
                  <a:pt x="1574419" y="1025282"/>
                </a:cubicBezTo>
                <a:cubicBezTo>
                  <a:pt x="1575596" y="1027260"/>
                  <a:pt x="1577948" y="1028248"/>
                  <a:pt x="1580301" y="1027260"/>
                </a:cubicBezTo>
                <a:cubicBezTo>
                  <a:pt x="1582652" y="1026271"/>
                  <a:pt x="1585004" y="1025282"/>
                  <a:pt x="1586182" y="1024295"/>
                </a:cubicBezTo>
                <a:cubicBezTo>
                  <a:pt x="1587357" y="1023305"/>
                  <a:pt x="1581477" y="1021329"/>
                  <a:pt x="1576772" y="1021329"/>
                </a:cubicBezTo>
                <a:close/>
                <a:moveTo>
                  <a:pt x="1801437" y="1007489"/>
                </a:moveTo>
                <a:cubicBezTo>
                  <a:pt x="1801437" y="1007489"/>
                  <a:pt x="1800260" y="1008479"/>
                  <a:pt x="1799083" y="1009467"/>
                </a:cubicBezTo>
                <a:cubicBezTo>
                  <a:pt x="1797908" y="1010455"/>
                  <a:pt x="1797908" y="1012433"/>
                  <a:pt x="1801437" y="1013420"/>
                </a:cubicBezTo>
                <a:cubicBezTo>
                  <a:pt x="1803789" y="1013420"/>
                  <a:pt x="1806140" y="1013420"/>
                  <a:pt x="1806140" y="1013420"/>
                </a:cubicBezTo>
                <a:cubicBezTo>
                  <a:pt x="1813198" y="1013420"/>
                  <a:pt x="1816728" y="1014409"/>
                  <a:pt x="1820255" y="1013420"/>
                </a:cubicBezTo>
                <a:cubicBezTo>
                  <a:pt x="1822608" y="1013420"/>
                  <a:pt x="1824961" y="1012433"/>
                  <a:pt x="1826138" y="1010455"/>
                </a:cubicBezTo>
                <a:cubicBezTo>
                  <a:pt x="1824961" y="1009467"/>
                  <a:pt x="1822608" y="1007489"/>
                  <a:pt x="1820255" y="1007489"/>
                </a:cubicBezTo>
                <a:cubicBezTo>
                  <a:pt x="1814375" y="1007489"/>
                  <a:pt x="1807318" y="1007489"/>
                  <a:pt x="1801437" y="1007489"/>
                </a:cubicBezTo>
                <a:close/>
                <a:moveTo>
                  <a:pt x="1944939" y="1001558"/>
                </a:moveTo>
                <a:cubicBezTo>
                  <a:pt x="1940234" y="999582"/>
                  <a:pt x="1937881" y="999582"/>
                  <a:pt x="1935529" y="1002548"/>
                </a:cubicBezTo>
                <a:cubicBezTo>
                  <a:pt x="1935529" y="1002548"/>
                  <a:pt x="1935529" y="1003536"/>
                  <a:pt x="1935529" y="1004524"/>
                </a:cubicBezTo>
                <a:cubicBezTo>
                  <a:pt x="1935529" y="1005513"/>
                  <a:pt x="1936706" y="1006502"/>
                  <a:pt x="1937881" y="1006502"/>
                </a:cubicBezTo>
                <a:cubicBezTo>
                  <a:pt x="1942586" y="1007489"/>
                  <a:pt x="1947291" y="1005513"/>
                  <a:pt x="1947291" y="1003536"/>
                </a:cubicBezTo>
                <a:cubicBezTo>
                  <a:pt x="1947291" y="1002548"/>
                  <a:pt x="1946116" y="1001558"/>
                  <a:pt x="1944939" y="1001558"/>
                </a:cubicBezTo>
                <a:close/>
                <a:moveTo>
                  <a:pt x="1528545" y="981791"/>
                </a:moveTo>
                <a:cubicBezTo>
                  <a:pt x="1527369" y="981791"/>
                  <a:pt x="1527369" y="982778"/>
                  <a:pt x="1526192" y="982778"/>
                </a:cubicBezTo>
                <a:cubicBezTo>
                  <a:pt x="1526192" y="984755"/>
                  <a:pt x="1526192" y="985744"/>
                  <a:pt x="1528545" y="985744"/>
                </a:cubicBezTo>
                <a:cubicBezTo>
                  <a:pt x="1529721" y="985744"/>
                  <a:pt x="1530897" y="984755"/>
                  <a:pt x="1530897" y="983768"/>
                </a:cubicBezTo>
                <a:cubicBezTo>
                  <a:pt x="1529721" y="982778"/>
                  <a:pt x="1529721" y="981791"/>
                  <a:pt x="1528545" y="981791"/>
                </a:cubicBezTo>
                <a:close/>
                <a:moveTo>
                  <a:pt x="2003752" y="968940"/>
                </a:moveTo>
                <a:cubicBezTo>
                  <a:pt x="2002576" y="968940"/>
                  <a:pt x="2001400" y="969929"/>
                  <a:pt x="2000223" y="969929"/>
                </a:cubicBezTo>
                <a:cubicBezTo>
                  <a:pt x="1996695" y="970917"/>
                  <a:pt x="1995518" y="975860"/>
                  <a:pt x="1997871" y="977837"/>
                </a:cubicBezTo>
                <a:cubicBezTo>
                  <a:pt x="1999047" y="979813"/>
                  <a:pt x="2001400" y="979813"/>
                  <a:pt x="2003752" y="977837"/>
                </a:cubicBezTo>
                <a:cubicBezTo>
                  <a:pt x="2007281" y="975860"/>
                  <a:pt x="2010810" y="974871"/>
                  <a:pt x="2014338" y="973882"/>
                </a:cubicBezTo>
                <a:cubicBezTo>
                  <a:pt x="2016691" y="972893"/>
                  <a:pt x="2019044" y="970917"/>
                  <a:pt x="2017867" y="970917"/>
                </a:cubicBezTo>
                <a:cubicBezTo>
                  <a:pt x="2016691" y="969929"/>
                  <a:pt x="2014338" y="969929"/>
                  <a:pt x="2011986" y="968940"/>
                </a:cubicBezTo>
                <a:cubicBezTo>
                  <a:pt x="2008456" y="968940"/>
                  <a:pt x="2006104" y="968940"/>
                  <a:pt x="2003752" y="968940"/>
                </a:cubicBezTo>
                <a:close/>
                <a:moveTo>
                  <a:pt x="3552881" y="753455"/>
                </a:moveTo>
                <a:cubicBezTo>
                  <a:pt x="3549353" y="752467"/>
                  <a:pt x="3548176" y="754444"/>
                  <a:pt x="3548176" y="756420"/>
                </a:cubicBezTo>
                <a:cubicBezTo>
                  <a:pt x="3549353" y="757410"/>
                  <a:pt x="3549353" y="758397"/>
                  <a:pt x="3550529" y="758397"/>
                </a:cubicBezTo>
                <a:cubicBezTo>
                  <a:pt x="3552881" y="759386"/>
                  <a:pt x="3555234" y="758397"/>
                  <a:pt x="3555234" y="756420"/>
                </a:cubicBezTo>
                <a:cubicBezTo>
                  <a:pt x="3555234" y="754444"/>
                  <a:pt x="3555234" y="753455"/>
                  <a:pt x="3552881" y="753455"/>
                </a:cubicBezTo>
                <a:close/>
                <a:moveTo>
                  <a:pt x="3735201" y="732697"/>
                </a:moveTo>
                <a:cubicBezTo>
                  <a:pt x="3734024" y="732697"/>
                  <a:pt x="3732848" y="735663"/>
                  <a:pt x="3734024" y="736651"/>
                </a:cubicBezTo>
                <a:cubicBezTo>
                  <a:pt x="3734024" y="737640"/>
                  <a:pt x="3735201" y="738628"/>
                  <a:pt x="3736378" y="738628"/>
                </a:cubicBezTo>
                <a:cubicBezTo>
                  <a:pt x="3736378" y="738628"/>
                  <a:pt x="3737553" y="738628"/>
                  <a:pt x="3738731" y="738628"/>
                </a:cubicBezTo>
                <a:cubicBezTo>
                  <a:pt x="3738731" y="738628"/>
                  <a:pt x="3739906" y="738628"/>
                  <a:pt x="3741082" y="738628"/>
                </a:cubicBezTo>
                <a:cubicBezTo>
                  <a:pt x="3742258" y="738628"/>
                  <a:pt x="3742258" y="737640"/>
                  <a:pt x="3742258" y="736651"/>
                </a:cubicBezTo>
                <a:cubicBezTo>
                  <a:pt x="3741082" y="734674"/>
                  <a:pt x="3739906" y="733686"/>
                  <a:pt x="3737553" y="732697"/>
                </a:cubicBezTo>
                <a:cubicBezTo>
                  <a:pt x="3736378" y="731709"/>
                  <a:pt x="3735201" y="732697"/>
                  <a:pt x="3735201" y="732697"/>
                </a:cubicBezTo>
                <a:close/>
                <a:moveTo>
                  <a:pt x="3719910" y="707986"/>
                </a:moveTo>
                <a:cubicBezTo>
                  <a:pt x="3718733" y="707986"/>
                  <a:pt x="3718733" y="707986"/>
                  <a:pt x="3717556" y="708975"/>
                </a:cubicBezTo>
                <a:cubicBezTo>
                  <a:pt x="3717556" y="708975"/>
                  <a:pt x="3718733" y="709963"/>
                  <a:pt x="3718733" y="709963"/>
                </a:cubicBezTo>
                <a:cubicBezTo>
                  <a:pt x="3722263" y="713917"/>
                  <a:pt x="3722263" y="713917"/>
                  <a:pt x="3726968" y="711940"/>
                </a:cubicBezTo>
                <a:cubicBezTo>
                  <a:pt x="3729319" y="710951"/>
                  <a:pt x="3732848" y="710951"/>
                  <a:pt x="3735201" y="710951"/>
                </a:cubicBezTo>
                <a:cubicBezTo>
                  <a:pt x="3735201" y="710951"/>
                  <a:pt x="3736378" y="709963"/>
                  <a:pt x="3736378" y="709963"/>
                </a:cubicBezTo>
                <a:cubicBezTo>
                  <a:pt x="3737553" y="708975"/>
                  <a:pt x="3736378" y="707986"/>
                  <a:pt x="3735201" y="707986"/>
                </a:cubicBezTo>
                <a:cubicBezTo>
                  <a:pt x="3732848" y="707986"/>
                  <a:pt x="3730496" y="707986"/>
                  <a:pt x="3728143" y="707986"/>
                </a:cubicBezTo>
                <a:cubicBezTo>
                  <a:pt x="3725791" y="707986"/>
                  <a:pt x="3722263" y="706998"/>
                  <a:pt x="3719910" y="707986"/>
                </a:cubicBezTo>
                <a:close/>
                <a:moveTo>
                  <a:pt x="3746963" y="706009"/>
                </a:moveTo>
                <a:cubicBezTo>
                  <a:pt x="3746963" y="706009"/>
                  <a:pt x="3745787" y="706998"/>
                  <a:pt x="3744611" y="706998"/>
                </a:cubicBezTo>
                <a:cubicBezTo>
                  <a:pt x="3744611" y="706998"/>
                  <a:pt x="3743434" y="707986"/>
                  <a:pt x="3743434" y="707986"/>
                </a:cubicBezTo>
                <a:cubicBezTo>
                  <a:pt x="3743434" y="708975"/>
                  <a:pt x="3742258" y="709963"/>
                  <a:pt x="3742258" y="709963"/>
                </a:cubicBezTo>
                <a:cubicBezTo>
                  <a:pt x="3742258" y="709963"/>
                  <a:pt x="3743434" y="710951"/>
                  <a:pt x="3744611" y="710951"/>
                </a:cubicBezTo>
                <a:cubicBezTo>
                  <a:pt x="3745787" y="710951"/>
                  <a:pt x="3745787" y="710951"/>
                  <a:pt x="3746963" y="709963"/>
                </a:cubicBezTo>
                <a:cubicBezTo>
                  <a:pt x="3748139" y="708975"/>
                  <a:pt x="3748139" y="706009"/>
                  <a:pt x="3746963" y="706009"/>
                </a:cubicBezTo>
                <a:close/>
                <a:moveTo>
                  <a:pt x="3677565" y="705021"/>
                </a:moveTo>
                <a:cubicBezTo>
                  <a:pt x="3676387" y="705021"/>
                  <a:pt x="3675212" y="706009"/>
                  <a:pt x="3676387" y="707986"/>
                </a:cubicBezTo>
                <a:cubicBezTo>
                  <a:pt x="3676387" y="707986"/>
                  <a:pt x="3677565" y="708975"/>
                  <a:pt x="3678740" y="708975"/>
                </a:cubicBezTo>
                <a:cubicBezTo>
                  <a:pt x="3684622" y="708975"/>
                  <a:pt x="3691680" y="708975"/>
                  <a:pt x="3697562" y="708975"/>
                </a:cubicBezTo>
                <a:cubicBezTo>
                  <a:pt x="3697562" y="708975"/>
                  <a:pt x="3698738" y="707986"/>
                  <a:pt x="3698738" y="707986"/>
                </a:cubicBezTo>
                <a:cubicBezTo>
                  <a:pt x="3697562" y="706998"/>
                  <a:pt x="3697562" y="706009"/>
                  <a:pt x="3696385" y="706009"/>
                </a:cubicBezTo>
                <a:cubicBezTo>
                  <a:pt x="3694032" y="705021"/>
                  <a:pt x="3690502" y="705021"/>
                  <a:pt x="3688150" y="705021"/>
                </a:cubicBezTo>
                <a:cubicBezTo>
                  <a:pt x="3684622" y="705021"/>
                  <a:pt x="3681092" y="705021"/>
                  <a:pt x="3677565" y="705021"/>
                </a:cubicBezTo>
                <a:close/>
                <a:moveTo>
                  <a:pt x="3625809" y="704032"/>
                </a:moveTo>
                <a:cubicBezTo>
                  <a:pt x="3624633" y="704032"/>
                  <a:pt x="3624633" y="705021"/>
                  <a:pt x="3624633" y="706009"/>
                </a:cubicBezTo>
                <a:cubicBezTo>
                  <a:pt x="3624633" y="706009"/>
                  <a:pt x="3625809" y="706998"/>
                  <a:pt x="3625809" y="707986"/>
                </a:cubicBezTo>
                <a:cubicBezTo>
                  <a:pt x="3625809" y="706998"/>
                  <a:pt x="3626985" y="706998"/>
                  <a:pt x="3628161" y="706009"/>
                </a:cubicBezTo>
                <a:cubicBezTo>
                  <a:pt x="3628161" y="705021"/>
                  <a:pt x="3628161" y="705021"/>
                  <a:pt x="3626985" y="704032"/>
                </a:cubicBezTo>
                <a:cubicBezTo>
                  <a:pt x="3626985" y="704032"/>
                  <a:pt x="3625809" y="704032"/>
                  <a:pt x="3625809" y="704032"/>
                </a:cubicBezTo>
                <a:close/>
                <a:moveTo>
                  <a:pt x="3716380" y="656586"/>
                </a:moveTo>
                <a:cubicBezTo>
                  <a:pt x="3715205" y="656586"/>
                  <a:pt x="3715205" y="657575"/>
                  <a:pt x="3714028" y="658563"/>
                </a:cubicBezTo>
                <a:cubicBezTo>
                  <a:pt x="3714028" y="658563"/>
                  <a:pt x="3715205" y="659551"/>
                  <a:pt x="3715205" y="659551"/>
                </a:cubicBezTo>
                <a:cubicBezTo>
                  <a:pt x="3717556" y="659551"/>
                  <a:pt x="3721085" y="659551"/>
                  <a:pt x="3723438" y="659551"/>
                </a:cubicBezTo>
                <a:cubicBezTo>
                  <a:pt x="3724615" y="661528"/>
                  <a:pt x="3724615" y="662517"/>
                  <a:pt x="3725791" y="661528"/>
                </a:cubicBezTo>
                <a:cubicBezTo>
                  <a:pt x="3725791" y="661528"/>
                  <a:pt x="3725791" y="660541"/>
                  <a:pt x="3725791" y="660541"/>
                </a:cubicBezTo>
                <a:cubicBezTo>
                  <a:pt x="3724615" y="660541"/>
                  <a:pt x="3724615" y="659551"/>
                  <a:pt x="3723438" y="659551"/>
                </a:cubicBezTo>
                <a:cubicBezTo>
                  <a:pt x="3723438" y="657575"/>
                  <a:pt x="3722263" y="656586"/>
                  <a:pt x="3721085" y="656586"/>
                </a:cubicBezTo>
                <a:cubicBezTo>
                  <a:pt x="3719910" y="656586"/>
                  <a:pt x="3717556" y="656586"/>
                  <a:pt x="3716380" y="656586"/>
                </a:cubicBezTo>
                <a:close/>
                <a:moveTo>
                  <a:pt x="3643453" y="647689"/>
                </a:moveTo>
                <a:cubicBezTo>
                  <a:pt x="3641101" y="649666"/>
                  <a:pt x="3638748" y="650655"/>
                  <a:pt x="3636395" y="652633"/>
                </a:cubicBezTo>
                <a:cubicBezTo>
                  <a:pt x="3636395" y="652633"/>
                  <a:pt x="3636395" y="653620"/>
                  <a:pt x="3636395" y="653620"/>
                </a:cubicBezTo>
                <a:cubicBezTo>
                  <a:pt x="3637571" y="653620"/>
                  <a:pt x="3638748" y="654610"/>
                  <a:pt x="3639924" y="654610"/>
                </a:cubicBezTo>
                <a:cubicBezTo>
                  <a:pt x="3643453" y="655597"/>
                  <a:pt x="3648158" y="655597"/>
                  <a:pt x="3651687" y="653620"/>
                </a:cubicBezTo>
                <a:cubicBezTo>
                  <a:pt x="3654039" y="651644"/>
                  <a:pt x="3657568" y="651644"/>
                  <a:pt x="3659921" y="653620"/>
                </a:cubicBezTo>
                <a:cubicBezTo>
                  <a:pt x="3662273" y="655597"/>
                  <a:pt x="3665802" y="656586"/>
                  <a:pt x="3669331" y="656586"/>
                </a:cubicBezTo>
                <a:cubicBezTo>
                  <a:pt x="3669331" y="656586"/>
                  <a:pt x="3670507" y="656586"/>
                  <a:pt x="3670507" y="656586"/>
                </a:cubicBezTo>
                <a:cubicBezTo>
                  <a:pt x="3671684" y="656586"/>
                  <a:pt x="3672860" y="655597"/>
                  <a:pt x="3674036" y="655597"/>
                </a:cubicBezTo>
                <a:cubicBezTo>
                  <a:pt x="3672860" y="655597"/>
                  <a:pt x="3672860" y="654610"/>
                  <a:pt x="3672860" y="654610"/>
                </a:cubicBezTo>
                <a:cubicBezTo>
                  <a:pt x="3671684" y="653620"/>
                  <a:pt x="3669331" y="651644"/>
                  <a:pt x="3668154" y="650655"/>
                </a:cubicBezTo>
                <a:cubicBezTo>
                  <a:pt x="3664624" y="648679"/>
                  <a:pt x="3662273" y="647689"/>
                  <a:pt x="3657568" y="649666"/>
                </a:cubicBezTo>
                <a:cubicBezTo>
                  <a:pt x="3652863" y="650655"/>
                  <a:pt x="3649334" y="651644"/>
                  <a:pt x="3645806" y="648679"/>
                </a:cubicBezTo>
                <a:cubicBezTo>
                  <a:pt x="3644630" y="647689"/>
                  <a:pt x="3644630" y="646702"/>
                  <a:pt x="3643453" y="647689"/>
                </a:cubicBezTo>
                <a:close/>
                <a:moveTo>
                  <a:pt x="3586992" y="645713"/>
                </a:moveTo>
                <a:cubicBezTo>
                  <a:pt x="3584639" y="645713"/>
                  <a:pt x="3584639" y="646702"/>
                  <a:pt x="3584639" y="647689"/>
                </a:cubicBezTo>
                <a:cubicBezTo>
                  <a:pt x="3584639" y="648679"/>
                  <a:pt x="3584639" y="648679"/>
                  <a:pt x="3585817" y="649666"/>
                </a:cubicBezTo>
                <a:cubicBezTo>
                  <a:pt x="3588169" y="650655"/>
                  <a:pt x="3592874" y="649666"/>
                  <a:pt x="3595227" y="652633"/>
                </a:cubicBezTo>
                <a:cubicBezTo>
                  <a:pt x="3596402" y="652633"/>
                  <a:pt x="3597579" y="653620"/>
                  <a:pt x="3598755" y="653620"/>
                </a:cubicBezTo>
                <a:cubicBezTo>
                  <a:pt x="3603460" y="654610"/>
                  <a:pt x="3609342" y="655597"/>
                  <a:pt x="3614046" y="652633"/>
                </a:cubicBezTo>
                <a:cubicBezTo>
                  <a:pt x="3615222" y="651644"/>
                  <a:pt x="3616400" y="651644"/>
                  <a:pt x="3617575" y="651644"/>
                </a:cubicBezTo>
                <a:cubicBezTo>
                  <a:pt x="3621105" y="651644"/>
                  <a:pt x="3624633" y="651644"/>
                  <a:pt x="3628161" y="651644"/>
                </a:cubicBezTo>
                <a:cubicBezTo>
                  <a:pt x="3628161" y="651644"/>
                  <a:pt x="3629338" y="650655"/>
                  <a:pt x="3629338" y="650655"/>
                </a:cubicBezTo>
                <a:cubicBezTo>
                  <a:pt x="3630515" y="650655"/>
                  <a:pt x="3630515" y="649666"/>
                  <a:pt x="3629338" y="648679"/>
                </a:cubicBezTo>
                <a:cubicBezTo>
                  <a:pt x="3624633" y="644724"/>
                  <a:pt x="3623456" y="643735"/>
                  <a:pt x="3617575" y="646702"/>
                </a:cubicBezTo>
                <a:cubicBezTo>
                  <a:pt x="3612870" y="648679"/>
                  <a:pt x="3609342" y="648679"/>
                  <a:pt x="3606989" y="647689"/>
                </a:cubicBezTo>
                <a:cubicBezTo>
                  <a:pt x="3605812" y="647689"/>
                  <a:pt x="3604637" y="646702"/>
                  <a:pt x="3603460" y="646702"/>
                </a:cubicBezTo>
                <a:cubicBezTo>
                  <a:pt x="3601107" y="645713"/>
                  <a:pt x="3599932" y="645713"/>
                  <a:pt x="3597579" y="645713"/>
                </a:cubicBezTo>
                <a:cubicBezTo>
                  <a:pt x="3594049" y="645713"/>
                  <a:pt x="3590522" y="645713"/>
                  <a:pt x="3586992" y="645713"/>
                </a:cubicBezTo>
                <a:close/>
                <a:moveTo>
                  <a:pt x="3575229" y="642748"/>
                </a:moveTo>
                <a:cubicBezTo>
                  <a:pt x="3574054" y="642748"/>
                  <a:pt x="3572877" y="643735"/>
                  <a:pt x="3571702" y="643735"/>
                </a:cubicBezTo>
                <a:cubicBezTo>
                  <a:pt x="3569349" y="644724"/>
                  <a:pt x="3568173" y="645713"/>
                  <a:pt x="3565821" y="644724"/>
                </a:cubicBezTo>
                <a:cubicBezTo>
                  <a:pt x="3565821" y="645713"/>
                  <a:pt x="3566997" y="647689"/>
                  <a:pt x="3566997" y="648679"/>
                </a:cubicBezTo>
                <a:cubicBezTo>
                  <a:pt x="3568173" y="648679"/>
                  <a:pt x="3569349" y="648679"/>
                  <a:pt x="3570524" y="648679"/>
                </a:cubicBezTo>
                <a:cubicBezTo>
                  <a:pt x="3572877" y="648679"/>
                  <a:pt x="3574054" y="646702"/>
                  <a:pt x="3576407" y="645713"/>
                </a:cubicBezTo>
                <a:cubicBezTo>
                  <a:pt x="3577583" y="644724"/>
                  <a:pt x="3577583" y="644724"/>
                  <a:pt x="3576407" y="643735"/>
                </a:cubicBezTo>
                <a:cubicBezTo>
                  <a:pt x="3576407" y="642748"/>
                  <a:pt x="3575229" y="642748"/>
                  <a:pt x="3575229" y="642748"/>
                </a:cubicBezTo>
                <a:close/>
                <a:moveTo>
                  <a:pt x="449918" y="1235"/>
                </a:moveTo>
                <a:cubicBezTo>
                  <a:pt x="452270" y="-741"/>
                  <a:pt x="456975" y="2225"/>
                  <a:pt x="460505" y="4201"/>
                </a:cubicBezTo>
                <a:cubicBezTo>
                  <a:pt x="462856" y="6179"/>
                  <a:pt x="465210" y="5190"/>
                  <a:pt x="467562" y="4201"/>
                </a:cubicBezTo>
                <a:cubicBezTo>
                  <a:pt x="478148" y="248"/>
                  <a:pt x="487558" y="248"/>
                  <a:pt x="498145" y="3212"/>
                </a:cubicBezTo>
                <a:cubicBezTo>
                  <a:pt x="515789" y="8156"/>
                  <a:pt x="520492" y="8156"/>
                  <a:pt x="544018" y="2225"/>
                </a:cubicBezTo>
                <a:cubicBezTo>
                  <a:pt x="548723" y="1235"/>
                  <a:pt x="554606" y="1235"/>
                  <a:pt x="559311" y="2225"/>
                </a:cubicBezTo>
                <a:cubicBezTo>
                  <a:pt x="565191" y="4201"/>
                  <a:pt x="571074" y="7166"/>
                  <a:pt x="578131" y="7166"/>
                </a:cubicBezTo>
                <a:cubicBezTo>
                  <a:pt x="588716" y="6179"/>
                  <a:pt x="600479" y="9143"/>
                  <a:pt x="609889" y="5190"/>
                </a:cubicBezTo>
                <a:cubicBezTo>
                  <a:pt x="615770" y="3212"/>
                  <a:pt x="619299" y="4201"/>
                  <a:pt x="624004" y="6179"/>
                </a:cubicBezTo>
                <a:cubicBezTo>
                  <a:pt x="627533" y="7166"/>
                  <a:pt x="632238" y="7166"/>
                  <a:pt x="635767" y="7166"/>
                </a:cubicBezTo>
                <a:cubicBezTo>
                  <a:pt x="752216" y="7166"/>
                  <a:pt x="869842" y="8156"/>
                  <a:pt x="986290" y="8156"/>
                </a:cubicBezTo>
                <a:cubicBezTo>
                  <a:pt x="1006288" y="8156"/>
                  <a:pt x="1026283" y="8156"/>
                  <a:pt x="1046280" y="8156"/>
                </a:cubicBezTo>
                <a:cubicBezTo>
                  <a:pt x="1052161" y="8156"/>
                  <a:pt x="1056866" y="9143"/>
                  <a:pt x="1061571" y="12110"/>
                </a:cubicBezTo>
                <a:cubicBezTo>
                  <a:pt x="1065100" y="14085"/>
                  <a:pt x="1068629" y="14085"/>
                  <a:pt x="1072158" y="12110"/>
                </a:cubicBezTo>
                <a:cubicBezTo>
                  <a:pt x="1080390" y="8156"/>
                  <a:pt x="1088625" y="6179"/>
                  <a:pt x="1098036" y="11121"/>
                </a:cubicBezTo>
                <a:cubicBezTo>
                  <a:pt x="1105093" y="15074"/>
                  <a:pt x="1110973" y="15074"/>
                  <a:pt x="1116856" y="11121"/>
                </a:cubicBezTo>
                <a:cubicBezTo>
                  <a:pt x="1119209" y="10132"/>
                  <a:pt x="1121561" y="9143"/>
                  <a:pt x="1123914" y="9143"/>
                </a:cubicBezTo>
                <a:cubicBezTo>
                  <a:pt x="1127441" y="9143"/>
                  <a:pt x="1132146" y="9143"/>
                  <a:pt x="1135675" y="9143"/>
                </a:cubicBezTo>
                <a:cubicBezTo>
                  <a:pt x="1146262" y="9143"/>
                  <a:pt x="1156848" y="7166"/>
                  <a:pt x="1166258" y="13097"/>
                </a:cubicBezTo>
                <a:cubicBezTo>
                  <a:pt x="1169787" y="14085"/>
                  <a:pt x="1174492" y="14085"/>
                  <a:pt x="1178020" y="14085"/>
                </a:cubicBezTo>
                <a:cubicBezTo>
                  <a:pt x="1215661" y="15074"/>
                  <a:pt x="1252125" y="15074"/>
                  <a:pt x="1289765" y="15074"/>
                </a:cubicBezTo>
                <a:cubicBezTo>
                  <a:pt x="1332110" y="16063"/>
                  <a:pt x="1374456" y="16063"/>
                  <a:pt x="1416800" y="16063"/>
                </a:cubicBezTo>
                <a:cubicBezTo>
                  <a:pt x="1423858" y="16063"/>
                  <a:pt x="1429740" y="16063"/>
                  <a:pt x="1435620" y="20016"/>
                </a:cubicBezTo>
                <a:cubicBezTo>
                  <a:pt x="1439150" y="22982"/>
                  <a:pt x="1443855" y="21994"/>
                  <a:pt x="1447383" y="21994"/>
                </a:cubicBezTo>
                <a:cubicBezTo>
                  <a:pt x="1509724" y="21994"/>
                  <a:pt x="1572067" y="22982"/>
                  <a:pt x="1634408" y="22982"/>
                </a:cubicBezTo>
                <a:cubicBezTo>
                  <a:pt x="1641465" y="22982"/>
                  <a:pt x="1647346" y="25946"/>
                  <a:pt x="1653228" y="27924"/>
                </a:cubicBezTo>
                <a:cubicBezTo>
                  <a:pt x="1657933" y="28913"/>
                  <a:pt x="1663814" y="28913"/>
                  <a:pt x="1668519" y="28913"/>
                </a:cubicBezTo>
                <a:cubicBezTo>
                  <a:pt x="1734391" y="28913"/>
                  <a:pt x="1801437" y="29901"/>
                  <a:pt x="1867306" y="29901"/>
                </a:cubicBezTo>
                <a:cubicBezTo>
                  <a:pt x="1874364" y="29901"/>
                  <a:pt x="1882598" y="29901"/>
                  <a:pt x="1889655" y="33855"/>
                </a:cubicBezTo>
                <a:cubicBezTo>
                  <a:pt x="1893184" y="35832"/>
                  <a:pt x="1897889" y="35832"/>
                  <a:pt x="1901418" y="35832"/>
                </a:cubicBezTo>
                <a:cubicBezTo>
                  <a:pt x="1953172" y="35832"/>
                  <a:pt x="2004928" y="36821"/>
                  <a:pt x="2056685" y="36821"/>
                </a:cubicBezTo>
                <a:cubicBezTo>
                  <a:pt x="2061389" y="36821"/>
                  <a:pt x="2064917" y="36821"/>
                  <a:pt x="2068447" y="38797"/>
                </a:cubicBezTo>
                <a:cubicBezTo>
                  <a:pt x="2073150" y="41762"/>
                  <a:pt x="2077857" y="42752"/>
                  <a:pt x="2083737" y="42752"/>
                </a:cubicBezTo>
                <a:cubicBezTo>
                  <a:pt x="2107263" y="42752"/>
                  <a:pt x="2131964" y="42752"/>
                  <a:pt x="2155490" y="42752"/>
                </a:cubicBezTo>
                <a:cubicBezTo>
                  <a:pt x="2183720" y="43739"/>
                  <a:pt x="2210773" y="43739"/>
                  <a:pt x="2239004" y="43739"/>
                </a:cubicBezTo>
                <a:cubicBezTo>
                  <a:pt x="2248414" y="43739"/>
                  <a:pt x="2257823" y="42752"/>
                  <a:pt x="2266058" y="47693"/>
                </a:cubicBezTo>
                <a:cubicBezTo>
                  <a:pt x="2269586" y="48683"/>
                  <a:pt x="2274291" y="48683"/>
                  <a:pt x="2277820" y="48683"/>
                </a:cubicBezTo>
                <a:cubicBezTo>
                  <a:pt x="2320164" y="48683"/>
                  <a:pt x="2362510" y="48683"/>
                  <a:pt x="2404854" y="49670"/>
                </a:cubicBezTo>
                <a:cubicBezTo>
                  <a:pt x="2422499" y="50659"/>
                  <a:pt x="2441319" y="47693"/>
                  <a:pt x="2458963" y="54613"/>
                </a:cubicBezTo>
                <a:cubicBezTo>
                  <a:pt x="2466021" y="47693"/>
                  <a:pt x="2473078" y="57578"/>
                  <a:pt x="2480136" y="56590"/>
                </a:cubicBezTo>
                <a:cubicBezTo>
                  <a:pt x="2487194" y="55601"/>
                  <a:pt x="2495427" y="56590"/>
                  <a:pt x="2503661" y="56590"/>
                </a:cubicBezTo>
                <a:cubicBezTo>
                  <a:pt x="2510719" y="56590"/>
                  <a:pt x="2518953" y="56590"/>
                  <a:pt x="2527187" y="56590"/>
                </a:cubicBezTo>
                <a:cubicBezTo>
                  <a:pt x="2534243" y="56590"/>
                  <a:pt x="2542478" y="56590"/>
                  <a:pt x="2550711" y="56590"/>
                </a:cubicBezTo>
                <a:cubicBezTo>
                  <a:pt x="2557768" y="56590"/>
                  <a:pt x="2566003" y="56590"/>
                  <a:pt x="2574236" y="56590"/>
                </a:cubicBezTo>
                <a:cubicBezTo>
                  <a:pt x="2584822" y="56590"/>
                  <a:pt x="2595409" y="56590"/>
                  <a:pt x="2605995" y="56590"/>
                </a:cubicBezTo>
                <a:cubicBezTo>
                  <a:pt x="2616582" y="55601"/>
                  <a:pt x="2624816" y="56590"/>
                  <a:pt x="2633050" y="61532"/>
                </a:cubicBezTo>
                <a:cubicBezTo>
                  <a:pt x="2635401" y="63509"/>
                  <a:pt x="2641283" y="62521"/>
                  <a:pt x="2644812" y="62521"/>
                </a:cubicBezTo>
                <a:cubicBezTo>
                  <a:pt x="2678922" y="62521"/>
                  <a:pt x="2714211" y="62521"/>
                  <a:pt x="2748321" y="63509"/>
                </a:cubicBezTo>
                <a:cubicBezTo>
                  <a:pt x="2758909" y="64497"/>
                  <a:pt x="2771847" y="61532"/>
                  <a:pt x="2782433" y="68450"/>
                </a:cubicBezTo>
                <a:cubicBezTo>
                  <a:pt x="2784785" y="70428"/>
                  <a:pt x="2790667" y="69439"/>
                  <a:pt x="2794195" y="69439"/>
                </a:cubicBezTo>
                <a:cubicBezTo>
                  <a:pt x="2829484" y="69439"/>
                  <a:pt x="2865947" y="70428"/>
                  <a:pt x="2901235" y="70428"/>
                </a:cubicBezTo>
                <a:cubicBezTo>
                  <a:pt x="2907118" y="70428"/>
                  <a:pt x="2911821" y="71417"/>
                  <a:pt x="2916526" y="74381"/>
                </a:cubicBezTo>
                <a:cubicBezTo>
                  <a:pt x="2920055" y="77348"/>
                  <a:pt x="2924760" y="76359"/>
                  <a:pt x="2928289" y="76359"/>
                </a:cubicBezTo>
                <a:cubicBezTo>
                  <a:pt x="2955342" y="76359"/>
                  <a:pt x="2981220" y="77348"/>
                  <a:pt x="3008274" y="77348"/>
                </a:cubicBezTo>
                <a:cubicBezTo>
                  <a:pt x="3016508" y="77348"/>
                  <a:pt x="3023566" y="78335"/>
                  <a:pt x="3030623" y="82290"/>
                </a:cubicBezTo>
                <a:cubicBezTo>
                  <a:pt x="3032976" y="83279"/>
                  <a:pt x="3037681" y="82290"/>
                  <a:pt x="3041209" y="80312"/>
                </a:cubicBezTo>
                <a:cubicBezTo>
                  <a:pt x="3043562" y="78335"/>
                  <a:pt x="3045915" y="78335"/>
                  <a:pt x="3048267" y="79325"/>
                </a:cubicBezTo>
                <a:cubicBezTo>
                  <a:pt x="3052972" y="82290"/>
                  <a:pt x="3057677" y="83279"/>
                  <a:pt x="3063559" y="83279"/>
                </a:cubicBezTo>
                <a:cubicBezTo>
                  <a:pt x="3076498" y="83279"/>
                  <a:pt x="3090613" y="84266"/>
                  <a:pt x="3103551" y="84266"/>
                </a:cubicBezTo>
                <a:cubicBezTo>
                  <a:pt x="3114138" y="85255"/>
                  <a:pt x="3124724" y="83279"/>
                  <a:pt x="3134134" y="89209"/>
                </a:cubicBezTo>
                <a:cubicBezTo>
                  <a:pt x="3137662" y="90197"/>
                  <a:pt x="3142367" y="90197"/>
                  <a:pt x="3145896" y="90197"/>
                </a:cubicBezTo>
                <a:cubicBezTo>
                  <a:pt x="3163540" y="91186"/>
                  <a:pt x="3182361" y="91186"/>
                  <a:pt x="3201181" y="91186"/>
                </a:cubicBezTo>
                <a:cubicBezTo>
                  <a:pt x="3208239" y="91186"/>
                  <a:pt x="3214119" y="92174"/>
                  <a:pt x="3220001" y="95140"/>
                </a:cubicBezTo>
                <a:cubicBezTo>
                  <a:pt x="3221176" y="96128"/>
                  <a:pt x="3224706" y="97117"/>
                  <a:pt x="3227059" y="97117"/>
                </a:cubicBezTo>
                <a:cubicBezTo>
                  <a:pt x="3238822" y="98105"/>
                  <a:pt x="3250584" y="97117"/>
                  <a:pt x="3262345" y="98105"/>
                </a:cubicBezTo>
                <a:cubicBezTo>
                  <a:pt x="3275285" y="99094"/>
                  <a:pt x="3289400" y="96128"/>
                  <a:pt x="3301163" y="103046"/>
                </a:cubicBezTo>
                <a:cubicBezTo>
                  <a:pt x="3304691" y="105025"/>
                  <a:pt x="3309396" y="104036"/>
                  <a:pt x="3312925" y="104036"/>
                </a:cubicBezTo>
                <a:cubicBezTo>
                  <a:pt x="3330569" y="104036"/>
                  <a:pt x="3349388" y="105025"/>
                  <a:pt x="3368210" y="105025"/>
                </a:cubicBezTo>
                <a:cubicBezTo>
                  <a:pt x="3372913" y="105025"/>
                  <a:pt x="3377619" y="104036"/>
                  <a:pt x="3379971" y="106013"/>
                </a:cubicBezTo>
                <a:cubicBezTo>
                  <a:pt x="3395263" y="113921"/>
                  <a:pt x="3411730" y="108977"/>
                  <a:pt x="3427022" y="110956"/>
                </a:cubicBezTo>
                <a:cubicBezTo>
                  <a:pt x="3431727" y="110956"/>
                  <a:pt x="3435256" y="110956"/>
                  <a:pt x="3438785" y="112931"/>
                </a:cubicBezTo>
                <a:cubicBezTo>
                  <a:pt x="3444666" y="115897"/>
                  <a:pt x="3450547" y="116887"/>
                  <a:pt x="3457605" y="116887"/>
                </a:cubicBezTo>
                <a:cubicBezTo>
                  <a:pt x="3464661" y="116887"/>
                  <a:pt x="3472896" y="115897"/>
                  <a:pt x="3481129" y="116887"/>
                </a:cubicBezTo>
                <a:cubicBezTo>
                  <a:pt x="3490539" y="117874"/>
                  <a:pt x="3499949" y="116887"/>
                  <a:pt x="3508183" y="121828"/>
                </a:cubicBezTo>
                <a:cubicBezTo>
                  <a:pt x="3509359" y="121828"/>
                  <a:pt x="3510536" y="122816"/>
                  <a:pt x="3511712" y="122816"/>
                </a:cubicBezTo>
                <a:cubicBezTo>
                  <a:pt x="3514065" y="122816"/>
                  <a:pt x="3517593" y="122816"/>
                  <a:pt x="3519946" y="122816"/>
                </a:cubicBezTo>
                <a:cubicBezTo>
                  <a:pt x="3537590" y="124793"/>
                  <a:pt x="3556410" y="120839"/>
                  <a:pt x="3574054" y="128747"/>
                </a:cubicBezTo>
                <a:cubicBezTo>
                  <a:pt x="3577583" y="127759"/>
                  <a:pt x="3579936" y="123805"/>
                  <a:pt x="3584639" y="126770"/>
                </a:cubicBezTo>
                <a:cubicBezTo>
                  <a:pt x="3590522" y="130724"/>
                  <a:pt x="3596402" y="130724"/>
                  <a:pt x="3602284" y="126770"/>
                </a:cubicBezTo>
                <a:cubicBezTo>
                  <a:pt x="3604637" y="125782"/>
                  <a:pt x="3606989" y="125782"/>
                  <a:pt x="3609342" y="127759"/>
                </a:cubicBezTo>
                <a:cubicBezTo>
                  <a:pt x="3614046" y="130724"/>
                  <a:pt x="3618752" y="130724"/>
                  <a:pt x="3624633" y="130724"/>
                </a:cubicBezTo>
                <a:cubicBezTo>
                  <a:pt x="3648158" y="130724"/>
                  <a:pt x="3670507" y="130724"/>
                  <a:pt x="3692855" y="130724"/>
                </a:cubicBezTo>
                <a:cubicBezTo>
                  <a:pt x="3696385" y="130724"/>
                  <a:pt x="3698738" y="130724"/>
                  <a:pt x="3701090" y="131713"/>
                </a:cubicBezTo>
                <a:cubicBezTo>
                  <a:pt x="3715205" y="141598"/>
                  <a:pt x="3731672" y="135667"/>
                  <a:pt x="3746963" y="137644"/>
                </a:cubicBezTo>
                <a:cubicBezTo>
                  <a:pt x="3755197" y="138632"/>
                  <a:pt x="3764607" y="136655"/>
                  <a:pt x="3772841" y="142586"/>
                </a:cubicBezTo>
                <a:cubicBezTo>
                  <a:pt x="3774017" y="143575"/>
                  <a:pt x="3777547" y="143575"/>
                  <a:pt x="3779899" y="143575"/>
                </a:cubicBezTo>
                <a:cubicBezTo>
                  <a:pt x="3791662" y="144563"/>
                  <a:pt x="3803425" y="142586"/>
                  <a:pt x="3814011" y="149505"/>
                </a:cubicBezTo>
                <a:cubicBezTo>
                  <a:pt x="3818716" y="149505"/>
                  <a:pt x="3824596" y="150493"/>
                  <a:pt x="3829301" y="150493"/>
                </a:cubicBezTo>
                <a:cubicBezTo>
                  <a:pt x="3837534" y="150493"/>
                  <a:pt x="3844594" y="151483"/>
                  <a:pt x="3851650" y="155436"/>
                </a:cubicBezTo>
                <a:cubicBezTo>
                  <a:pt x="3852826" y="156424"/>
                  <a:pt x="3857531" y="156424"/>
                  <a:pt x="3858707" y="155436"/>
                </a:cubicBezTo>
                <a:cubicBezTo>
                  <a:pt x="3873999" y="145552"/>
                  <a:pt x="3890465" y="151483"/>
                  <a:pt x="3905758" y="150493"/>
                </a:cubicBezTo>
                <a:cubicBezTo>
                  <a:pt x="3906935" y="150493"/>
                  <a:pt x="3908111" y="151483"/>
                  <a:pt x="3909287" y="152470"/>
                </a:cubicBezTo>
                <a:cubicBezTo>
                  <a:pt x="3915168" y="155436"/>
                  <a:pt x="3921050" y="156424"/>
                  <a:pt x="3928106" y="156424"/>
                </a:cubicBezTo>
                <a:cubicBezTo>
                  <a:pt x="3935164" y="156424"/>
                  <a:pt x="3943399" y="156424"/>
                  <a:pt x="3951632" y="156424"/>
                </a:cubicBezTo>
                <a:cubicBezTo>
                  <a:pt x="3958689" y="156424"/>
                  <a:pt x="3964570" y="159389"/>
                  <a:pt x="3970452" y="161367"/>
                </a:cubicBezTo>
                <a:cubicBezTo>
                  <a:pt x="3978686" y="165320"/>
                  <a:pt x="3989272" y="163343"/>
                  <a:pt x="3996330" y="169274"/>
                </a:cubicBezTo>
                <a:cubicBezTo>
                  <a:pt x="4006916" y="170263"/>
                  <a:pt x="4017501" y="171251"/>
                  <a:pt x="4028089" y="171251"/>
                </a:cubicBezTo>
                <a:cubicBezTo>
                  <a:pt x="4050437" y="171251"/>
                  <a:pt x="4051614" y="171251"/>
                  <a:pt x="4072786" y="181135"/>
                </a:cubicBezTo>
                <a:cubicBezTo>
                  <a:pt x="4077491" y="183113"/>
                  <a:pt x="4084548" y="184101"/>
                  <a:pt x="4089254" y="189043"/>
                </a:cubicBezTo>
                <a:cubicBezTo>
                  <a:pt x="4095135" y="194974"/>
                  <a:pt x="4104545" y="196951"/>
                  <a:pt x="4113954" y="196951"/>
                </a:cubicBezTo>
                <a:cubicBezTo>
                  <a:pt x="4118661" y="196951"/>
                  <a:pt x="4122189" y="197941"/>
                  <a:pt x="4125717" y="199917"/>
                </a:cubicBezTo>
                <a:cubicBezTo>
                  <a:pt x="4132776" y="203870"/>
                  <a:pt x="4139832" y="207824"/>
                  <a:pt x="4146890" y="209801"/>
                </a:cubicBezTo>
                <a:cubicBezTo>
                  <a:pt x="4152772" y="211777"/>
                  <a:pt x="4158652" y="214744"/>
                  <a:pt x="4164533" y="216721"/>
                </a:cubicBezTo>
                <a:cubicBezTo>
                  <a:pt x="4170415" y="218697"/>
                  <a:pt x="4177473" y="217708"/>
                  <a:pt x="4184530" y="217708"/>
                </a:cubicBezTo>
                <a:cubicBezTo>
                  <a:pt x="4190411" y="218697"/>
                  <a:pt x="4195116" y="218697"/>
                  <a:pt x="4199822" y="221662"/>
                </a:cubicBezTo>
                <a:cubicBezTo>
                  <a:pt x="4205703" y="224628"/>
                  <a:pt x="4211584" y="227593"/>
                  <a:pt x="4217465" y="229570"/>
                </a:cubicBezTo>
                <a:cubicBezTo>
                  <a:pt x="4219818" y="230559"/>
                  <a:pt x="4222171" y="231548"/>
                  <a:pt x="4224524" y="231548"/>
                </a:cubicBezTo>
                <a:cubicBezTo>
                  <a:pt x="4233933" y="232536"/>
                  <a:pt x="4243343" y="232536"/>
                  <a:pt x="4251578" y="237478"/>
                </a:cubicBezTo>
                <a:cubicBezTo>
                  <a:pt x="4252753" y="238467"/>
                  <a:pt x="4256283" y="238467"/>
                  <a:pt x="4258635" y="238467"/>
                </a:cubicBezTo>
                <a:cubicBezTo>
                  <a:pt x="4268045" y="239455"/>
                  <a:pt x="4277456" y="239455"/>
                  <a:pt x="4286864" y="239455"/>
                </a:cubicBezTo>
                <a:cubicBezTo>
                  <a:pt x="4293922" y="239455"/>
                  <a:pt x="4300979" y="238467"/>
                  <a:pt x="4306862" y="240444"/>
                </a:cubicBezTo>
                <a:cubicBezTo>
                  <a:pt x="4312742" y="242421"/>
                  <a:pt x="4319800" y="244398"/>
                  <a:pt x="4324505" y="247363"/>
                </a:cubicBezTo>
                <a:cubicBezTo>
                  <a:pt x="4332739" y="252304"/>
                  <a:pt x="4340973" y="253294"/>
                  <a:pt x="4350383" y="253294"/>
                </a:cubicBezTo>
                <a:cubicBezTo>
                  <a:pt x="4355088" y="253294"/>
                  <a:pt x="4357440" y="256259"/>
                  <a:pt x="4358616" y="259224"/>
                </a:cubicBezTo>
                <a:cubicBezTo>
                  <a:pt x="4359793" y="262189"/>
                  <a:pt x="4362146" y="264166"/>
                  <a:pt x="4366851" y="265155"/>
                </a:cubicBezTo>
                <a:cubicBezTo>
                  <a:pt x="4369203" y="265155"/>
                  <a:pt x="4372732" y="265155"/>
                  <a:pt x="4375084" y="265155"/>
                </a:cubicBezTo>
                <a:cubicBezTo>
                  <a:pt x="4384494" y="265155"/>
                  <a:pt x="4390374" y="270097"/>
                  <a:pt x="4397434" y="272074"/>
                </a:cubicBezTo>
                <a:cubicBezTo>
                  <a:pt x="4403315" y="274051"/>
                  <a:pt x="4411547" y="272074"/>
                  <a:pt x="4417430" y="273063"/>
                </a:cubicBezTo>
                <a:cubicBezTo>
                  <a:pt x="4423310" y="275040"/>
                  <a:pt x="4428015" y="279982"/>
                  <a:pt x="4435073" y="279982"/>
                </a:cubicBezTo>
                <a:cubicBezTo>
                  <a:pt x="4442130" y="283935"/>
                  <a:pt x="4449188" y="286901"/>
                  <a:pt x="4457422" y="285913"/>
                </a:cubicBezTo>
                <a:cubicBezTo>
                  <a:pt x="4468008" y="284925"/>
                  <a:pt x="4473889" y="292832"/>
                  <a:pt x="4483300" y="292832"/>
                </a:cubicBezTo>
                <a:cubicBezTo>
                  <a:pt x="4491534" y="292832"/>
                  <a:pt x="4498592" y="292832"/>
                  <a:pt x="4506825" y="293821"/>
                </a:cubicBezTo>
                <a:cubicBezTo>
                  <a:pt x="4509178" y="293821"/>
                  <a:pt x="4511530" y="295797"/>
                  <a:pt x="4513883" y="296786"/>
                </a:cubicBezTo>
                <a:cubicBezTo>
                  <a:pt x="4520940" y="299751"/>
                  <a:pt x="4527998" y="302716"/>
                  <a:pt x="4535056" y="304693"/>
                </a:cubicBezTo>
                <a:cubicBezTo>
                  <a:pt x="4540936" y="306670"/>
                  <a:pt x="4547993" y="305682"/>
                  <a:pt x="4553876" y="309636"/>
                </a:cubicBezTo>
                <a:cubicBezTo>
                  <a:pt x="4557404" y="311613"/>
                  <a:pt x="4562109" y="311613"/>
                  <a:pt x="4565639" y="311613"/>
                </a:cubicBezTo>
                <a:cubicBezTo>
                  <a:pt x="4576224" y="312601"/>
                  <a:pt x="4586810" y="311613"/>
                  <a:pt x="4596220" y="317544"/>
                </a:cubicBezTo>
                <a:cubicBezTo>
                  <a:pt x="4597397" y="318532"/>
                  <a:pt x="4600925" y="318532"/>
                  <a:pt x="4603278" y="318532"/>
                </a:cubicBezTo>
                <a:cubicBezTo>
                  <a:pt x="4617393" y="316555"/>
                  <a:pt x="4626803" y="327428"/>
                  <a:pt x="4640919" y="326439"/>
                </a:cubicBezTo>
                <a:cubicBezTo>
                  <a:pt x="4646799" y="328417"/>
                  <a:pt x="4651504" y="332370"/>
                  <a:pt x="4658561" y="332370"/>
                </a:cubicBezTo>
                <a:cubicBezTo>
                  <a:pt x="4663266" y="332370"/>
                  <a:pt x="4669149" y="332370"/>
                  <a:pt x="4673854" y="333359"/>
                </a:cubicBezTo>
                <a:cubicBezTo>
                  <a:pt x="4675029" y="333359"/>
                  <a:pt x="4675029" y="335335"/>
                  <a:pt x="4679734" y="343244"/>
                </a:cubicBezTo>
                <a:cubicBezTo>
                  <a:pt x="4677382" y="345220"/>
                  <a:pt x="4676205" y="346209"/>
                  <a:pt x="4673854" y="347197"/>
                </a:cubicBezTo>
                <a:cubicBezTo>
                  <a:pt x="4672677" y="347197"/>
                  <a:pt x="4671502" y="347197"/>
                  <a:pt x="4670324" y="347197"/>
                </a:cubicBezTo>
                <a:cubicBezTo>
                  <a:pt x="4657386" y="347197"/>
                  <a:pt x="4645624" y="347197"/>
                  <a:pt x="4632685" y="347197"/>
                </a:cubicBezTo>
                <a:cubicBezTo>
                  <a:pt x="4622098" y="347197"/>
                  <a:pt x="4610335" y="346209"/>
                  <a:pt x="4598573" y="346209"/>
                </a:cubicBezTo>
                <a:cubicBezTo>
                  <a:pt x="4591515" y="346209"/>
                  <a:pt x="4585634" y="348186"/>
                  <a:pt x="4584457" y="355104"/>
                </a:cubicBezTo>
                <a:cubicBezTo>
                  <a:pt x="4584457" y="358071"/>
                  <a:pt x="4580929" y="360048"/>
                  <a:pt x="4576224" y="360048"/>
                </a:cubicBezTo>
                <a:cubicBezTo>
                  <a:pt x="4564461" y="360048"/>
                  <a:pt x="4552698" y="360048"/>
                  <a:pt x="4540936" y="360048"/>
                </a:cubicBezTo>
                <a:cubicBezTo>
                  <a:pt x="4535056" y="360048"/>
                  <a:pt x="4532703" y="362024"/>
                  <a:pt x="4531526" y="367955"/>
                </a:cubicBezTo>
                <a:cubicBezTo>
                  <a:pt x="4530351" y="377841"/>
                  <a:pt x="4524468" y="384759"/>
                  <a:pt x="4519763" y="392666"/>
                </a:cubicBezTo>
                <a:cubicBezTo>
                  <a:pt x="4517410" y="396621"/>
                  <a:pt x="4512707" y="399586"/>
                  <a:pt x="4506825" y="399586"/>
                </a:cubicBezTo>
                <a:cubicBezTo>
                  <a:pt x="4499767" y="399586"/>
                  <a:pt x="4493885" y="400575"/>
                  <a:pt x="4489181" y="405517"/>
                </a:cubicBezTo>
                <a:cubicBezTo>
                  <a:pt x="4482124" y="412437"/>
                  <a:pt x="4472714" y="413424"/>
                  <a:pt x="4465656" y="418367"/>
                </a:cubicBezTo>
                <a:cubicBezTo>
                  <a:pt x="4463303" y="419355"/>
                  <a:pt x="4460951" y="420344"/>
                  <a:pt x="4458598" y="420344"/>
                </a:cubicBezTo>
                <a:cubicBezTo>
                  <a:pt x="4446836" y="418367"/>
                  <a:pt x="4439778" y="428252"/>
                  <a:pt x="4428015" y="426275"/>
                </a:cubicBezTo>
                <a:cubicBezTo>
                  <a:pt x="4417430" y="425286"/>
                  <a:pt x="4410372" y="430228"/>
                  <a:pt x="4404490" y="437148"/>
                </a:cubicBezTo>
                <a:cubicBezTo>
                  <a:pt x="4400962" y="441101"/>
                  <a:pt x="4400962" y="446044"/>
                  <a:pt x="4395081" y="447032"/>
                </a:cubicBezTo>
                <a:cubicBezTo>
                  <a:pt x="4389199" y="448020"/>
                  <a:pt x="4384494" y="453951"/>
                  <a:pt x="4377437" y="453951"/>
                </a:cubicBezTo>
                <a:cubicBezTo>
                  <a:pt x="4368027" y="454940"/>
                  <a:pt x="4358616" y="455928"/>
                  <a:pt x="4350383" y="459882"/>
                </a:cubicBezTo>
                <a:cubicBezTo>
                  <a:pt x="4340973" y="463835"/>
                  <a:pt x="4329210" y="461859"/>
                  <a:pt x="4318624" y="460871"/>
                </a:cubicBezTo>
                <a:cubicBezTo>
                  <a:pt x="4306862" y="452963"/>
                  <a:pt x="4292746" y="456917"/>
                  <a:pt x="4279808" y="455928"/>
                </a:cubicBezTo>
                <a:cubicBezTo>
                  <a:pt x="4263340" y="454940"/>
                  <a:pt x="4248048" y="455928"/>
                  <a:pt x="4231581" y="454940"/>
                </a:cubicBezTo>
                <a:cubicBezTo>
                  <a:pt x="4218642" y="454940"/>
                  <a:pt x="4211584" y="459882"/>
                  <a:pt x="4209232" y="469766"/>
                </a:cubicBezTo>
                <a:cubicBezTo>
                  <a:pt x="4208056" y="472732"/>
                  <a:pt x="4205703" y="475697"/>
                  <a:pt x="4200998" y="475697"/>
                </a:cubicBezTo>
                <a:cubicBezTo>
                  <a:pt x="4197469" y="475697"/>
                  <a:pt x="4192764" y="475697"/>
                  <a:pt x="4189235" y="475697"/>
                </a:cubicBezTo>
                <a:cubicBezTo>
                  <a:pt x="4182178" y="475697"/>
                  <a:pt x="4173945" y="475697"/>
                  <a:pt x="4166886" y="470755"/>
                </a:cubicBezTo>
                <a:cubicBezTo>
                  <a:pt x="4165710" y="469766"/>
                  <a:pt x="4162182" y="468779"/>
                  <a:pt x="4159830" y="468779"/>
                </a:cubicBezTo>
                <a:cubicBezTo>
                  <a:pt x="4150420" y="468779"/>
                  <a:pt x="4141010" y="467790"/>
                  <a:pt x="4131599" y="468779"/>
                </a:cubicBezTo>
                <a:cubicBezTo>
                  <a:pt x="4125717" y="468779"/>
                  <a:pt x="4119837" y="472732"/>
                  <a:pt x="4113954" y="473721"/>
                </a:cubicBezTo>
                <a:cubicBezTo>
                  <a:pt x="4102193" y="474710"/>
                  <a:pt x="4090430" y="474710"/>
                  <a:pt x="4078667" y="473721"/>
                </a:cubicBezTo>
                <a:cubicBezTo>
                  <a:pt x="4068082" y="473721"/>
                  <a:pt x="4057494" y="476686"/>
                  <a:pt x="4048084" y="469766"/>
                </a:cubicBezTo>
                <a:cubicBezTo>
                  <a:pt x="4046908" y="468779"/>
                  <a:pt x="4043379" y="470755"/>
                  <a:pt x="4041027" y="471744"/>
                </a:cubicBezTo>
                <a:cubicBezTo>
                  <a:pt x="4038674" y="472732"/>
                  <a:pt x="4036322" y="473721"/>
                  <a:pt x="4033969" y="473721"/>
                </a:cubicBezTo>
                <a:cubicBezTo>
                  <a:pt x="4026913" y="473721"/>
                  <a:pt x="4022206" y="468779"/>
                  <a:pt x="4015150" y="468779"/>
                </a:cubicBezTo>
                <a:cubicBezTo>
                  <a:pt x="4008091" y="469766"/>
                  <a:pt x="4002211" y="468779"/>
                  <a:pt x="3995153" y="468779"/>
                </a:cubicBezTo>
                <a:cubicBezTo>
                  <a:pt x="3983391" y="468779"/>
                  <a:pt x="3971628" y="468779"/>
                  <a:pt x="3959867" y="467790"/>
                </a:cubicBezTo>
                <a:cubicBezTo>
                  <a:pt x="3946926" y="459882"/>
                  <a:pt x="3931636" y="463835"/>
                  <a:pt x="3917521" y="462848"/>
                </a:cubicBezTo>
                <a:cubicBezTo>
                  <a:pt x="3913991" y="461859"/>
                  <a:pt x="3910463" y="464825"/>
                  <a:pt x="3906935" y="465813"/>
                </a:cubicBezTo>
                <a:cubicBezTo>
                  <a:pt x="3903406" y="467790"/>
                  <a:pt x="3899876" y="468779"/>
                  <a:pt x="3896348" y="468779"/>
                </a:cubicBezTo>
                <a:cubicBezTo>
                  <a:pt x="3882233" y="468779"/>
                  <a:pt x="3866942" y="468779"/>
                  <a:pt x="3852826" y="468779"/>
                </a:cubicBezTo>
                <a:cubicBezTo>
                  <a:pt x="3841064" y="468779"/>
                  <a:pt x="3831653" y="468779"/>
                  <a:pt x="3822243" y="474710"/>
                </a:cubicBezTo>
                <a:cubicBezTo>
                  <a:pt x="3819891" y="476686"/>
                  <a:pt x="3816363" y="475697"/>
                  <a:pt x="3814011" y="475697"/>
                </a:cubicBezTo>
                <a:cubicBezTo>
                  <a:pt x="3808128" y="475697"/>
                  <a:pt x="3804600" y="478662"/>
                  <a:pt x="3803425" y="483606"/>
                </a:cubicBezTo>
                <a:cubicBezTo>
                  <a:pt x="3803425" y="485582"/>
                  <a:pt x="3801070" y="488547"/>
                  <a:pt x="3798718" y="488547"/>
                </a:cubicBezTo>
                <a:cubicBezTo>
                  <a:pt x="3789309" y="488547"/>
                  <a:pt x="3779899" y="490524"/>
                  <a:pt x="3771665" y="485582"/>
                </a:cubicBezTo>
                <a:cubicBezTo>
                  <a:pt x="3769312" y="484593"/>
                  <a:pt x="3766960" y="483606"/>
                  <a:pt x="3764607" y="485582"/>
                </a:cubicBezTo>
                <a:cubicBezTo>
                  <a:pt x="3762255" y="486570"/>
                  <a:pt x="3759902" y="488547"/>
                  <a:pt x="3757550" y="488547"/>
                </a:cubicBezTo>
                <a:cubicBezTo>
                  <a:pt x="3750493" y="488547"/>
                  <a:pt x="3742258" y="488547"/>
                  <a:pt x="3734024" y="488547"/>
                </a:cubicBezTo>
                <a:cubicBezTo>
                  <a:pt x="3724615" y="488547"/>
                  <a:pt x="3714028" y="487559"/>
                  <a:pt x="3705795" y="489536"/>
                </a:cubicBezTo>
                <a:cubicBezTo>
                  <a:pt x="3696385" y="491513"/>
                  <a:pt x="3689327" y="496455"/>
                  <a:pt x="3681092" y="500409"/>
                </a:cubicBezTo>
                <a:cubicBezTo>
                  <a:pt x="3672860" y="503375"/>
                  <a:pt x="3665802" y="502386"/>
                  <a:pt x="3658744" y="498432"/>
                </a:cubicBezTo>
                <a:cubicBezTo>
                  <a:pt x="3656392" y="496455"/>
                  <a:pt x="3654039" y="496455"/>
                  <a:pt x="3651687" y="498432"/>
                </a:cubicBezTo>
                <a:cubicBezTo>
                  <a:pt x="3649334" y="499421"/>
                  <a:pt x="3644630" y="501397"/>
                  <a:pt x="3641101" y="501397"/>
                </a:cubicBezTo>
                <a:cubicBezTo>
                  <a:pt x="3636395" y="502386"/>
                  <a:pt x="3630515" y="503375"/>
                  <a:pt x="3626985" y="506339"/>
                </a:cubicBezTo>
                <a:cubicBezTo>
                  <a:pt x="3621105" y="511283"/>
                  <a:pt x="3615222" y="515237"/>
                  <a:pt x="3606989" y="517213"/>
                </a:cubicBezTo>
                <a:cubicBezTo>
                  <a:pt x="3603460" y="518201"/>
                  <a:pt x="3601107" y="521168"/>
                  <a:pt x="3598755" y="524132"/>
                </a:cubicBezTo>
                <a:cubicBezTo>
                  <a:pt x="3595227" y="527099"/>
                  <a:pt x="3596402" y="534017"/>
                  <a:pt x="3590522" y="535004"/>
                </a:cubicBezTo>
                <a:cubicBezTo>
                  <a:pt x="3585817" y="535994"/>
                  <a:pt x="3579936" y="535994"/>
                  <a:pt x="3575229" y="535994"/>
                </a:cubicBezTo>
                <a:cubicBezTo>
                  <a:pt x="3573465" y="536735"/>
                  <a:pt x="3617354" y="562497"/>
                  <a:pt x="3638417" y="575748"/>
                </a:cubicBezTo>
                <a:lnTo>
                  <a:pt x="3648920" y="583148"/>
                </a:lnTo>
                <a:lnTo>
                  <a:pt x="3648603" y="583681"/>
                </a:lnTo>
                <a:lnTo>
                  <a:pt x="3636249" y="587764"/>
                </a:lnTo>
                <a:cubicBezTo>
                  <a:pt x="3631690" y="588382"/>
                  <a:pt x="3626985" y="588382"/>
                  <a:pt x="3622280" y="588382"/>
                </a:cubicBezTo>
                <a:cubicBezTo>
                  <a:pt x="3618752" y="588382"/>
                  <a:pt x="3615222" y="588382"/>
                  <a:pt x="3612870" y="589370"/>
                </a:cubicBezTo>
                <a:cubicBezTo>
                  <a:pt x="3617575" y="592337"/>
                  <a:pt x="3623456" y="592337"/>
                  <a:pt x="3629338" y="592337"/>
                </a:cubicBezTo>
                <a:cubicBezTo>
                  <a:pt x="3630515" y="592337"/>
                  <a:pt x="3632867" y="592337"/>
                  <a:pt x="3634043" y="591347"/>
                </a:cubicBezTo>
                <a:cubicBezTo>
                  <a:pt x="3637571" y="589370"/>
                  <a:pt x="3639924" y="589370"/>
                  <a:pt x="3642276" y="591347"/>
                </a:cubicBezTo>
                <a:cubicBezTo>
                  <a:pt x="3643453" y="591347"/>
                  <a:pt x="3644630" y="592337"/>
                  <a:pt x="3645806" y="592337"/>
                </a:cubicBezTo>
                <a:cubicBezTo>
                  <a:pt x="3658744" y="592337"/>
                  <a:pt x="3670507" y="593324"/>
                  <a:pt x="3683446" y="593324"/>
                </a:cubicBezTo>
                <a:cubicBezTo>
                  <a:pt x="3683446" y="593324"/>
                  <a:pt x="3684622" y="592337"/>
                  <a:pt x="3684622" y="592337"/>
                </a:cubicBezTo>
                <a:cubicBezTo>
                  <a:pt x="3684622" y="592337"/>
                  <a:pt x="3683446" y="591347"/>
                  <a:pt x="3683446" y="591347"/>
                </a:cubicBezTo>
                <a:cubicBezTo>
                  <a:pt x="3679917" y="591347"/>
                  <a:pt x="3676387" y="590359"/>
                  <a:pt x="3672860" y="590359"/>
                </a:cubicBezTo>
                <a:cubicBezTo>
                  <a:pt x="3670507" y="590359"/>
                  <a:pt x="3668154" y="587393"/>
                  <a:pt x="3665802" y="587393"/>
                </a:cubicBezTo>
                <a:cubicBezTo>
                  <a:pt x="3663449" y="589370"/>
                  <a:pt x="3662273" y="589370"/>
                  <a:pt x="3659921" y="587393"/>
                </a:cubicBezTo>
                <a:cubicBezTo>
                  <a:pt x="3658744" y="586406"/>
                  <a:pt x="3657568" y="586406"/>
                  <a:pt x="3656392" y="586406"/>
                </a:cubicBezTo>
                <a:cubicBezTo>
                  <a:pt x="3654039" y="585416"/>
                  <a:pt x="3651687" y="585416"/>
                  <a:pt x="3649334" y="585416"/>
                </a:cubicBezTo>
                <a:cubicBezTo>
                  <a:pt x="3649334" y="585416"/>
                  <a:pt x="3648158" y="584428"/>
                  <a:pt x="3648158" y="584428"/>
                </a:cubicBezTo>
                <a:lnTo>
                  <a:pt x="3648603" y="583681"/>
                </a:lnTo>
                <a:lnTo>
                  <a:pt x="3649334" y="583439"/>
                </a:lnTo>
                <a:lnTo>
                  <a:pt x="3648920" y="583148"/>
                </a:lnTo>
                <a:lnTo>
                  <a:pt x="3649334" y="582451"/>
                </a:lnTo>
                <a:cubicBezTo>
                  <a:pt x="3664624" y="582451"/>
                  <a:pt x="3679917" y="583439"/>
                  <a:pt x="3695207" y="584428"/>
                </a:cubicBezTo>
                <a:cubicBezTo>
                  <a:pt x="3696385" y="584428"/>
                  <a:pt x="3697562" y="584428"/>
                  <a:pt x="3698738" y="585416"/>
                </a:cubicBezTo>
                <a:cubicBezTo>
                  <a:pt x="3701090" y="588382"/>
                  <a:pt x="3704618" y="588382"/>
                  <a:pt x="3708148" y="588382"/>
                </a:cubicBezTo>
                <a:cubicBezTo>
                  <a:pt x="3716380" y="588382"/>
                  <a:pt x="3723438" y="589370"/>
                  <a:pt x="3731672" y="589370"/>
                </a:cubicBezTo>
                <a:cubicBezTo>
                  <a:pt x="3735201" y="589370"/>
                  <a:pt x="3737553" y="589370"/>
                  <a:pt x="3739906" y="591347"/>
                </a:cubicBezTo>
                <a:cubicBezTo>
                  <a:pt x="3741082" y="592337"/>
                  <a:pt x="3742258" y="592337"/>
                  <a:pt x="3743434" y="592337"/>
                </a:cubicBezTo>
                <a:cubicBezTo>
                  <a:pt x="3748139" y="592337"/>
                  <a:pt x="3752844" y="593324"/>
                  <a:pt x="3756374" y="593324"/>
                </a:cubicBezTo>
                <a:cubicBezTo>
                  <a:pt x="3759902" y="594313"/>
                  <a:pt x="3762255" y="594313"/>
                  <a:pt x="3765784" y="594313"/>
                </a:cubicBezTo>
                <a:cubicBezTo>
                  <a:pt x="3769312" y="597278"/>
                  <a:pt x="3775194" y="597278"/>
                  <a:pt x="3778722" y="599255"/>
                </a:cubicBezTo>
                <a:cubicBezTo>
                  <a:pt x="3781075" y="600244"/>
                  <a:pt x="3783428" y="601232"/>
                  <a:pt x="3785780" y="601232"/>
                </a:cubicBezTo>
                <a:cubicBezTo>
                  <a:pt x="3795190" y="602221"/>
                  <a:pt x="3803425" y="602221"/>
                  <a:pt x="3812833" y="603209"/>
                </a:cubicBezTo>
                <a:cubicBezTo>
                  <a:pt x="3818716" y="603209"/>
                  <a:pt x="3825773" y="602221"/>
                  <a:pt x="3831653" y="606175"/>
                </a:cubicBezTo>
                <a:cubicBezTo>
                  <a:pt x="3832831" y="607163"/>
                  <a:pt x="3835182" y="607163"/>
                  <a:pt x="3836359" y="607163"/>
                </a:cubicBezTo>
                <a:cubicBezTo>
                  <a:pt x="3843416" y="607163"/>
                  <a:pt x="3849297" y="608152"/>
                  <a:pt x="3856356" y="608152"/>
                </a:cubicBezTo>
                <a:cubicBezTo>
                  <a:pt x="3859884" y="608152"/>
                  <a:pt x="3863412" y="609140"/>
                  <a:pt x="3865765" y="611117"/>
                </a:cubicBezTo>
                <a:cubicBezTo>
                  <a:pt x="3866942" y="612104"/>
                  <a:pt x="3869294" y="612104"/>
                  <a:pt x="3870470" y="612104"/>
                </a:cubicBezTo>
                <a:cubicBezTo>
                  <a:pt x="3883409" y="613093"/>
                  <a:pt x="3896348" y="613093"/>
                  <a:pt x="3909287" y="614083"/>
                </a:cubicBezTo>
                <a:cubicBezTo>
                  <a:pt x="3912816" y="614083"/>
                  <a:pt x="3915168" y="615071"/>
                  <a:pt x="3918696" y="617048"/>
                </a:cubicBezTo>
                <a:cubicBezTo>
                  <a:pt x="3921050" y="619024"/>
                  <a:pt x="3924579" y="618035"/>
                  <a:pt x="3928106" y="620013"/>
                </a:cubicBezTo>
                <a:cubicBezTo>
                  <a:pt x="3931636" y="621989"/>
                  <a:pt x="3935164" y="621002"/>
                  <a:pt x="3938694" y="621002"/>
                </a:cubicBezTo>
                <a:cubicBezTo>
                  <a:pt x="3945752" y="621989"/>
                  <a:pt x="3951632" y="621002"/>
                  <a:pt x="3957513" y="624955"/>
                </a:cubicBezTo>
                <a:cubicBezTo>
                  <a:pt x="3961042" y="624955"/>
                  <a:pt x="3964570" y="625944"/>
                  <a:pt x="3968099" y="625944"/>
                </a:cubicBezTo>
                <a:cubicBezTo>
                  <a:pt x="3971628" y="626932"/>
                  <a:pt x="3975157" y="626932"/>
                  <a:pt x="3978686" y="628909"/>
                </a:cubicBezTo>
                <a:cubicBezTo>
                  <a:pt x="3979862" y="629897"/>
                  <a:pt x="3982215" y="629897"/>
                  <a:pt x="3983391" y="629897"/>
                </a:cubicBezTo>
                <a:cubicBezTo>
                  <a:pt x="3986920" y="630886"/>
                  <a:pt x="3990448" y="630886"/>
                  <a:pt x="3993976" y="630886"/>
                </a:cubicBezTo>
                <a:cubicBezTo>
                  <a:pt x="3995153" y="630886"/>
                  <a:pt x="3996330" y="630886"/>
                  <a:pt x="3997506" y="631874"/>
                </a:cubicBezTo>
                <a:cubicBezTo>
                  <a:pt x="3999858" y="633851"/>
                  <a:pt x="4003388" y="634840"/>
                  <a:pt x="4006916" y="634840"/>
                </a:cubicBezTo>
                <a:cubicBezTo>
                  <a:pt x="4008091" y="634840"/>
                  <a:pt x="4010444" y="633851"/>
                  <a:pt x="4011621" y="634840"/>
                </a:cubicBezTo>
                <a:cubicBezTo>
                  <a:pt x="4015150" y="635828"/>
                  <a:pt x="4018679" y="637805"/>
                  <a:pt x="4023384" y="637805"/>
                </a:cubicBezTo>
                <a:cubicBezTo>
                  <a:pt x="4028089" y="637805"/>
                  <a:pt x="4031616" y="638794"/>
                  <a:pt x="4036322" y="638794"/>
                </a:cubicBezTo>
                <a:cubicBezTo>
                  <a:pt x="4038674" y="638794"/>
                  <a:pt x="4039852" y="641759"/>
                  <a:pt x="4042204" y="641759"/>
                </a:cubicBezTo>
                <a:cubicBezTo>
                  <a:pt x="4046908" y="642748"/>
                  <a:pt x="4051614" y="643735"/>
                  <a:pt x="4056320" y="642748"/>
                </a:cubicBezTo>
                <a:cubicBezTo>
                  <a:pt x="4056320" y="642748"/>
                  <a:pt x="4057494" y="641759"/>
                  <a:pt x="4057494" y="641759"/>
                </a:cubicBezTo>
                <a:cubicBezTo>
                  <a:pt x="4061023" y="639782"/>
                  <a:pt x="4064552" y="640771"/>
                  <a:pt x="4066905" y="643735"/>
                </a:cubicBezTo>
                <a:cubicBezTo>
                  <a:pt x="4066905" y="644724"/>
                  <a:pt x="4068082" y="644724"/>
                  <a:pt x="4066905" y="645713"/>
                </a:cubicBezTo>
                <a:cubicBezTo>
                  <a:pt x="4066905" y="646702"/>
                  <a:pt x="4065730" y="646702"/>
                  <a:pt x="4065730" y="646702"/>
                </a:cubicBezTo>
                <a:cubicBezTo>
                  <a:pt x="4062200" y="645713"/>
                  <a:pt x="4058670" y="645713"/>
                  <a:pt x="4055142" y="645713"/>
                </a:cubicBezTo>
                <a:cubicBezTo>
                  <a:pt x="4048084" y="645713"/>
                  <a:pt x="4042204" y="644724"/>
                  <a:pt x="4035147" y="644724"/>
                </a:cubicBezTo>
                <a:cubicBezTo>
                  <a:pt x="4033969" y="644724"/>
                  <a:pt x="4032794" y="645713"/>
                  <a:pt x="4032794" y="646702"/>
                </a:cubicBezTo>
                <a:cubicBezTo>
                  <a:pt x="4032794" y="646702"/>
                  <a:pt x="4033969" y="647689"/>
                  <a:pt x="4033969" y="647689"/>
                </a:cubicBezTo>
                <a:cubicBezTo>
                  <a:pt x="4035147" y="649666"/>
                  <a:pt x="4037499" y="650655"/>
                  <a:pt x="4041027" y="650655"/>
                </a:cubicBezTo>
                <a:cubicBezTo>
                  <a:pt x="4041027" y="650655"/>
                  <a:pt x="4042204" y="650655"/>
                  <a:pt x="4042204" y="650655"/>
                </a:cubicBezTo>
                <a:cubicBezTo>
                  <a:pt x="4043379" y="651644"/>
                  <a:pt x="4043379" y="651644"/>
                  <a:pt x="4044557" y="652633"/>
                </a:cubicBezTo>
                <a:cubicBezTo>
                  <a:pt x="4044557" y="652633"/>
                  <a:pt x="4043379" y="653620"/>
                  <a:pt x="4043379" y="653620"/>
                </a:cubicBezTo>
                <a:cubicBezTo>
                  <a:pt x="4041027" y="655597"/>
                  <a:pt x="4038674" y="656586"/>
                  <a:pt x="4035147" y="656586"/>
                </a:cubicBezTo>
                <a:cubicBezTo>
                  <a:pt x="4031616" y="655597"/>
                  <a:pt x="4029264" y="655597"/>
                  <a:pt x="4025736" y="653620"/>
                </a:cubicBezTo>
                <a:cubicBezTo>
                  <a:pt x="4024559" y="652633"/>
                  <a:pt x="4022206" y="652633"/>
                  <a:pt x="4021031" y="652633"/>
                </a:cubicBezTo>
                <a:cubicBezTo>
                  <a:pt x="4013974" y="652633"/>
                  <a:pt x="4006916" y="651644"/>
                  <a:pt x="3999858" y="651644"/>
                </a:cubicBezTo>
                <a:cubicBezTo>
                  <a:pt x="3998683" y="651644"/>
                  <a:pt x="3996330" y="651644"/>
                  <a:pt x="3995153" y="650655"/>
                </a:cubicBezTo>
                <a:cubicBezTo>
                  <a:pt x="3988096" y="645713"/>
                  <a:pt x="3979862" y="647689"/>
                  <a:pt x="3972805" y="646702"/>
                </a:cubicBezTo>
                <a:cubicBezTo>
                  <a:pt x="3966923" y="645713"/>
                  <a:pt x="3962219" y="645713"/>
                  <a:pt x="3956337" y="645713"/>
                </a:cubicBezTo>
                <a:cubicBezTo>
                  <a:pt x="3952808" y="645713"/>
                  <a:pt x="3948104" y="643735"/>
                  <a:pt x="3944574" y="645713"/>
                </a:cubicBezTo>
                <a:cubicBezTo>
                  <a:pt x="3941045" y="647689"/>
                  <a:pt x="3938694" y="649666"/>
                  <a:pt x="3936341" y="651644"/>
                </a:cubicBezTo>
                <a:cubicBezTo>
                  <a:pt x="3933989" y="652633"/>
                  <a:pt x="3931636" y="653620"/>
                  <a:pt x="3929284" y="653620"/>
                </a:cubicBezTo>
                <a:cubicBezTo>
                  <a:pt x="3928106" y="653620"/>
                  <a:pt x="3928106" y="654610"/>
                  <a:pt x="3928106" y="655597"/>
                </a:cubicBezTo>
                <a:cubicBezTo>
                  <a:pt x="3928106" y="658563"/>
                  <a:pt x="3931636" y="660541"/>
                  <a:pt x="3931636" y="663506"/>
                </a:cubicBezTo>
                <a:cubicBezTo>
                  <a:pt x="3931636" y="664495"/>
                  <a:pt x="3941045" y="668447"/>
                  <a:pt x="3942221" y="668447"/>
                </a:cubicBezTo>
                <a:cubicBezTo>
                  <a:pt x="3949279" y="668447"/>
                  <a:pt x="3955160" y="669436"/>
                  <a:pt x="3962219" y="669436"/>
                </a:cubicBezTo>
                <a:cubicBezTo>
                  <a:pt x="3964570" y="670425"/>
                  <a:pt x="3965747" y="669436"/>
                  <a:pt x="3966923" y="668447"/>
                </a:cubicBezTo>
                <a:cubicBezTo>
                  <a:pt x="3968099" y="667459"/>
                  <a:pt x="3970452" y="667459"/>
                  <a:pt x="3971628" y="668447"/>
                </a:cubicBezTo>
                <a:cubicBezTo>
                  <a:pt x="3973982" y="670425"/>
                  <a:pt x="3977510" y="671413"/>
                  <a:pt x="3981038" y="671413"/>
                </a:cubicBezTo>
                <a:cubicBezTo>
                  <a:pt x="3984567" y="673390"/>
                  <a:pt x="3988096" y="674378"/>
                  <a:pt x="3992801" y="674378"/>
                </a:cubicBezTo>
                <a:cubicBezTo>
                  <a:pt x="3993976" y="674378"/>
                  <a:pt x="3995153" y="675367"/>
                  <a:pt x="3996330" y="675367"/>
                </a:cubicBezTo>
                <a:cubicBezTo>
                  <a:pt x="3998683" y="676355"/>
                  <a:pt x="4001035" y="678331"/>
                  <a:pt x="4003388" y="679321"/>
                </a:cubicBezTo>
                <a:cubicBezTo>
                  <a:pt x="4003388" y="679321"/>
                  <a:pt x="4003388" y="680309"/>
                  <a:pt x="4003388" y="680309"/>
                </a:cubicBezTo>
                <a:cubicBezTo>
                  <a:pt x="4003388" y="681298"/>
                  <a:pt x="4002211" y="681298"/>
                  <a:pt x="4002211" y="681298"/>
                </a:cubicBezTo>
                <a:cubicBezTo>
                  <a:pt x="3997506" y="681298"/>
                  <a:pt x="3992801" y="681298"/>
                  <a:pt x="3989272" y="678331"/>
                </a:cubicBezTo>
                <a:cubicBezTo>
                  <a:pt x="3984567" y="677344"/>
                  <a:pt x="3979862" y="677344"/>
                  <a:pt x="3975157" y="677344"/>
                </a:cubicBezTo>
                <a:cubicBezTo>
                  <a:pt x="3975157" y="677344"/>
                  <a:pt x="3973982" y="678331"/>
                  <a:pt x="3973982" y="678331"/>
                </a:cubicBezTo>
                <a:cubicBezTo>
                  <a:pt x="3971628" y="679321"/>
                  <a:pt x="3969275" y="680309"/>
                  <a:pt x="3966923" y="680309"/>
                </a:cubicBezTo>
                <a:cubicBezTo>
                  <a:pt x="3961042" y="680309"/>
                  <a:pt x="3955160" y="679321"/>
                  <a:pt x="3949279" y="679321"/>
                </a:cubicBezTo>
                <a:cubicBezTo>
                  <a:pt x="3944574" y="678331"/>
                  <a:pt x="3939869" y="678331"/>
                  <a:pt x="3935164" y="680309"/>
                </a:cubicBezTo>
                <a:cubicBezTo>
                  <a:pt x="3930459" y="682286"/>
                  <a:pt x="3925754" y="680309"/>
                  <a:pt x="3921050" y="680309"/>
                </a:cubicBezTo>
                <a:cubicBezTo>
                  <a:pt x="3917521" y="680309"/>
                  <a:pt x="3916343" y="679321"/>
                  <a:pt x="3913991" y="678331"/>
                </a:cubicBezTo>
                <a:cubicBezTo>
                  <a:pt x="3913991" y="678331"/>
                  <a:pt x="3912816" y="677344"/>
                  <a:pt x="3912816" y="677344"/>
                </a:cubicBezTo>
                <a:cubicBezTo>
                  <a:pt x="3908111" y="675367"/>
                  <a:pt x="3901053" y="677344"/>
                  <a:pt x="3896348" y="673390"/>
                </a:cubicBezTo>
                <a:cubicBezTo>
                  <a:pt x="3896348" y="672401"/>
                  <a:pt x="3895172" y="673390"/>
                  <a:pt x="3895172" y="673390"/>
                </a:cubicBezTo>
                <a:cubicBezTo>
                  <a:pt x="3893996" y="673390"/>
                  <a:pt x="3892820" y="674378"/>
                  <a:pt x="3890465" y="674378"/>
                </a:cubicBezTo>
                <a:cubicBezTo>
                  <a:pt x="3885762" y="673390"/>
                  <a:pt x="3882233" y="673390"/>
                  <a:pt x="3877528" y="673390"/>
                </a:cubicBezTo>
                <a:cubicBezTo>
                  <a:pt x="3876352" y="673390"/>
                  <a:pt x="3873999" y="673390"/>
                  <a:pt x="3872823" y="674378"/>
                </a:cubicBezTo>
                <a:cubicBezTo>
                  <a:pt x="3871647" y="675367"/>
                  <a:pt x="3870470" y="675367"/>
                  <a:pt x="3869294" y="674378"/>
                </a:cubicBezTo>
                <a:cubicBezTo>
                  <a:pt x="3865765" y="671413"/>
                  <a:pt x="3862237" y="671413"/>
                  <a:pt x="3857531" y="673390"/>
                </a:cubicBezTo>
                <a:cubicBezTo>
                  <a:pt x="3851650" y="674378"/>
                  <a:pt x="3846945" y="675367"/>
                  <a:pt x="3842241" y="671413"/>
                </a:cubicBezTo>
                <a:cubicBezTo>
                  <a:pt x="3839889" y="670425"/>
                  <a:pt x="3837534" y="670425"/>
                  <a:pt x="3835182" y="670425"/>
                </a:cubicBezTo>
                <a:cubicBezTo>
                  <a:pt x="3835182" y="670425"/>
                  <a:pt x="3834006" y="671413"/>
                  <a:pt x="3834006" y="671413"/>
                </a:cubicBezTo>
                <a:cubicBezTo>
                  <a:pt x="3830478" y="673390"/>
                  <a:pt x="3825773" y="673390"/>
                  <a:pt x="3822243" y="675367"/>
                </a:cubicBezTo>
                <a:cubicBezTo>
                  <a:pt x="3817538" y="674378"/>
                  <a:pt x="3812833" y="674378"/>
                  <a:pt x="3808128" y="674378"/>
                </a:cubicBezTo>
                <a:cubicBezTo>
                  <a:pt x="3806953" y="673390"/>
                  <a:pt x="3804600" y="673390"/>
                  <a:pt x="3803425" y="672401"/>
                </a:cubicBezTo>
                <a:cubicBezTo>
                  <a:pt x="3799895" y="670425"/>
                  <a:pt x="3796365" y="669436"/>
                  <a:pt x="3792838" y="671413"/>
                </a:cubicBezTo>
                <a:cubicBezTo>
                  <a:pt x="3789309" y="673390"/>
                  <a:pt x="3786957" y="673390"/>
                  <a:pt x="3784602" y="671413"/>
                </a:cubicBezTo>
                <a:cubicBezTo>
                  <a:pt x="3782250" y="669436"/>
                  <a:pt x="3778722" y="669436"/>
                  <a:pt x="3775194" y="671413"/>
                </a:cubicBezTo>
                <a:cubicBezTo>
                  <a:pt x="3771665" y="673390"/>
                  <a:pt x="3768136" y="673390"/>
                  <a:pt x="3764607" y="671413"/>
                </a:cubicBezTo>
                <a:cubicBezTo>
                  <a:pt x="3764607" y="671413"/>
                  <a:pt x="3763431" y="670425"/>
                  <a:pt x="3762255" y="670425"/>
                </a:cubicBezTo>
                <a:cubicBezTo>
                  <a:pt x="3761079" y="670425"/>
                  <a:pt x="3761079" y="671413"/>
                  <a:pt x="3759902" y="672401"/>
                </a:cubicBezTo>
                <a:cubicBezTo>
                  <a:pt x="3758726" y="672401"/>
                  <a:pt x="3758726" y="673390"/>
                  <a:pt x="3757550" y="674378"/>
                </a:cubicBezTo>
                <a:cubicBezTo>
                  <a:pt x="3757550" y="675367"/>
                  <a:pt x="3758726" y="678331"/>
                  <a:pt x="3759902" y="678331"/>
                </a:cubicBezTo>
                <a:cubicBezTo>
                  <a:pt x="3766960" y="678331"/>
                  <a:pt x="3772841" y="679321"/>
                  <a:pt x="3779899" y="679321"/>
                </a:cubicBezTo>
                <a:cubicBezTo>
                  <a:pt x="3782250" y="679321"/>
                  <a:pt x="3784602" y="680309"/>
                  <a:pt x="3786957" y="681298"/>
                </a:cubicBezTo>
                <a:cubicBezTo>
                  <a:pt x="3788133" y="681298"/>
                  <a:pt x="3790485" y="682286"/>
                  <a:pt x="3791662" y="682286"/>
                </a:cubicBezTo>
                <a:cubicBezTo>
                  <a:pt x="3801070" y="683275"/>
                  <a:pt x="3810480" y="683275"/>
                  <a:pt x="3819891" y="684262"/>
                </a:cubicBezTo>
                <a:cubicBezTo>
                  <a:pt x="3825773" y="685251"/>
                  <a:pt x="3832831" y="684262"/>
                  <a:pt x="3837534" y="687228"/>
                </a:cubicBezTo>
                <a:cubicBezTo>
                  <a:pt x="3838711" y="687228"/>
                  <a:pt x="3839889" y="686240"/>
                  <a:pt x="3841064" y="686240"/>
                </a:cubicBezTo>
                <a:cubicBezTo>
                  <a:pt x="3844594" y="684262"/>
                  <a:pt x="3849297" y="684262"/>
                  <a:pt x="3852826" y="686240"/>
                </a:cubicBezTo>
                <a:cubicBezTo>
                  <a:pt x="3857531" y="688217"/>
                  <a:pt x="3862237" y="689206"/>
                  <a:pt x="3864589" y="693159"/>
                </a:cubicBezTo>
                <a:cubicBezTo>
                  <a:pt x="3865765" y="695137"/>
                  <a:pt x="3868118" y="694147"/>
                  <a:pt x="3870470" y="693159"/>
                </a:cubicBezTo>
                <a:cubicBezTo>
                  <a:pt x="3871647" y="693159"/>
                  <a:pt x="3873999" y="693159"/>
                  <a:pt x="3875175" y="694147"/>
                </a:cubicBezTo>
                <a:cubicBezTo>
                  <a:pt x="3877528" y="696124"/>
                  <a:pt x="3881057" y="696124"/>
                  <a:pt x="3884585" y="695137"/>
                </a:cubicBezTo>
                <a:cubicBezTo>
                  <a:pt x="3886938" y="694147"/>
                  <a:pt x="3888113" y="695137"/>
                  <a:pt x="3890465" y="696124"/>
                </a:cubicBezTo>
                <a:cubicBezTo>
                  <a:pt x="3891643" y="696124"/>
                  <a:pt x="3892820" y="696124"/>
                  <a:pt x="3893996" y="696124"/>
                </a:cubicBezTo>
                <a:cubicBezTo>
                  <a:pt x="3897525" y="693159"/>
                  <a:pt x="3901053" y="694147"/>
                  <a:pt x="3905758" y="694147"/>
                </a:cubicBezTo>
                <a:cubicBezTo>
                  <a:pt x="3910463" y="695137"/>
                  <a:pt x="3915168" y="695137"/>
                  <a:pt x="3919874" y="695137"/>
                </a:cubicBezTo>
                <a:cubicBezTo>
                  <a:pt x="3922226" y="695137"/>
                  <a:pt x="3923401" y="696124"/>
                  <a:pt x="3924579" y="697113"/>
                </a:cubicBezTo>
                <a:cubicBezTo>
                  <a:pt x="3925754" y="698102"/>
                  <a:pt x="3926931" y="698102"/>
                  <a:pt x="3928106" y="697113"/>
                </a:cubicBezTo>
                <a:cubicBezTo>
                  <a:pt x="3932811" y="695137"/>
                  <a:pt x="3936341" y="695137"/>
                  <a:pt x="3939869" y="698102"/>
                </a:cubicBezTo>
                <a:cubicBezTo>
                  <a:pt x="3941045" y="699090"/>
                  <a:pt x="3943399" y="699090"/>
                  <a:pt x="3945752" y="698102"/>
                </a:cubicBezTo>
                <a:cubicBezTo>
                  <a:pt x="3949279" y="697113"/>
                  <a:pt x="3951632" y="697113"/>
                  <a:pt x="3953984" y="699090"/>
                </a:cubicBezTo>
                <a:cubicBezTo>
                  <a:pt x="3955160" y="699090"/>
                  <a:pt x="3956337" y="700078"/>
                  <a:pt x="3957513" y="700078"/>
                </a:cubicBezTo>
                <a:cubicBezTo>
                  <a:pt x="3959867" y="701067"/>
                  <a:pt x="3962219" y="701067"/>
                  <a:pt x="3964570" y="701067"/>
                </a:cubicBezTo>
                <a:cubicBezTo>
                  <a:pt x="3968099" y="701067"/>
                  <a:pt x="3970452" y="700078"/>
                  <a:pt x="3972805" y="699090"/>
                </a:cubicBezTo>
                <a:cubicBezTo>
                  <a:pt x="3975157" y="698102"/>
                  <a:pt x="3978686" y="698102"/>
                  <a:pt x="3981038" y="700078"/>
                </a:cubicBezTo>
                <a:cubicBezTo>
                  <a:pt x="3982215" y="701067"/>
                  <a:pt x="3985743" y="702055"/>
                  <a:pt x="3986920" y="703044"/>
                </a:cubicBezTo>
                <a:cubicBezTo>
                  <a:pt x="3989272" y="705021"/>
                  <a:pt x="3992801" y="706009"/>
                  <a:pt x="3996330" y="706009"/>
                </a:cubicBezTo>
                <a:cubicBezTo>
                  <a:pt x="3997506" y="706998"/>
                  <a:pt x="3998683" y="706009"/>
                  <a:pt x="3999858" y="706998"/>
                </a:cubicBezTo>
                <a:cubicBezTo>
                  <a:pt x="4004564" y="709963"/>
                  <a:pt x="4010444" y="709963"/>
                  <a:pt x="4015150" y="709963"/>
                </a:cubicBezTo>
                <a:cubicBezTo>
                  <a:pt x="4021031" y="709963"/>
                  <a:pt x="4025736" y="710951"/>
                  <a:pt x="4031616" y="710951"/>
                </a:cubicBezTo>
                <a:cubicBezTo>
                  <a:pt x="4032794" y="710951"/>
                  <a:pt x="4035147" y="710951"/>
                  <a:pt x="4036322" y="711940"/>
                </a:cubicBezTo>
                <a:cubicBezTo>
                  <a:pt x="4041027" y="714906"/>
                  <a:pt x="4046908" y="713917"/>
                  <a:pt x="4051614" y="714906"/>
                </a:cubicBezTo>
                <a:cubicBezTo>
                  <a:pt x="4055142" y="714906"/>
                  <a:pt x="4057494" y="716882"/>
                  <a:pt x="4058670" y="718858"/>
                </a:cubicBezTo>
                <a:cubicBezTo>
                  <a:pt x="4058670" y="718858"/>
                  <a:pt x="4057494" y="719848"/>
                  <a:pt x="4057494" y="719848"/>
                </a:cubicBezTo>
                <a:cubicBezTo>
                  <a:pt x="4057494" y="720835"/>
                  <a:pt x="4056320" y="720835"/>
                  <a:pt x="4056320" y="720835"/>
                </a:cubicBezTo>
                <a:cubicBezTo>
                  <a:pt x="4044557" y="719848"/>
                  <a:pt x="4032794" y="719848"/>
                  <a:pt x="4021031" y="718858"/>
                </a:cubicBezTo>
                <a:cubicBezTo>
                  <a:pt x="4018679" y="718858"/>
                  <a:pt x="4017501" y="717871"/>
                  <a:pt x="4016326" y="716882"/>
                </a:cubicBezTo>
                <a:cubicBezTo>
                  <a:pt x="4012798" y="714906"/>
                  <a:pt x="4011621" y="714906"/>
                  <a:pt x="4006916" y="716882"/>
                </a:cubicBezTo>
                <a:cubicBezTo>
                  <a:pt x="4003388" y="717871"/>
                  <a:pt x="4001035" y="717871"/>
                  <a:pt x="3998683" y="715893"/>
                </a:cubicBezTo>
                <a:cubicBezTo>
                  <a:pt x="3997506" y="714906"/>
                  <a:pt x="3995153" y="714906"/>
                  <a:pt x="3993976" y="715893"/>
                </a:cubicBezTo>
                <a:cubicBezTo>
                  <a:pt x="3991625" y="716882"/>
                  <a:pt x="3989272" y="717871"/>
                  <a:pt x="3985743" y="717871"/>
                </a:cubicBezTo>
                <a:cubicBezTo>
                  <a:pt x="3983391" y="717871"/>
                  <a:pt x="3983391" y="718858"/>
                  <a:pt x="3984567" y="721824"/>
                </a:cubicBezTo>
                <a:cubicBezTo>
                  <a:pt x="3984567" y="721824"/>
                  <a:pt x="3984567" y="722813"/>
                  <a:pt x="3984567" y="722813"/>
                </a:cubicBezTo>
                <a:cubicBezTo>
                  <a:pt x="3983391" y="723802"/>
                  <a:pt x="3982215" y="723802"/>
                  <a:pt x="3981038" y="723802"/>
                </a:cubicBezTo>
                <a:cubicBezTo>
                  <a:pt x="3977510" y="722813"/>
                  <a:pt x="3976333" y="719848"/>
                  <a:pt x="3975157" y="716882"/>
                </a:cubicBezTo>
                <a:cubicBezTo>
                  <a:pt x="3975157" y="714906"/>
                  <a:pt x="3973982" y="713917"/>
                  <a:pt x="3971628" y="713917"/>
                </a:cubicBezTo>
                <a:cubicBezTo>
                  <a:pt x="3970452" y="713917"/>
                  <a:pt x="3970452" y="713917"/>
                  <a:pt x="3969275" y="713917"/>
                </a:cubicBezTo>
                <a:cubicBezTo>
                  <a:pt x="3966923" y="712929"/>
                  <a:pt x="3964570" y="711940"/>
                  <a:pt x="3964570" y="709963"/>
                </a:cubicBezTo>
                <a:cubicBezTo>
                  <a:pt x="3964570" y="707986"/>
                  <a:pt x="3963394" y="707986"/>
                  <a:pt x="3961042" y="708975"/>
                </a:cubicBezTo>
                <a:cubicBezTo>
                  <a:pt x="3957513" y="709963"/>
                  <a:pt x="3955160" y="712929"/>
                  <a:pt x="3951632" y="712929"/>
                </a:cubicBezTo>
                <a:cubicBezTo>
                  <a:pt x="3949279" y="713917"/>
                  <a:pt x="3946926" y="715893"/>
                  <a:pt x="3944574" y="716882"/>
                </a:cubicBezTo>
                <a:cubicBezTo>
                  <a:pt x="3943399" y="717871"/>
                  <a:pt x="3943399" y="716882"/>
                  <a:pt x="3942221" y="715893"/>
                </a:cubicBezTo>
                <a:cubicBezTo>
                  <a:pt x="3939869" y="711940"/>
                  <a:pt x="3939869" y="711940"/>
                  <a:pt x="3936341" y="712929"/>
                </a:cubicBezTo>
                <a:cubicBezTo>
                  <a:pt x="3935164" y="713917"/>
                  <a:pt x="3932811" y="713917"/>
                  <a:pt x="3930459" y="714906"/>
                </a:cubicBezTo>
                <a:cubicBezTo>
                  <a:pt x="3926931" y="716882"/>
                  <a:pt x="3923401" y="716882"/>
                  <a:pt x="3919874" y="716882"/>
                </a:cubicBezTo>
                <a:cubicBezTo>
                  <a:pt x="3916343" y="715893"/>
                  <a:pt x="3913991" y="715893"/>
                  <a:pt x="3910463" y="715893"/>
                </a:cubicBezTo>
                <a:cubicBezTo>
                  <a:pt x="3904581" y="714906"/>
                  <a:pt x="3898701" y="715893"/>
                  <a:pt x="3893996" y="719848"/>
                </a:cubicBezTo>
                <a:cubicBezTo>
                  <a:pt x="3892820" y="720835"/>
                  <a:pt x="3890465" y="720835"/>
                  <a:pt x="3889290" y="720835"/>
                </a:cubicBezTo>
                <a:cubicBezTo>
                  <a:pt x="3888113" y="720835"/>
                  <a:pt x="3885762" y="720835"/>
                  <a:pt x="3884585" y="721824"/>
                </a:cubicBezTo>
                <a:cubicBezTo>
                  <a:pt x="3879880" y="725779"/>
                  <a:pt x="3872823" y="726766"/>
                  <a:pt x="3868118" y="730720"/>
                </a:cubicBezTo>
                <a:cubicBezTo>
                  <a:pt x="3866942" y="731709"/>
                  <a:pt x="3864589" y="731709"/>
                  <a:pt x="3863412" y="730720"/>
                </a:cubicBezTo>
                <a:cubicBezTo>
                  <a:pt x="3861060" y="728744"/>
                  <a:pt x="3858707" y="727755"/>
                  <a:pt x="3855179" y="729733"/>
                </a:cubicBezTo>
                <a:cubicBezTo>
                  <a:pt x="3850474" y="731709"/>
                  <a:pt x="3846945" y="730720"/>
                  <a:pt x="3843416" y="728744"/>
                </a:cubicBezTo>
                <a:cubicBezTo>
                  <a:pt x="3841064" y="726766"/>
                  <a:pt x="3837534" y="726766"/>
                  <a:pt x="3835182" y="727755"/>
                </a:cubicBezTo>
                <a:cubicBezTo>
                  <a:pt x="3831653" y="728744"/>
                  <a:pt x="3829301" y="729733"/>
                  <a:pt x="3825773" y="726766"/>
                </a:cubicBezTo>
                <a:cubicBezTo>
                  <a:pt x="3824596" y="725779"/>
                  <a:pt x="3822243" y="725779"/>
                  <a:pt x="3821068" y="726766"/>
                </a:cubicBezTo>
                <a:cubicBezTo>
                  <a:pt x="3818716" y="727755"/>
                  <a:pt x="3816363" y="728744"/>
                  <a:pt x="3814011" y="728744"/>
                </a:cubicBezTo>
                <a:cubicBezTo>
                  <a:pt x="3808128" y="728744"/>
                  <a:pt x="3803425" y="726766"/>
                  <a:pt x="3798718" y="730720"/>
                </a:cubicBezTo>
                <a:cubicBezTo>
                  <a:pt x="3792838" y="728744"/>
                  <a:pt x="3789309" y="733686"/>
                  <a:pt x="3783428" y="732697"/>
                </a:cubicBezTo>
                <a:cubicBezTo>
                  <a:pt x="3779899" y="731709"/>
                  <a:pt x="3778722" y="734674"/>
                  <a:pt x="3775194" y="734674"/>
                </a:cubicBezTo>
                <a:cubicBezTo>
                  <a:pt x="3771665" y="734674"/>
                  <a:pt x="3768136" y="734674"/>
                  <a:pt x="3765784" y="734674"/>
                </a:cubicBezTo>
                <a:cubicBezTo>
                  <a:pt x="3759902" y="734674"/>
                  <a:pt x="3755197" y="740605"/>
                  <a:pt x="3757550" y="745548"/>
                </a:cubicBezTo>
                <a:cubicBezTo>
                  <a:pt x="3758726" y="746536"/>
                  <a:pt x="3759902" y="747525"/>
                  <a:pt x="3759902" y="748513"/>
                </a:cubicBezTo>
                <a:cubicBezTo>
                  <a:pt x="3761079" y="749502"/>
                  <a:pt x="3759902" y="752467"/>
                  <a:pt x="3758726" y="752467"/>
                </a:cubicBezTo>
                <a:cubicBezTo>
                  <a:pt x="3755197" y="753455"/>
                  <a:pt x="3751669" y="752467"/>
                  <a:pt x="3748139" y="754444"/>
                </a:cubicBezTo>
                <a:cubicBezTo>
                  <a:pt x="3748139" y="754444"/>
                  <a:pt x="3746963" y="754444"/>
                  <a:pt x="3745787" y="753455"/>
                </a:cubicBezTo>
                <a:cubicBezTo>
                  <a:pt x="3743434" y="751479"/>
                  <a:pt x="3739906" y="751479"/>
                  <a:pt x="3737553" y="752467"/>
                </a:cubicBezTo>
                <a:cubicBezTo>
                  <a:pt x="3735201" y="753455"/>
                  <a:pt x="3732848" y="754444"/>
                  <a:pt x="3729319" y="754444"/>
                </a:cubicBezTo>
                <a:cubicBezTo>
                  <a:pt x="3722263" y="754444"/>
                  <a:pt x="3715205" y="753455"/>
                  <a:pt x="3708148" y="753455"/>
                </a:cubicBezTo>
                <a:cubicBezTo>
                  <a:pt x="3704618" y="753455"/>
                  <a:pt x="3701090" y="754444"/>
                  <a:pt x="3698738" y="756420"/>
                </a:cubicBezTo>
                <a:cubicBezTo>
                  <a:pt x="3696385" y="759386"/>
                  <a:pt x="3692855" y="760375"/>
                  <a:pt x="3689327" y="759386"/>
                </a:cubicBezTo>
                <a:cubicBezTo>
                  <a:pt x="3685799" y="758397"/>
                  <a:pt x="3682270" y="760375"/>
                  <a:pt x="3679917" y="762351"/>
                </a:cubicBezTo>
                <a:cubicBezTo>
                  <a:pt x="3677565" y="764328"/>
                  <a:pt x="3675212" y="764328"/>
                  <a:pt x="3671684" y="764328"/>
                </a:cubicBezTo>
                <a:cubicBezTo>
                  <a:pt x="3657568" y="763341"/>
                  <a:pt x="3644630" y="763341"/>
                  <a:pt x="3630515" y="762351"/>
                </a:cubicBezTo>
                <a:cubicBezTo>
                  <a:pt x="3628161" y="762351"/>
                  <a:pt x="3625809" y="762351"/>
                  <a:pt x="3623456" y="763341"/>
                </a:cubicBezTo>
                <a:cubicBezTo>
                  <a:pt x="3623456" y="763341"/>
                  <a:pt x="3622280" y="763341"/>
                  <a:pt x="3622280" y="763341"/>
                </a:cubicBezTo>
                <a:cubicBezTo>
                  <a:pt x="3618752" y="760375"/>
                  <a:pt x="3615222" y="760375"/>
                  <a:pt x="3610517" y="760375"/>
                </a:cubicBezTo>
                <a:cubicBezTo>
                  <a:pt x="3608165" y="760375"/>
                  <a:pt x="3604637" y="761362"/>
                  <a:pt x="3602284" y="762351"/>
                </a:cubicBezTo>
                <a:cubicBezTo>
                  <a:pt x="3601107" y="763341"/>
                  <a:pt x="3599932" y="763341"/>
                  <a:pt x="3598755" y="763341"/>
                </a:cubicBezTo>
                <a:cubicBezTo>
                  <a:pt x="3595227" y="763341"/>
                  <a:pt x="3591697" y="763341"/>
                  <a:pt x="3588169" y="763341"/>
                </a:cubicBezTo>
                <a:cubicBezTo>
                  <a:pt x="3586992" y="763341"/>
                  <a:pt x="3586992" y="764328"/>
                  <a:pt x="3585817" y="765316"/>
                </a:cubicBezTo>
                <a:cubicBezTo>
                  <a:pt x="3585817" y="765316"/>
                  <a:pt x="3586992" y="766306"/>
                  <a:pt x="3586992" y="766306"/>
                </a:cubicBezTo>
                <a:cubicBezTo>
                  <a:pt x="3596402" y="767293"/>
                  <a:pt x="3604637" y="768282"/>
                  <a:pt x="3614046" y="768282"/>
                </a:cubicBezTo>
                <a:cubicBezTo>
                  <a:pt x="3617575" y="768282"/>
                  <a:pt x="3619927" y="769271"/>
                  <a:pt x="3622280" y="771247"/>
                </a:cubicBezTo>
                <a:cubicBezTo>
                  <a:pt x="3622280" y="772236"/>
                  <a:pt x="3623456" y="772236"/>
                  <a:pt x="3623456" y="772236"/>
                </a:cubicBezTo>
                <a:cubicBezTo>
                  <a:pt x="3626985" y="773224"/>
                  <a:pt x="3631690" y="773224"/>
                  <a:pt x="3635219" y="771247"/>
                </a:cubicBezTo>
                <a:cubicBezTo>
                  <a:pt x="3636395" y="770259"/>
                  <a:pt x="3638748" y="770259"/>
                  <a:pt x="3639924" y="771247"/>
                </a:cubicBezTo>
                <a:cubicBezTo>
                  <a:pt x="3643453" y="773224"/>
                  <a:pt x="3648158" y="774213"/>
                  <a:pt x="3650511" y="777178"/>
                </a:cubicBezTo>
                <a:cubicBezTo>
                  <a:pt x="3651687" y="778167"/>
                  <a:pt x="3651687" y="779155"/>
                  <a:pt x="3649334" y="780144"/>
                </a:cubicBezTo>
                <a:cubicBezTo>
                  <a:pt x="3648158" y="781131"/>
                  <a:pt x="3645806" y="782121"/>
                  <a:pt x="3644630" y="782121"/>
                </a:cubicBezTo>
                <a:cubicBezTo>
                  <a:pt x="3642276" y="782121"/>
                  <a:pt x="3638748" y="782121"/>
                  <a:pt x="3636395" y="784098"/>
                </a:cubicBezTo>
                <a:cubicBezTo>
                  <a:pt x="3635219" y="784098"/>
                  <a:pt x="3634043" y="784098"/>
                  <a:pt x="3632867" y="783109"/>
                </a:cubicBezTo>
                <a:cubicBezTo>
                  <a:pt x="3631690" y="782121"/>
                  <a:pt x="3629338" y="781131"/>
                  <a:pt x="3628161" y="781131"/>
                </a:cubicBezTo>
                <a:cubicBezTo>
                  <a:pt x="3622280" y="780144"/>
                  <a:pt x="3617575" y="780144"/>
                  <a:pt x="3611693" y="780144"/>
                </a:cubicBezTo>
                <a:cubicBezTo>
                  <a:pt x="3609342" y="780144"/>
                  <a:pt x="3608165" y="781131"/>
                  <a:pt x="3606989" y="782121"/>
                </a:cubicBezTo>
                <a:cubicBezTo>
                  <a:pt x="3603460" y="784098"/>
                  <a:pt x="3598755" y="782121"/>
                  <a:pt x="3595227" y="785086"/>
                </a:cubicBezTo>
                <a:cubicBezTo>
                  <a:pt x="3592874" y="785086"/>
                  <a:pt x="3589344" y="785086"/>
                  <a:pt x="3586992" y="785086"/>
                </a:cubicBezTo>
                <a:cubicBezTo>
                  <a:pt x="3582287" y="785086"/>
                  <a:pt x="3578759" y="785086"/>
                  <a:pt x="3574054" y="785086"/>
                </a:cubicBezTo>
                <a:cubicBezTo>
                  <a:pt x="3571702" y="785086"/>
                  <a:pt x="3570524" y="784098"/>
                  <a:pt x="3568173" y="783109"/>
                </a:cubicBezTo>
                <a:cubicBezTo>
                  <a:pt x="3566997" y="783109"/>
                  <a:pt x="3565821" y="782121"/>
                  <a:pt x="3564644" y="782121"/>
                </a:cubicBezTo>
                <a:cubicBezTo>
                  <a:pt x="3559939" y="781131"/>
                  <a:pt x="3554058" y="780144"/>
                  <a:pt x="3549353" y="783109"/>
                </a:cubicBezTo>
                <a:cubicBezTo>
                  <a:pt x="3546999" y="784098"/>
                  <a:pt x="3543471" y="783109"/>
                  <a:pt x="3541119" y="783109"/>
                </a:cubicBezTo>
                <a:cubicBezTo>
                  <a:pt x="3538766" y="783109"/>
                  <a:pt x="3535237" y="783109"/>
                  <a:pt x="3532885" y="785086"/>
                </a:cubicBezTo>
                <a:cubicBezTo>
                  <a:pt x="3531708" y="785086"/>
                  <a:pt x="3530532" y="785086"/>
                  <a:pt x="3529356" y="784098"/>
                </a:cubicBezTo>
                <a:cubicBezTo>
                  <a:pt x="3525827" y="781131"/>
                  <a:pt x="3522298" y="782121"/>
                  <a:pt x="3518770" y="782121"/>
                </a:cubicBezTo>
                <a:cubicBezTo>
                  <a:pt x="3516417" y="782121"/>
                  <a:pt x="3514065" y="783109"/>
                  <a:pt x="3511712" y="783109"/>
                </a:cubicBezTo>
                <a:cubicBezTo>
                  <a:pt x="3510536" y="783109"/>
                  <a:pt x="3508183" y="781131"/>
                  <a:pt x="3507007" y="781131"/>
                </a:cubicBezTo>
                <a:cubicBezTo>
                  <a:pt x="3504654" y="781131"/>
                  <a:pt x="3502302" y="781131"/>
                  <a:pt x="3499949" y="782121"/>
                </a:cubicBezTo>
                <a:cubicBezTo>
                  <a:pt x="3495244" y="784098"/>
                  <a:pt x="3491716" y="783109"/>
                  <a:pt x="3488187" y="781131"/>
                </a:cubicBezTo>
                <a:cubicBezTo>
                  <a:pt x="3483481" y="779155"/>
                  <a:pt x="3479953" y="779155"/>
                  <a:pt x="3476424" y="782121"/>
                </a:cubicBezTo>
                <a:cubicBezTo>
                  <a:pt x="3472896" y="784098"/>
                  <a:pt x="3469366" y="785086"/>
                  <a:pt x="3464661" y="785086"/>
                </a:cubicBezTo>
                <a:cubicBezTo>
                  <a:pt x="3458781" y="785086"/>
                  <a:pt x="3454076" y="784098"/>
                  <a:pt x="3448195" y="784098"/>
                </a:cubicBezTo>
                <a:cubicBezTo>
                  <a:pt x="3445842" y="784098"/>
                  <a:pt x="3444666" y="783109"/>
                  <a:pt x="3443490" y="782121"/>
                </a:cubicBezTo>
                <a:cubicBezTo>
                  <a:pt x="3443490" y="782121"/>
                  <a:pt x="3442313" y="782121"/>
                  <a:pt x="3442313" y="782121"/>
                </a:cubicBezTo>
                <a:cubicBezTo>
                  <a:pt x="3442313" y="783109"/>
                  <a:pt x="3444666" y="785086"/>
                  <a:pt x="3447018" y="786075"/>
                </a:cubicBezTo>
                <a:cubicBezTo>
                  <a:pt x="3449371" y="787062"/>
                  <a:pt x="3451723" y="788052"/>
                  <a:pt x="3454076" y="789040"/>
                </a:cubicBezTo>
                <a:cubicBezTo>
                  <a:pt x="3456428" y="790029"/>
                  <a:pt x="3456428" y="795960"/>
                  <a:pt x="3454076" y="797937"/>
                </a:cubicBezTo>
                <a:cubicBezTo>
                  <a:pt x="3451723" y="799912"/>
                  <a:pt x="3449371" y="800902"/>
                  <a:pt x="3447018" y="799912"/>
                </a:cubicBezTo>
                <a:cubicBezTo>
                  <a:pt x="3444666" y="798924"/>
                  <a:pt x="3442313" y="797937"/>
                  <a:pt x="3439961" y="796947"/>
                </a:cubicBezTo>
                <a:cubicBezTo>
                  <a:pt x="3434080" y="793982"/>
                  <a:pt x="3431727" y="794971"/>
                  <a:pt x="3431727" y="801890"/>
                </a:cubicBezTo>
                <a:cubicBezTo>
                  <a:pt x="3431727" y="806833"/>
                  <a:pt x="3432903" y="808809"/>
                  <a:pt x="3436432" y="810786"/>
                </a:cubicBezTo>
                <a:cubicBezTo>
                  <a:pt x="3439961" y="810786"/>
                  <a:pt x="3443490" y="811774"/>
                  <a:pt x="3447018" y="811774"/>
                </a:cubicBezTo>
                <a:cubicBezTo>
                  <a:pt x="3447018" y="811774"/>
                  <a:pt x="3448195" y="812763"/>
                  <a:pt x="3448195" y="812763"/>
                </a:cubicBezTo>
                <a:cubicBezTo>
                  <a:pt x="3456428" y="813752"/>
                  <a:pt x="3463486" y="813752"/>
                  <a:pt x="3471719" y="813752"/>
                </a:cubicBezTo>
                <a:cubicBezTo>
                  <a:pt x="3474073" y="813752"/>
                  <a:pt x="3477601" y="813752"/>
                  <a:pt x="3479953" y="813752"/>
                </a:cubicBezTo>
                <a:cubicBezTo>
                  <a:pt x="3487011" y="813752"/>
                  <a:pt x="3490539" y="816717"/>
                  <a:pt x="3494068" y="819682"/>
                </a:cubicBezTo>
                <a:cubicBezTo>
                  <a:pt x="3495244" y="819682"/>
                  <a:pt x="3461133" y="818693"/>
                  <a:pt x="3423493" y="817705"/>
                </a:cubicBezTo>
                <a:cubicBezTo>
                  <a:pt x="3423493" y="817705"/>
                  <a:pt x="3422317" y="817705"/>
                  <a:pt x="3422317" y="817705"/>
                </a:cubicBezTo>
                <a:cubicBezTo>
                  <a:pt x="3415259" y="817705"/>
                  <a:pt x="3408202" y="816717"/>
                  <a:pt x="3401144" y="816717"/>
                </a:cubicBezTo>
                <a:cubicBezTo>
                  <a:pt x="3399967" y="816717"/>
                  <a:pt x="3399967" y="816717"/>
                  <a:pt x="3398791" y="816717"/>
                </a:cubicBezTo>
                <a:cubicBezTo>
                  <a:pt x="3392910" y="815728"/>
                  <a:pt x="3388205" y="815728"/>
                  <a:pt x="3382324" y="815728"/>
                </a:cubicBezTo>
                <a:cubicBezTo>
                  <a:pt x="3379971" y="815728"/>
                  <a:pt x="3376443" y="815728"/>
                  <a:pt x="3374090" y="816717"/>
                </a:cubicBezTo>
                <a:cubicBezTo>
                  <a:pt x="3372913" y="817705"/>
                  <a:pt x="3370561" y="817705"/>
                  <a:pt x="3369385" y="817705"/>
                </a:cubicBezTo>
                <a:cubicBezTo>
                  <a:pt x="3364680" y="817705"/>
                  <a:pt x="3359975" y="818693"/>
                  <a:pt x="3356447" y="821659"/>
                </a:cubicBezTo>
                <a:cubicBezTo>
                  <a:pt x="3354095" y="823636"/>
                  <a:pt x="3350565" y="824624"/>
                  <a:pt x="3347035" y="825613"/>
                </a:cubicBezTo>
                <a:cubicBezTo>
                  <a:pt x="3343507" y="825613"/>
                  <a:pt x="3338802" y="826602"/>
                  <a:pt x="3335273" y="827589"/>
                </a:cubicBezTo>
                <a:cubicBezTo>
                  <a:pt x="3334097" y="827589"/>
                  <a:pt x="3332922" y="826602"/>
                  <a:pt x="3331745" y="826602"/>
                </a:cubicBezTo>
                <a:cubicBezTo>
                  <a:pt x="3331745" y="826602"/>
                  <a:pt x="3329392" y="825613"/>
                  <a:pt x="3329392" y="825613"/>
                </a:cubicBezTo>
                <a:cubicBezTo>
                  <a:pt x="3324687" y="827589"/>
                  <a:pt x="3319982" y="826602"/>
                  <a:pt x="3315277" y="826602"/>
                </a:cubicBezTo>
                <a:cubicBezTo>
                  <a:pt x="3312925" y="826602"/>
                  <a:pt x="3311749" y="827589"/>
                  <a:pt x="3309396" y="828579"/>
                </a:cubicBezTo>
                <a:cubicBezTo>
                  <a:pt x="3307044" y="831544"/>
                  <a:pt x="3305867" y="833520"/>
                  <a:pt x="3302339" y="835497"/>
                </a:cubicBezTo>
                <a:cubicBezTo>
                  <a:pt x="3292929" y="840440"/>
                  <a:pt x="3294104" y="851313"/>
                  <a:pt x="3284694" y="857244"/>
                </a:cubicBezTo>
                <a:cubicBezTo>
                  <a:pt x="3276461" y="862186"/>
                  <a:pt x="3270580" y="868116"/>
                  <a:pt x="3264698" y="874047"/>
                </a:cubicBezTo>
                <a:cubicBezTo>
                  <a:pt x="3263522" y="881955"/>
                  <a:pt x="3255288" y="883932"/>
                  <a:pt x="3248232" y="886898"/>
                </a:cubicBezTo>
                <a:cubicBezTo>
                  <a:pt x="3244702" y="888875"/>
                  <a:pt x="3242349" y="890852"/>
                  <a:pt x="3237644" y="890852"/>
                </a:cubicBezTo>
                <a:cubicBezTo>
                  <a:pt x="3235292" y="890852"/>
                  <a:pt x="3231762" y="890852"/>
                  <a:pt x="3229410" y="890852"/>
                </a:cubicBezTo>
                <a:cubicBezTo>
                  <a:pt x="3198828" y="892829"/>
                  <a:pt x="3207061" y="887886"/>
                  <a:pt x="3184713" y="906666"/>
                </a:cubicBezTo>
                <a:cubicBezTo>
                  <a:pt x="3181185" y="909633"/>
                  <a:pt x="3176478" y="911609"/>
                  <a:pt x="3170598" y="911609"/>
                </a:cubicBezTo>
                <a:cubicBezTo>
                  <a:pt x="3168245" y="911609"/>
                  <a:pt x="3165893" y="912597"/>
                  <a:pt x="3163540" y="913586"/>
                </a:cubicBezTo>
                <a:cubicBezTo>
                  <a:pt x="3150602" y="922482"/>
                  <a:pt x="3137662" y="928413"/>
                  <a:pt x="3122371" y="933355"/>
                </a:cubicBezTo>
                <a:cubicBezTo>
                  <a:pt x="3121196" y="933355"/>
                  <a:pt x="3120018" y="934344"/>
                  <a:pt x="3118844" y="935333"/>
                </a:cubicBezTo>
                <a:cubicBezTo>
                  <a:pt x="3114138" y="938298"/>
                  <a:pt x="3215296" y="977837"/>
                  <a:pt x="3208239" y="977837"/>
                </a:cubicBezTo>
                <a:cubicBezTo>
                  <a:pt x="3196476" y="977837"/>
                  <a:pt x="3187066" y="986733"/>
                  <a:pt x="3174127" y="984755"/>
                </a:cubicBezTo>
                <a:cubicBezTo>
                  <a:pt x="3168245" y="983768"/>
                  <a:pt x="3163540" y="985744"/>
                  <a:pt x="3158835" y="988709"/>
                </a:cubicBezTo>
                <a:cubicBezTo>
                  <a:pt x="3156483" y="990686"/>
                  <a:pt x="3151777" y="991675"/>
                  <a:pt x="3148249" y="991675"/>
                </a:cubicBezTo>
                <a:cubicBezTo>
                  <a:pt x="3141191" y="991675"/>
                  <a:pt x="3135310" y="991675"/>
                  <a:pt x="3128252" y="991675"/>
                </a:cubicBezTo>
                <a:cubicBezTo>
                  <a:pt x="3121196" y="990686"/>
                  <a:pt x="3115313" y="992663"/>
                  <a:pt x="3109433" y="995629"/>
                </a:cubicBezTo>
                <a:cubicBezTo>
                  <a:pt x="3105903" y="997605"/>
                  <a:pt x="3101198" y="997605"/>
                  <a:pt x="3098846" y="999582"/>
                </a:cubicBezTo>
                <a:cubicBezTo>
                  <a:pt x="3092966" y="1003536"/>
                  <a:pt x="3089435" y="1002548"/>
                  <a:pt x="3084730" y="999582"/>
                </a:cubicBezTo>
                <a:cubicBezTo>
                  <a:pt x="3083555" y="998593"/>
                  <a:pt x="3078850" y="997605"/>
                  <a:pt x="3077674" y="998593"/>
                </a:cubicBezTo>
                <a:cubicBezTo>
                  <a:pt x="3070615" y="1003536"/>
                  <a:pt x="3061205" y="1003536"/>
                  <a:pt x="3051796" y="1003536"/>
                </a:cubicBezTo>
                <a:cubicBezTo>
                  <a:pt x="3020037" y="1003536"/>
                  <a:pt x="2988278" y="1003536"/>
                  <a:pt x="2956520" y="1003536"/>
                </a:cubicBezTo>
                <a:cubicBezTo>
                  <a:pt x="2891825" y="1003536"/>
                  <a:pt x="2825955" y="1003536"/>
                  <a:pt x="2761262" y="1003536"/>
                </a:cubicBezTo>
                <a:cubicBezTo>
                  <a:pt x="2755379" y="1003536"/>
                  <a:pt x="2750675" y="1003536"/>
                  <a:pt x="2745969" y="1000571"/>
                </a:cubicBezTo>
                <a:cubicBezTo>
                  <a:pt x="2743616" y="998593"/>
                  <a:pt x="2741264" y="998593"/>
                  <a:pt x="2738913" y="1000571"/>
                </a:cubicBezTo>
                <a:cubicBezTo>
                  <a:pt x="2736560" y="1002548"/>
                  <a:pt x="2733031" y="1003536"/>
                  <a:pt x="2728326" y="1003536"/>
                </a:cubicBezTo>
                <a:cubicBezTo>
                  <a:pt x="2714211" y="1003536"/>
                  <a:pt x="2698919" y="1003536"/>
                  <a:pt x="2684804" y="1003536"/>
                </a:cubicBezTo>
                <a:cubicBezTo>
                  <a:pt x="2682452" y="1003536"/>
                  <a:pt x="2680099" y="1002548"/>
                  <a:pt x="2677746" y="1001558"/>
                </a:cubicBezTo>
                <a:cubicBezTo>
                  <a:pt x="2671866" y="998593"/>
                  <a:pt x="2665984" y="997605"/>
                  <a:pt x="2658926" y="997605"/>
                </a:cubicBezTo>
                <a:cubicBezTo>
                  <a:pt x="2623638" y="996617"/>
                  <a:pt x="2587175" y="996617"/>
                  <a:pt x="2551888" y="996617"/>
                </a:cubicBezTo>
                <a:cubicBezTo>
                  <a:pt x="2544830" y="996617"/>
                  <a:pt x="2536595" y="996617"/>
                  <a:pt x="2528363" y="996617"/>
                </a:cubicBezTo>
                <a:cubicBezTo>
                  <a:pt x="2521305" y="996617"/>
                  <a:pt x="2513072" y="996617"/>
                  <a:pt x="2506012" y="992663"/>
                </a:cubicBezTo>
                <a:cubicBezTo>
                  <a:pt x="2502485" y="990686"/>
                  <a:pt x="2495427" y="990686"/>
                  <a:pt x="2490722" y="990686"/>
                </a:cubicBezTo>
                <a:cubicBezTo>
                  <a:pt x="2448377" y="990686"/>
                  <a:pt x="2406032" y="989698"/>
                  <a:pt x="2363686" y="989698"/>
                </a:cubicBezTo>
                <a:cubicBezTo>
                  <a:pt x="2358981" y="989698"/>
                  <a:pt x="2355453" y="989698"/>
                  <a:pt x="2351924" y="987720"/>
                </a:cubicBezTo>
                <a:cubicBezTo>
                  <a:pt x="2347218" y="984755"/>
                  <a:pt x="2342514" y="983768"/>
                  <a:pt x="2336632" y="983768"/>
                </a:cubicBezTo>
                <a:cubicBezTo>
                  <a:pt x="2324870" y="983768"/>
                  <a:pt x="2313107" y="982778"/>
                  <a:pt x="2301346" y="982778"/>
                </a:cubicBezTo>
                <a:cubicBezTo>
                  <a:pt x="2287230" y="982778"/>
                  <a:pt x="2271938" y="982778"/>
                  <a:pt x="2257823" y="982778"/>
                </a:cubicBezTo>
                <a:cubicBezTo>
                  <a:pt x="2247237" y="982778"/>
                  <a:pt x="2236651" y="983768"/>
                  <a:pt x="2227241" y="977837"/>
                </a:cubicBezTo>
                <a:cubicBezTo>
                  <a:pt x="2226064" y="976847"/>
                  <a:pt x="2222536" y="976847"/>
                  <a:pt x="2220183" y="976847"/>
                </a:cubicBezTo>
                <a:cubicBezTo>
                  <a:pt x="2210773" y="976847"/>
                  <a:pt x="2201363" y="976847"/>
                  <a:pt x="2191953" y="976847"/>
                </a:cubicBezTo>
                <a:cubicBezTo>
                  <a:pt x="2187248" y="976847"/>
                  <a:pt x="2184895" y="978824"/>
                  <a:pt x="2181368" y="980802"/>
                </a:cubicBezTo>
                <a:cubicBezTo>
                  <a:pt x="2174310" y="984755"/>
                  <a:pt x="2174310" y="985744"/>
                  <a:pt x="2180190" y="990686"/>
                </a:cubicBezTo>
                <a:cubicBezTo>
                  <a:pt x="2182543" y="992663"/>
                  <a:pt x="2186073" y="995629"/>
                  <a:pt x="2188424" y="997605"/>
                </a:cubicBezTo>
                <a:cubicBezTo>
                  <a:pt x="2189600" y="998593"/>
                  <a:pt x="2189600" y="1000571"/>
                  <a:pt x="2189600" y="1000571"/>
                </a:cubicBezTo>
                <a:cubicBezTo>
                  <a:pt x="2188424" y="1001558"/>
                  <a:pt x="2187248" y="1002548"/>
                  <a:pt x="2186073" y="1002548"/>
                </a:cubicBezTo>
                <a:cubicBezTo>
                  <a:pt x="2180190" y="1003536"/>
                  <a:pt x="2173132" y="1002548"/>
                  <a:pt x="2167253" y="1006502"/>
                </a:cubicBezTo>
                <a:cubicBezTo>
                  <a:pt x="2164898" y="1008479"/>
                  <a:pt x="2162547" y="1008479"/>
                  <a:pt x="2160195" y="1007489"/>
                </a:cubicBezTo>
                <a:cubicBezTo>
                  <a:pt x="2153137" y="1004524"/>
                  <a:pt x="2146079" y="1001558"/>
                  <a:pt x="2139022" y="998593"/>
                </a:cubicBezTo>
                <a:cubicBezTo>
                  <a:pt x="2135492" y="997605"/>
                  <a:pt x="2131964" y="997605"/>
                  <a:pt x="2128434" y="999582"/>
                </a:cubicBezTo>
                <a:cubicBezTo>
                  <a:pt x="2117849" y="1005513"/>
                  <a:pt x="2106086" y="1005513"/>
                  <a:pt x="2095500" y="999582"/>
                </a:cubicBezTo>
                <a:cubicBezTo>
                  <a:pt x="2091973" y="997605"/>
                  <a:pt x="2088442" y="996617"/>
                  <a:pt x="2084913" y="997605"/>
                </a:cubicBezTo>
                <a:cubicBezTo>
                  <a:pt x="2081385" y="998593"/>
                  <a:pt x="2080210" y="1000571"/>
                  <a:pt x="2080210" y="1002548"/>
                </a:cubicBezTo>
                <a:cubicBezTo>
                  <a:pt x="2079032" y="1005513"/>
                  <a:pt x="2080210" y="1007489"/>
                  <a:pt x="2082561" y="1008479"/>
                </a:cubicBezTo>
                <a:cubicBezTo>
                  <a:pt x="2083737" y="1008479"/>
                  <a:pt x="2084913" y="1009467"/>
                  <a:pt x="2086090" y="1009467"/>
                </a:cubicBezTo>
                <a:cubicBezTo>
                  <a:pt x="2090795" y="1009467"/>
                  <a:pt x="2096676" y="1009467"/>
                  <a:pt x="2101381" y="1009467"/>
                </a:cubicBezTo>
                <a:cubicBezTo>
                  <a:pt x="2126082" y="1009467"/>
                  <a:pt x="2119025" y="1006502"/>
                  <a:pt x="2139022" y="1023305"/>
                </a:cubicBezTo>
                <a:cubicBezTo>
                  <a:pt x="2140197" y="1024295"/>
                  <a:pt x="2140197" y="1025282"/>
                  <a:pt x="2141374" y="1026271"/>
                </a:cubicBezTo>
                <a:cubicBezTo>
                  <a:pt x="2139022" y="1027260"/>
                  <a:pt x="2137845" y="1029236"/>
                  <a:pt x="2135492" y="1029236"/>
                </a:cubicBezTo>
                <a:cubicBezTo>
                  <a:pt x="2128434" y="1030225"/>
                  <a:pt x="2122554" y="1030225"/>
                  <a:pt x="2115496" y="1030225"/>
                </a:cubicBezTo>
                <a:cubicBezTo>
                  <a:pt x="2106086" y="1037144"/>
                  <a:pt x="2095500" y="1036156"/>
                  <a:pt x="2084913" y="1036156"/>
                </a:cubicBezTo>
                <a:cubicBezTo>
                  <a:pt x="2077857" y="1036156"/>
                  <a:pt x="2071975" y="1033190"/>
                  <a:pt x="2066094" y="1031213"/>
                </a:cubicBezTo>
                <a:cubicBezTo>
                  <a:pt x="2054332" y="1028248"/>
                  <a:pt x="2042569" y="1029236"/>
                  <a:pt x="2030806" y="1030225"/>
                </a:cubicBezTo>
                <a:cubicBezTo>
                  <a:pt x="2022572" y="1030225"/>
                  <a:pt x="2017867" y="1037144"/>
                  <a:pt x="2008456" y="1036156"/>
                </a:cubicBezTo>
                <a:cubicBezTo>
                  <a:pt x="2001400" y="1035167"/>
                  <a:pt x="1995518" y="1035167"/>
                  <a:pt x="1988460" y="1036156"/>
                </a:cubicBezTo>
                <a:cubicBezTo>
                  <a:pt x="1986108" y="1036156"/>
                  <a:pt x="1983755" y="1038132"/>
                  <a:pt x="1981403" y="1039120"/>
                </a:cubicBezTo>
                <a:cubicBezTo>
                  <a:pt x="1975522" y="1043075"/>
                  <a:pt x="1967288" y="1044063"/>
                  <a:pt x="1962584" y="1041098"/>
                </a:cubicBezTo>
                <a:cubicBezTo>
                  <a:pt x="1953172" y="1037144"/>
                  <a:pt x="1944939" y="1037144"/>
                  <a:pt x="1935529" y="1036156"/>
                </a:cubicBezTo>
                <a:cubicBezTo>
                  <a:pt x="1930823" y="1036156"/>
                  <a:pt x="1924943" y="1037144"/>
                  <a:pt x="1920238" y="1034179"/>
                </a:cubicBezTo>
                <a:cubicBezTo>
                  <a:pt x="1914356" y="1030225"/>
                  <a:pt x="1908476" y="1029236"/>
                  <a:pt x="1901418" y="1029236"/>
                </a:cubicBezTo>
                <a:cubicBezTo>
                  <a:pt x="1894360" y="1029236"/>
                  <a:pt x="1888478" y="1028248"/>
                  <a:pt x="1881422" y="1029236"/>
                </a:cubicBezTo>
                <a:cubicBezTo>
                  <a:pt x="1872012" y="1029236"/>
                  <a:pt x="1863777" y="1028248"/>
                  <a:pt x="1855544" y="1023305"/>
                </a:cubicBezTo>
                <a:cubicBezTo>
                  <a:pt x="1853191" y="1021329"/>
                  <a:pt x="1847309" y="1022317"/>
                  <a:pt x="1843781" y="1022317"/>
                </a:cubicBezTo>
                <a:cubicBezTo>
                  <a:pt x="1840253" y="1022317"/>
                  <a:pt x="1839076" y="1025282"/>
                  <a:pt x="1841429" y="1029236"/>
                </a:cubicBezTo>
                <a:cubicBezTo>
                  <a:pt x="1842606" y="1030225"/>
                  <a:pt x="1843781" y="1031213"/>
                  <a:pt x="1843781" y="1032201"/>
                </a:cubicBezTo>
                <a:cubicBezTo>
                  <a:pt x="1841429" y="1036156"/>
                  <a:pt x="1837901" y="1039120"/>
                  <a:pt x="1833196" y="1041098"/>
                </a:cubicBezTo>
                <a:cubicBezTo>
                  <a:pt x="1829666" y="1042085"/>
                  <a:pt x="1826138" y="1041098"/>
                  <a:pt x="1822608" y="1039120"/>
                </a:cubicBezTo>
                <a:cubicBezTo>
                  <a:pt x="1820255" y="1037144"/>
                  <a:pt x="1817903" y="1035167"/>
                  <a:pt x="1815552" y="1035167"/>
                </a:cubicBezTo>
                <a:cubicBezTo>
                  <a:pt x="1806140" y="1035167"/>
                  <a:pt x="1796730" y="1035167"/>
                  <a:pt x="1787322" y="1035167"/>
                </a:cubicBezTo>
                <a:cubicBezTo>
                  <a:pt x="1775559" y="1045051"/>
                  <a:pt x="1760267" y="1039120"/>
                  <a:pt x="1746152" y="1043075"/>
                </a:cubicBezTo>
                <a:cubicBezTo>
                  <a:pt x="1742623" y="1043075"/>
                  <a:pt x="1742623" y="1046041"/>
                  <a:pt x="1742623" y="1048016"/>
                </a:cubicBezTo>
                <a:cubicBezTo>
                  <a:pt x="1742623" y="1049006"/>
                  <a:pt x="1742623" y="1049993"/>
                  <a:pt x="1742623" y="1050982"/>
                </a:cubicBezTo>
                <a:cubicBezTo>
                  <a:pt x="1742623" y="1051971"/>
                  <a:pt x="1743799" y="1052960"/>
                  <a:pt x="1744976" y="1052960"/>
                </a:cubicBezTo>
                <a:cubicBezTo>
                  <a:pt x="1755562" y="1054936"/>
                  <a:pt x="1766149" y="1055924"/>
                  <a:pt x="1775559" y="1049993"/>
                </a:cubicBezTo>
                <a:cubicBezTo>
                  <a:pt x="1776735" y="1049006"/>
                  <a:pt x="1780264" y="1050982"/>
                  <a:pt x="1782615" y="1051971"/>
                </a:cubicBezTo>
                <a:cubicBezTo>
                  <a:pt x="1784969" y="1052960"/>
                  <a:pt x="1787322" y="1052960"/>
                  <a:pt x="1789674" y="1050982"/>
                </a:cubicBezTo>
                <a:cubicBezTo>
                  <a:pt x="1796730" y="1047029"/>
                  <a:pt x="1804965" y="1046041"/>
                  <a:pt x="1812023" y="1049993"/>
                </a:cubicBezTo>
                <a:cubicBezTo>
                  <a:pt x="1819081" y="1052960"/>
                  <a:pt x="1827313" y="1053947"/>
                  <a:pt x="1833196" y="1058891"/>
                </a:cubicBezTo>
                <a:cubicBezTo>
                  <a:pt x="1837901" y="1061855"/>
                  <a:pt x="1844959" y="1060867"/>
                  <a:pt x="1852014" y="1057901"/>
                </a:cubicBezTo>
                <a:cubicBezTo>
                  <a:pt x="1856721" y="1055924"/>
                  <a:pt x="1861425" y="1053947"/>
                  <a:pt x="1867306" y="1053947"/>
                </a:cubicBezTo>
                <a:cubicBezTo>
                  <a:pt x="1870835" y="1053947"/>
                  <a:pt x="1875540" y="1053947"/>
                  <a:pt x="1879069" y="1053947"/>
                </a:cubicBezTo>
                <a:cubicBezTo>
                  <a:pt x="1886127" y="1053947"/>
                  <a:pt x="1892008" y="1055924"/>
                  <a:pt x="1897889" y="1058891"/>
                </a:cubicBezTo>
                <a:cubicBezTo>
                  <a:pt x="1902593" y="1061855"/>
                  <a:pt x="1908476" y="1059878"/>
                  <a:pt x="1913181" y="1060867"/>
                </a:cubicBezTo>
                <a:cubicBezTo>
                  <a:pt x="1919061" y="1061855"/>
                  <a:pt x="1921415" y="1066798"/>
                  <a:pt x="1927296" y="1066798"/>
                </a:cubicBezTo>
                <a:cubicBezTo>
                  <a:pt x="1928471" y="1066798"/>
                  <a:pt x="1930823" y="1067786"/>
                  <a:pt x="1930823" y="1066798"/>
                </a:cubicBezTo>
                <a:cubicBezTo>
                  <a:pt x="1936706" y="1059878"/>
                  <a:pt x="1947291" y="1060867"/>
                  <a:pt x="1955525" y="1058891"/>
                </a:cubicBezTo>
                <a:cubicBezTo>
                  <a:pt x="1963759" y="1056913"/>
                  <a:pt x="1963759" y="1056913"/>
                  <a:pt x="1968464" y="1059878"/>
                </a:cubicBezTo>
                <a:cubicBezTo>
                  <a:pt x="1971994" y="1061855"/>
                  <a:pt x="1974347" y="1063832"/>
                  <a:pt x="1977874" y="1065809"/>
                </a:cubicBezTo>
                <a:cubicBezTo>
                  <a:pt x="1979050" y="1066798"/>
                  <a:pt x="1982580" y="1066798"/>
                  <a:pt x="1984932" y="1067786"/>
                </a:cubicBezTo>
                <a:cubicBezTo>
                  <a:pt x="1988460" y="1068775"/>
                  <a:pt x="1988460" y="1071740"/>
                  <a:pt x="1984932" y="1074706"/>
                </a:cubicBezTo>
                <a:cubicBezTo>
                  <a:pt x="1983755" y="1075694"/>
                  <a:pt x="1982580" y="1075694"/>
                  <a:pt x="1981403" y="1076682"/>
                </a:cubicBezTo>
                <a:cubicBezTo>
                  <a:pt x="1976698" y="1079647"/>
                  <a:pt x="1973169" y="1081625"/>
                  <a:pt x="1967288" y="1078660"/>
                </a:cubicBezTo>
                <a:cubicBezTo>
                  <a:pt x="1964935" y="1076682"/>
                  <a:pt x="1961407" y="1074706"/>
                  <a:pt x="1960232" y="1075694"/>
                </a:cubicBezTo>
                <a:cubicBezTo>
                  <a:pt x="1949644" y="1082612"/>
                  <a:pt x="1937881" y="1080637"/>
                  <a:pt x="1926118" y="1080637"/>
                </a:cubicBezTo>
                <a:cubicBezTo>
                  <a:pt x="1921415" y="1080637"/>
                  <a:pt x="1919061" y="1082612"/>
                  <a:pt x="1915533" y="1084591"/>
                </a:cubicBezTo>
                <a:cubicBezTo>
                  <a:pt x="1912003" y="1086567"/>
                  <a:pt x="1908476" y="1086567"/>
                  <a:pt x="1904947" y="1084591"/>
                </a:cubicBezTo>
                <a:cubicBezTo>
                  <a:pt x="1899065" y="1081625"/>
                  <a:pt x="1893184" y="1079647"/>
                  <a:pt x="1886127" y="1079647"/>
                </a:cubicBezTo>
                <a:cubicBezTo>
                  <a:pt x="1869659" y="1079647"/>
                  <a:pt x="1854369" y="1079647"/>
                  <a:pt x="1837901" y="1079647"/>
                </a:cubicBezTo>
                <a:cubicBezTo>
                  <a:pt x="1814375" y="1079647"/>
                  <a:pt x="1792027" y="1079647"/>
                  <a:pt x="1769677" y="1079647"/>
                </a:cubicBezTo>
                <a:cubicBezTo>
                  <a:pt x="1764972" y="1079647"/>
                  <a:pt x="1760267" y="1078660"/>
                  <a:pt x="1755562" y="1075694"/>
                </a:cubicBezTo>
                <a:cubicBezTo>
                  <a:pt x="1749681" y="1071740"/>
                  <a:pt x="1742623" y="1074706"/>
                  <a:pt x="1736743" y="1071740"/>
                </a:cubicBezTo>
                <a:cubicBezTo>
                  <a:pt x="1733213" y="1068775"/>
                  <a:pt x="1728508" y="1066798"/>
                  <a:pt x="1722628" y="1066798"/>
                </a:cubicBezTo>
                <a:cubicBezTo>
                  <a:pt x="1702630" y="1066798"/>
                  <a:pt x="1577948" y="1033190"/>
                  <a:pt x="1557951" y="1033190"/>
                </a:cubicBezTo>
                <a:cubicBezTo>
                  <a:pt x="1556775" y="1033190"/>
                  <a:pt x="1555599" y="1034179"/>
                  <a:pt x="1554423" y="1034179"/>
                </a:cubicBezTo>
                <a:cubicBezTo>
                  <a:pt x="1549718" y="1036156"/>
                  <a:pt x="1546189" y="1040110"/>
                  <a:pt x="1540308" y="1039120"/>
                </a:cubicBezTo>
                <a:cubicBezTo>
                  <a:pt x="1535602" y="1038132"/>
                  <a:pt x="1530897" y="1035167"/>
                  <a:pt x="1526192" y="1034179"/>
                </a:cubicBezTo>
                <a:cubicBezTo>
                  <a:pt x="1521487" y="1033190"/>
                  <a:pt x="1515606" y="1033190"/>
                  <a:pt x="1510901" y="1036156"/>
                </a:cubicBezTo>
                <a:cubicBezTo>
                  <a:pt x="1507372" y="1038132"/>
                  <a:pt x="1505019" y="1041098"/>
                  <a:pt x="1501491" y="1043075"/>
                </a:cubicBezTo>
                <a:cubicBezTo>
                  <a:pt x="1497962" y="1045051"/>
                  <a:pt x="1495609" y="1047029"/>
                  <a:pt x="1490904" y="1047029"/>
                </a:cubicBezTo>
                <a:cubicBezTo>
                  <a:pt x="1473261" y="1048016"/>
                  <a:pt x="1454441" y="1048016"/>
                  <a:pt x="1435620" y="1048016"/>
                </a:cubicBezTo>
                <a:cubicBezTo>
                  <a:pt x="1430915" y="1048016"/>
                  <a:pt x="1427387" y="1048016"/>
                  <a:pt x="1423858" y="1049993"/>
                </a:cubicBezTo>
                <a:cubicBezTo>
                  <a:pt x="1417977" y="1054936"/>
                  <a:pt x="1433268" y="1089533"/>
                  <a:pt x="1425035" y="1089533"/>
                </a:cubicBezTo>
                <a:cubicBezTo>
                  <a:pt x="1405039" y="1090522"/>
                  <a:pt x="1385041" y="1089533"/>
                  <a:pt x="1365046" y="1089533"/>
                </a:cubicBezTo>
                <a:cubicBezTo>
                  <a:pt x="1359163" y="1089533"/>
                  <a:pt x="1354460" y="1089533"/>
                  <a:pt x="1349753" y="1092498"/>
                </a:cubicBezTo>
                <a:cubicBezTo>
                  <a:pt x="1343873" y="1096451"/>
                  <a:pt x="1337992" y="1095463"/>
                  <a:pt x="1332110" y="1092498"/>
                </a:cubicBezTo>
                <a:cubicBezTo>
                  <a:pt x="1323877" y="1088543"/>
                  <a:pt x="1313290" y="1088543"/>
                  <a:pt x="1305056" y="1091509"/>
                </a:cubicBezTo>
                <a:cubicBezTo>
                  <a:pt x="1299175" y="1093486"/>
                  <a:pt x="1293294" y="1095463"/>
                  <a:pt x="1286236" y="1095463"/>
                </a:cubicBezTo>
                <a:cubicBezTo>
                  <a:pt x="1268592" y="1096451"/>
                  <a:pt x="1252125" y="1096451"/>
                  <a:pt x="1234482" y="1095463"/>
                </a:cubicBezTo>
                <a:cubicBezTo>
                  <a:pt x="1229775" y="1094474"/>
                  <a:pt x="1225071" y="1096451"/>
                  <a:pt x="1220366" y="1099417"/>
                </a:cubicBezTo>
                <a:cubicBezTo>
                  <a:pt x="1218014" y="1101394"/>
                  <a:pt x="1215661" y="1099417"/>
                  <a:pt x="1213309" y="1098428"/>
                </a:cubicBezTo>
                <a:cubicBezTo>
                  <a:pt x="1206251" y="1094474"/>
                  <a:pt x="1198017" y="1093486"/>
                  <a:pt x="1190959" y="1097440"/>
                </a:cubicBezTo>
                <a:cubicBezTo>
                  <a:pt x="1187431" y="1099417"/>
                  <a:pt x="1185078" y="1101394"/>
                  <a:pt x="1180373" y="1101394"/>
                </a:cubicBezTo>
                <a:cubicBezTo>
                  <a:pt x="1169787" y="1101394"/>
                  <a:pt x="1159200" y="1102382"/>
                  <a:pt x="1148614" y="1101394"/>
                </a:cubicBezTo>
                <a:cubicBezTo>
                  <a:pt x="1135675" y="1099417"/>
                  <a:pt x="1125088" y="1103371"/>
                  <a:pt x="1114503" y="1108313"/>
                </a:cubicBezTo>
                <a:cubicBezTo>
                  <a:pt x="1107446" y="1111279"/>
                  <a:pt x="1100388" y="1114244"/>
                  <a:pt x="1092154" y="1114244"/>
                </a:cubicBezTo>
                <a:cubicBezTo>
                  <a:pt x="1080390" y="1114244"/>
                  <a:pt x="1068629" y="1114244"/>
                  <a:pt x="1056866" y="1114244"/>
                </a:cubicBezTo>
                <a:cubicBezTo>
                  <a:pt x="1050985" y="1114244"/>
                  <a:pt x="1047456" y="1111279"/>
                  <a:pt x="1042751" y="1109302"/>
                </a:cubicBezTo>
                <a:cubicBezTo>
                  <a:pt x="1038046" y="1113256"/>
                  <a:pt x="1032164" y="1115233"/>
                  <a:pt x="1025108" y="1115233"/>
                </a:cubicBezTo>
                <a:cubicBezTo>
                  <a:pt x="1013345" y="1115233"/>
                  <a:pt x="1001583" y="1115233"/>
                  <a:pt x="989820" y="1115233"/>
                </a:cubicBezTo>
                <a:cubicBezTo>
                  <a:pt x="983937" y="1115233"/>
                  <a:pt x="978057" y="1114244"/>
                  <a:pt x="973352" y="1115233"/>
                </a:cubicBezTo>
                <a:cubicBezTo>
                  <a:pt x="959237" y="1117209"/>
                  <a:pt x="943946" y="1112267"/>
                  <a:pt x="931006" y="1120175"/>
                </a:cubicBezTo>
                <a:cubicBezTo>
                  <a:pt x="928654" y="1122151"/>
                  <a:pt x="922773" y="1121162"/>
                  <a:pt x="919245" y="1121162"/>
                </a:cubicBezTo>
                <a:cubicBezTo>
                  <a:pt x="888662" y="1121162"/>
                  <a:pt x="858079" y="1121162"/>
                  <a:pt x="827496" y="1121162"/>
                </a:cubicBezTo>
                <a:cubicBezTo>
                  <a:pt x="823968" y="1121162"/>
                  <a:pt x="820438" y="1120175"/>
                  <a:pt x="816910" y="1118198"/>
                </a:cubicBezTo>
                <a:cubicBezTo>
                  <a:pt x="811028" y="1114244"/>
                  <a:pt x="805147" y="1114244"/>
                  <a:pt x="799267" y="1118198"/>
                </a:cubicBezTo>
                <a:cubicBezTo>
                  <a:pt x="795737" y="1120175"/>
                  <a:pt x="792210" y="1120175"/>
                  <a:pt x="788679" y="1119187"/>
                </a:cubicBezTo>
                <a:cubicBezTo>
                  <a:pt x="785152" y="1118198"/>
                  <a:pt x="781622" y="1115233"/>
                  <a:pt x="778094" y="1115233"/>
                </a:cubicBezTo>
                <a:cubicBezTo>
                  <a:pt x="753391" y="1114244"/>
                  <a:pt x="727515" y="1114244"/>
                  <a:pt x="702813" y="1114244"/>
                </a:cubicBezTo>
                <a:cubicBezTo>
                  <a:pt x="699284" y="1114244"/>
                  <a:pt x="673406" y="1079647"/>
                  <a:pt x="671054" y="1080637"/>
                </a:cubicBezTo>
                <a:cubicBezTo>
                  <a:pt x="654586" y="1090522"/>
                  <a:pt x="636943" y="1085578"/>
                  <a:pt x="620475" y="1086567"/>
                </a:cubicBezTo>
                <a:cubicBezTo>
                  <a:pt x="602832" y="1086567"/>
                  <a:pt x="584011" y="1086567"/>
                  <a:pt x="565191" y="1086567"/>
                </a:cubicBezTo>
                <a:cubicBezTo>
                  <a:pt x="555781" y="1086567"/>
                  <a:pt x="546370" y="1087555"/>
                  <a:pt x="536960" y="1085578"/>
                </a:cubicBezTo>
                <a:cubicBezTo>
                  <a:pt x="528728" y="1083602"/>
                  <a:pt x="520492" y="1078660"/>
                  <a:pt x="511084" y="1078660"/>
                </a:cubicBezTo>
                <a:cubicBezTo>
                  <a:pt x="504026" y="1072729"/>
                  <a:pt x="494616" y="1072729"/>
                  <a:pt x="485206" y="1072729"/>
                </a:cubicBezTo>
                <a:cubicBezTo>
                  <a:pt x="476972" y="1073717"/>
                  <a:pt x="471091" y="1066798"/>
                  <a:pt x="462856" y="1066798"/>
                </a:cubicBezTo>
                <a:cubicBezTo>
                  <a:pt x="452270" y="1066798"/>
                  <a:pt x="446389" y="1060867"/>
                  <a:pt x="442860" y="1052960"/>
                </a:cubicBezTo>
                <a:cubicBezTo>
                  <a:pt x="440508" y="1046041"/>
                  <a:pt x="433450" y="1042085"/>
                  <a:pt x="434628" y="1034179"/>
                </a:cubicBezTo>
                <a:cubicBezTo>
                  <a:pt x="435802" y="1028248"/>
                  <a:pt x="427569" y="1025282"/>
                  <a:pt x="427569" y="1019351"/>
                </a:cubicBezTo>
                <a:cubicBezTo>
                  <a:pt x="426392" y="1009467"/>
                  <a:pt x="420512" y="1002548"/>
                  <a:pt x="412279" y="996617"/>
                </a:cubicBezTo>
                <a:cubicBezTo>
                  <a:pt x="406397" y="991675"/>
                  <a:pt x="399339" y="987720"/>
                  <a:pt x="395811" y="981791"/>
                </a:cubicBezTo>
                <a:cubicBezTo>
                  <a:pt x="392282" y="976847"/>
                  <a:pt x="389929" y="971906"/>
                  <a:pt x="385224" y="967952"/>
                </a:cubicBezTo>
                <a:cubicBezTo>
                  <a:pt x="374638" y="958067"/>
                  <a:pt x="369933" y="957078"/>
                  <a:pt x="354642" y="962021"/>
                </a:cubicBezTo>
                <a:cubicBezTo>
                  <a:pt x="351112" y="963009"/>
                  <a:pt x="348760" y="964986"/>
                  <a:pt x="344055" y="964986"/>
                </a:cubicBezTo>
                <a:cubicBezTo>
                  <a:pt x="334645" y="964986"/>
                  <a:pt x="325234" y="964986"/>
                  <a:pt x="315824" y="965975"/>
                </a:cubicBezTo>
                <a:cubicBezTo>
                  <a:pt x="313472" y="965975"/>
                  <a:pt x="311119" y="966963"/>
                  <a:pt x="308767" y="967952"/>
                </a:cubicBezTo>
                <a:cubicBezTo>
                  <a:pt x="302886" y="970917"/>
                  <a:pt x="297004" y="971906"/>
                  <a:pt x="289948" y="971906"/>
                </a:cubicBezTo>
                <a:cubicBezTo>
                  <a:pt x="280538" y="971906"/>
                  <a:pt x="271128" y="971906"/>
                  <a:pt x="262893" y="976847"/>
                </a:cubicBezTo>
                <a:cubicBezTo>
                  <a:pt x="259365" y="978824"/>
                  <a:pt x="164088" y="1012433"/>
                  <a:pt x="160560" y="1012433"/>
                </a:cubicBezTo>
                <a:cubicBezTo>
                  <a:pt x="157030" y="1012433"/>
                  <a:pt x="151149" y="1011444"/>
                  <a:pt x="148797" y="1013420"/>
                </a:cubicBezTo>
                <a:cubicBezTo>
                  <a:pt x="131153" y="1024295"/>
                  <a:pt x="112333" y="1017374"/>
                  <a:pt x="94688" y="1018364"/>
                </a:cubicBezTo>
                <a:cubicBezTo>
                  <a:pt x="92336" y="1018364"/>
                  <a:pt x="89985" y="1016386"/>
                  <a:pt x="87631" y="1015398"/>
                </a:cubicBezTo>
                <a:cubicBezTo>
                  <a:pt x="81750" y="1011444"/>
                  <a:pt x="77044" y="1008479"/>
                  <a:pt x="71165" y="1005513"/>
                </a:cubicBezTo>
                <a:cubicBezTo>
                  <a:pt x="67634" y="1003536"/>
                  <a:pt x="64107" y="1001558"/>
                  <a:pt x="62929" y="998593"/>
                </a:cubicBezTo>
                <a:cubicBezTo>
                  <a:pt x="59402" y="991675"/>
                  <a:pt x="55872" y="984755"/>
                  <a:pt x="51167" y="977837"/>
                </a:cubicBezTo>
                <a:cubicBezTo>
                  <a:pt x="47639" y="971906"/>
                  <a:pt x="42934" y="965975"/>
                  <a:pt x="40581" y="960044"/>
                </a:cubicBezTo>
                <a:cubicBezTo>
                  <a:pt x="38229" y="954113"/>
                  <a:pt x="39404" y="947195"/>
                  <a:pt x="39404" y="940275"/>
                </a:cubicBezTo>
                <a:cubicBezTo>
                  <a:pt x="39404" y="933355"/>
                  <a:pt x="38229" y="927425"/>
                  <a:pt x="33524" y="921494"/>
                </a:cubicBezTo>
                <a:cubicBezTo>
                  <a:pt x="32346" y="918528"/>
                  <a:pt x="32346" y="914574"/>
                  <a:pt x="32346" y="911609"/>
                </a:cubicBezTo>
                <a:cubicBezTo>
                  <a:pt x="32346" y="900735"/>
                  <a:pt x="32346" y="890852"/>
                  <a:pt x="32346" y="880967"/>
                </a:cubicBezTo>
                <a:cubicBezTo>
                  <a:pt x="32346" y="877013"/>
                  <a:pt x="29995" y="873060"/>
                  <a:pt x="27641" y="869106"/>
                </a:cubicBezTo>
                <a:cubicBezTo>
                  <a:pt x="25290" y="865151"/>
                  <a:pt x="31171" y="862186"/>
                  <a:pt x="29995" y="860209"/>
                </a:cubicBezTo>
                <a:cubicBezTo>
                  <a:pt x="22938" y="849336"/>
                  <a:pt x="26466" y="838464"/>
                  <a:pt x="25290" y="827589"/>
                </a:cubicBezTo>
                <a:cubicBezTo>
                  <a:pt x="24114" y="819682"/>
                  <a:pt x="24114" y="811774"/>
                  <a:pt x="17056" y="805843"/>
                </a:cubicBezTo>
                <a:cubicBezTo>
                  <a:pt x="17056" y="792993"/>
                  <a:pt x="4117" y="781131"/>
                  <a:pt x="7646" y="767293"/>
                </a:cubicBezTo>
                <a:cubicBezTo>
                  <a:pt x="8822" y="762351"/>
                  <a:pt x="5293" y="758397"/>
                  <a:pt x="2941" y="754444"/>
                </a:cubicBezTo>
                <a:cubicBezTo>
                  <a:pt x="1765" y="752467"/>
                  <a:pt x="588" y="750490"/>
                  <a:pt x="588" y="748513"/>
                </a:cubicBezTo>
                <a:cubicBezTo>
                  <a:pt x="-588" y="740605"/>
                  <a:pt x="51167" y="594313"/>
                  <a:pt x="51167" y="586406"/>
                </a:cubicBezTo>
                <a:cubicBezTo>
                  <a:pt x="51167" y="573555"/>
                  <a:pt x="44109" y="564659"/>
                  <a:pt x="37051" y="555763"/>
                </a:cubicBezTo>
                <a:cubicBezTo>
                  <a:pt x="33524" y="550820"/>
                  <a:pt x="119390" y="513259"/>
                  <a:pt x="114685" y="509306"/>
                </a:cubicBezTo>
                <a:cubicBezTo>
                  <a:pt x="111156" y="507328"/>
                  <a:pt x="109980" y="504362"/>
                  <a:pt x="109980" y="500409"/>
                </a:cubicBezTo>
                <a:cubicBezTo>
                  <a:pt x="109980" y="495466"/>
                  <a:pt x="108804" y="491513"/>
                  <a:pt x="108804" y="486570"/>
                </a:cubicBezTo>
                <a:cubicBezTo>
                  <a:pt x="108804" y="483606"/>
                  <a:pt x="108804" y="479651"/>
                  <a:pt x="105275" y="477675"/>
                </a:cubicBezTo>
                <a:cubicBezTo>
                  <a:pt x="95865" y="470755"/>
                  <a:pt x="92336" y="460871"/>
                  <a:pt x="86455" y="451974"/>
                </a:cubicBezTo>
                <a:cubicBezTo>
                  <a:pt x="79397" y="442089"/>
                  <a:pt x="74692" y="430228"/>
                  <a:pt x="64107" y="421332"/>
                </a:cubicBezTo>
                <a:cubicBezTo>
                  <a:pt x="61754" y="419355"/>
                  <a:pt x="60577" y="417378"/>
                  <a:pt x="60577" y="415401"/>
                </a:cubicBezTo>
                <a:cubicBezTo>
                  <a:pt x="59402" y="404528"/>
                  <a:pt x="52344" y="396621"/>
                  <a:pt x="47639" y="387725"/>
                </a:cubicBezTo>
                <a:cubicBezTo>
                  <a:pt x="44109" y="380805"/>
                  <a:pt x="37051" y="374875"/>
                  <a:pt x="37051" y="366966"/>
                </a:cubicBezTo>
                <a:cubicBezTo>
                  <a:pt x="38229" y="358071"/>
                  <a:pt x="27641" y="353128"/>
                  <a:pt x="28819" y="345220"/>
                </a:cubicBezTo>
                <a:cubicBezTo>
                  <a:pt x="29995" y="344232"/>
                  <a:pt x="28819" y="343244"/>
                  <a:pt x="28819" y="342255"/>
                </a:cubicBezTo>
                <a:cubicBezTo>
                  <a:pt x="24114" y="333359"/>
                  <a:pt x="17056" y="325452"/>
                  <a:pt x="14703" y="315567"/>
                </a:cubicBezTo>
                <a:cubicBezTo>
                  <a:pt x="12351" y="304693"/>
                  <a:pt x="6470" y="296786"/>
                  <a:pt x="1765" y="287890"/>
                </a:cubicBezTo>
                <a:cubicBezTo>
                  <a:pt x="-588" y="282948"/>
                  <a:pt x="-588" y="278994"/>
                  <a:pt x="1765" y="275040"/>
                </a:cubicBezTo>
                <a:cubicBezTo>
                  <a:pt x="2941" y="272074"/>
                  <a:pt x="4117" y="269109"/>
                  <a:pt x="5293" y="266143"/>
                </a:cubicBezTo>
                <a:cubicBezTo>
                  <a:pt x="7646" y="256259"/>
                  <a:pt x="1765" y="245386"/>
                  <a:pt x="8822" y="236490"/>
                </a:cubicBezTo>
                <a:cubicBezTo>
                  <a:pt x="14703" y="229570"/>
                  <a:pt x="22938" y="223639"/>
                  <a:pt x="31171" y="217708"/>
                </a:cubicBezTo>
                <a:cubicBezTo>
                  <a:pt x="37051" y="213755"/>
                  <a:pt x="38229" y="208813"/>
                  <a:pt x="39404" y="202882"/>
                </a:cubicBezTo>
                <a:cubicBezTo>
                  <a:pt x="39404" y="195963"/>
                  <a:pt x="48814" y="182125"/>
                  <a:pt x="52344" y="179159"/>
                </a:cubicBezTo>
                <a:cubicBezTo>
                  <a:pt x="65282" y="168286"/>
                  <a:pt x="79397" y="157412"/>
                  <a:pt x="92336" y="146539"/>
                </a:cubicBezTo>
                <a:cubicBezTo>
                  <a:pt x="97041" y="142586"/>
                  <a:pt x="100570" y="139621"/>
                  <a:pt x="104098" y="136655"/>
                </a:cubicBezTo>
                <a:cubicBezTo>
                  <a:pt x="108804" y="132701"/>
                  <a:pt x="109980" y="127759"/>
                  <a:pt x="109980" y="121828"/>
                </a:cubicBezTo>
                <a:cubicBezTo>
                  <a:pt x="108804" y="117874"/>
                  <a:pt x="112333" y="114908"/>
                  <a:pt x="114685" y="112931"/>
                </a:cubicBezTo>
                <a:cubicBezTo>
                  <a:pt x="115861" y="110956"/>
                  <a:pt x="118214" y="108977"/>
                  <a:pt x="120566" y="108977"/>
                </a:cubicBezTo>
                <a:cubicBezTo>
                  <a:pt x="131153" y="107001"/>
                  <a:pt x="137034" y="98105"/>
                  <a:pt x="146444" y="94151"/>
                </a:cubicBezTo>
                <a:cubicBezTo>
                  <a:pt x="148797" y="93163"/>
                  <a:pt x="152325" y="93163"/>
                  <a:pt x="154678" y="93163"/>
                </a:cubicBezTo>
                <a:cubicBezTo>
                  <a:pt x="164088" y="93163"/>
                  <a:pt x="168793" y="86243"/>
                  <a:pt x="177027" y="85255"/>
                </a:cubicBezTo>
                <a:cubicBezTo>
                  <a:pt x="178203" y="85255"/>
                  <a:pt x="180555" y="82290"/>
                  <a:pt x="180555" y="80312"/>
                </a:cubicBezTo>
                <a:cubicBezTo>
                  <a:pt x="180555" y="69439"/>
                  <a:pt x="189966" y="61532"/>
                  <a:pt x="189966" y="51647"/>
                </a:cubicBezTo>
                <a:cubicBezTo>
                  <a:pt x="189966" y="49670"/>
                  <a:pt x="192318" y="47693"/>
                  <a:pt x="194671" y="46705"/>
                </a:cubicBezTo>
                <a:cubicBezTo>
                  <a:pt x="199376" y="43739"/>
                  <a:pt x="204081" y="40774"/>
                  <a:pt x="208786" y="40774"/>
                </a:cubicBezTo>
                <a:cubicBezTo>
                  <a:pt x="218196" y="39786"/>
                  <a:pt x="222901" y="33855"/>
                  <a:pt x="229958" y="31877"/>
                </a:cubicBezTo>
                <a:cubicBezTo>
                  <a:pt x="234663" y="29901"/>
                  <a:pt x="239369" y="26936"/>
                  <a:pt x="242897" y="23970"/>
                </a:cubicBezTo>
                <a:cubicBezTo>
                  <a:pt x="247602" y="21994"/>
                  <a:pt x="251130" y="19028"/>
                  <a:pt x="257012" y="19028"/>
                </a:cubicBezTo>
                <a:cubicBezTo>
                  <a:pt x="260541" y="19028"/>
                  <a:pt x="265245" y="19028"/>
                  <a:pt x="267598" y="16063"/>
                </a:cubicBezTo>
                <a:cubicBezTo>
                  <a:pt x="278185" y="6179"/>
                  <a:pt x="289948" y="5190"/>
                  <a:pt x="304062" y="5190"/>
                </a:cubicBezTo>
                <a:cubicBezTo>
                  <a:pt x="321706" y="5190"/>
                  <a:pt x="338174" y="5190"/>
                  <a:pt x="355818" y="5190"/>
                </a:cubicBezTo>
                <a:cubicBezTo>
                  <a:pt x="359347" y="5190"/>
                  <a:pt x="362875" y="3212"/>
                  <a:pt x="366404" y="2225"/>
                </a:cubicBezTo>
                <a:cubicBezTo>
                  <a:pt x="375814" y="-741"/>
                  <a:pt x="385224" y="-741"/>
                  <a:pt x="393458" y="2225"/>
                </a:cubicBezTo>
                <a:cubicBezTo>
                  <a:pt x="400516" y="5190"/>
                  <a:pt x="407574" y="6179"/>
                  <a:pt x="415807" y="6179"/>
                </a:cubicBezTo>
                <a:cubicBezTo>
                  <a:pt x="427569" y="6179"/>
                  <a:pt x="439332" y="7166"/>
                  <a:pt x="449918" y="1235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  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F573D83-D695-1D4E-FB3A-29193C357F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57828" y="738895"/>
            <a:ext cx="6537372" cy="4991619"/>
          </a:xfrm>
          <a:custGeom>
            <a:avLst/>
            <a:gdLst>
              <a:gd name="connsiteX0" fmla="*/ 3214282 w 6537372"/>
              <a:gd name="connsiteY0" fmla="*/ 4943998 h 4991619"/>
              <a:gd name="connsiteX1" fmla="*/ 3207492 w 6537372"/>
              <a:gd name="connsiteY1" fmla="*/ 4950074 h 4991619"/>
              <a:gd name="connsiteX2" fmla="*/ 3207492 w 6537372"/>
              <a:gd name="connsiteY2" fmla="*/ 4950252 h 4991619"/>
              <a:gd name="connsiteX3" fmla="*/ 3216068 w 6537372"/>
              <a:gd name="connsiteY3" fmla="*/ 4946501 h 4991619"/>
              <a:gd name="connsiteX4" fmla="*/ 3214282 w 6537372"/>
              <a:gd name="connsiteY4" fmla="*/ 4943998 h 4991619"/>
              <a:gd name="connsiteX5" fmla="*/ 3180959 w 6537372"/>
              <a:gd name="connsiteY5" fmla="*/ 4929124 h 4991619"/>
              <a:gd name="connsiteX6" fmla="*/ 3176760 w 6537372"/>
              <a:gd name="connsiteY6" fmla="*/ 4936851 h 4991619"/>
              <a:gd name="connsiteX7" fmla="*/ 3189446 w 6537372"/>
              <a:gd name="connsiteY7" fmla="*/ 4931849 h 4991619"/>
              <a:gd name="connsiteX8" fmla="*/ 3180959 w 6537372"/>
              <a:gd name="connsiteY8" fmla="*/ 4929124 h 4991619"/>
              <a:gd name="connsiteX9" fmla="*/ 3221607 w 6537372"/>
              <a:gd name="connsiteY9" fmla="*/ 4904334 h 4991619"/>
              <a:gd name="connsiteX10" fmla="*/ 3204455 w 6537372"/>
              <a:gd name="connsiteY10" fmla="*/ 4913625 h 4991619"/>
              <a:gd name="connsiteX11" fmla="*/ 3221607 w 6537372"/>
              <a:gd name="connsiteY11" fmla="*/ 4904334 h 4991619"/>
              <a:gd name="connsiteX12" fmla="*/ 3246977 w 6537372"/>
              <a:gd name="connsiteY12" fmla="*/ 4895222 h 4991619"/>
              <a:gd name="connsiteX13" fmla="*/ 3246263 w 6537372"/>
              <a:gd name="connsiteY13" fmla="*/ 4900761 h 4991619"/>
              <a:gd name="connsiteX14" fmla="*/ 3250731 w 6537372"/>
              <a:gd name="connsiteY14" fmla="*/ 4900761 h 4991619"/>
              <a:gd name="connsiteX15" fmla="*/ 3250551 w 6537372"/>
              <a:gd name="connsiteY15" fmla="*/ 4900581 h 4991619"/>
              <a:gd name="connsiteX16" fmla="*/ 3251802 w 6537372"/>
              <a:gd name="connsiteY16" fmla="*/ 4896115 h 4991619"/>
              <a:gd name="connsiteX17" fmla="*/ 3246977 w 6537372"/>
              <a:gd name="connsiteY17" fmla="*/ 4895222 h 4991619"/>
              <a:gd name="connsiteX18" fmla="*/ 3023282 w 6537372"/>
              <a:gd name="connsiteY18" fmla="*/ 4885572 h 4991619"/>
              <a:gd name="connsiteX19" fmla="*/ 3016313 w 6537372"/>
              <a:gd name="connsiteY19" fmla="*/ 4901295 h 4991619"/>
              <a:gd name="connsiteX20" fmla="*/ 3025784 w 6537372"/>
              <a:gd name="connsiteY20" fmla="*/ 4895400 h 4991619"/>
              <a:gd name="connsiteX21" fmla="*/ 3027748 w 6537372"/>
              <a:gd name="connsiteY21" fmla="*/ 4897366 h 4991619"/>
              <a:gd name="connsiteX22" fmla="*/ 3022033 w 6537372"/>
              <a:gd name="connsiteY22" fmla="*/ 4905584 h 4991619"/>
              <a:gd name="connsiteX23" fmla="*/ 3023898 w 6537372"/>
              <a:gd name="connsiteY23" fmla="*/ 4906942 h 4991619"/>
              <a:gd name="connsiteX24" fmla="*/ 3023818 w 6537372"/>
              <a:gd name="connsiteY24" fmla="*/ 4907013 h 4991619"/>
              <a:gd name="connsiteX25" fmla="*/ 3023996 w 6537372"/>
              <a:gd name="connsiteY25" fmla="*/ 4907013 h 4991619"/>
              <a:gd name="connsiteX26" fmla="*/ 3023898 w 6537372"/>
              <a:gd name="connsiteY26" fmla="*/ 4906942 h 4991619"/>
              <a:gd name="connsiteX27" fmla="*/ 3041329 w 6537372"/>
              <a:gd name="connsiteY27" fmla="*/ 4891470 h 4991619"/>
              <a:gd name="connsiteX28" fmla="*/ 3040614 w 6537372"/>
              <a:gd name="connsiteY28" fmla="*/ 4890041 h 4991619"/>
              <a:gd name="connsiteX29" fmla="*/ 3029536 w 6537372"/>
              <a:gd name="connsiteY29" fmla="*/ 4892719 h 4991619"/>
              <a:gd name="connsiteX30" fmla="*/ 3023282 w 6537372"/>
              <a:gd name="connsiteY30" fmla="*/ 4885572 h 4991619"/>
              <a:gd name="connsiteX31" fmla="*/ 3973989 w 6537372"/>
              <a:gd name="connsiteY31" fmla="*/ 4881106 h 4991619"/>
              <a:gd name="connsiteX32" fmla="*/ 3968091 w 6537372"/>
              <a:gd name="connsiteY32" fmla="*/ 4894507 h 4991619"/>
              <a:gd name="connsiteX33" fmla="*/ 3973989 w 6537372"/>
              <a:gd name="connsiteY33" fmla="*/ 4881106 h 4991619"/>
              <a:gd name="connsiteX34" fmla="*/ 4037774 w 6537372"/>
              <a:gd name="connsiteY34" fmla="*/ 4878069 h 4991619"/>
              <a:gd name="connsiteX35" fmla="*/ 4037952 w 6537372"/>
              <a:gd name="connsiteY35" fmla="*/ 4878428 h 4991619"/>
              <a:gd name="connsiteX36" fmla="*/ 4037415 w 6537372"/>
              <a:gd name="connsiteY36" fmla="*/ 4878606 h 4991619"/>
              <a:gd name="connsiteX37" fmla="*/ 3330775 w 6537372"/>
              <a:gd name="connsiteY37" fmla="*/ 4870744 h 4991619"/>
              <a:gd name="connsiteX38" fmla="*/ 3308440 w 6537372"/>
              <a:gd name="connsiteY38" fmla="*/ 4885038 h 4991619"/>
              <a:gd name="connsiteX39" fmla="*/ 3332204 w 6537372"/>
              <a:gd name="connsiteY39" fmla="*/ 4872888 h 4991619"/>
              <a:gd name="connsiteX40" fmla="*/ 3330775 w 6537372"/>
              <a:gd name="connsiteY40" fmla="*/ 4870744 h 4991619"/>
              <a:gd name="connsiteX41" fmla="*/ 2999341 w 6537372"/>
              <a:gd name="connsiteY41" fmla="*/ 4863417 h 4991619"/>
              <a:gd name="connsiteX42" fmla="*/ 2990765 w 6537372"/>
              <a:gd name="connsiteY42" fmla="*/ 4868600 h 4991619"/>
              <a:gd name="connsiteX43" fmla="*/ 2991658 w 6537372"/>
              <a:gd name="connsiteY43" fmla="*/ 4870208 h 4991619"/>
              <a:gd name="connsiteX44" fmla="*/ 3000412 w 6537372"/>
              <a:gd name="connsiteY44" fmla="*/ 4866813 h 4991619"/>
              <a:gd name="connsiteX45" fmla="*/ 2999341 w 6537372"/>
              <a:gd name="connsiteY45" fmla="*/ 4863417 h 4991619"/>
              <a:gd name="connsiteX46" fmla="*/ 3006488 w 6537372"/>
              <a:gd name="connsiteY46" fmla="*/ 4859666 h 4991619"/>
              <a:gd name="connsiteX47" fmla="*/ 3004166 w 6537372"/>
              <a:gd name="connsiteY47" fmla="*/ 4861095 h 4991619"/>
              <a:gd name="connsiteX48" fmla="*/ 3008274 w 6537372"/>
              <a:gd name="connsiteY48" fmla="*/ 4866813 h 4991619"/>
              <a:gd name="connsiteX49" fmla="*/ 3010240 w 6537372"/>
              <a:gd name="connsiteY49" fmla="*/ 4865561 h 4991619"/>
              <a:gd name="connsiteX50" fmla="*/ 3006488 w 6537372"/>
              <a:gd name="connsiteY50" fmla="*/ 4859666 h 4991619"/>
              <a:gd name="connsiteX51" fmla="*/ 3379552 w 6537372"/>
              <a:gd name="connsiteY51" fmla="*/ 4843406 h 4991619"/>
              <a:gd name="connsiteX52" fmla="*/ 3349892 w 6537372"/>
              <a:gd name="connsiteY52" fmla="*/ 4860202 h 4991619"/>
              <a:gd name="connsiteX53" fmla="*/ 3337920 w 6537372"/>
              <a:gd name="connsiteY53" fmla="*/ 4870744 h 4991619"/>
              <a:gd name="connsiteX54" fmla="*/ 3369724 w 6537372"/>
              <a:gd name="connsiteY54" fmla="*/ 4857700 h 4991619"/>
              <a:gd name="connsiteX55" fmla="*/ 3369546 w 6537372"/>
              <a:gd name="connsiteY55" fmla="*/ 4857522 h 4991619"/>
              <a:gd name="connsiteX56" fmla="*/ 3384196 w 6537372"/>
              <a:gd name="connsiteY56" fmla="*/ 4844301 h 4991619"/>
              <a:gd name="connsiteX57" fmla="*/ 3379552 w 6537372"/>
              <a:gd name="connsiteY57" fmla="*/ 4843406 h 4991619"/>
              <a:gd name="connsiteX58" fmla="*/ 2263041 w 6537372"/>
              <a:gd name="connsiteY58" fmla="*/ 4834652 h 4991619"/>
              <a:gd name="connsiteX59" fmla="*/ 2256965 w 6537372"/>
              <a:gd name="connsiteY59" fmla="*/ 4837869 h 4991619"/>
              <a:gd name="connsiteX60" fmla="*/ 2258753 w 6537372"/>
              <a:gd name="connsiteY60" fmla="*/ 4840548 h 4991619"/>
              <a:gd name="connsiteX61" fmla="*/ 2263934 w 6537372"/>
              <a:gd name="connsiteY61" fmla="*/ 4835903 h 4991619"/>
              <a:gd name="connsiteX62" fmla="*/ 2263041 w 6537372"/>
              <a:gd name="connsiteY62" fmla="*/ 4834652 h 4991619"/>
              <a:gd name="connsiteX63" fmla="*/ 3415822 w 6537372"/>
              <a:gd name="connsiteY63" fmla="*/ 4819644 h 4991619"/>
              <a:gd name="connsiteX64" fmla="*/ 3389736 w 6537372"/>
              <a:gd name="connsiteY64" fmla="*/ 4838584 h 4991619"/>
              <a:gd name="connsiteX65" fmla="*/ 3415822 w 6537372"/>
              <a:gd name="connsiteY65" fmla="*/ 4819644 h 4991619"/>
              <a:gd name="connsiteX66" fmla="*/ 3436726 w 6537372"/>
              <a:gd name="connsiteY66" fmla="*/ 4810531 h 4991619"/>
              <a:gd name="connsiteX67" fmla="*/ 3432080 w 6537372"/>
              <a:gd name="connsiteY67" fmla="*/ 4814641 h 4991619"/>
              <a:gd name="connsiteX68" fmla="*/ 3434582 w 6537372"/>
              <a:gd name="connsiteY68" fmla="*/ 4816607 h 4991619"/>
              <a:gd name="connsiteX69" fmla="*/ 3438334 w 6537372"/>
              <a:gd name="connsiteY69" fmla="*/ 4811960 h 4991619"/>
              <a:gd name="connsiteX70" fmla="*/ 3436726 w 6537372"/>
              <a:gd name="connsiteY70" fmla="*/ 4810531 h 4991619"/>
              <a:gd name="connsiteX71" fmla="*/ 4073686 w 6537372"/>
              <a:gd name="connsiteY71" fmla="*/ 4808209 h 4991619"/>
              <a:gd name="connsiteX72" fmla="*/ 4071720 w 6537372"/>
              <a:gd name="connsiteY72" fmla="*/ 4810353 h 4991619"/>
              <a:gd name="connsiteX73" fmla="*/ 4071186 w 6537372"/>
              <a:gd name="connsiteY73" fmla="*/ 4813211 h 4991619"/>
              <a:gd name="connsiteX74" fmla="*/ 4074579 w 6537372"/>
              <a:gd name="connsiteY74" fmla="*/ 4808923 h 4991619"/>
              <a:gd name="connsiteX75" fmla="*/ 4074400 w 6537372"/>
              <a:gd name="connsiteY75" fmla="*/ 4808745 h 4991619"/>
              <a:gd name="connsiteX76" fmla="*/ 4073686 w 6537372"/>
              <a:gd name="connsiteY76" fmla="*/ 4808209 h 4991619"/>
              <a:gd name="connsiteX77" fmla="*/ 3451020 w 6537372"/>
              <a:gd name="connsiteY77" fmla="*/ 4801062 h 4991619"/>
              <a:gd name="connsiteX78" fmla="*/ 3446195 w 6537372"/>
              <a:gd name="connsiteY78" fmla="*/ 4803921 h 4991619"/>
              <a:gd name="connsiteX79" fmla="*/ 3447088 w 6537372"/>
              <a:gd name="connsiteY79" fmla="*/ 4807138 h 4991619"/>
              <a:gd name="connsiteX80" fmla="*/ 3450484 w 6537372"/>
              <a:gd name="connsiteY80" fmla="*/ 4805886 h 4991619"/>
              <a:gd name="connsiteX81" fmla="*/ 3450484 w 6537372"/>
              <a:gd name="connsiteY81" fmla="*/ 4805708 h 4991619"/>
              <a:gd name="connsiteX82" fmla="*/ 3451020 w 6537372"/>
              <a:gd name="connsiteY82" fmla="*/ 4801062 h 4991619"/>
              <a:gd name="connsiteX83" fmla="*/ 3923603 w 6537372"/>
              <a:gd name="connsiteY83" fmla="*/ 4784268 h 4991619"/>
              <a:gd name="connsiteX84" fmla="*/ 3917707 w 6537372"/>
              <a:gd name="connsiteY84" fmla="*/ 4797667 h 4991619"/>
              <a:gd name="connsiteX85" fmla="*/ 3923603 w 6537372"/>
              <a:gd name="connsiteY85" fmla="*/ 4784268 h 4991619"/>
              <a:gd name="connsiteX86" fmla="*/ 3423862 w 6537372"/>
              <a:gd name="connsiteY86" fmla="*/ 4778729 h 4991619"/>
              <a:gd name="connsiteX87" fmla="*/ 3424218 w 6537372"/>
              <a:gd name="connsiteY87" fmla="*/ 4784982 h 4991619"/>
              <a:gd name="connsiteX88" fmla="*/ 3429581 w 6537372"/>
              <a:gd name="connsiteY88" fmla="*/ 4785155 h 4991619"/>
              <a:gd name="connsiteX89" fmla="*/ 3429580 w 6537372"/>
              <a:gd name="connsiteY89" fmla="*/ 4785161 h 4991619"/>
              <a:gd name="connsiteX90" fmla="*/ 3429758 w 6537372"/>
              <a:gd name="connsiteY90" fmla="*/ 4785161 h 4991619"/>
              <a:gd name="connsiteX91" fmla="*/ 3429581 w 6537372"/>
              <a:gd name="connsiteY91" fmla="*/ 4785155 h 4991619"/>
              <a:gd name="connsiteX92" fmla="*/ 3430294 w 6537372"/>
              <a:gd name="connsiteY92" fmla="*/ 4779800 h 4991619"/>
              <a:gd name="connsiteX93" fmla="*/ 3423862 w 6537372"/>
              <a:gd name="connsiteY93" fmla="*/ 4778729 h 4991619"/>
              <a:gd name="connsiteX94" fmla="*/ 3478892 w 6537372"/>
              <a:gd name="connsiteY94" fmla="*/ 4777836 h 4991619"/>
              <a:gd name="connsiteX95" fmla="*/ 3491220 w 6537372"/>
              <a:gd name="connsiteY95" fmla="*/ 4777836 h 4991619"/>
              <a:gd name="connsiteX96" fmla="*/ 3478892 w 6537372"/>
              <a:gd name="connsiteY96" fmla="*/ 4777836 h 4991619"/>
              <a:gd name="connsiteX97" fmla="*/ 3451376 w 6537372"/>
              <a:gd name="connsiteY97" fmla="*/ 4767830 h 4991619"/>
              <a:gd name="connsiteX98" fmla="*/ 3434404 w 6537372"/>
              <a:gd name="connsiteY98" fmla="*/ 4776941 h 4991619"/>
              <a:gd name="connsiteX99" fmla="*/ 3434582 w 6537372"/>
              <a:gd name="connsiteY99" fmla="*/ 4776941 h 4991619"/>
              <a:gd name="connsiteX100" fmla="*/ 3452986 w 6537372"/>
              <a:gd name="connsiteY100" fmla="*/ 4769974 h 4991619"/>
              <a:gd name="connsiteX101" fmla="*/ 3451376 w 6537372"/>
              <a:gd name="connsiteY101" fmla="*/ 4767830 h 4991619"/>
              <a:gd name="connsiteX102" fmla="*/ 3532850 w 6537372"/>
              <a:gd name="connsiteY102" fmla="*/ 4751927 h 4991619"/>
              <a:gd name="connsiteX103" fmla="*/ 3523381 w 6537372"/>
              <a:gd name="connsiteY103" fmla="*/ 4758359 h 4991619"/>
              <a:gd name="connsiteX104" fmla="*/ 3532850 w 6537372"/>
              <a:gd name="connsiteY104" fmla="*/ 4751927 h 4991619"/>
              <a:gd name="connsiteX105" fmla="*/ 4032234 w 6537372"/>
              <a:gd name="connsiteY105" fmla="*/ 4751571 h 4991619"/>
              <a:gd name="connsiteX106" fmla="*/ 4016690 w 6537372"/>
              <a:gd name="connsiteY106" fmla="*/ 4773189 h 4991619"/>
              <a:gd name="connsiteX107" fmla="*/ 4014367 w 6537372"/>
              <a:gd name="connsiteY107" fmla="*/ 4780514 h 4991619"/>
              <a:gd name="connsiteX108" fmla="*/ 4018656 w 6537372"/>
              <a:gd name="connsiteY108" fmla="*/ 4774619 h 4991619"/>
              <a:gd name="connsiteX109" fmla="*/ 4020621 w 6537372"/>
              <a:gd name="connsiteY109" fmla="*/ 4776048 h 4991619"/>
              <a:gd name="connsiteX110" fmla="*/ 4014367 w 6537372"/>
              <a:gd name="connsiteY110" fmla="*/ 4784802 h 4991619"/>
              <a:gd name="connsiteX111" fmla="*/ 4013116 w 6537372"/>
              <a:gd name="connsiteY111" fmla="*/ 4783910 h 4991619"/>
              <a:gd name="connsiteX112" fmla="*/ 4009364 w 6537372"/>
              <a:gd name="connsiteY112" fmla="*/ 4790520 h 4991619"/>
              <a:gd name="connsiteX113" fmla="*/ 4006864 w 6537372"/>
              <a:gd name="connsiteY113" fmla="*/ 4800347 h 4991619"/>
              <a:gd name="connsiteX114" fmla="*/ 4009901 w 6537372"/>
              <a:gd name="connsiteY114" fmla="*/ 4799991 h 4991619"/>
              <a:gd name="connsiteX115" fmla="*/ 4036344 w 6537372"/>
              <a:gd name="connsiteY115" fmla="*/ 4763898 h 4991619"/>
              <a:gd name="connsiteX116" fmla="*/ 4036166 w 6537372"/>
              <a:gd name="connsiteY116" fmla="*/ 4764077 h 4991619"/>
              <a:gd name="connsiteX117" fmla="*/ 4041525 w 6537372"/>
              <a:gd name="connsiteY117" fmla="*/ 4753358 h 4991619"/>
              <a:gd name="connsiteX118" fmla="*/ 4032234 w 6537372"/>
              <a:gd name="connsiteY118" fmla="*/ 4751571 h 4991619"/>
              <a:gd name="connsiteX119" fmla="*/ 4056177 w 6537372"/>
              <a:gd name="connsiteY119" fmla="*/ 4731201 h 4991619"/>
              <a:gd name="connsiteX120" fmla="*/ 4055462 w 6537372"/>
              <a:gd name="connsiteY120" fmla="*/ 4731738 h 4991619"/>
              <a:gd name="connsiteX121" fmla="*/ 4055282 w 6537372"/>
              <a:gd name="connsiteY121" fmla="*/ 4731916 h 4991619"/>
              <a:gd name="connsiteX122" fmla="*/ 4056177 w 6537372"/>
              <a:gd name="connsiteY122" fmla="*/ 4732274 h 4991619"/>
              <a:gd name="connsiteX123" fmla="*/ 4079403 w 6537372"/>
              <a:gd name="connsiteY123" fmla="*/ 4722269 h 4991619"/>
              <a:gd name="connsiteX124" fmla="*/ 4079403 w 6537372"/>
              <a:gd name="connsiteY124" fmla="*/ 4723340 h 4991619"/>
              <a:gd name="connsiteX125" fmla="*/ 4080654 w 6537372"/>
              <a:gd name="connsiteY125" fmla="*/ 4722447 h 4991619"/>
              <a:gd name="connsiteX126" fmla="*/ 4079403 w 6537372"/>
              <a:gd name="connsiteY126" fmla="*/ 4722269 h 4991619"/>
              <a:gd name="connsiteX127" fmla="*/ 4063858 w 6537372"/>
              <a:gd name="connsiteY127" fmla="*/ 4722090 h 4991619"/>
              <a:gd name="connsiteX128" fmla="*/ 4063725 w 6537372"/>
              <a:gd name="connsiteY128" fmla="*/ 4722356 h 4991619"/>
              <a:gd name="connsiteX129" fmla="*/ 4060465 w 6537372"/>
              <a:gd name="connsiteY129" fmla="*/ 4725127 h 4991619"/>
              <a:gd name="connsiteX130" fmla="*/ 4060822 w 6537372"/>
              <a:gd name="connsiteY130" fmla="*/ 4725486 h 4991619"/>
              <a:gd name="connsiteX131" fmla="*/ 4062251 w 6537372"/>
              <a:gd name="connsiteY131" fmla="*/ 4725306 h 4991619"/>
              <a:gd name="connsiteX132" fmla="*/ 4063725 w 6537372"/>
              <a:gd name="connsiteY132" fmla="*/ 4722356 h 4991619"/>
              <a:gd name="connsiteX133" fmla="*/ 4064038 w 6537372"/>
              <a:gd name="connsiteY133" fmla="*/ 4722090 h 4991619"/>
              <a:gd name="connsiteX134" fmla="*/ 3716703 w 6537372"/>
              <a:gd name="connsiteY134" fmla="*/ 4716729 h 4991619"/>
              <a:gd name="connsiteX135" fmla="*/ 3714201 w 6537372"/>
              <a:gd name="connsiteY135" fmla="*/ 4727271 h 4991619"/>
              <a:gd name="connsiteX136" fmla="*/ 3715988 w 6537372"/>
              <a:gd name="connsiteY136" fmla="*/ 4727628 h 4991619"/>
              <a:gd name="connsiteX137" fmla="*/ 3721706 w 6537372"/>
              <a:gd name="connsiteY137" fmla="*/ 4725486 h 4991619"/>
              <a:gd name="connsiteX138" fmla="*/ 3716703 w 6537372"/>
              <a:gd name="connsiteY138" fmla="*/ 4716729 h 4991619"/>
              <a:gd name="connsiteX139" fmla="*/ 4170704 w 6537372"/>
              <a:gd name="connsiteY139" fmla="*/ 4709761 h 4991619"/>
              <a:gd name="connsiteX140" fmla="*/ 4157482 w 6537372"/>
              <a:gd name="connsiteY140" fmla="*/ 4713334 h 4991619"/>
              <a:gd name="connsiteX141" fmla="*/ 4138544 w 6537372"/>
              <a:gd name="connsiteY141" fmla="*/ 4742636 h 4991619"/>
              <a:gd name="connsiteX142" fmla="*/ 4149620 w 6537372"/>
              <a:gd name="connsiteY142" fmla="*/ 4730488 h 4991619"/>
              <a:gd name="connsiteX143" fmla="*/ 4153194 w 6537372"/>
              <a:gd name="connsiteY143" fmla="*/ 4726198 h 4991619"/>
              <a:gd name="connsiteX144" fmla="*/ 4153374 w 6537372"/>
              <a:gd name="connsiteY144" fmla="*/ 4726198 h 4991619"/>
              <a:gd name="connsiteX145" fmla="*/ 4170704 w 6537372"/>
              <a:gd name="connsiteY145" fmla="*/ 4709761 h 4991619"/>
              <a:gd name="connsiteX146" fmla="*/ 3709913 w 6537372"/>
              <a:gd name="connsiteY146" fmla="*/ 4708512 h 4991619"/>
              <a:gd name="connsiteX147" fmla="*/ 3705983 w 6537372"/>
              <a:gd name="connsiteY147" fmla="*/ 4712085 h 4991619"/>
              <a:gd name="connsiteX148" fmla="*/ 3705983 w 6537372"/>
              <a:gd name="connsiteY148" fmla="*/ 4712263 h 4991619"/>
              <a:gd name="connsiteX149" fmla="*/ 3714559 w 6537372"/>
              <a:gd name="connsiteY149" fmla="*/ 4714049 h 4991619"/>
              <a:gd name="connsiteX150" fmla="*/ 3710449 w 6537372"/>
              <a:gd name="connsiteY150" fmla="*/ 4710656 h 4991619"/>
              <a:gd name="connsiteX151" fmla="*/ 3709913 w 6537372"/>
              <a:gd name="connsiteY151" fmla="*/ 4708512 h 4991619"/>
              <a:gd name="connsiteX152" fmla="*/ 2581609 w 6537372"/>
              <a:gd name="connsiteY152" fmla="*/ 4707082 h 4991619"/>
              <a:gd name="connsiteX153" fmla="*/ 2576786 w 6537372"/>
              <a:gd name="connsiteY153" fmla="*/ 4710834 h 4991619"/>
              <a:gd name="connsiteX154" fmla="*/ 2577501 w 6537372"/>
              <a:gd name="connsiteY154" fmla="*/ 4711727 h 4991619"/>
              <a:gd name="connsiteX155" fmla="*/ 2582323 w 6537372"/>
              <a:gd name="connsiteY155" fmla="*/ 4708153 h 4991619"/>
              <a:gd name="connsiteX156" fmla="*/ 2581609 w 6537372"/>
              <a:gd name="connsiteY156" fmla="*/ 4707082 h 4991619"/>
              <a:gd name="connsiteX157" fmla="*/ 3541784 w 6537372"/>
              <a:gd name="connsiteY157" fmla="*/ 4706009 h 4991619"/>
              <a:gd name="connsiteX158" fmla="*/ 3504084 w 6537372"/>
              <a:gd name="connsiteY158" fmla="*/ 4734775 h 4991619"/>
              <a:gd name="connsiteX159" fmla="*/ 3505872 w 6537372"/>
              <a:gd name="connsiteY159" fmla="*/ 4737633 h 4991619"/>
              <a:gd name="connsiteX160" fmla="*/ 3511410 w 6537372"/>
              <a:gd name="connsiteY160" fmla="*/ 4735669 h 4991619"/>
              <a:gd name="connsiteX161" fmla="*/ 3540355 w 6537372"/>
              <a:gd name="connsiteY161" fmla="*/ 4714407 h 4991619"/>
              <a:gd name="connsiteX162" fmla="*/ 3541784 w 6537372"/>
              <a:gd name="connsiteY162" fmla="*/ 4706009 h 4991619"/>
              <a:gd name="connsiteX163" fmla="*/ 3598244 w 6537372"/>
              <a:gd name="connsiteY163" fmla="*/ 4705653 h 4991619"/>
              <a:gd name="connsiteX164" fmla="*/ 3593778 w 6537372"/>
              <a:gd name="connsiteY164" fmla="*/ 4706187 h 4991619"/>
              <a:gd name="connsiteX165" fmla="*/ 3594313 w 6537372"/>
              <a:gd name="connsiteY165" fmla="*/ 4708690 h 4991619"/>
              <a:gd name="connsiteX166" fmla="*/ 3597171 w 6537372"/>
              <a:gd name="connsiteY166" fmla="*/ 4707975 h 4991619"/>
              <a:gd name="connsiteX167" fmla="*/ 3598244 w 6537372"/>
              <a:gd name="connsiteY167" fmla="*/ 4705653 h 4991619"/>
              <a:gd name="connsiteX168" fmla="*/ 2881775 w 6537372"/>
              <a:gd name="connsiteY168" fmla="*/ 4701185 h 4991619"/>
              <a:gd name="connsiteX169" fmla="*/ 2877309 w 6537372"/>
              <a:gd name="connsiteY169" fmla="*/ 4706902 h 4991619"/>
              <a:gd name="connsiteX170" fmla="*/ 2878916 w 6537372"/>
              <a:gd name="connsiteY170" fmla="*/ 4708153 h 4991619"/>
              <a:gd name="connsiteX171" fmla="*/ 2878916 w 6537372"/>
              <a:gd name="connsiteY171" fmla="*/ 4708331 h 4991619"/>
              <a:gd name="connsiteX172" fmla="*/ 2883741 w 6537372"/>
              <a:gd name="connsiteY172" fmla="*/ 4702794 h 4991619"/>
              <a:gd name="connsiteX173" fmla="*/ 2881775 w 6537372"/>
              <a:gd name="connsiteY173" fmla="*/ 4701185 h 4991619"/>
              <a:gd name="connsiteX174" fmla="*/ 2183889 w 6537372"/>
              <a:gd name="connsiteY174" fmla="*/ 4692789 h 4991619"/>
              <a:gd name="connsiteX175" fmla="*/ 2166022 w 6537372"/>
              <a:gd name="connsiteY175" fmla="*/ 4702436 h 4991619"/>
              <a:gd name="connsiteX176" fmla="*/ 2183889 w 6537372"/>
              <a:gd name="connsiteY176" fmla="*/ 4692789 h 4991619"/>
              <a:gd name="connsiteX177" fmla="*/ 3502119 w 6537372"/>
              <a:gd name="connsiteY177" fmla="*/ 4688500 h 4991619"/>
              <a:gd name="connsiteX178" fmla="*/ 3493901 w 6537372"/>
              <a:gd name="connsiteY178" fmla="*/ 4702794 h 4991619"/>
              <a:gd name="connsiteX179" fmla="*/ 3509087 w 6537372"/>
              <a:gd name="connsiteY179" fmla="*/ 4692608 h 4991619"/>
              <a:gd name="connsiteX180" fmla="*/ 3502299 w 6537372"/>
              <a:gd name="connsiteY180" fmla="*/ 4688500 h 4991619"/>
              <a:gd name="connsiteX181" fmla="*/ 3550717 w 6537372"/>
              <a:gd name="connsiteY181" fmla="*/ 4686891 h 4991619"/>
              <a:gd name="connsiteX182" fmla="*/ 3542141 w 6537372"/>
              <a:gd name="connsiteY182" fmla="*/ 4689572 h 4991619"/>
              <a:gd name="connsiteX183" fmla="*/ 3512304 w 6537372"/>
              <a:gd name="connsiteY183" fmla="*/ 4708690 h 4991619"/>
              <a:gd name="connsiteX184" fmla="*/ 3493186 w 6537372"/>
              <a:gd name="connsiteY184" fmla="*/ 4723520 h 4991619"/>
              <a:gd name="connsiteX185" fmla="*/ 3502119 w 6537372"/>
              <a:gd name="connsiteY185" fmla="*/ 4726735 h 4991619"/>
              <a:gd name="connsiteX186" fmla="*/ 3521415 w 6537372"/>
              <a:gd name="connsiteY186" fmla="*/ 4710656 h 4991619"/>
              <a:gd name="connsiteX187" fmla="*/ 3551075 w 6537372"/>
              <a:gd name="connsiteY187" fmla="*/ 4693681 h 4991619"/>
              <a:gd name="connsiteX188" fmla="*/ 3553934 w 6537372"/>
              <a:gd name="connsiteY188" fmla="*/ 4690108 h 4991619"/>
              <a:gd name="connsiteX189" fmla="*/ 3550717 w 6537372"/>
              <a:gd name="connsiteY189" fmla="*/ 4686891 h 4991619"/>
              <a:gd name="connsiteX190" fmla="*/ 3511477 w 6537372"/>
              <a:gd name="connsiteY190" fmla="*/ 4685619 h 4991619"/>
              <a:gd name="connsiteX191" fmla="*/ 3509266 w 6537372"/>
              <a:gd name="connsiteY191" fmla="*/ 4692608 h 4991619"/>
              <a:gd name="connsiteX192" fmla="*/ 3518378 w 6537372"/>
              <a:gd name="connsiteY192" fmla="*/ 4685998 h 4991619"/>
              <a:gd name="connsiteX193" fmla="*/ 3511477 w 6537372"/>
              <a:gd name="connsiteY193" fmla="*/ 4685619 h 4991619"/>
              <a:gd name="connsiteX194" fmla="*/ 4181424 w 6537372"/>
              <a:gd name="connsiteY194" fmla="*/ 4683676 h 4991619"/>
              <a:gd name="connsiteX195" fmla="*/ 4178922 w 6537372"/>
              <a:gd name="connsiteY195" fmla="*/ 4689752 h 4991619"/>
              <a:gd name="connsiteX196" fmla="*/ 4180205 w 6537372"/>
              <a:gd name="connsiteY196" fmla="*/ 4690231 h 4991619"/>
              <a:gd name="connsiteX197" fmla="*/ 4180174 w 6537372"/>
              <a:gd name="connsiteY197" fmla="*/ 4690286 h 4991619"/>
              <a:gd name="connsiteX198" fmla="*/ 4180352 w 6537372"/>
              <a:gd name="connsiteY198" fmla="*/ 4690286 h 4991619"/>
              <a:gd name="connsiteX199" fmla="*/ 4180205 w 6537372"/>
              <a:gd name="connsiteY199" fmla="*/ 4690231 h 4991619"/>
              <a:gd name="connsiteX200" fmla="*/ 4183390 w 6537372"/>
              <a:gd name="connsiteY200" fmla="*/ 4684569 h 4991619"/>
              <a:gd name="connsiteX201" fmla="*/ 4181424 w 6537372"/>
              <a:gd name="connsiteY201" fmla="*/ 4683676 h 4991619"/>
              <a:gd name="connsiteX202" fmla="*/ 2217121 w 6537372"/>
              <a:gd name="connsiteY202" fmla="*/ 4683139 h 4991619"/>
              <a:gd name="connsiteX203" fmla="*/ 2207296 w 6537372"/>
              <a:gd name="connsiteY203" fmla="*/ 4689930 h 4991619"/>
              <a:gd name="connsiteX204" fmla="*/ 2209440 w 6537372"/>
              <a:gd name="connsiteY204" fmla="*/ 4692252 h 4991619"/>
              <a:gd name="connsiteX205" fmla="*/ 2218194 w 6537372"/>
              <a:gd name="connsiteY205" fmla="*/ 4684391 h 4991619"/>
              <a:gd name="connsiteX206" fmla="*/ 2217121 w 6537372"/>
              <a:gd name="connsiteY206" fmla="*/ 4683139 h 4991619"/>
              <a:gd name="connsiteX207" fmla="*/ 3580734 w 6537372"/>
              <a:gd name="connsiteY207" fmla="*/ 4667595 h 4991619"/>
              <a:gd name="connsiteX208" fmla="*/ 3576089 w 6537372"/>
              <a:gd name="connsiteY208" fmla="*/ 4675636 h 4991619"/>
              <a:gd name="connsiteX209" fmla="*/ 3571086 w 6537372"/>
              <a:gd name="connsiteY209" fmla="*/ 4684747 h 4991619"/>
              <a:gd name="connsiteX210" fmla="*/ 3549110 w 6537372"/>
              <a:gd name="connsiteY210" fmla="*/ 4700470 h 4991619"/>
              <a:gd name="connsiteX211" fmla="*/ 3550182 w 6537372"/>
              <a:gd name="connsiteY211" fmla="*/ 4703687 h 4991619"/>
              <a:gd name="connsiteX212" fmla="*/ 3555900 w 6537372"/>
              <a:gd name="connsiteY212" fmla="*/ 4702972 h 4991619"/>
              <a:gd name="connsiteX213" fmla="*/ 3561796 w 6537372"/>
              <a:gd name="connsiteY213" fmla="*/ 4698684 h 4991619"/>
              <a:gd name="connsiteX214" fmla="*/ 3588775 w 6537372"/>
              <a:gd name="connsiteY214" fmla="*/ 4685283 h 4991619"/>
              <a:gd name="connsiteX215" fmla="*/ 3588595 w 6537372"/>
              <a:gd name="connsiteY215" fmla="*/ 4685462 h 4991619"/>
              <a:gd name="connsiteX216" fmla="*/ 3590561 w 6537372"/>
              <a:gd name="connsiteY216" fmla="*/ 4684032 h 4991619"/>
              <a:gd name="connsiteX217" fmla="*/ 3589132 w 6537372"/>
              <a:gd name="connsiteY217" fmla="*/ 4681710 h 4991619"/>
              <a:gd name="connsiteX218" fmla="*/ 3584307 w 6537372"/>
              <a:gd name="connsiteY218" fmla="*/ 4674563 h 4991619"/>
              <a:gd name="connsiteX219" fmla="*/ 3580019 w 6537372"/>
              <a:gd name="connsiteY219" fmla="*/ 4676171 h 4991619"/>
              <a:gd name="connsiteX220" fmla="*/ 3582343 w 6537372"/>
              <a:gd name="connsiteY220" fmla="*/ 4671348 h 4991619"/>
              <a:gd name="connsiteX221" fmla="*/ 3580734 w 6537372"/>
              <a:gd name="connsiteY221" fmla="*/ 4667595 h 4991619"/>
              <a:gd name="connsiteX222" fmla="*/ 4343479 w 6537372"/>
              <a:gd name="connsiteY222" fmla="*/ 4665094 h 4991619"/>
              <a:gd name="connsiteX223" fmla="*/ 4341692 w 6537372"/>
              <a:gd name="connsiteY223" fmla="*/ 4667953 h 4991619"/>
              <a:gd name="connsiteX224" fmla="*/ 4342764 w 6537372"/>
              <a:gd name="connsiteY224" fmla="*/ 4667416 h 4991619"/>
              <a:gd name="connsiteX225" fmla="*/ 4343479 w 6537372"/>
              <a:gd name="connsiteY225" fmla="*/ 4665094 h 4991619"/>
              <a:gd name="connsiteX226" fmla="*/ 3982028 w 6537372"/>
              <a:gd name="connsiteY226" fmla="*/ 4654730 h 4991619"/>
              <a:gd name="connsiteX227" fmla="*/ 3967556 w 6537372"/>
              <a:gd name="connsiteY227" fmla="*/ 4672956 h 4991619"/>
              <a:gd name="connsiteX228" fmla="*/ 3967735 w 6537372"/>
              <a:gd name="connsiteY228" fmla="*/ 4673134 h 4991619"/>
              <a:gd name="connsiteX229" fmla="*/ 3967376 w 6537372"/>
              <a:gd name="connsiteY229" fmla="*/ 4673492 h 4991619"/>
              <a:gd name="connsiteX230" fmla="*/ 3966484 w 6537372"/>
              <a:gd name="connsiteY230" fmla="*/ 4676351 h 4991619"/>
              <a:gd name="connsiteX231" fmla="*/ 3958980 w 6537372"/>
              <a:gd name="connsiteY231" fmla="*/ 4693681 h 4991619"/>
              <a:gd name="connsiteX232" fmla="*/ 3956478 w 6537372"/>
              <a:gd name="connsiteY232" fmla="*/ 4703509 h 4991619"/>
              <a:gd name="connsiteX233" fmla="*/ 3959515 w 6537372"/>
              <a:gd name="connsiteY233" fmla="*/ 4703150 h 4991619"/>
              <a:gd name="connsiteX234" fmla="*/ 3968091 w 6537372"/>
              <a:gd name="connsiteY234" fmla="*/ 4691537 h 4991619"/>
              <a:gd name="connsiteX235" fmla="*/ 3962374 w 6537372"/>
              <a:gd name="connsiteY235" fmla="*/ 4694754 h 4991619"/>
              <a:gd name="connsiteX236" fmla="*/ 3969520 w 6537372"/>
              <a:gd name="connsiteY236" fmla="*/ 4689572 h 4991619"/>
              <a:gd name="connsiteX237" fmla="*/ 3985780 w 6537372"/>
              <a:gd name="connsiteY237" fmla="*/ 4667060 h 4991619"/>
              <a:gd name="connsiteX238" fmla="*/ 3985958 w 6537372"/>
              <a:gd name="connsiteY238" fmla="*/ 4667238 h 4991619"/>
              <a:gd name="connsiteX239" fmla="*/ 3991319 w 6537372"/>
              <a:gd name="connsiteY239" fmla="*/ 4656518 h 4991619"/>
              <a:gd name="connsiteX240" fmla="*/ 3982028 w 6537372"/>
              <a:gd name="connsiteY240" fmla="*/ 4654730 h 4991619"/>
              <a:gd name="connsiteX241" fmla="*/ 3559293 w 6537372"/>
              <a:gd name="connsiteY241" fmla="*/ 4653301 h 4991619"/>
              <a:gd name="connsiteX242" fmla="*/ 3542321 w 6537372"/>
              <a:gd name="connsiteY242" fmla="*/ 4678851 h 4991619"/>
              <a:gd name="connsiteX243" fmla="*/ 3562867 w 6537372"/>
              <a:gd name="connsiteY243" fmla="*/ 4667953 h 4991619"/>
              <a:gd name="connsiteX244" fmla="*/ 3562332 w 6537372"/>
              <a:gd name="connsiteY244" fmla="*/ 4654374 h 4991619"/>
              <a:gd name="connsiteX245" fmla="*/ 3559293 w 6537372"/>
              <a:gd name="connsiteY245" fmla="*/ 4653301 h 4991619"/>
              <a:gd name="connsiteX246" fmla="*/ 2645037 w 6537372"/>
              <a:gd name="connsiteY246" fmla="*/ 4649371 h 4991619"/>
              <a:gd name="connsiteX247" fmla="*/ 2630565 w 6537372"/>
              <a:gd name="connsiteY247" fmla="*/ 4656874 h 4991619"/>
              <a:gd name="connsiteX248" fmla="*/ 2626992 w 6537372"/>
              <a:gd name="connsiteY248" fmla="*/ 4650801 h 4991619"/>
              <a:gd name="connsiteX249" fmla="*/ 2619845 w 6537372"/>
              <a:gd name="connsiteY249" fmla="*/ 4660628 h 4991619"/>
              <a:gd name="connsiteX250" fmla="*/ 2617343 w 6537372"/>
              <a:gd name="connsiteY250" fmla="*/ 4665987 h 4991619"/>
              <a:gd name="connsiteX251" fmla="*/ 2590543 w 6537372"/>
              <a:gd name="connsiteY251" fmla="*/ 4681532 h 4991619"/>
              <a:gd name="connsiteX252" fmla="*/ 2568030 w 6537372"/>
              <a:gd name="connsiteY252" fmla="*/ 4694754 h 4991619"/>
              <a:gd name="connsiteX253" fmla="*/ 2568744 w 6537372"/>
              <a:gd name="connsiteY253" fmla="*/ 4705295 h 4991619"/>
              <a:gd name="connsiteX254" fmla="*/ 2579465 w 6537372"/>
              <a:gd name="connsiteY254" fmla="*/ 4695825 h 4991619"/>
              <a:gd name="connsiteX255" fmla="*/ 2584648 w 6537372"/>
              <a:gd name="connsiteY255" fmla="*/ 4692608 h 4991619"/>
              <a:gd name="connsiteX256" fmla="*/ 2598405 w 6537372"/>
              <a:gd name="connsiteY256" fmla="*/ 4687606 h 4991619"/>
              <a:gd name="connsiteX257" fmla="*/ 2639856 w 6537372"/>
              <a:gd name="connsiteY257" fmla="*/ 4657411 h 4991619"/>
              <a:gd name="connsiteX258" fmla="*/ 2640213 w 6537372"/>
              <a:gd name="connsiteY258" fmla="*/ 4657769 h 4991619"/>
              <a:gd name="connsiteX259" fmla="*/ 2646645 w 6537372"/>
              <a:gd name="connsiteY259" fmla="*/ 4651157 h 4991619"/>
              <a:gd name="connsiteX260" fmla="*/ 2645037 w 6537372"/>
              <a:gd name="connsiteY260" fmla="*/ 4649371 h 4991619"/>
              <a:gd name="connsiteX261" fmla="*/ 3575016 w 6537372"/>
              <a:gd name="connsiteY261" fmla="*/ 4645976 h 4991619"/>
              <a:gd name="connsiteX262" fmla="*/ 3570728 w 6537372"/>
              <a:gd name="connsiteY262" fmla="*/ 4652766 h 4991619"/>
              <a:gd name="connsiteX263" fmla="*/ 3571801 w 6537372"/>
              <a:gd name="connsiteY263" fmla="*/ 4654730 h 4991619"/>
              <a:gd name="connsiteX264" fmla="*/ 3576804 w 6537372"/>
              <a:gd name="connsiteY264" fmla="*/ 4650264 h 4991619"/>
              <a:gd name="connsiteX265" fmla="*/ 3575016 w 6537372"/>
              <a:gd name="connsiteY265" fmla="*/ 4645976 h 4991619"/>
              <a:gd name="connsiteX266" fmla="*/ 3991676 w 6537372"/>
              <a:gd name="connsiteY266" fmla="*/ 4644905 h 4991619"/>
              <a:gd name="connsiteX267" fmla="*/ 3991676 w 6537372"/>
              <a:gd name="connsiteY267" fmla="*/ 4645798 h 4991619"/>
              <a:gd name="connsiteX268" fmla="*/ 3992570 w 6537372"/>
              <a:gd name="connsiteY268" fmla="*/ 4645261 h 4991619"/>
              <a:gd name="connsiteX269" fmla="*/ 3991676 w 6537372"/>
              <a:gd name="connsiteY269" fmla="*/ 4644905 h 4991619"/>
              <a:gd name="connsiteX270" fmla="*/ 4005255 w 6537372"/>
              <a:gd name="connsiteY270" fmla="*/ 4635256 h 4991619"/>
              <a:gd name="connsiteX271" fmla="*/ 4005255 w 6537372"/>
              <a:gd name="connsiteY271" fmla="*/ 4635614 h 4991619"/>
              <a:gd name="connsiteX272" fmla="*/ 4005791 w 6537372"/>
              <a:gd name="connsiteY272" fmla="*/ 4635614 h 4991619"/>
              <a:gd name="connsiteX273" fmla="*/ 4005791 w 6537372"/>
              <a:gd name="connsiteY273" fmla="*/ 4635256 h 4991619"/>
              <a:gd name="connsiteX274" fmla="*/ 4005255 w 6537372"/>
              <a:gd name="connsiteY274" fmla="*/ 4635256 h 4991619"/>
              <a:gd name="connsiteX275" fmla="*/ 3899304 w 6537372"/>
              <a:gd name="connsiteY275" fmla="*/ 4635256 h 4991619"/>
              <a:gd name="connsiteX276" fmla="*/ 3899304 w 6537372"/>
              <a:gd name="connsiteY276" fmla="*/ 4635792 h 4991619"/>
              <a:gd name="connsiteX277" fmla="*/ 3899840 w 6537372"/>
              <a:gd name="connsiteY277" fmla="*/ 4635256 h 4991619"/>
              <a:gd name="connsiteX278" fmla="*/ 3899304 w 6537372"/>
              <a:gd name="connsiteY278" fmla="*/ 4635256 h 4991619"/>
              <a:gd name="connsiteX279" fmla="*/ 4432814 w 6537372"/>
              <a:gd name="connsiteY279" fmla="*/ 4617925 h 4991619"/>
              <a:gd name="connsiteX280" fmla="*/ 4359917 w 6537372"/>
              <a:gd name="connsiteY280" fmla="*/ 4657769 h 4991619"/>
              <a:gd name="connsiteX281" fmla="*/ 4432814 w 6537372"/>
              <a:gd name="connsiteY281" fmla="*/ 4617925 h 4991619"/>
              <a:gd name="connsiteX282" fmla="*/ 3656848 w 6537372"/>
              <a:gd name="connsiteY282" fmla="*/ 4614352 h 4991619"/>
              <a:gd name="connsiteX283" fmla="*/ 3655597 w 6537372"/>
              <a:gd name="connsiteY283" fmla="*/ 4615245 h 4991619"/>
              <a:gd name="connsiteX284" fmla="*/ 3658100 w 6537372"/>
              <a:gd name="connsiteY284" fmla="*/ 4615781 h 4991619"/>
              <a:gd name="connsiteX285" fmla="*/ 3656848 w 6537372"/>
              <a:gd name="connsiteY285" fmla="*/ 4614352 h 4991619"/>
              <a:gd name="connsiteX286" fmla="*/ 4442462 w 6537372"/>
              <a:gd name="connsiteY286" fmla="*/ 4613459 h 4991619"/>
              <a:gd name="connsiteX287" fmla="*/ 4441390 w 6537372"/>
              <a:gd name="connsiteY287" fmla="*/ 4613993 h 4991619"/>
              <a:gd name="connsiteX288" fmla="*/ 4442462 w 6537372"/>
              <a:gd name="connsiteY288" fmla="*/ 4614352 h 4991619"/>
              <a:gd name="connsiteX289" fmla="*/ 3670605 w 6537372"/>
              <a:gd name="connsiteY289" fmla="*/ 4605419 h 4991619"/>
              <a:gd name="connsiteX290" fmla="*/ 3665961 w 6537372"/>
              <a:gd name="connsiteY290" fmla="*/ 4607741 h 4991619"/>
              <a:gd name="connsiteX291" fmla="*/ 3666821 w 6537372"/>
              <a:gd name="connsiteY291" fmla="*/ 4609461 h 4991619"/>
              <a:gd name="connsiteX292" fmla="*/ 3666676 w 6537372"/>
              <a:gd name="connsiteY292" fmla="*/ 4609527 h 4991619"/>
              <a:gd name="connsiteX293" fmla="*/ 3666854 w 6537372"/>
              <a:gd name="connsiteY293" fmla="*/ 4609527 h 4991619"/>
              <a:gd name="connsiteX294" fmla="*/ 3666821 w 6537372"/>
              <a:gd name="connsiteY294" fmla="*/ 4609461 h 4991619"/>
              <a:gd name="connsiteX295" fmla="*/ 3671320 w 6537372"/>
              <a:gd name="connsiteY295" fmla="*/ 4607383 h 4991619"/>
              <a:gd name="connsiteX296" fmla="*/ 3670605 w 6537372"/>
              <a:gd name="connsiteY296" fmla="*/ 4605419 h 4991619"/>
              <a:gd name="connsiteX297" fmla="*/ 3670249 w 6537372"/>
              <a:gd name="connsiteY297" fmla="*/ 4578618 h 4991619"/>
              <a:gd name="connsiteX298" fmla="*/ 3669176 w 6537372"/>
              <a:gd name="connsiteY298" fmla="*/ 4580584 h 4991619"/>
              <a:gd name="connsiteX299" fmla="*/ 3670524 w 6537372"/>
              <a:gd name="connsiteY299" fmla="*/ 4581762 h 4991619"/>
              <a:gd name="connsiteX300" fmla="*/ 3670427 w 6537372"/>
              <a:gd name="connsiteY300" fmla="*/ 4581833 h 4991619"/>
              <a:gd name="connsiteX301" fmla="*/ 3670605 w 6537372"/>
              <a:gd name="connsiteY301" fmla="*/ 4581833 h 4991619"/>
              <a:gd name="connsiteX302" fmla="*/ 3670524 w 6537372"/>
              <a:gd name="connsiteY302" fmla="*/ 4581762 h 4991619"/>
              <a:gd name="connsiteX303" fmla="*/ 3673108 w 6537372"/>
              <a:gd name="connsiteY303" fmla="*/ 4579869 h 4991619"/>
              <a:gd name="connsiteX304" fmla="*/ 3670249 w 6537372"/>
              <a:gd name="connsiteY304" fmla="*/ 4578618 h 4991619"/>
              <a:gd name="connsiteX305" fmla="*/ 2047742 w 6537372"/>
              <a:gd name="connsiteY305" fmla="*/ 4565395 h 4991619"/>
              <a:gd name="connsiteX306" fmla="*/ 2047742 w 6537372"/>
              <a:gd name="connsiteY306" fmla="*/ 4566468 h 4991619"/>
              <a:gd name="connsiteX307" fmla="*/ 2048815 w 6537372"/>
              <a:gd name="connsiteY307" fmla="*/ 4565753 h 4991619"/>
              <a:gd name="connsiteX308" fmla="*/ 2047742 w 6537372"/>
              <a:gd name="connsiteY308" fmla="*/ 4565395 h 4991619"/>
              <a:gd name="connsiteX309" fmla="*/ 3821047 w 6537372"/>
              <a:gd name="connsiteY309" fmla="*/ 4565217 h 4991619"/>
              <a:gd name="connsiteX310" fmla="*/ 3819974 w 6537372"/>
              <a:gd name="connsiteY310" fmla="*/ 4567361 h 4991619"/>
              <a:gd name="connsiteX311" fmla="*/ 3820152 w 6537372"/>
              <a:gd name="connsiteY311" fmla="*/ 4567361 h 4991619"/>
              <a:gd name="connsiteX312" fmla="*/ 3822832 w 6537372"/>
              <a:gd name="connsiteY312" fmla="*/ 4566110 h 4991619"/>
              <a:gd name="connsiteX313" fmla="*/ 3821047 w 6537372"/>
              <a:gd name="connsiteY313" fmla="*/ 4565217 h 4991619"/>
              <a:gd name="connsiteX314" fmla="*/ 2155658 w 6537372"/>
              <a:gd name="connsiteY314" fmla="*/ 4565039 h 4991619"/>
              <a:gd name="connsiteX315" fmla="*/ 2151370 w 6537372"/>
              <a:gd name="connsiteY315" fmla="*/ 4568612 h 4991619"/>
              <a:gd name="connsiteX316" fmla="*/ 2155302 w 6537372"/>
              <a:gd name="connsiteY316" fmla="*/ 4565395 h 4991619"/>
              <a:gd name="connsiteX317" fmla="*/ 2155658 w 6537372"/>
              <a:gd name="connsiteY317" fmla="*/ 4565039 h 4991619"/>
              <a:gd name="connsiteX318" fmla="*/ 3815508 w 6537372"/>
              <a:gd name="connsiteY318" fmla="*/ 4558070 h 4991619"/>
              <a:gd name="connsiteX319" fmla="*/ 3815508 w 6537372"/>
              <a:gd name="connsiteY319" fmla="*/ 4559321 h 4991619"/>
              <a:gd name="connsiteX320" fmla="*/ 3815864 w 6537372"/>
              <a:gd name="connsiteY320" fmla="*/ 4558963 h 4991619"/>
              <a:gd name="connsiteX321" fmla="*/ 3815508 w 6537372"/>
              <a:gd name="connsiteY321" fmla="*/ 4558070 h 4991619"/>
              <a:gd name="connsiteX322" fmla="*/ 3744754 w 6537372"/>
              <a:gd name="connsiteY322" fmla="*/ 4551996 h 4991619"/>
              <a:gd name="connsiteX323" fmla="*/ 3736534 w 6537372"/>
              <a:gd name="connsiteY323" fmla="*/ 4557534 h 4991619"/>
              <a:gd name="connsiteX324" fmla="*/ 3737249 w 6537372"/>
              <a:gd name="connsiteY324" fmla="*/ 4556463 h 4991619"/>
              <a:gd name="connsiteX325" fmla="*/ 3683113 w 6537372"/>
              <a:gd name="connsiteY325" fmla="*/ 4595055 h 4991619"/>
              <a:gd name="connsiteX326" fmla="*/ 3675966 w 6537372"/>
              <a:gd name="connsiteY326" fmla="*/ 4602024 h 4991619"/>
              <a:gd name="connsiteX327" fmla="*/ 3688829 w 6537372"/>
              <a:gd name="connsiteY327" fmla="*/ 4603095 h 4991619"/>
              <a:gd name="connsiteX328" fmla="*/ 3709020 w 6537372"/>
              <a:gd name="connsiteY328" fmla="*/ 4589338 h 4991619"/>
              <a:gd name="connsiteX329" fmla="*/ 3704017 w 6537372"/>
              <a:gd name="connsiteY329" fmla="*/ 4603273 h 4991619"/>
              <a:gd name="connsiteX330" fmla="*/ 3709735 w 6537372"/>
              <a:gd name="connsiteY330" fmla="*/ 4603095 h 4991619"/>
              <a:gd name="connsiteX331" fmla="*/ 3717596 w 6537372"/>
              <a:gd name="connsiteY331" fmla="*/ 4593626 h 4991619"/>
              <a:gd name="connsiteX332" fmla="*/ 3717774 w 6537372"/>
              <a:gd name="connsiteY332" fmla="*/ 4591304 h 4991619"/>
              <a:gd name="connsiteX333" fmla="*/ 3720633 w 6537372"/>
              <a:gd name="connsiteY333" fmla="*/ 4590053 h 4991619"/>
              <a:gd name="connsiteX334" fmla="*/ 3720991 w 6537372"/>
              <a:gd name="connsiteY334" fmla="*/ 4589516 h 4991619"/>
              <a:gd name="connsiteX335" fmla="*/ 3727958 w 6537372"/>
              <a:gd name="connsiteY335" fmla="*/ 4583262 h 4991619"/>
              <a:gd name="connsiteX336" fmla="*/ 3735820 w 6537372"/>
              <a:gd name="connsiteY336" fmla="*/ 4580047 h 4991619"/>
              <a:gd name="connsiteX337" fmla="*/ 3742430 w 6537372"/>
              <a:gd name="connsiteY337" fmla="*/ 4575937 h 4991619"/>
              <a:gd name="connsiteX338" fmla="*/ 3743503 w 6537372"/>
              <a:gd name="connsiteY338" fmla="*/ 4574151 h 4991619"/>
              <a:gd name="connsiteX339" fmla="*/ 3757082 w 6537372"/>
              <a:gd name="connsiteY339" fmla="*/ 4561287 h 4991619"/>
              <a:gd name="connsiteX340" fmla="*/ 3757260 w 6537372"/>
              <a:gd name="connsiteY340" fmla="*/ 4561465 h 4991619"/>
              <a:gd name="connsiteX341" fmla="*/ 3760477 w 6537372"/>
              <a:gd name="connsiteY341" fmla="*/ 4557534 h 4991619"/>
              <a:gd name="connsiteX342" fmla="*/ 3757082 w 6537372"/>
              <a:gd name="connsiteY342" fmla="*/ 4559678 h 4991619"/>
              <a:gd name="connsiteX343" fmla="*/ 3746362 w 6537372"/>
              <a:gd name="connsiteY343" fmla="*/ 4551996 h 4991619"/>
              <a:gd name="connsiteX344" fmla="*/ 3744754 w 6537372"/>
              <a:gd name="connsiteY344" fmla="*/ 4551996 h 4991619"/>
              <a:gd name="connsiteX345" fmla="*/ 3904843 w 6537372"/>
              <a:gd name="connsiteY345" fmla="*/ 4550387 h 4991619"/>
              <a:gd name="connsiteX346" fmla="*/ 3900555 w 6537372"/>
              <a:gd name="connsiteY346" fmla="*/ 4551996 h 4991619"/>
              <a:gd name="connsiteX347" fmla="*/ 3891086 w 6537372"/>
              <a:gd name="connsiteY347" fmla="*/ 4555926 h 4991619"/>
              <a:gd name="connsiteX348" fmla="*/ 3890906 w 6537372"/>
              <a:gd name="connsiteY348" fmla="*/ 4556104 h 4991619"/>
              <a:gd name="connsiteX349" fmla="*/ 3890371 w 6537372"/>
              <a:gd name="connsiteY349" fmla="*/ 4560036 h 4991619"/>
              <a:gd name="connsiteX350" fmla="*/ 3893050 w 6537372"/>
              <a:gd name="connsiteY350" fmla="*/ 4563431 h 4991619"/>
              <a:gd name="connsiteX351" fmla="*/ 3898589 w 6537372"/>
              <a:gd name="connsiteY351" fmla="*/ 4561287 h 4991619"/>
              <a:gd name="connsiteX352" fmla="*/ 3897160 w 6537372"/>
              <a:gd name="connsiteY352" fmla="*/ 4563966 h 4991619"/>
              <a:gd name="connsiteX353" fmla="*/ 3897160 w 6537372"/>
              <a:gd name="connsiteY353" fmla="*/ 4564146 h 4991619"/>
              <a:gd name="connsiteX354" fmla="*/ 3915920 w 6537372"/>
              <a:gd name="connsiteY354" fmla="*/ 4556819 h 4991619"/>
              <a:gd name="connsiteX355" fmla="*/ 3904843 w 6537372"/>
              <a:gd name="connsiteY355" fmla="*/ 4550387 h 4991619"/>
              <a:gd name="connsiteX356" fmla="*/ 3817115 w 6537372"/>
              <a:gd name="connsiteY356" fmla="*/ 4541096 h 4991619"/>
              <a:gd name="connsiteX357" fmla="*/ 3812471 w 6537372"/>
              <a:gd name="connsiteY357" fmla="*/ 4544313 h 4991619"/>
              <a:gd name="connsiteX358" fmla="*/ 3814256 w 6537372"/>
              <a:gd name="connsiteY358" fmla="*/ 4546993 h 4991619"/>
              <a:gd name="connsiteX359" fmla="*/ 3816579 w 6537372"/>
              <a:gd name="connsiteY359" fmla="*/ 4545564 h 4991619"/>
              <a:gd name="connsiteX360" fmla="*/ 3817115 w 6537372"/>
              <a:gd name="connsiteY360" fmla="*/ 4541096 h 4991619"/>
              <a:gd name="connsiteX361" fmla="*/ 1971629 w 6537372"/>
              <a:gd name="connsiteY361" fmla="*/ 4503218 h 4991619"/>
              <a:gd name="connsiteX362" fmla="*/ 1971092 w 6537372"/>
              <a:gd name="connsiteY362" fmla="*/ 4504291 h 4991619"/>
              <a:gd name="connsiteX363" fmla="*/ 1971092 w 6537372"/>
              <a:gd name="connsiteY363" fmla="*/ 4504469 h 4991619"/>
              <a:gd name="connsiteX364" fmla="*/ 1972344 w 6537372"/>
              <a:gd name="connsiteY364" fmla="*/ 4504113 h 4991619"/>
              <a:gd name="connsiteX365" fmla="*/ 2497991 w 6537372"/>
              <a:gd name="connsiteY365" fmla="*/ 4499288 h 4991619"/>
              <a:gd name="connsiteX366" fmla="*/ 2491917 w 6537372"/>
              <a:gd name="connsiteY366" fmla="*/ 4502861 h 4991619"/>
              <a:gd name="connsiteX367" fmla="*/ 2492988 w 6537372"/>
              <a:gd name="connsiteY367" fmla="*/ 4504827 h 4991619"/>
              <a:gd name="connsiteX368" fmla="*/ 2499242 w 6537372"/>
              <a:gd name="connsiteY368" fmla="*/ 4501432 h 4991619"/>
              <a:gd name="connsiteX369" fmla="*/ 2497991 w 6537372"/>
              <a:gd name="connsiteY369" fmla="*/ 4499288 h 4991619"/>
              <a:gd name="connsiteX370" fmla="*/ 1961087 w 6537372"/>
              <a:gd name="connsiteY370" fmla="*/ 4476240 h 4991619"/>
              <a:gd name="connsiteX371" fmla="*/ 1953404 w 6537372"/>
              <a:gd name="connsiteY371" fmla="*/ 4484636 h 4991619"/>
              <a:gd name="connsiteX372" fmla="*/ 1957335 w 6537372"/>
              <a:gd name="connsiteY372" fmla="*/ 4483387 h 4991619"/>
              <a:gd name="connsiteX373" fmla="*/ 1957513 w 6537372"/>
              <a:gd name="connsiteY373" fmla="*/ 4483207 h 4991619"/>
              <a:gd name="connsiteX374" fmla="*/ 1961445 w 6537372"/>
              <a:gd name="connsiteY374" fmla="*/ 4478204 h 4991619"/>
              <a:gd name="connsiteX375" fmla="*/ 1961087 w 6537372"/>
              <a:gd name="connsiteY375" fmla="*/ 4476240 h 4991619"/>
              <a:gd name="connsiteX376" fmla="*/ 2216162 w 6537372"/>
              <a:gd name="connsiteY376" fmla="*/ 4411382 h 4991619"/>
              <a:gd name="connsiteX377" fmla="*/ 2208010 w 6537372"/>
              <a:gd name="connsiteY377" fmla="*/ 4416921 h 4991619"/>
              <a:gd name="connsiteX378" fmla="*/ 2208010 w 6537372"/>
              <a:gd name="connsiteY378" fmla="*/ 4416741 h 4991619"/>
              <a:gd name="connsiteX379" fmla="*/ 2204437 w 6537372"/>
              <a:gd name="connsiteY379" fmla="*/ 4427642 h 4991619"/>
              <a:gd name="connsiteX380" fmla="*/ 2226592 w 6537372"/>
              <a:gd name="connsiteY380" fmla="*/ 4413348 h 4991619"/>
              <a:gd name="connsiteX381" fmla="*/ 2216162 w 6537372"/>
              <a:gd name="connsiteY381" fmla="*/ 4411382 h 4991619"/>
              <a:gd name="connsiteX382" fmla="*/ 2244459 w 6537372"/>
              <a:gd name="connsiteY382" fmla="*/ 4396730 h 4991619"/>
              <a:gd name="connsiteX383" fmla="*/ 2236417 w 6537372"/>
              <a:gd name="connsiteY383" fmla="*/ 4403162 h 4991619"/>
              <a:gd name="connsiteX384" fmla="*/ 2237669 w 6537372"/>
              <a:gd name="connsiteY384" fmla="*/ 4404950 h 4991619"/>
              <a:gd name="connsiteX385" fmla="*/ 2242135 w 6537372"/>
              <a:gd name="connsiteY385" fmla="*/ 4401555 h 4991619"/>
              <a:gd name="connsiteX386" fmla="*/ 2245530 w 6537372"/>
              <a:gd name="connsiteY386" fmla="*/ 4397803 h 4991619"/>
              <a:gd name="connsiteX387" fmla="*/ 2244459 w 6537372"/>
              <a:gd name="connsiteY387" fmla="*/ 4396730 h 4991619"/>
              <a:gd name="connsiteX388" fmla="*/ 2304671 w 6537372"/>
              <a:gd name="connsiteY388" fmla="*/ 4368858 h 4991619"/>
              <a:gd name="connsiteX389" fmla="*/ 2301632 w 6537372"/>
              <a:gd name="connsiteY389" fmla="*/ 4369394 h 4991619"/>
              <a:gd name="connsiteX390" fmla="*/ 2277513 w 6537372"/>
              <a:gd name="connsiteY390" fmla="*/ 4380114 h 4991619"/>
              <a:gd name="connsiteX391" fmla="*/ 2278405 w 6537372"/>
              <a:gd name="connsiteY391" fmla="*/ 4380114 h 4991619"/>
              <a:gd name="connsiteX392" fmla="*/ 2266792 w 6537372"/>
              <a:gd name="connsiteY392" fmla="*/ 4384581 h 4991619"/>
              <a:gd name="connsiteX393" fmla="*/ 2262326 w 6537372"/>
              <a:gd name="connsiteY393" fmla="*/ 4386547 h 4991619"/>
              <a:gd name="connsiteX394" fmla="*/ 2257680 w 6537372"/>
              <a:gd name="connsiteY394" fmla="*/ 4397445 h 4991619"/>
              <a:gd name="connsiteX395" fmla="*/ 2239276 w 6537372"/>
              <a:gd name="connsiteY395" fmla="*/ 4410131 h 4991619"/>
              <a:gd name="connsiteX396" fmla="*/ 2180672 w 6537372"/>
              <a:gd name="connsiteY396" fmla="*/ 4453727 h 4991619"/>
              <a:gd name="connsiteX397" fmla="*/ 2198361 w 6537372"/>
              <a:gd name="connsiteY397" fmla="*/ 4446758 h 4991619"/>
              <a:gd name="connsiteX398" fmla="*/ 2230522 w 6537372"/>
              <a:gd name="connsiteY398" fmla="*/ 4427283 h 4991619"/>
              <a:gd name="connsiteX399" fmla="*/ 2233381 w 6537372"/>
              <a:gd name="connsiteY399" fmla="*/ 4424783 h 4991619"/>
              <a:gd name="connsiteX400" fmla="*/ 2245708 w 6537372"/>
              <a:gd name="connsiteY400" fmla="*/ 4413168 h 4991619"/>
              <a:gd name="connsiteX401" fmla="*/ 2292521 w 6537372"/>
              <a:gd name="connsiteY401" fmla="*/ 4379043 h 4991619"/>
              <a:gd name="connsiteX402" fmla="*/ 2292521 w 6537372"/>
              <a:gd name="connsiteY402" fmla="*/ 4379578 h 4991619"/>
              <a:gd name="connsiteX403" fmla="*/ 2304671 w 6537372"/>
              <a:gd name="connsiteY403" fmla="*/ 4368858 h 4991619"/>
              <a:gd name="connsiteX404" fmla="*/ 2463152 w 6537372"/>
              <a:gd name="connsiteY404" fmla="*/ 4358137 h 4991619"/>
              <a:gd name="connsiteX405" fmla="*/ 2460649 w 6537372"/>
              <a:gd name="connsiteY405" fmla="*/ 4358674 h 4991619"/>
              <a:gd name="connsiteX406" fmla="*/ 2460471 w 6537372"/>
              <a:gd name="connsiteY406" fmla="*/ 4358852 h 4991619"/>
              <a:gd name="connsiteX407" fmla="*/ 2463330 w 6537372"/>
              <a:gd name="connsiteY407" fmla="*/ 4366179 h 4991619"/>
              <a:gd name="connsiteX408" fmla="*/ 2463152 w 6537372"/>
              <a:gd name="connsiteY408" fmla="*/ 4358137 h 4991619"/>
              <a:gd name="connsiteX409" fmla="*/ 2359701 w 6537372"/>
              <a:gd name="connsiteY409" fmla="*/ 4345631 h 4991619"/>
              <a:gd name="connsiteX410" fmla="*/ 2353091 w 6537372"/>
              <a:gd name="connsiteY410" fmla="*/ 4348312 h 4991619"/>
              <a:gd name="connsiteX411" fmla="*/ 2350588 w 6537372"/>
              <a:gd name="connsiteY411" fmla="*/ 4349383 h 4991619"/>
              <a:gd name="connsiteX412" fmla="*/ 2346837 w 6537372"/>
              <a:gd name="connsiteY412" fmla="*/ 4352064 h 4991619"/>
              <a:gd name="connsiteX413" fmla="*/ 2348658 w 6537372"/>
              <a:gd name="connsiteY413" fmla="*/ 4354715 h 4991619"/>
              <a:gd name="connsiteX414" fmla="*/ 2348622 w 6537372"/>
              <a:gd name="connsiteY414" fmla="*/ 4354744 h 4991619"/>
              <a:gd name="connsiteX415" fmla="*/ 2348801 w 6537372"/>
              <a:gd name="connsiteY415" fmla="*/ 4354922 h 4991619"/>
              <a:gd name="connsiteX416" fmla="*/ 2348658 w 6537372"/>
              <a:gd name="connsiteY416" fmla="*/ 4354715 h 4991619"/>
              <a:gd name="connsiteX417" fmla="*/ 1941612 w 6537372"/>
              <a:gd name="connsiteY417" fmla="*/ 4242181 h 4991619"/>
              <a:gd name="connsiteX418" fmla="*/ 1941612 w 6537372"/>
              <a:gd name="connsiteY418" fmla="*/ 4248971 h 4991619"/>
              <a:gd name="connsiteX419" fmla="*/ 1947686 w 6537372"/>
              <a:gd name="connsiteY419" fmla="*/ 4253438 h 4991619"/>
              <a:gd name="connsiteX420" fmla="*/ 1947866 w 6537372"/>
              <a:gd name="connsiteY420" fmla="*/ 4253438 h 4991619"/>
              <a:gd name="connsiteX421" fmla="*/ 1952689 w 6537372"/>
              <a:gd name="connsiteY421" fmla="*/ 4249149 h 4991619"/>
              <a:gd name="connsiteX422" fmla="*/ 1941612 w 6537372"/>
              <a:gd name="connsiteY422" fmla="*/ 4242181 h 4991619"/>
              <a:gd name="connsiteX423" fmla="*/ 1940361 w 6537372"/>
              <a:gd name="connsiteY423" fmla="*/ 4240751 h 4991619"/>
              <a:gd name="connsiteX424" fmla="*/ 1941254 w 6537372"/>
              <a:gd name="connsiteY424" fmla="*/ 4241644 h 4991619"/>
              <a:gd name="connsiteX425" fmla="*/ 1941790 w 6537372"/>
              <a:gd name="connsiteY425" fmla="*/ 4240930 h 4991619"/>
              <a:gd name="connsiteX426" fmla="*/ 1940361 w 6537372"/>
              <a:gd name="connsiteY426" fmla="*/ 4240751 h 4991619"/>
              <a:gd name="connsiteX427" fmla="*/ 2210154 w 6537372"/>
              <a:gd name="connsiteY427" fmla="*/ 4173930 h 4991619"/>
              <a:gd name="connsiteX428" fmla="*/ 2205330 w 6537372"/>
              <a:gd name="connsiteY428" fmla="*/ 4177503 h 4991619"/>
              <a:gd name="connsiteX429" fmla="*/ 2206044 w 6537372"/>
              <a:gd name="connsiteY429" fmla="*/ 4178396 h 4991619"/>
              <a:gd name="connsiteX430" fmla="*/ 2210869 w 6537372"/>
              <a:gd name="connsiteY430" fmla="*/ 4174822 h 4991619"/>
              <a:gd name="connsiteX431" fmla="*/ 2210154 w 6537372"/>
              <a:gd name="connsiteY431" fmla="*/ 4173930 h 4991619"/>
              <a:gd name="connsiteX432" fmla="*/ 2007363 w 6537372"/>
              <a:gd name="connsiteY432" fmla="*/ 4168927 h 4991619"/>
              <a:gd name="connsiteX433" fmla="*/ 1999323 w 6537372"/>
              <a:gd name="connsiteY433" fmla="*/ 4173035 h 4991619"/>
              <a:gd name="connsiteX434" fmla="*/ 1997536 w 6537372"/>
              <a:gd name="connsiteY434" fmla="*/ 4177323 h 4991619"/>
              <a:gd name="connsiteX435" fmla="*/ 1997714 w 6537372"/>
              <a:gd name="connsiteY435" fmla="*/ 4177503 h 4991619"/>
              <a:gd name="connsiteX436" fmla="*/ 2008078 w 6537372"/>
              <a:gd name="connsiteY436" fmla="*/ 4169105 h 4991619"/>
              <a:gd name="connsiteX437" fmla="*/ 2007363 w 6537372"/>
              <a:gd name="connsiteY437" fmla="*/ 4168927 h 4991619"/>
              <a:gd name="connsiteX438" fmla="*/ 2189785 w 6537372"/>
              <a:gd name="connsiteY438" fmla="*/ 4151594 h 4991619"/>
              <a:gd name="connsiteX439" fmla="*/ 2187463 w 6537372"/>
              <a:gd name="connsiteY439" fmla="*/ 4152309 h 4991619"/>
              <a:gd name="connsiteX440" fmla="*/ 2187999 w 6537372"/>
              <a:gd name="connsiteY440" fmla="*/ 4154990 h 4991619"/>
              <a:gd name="connsiteX441" fmla="*/ 2191036 w 6537372"/>
              <a:gd name="connsiteY441" fmla="*/ 4153738 h 4991619"/>
              <a:gd name="connsiteX442" fmla="*/ 2191214 w 6537372"/>
              <a:gd name="connsiteY442" fmla="*/ 4153738 h 4991619"/>
              <a:gd name="connsiteX443" fmla="*/ 2191393 w 6537372"/>
              <a:gd name="connsiteY443" fmla="*/ 4153560 h 4991619"/>
              <a:gd name="connsiteX444" fmla="*/ 2189785 w 6537372"/>
              <a:gd name="connsiteY444" fmla="*/ 4151594 h 4991619"/>
              <a:gd name="connsiteX445" fmla="*/ 2210511 w 6537372"/>
              <a:gd name="connsiteY445" fmla="*/ 4145520 h 4991619"/>
              <a:gd name="connsiteX446" fmla="*/ 2207830 w 6537372"/>
              <a:gd name="connsiteY446" fmla="*/ 4147306 h 4991619"/>
              <a:gd name="connsiteX447" fmla="*/ 2210154 w 6537372"/>
              <a:gd name="connsiteY447" fmla="*/ 4146413 h 4991619"/>
              <a:gd name="connsiteX448" fmla="*/ 2210511 w 6537372"/>
              <a:gd name="connsiteY448" fmla="*/ 4145520 h 4991619"/>
              <a:gd name="connsiteX449" fmla="*/ 2207652 w 6537372"/>
              <a:gd name="connsiteY449" fmla="*/ 4130869 h 4991619"/>
              <a:gd name="connsiteX450" fmla="*/ 2201578 w 6537372"/>
              <a:gd name="connsiteY450" fmla="*/ 4134086 h 4991619"/>
              <a:gd name="connsiteX451" fmla="*/ 2198719 w 6537372"/>
              <a:gd name="connsiteY451" fmla="*/ 4137659 h 4991619"/>
              <a:gd name="connsiteX452" fmla="*/ 2198067 w 6537372"/>
              <a:gd name="connsiteY452" fmla="*/ 4137496 h 4991619"/>
              <a:gd name="connsiteX453" fmla="*/ 2197468 w 6537372"/>
              <a:gd name="connsiteY453" fmla="*/ 4137122 h 4991619"/>
              <a:gd name="connsiteX454" fmla="*/ 2197290 w 6537372"/>
              <a:gd name="connsiteY454" fmla="*/ 4137301 h 4991619"/>
              <a:gd name="connsiteX455" fmla="*/ 2198067 w 6537372"/>
              <a:gd name="connsiteY455" fmla="*/ 4137496 h 4991619"/>
              <a:gd name="connsiteX456" fmla="*/ 2202627 w 6537372"/>
              <a:gd name="connsiteY456" fmla="*/ 4140339 h 4991619"/>
              <a:gd name="connsiteX457" fmla="*/ 2206044 w 6537372"/>
              <a:gd name="connsiteY457" fmla="*/ 4137122 h 4991619"/>
              <a:gd name="connsiteX458" fmla="*/ 2207652 w 6537372"/>
              <a:gd name="connsiteY458" fmla="*/ 4130869 h 4991619"/>
              <a:gd name="connsiteX459" fmla="*/ 2209260 w 6537372"/>
              <a:gd name="connsiteY459" fmla="*/ 4104784 h 4991619"/>
              <a:gd name="connsiteX460" fmla="*/ 2149226 w 6537372"/>
              <a:gd name="connsiteY460" fmla="*/ 4151060 h 4991619"/>
              <a:gd name="connsiteX461" fmla="*/ 2149226 w 6537372"/>
              <a:gd name="connsiteY461" fmla="*/ 4151774 h 4991619"/>
              <a:gd name="connsiteX462" fmla="*/ 2154766 w 6537372"/>
              <a:gd name="connsiteY462" fmla="*/ 4157670 h 4991619"/>
              <a:gd name="connsiteX463" fmla="*/ 2155480 w 6537372"/>
              <a:gd name="connsiteY463" fmla="*/ 4157492 h 4991619"/>
              <a:gd name="connsiteX464" fmla="*/ 2156195 w 6537372"/>
              <a:gd name="connsiteY464" fmla="*/ 4160707 h 4991619"/>
              <a:gd name="connsiteX465" fmla="*/ 2158339 w 6537372"/>
              <a:gd name="connsiteY465" fmla="*/ 4161600 h 4991619"/>
              <a:gd name="connsiteX466" fmla="*/ 2172096 w 6537372"/>
              <a:gd name="connsiteY466" fmla="*/ 4151953 h 4991619"/>
              <a:gd name="connsiteX467" fmla="*/ 2184246 w 6537372"/>
              <a:gd name="connsiteY467" fmla="*/ 4146772 h 4991619"/>
              <a:gd name="connsiteX468" fmla="*/ 2193002 w 6537372"/>
              <a:gd name="connsiteY468" fmla="*/ 4134442 h 4991619"/>
              <a:gd name="connsiteX469" fmla="*/ 2192822 w 6537372"/>
              <a:gd name="connsiteY469" fmla="*/ 4134442 h 4991619"/>
              <a:gd name="connsiteX470" fmla="*/ 2195324 w 6537372"/>
              <a:gd name="connsiteY470" fmla="*/ 4130690 h 4991619"/>
              <a:gd name="connsiteX471" fmla="*/ 2198183 w 6537372"/>
              <a:gd name="connsiteY471" fmla="*/ 4122651 h 4991619"/>
              <a:gd name="connsiteX472" fmla="*/ 2199254 w 6537372"/>
              <a:gd name="connsiteY472" fmla="*/ 4124258 h 4991619"/>
              <a:gd name="connsiteX473" fmla="*/ 2201756 w 6537372"/>
              <a:gd name="connsiteY473" fmla="*/ 4115146 h 4991619"/>
              <a:gd name="connsiteX474" fmla="*/ 2209260 w 6537372"/>
              <a:gd name="connsiteY474" fmla="*/ 4104784 h 4991619"/>
              <a:gd name="connsiteX475" fmla="*/ 2292343 w 6537372"/>
              <a:gd name="connsiteY475" fmla="*/ 4053148 h 4991619"/>
              <a:gd name="connsiteX476" fmla="*/ 2292417 w 6537372"/>
              <a:gd name="connsiteY476" fmla="*/ 4053272 h 4991619"/>
              <a:gd name="connsiteX477" fmla="*/ 2278584 w 6537372"/>
              <a:gd name="connsiteY477" fmla="*/ 4069586 h 4991619"/>
              <a:gd name="connsiteX478" fmla="*/ 2292877 w 6537372"/>
              <a:gd name="connsiteY478" fmla="*/ 4054041 h 4991619"/>
              <a:gd name="connsiteX479" fmla="*/ 2292417 w 6537372"/>
              <a:gd name="connsiteY479" fmla="*/ 4053272 h 4991619"/>
              <a:gd name="connsiteX480" fmla="*/ 2292521 w 6537372"/>
              <a:gd name="connsiteY480" fmla="*/ 4053148 h 4991619"/>
              <a:gd name="connsiteX481" fmla="*/ 2265520 w 6537372"/>
              <a:gd name="connsiteY481" fmla="*/ 4036911 h 4991619"/>
              <a:gd name="connsiteX482" fmla="*/ 2263934 w 6537372"/>
              <a:gd name="connsiteY482" fmla="*/ 4040999 h 4991619"/>
              <a:gd name="connsiteX483" fmla="*/ 2270722 w 6537372"/>
              <a:gd name="connsiteY483" fmla="*/ 4037245 h 4991619"/>
              <a:gd name="connsiteX484" fmla="*/ 2265520 w 6537372"/>
              <a:gd name="connsiteY484" fmla="*/ 4036911 h 4991619"/>
              <a:gd name="connsiteX485" fmla="*/ 2318606 w 6537372"/>
              <a:gd name="connsiteY485" fmla="*/ 4005443 h 4991619"/>
              <a:gd name="connsiteX486" fmla="*/ 2303956 w 6537372"/>
              <a:gd name="connsiteY486" fmla="*/ 4014197 h 4991619"/>
              <a:gd name="connsiteX487" fmla="*/ 2303956 w 6537372"/>
              <a:gd name="connsiteY487" fmla="*/ 4014375 h 4991619"/>
              <a:gd name="connsiteX488" fmla="*/ 2313067 w 6537372"/>
              <a:gd name="connsiteY488" fmla="*/ 4009731 h 4991619"/>
              <a:gd name="connsiteX489" fmla="*/ 2318606 w 6537372"/>
              <a:gd name="connsiteY489" fmla="*/ 4005443 h 4991619"/>
              <a:gd name="connsiteX490" fmla="*/ 2680771 w 6537372"/>
              <a:gd name="connsiteY490" fmla="*/ 3958452 h 4991619"/>
              <a:gd name="connsiteX491" fmla="*/ 2678091 w 6537372"/>
              <a:gd name="connsiteY491" fmla="*/ 3959167 h 4991619"/>
              <a:gd name="connsiteX492" fmla="*/ 2680235 w 6537372"/>
              <a:gd name="connsiteY492" fmla="*/ 3960418 h 4991619"/>
              <a:gd name="connsiteX493" fmla="*/ 2680235 w 6537372"/>
              <a:gd name="connsiteY493" fmla="*/ 3960240 h 4991619"/>
              <a:gd name="connsiteX494" fmla="*/ 2681130 w 6537372"/>
              <a:gd name="connsiteY494" fmla="*/ 3959881 h 4991619"/>
              <a:gd name="connsiteX495" fmla="*/ 2680771 w 6537372"/>
              <a:gd name="connsiteY495" fmla="*/ 3958452 h 4991619"/>
              <a:gd name="connsiteX496" fmla="*/ 2702926 w 6537372"/>
              <a:gd name="connsiteY496" fmla="*/ 3949161 h 4991619"/>
              <a:gd name="connsiteX497" fmla="*/ 2701675 w 6537372"/>
              <a:gd name="connsiteY497" fmla="*/ 3954879 h 4991619"/>
              <a:gd name="connsiteX498" fmla="*/ 2705963 w 6537372"/>
              <a:gd name="connsiteY498" fmla="*/ 3950234 h 4991619"/>
              <a:gd name="connsiteX499" fmla="*/ 2705785 w 6537372"/>
              <a:gd name="connsiteY499" fmla="*/ 3950234 h 4991619"/>
              <a:gd name="connsiteX500" fmla="*/ 2702926 w 6537372"/>
              <a:gd name="connsiteY500" fmla="*/ 3949161 h 4991619"/>
              <a:gd name="connsiteX501" fmla="*/ 2705963 w 6537372"/>
              <a:gd name="connsiteY501" fmla="*/ 3933082 h 4991619"/>
              <a:gd name="connsiteX502" fmla="*/ 2703463 w 6537372"/>
              <a:gd name="connsiteY502" fmla="*/ 3935404 h 4991619"/>
              <a:gd name="connsiteX503" fmla="*/ 2706322 w 6537372"/>
              <a:gd name="connsiteY503" fmla="*/ 3933616 h 4991619"/>
              <a:gd name="connsiteX504" fmla="*/ 2705963 w 6537372"/>
              <a:gd name="connsiteY504" fmla="*/ 3933082 h 4991619"/>
              <a:gd name="connsiteX505" fmla="*/ 5786956 w 6537372"/>
              <a:gd name="connsiteY505" fmla="*/ 3857682 h 4991619"/>
              <a:gd name="connsiteX506" fmla="*/ 5786956 w 6537372"/>
              <a:gd name="connsiteY506" fmla="*/ 3858755 h 4991619"/>
              <a:gd name="connsiteX507" fmla="*/ 5788208 w 6537372"/>
              <a:gd name="connsiteY507" fmla="*/ 3858218 h 4991619"/>
              <a:gd name="connsiteX508" fmla="*/ 5386022 w 6537372"/>
              <a:gd name="connsiteY508" fmla="*/ 3854287 h 4991619"/>
              <a:gd name="connsiteX509" fmla="*/ 5372621 w 6537372"/>
              <a:gd name="connsiteY509" fmla="*/ 3856074 h 4991619"/>
              <a:gd name="connsiteX510" fmla="*/ 5380660 w 6537372"/>
              <a:gd name="connsiteY510" fmla="*/ 3857682 h 4991619"/>
              <a:gd name="connsiteX511" fmla="*/ 5380124 w 6537372"/>
              <a:gd name="connsiteY511" fmla="*/ 3859648 h 4991619"/>
              <a:gd name="connsiteX512" fmla="*/ 5380124 w 6537372"/>
              <a:gd name="connsiteY512" fmla="*/ 3859826 h 4991619"/>
              <a:gd name="connsiteX513" fmla="*/ 5390844 w 6537372"/>
              <a:gd name="connsiteY513" fmla="*/ 3856611 h 4991619"/>
              <a:gd name="connsiteX514" fmla="*/ 5386022 w 6537372"/>
              <a:gd name="connsiteY514" fmla="*/ 3854287 h 4991619"/>
              <a:gd name="connsiteX515" fmla="*/ 5409070 w 6537372"/>
              <a:gd name="connsiteY515" fmla="*/ 3828024 h 4991619"/>
              <a:gd name="connsiteX516" fmla="*/ 5392810 w 6537372"/>
              <a:gd name="connsiteY516" fmla="*/ 3834456 h 4991619"/>
              <a:gd name="connsiteX517" fmla="*/ 5391202 w 6537372"/>
              <a:gd name="connsiteY517" fmla="*/ 3836420 h 4991619"/>
              <a:gd name="connsiteX518" fmla="*/ 5391559 w 6537372"/>
              <a:gd name="connsiteY518" fmla="*/ 3847140 h 4991619"/>
              <a:gd name="connsiteX519" fmla="*/ 5400135 w 6537372"/>
              <a:gd name="connsiteY519" fmla="*/ 3841781 h 4991619"/>
              <a:gd name="connsiteX520" fmla="*/ 5407282 w 6537372"/>
              <a:gd name="connsiteY520" fmla="*/ 3834990 h 4991619"/>
              <a:gd name="connsiteX521" fmla="*/ 5410319 w 6537372"/>
              <a:gd name="connsiteY521" fmla="*/ 3834634 h 4991619"/>
              <a:gd name="connsiteX522" fmla="*/ 5412643 w 6537372"/>
              <a:gd name="connsiteY522" fmla="*/ 3832490 h 4991619"/>
              <a:gd name="connsiteX523" fmla="*/ 5405674 w 6537372"/>
              <a:gd name="connsiteY523" fmla="*/ 3831597 h 4991619"/>
              <a:gd name="connsiteX524" fmla="*/ 5412821 w 6537372"/>
              <a:gd name="connsiteY524" fmla="*/ 3828024 h 4991619"/>
              <a:gd name="connsiteX525" fmla="*/ 5409070 w 6537372"/>
              <a:gd name="connsiteY525" fmla="*/ 3828024 h 4991619"/>
              <a:gd name="connsiteX526" fmla="*/ 5577912 w 6537372"/>
              <a:gd name="connsiteY526" fmla="*/ 3804796 h 4991619"/>
              <a:gd name="connsiteX527" fmla="*/ 5577912 w 6537372"/>
              <a:gd name="connsiteY527" fmla="*/ 3805868 h 4991619"/>
              <a:gd name="connsiteX528" fmla="*/ 5579164 w 6537372"/>
              <a:gd name="connsiteY528" fmla="*/ 3805154 h 4991619"/>
              <a:gd name="connsiteX529" fmla="*/ 5577912 w 6537372"/>
              <a:gd name="connsiteY529" fmla="*/ 3804796 h 4991619"/>
              <a:gd name="connsiteX530" fmla="*/ 5778916 w 6537372"/>
              <a:gd name="connsiteY530" fmla="*/ 3793361 h 4991619"/>
              <a:gd name="connsiteX531" fmla="*/ 5776950 w 6537372"/>
              <a:gd name="connsiteY531" fmla="*/ 3793719 h 4991619"/>
              <a:gd name="connsiteX532" fmla="*/ 5773199 w 6537372"/>
              <a:gd name="connsiteY532" fmla="*/ 3795863 h 4991619"/>
              <a:gd name="connsiteX533" fmla="*/ 5773377 w 6537372"/>
              <a:gd name="connsiteY533" fmla="*/ 3795863 h 4991619"/>
              <a:gd name="connsiteX534" fmla="*/ 5778916 w 6537372"/>
              <a:gd name="connsiteY534" fmla="*/ 3793361 h 4991619"/>
              <a:gd name="connsiteX535" fmla="*/ 5751402 w 6537372"/>
              <a:gd name="connsiteY535" fmla="*/ 3792468 h 4991619"/>
              <a:gd name="connsiteX536" fmla="*/ 5749258 w 6537372"/>
              <a:gd name="connsiteY536" fmla="*/ 3793182 h 4991619"/>
              <a:gd name="connsiteX537" fmla="*/ 5748900 w 6537372"/>
              <a:gd name="connsiteY537" fmla="*/ 3793182 h 4991619"/>
              <a:gd name="connsiteX538" fmla="*/ 5748900 w 6537372"/>
              <a:gd name="connsiteY538" fmla="*/ 3798900 h 4991619"/>
              <a:gd name="connsiteX539" fmla="*/ 5748900 w 6537372"/>
              <a:gd name="connsiteY539" fmla="*/ 3799078 h 4991619"/>
              <a:gd name="connsiteX540" fmla="*/ 5754796 w 6537372"/>
              <a:gd name="connsiteY540" fmla="*/ 3800151 h 4991619"/>
              <a:gd name="connsiteX541" fmla="*/ 5751402 w 6537372"/>
              <a:gd name="connsiteY541" fmla="*/ 3792468 h 4991619"/>
              <a:gd name="connsiteX542" fmla="*/ 5812150 w 6537372"/>
              <a:gd name="connsiteY542" fmla="*/ 3773350 h 4991619"/>
              <a:gd name="connsiteX543" fmla="*/ 5798391 w 6537372"/>
              <a:gd name="connsiteY543" fmla="*/ 3777638 h 4991619"/>
              <a:gd name="connsiteX544" fmla="*/ 5799286 w 6537372"/>
              <a:gd name="connsiteY544" fmla="*/ 3778352 h 4991619"/>
              <a:gd name="connsiteX545" fmla="*/ 5812150 w 6537372"/>
              <a:gd name="connsiteY545" fmla="*/ 3773350 h 4991619"/>
              <a:gd name="connsiteX546" fmla="*/ 5614003 w 6537372"/>
              <a:gd name="connsiteY546" fmla="*/ 3771205 h 4991619"/>
              <a:gd name="connsiteX547" fmla="*/ 5606322 w 6537372"/>
              <a:gd name="connsiteY547" fmla="*/ 3771920 h 4991619"/>
              <a:gd name="connsiteX548" fmla="*/ 5606322 w 6537372"/>
              <a:gd name="connsiteY548" fmla="*/ 3772098 h 4991619"/>
              <a:gd name="connsiteX549" fmla="*/ 5607393 w 6537372"/>
              <a:gd name="connsiteY549" fmla="*/ 3773171 h 4991619"/>
              <a:gd name="connsiteX550" fmla="*/ 5614003 w 6537372"/>
              <a:gd name="connsiteY550" fmla="*/ 3771205 h 4991619"/>
              <a:gd name="connsiteX551" fmla="*/ 5841986 w 6537372"/>
              <a:gd name="connsiteY551" fmla="*/ 3764237 h 4991619"/>
              <a:gd name="connsiteX552" fmla="*/ 5831266 w 6537372"/>
              <a:gd name="connsiteY552" fmla="*/ 3767632 h 4991619"/>
              <a:gd name="connsiteX553" fmla="*/ 5831266 w 6537372"/>
              <a:gd name="connsiteY553" fmla="*/ 3769240 h 4991619"/>
              <a:gd name="connsiteX554" fmla="*/ 5828766 w 6537372"/>
              <a:gd name="connsiteY554" fmla="*/ 3772993 h 4991619"/>
              <a:gd name="connsiteX555" fmla="*/ 5847348 w 6537372"/>
              <a:gd name="connsiteY555" fmla="*/ 3768347 h 4991619"/>
              <a:gd name="connsiteX556" fmla="*/ 5847170 w 6537372"/>
              <a:gd name="connsiteY556" fmla="*/ 3768169 h 4991619"/>
              <a:gd name="connsiteX557" fmla="*/ 5847170 w 6537372"/>
              <a:gd name="connsiteY557" fmla="*/ 3766381 h 4991619"/>
              <a:gd name="connsiteX558" fmla="*/ 5845562 w 6537372"/>
              <a:gd name="connsiteY558" fmla="*/ 3766025 h 4991619"/>
              <a:gd name="connsiteX559" fmla="*/ 5844489 w 6537372"/>
              <a:gd name="connsiteY559" fmla="*/ 3764595 h 4991619"/>
              <a:gd name="connsiteX560" fmla="*/ 5841986 w 6537372"/>
              <a:gd name="connsiteY560" fmla="*/ 3764237 h 4991619"/>
              <a:gd name="connsiteX561" fmla="*/ 5683508 w 6537372"/>
              <a:gd name="connsiteY561" fmla="*/ 3764059 h 4991619"/>
              <a:gd name="connsiteX562" fmla="*/ 5681184 w 6537372"/>
              <a:gd name="connsiteY562" fmla="*/ 3764237 h 4991619"/>
              <a:gd name="connsiteX563" fmla="*/ 5654028 w 6537372"/>
              <a:gd name="connsiteY563" fmla="*/ 3768347 h 4991619"/>
              <a:gd name="connsiteX564" fmla="*/ 5603998 w 6537372"/>
              <a:gd name="connsiteY564" fmla="*/ 3777996 h 4991619"/>
              <a:gd name="connsiteX565" fmla="*/ 5600960 w 6537372"/>
              <a:gd name="connsiteY565" fmla="*/ 3775494 h 4991619"/>
              <a:gd name="connsiteX566" fmla="*/ 5604892 w 6537372"/>
              <a:gd name="connsiteY566" fmla="*/ 3773886 h 4991619"/>
              <a:gd name="connsiteX567" fmla="*/ 5604892 w 6537372"/>
              <a:gd name="connsiteY567" fmla="*/ 3772993 h 4991619"/>
              <a:gd name="connsiteX568" fmla="*/ 5605427 w 6537372"/>
              <a:gd name="connsiteY568" fmla="*/ 3772098 h 4991619"/>
              <a:gd name="connsiteX569" fmla="*/ 5566478 w 6537372"/>
              <a:gd name="connsiteY569" fmla="*/ 3779425 h 4991619"/>
              <a:gd name="connsiteX570" fmla="*/ 5568978 w 6537372"/>
              <a:gd name="connsiteY570" fmla="*/ 3784248 h 4991619"/>
              <a:gd name="connsiteX571" fmla="*/ 5550576 w 6537372"/>
              <a:gd name="connsiteY571" fmla="*/ 3787643 h 4991619"/>
              <a:gd name="connsiteX572" fmla="*/ 5533244 w 6537372"/>
              <a:gd name="connsiteY572" fmla="*/ 3790680 h 4991619"/>
              <a:gd name="connsiteX573" fmla="*/ 5514306 w 6537372"/>
              <a:gd name="connsiteY573" fmla="*/ 3794253 h 4991619"/>
              <a:gd name="connsiteX574" fmla="*/ 5495546 w 6537372"/>
              <a:gd name="connsiteY574" fmla="*/ 3798542 h 4991619"/>
              <a:gd name="connsiteX575" fmla="*/ 5478572 w 6537372"/>
              <a:gd name="connsiteY575" fmla="*/ 3803010 h 4991619"/>
              <a:gd name="connsiteX576" fmla="*/ 5461242 w 6537372"/>
              <a:gd name="connsiteY576" fmla="*/ 3810157 h 4991619"/>
              <a:gd name="connsiteX577" fmla="*/ 5466422 w 6537372"/>
              <a:gd name="connsiteY577" fmla="*/ 3810871 h 4991619"/>
              <a:gd name="connsiteX578" fmla="*/ 5546288 w 6537372"/>
              <a:gd name="connsiteY578" fmla="*/ 3794253 h 4991619"/>
              <a:gd name="connsiteX579" fmla="*/ 5572910 w 6537372"/>
              <a:gd name="connsiteY579" fmla="*/ 3788358 h 4991619"/>
              <a:gd name="connsiteX580" fmla="*/ 5580772 w 6537372"/>
              <a:gd name="connsiteY580" fmla="*/ 3789965 h 4991619"/>
              <a:gd name="connsiteX581" fmla="*/ 5573803 w 6537372"/>
              <a:gd name="connsiteY581" fmla="*/ 3794434 h 4991619"/>
              <a:gd name="connsiteX582" fmla="*/ 5544322 w 6537372"/>
              <a:gd name="connsiteY582" fmla="*/ 3801400 h 4991619"/>
              <a:gd name="connsiteX583" fmla="*/ 5513055 w 6537372"/>
              <a:gd name="connsiteY583" fmla="*/ 3807654 h 4991619"/>
              <a:gd name="connsiteX584" fmla="*/ 5450163 w 6537372"/>
              <a:gd name="connsiteY584" fmla="*/ 3819447 h 4991619"/>
              <a:gd name="connsiteX585" fmla="*/ 5425149 w 6537372"/>
              <a:gd name="connsiteY585" fmla="*/ 3824450 h 4991619"/>
              <a:gd name="connsiteX586" fmla="*/ 5424434 w 6537372"/>
              <a:gd name="connsiteY586" fmla="*/ 3824628 h 4991619"/>
              <a:gd name="connsiteX587" fmla="*/ 5423898 w 6537372"/>
              <a:gd name="connsiteY587" fmla="*/ 3825699 h 4991619"/>
              <a:gd name="connsiteX588" fmla="*/ 5421934 w 6537372"/>
              <a:gd name="connsiteY588" fmla="*/ 3828738 h 4991619"/>
              <a:gd name="connsiteX589" fmla="*/ 5422827 w 6537372"/>
              <a:gd name="connsiteY589" fmla="*/ 3830524 h 4991619"/>
              <a:gd name="connsiteX590" fmla="*/ 5434262 w 6537372"/>
              <a:gd name="connsiteY590" fmla="*/ 3831061 h 4991619"/>
              <a:gd name="connsiteX591" fmla="*/ 5434262 w 6537372"/>
              <a:gd name="connsiteY591" fmla="*/ 3832668 h 4991619"/>
              <a:gd name="connsiteX592" fmla="*/ 5413000 w 6537372"/>
              <a:gd name="connsiteY592" fmla="*/ 3839278 h 4991619"/>
              <a:gd name="connsiteX593" fmla="*/ 5452487 w 6537372"/>
              <a:gd name="connsiteY593" fmla="*/ 3831597 h 4991619"/>
              <a:gd name="connsiteX594" fmla="*/ 5472496 w 6537372"/>
              <a:gd name="connsiteY594" fmla="*/ 3827309 h 4991619"/>
              <a:gd name="connsiteX595" fmla="*/ 5473211 w 6537372"/>
              <a:gd name="connsiteY595" fmla="*/ 3827309 h 4991619"/>
              <a:gd name="connsiteX596" fmla="*/ 5474284 w 6537372"/>
              <a:gd name="connsiteY596" fmla="*/ 3827129 h 4991619"/>
              <a:gd name="connsiteX597" fmla="*/ 5529136 w 6537372"/>
              <a:gd name="connsiteY597" fmla="*/ 3810157 h 4991619"/>
              <a:gd name="connsiteX598" fmla="*/ 5544322 w 6537372"/>
              <a:gd name="connsiteY598" fmla="*/ 3808547 h 4991619"/>
              <a:gd name="connsiteX599" fmla="*/ 5542178 w 6537372"/>
              <a:gd name="connsiteY599" fmla="*/ 3813550 h 4991619"/>
              <a:gd name="connsiteX600" fmla="*/ 5548252 w 6537372"/>
              <a:gd name="connsiteY600" fmla="*/ 3813015 h 4991619"/>
              <a:gd name="connsiteX601" fmla="*/ 5560582 w 6537372"/>
              <a:gd name="connsiteY601" fmla="*/ 3811764 h 4991619"/>
              <a:gd name="connsiteX602" fmla="*/ 5566300 w 6537372"/>
              <a:gd name="connsiteY602" fmla="*/ 3807832 h 4991619"/>
              <a:gd name="connsiteX603" fmla="*/ 5562012 w 6537372"/>
              <a:gd name="connsiteY603" fmla="*/ 3802830 h 4991619"/>
              <a:gd name="connsiteX604" fmla="*/ 5563261 w 6537372"/>
              <a:gd name="connsiteY604" fmla="*/ 3800329 h 4991619"/>
              <a:gd name="connsiteX605" fmla="*/ 5586489 w 6537372"/>
              <a:gd name="connsiteY605" fmla="*/ 3785677 h 4991619"/>
              <a:gd name="connsiteX606" fmla="*/ 5594172 w 6537372"/>
              <a:gd name="connsiteY606" fmla="*/ 3781748 h 4991619"/>
              <a:gd name="connsiteX607" fmla="*/ 5611324 w 6537372"/>
              <a:gd name="connsiteY607" fmla="*/ 3777816 h 4991619"/>
              <a:gd name="connsiteX608" fmla="*/ 5661172 w 6537372"/>
              <a:gd name="connsiteY608" fmla="*/ 3769776 h 4991619"/>
              <a:gd name="connsiteX609" fmla="*/ 5660816 w 6537372"/>
              <a:gd name="connsiteY609" fmla="*/ 3769776 h 4991619"/>
              <a:gd name="connsiteX610" fmla="*/ 5683508 w 6537372"/>
              <a:gd name="connsiteY610" fmla="*/ 3764059 h 4991619"/>
              <a:gd name="connsiteX611" fmla="*/ 5871378 w 6537372"/>
              <a:gd name="connsiteY611" fmla="*/ 3760955 h 4991619"/>
              <a:gd name="connsiteX612" fmla="*/ 5864142 w 6537372"/>
              <a:gd name="connsiteY612" fmla="*/ 3764417 h 4991619"/>
              <a:gd name="connsiteX613" fmla="*/ 5880758 w 6537372"/>
              <a:gd name="connsiteY613" fmla="*/ 3761378 h 4991619"/>
              <a:gd name="connsiteX614" fmla="*/ 5871378 w 6537372"/>
              <a:gd name="connsiteY614" fmla="*/ 3760955 h 4991619"/>
              <a:gd name="connsiteX615" fmla="*/ 5960804 w 6537372"/>
              <a:gd name="connsiteY615" fmla="*/ 3758878 h 4991619"/>
              <a:gd name="connsiteX616" fmla="*/ 5961518 w 6537372"/>
              <a:gd name="connsiteY616" fmla="*/ 3760663 h 4991619"/>
              <a:gd name="connsiteX617" fmla="*/ 5961518 w 6537372"/>
              <a:gd name="connsiteY617" fmla="*/ 3760844 h 4991619"/>
              <a:gd name="connsiteX618" fmla="*/ 5965626 w 6537372"/>
              <a:gd name="connsiteY618" fmla="*/ 3760663 h 4991619"/>
              <a:gd name="connsiteX619" fmla="*/ 5965090 w 6537372"/>
              <a:gd name="connsiteY619" fmla="*/ 3758878 h 4991619"/>
              <a:gd name="connsiteX620" fmla="*/ 5960804 w 6537372"/>
              <a:gd name="connsiteY620" fmla="*/ 3758878 h 4991619"/>
              <a:gd name="connsiteX621" fmla="*/ 5726744 w 6537372"/>
              <a:gd name="connsiteY621" fmla="*/ 3745121 h 4991619"/>
              <a:gd name="connsiteX622" fmla="*/ 5716739 w 6537372"/>
              <a:gd name="connsiteY622" fmla="*/ 3746192 h 4991619"/>
              <a:gd name="connsiteX623" fmla="*/ 5692440 w 6537372"/>
              <a:gd name="connsiteY623" fmla="*/ 3753875 h 4991619"/>
              <a:gd name="connsiteX624" fmla="*/ 5699587 w 6537372"/>
              <a:gd name="connsiteY624" fmla="*/ 3752982 h 4991619"/>
              <a:gd name="connsiteX625" fmla="*/ 5708522 w 6537372"/>
              <a:gd name="connsiteY625" fmla="*/ 3751553 h 4991619"/>
              <a:gd name="connsiteX626" fmla="*/ 5726030 w 6537372"/>
              <a:gd name="connsiteY626" fmla="*/ 3745299 h 4991619"/>
              <a:gd name="connsiteX627" fmla="*/ 5726744 w 6537372"/>
              <a:gd name="connsiteY627" fmla="*/ 3745121 h 4991619"/>
              <a:gd name="connsiteX628" fmla="*/ 5949904 w 6537372"/>
              <a:gd name="connsiteY628" fmla="*/ 3742796 h 4991619"/>
              <a:gd name="connsiteX629" fmla="*/ 5946510 w 6537372"/>
              <a:gd name="connsiteY629" fmla="*/ 3743155 h 4991619"/>
              <a:gd name="connsiteX630" fmla="*/ 5946510 w 6537372"/>
              <a:gd name="connsiteY630" fmla="*/ 3743646 h 4991619"/>
              <a:gd name="connsiteX631" fmla="*/ 5946330 w 6537372"/>
              <a:gd name="connsiteY631" fmla="*/ 3743691 h 4991619"/>
              <a:gd name="connsiteX632" fmla="*/ 5946510 w 6537372"/>
              <a:gd name="connsiteY632" fmla="*/ 3743691 h 4991619"/>
              <a:gd name="connsiteX633" fmla="*/ 5946510 w 6537372"/>
              <a:gd name="connsiteY633" fmla="*/ 3743646 h 4991619"/>
              <a:gd name="connsiteX634" fmla="*/ 6037095 w 6537372"/>
              <a:gd name="connsiteY634" fmla="*/ 3735830 h 4991619"/>
              <a:gd name="connsiteX635" fmla="*/ 6033702 w 6537372"/>
              <a:gd name="connsiteY635" fmla="*/ 3736723 h 4991619"/>
              <a:gd name="connsiteX636" fmla="*/ 6037275 w 6537372"/>
              <a:gd name="connsiteY636" fmla="*/ 3736186 h 4991619"/>
              <a:gd name="connsiteX637" fmla="*/ 6037275 w 6537372"/>
              <a:gd name="connsiteY637" fmla="*/ 3735830 h 4991619"/>
              <a:gd name="connsiteX638" fmla="*/ 5941149 w 6537372"/>
              <a:gd name="connsiteY638" fmla="*/ 3735293 h 4991619"/>
              <a:gd name="connsiteX639" fmla="*/ 5921316 w 6537372"/>
              <a:gd name="connsiteY639" fmla="*/ 3738688 h 4991619"/>
              <a:gd name="connsiteX640" fmla="*/ 5914170 w 6537372"/>
              <a:gd name="connsiteY640" fmla="*/ 3740832 h 4991619"/>
              <a:gd name="connsiteX641" fmla="*/ 5908096 w 6537372"/>
              <a:gd name="connsiteY641" fmla="*/ 3743511 h 4991619"/>
              <a:gd name="connsiteX642" fmla="*/ 5941149 w 6537372"/>
              <a:gd name="connsiteY642" fmla="*/ 3735293 h 4991619"/>
              <a:gd name="connsiteX643" fmla="*/ 5786420 w 6537372"/>
              <a:gd name="connsiteY643" fmla="*/ 3735293 h 4991619"/>
              <a:gd name="connsiteX644" fmla="*/ 5770877 w 6537372"/>
              <a:gd name="connsiteY644" fmla="*/ 3735471 h 4991619"/>
              <a:gd name="connsiteX645" fmla="*/ 5747829 w 6537372"/>
              <a:gd name="connsiteY645" fmla="*/ 3741189 h 4991619"/>
              <a:gd name="connsiteX646" fmla="*/ 5733892 w 6537372"/>
              <a:gd name="connsiteY646" fmla="*/ 3744406 h 4991619"/>
              <a:gd name="connsiteX647" fmla="*/ 5733177 w 6537372"/>
              <a:gd name="connsiteY647" fmla="*/ 3747979 h 4991619"/>
              <a:gd name="connsiteX648" fmla="*/ 5762479 w 6537372"/>
              <a:gd name="connsiteY648" fmla="*/ 3743511 h 4991619"/>
              <a:gd name="connsiteX649" fmla="*/ 5766588 w 6537372"/>
              <a:gd name="connsiteY649" fmla="*/ 3742796 h 4991619"/>
              <a:gd name="connsiteX650" fmla="*/ 5779990 w 6537372"/>
              <a:gd name="connsiteY650" fmla="*/ 3739045 h 4991619"/>
              <a:gd name="connsiteX651" fmla="*/ 5779810 w 6537372"/>
              <a:gd name="connsiteY651" fmla="*/ 3739223 h 4991619"/>
              <a:gd name="connsiteX652" fmla="*/ 5786420 w 6537372"/>
              <a:gd name="connsiteY652" fmla="*/ 3735293 h 4991619"/>
              <a:gd name="connsiteX653" fmla="*/ 6042456 w 6537372"/>
              <a:gd name="connsiteY653" fmla="*/ 3734757 h 4991619"/>
              <a:gd name="connsiteX654" fmla="*/ 6038346 w 6537372"/>
              <a:gd name="connsiteY654" fmla="*/ 3736186 h 4991619"/>
              <a:gd name="connsiteX655" fmla="*/ 6042456 w 6537372"/>
              <a:gd name="connsiteY655" fmla="*/ 3736544 h 4991619"/>
              <a:gd name="connsiteX656" fmla="*/ 6019764 w 6537372"/>
              <a:gd name="connsiteY656" fmla="*/ 3733686 h 4991619"/>
              <a:gd name="connsiteX657" fmla="*/ 6018872 w 6537372"/>
              <a:gd name="connsiteY657" fmla="*/ 3733864 h 4991619"/>
              <a:gd name="connsiteX658" fmla="*/ 6016728 w 6537372"/>
              <a:gd name="connsiteY658" fmla="*/ 3735115 h 4991619"/>
              <a:gd name="connsiteX659" fmla="*/ 6013175 w 6537372"/>
              <a:gd name="connsiteY659" fmla="*/ 3738845 h 4991619"/>
              <a:gd name="connsiteX660" fmla="*/ 6012976 w 6537372"/>
              <a:gd name="connsiteY660" fmla="*/ 3738867 h 4991619"/>
              <a:gd name="connsiteX661" fmla="*/ 6013154 w 6537372"/>
              <a:gd name="connsiteY661" fmla="*/ 3738867 h 4991619"/>
              <a:gd name="connsiteX662" fmla="*/ 6013175 w 6537372"/>
              <a:gd name="connsiteY662" fmla="*/ 3738845 h 4991619"/>
              <a:gd name="connsiteX663" fmla="*/ 6024410 w 6537372"/>
              <a:gd name="connsiteY663" fmla="*/ 3737615 h 4991619"/>
              <a:gd name="connsiteX664" fmla="*/ 6019764 w 6537372"/>
              <a:gd name="connsiteY664" fmla="*/ 3733686 h 4991619"/>
              <a:gd name="connsiteX665" fmla="*/ 6193254 w 6537372"/>
              <a:gd name="connsiteY665" fmla="*/ 3718141 h 4991619"/>
              <a:gd name="connsiteX666" fmla="*/ 6192361 w 6537372"/>
              <a:gd name="connsiteY666" fmla="*/ 3718856 h 4991619"/>
              <a:gd name="connsiteX667" fmla="*/ 6192896 w 6537372"/>
              <a:gd name="connsiteY667" fmla="*/ 3719748 h 4991619"/>
              <a:gd name="connsiteX668" fmla="*/ 6193790 w 6537372"/>
              <a:gd name="connsiteY668" fmla="*/ 3719034 h 4991619"/>
              <a:gd name="connsiteX669" fmla="*/ 6193254 w 6537372"/>
              <a:gd name="connsiteY669" fmla="*/ 3718141 h 4991619"/>
              <a:gd name="connsiteX670" fmla="*/ 6206118 w 6537372"/>
              <a:gd name="connsiteY670" fmla="*/ 3717783 h 4991619"/>
              <a:gd name="connsiteX671" fmla="*/ 6203974 w 6537372"/>
              <a:gd name="connsiteY671" fmla="*/ 3719392 h 4991619"/>
              <a:gd name="connsiteX672" fmla="*/ 6207906 w 6537372"/>
              <a:gd name="connsiteY672" fmla="*/ 3721178 h 4991619"/>
              <a:gd name="connsiteX673" fmla="*/ 6210406 w 6537372"/>
              <a:gd name="connsiteY673" fmla="*/ 3719034 h 4991619"/>
              <a:gd name="connsiteX674" fmla="*/ 6206118 w 6537372"/>
              <a:gd name="connsiteY674" fmla="*/ 3717783 h 4991619"/>
              <a:gd name="connsiteX675" fmla="*/ 6228988 w 6537372"/>
              <a:gd name="connsiteY675" fmla="*/ 3714746 h 4991619"/>
              <a:gd name="connsiteX676" fmla="*/ 6226853 w 6537372"/>
              <a:gd name="connsiteY676" fmla="*/ 3717438 h 4991619"/>
              <a:gd name="connsiteX677" fmla="*/ 6226486 w 6537372"/>
              <a:gd name="connsiteY677" fmla="*/ 3717248 h 4991619"/>
              <a:gd name="connsiteX678" fmla="*/ 6226486 w 6537372"/>
              <a:gd name="connsiteY678" fmla="*/ 3717426 h 4991619"/>
              <a:gd name="connsiteX679" fmla="*/ 6222704 w 6537372"/>
              <a:gd name="connsiteY679" fmla="*/ 3716921 h 4991619"/>
              <a:gd name="connsiteX680" fmla="*/ 6222734 w 6537372"/>
              <a:gd name="connsiteY680" fmla="*/ 3716711 h 4991619"/>
              <a:gd name="connsiteX681" fmla="*/ 6222734 w 6537372"/>
              <a:gd name="connsiteY681" fmla="*/ 3716890 h 4991619"/>
              <a:gd name="connsiteX682" fmla="*/ 6228988 w 6537372"/>
              <a:gd name="connsiteY682" fmla="*/ 3714746 h 4991619"/>
              <a:gd name="connsiteX683" fmla="*/ 6026631 w 6537372"/>
              <a:gd name="connsiteY683" fmla="*/ 3713164 h 4991619"/>
              <a:gd name="connsiteX684" fmla="*/ 6032272 w 6537372"/>
              <a:gd name="connsiteY684" fmla="*/ 3713853 h 4991619"/>
              <a:gd name="connsiteX685" fmla="*/ 6032450 w 6537372"/>
              <a:gd name="connsiteY685" fmla="*/ 3713853 h 4991619"/>
              <a:gd name="connsiteX686" fmla="*/ 6032153 w 6537372"/>
              <a:gd name="connsiteY686" fmla="*/ 3716725 h 4991619"/>
              <a:gd name="connsiteX687" fmla="*/ 6032092 w 6537372"/>
              <a:gd name="connsiteY687" fmla="*/ 3716711 h 4991619"/>
              <a:gd name="connsiteX688" fmla="*/ 6030842 w 6537372"/>
              <a:gd name="connsiteY688" fmla="*/ 3716533 h 4991619"/>
              <a:gd name="connsiteX689" fmla="*/ 6013154 w 6537372"/>
              <a:gd name="connsiteY689" fmla="*/ 3696342 h 4991619"/>
              <a:gd name="connsiteX690" fmla="*/ 5993501 w 6537372"/>
              <a:gd name="connsiteY690" fmla="*/ 3697952 h 4991619"/>
              <a:gd name="connsiteX691" fmla="*/ 5972239 w 6537372"/>
              <a:gd name="connsiteY691" fmla="*/ 3700988 h 4991619"/>
              <a:gd name="connsiteX692" fmla="*/ 5973668 w 6537372"/>
              <a:gd name="connsiteY692" fmla="*/ 3699559 h 4991619"/>
              <a:gd name="connsiteX693" fmla="*/ 5960982 w 6537372"/>
              <a:gd name="connsiteY693" fmla="*/ 3700630 h 4991619"/>
              <a:gd name="connsiteX694" fmla="*/ 5945616 w 6537372"/>
              <a:gd name="connsiteY694" fmla="*/ 3701167 h 4991619"/>
              <a:gd name="connsiteX695" fmla="*/ 5932395 w 6537372"/>
              <a:gd name="connsiteY695" fmla="*/ 3706884 h 4991619"/>
              <a:gd name="connsiteX696" fmla="*/ 5921496 w 6537372"/>
              <a:gd name="connsiteY696" fmla="*/ 3709028 h 4991619"/>
              <a:gd name="connsiteX697" fmla="*/ 5894516 w 6537372"/>
              <a:gd name="connsiteY697" fmla="*/ 3712602 h 4991619"/>
              <a:gd name="connsiteX698" fmla="*/ 5893444 w 6537372"/>
              <a:gd name="connsiteY698" fmla="*/ 3715819 h 4991619"/>
              <a:gd name="connsiteX699" fmla="*/ 5923460 w 6537372"/>
              <a:gd name="connsiteY699" fmla="*/ 3709206 h 4991619"/>
              <a:gd name="connsiteX700" fmla="*/ 5920424 w 6537372"/>
              <a:gd name="connsiteY700" fmla="*/ 3715819 h 4991619"/>
              <a:gd name="connsiteX701" fmla="*/ 5886477 w 6537372"/>
              <a:gd name="connsiteY701" fmla="*/ 3724751 h 4991619"/>
              <a:gd name="connsiteX702" fmla="*/ 5866822 w 6537372"/>
              <a:gd name="connsiteY702" fmla="*/ 3732613 h 4991619"/>
              <a:gd name="connsiteX703" fmla="*/ 5885582 w 6537372"/>
              <a:gd name="connsiteY703" fmla="*/ 3729398 h 4991619"/>
              <a:gd name="connsiteX704" fmla="*/ 5927928 w 6537372"/>
              <a:gd name="connsiteY704" fmla="*/ 3717604 h 4991619"/>
              <a:gd name="connsiteX705" fmla="*/ 5963304 w 6537372"/>
              <a:gd name="connsiteY705" fmla="*/ 3707242 h 4991619"/>
              <a:gd name="connsiteX706" fmla="*/ 5989033 w 6537372"/>
              <a:gd name="connsiteY706" fmla="*/ 3701345 h 4991619"/>
              <a:gd name="connsiteX707" fmla="*/ 5989211 w 6537372"/>
              <a:gd name="connsiteY707" fmla="*/ 3701525 h 4991619"/>
              <a:gd name="connsiteX708" fmla="*/ 6013154 w 6537372"/>
              <a:gd name="connsiteY708" fmla="*/ 3696342 h 4991619"/>
              <a:gd name="connsiteX709" fmla="*/ 5882009 w 6537372"/>
              <a:gd name="connsiteY709" fmla="*/ 3692769 h 4991619"/>
              <a:gd name="connsiteX710" fmla="*/ 5880223 w 6537372"/>
              <a:gd name="connsiteY710" fmla="*/ 3694198 h 4991619"/>
              <a:gd name="connsiteX711" fmla="*/ 5881652 w 6537372"/>
              <a:gd name="connsiteY711" fmla="*/ 3694378 h 4991619"/>
              <a:gd name="connsiteX712" fmla="*/ 5883438 w 6537372"/>
              <a:gd name="connsiteY712" fmla="*/ 3692949 h 4991619"/>
              <a:gd name="connsiteX713" fmla="*/ 5883438 w 6537372"/>
              <a:gd name="connsiteY713" fmla="*/ 3692769 h 4991619"/>
              <a:gd name="connsiteX714" fmla="*/ 5882009 w 6537372"/>
              <a:gd name="connsiteY714" fmla="*/ 3692769 h 4991619"/>
              <a:gd name="connsiteX715" fmla="*/ 5698694 w 6537372"/>
              <a:gd name="connsiteY715" fmla="*/ 3690625 h 4991619"/>
              <a:gd name="connsiteX716" fmla="*/ 5698336 w 6537372"/>
              <a:gd name="connsiteY716" fmla="*/ 3702060 h 4991619"/>
              <a:gd name="connsiteX717" fmla="*/ 5704233 w 6537372"/>
              <a:gd name="connsiteY717" fmla="*/ 3703133 h 4991619"/>
              <a:gd name="connsiteX718" fmla="*/ 5704053 w 6537372"/>
              <a:gd name="connsiteY718" fmla="*/ 3702954 h 4991619"/>
              <a:gd name="connsiteX719" fmla="*/ 5698694 w 6537372"/>
              <a:gd name="connsiteY719" fmla="*/ 3690625 h 4991619"/>
              <a:gd name="connsiteX720" fmla="*/ 5954906 w 6537372"/>
              <a:gd name="connsiteY720" fmla="*/ 3686337 h 4991619"/>
              <a:gd name="connsiteX721" fmla="*/ 5951333 w 6537372"/>
              <a:gd name="connsiteY721" fmla="*/ 3686517 h 4991619"/>
              <a:gd name="connsiteX722" fmla="*/ 5949547 w 6537372"/>
              <a:gd name="connsiteY722" fmla="*/ 3687946 h 4991619"/>
              <a:gd name="connsiteX723" fmla="*/ 5955621 w 6537372"/>
              <a:gd name="connsiteY723" fmla="*/ 3688661 h 4991619"/>
              <a:gd name="connsiteX724" fmla="*/ 5955443 w 6537372"/>
              <a:gd name="connsiteY724" fmla="*/ 3688481 h 4991619"/>
              <a:gd name="connsiteX725" fmla="*/ 5954906 w 6537372"/>
              <a:gd name="connsiteY725" fmla="*/ 3686337 h 4991619"/>
              <a:gd name="connsiteX726" fmla="*/ 5796247 w 6537372"/>
              <a:gd name="connsiteY726" fmla="*/ 3683658 h 4991619"/>
              <a:gd name="connsiteX727" fmla="*/ 5794818 w 6537372"/>
              <a:gd name="connsiteY727" fmla="*/ 3684014 h 4991619"/>
              <a:gd name="connsiteX728" fmla="*/ 5796247 w 6537372"/>
              <a:gd name="connsiteY728" fmla="*/ 3685265 h 4991619"/>
              <a:gd name="connsiteX729" fmla="*/ 5797320 w 6537372"/>
              <a:gd name="connsiteY729" fmla="*/ 3684373 h 4991619"/>
              <a:gd name="connsiteX730" fmla="*/ 5796247 w 6537372"/>
              <a:gd name="connsiteY730" fmla="*/ 3683658 h 4991619"/>
              <a:gd name="connsiteX731" fmla="*/ 6020837 w 6537372"/>
              <a:gd name="connsiteY731" fmla="*/ 3678119 h 4991619"/>
              <a:gd name="connsiteX732" fmla="*/ 6019764 w 6537372"/>
              <a:gd name="connsiteY732" fmla="*/ 3679012 h 4991619"/>
              <a:gd name="connsiteX733" fmla="*/ 6019764 w 6537372"/>
              <a:gd name="connsiteY733" fmla="*/ 3679190 h 4991619"/>
              <a:gd name="connsiteX734" fmla="*/ 6021194 w 6537372"/>
              <a:gd name="connsiteY734" fmla="*/ 3679190 h 4991619"/>
              <a:gd name="connsiteX735" fmla="*/ 6145370 w 6537372"/>
              <a:gd name="connsiteY735" fmla="*/ 3676868 h 4991619"/>
              <a:gd name="connsiteX736" fmla="*/ 6145370 w 6537372"/>
              <a:gd name="connsiteY736" fmla="*/ 3677760 h 4991619"/>
              <a:gd name="connsiteX737" fmla="*/ 6146441 w 6537372"/>
              <a:gd name="connsiteY737" fmla="*/ 3677760 h 4991619"/>
              <a:gd name="connsiteX738" fmla="*/ 6146441 w 6537372"/>
              <a:gd name="connsiteY738" fmla="*/ 3676868 h 4991619"/>
              <a:gd name="connsiteX739" fmla="*/ 6145370 w 6537372"/>
              <a:gd name="connsiteY739" fmla="*/ 3676868 h 4991619"/>
              <a:gd name="connsiteX740" fmla="*/ 5825549 w 6537372"/>
              <a:gd name="connsiteY740" fmla="*/ 3676689 h 4991619"/>
              <a:gd name="connsiteX741" fmla="*/ 5825522 w 6537372"/>
              <a:gd name="connsiteY741" fmla="*/ 3676764 h 4991619"/>
              <a:gd name="connsiteX742" fmla="*/ 5811970 w 6537372"/>
              <a:gd name="connsiteY742" fmla="*/ 3679370 h 4991619"/>
              <a:gd name="connsiteX743" fmla="*/ 5811970 w 6537372"/>
              <a:gd name="connsiteY743" fmla="*/ 3680619 h 4991619"/>
              <a:gd name="connsiteX744" fmla="*/ 5824300 w 6537372"/>
              <a:gd name="connsiteY744" fmla="*/ 3680085 h 4991619"/>
              <a:gd name="connsiteX745" fmla="*/ 5825522 w 6537372"/>
              <a:gd name="connsiteY745" fmla="*/ 3676764 h 4991619"/>
              <a:gd name="connsiteX746" fmla="*/ 5825908 w 6537372"/>
              <a:gd name="connsiteY746" fmla="*/ 3676689 h 4991619"/>
              <a:gd name="connsiteX747" fmla="*/ 6131613 w 6537372"/>
              <a:gd name="connsiteY747" fmla="*/ 3675438 h 4991619"/>
              <a:gd name="connsiteX748" fmla="*/ 6131254 w 6537372"/>
              <a:gd name="connsiteY748" fmla="*/ 3676511 h 4991619"/>
              <a:gd name="connsiteX749" fmla="*/ 6132148 w 6537372"/>
              <a:gd name="connsiteY749" fmla="*/ 3676511 h 4991619"/>
              <a:gd name="connsiteX750" fmla="*/ 5758369 w 6537372"/>
              <a:gd name="connsiteY750" fmla="*/ 3674902 h 4991619"/>
              <a:gd name="connsiteX751" fmla="*/ 5746934 w 6537372"/>
              <a:gd name="connsiteY751" fmla="*/ 3679904 h 4991619"/>
              <a:gd name="connsiteX752" fmla="*/ 5748900 w 6537372"/>
              <a:gd name="connsiteY752" fmla="*/ 3681334 h 4991619"/>
              <a:gd name="connsiteX753" fmla="*/ 5761942 w 6537372"/>
              <a:gd name="connsiteY753" fmla="*/ 3676153 h 4991619"/>
              <a:gd name="connsiteX754" fmla="*/ 5761764 w 6537372"/>
              <a:gd name="connsiteY754" fmla="*/ 3675975 h 4991619"/>
              <a:gd name="connsiteX755" fmla="*/ 5758369 w 6537372"/>
              <a:gd name="connsiteY755" fmla="*/ 3674902 h 4991619"/>
              <a:gd name="connsiteX756" fmla="*/ 5770698 w 6537372"/>
              <a:gd name="connsiteY756" fmla="*/ 3670614 h 4991619"/>
              <a:gd name="connsiteX757" fmla="*/ 5769626 w 6537372"/>
              <a:gd name="connsiteY757" fmla="*/ 3671150 h 4991619"/>
              <a:gd name="connsiteX758" fmla="*/ 5771055 w 6537372"/>
              <a:gd name="connsiteY758" fmla="*/ 3671508 h 4991619"/>
              <a:gd name="connsiteX759" fmla="*/ 5771233 w 6537372"/>
              <a:gd name="connsiteY759" fmla="*/ 3671508 h 4991619"/>
              <a:gd name="connsiteX760" fmla="*/ 5770698 w 6537372"/>
              <a:gd name="connsiteY760" fmla="*/ 3670614 h 4991619"/>
              <a:gd name="connsiteX761" fmla="*/ 6116246 w 6537372"/>
              <a:gd name="connsiteY761" fmla="*/ 3670257 h 4991619"/>
              <a:gd name="connsiteX762" fmla="*/ 6106062 w 6537372"/>
              <a:gd name="connsiteY762" fmla="*/ 3672401 h 4991619"/>
              <a:gd name="connsiteX763" fmla="*/ 6115710 w 6537372"/>
              <a:gd name="connsiteY763" fmla="*/ 3672401 h 4991619"/>
              <a:gd name="connsiteX764" fmla="*/ 6115710 w 6537372"/>
              <a:gd name="connsiteY764" fmla="*/ 3672579 h 4991619"/>
              <a:gd name="connsiteX765" fmla="*/ 6117498 w 6537372"/>
              <a:gd name="connsiteY765" fmla="*/ 3670794 h 4991619"/>
              <a:gd name="connsiteX766" fmla="*/ 6116246 w 6537372"/>
              <a:gd name="connsiteY766" fmla="*/ 3670257 h 4991619"/>
              <a:gd name="connsiteX767" fmla="*/ 5785885 w 6537372"/>
              <a:gd name="connsiteY767" fmla="*/ 3666325 h 4991619"/>
              <a:gd name="connsiteX768" fmla="*/ 5782848 w 6537372"/>
              <a:gd name="connsiteY768" fmla="*/ 3667040 h 4991619"/>
              <a:gd name="connsiteX769" fmla="*/ 5780882 w 6537372"/>
              <a:gd name="connsiteY769" fmla="*/ 3672043 h 4991619"/>
              <a:gd name="connsiteX770" fmla="*/ 5778524 w 6537372"/>
              <a:gd name="connsiteY770" fmla="*/ 3675580 h 4991619"/>
              <a:gd name="connsiteX771" fmla="*/ 5778380 w 6537372"/>
              <a:gd name="connsiteY771" fmla="*/ 3675616 h 4991619"/>
              <a:gd name="connsiteX772" fmla="*/ 5778380 w 6537372"/>
              <a:gd name="connsiteY772" fmla="*/ 3675796 h 4991619"/>
              <a:gd name="connsiteX773" fmla="*/ 5778524 w 6537372"/>
              <a:gd name="connsiteY773" fmla="*/ 3675580 h 4991619"/>
              <a:gd name="connsiteX774" fmla="*/ 5796964 w 6537372"/>
              <a:gd name="connsiteY774" fmla="*/ 3670972 h 4991619"/>
              <a:gd name="connsiteX775" fmla="*/ 5796964 w 6537372"/>
              <a:gd name="connsiteY775" fmla="*/ 3667755 h 4991619"/>
              <a:gd name="connsiteX776" fmla="*/ 5786420 w 6537372"/>
              <a:gd name="connsiteY776" fmla="*/ 3666325 h 4991619"/>
              <a:gd name="connsiteX777" fmla="*/ 5785885 w 6537372"/>
              <a:gd name="connsiteY777" fmla="*/ 3666325 h 4991619"/>
              <a:gd name="connsiteX778" fmla="*/ 5820837 w 6537372"/>
              <a:gd name="connsiteY778" fmla="*/ 3663758 h 4991619"/>
              <a:gd name="connsiteX779" fmla="*/ 5813758 w 6537372"/>
              <a:gd name="connsiteY779" fmla="*/ 3667040 h 4991619"/>
              <a:gd name="connsiteX780" fmla="*/ 5819518 w 6537372"/>
              <a:gd name="connsiteY780" fmla="*/ 3667739 h 4991619"/>
              <a:gd name="connsiteX781" fmla="*/ 5819475 w 6537372"/>
              <a:gd name="connsiteY781" fmla="*/ 3667755 h 4991619"/>
              <a:gd name="connsiteX782" fmla="*/ 5819654 w 6537372"/>
              <a:gd name="connsiteY782" fmla="*/ 3667755 h 4991619"/>
              <a:gd name="connsiteX783" fmla="*/ 5819518 w 6537372"/>
              <a:gd name="connsiteY783" fmla="*/ 3667739 h 4991619"/>
              <a:gd name="connsiteX784" fmla="*/ 5829659 w 6537372"/>
              <a:gd name="connsiteY784" fmla="*/ 3663825 h 4991619"/>
              <a:gd name="connsiteX785" fmla="*/ 5820837 w 6537372"/>
              <a:gd name="connsiteY785" fmla="*/ 3663758 h 4991619"/>
              <a:gd name="connsiteX786" fmla="*/ 5910418 w 6537372"/>
              <a:gd name="connsiteY786" fmla="*/ 3661859 h 4991619"/>
              <a:gd name="connsiteX787" fmla="*/ 5910418 w 6537372"/>
              <a:gd name="connsiteY787" fmla="*/ 3662037 h 4991619"/>
              <a:gd name="connsiteX788" fmla="*/ 5911132 w 6537372"/>
              <a:gd name="connsiteY788" fmla="*/ 3663825 h 4991619"/>
              <a:gd name="connsiteX789" fmla="*/ 5911669 w 6537372"/>
              <a:gd name="connsiteY789" fmla="*/ 3663825 h 4991619"/>
              <a:gd name="connsiteX790" fmla="*/ 5913455 w 6537372"/>
              <a:gd name="connsiteY790" fmla="*/ 3661859 h 4991619"/>
              <a:gd name="connsiteX791" fmla="*/ 5910418 w 6537372"/>
              <a:gd name="connsiteY791" fmla="*/ 3661859 h 4991619"/>
              <a:gd name="connsiteX792" fmla="*/ 5985103 w 6537372"/>
              <a:gd name="connsiteY792" fmla="*/ 3660430 h 4991619"/>
              <a:gd name="connsiteX793" fmla="*/ 5978491 w 6537372"/>
              <a:gd name="connsiteY793" fmla="*/ 3667040 h 4991619"/>
              <a:gd name="connsiteX794" fmla="*/ 5983138 w 6537372"/>
              <a:gd name="connsiteY794" fmla="*/ 3666506 h 4991619"/>
              <a:gd name="connsiteX795" fmla="*/ 5977598 w 6537372"/>
              <a:gd name="connsiteY795" fmla="*/ 3668113 h 4991619"/>
              <a:gd name="connsiteX796" fmla="*/ 5973132 w 6537372"/>
              <a:gd name="connsiteY796" fmla="*/ 3672579 h 4991619"/>
              <a:gd name="connsiteX797" fmla="*/ 5983674 w 6537372"/>
              <a:gd name="connsiteY797" fmla="*/ 3673116 h 4991619"/>
              <a:gd name="connsiteX798" fmla="*/ 5984030 w 6537372"/>
              <a:gd name="connsiteY798" fmla="*/ 3673116 h 4991619"/>
              <a:gd name="connsiteX799" fmla="*/ 5986174 w 6537372"/>
              <a:gd name="connsiteY799" fmla="*/ 3673116 h 4991619"/>
              <a:gd name="connsiteX800" fmla="*/ 5994036 w 6537372"/>
              <a:gd name="connsiteY800" fmla="*/ 3673116 h 4991619"/>
              <a:gd name="connsiteX801" fmla="*/ 6013868 w 6537372"/>
              <a:gd name="connsiteY801" fmla="*/ 3672758 h 4991619"/>
              <a:gd name="connsiteX802" fmla="*/ 6023874 w 6537372"/>
              <a:gd name="connsiteY802" fmla="*/ 3671865 h 4991619"/>
              <a:gd name="connsiteX803" fmla="*/ 6024052 w 6537372"/>
              <a:gd name="connsiteY803" fmla="*/ 3672043 h 4991619"/>
              <a:gd name="connsiteX804" fmla="*/ 6024361 w 6537372"/>
              <a:gd name="connsiteY804" fmla="*/ 3672092 h 4991619"/>
              <a:gd name="connsiteX805" fmla="*/ 6023874 w 6537372"/>
              <a:gd name="connsiteY805" fmla="*/ 3672579 h 4991619"/>
              <a:gd name="connsiteX806" fmla="*/ 6027448 w 6537372"/>
              <a:gd name="connsiteY806" fmla="*/ 3672579 h 4991619"/>
              <a:gd name="connsiteX807" fmla="*/ 6024361 w 6537372"/>
              <a:gd name="connsiteY807" fmla="*/ 3672092 h 4991619"/>
              <a:gd name="connsiteX808" fmla="*/ 6024410 w 6537372"/>
              <a:gd name="connsiteY808" fmla="*/ 3672043 h 4991619"/>
              <a:gd name="connsiteX809" fmla="*/ 6024052 w 6537372"/>
              <a:gd name="connsiteY809" fmla="*/ 3672043 h 4991619"/>
              <a:gd name="connsiteX810" fmla="*/ 6041920 w 6537372"/>
              <a:gd name="connsiteY810" fmla="*/ 3665433 h 4991619"/>
              <a:gd name="connsiteX811" fmla="*/ 6027089 w 6537372"/>
              <a:gd name="connsiteY811" fmla="*/ 3667935 h 4991619"/>
              <a:gd name="connsiteX812" fmla="*/ 6025482 w 6537372"/>
              <a:gd name="connsiteY812" fmla="*/ 3667755 h 4991619"/>
              <a:gd name="connsiteX813" fmla="*/ 5985103 w 6537372"/>
              <a:gd name="connsiteY813" fmla="*/ 3660430 h 4991619"/>
              <a:gd name="connsiteX814" fmla="*/ 6109458 w 6537372"/>
              <a:gd name="connsiteY814" fmla="*/ 3658644 h 4991619"/>
              <a:gd name="connsiteX815" fmla="*/ 6085158 w 6537372"/>
              <a:gd name="connsiteY815" fmla="*/ 3663289 h 4991619"/>
              <a:gd name="connsiteX816" fmla="*/ 6086230 w 6537372"/>
              <a:gd name="connsiteY816" fmla="*/ 3663647 h 4991619"/>
              <a:gd name="connsiteX817" fmla="*/ 6072650 w 6537372"/>
              <a:gd name="connsiteY817" fmla="*/ 3665611 h 4991619"/>
              <a:gd name="connsiteX818" fmla="*/ 6069614 w 6537372"/>
              <a:gd name="connsiteY818" fmla="*/ 3666147 h 4991619"/>
              <a:gd name="connsiteX819" fmla="*/ 6065504 w 6537372"/>
              <a:gd name="connsiteY819" fmla="*/ 3669899 h 4991619"/>
              <a:gd name="connsiteX820" fmla="*/ 6065504 w 6537372"/>
              <a:gd name="connsiteY820" fmla="*/ 3670257 h 4991619"/>
              <a:gd name="connsiteX821" fmla="*/ 6121608 w 6537372"/>
              <a:gd name="connsiteY821" fmla="*/ 3659537 h 4991619"/>
              <a:gd name="connsiteX822" fmla="*/ 6109458 w 6537372"/>
              <a:gd name="connsiteY822" fmla="*/ 3658644 h 4991619"/>
              <a:gd name="connsiteX823" fmla="*/ 5618293 w 6537372"/>
              <a:gd name="connsiteY823" fmla="*/ 3656142 h 4991619"/>
              <a:gd name="connsiteX824" fmla="*/ 5613290 w 6537372"/>
              <a:gd name="connsiteY824" fmla="*/ 3657749 h 4991619"/>
              <a:gd name="connsiteX825" fmla="*/ 5618293 w 6537372"/>
              <a:gd name="connsiteY825" fmla="*/ 3656320 h 4991619"/>
              <a:gd name="connsiteX826" fmla="*/ 5999753 w 6537372"/>
              <a:gd name="connsiteY826" fmla="*/ 3652212 h 4991619"/>
              <a:gd name="connsiteX827" fmla="*/ 5985638 w 6537372"/>
              <a:gd name="connsiteY827" fmla="*/ 3652747 h 4991619"/>
              <a:gd name="connsiteX828" fmla="*/ 5967414 w 6537372"/>
              <a:gd name="connsiteY828" fmla="*/ 3653461 h 4991619"/>
              <a:gd name="connsiteX829" fmla="*/ 5958480 w 6537372"/>
              <a:gd name="connsiteY829" fmla="*/ 3653819 h 4991619"/>
              <a:gd name="connsiteX830" fmla="*/ 5943652 w 6537372"/>
              <a:gd name="connsiteY830" fmla="*/ 3656678 h 4991619"/>
              <a:gd name="connsiteX831" fmla="*/ 5960982 w 6537372"/>
              <a:gd name="connsiteY831" fmla="*/ 3660073 h 4991619"/>
              <a:gd name="connsiteX832" fmla="*/ 5956872 w 6537372"/>
              <a:gd name="connsiteY832" fmla="*/ 3662932 h 4991619"/>
              <a:gd name="connsiteX833" fmla="*/ 5927748 w 6537372"/>
              <a:gd name="connsiteY833" fmla="*/ 3664896 h 4991619"/>
              <a:gd name="connsiteX834" fmla="*/ 5910062 w 6537372"/>
              <a:gd name="connsiteY834" fmla="*/ 3670079 h 4991619"/>
              <a:gd name="connsiteX835" fmla="*/ 5886834 w 6537372"/>
              <a:gd name="connsiteY835" fmla="*/ 3675260 h 4991619"/>
              <a:gd name="connsiteX836" fmla="*/ 5863607 w 6537372"/>
              <a:gd name="connsiteY836" fmla="*/ 3680263 h 4991619"/>
              <a:gd name="connsiteX837" fmla="*/ 5842702 w 6537372"/>
              <a:gd name="connsiteY837" fmla="*/ 3686517 h 4991619"/>
              <a:gd name="connsiteX838" fmla="*/ 5822870 w 6537372"/>
              <a:gd name="connsiteY838" fmla="*/ 3692234 h 4991619"/>
              <a:gd name="connsiteX839" fmla="*/ 5796964 w 6537372"/>
              <a:gd name="connsiteY839" fmla="*/ 3697237 h 4991619"/>
              <a:gd name="connsiteX840" fmla="*/ 5794818 w 6537372"/>
              <a:gd name="connsiteY840" fmla="*/ 3699381 h 4991619"/>
              <a:gd name="connsiteX841" fmla="*/ 5793568 w 6537372"/>
              <a:gd name="connsiteY841" fmla="*/ 3698130 h 4991619"/>
              <a:gd name="connsiteX842" fmla="*/ 5780882 w 6537372"/>
              <a:gd name="connsiteY842" fmla="*/ 3702240 h 4991619"/>
              <a:gd name="connsiteX843" fmla="*/ 5761942 w 6537372"/>
              <a:gd name="connsiteY843" fmla="*/ 3704562 h 4991619"/>
              <a:gd name="connsiteX844" fmla="*/ 5756940 w 6537372"/>
              <a:gd name="connsiteY844" fmla="*/ 3701345 h 4991619"/>
              <a:gd name="connsiteX845" fmla="*/ 5769804 w 6537372"/>
              <a:gd name="connsiteY845" fmla="*/ 3696342 h 4991619"/>
              <a:gd name="connsiteX846" fmla="*/ 5779631 w 6537372"/>
              <a:gd name="connsiteY846" fmla="*/ 3692054 h 4991619"/>
              <a:gd name="connsiteX847" fmla="*/ 5781775 w 6537372"/>
              <a:gd name="connsiteY847" fmla="*/ 3685087 h 4991619"/>
              <a:gd name="connsiteX848" fmla="*/ 5760693 w 6537372"/>
              <a:gd name="connsiteY848" fmla="*/ 3690625 h 4991619"/>
              <a:gd name="connsiteX849" fmla="*/ 5732998 w 6537372"/>
              <a:gd name="connsiteY849" fmla="*/ 3696522 h 4991619"/>
              <a:gd name="connsiteX850" fmla="*/ 5726744 w 6537372"/>
              <a:gd name="connsiteY850" fmla="*/ 3697057 h 4991619"/>
              <a:gd name="connsiteX851" fmla="*/ 5724244 w 6537372"/>
              <a:gd name="connsiteY851" fmla="*/ 3707062 h 4991619"/>
              <a:gd name="connsiteX852" fmla="*/ 5692618 w 6537372"/>
              <a:gd name="connsiteY852" fmla="*/ 3717248 h 4991619"/>
              <a:gd name="connsiteX853" fmla="*/ 5697979 w 6537372"/>
              <a:gd name="connsiteY853" fmla="*/ 3716533 h 4991619"/>
              <a:gd name="connsiteX854" fmla="*/ 5704233 w 6537372"/>
              <a:gd name="connsiteY854" fmla="*/ 3716711 h 4991619"/>
              <a:gd name="connsiteX855" fmla="*/ 5705304 w 6537372"/>
              <a:gd name="connsiteY855" fmla="*/ 3717248 h 4991619"/>
              <a:gd name="connsiteX856" fmla="*/ 5712273 w 6537372"/>
              <a:gd name="connsiteY856" fmla="*/ 3719392 h 4991619"/>
              <a:gd name="connsiteX857" fmla="*/ 5704948 w 6537372"/>
              <a:gd name="connsiteY857" fmla="*/ 3724036 h 4991619"/>
              <a:gd name="connsiteX858" fmla="*/ 5704053 w 6537372"/>
              <a:gd name="connsiteY858" fmla="*/ 3724573 h 4991619"/>
              <a:gd name="connsiteX859" fmla="*/ 5686722 w 6537372"/>
              <a:gd name="connsiteY859" fmla="*/ 3731005 h 4991619"/>
              <a:gd name="connsiteX860" fmla="*/ 5664031 w 6537372"/>
              <a:gd name="connsiteY860" fmla="*/ 3735115 h 4991619"/>
              <a:gd name="connsiteX861" fmla="*/ 5646522 w 6537372"/>
              <a:gd name="connsiteY861" fmla="*/ 3744226 h 4991619"/>
              <a:gd name="connsiteX862" fmla="*/ 5615791 w 6537372"/>
              <a:gd name="connsiteY862" fmla="*/ 3752982 h 4991619"/>
              <a:gd name="connsiteX863" fmla="*/ 5615612 w 6537372"/>
              <a:gd name="connsiteY863" fmla="*/ 3752982 h 4991619"/>
              <a:gd name="connsiteX864" fmla="*/ 5617220 w 6537372"/>
              <a:gd name="connsiteY864" fmla="*/ 3755841 h 4991619"/>
              <a:gd name="connsiteX865" fmla="*/ 5611681 w 6537372"/>
              <a:gd name="connsiteY865" fmla="*/ 3757270 h 4991619"/>
              <a:gd name="connsiteX866" fmla="*/ 5610074 w 6537372"/>
              <a:gd name="connsiteY866" fmla="*/ 3754946 h 4991619"/>
              <a:gd name="connsiteX867" fmla="*/ 5612218 w 6537372"/>
              <a:gd name="connsiteY867" fmla="*/ 3753875 h 4991619"/>
              <a:gd name="connsiteX868" fmla="*/ 5566656 w 6537372"/>
              <a:gd name="connsiteY868" fmla="*/ 3767990 h 4991619"/>
              <a:gd name="connsiteX869" fmla="*/ 5546466 w 6537372"/>
              <a:gd name="connsiteY869" fmla="*/ 3773171 h 4991619"/>
              <a:gd name="connsiteX870" fmla="*/ 5540391 w 6537372"/>
              <a:gd name="connsiteY870" fmla="*/ 3774242 h 4991619"/>
              <a:gd name="connsiteX871" fmla="*/ 5542357 w 6537372"/>
              <a:gd name="connsiteY871" fmla="*/ 3775315 h 4991619"/>
              <a:gd name="connsiteX872" fmla="*/ 5610252 w 6537372"/>
              <a:gd name="connsiteY872" fmla="*/ 3763702 h 4991619"/>
              <a:gd name="connsiteX873" fmla="*/ 5649024 w 6537372"/>
              <a:gd name="connsiteY873" fmla="*/ 3758699 h 4991619"/>
              <a:gd name="connsiteX874" fmla="*/ 5649381 w 6537372"/>
              <a:gd name="connsiteY874" fmla="*/ 3757985 h 4991619"/>
              <a:gd name="connsiteX875" fmla="*/ 5649381 w 6537372"/>
              <a:gd name="connsiteY875" fmla="*/ 3758699 h 4991619"/>
              <a:gd name="connsiteX876" fmla="*/ 5650988 w 6537372"/>
              <a:gd name="connsiteY876" fmla="*/ 3758699 h 4991619"/>
              <a:gd name="connsiteX877" fmla="*/ 5657064 w 6537372"/>
              <a:gd name="connsiteY877" fmla="*/ 3757270 h 4991619"/>
              <a:gd name="connsiteX878" fmla="*/ 5662782 w 6537372"/>
              <a:gd name="connsiteY878" fmla="*/ 3754946 h 4991619"/>
              <a:gd name="connsiteX879" fmla="*/ 5663674 w 6537372"/>
              <a:gd name="connsiteY879" fmla="*/ 3749765 h 4991619"/>
              <a:gd name="connsiteX880" fmla="*/ 5673502 w 6537372"/>
              <a:gd name="connsiteY880" fmla="*/ 3747265 h 4991619"/>
              <a:gd name="connsiteX881" fmla="*/ 5674216 w 6537372"/>
              <a:gd name="connsiteY881" fmla="*/ 3749229 h 4991619"/>
              <a:gd name="connsiteX882" fmla="*/ 5665460 w 6537372"/>
              <a:gd name="connsiteY882" fmla="*/ 3754231 h 4991619"/>
              <a:gd name="connsiteX883" fmla="*/ 5696906 w 6537372"/>
              <a:gd name="connsiteY883" fmla="*/ 3748336 h 4991619"/>
              <a:gd name="connsiteX884" fmla="*/ 5709770 w 6537372"/>
              <a:gd name="connsiteY884" fmla="*/ 3743155 h 4991619"/>
              <a:gd name="connsiteX885" fmla="*/ 5720492 w 6537372"/>
              <a:gd name="connsiteY885" fmla="*/ 3734757 h 4991619"/>
              <a:gd name="connsiteX886" fmla="*/ 5734964 w 6537372"/>
              <a:gd name="connsiteY886" fmla="*/ 3731005 h 4991619"/>
              <a:gd name="connsiteX887" fmla="*/ 5742468 w 6537372"/>
              <a:gd name="connsiteY887" fmla="*/ 3729039 h 4991619"/>
              <a:gd name="connsiteX888" fmla="*/ 5762122 w 6537372"/>
              <a:gd name="connsiteY888" fmla="*/ 3723322 h 4991619"/>
              <a:gd name="connsiteX889" fmla="*/ 5788922 w 6537372"/>
              <a:gd name="connsiteY889" fmla="*/ 3716711 h 4991619"/>
              <a:gd name="connsiteX890" fmla="*/ 5752474 w 6537372"/>
              <a:gd name="connsiteY890" fmla="*/ 3721000 h 4991619"/>
              <a:gd name="connsiteX891" fmla="*/ 5731748 w 6537372"/>
              <a:gd name="connsiteY891" fmla="*/ 3716890 h 4991619"/>
              <a:gd name="connsiteX892" fmla="*/ 5723172 w 6537372"/>
              <a:gd name="connsiteY892" fmla="*/ 3718319 h 4991619"/>
              <a:gd name="connsiteX893" fmla="*/ 5714595 w 6537372"/>
              <a:gd name="connsiteY893" fmla="*/ 3717068 h 4991619"/>
              <a:gd name="connsiteX894" fmla="*/ 5717812 w 6537372"/>
              <a:gd name="connsiteY894" fmla="*/ 3712602 h 4991619"/>
              <a:gd name="connsiteX895" fmla="*/ 5740502 w 6537372"/>
              <a:gd name="connsiteY895" fmla="*/ 3702418 h 4991619"/>
              <a:gd name="connsiteX896" fmla="*/ 5745148 w 6537372"/>
              <a:gd name="connsiteY896" fmla="*/ 3701881 h 4991619"/>
              <a:gd name="connsiteX897" fmla="*/ 5756046 w 6537372"/>
              <a:gd name="connsiteY897" fmla="*/ 3701881 h 4991619"/>
              <a:gd name="connsiteX898" fmla="*/ 5743362 w 6537372"/>
              <a:gd name="connsiteY898" fmla="*/ 3711709 h 4991619"/>
              <a:gd name="connsiteX899" fmla="*/ 5758549 w 6537372"/>
              <a:gd name="connsiteY899" fmla="*/ 3708313 h 4991619"/>
              <a:gd name="connsiteX900" fmla="*/ 5763194 w 6537372"/>
              <a:gd name="connsiteY900" fmla="*/ 3708850 h 4991619"/>
              <a:gd name="connsiteX901" fmla="*/ 5782668 w 6537372"/>
              <a:gd name="connsiteY901" fmla="*/ 3707957 h 4991619"/>
              <a:gd name="connsiteX902" fmla="*/ 5807682 w 6537372"/>
              <a:gd name="connsiteY902" fmla="*/ 3703489 h 4991619"/>
              <a:gd name="connsiteX903" fmla="*/ 5818760 w 6537372"/>
              <a:gd name="connsiteY903" fmla="*/ 3702774 h 4991619"/>
              <a:gd name="connsiteX904" fmla="*/ 5860212 w 6537372"/>
              <a:gd name="connsiteY904" fmla="*/ 3697415 h 4991619"/>
              <a:gd name="connsiteX905" fmla="*/ 5860034 w 6537372"/>
              <a:gd name="connsiteY905" fmla="*/ 3697237 h 4991619"/>
              <a:gd name="connsiteX906" fmla="*/ 5859854 w 6537372"/>
              <a:gd name="connsiteY906" fmla="*/ 3689554 h 4991619"/>
              <a:gd name="connsiteX907" fmla="*/ 5861998 w 6537372"/>
              <a:gd name="connsiteY907" fmla="*/ 3687946 h 4991619"/>
              <a:gd name="connsiteX908" fmla="*/ 5904166 w 6537372"/>
              <a:gd name="connsiteY908" fmla="*/ 3680263 h 4991619"/>
              <a:gd name="connsiteX909" fmla="*/ 5924355 w 6537372"/>
              <a:gd name="connsiteY909" fmla="*/ 3676153 h 4991619"/>
              <a:gd name="connsiteX910" fmla="*/ 5964556 w 6537372"/>
              <a:gd name="connsiteY910" fmla="*/ 3672938 h 4991619"/>
              <a:gd name="connsiteX911" fmla="*/ 5964912 w 6537372"/>
              <a:gd name="connsiteY911" fmla="*/ 3671150 h 4991619"/>
              <a:gd name="connsiteX912" fmla="*/ 5930607 w 6537372"/>
              <a:gd name="connsiteY912" fmla="*/ 3673116 h 4991619"/>
              <a:gd name="connsiteX913" fmla="*/ 5967236 w 6537372"/>
              <a:gd name="connsiteY913" fmla="*/ 3668470 h 4991619"/>
              <a:gd name="connsiteX914" fmla="*/ 5971702 w 6537372"/>
              <a:gd name="connsiteY914" fmla="*/ 3665076 h 4991619"/>
              <a:gd name="connsiteX915" fmla="*/ 5968844 w 6537372"/>
              <a:gd name="connsiteY915" fmla="*/ 3664718 h 4991619"/>
              <a:gd name="connsiteX916" fmla="*/ 5973132 w 6537372"/>
              <a:gd name="connsiteY916" fmla="*/ 3660788 h 4991619"/>
              <a:gd name="connsiteX917" fmla="*/ 5973132 w 6537372"/>
              <a:gd name="connsiteY917" fmla="*/ 3660073 h 4991619"/>
              <a:gd name="connsiteX918" fmla="*/ 5978491 w 6537372"/>
              <a:gd name="connsiteY918" fmla="*/ 3657571 h 4991619"/>
              <a:gd name="connsiteX919" fmla="*/ 5982422 w 6537372"/>
              <a:gd name="connsiteY919" fmla="*/ 3657215 h 4991619"/>
              <a:gd name="connsiteX920" fmla="*/ 5982779 w 6537372"/>
              <a:gd name="connsiteY920" fmla="*/ 3656678 h 4991619"/>
              <a:gd name="connsiteX921" fmla="*/ 5984388 w 6537372"/>
              <a:gd name="connsiteY921" fmla="*/ 3657035 h 4991619"/>
              <a:gd name="connsiteX922" fmla="*/ 6000646 w 6537372"/>
              <a:gd name="connsiteY922" fmla="*/ 3656142 h 4991619"/>
              <a:gd name="connsiteX923" fmla="*/ 5999753 w 6537372"/>
              <a:gd name="connsiteY923" fmla="*/ 3652212 h 4991619"/>
              <a:gd name="connsiteX924" fmla="*/ 5712094 w 6537372"/>
              <a:gd name="connsiteY924" fmla="*/ 3652032 h 4991619"/>
              <a:gd name="connsiteX925" fmla="*/ 5709770 w 6537372"/>
              <a:gd name="connsiteY925" fmla="*/ 3652212 h 4991619"/>
              <a:gd name="connsiteX926" fmla="*/ 5702626 w 6537372"/>
              <a:gd name="connsiteY926" fmla="*/ 3656856 h 4991619"/>
              <a:gd name="connsiteX927" fmla="*/ 5702446 w 6537372"/>
              <a:gd name="connsiteY927" fmla="*/ 3657035 h 4991619"/>
              <a:gd name="connsiteX928" fmla="*/ 5712810 w 6537372"/>
              <a:gd name="connsiteY928" fmla="*/ 3655249 h 4991619"/>
              <a:gd name="connsiteX929" fmla="*/ 5712094 w 6537372"/>
              <a:gd name="connsiteY929" fmla="*/ 3652032 h 4991619"/>
              <a:gd name="connsiteX930" fmla="*/ 6088552 w 6537372"/>
              <a:gd name="connsiteY930" fmla="*/ 3651854 h 4991619"/>
              <a:gd name="connsiteX931" fmla="*/ 6086944 w 6537372"/>
              <a:gd name="connsiteY931" fmla="*/ 3653641 h 4991619"/>
              <a:gd name="connsiteX932" fmla="*/ 6088552 w 6537372"/>
              <a:gd name="connsiteY932" fmla="*/ 3653641 h 4991619"/>
              <a:gd name="connsiteX933" fmla="*/ 6090014 w 6537372"/>
              <a:gd name="connsiteY933" fmla="*/ 3652016 h 4991619"/>
              <a:gd name="connsiteX934" fmla="*/ 6090160 w 6537372"/>
              <a:gd name="connsiteY934" fmla="*/ 3652032 h 4991619"/>
              <a:gd name="connsiteX935" fmla="*/ 6090160 w 6537372"/>
              <a:gd name="connsiteY935" fmla="*/ 3651854 h 4991619"/>
              <a:gd name="connsiteX936" fmla="*/ 6090014 w 6537372"/>
              <a:gd name="connsiteY936" fmla="*/ 3652016 h 4991619"/>
              <a:gd name="connsiteX937" fmla="*/ 5635980 w 6537372"/>
              <a:gd name="connsiteY937" fmla="*/ 3651854 h 4991619"/>
              <a:gd name="connsiteX938" fmla="*/ 5635980 w 6537372"/>
              <a:gd name="connsiteY938" fmla="*/ 3652094 h 4991619"/>
              <a:gd name="connsiteX939" fmla="*/ 5635624 w 6537372"/>
              <a:gd name="connsiteY939" fmla="*/ 3652568 h 4991619"/>
              <a:gd name="connsiteX940" fmla="*/ 5635980 w 6537372"/>
              <a:gd name="connsiteY940" fmla="*/ 3652568 h 4991619"/>
              <a:gd name="connsiteX941" fmla="*/ 5635980 w 6537372"/>
              <a:gd name="connsiteY941" fmla="*/ 3652094 h 4991619"/>
              <a:gd name="connsiteX942" fmla="*/ 5636160 w 6537372"/>
              <a:gd name="connsiteY942" fmla="*/ 3651854 h 4991619"/>
              <a:gd name="connsiteX943" fmla="*/ 6018692 w 6537372"/>
              <a:gd name="connsiteY943" fmla="*/ 3651676 h 4991619"/>
              <a:gd name="connsiteX944" fmla="*/ 6001360 w 6537372"/>
              <a:gd name="connsiteY944" fmla="*/ 3656142 h 4991619"/>
              <a:gd name="connsiteX945" fmla="*/ 6034416 w 6537372"/>
              <a:gd name="connsiteY945" fmla="*/ 3653641 h 4991619"/>
              <a:gd name="connsiteX946" fmla="*/ 6018692 w 6537372"/>
              <a:gd name="connsiteY946" fmla="*/ 3651676 h 4991619"/>
              <a:gd name="connsiteX947" fmla="*/ 6058535 w 6537372"/>
              <a:gd name="connsiteY947" fmla="*/ 3651675 h 4991619"/>
              <a:gd name="connsiteX948" fmla="*/ 6058894 w 6537372"/>
              <a:gd name="connsiteY948" fmla="*/ 3653283 h 4991619"/>
              <a:gd name="connsiteX949" fmla="*/ 6059786 w 6537372"/>
              <a:gd name="connsiteY949" fmla="*/ 3652212 h 4991619"/>
              <a:gd name="connsiteX950" fmla="*/ 6058535 w 6537372"/>
              <a:gd name="connsiteY950" fmla="*/ 3651675 h 4991619"/>
              <a:gd name="connsiteX951" fmla="*/ 5654206 w 6537372"/>
              <a:gd name="connsiteY951" fmla="*/ 3651497 h 4991619"/>
              <a:gd name="connsiteX952" fmla="*/ 5641876 w 6537372"/>
              <a:gd name="connsiteY952" fmla="*/ 3657035 h 4991619"/>
              <a:gd name="connsiteX953" fmla="*/ 5649024 w 6537372"/>
              <a:gd name="connsiteY953" fmla="*/ 3656142 h 4991619"/>
              <a:gd name="connsiteX954" fmla="*/ 5655991 w 6537372"/>
              <a:gd name="connsiteY954" fmla="*/ 3655071 h 4991619"/>
              <a:gd name="connsiteX955" fmla="*/ 5656170 w 6537372"/>
              <a:gd name="connsiteY955" fmla="*/ 3654534 h 4991619"/>
              <a:gd name="connsiteX956" fmla="*/ 5654206 w 6537372"/>
              <a:gd name="connsiteY956" fmla="*/ 3651497 h 4991619"/>
              <a:gd name="connsiteX957" fmla="*/ 5691726 w 6537372"/>
              <a:gd name="connsiteY957" fmla="*/ 3645780 h 4991619"/>
              <a:gd name="connsiteX958" fmla="*/ 5691548 w 6537372"/>
              <a:gd name="connsiteY958" fmla="*/ 3646029 h 4991619"/>
              <a:gd name="connsiteX959" fmla="*/ 5690118 w 6537372"/>
              <a:gd name="connsiteY959" fmla="*/ 3646314 h 4991619"/>
              <a:gd name="connsiteX960" fmla="*/ 5690832 w 6537372"/>
              <a:gd name="connsiteY960" fmla="*/ 3647029 h 4991619"/>
              <a:gd name="connsiteX961" fmla="*/ 5691548 w 6537372"/>
              <a:gd name="connsiteY961" fmla="*/ 3646029 h 4991619"/>
              <a:gd name="connsiteX962" fmla="*/ 5691904 w 6537372"/>
              <a:gd name="connsiteY962" fmla="*/ 3645958 h 4991619"/>
              <a:gd name="connsiteX963" fmla="*/ 5899520 w 6537372"/>
              <a:gd name="connsiteY963" fmla="*/ 3645422 h 4991619"/>
              <a:gd name="connsiteX964" fmla="*/ 5896124 w 6537372"/>
              <a:gd name="connsiteY964" fmla="*/ 3645780 h 4991619"/>
              <a:gd name="connsiteX965" fmla="*/ 5896124 w 6537372"/>
              <a:gd name="connsiteY965" fmla="*/ 3646314 h 4991619"/>
              <a:gd name="connsiteX966" fmla="*/ 5899698 w 6537372"/>
              <a:gd name="connsiteY966" fmla="*/ 3645422 h 4991619"/>
              <a:gd name="connsiteX967" fmla="*/ 5649738 w 6537372"/>
              <a:gd name="connsiteY967" fmla="*/ 3644707 h 4991619"/>
              <a:gd name="connsiteX968" fmla="*/ 5643664 w 6537372"/>
              <a:gd name="connsiteY968" fmla="*/ 3651497 h 4991619"/>
              <a:gd name="connsiteX969" fmla="*/ 5646344 w 6537372"/>
              <a:gd name="connsiteY969" fmla="*/ 3651139 h 4991619"/>
              <a:gd name="connsiteX970" fmla="*/ 5653491 w 6537372"/>
              <a:gd name="connsiteY970" fmla="*/ 3649710 h 4991619"/>
              <a:gd name="connsiteX971" fmla="*/ 5653132 w 6537372"/>
              <a:gd name="connsiteY971" fmla="*/ 3648817 h 4991619"/>
              <a:gd name="connsiteX972" fmla="*/ 5649738 w 6537372"/>
              <a:gd name="connsiteY972" fmla="*/ 3644707 h 4991619"/>
              <a:gd name="connsiteX973" fmla="*/ 6080870 w 6537372"/>
              <a:gd name="connsiteY973" fmla="*/ 3641670 h 4991619"/>
              <a:gd name="connsiteX974" fmla="*/ 6069436 w 6537372"/>
              <a:gd name="connsiteY974" fmla="*/ 3651675 h 4991619"/>
              <a:gd name="connsiteX975" fmla="*/ 6069614 w 6537372"/>
              <a:gd name="connsiteY975" fmla="*/ 3651675 h 4991619"/>
              <a:gd name="connsiteX976" fmla="*/ 6099094 w 6537372"/>
              <a:gd name="connsiteY976" fmla="*/ 3644885 h 4991619"/>
              <a:gd name="connsiteX977" fmla="*/ 6090518 w 6537372"/>
              <a:gd name="connsiteY977" fmla="*/ 3643099 h 4991619"/>
              <a:gd name="connsiteX978" fmla="*/ 6080870 w 6537372"/>
              <a:gd name="connsiteY978" fmla="*/ 3641670 h 4991619"/>
              <a:gd name="connsiteX979" fmla="*/ 5960804 w 6537372"/>
              <a:gd name="connsiteY979" fmla="*/ 3638453 h 4991619"/>
              <a:gd name="connsiteX980" fmla="*/ 5960833 w 6537372"/>
              <a:gd name="connsiteY980" fmla="*/ 3638480 h 4991619"/>
              <a:gd name="connsiteX981" fmla="*/ 5935076 w 6537372"/>
              <a:gd name="connsiteY981" fmla="*/ 3640597 h 4991619"/>
              <a:gd name="connsiteX982" fmla="*/ 5922211 w 6537372"/>
              <a:gd name="connsiteY982" fmla="*/ 3642563 h 4991619"/>
              <a:gd name="connsiteX983" fmla="*/ 5955801 w 6537372"/>
              <a:gd name="connsiteY983" fmla="*/ 3642563 h 4991619"/>
              <a:gd name="connsiteX984" fmla="*/ 5963304 w 6537372"/>
              <a:gd name="connsiteY984" fmla="*/ 3640777 h 4991619"/>
              <a:gd name="connsiteX985" fmla="*/ 5960833 w 6537372"/>
              <a:gd name="connsiteY985" fmla="*/ 3638480 h 4991619"/>
              <a:gd name="connsiteX986" fmla="*/ 5961160 w 6537372"/>
              <a:gd name="connsiteY986" fmla="*/ 3638453 h 4991619"/>
              <a:gd name="connsiteX987" fmla="*/ 5736036 w 6537372"/>
              <a:gd name="connsiteY987" fmla="*/ 3638275 h 4991619"/>
              <a:gd name="connsiteX988" fmla="*/ 5720492 w 6537372"/>
              <a:gd name="connsiteY988" fmla="*/ 3638453 h 4991619"/>
              <a:gd name="connsiteX989" fmla="*/ 5707628 w 6537372"/>
              <a:gd name="connsiteY989" fmla="*/ 3641312 h 4991619"/>
              <a:gd name="connsiteX990" fmla="*/ 5710307 w 6537372"/>
              <a:gd name="connsiteY990" fmla="*/ 3646851 h 4991619"/>
              <a:gd name="connsiteX991" fmla="*/ 5712094 w 6537372"/>
              <a:gd name="connsiteY991" fmla="*/ 3646494 h 4991619"/>
              <a:gd name="connsiteX992" fmla="*/ 5712094 w 6537372"/>
              <a:gd name="connsiteY992" fmla="*/ 3646673 h 4991619"/>
              <a:gd name="connsiteX993" fmla="*/ 5736036 w 6537372"/>
              <a:gd name="connsiteY993" fmla="*/ 3638275 h 4991619"/>
              <a:gd name="connsiteX994" fmla="*/ 5992070 w 6537372"/>
              <a:gd name="connsiteY994" fmla="*/ 3637918 h 4991619"/>
              <a:gd name="connsiteX995" fmla="*/ 5990462 w 6537372"/>
              <a:gd name="connsiteY995" fmla="*/ 3638453 h 4991619"/>
              <a:gd name="connsiteX996" fmla="*/ 5990284 w 6537372"/>
              <a:gd name="connsiteY996" fmla="*/ 3638633 h 4991619"/>
              <a:gd name="connsiteX997" fmla="*/ 5991714 w 6537372"/>
              <a:gd name="connsiteY997" fmla="*/ 3638989 h 4991619"/>
              <a:gd name="connsiteX998" fmla="*/ 5992070 w 6537372"/>
              <a:gd name="connsiteY998" fmla="*/ 3638989 h 4991619"/>
              <a:gd name="connsiteX999" fmla="*/ 5992070 w 6537372"/>
              <a:gd name="connsiteY999" fmla="*/ 3637918 h 4991619"/>
              <a:gd name="connsiteX1000" fmla="*/ 5890765 w 6537372"/>
              <a:gd name="connsiteY1000" fmla="*/ 3637918 h 4991619"/>
              <a:gd name="connsiteX1001" fmla="*/ 5889392 w 6537372"/>
              <a:gd name="connsiteY1001" fmla="*/ 3638293 h 4991619"/>
              <a:gd name="connsiteX1002" fmla="*/ 5880758 w 6537372"/>
              <a:gd name="connsiteY1002" fmla="*/ 3639526 h 4991619"/>
              <a:gd name="connsiteX1003" fmla="*/ 5886834 w 6537372"/>
              <a:gd name="connsiteY1003" fmla="*/ 3638989 h 4991619"/>
              <a:gd name="connsiteX1004" fmla="*/ 5889392 w 6537372"/>
              <a:gd name="connsiteY1004" fmla="*/ 3638293 h 4991619"/>
              <a:gd name="connsiteX1005" fmla="*/ 5890765 w 6537372"/>
              <a:gd name="connsiteY1005" fmla="*/ 3638096 h 4991619"/>
              <a:gd name="connsiteX1006" fmla="*/ 6174314 w 6537372"/>
              <a:gd name="connsiteY1006" fmla="*/ 3637738 h 4991619"/>
              <a:gd name="connsiteX1007" fmla="*/ 6172706 w 6537372"/>
              <a:gd name="connsiteY1007" fmla="*/ 3638096 h 4991619"/>
              <a:gd name="connsiteX1008" fmla="*/ 6174494 w 6537372"/>
              <a:gd name="connsiteY1008" fmla="*/ 3638989 h 4991619"/>
              <a:gd name="connsiteX1009" fmla="*/ 6175743 w 6537372"/>
              <a:gd name="connsiteY1009" fmla="*/ 3638275 h 4991619"/>
              <a:gd name="connsiteX1010" fmla="*/ 6174314 w 6537372"/>
              <a:gd name="connsiteY1010" fmla="*/ 3637738 h 4991619"/>
              <a:gd name="connsiteX1011" fmla="*/ 5980456 w 6537372"/>
              <a:gd name="connsiteY1011" fmla="*/ 3637560 h 4991619"/>
              <a:gd name="connsiteX1012" fmla="*/ 5979564 w 6537372"/>
              <a:gd name="connsiteY1012" fmla="*/ 3639526 h 4991619"/>
              <a:gd name="connsiteX1013" fmla="*/ 5980993 w 6537372"/>
              <a:gd name="connsiteY1013" fmla="*/ 3639526 h 4991619"/>
              <a:gd name="connsiteX1014" fmla="*/ 5983316 w 6537372"/>
              <a:gd name="connsiteY1014" fmla="*/ 3637918 h 4991619"/>
              <a:gd name="connsiteX1015" fmla="*/ 5983316 w 6537372"/>
              <a:gd name="connsiteY1015" fmla="*/ 3637738 h 4991619"/>
              <a:gd name="connsiteX1016" fmla="*/ 5980456 w 6537372"/>
              <a:gd name="connsiteY1016" fmla="*/ 3637560 h 4991619"/>
              <a:gd name="connsiteX1017" fmla="*/ 6188072 w 6537372"/>
              <a:gd name="connsiteY1017" fmla="*/ 3634523 h 4991619"/>
              <a:gd name="connsiteX1018" fmla="*/ 6187892 w 6537372"/>
              <a:gd name="connsiteY1018" fmla="*/ 3634701 h 4991619"/>
              <a:gd name="connsiteX1019" fmla="*/ 6188027 w 6537372"/>
              <a:gd name="connsiteY1019" fmla="*/ 3634701 h 4991619"/>
              <a:gd name="connsiteX1020" fmla="*/ 6187714 w 6537372"/>
              <a:gd name="connsiteY1020" fmla="*/ 3635952 h 4991619"/>
              <a:gd name="connsiteX1021" fmla="*/ 6190573 w 6537372"/>
              <a:gd name="connsiteY1021" fmla="*/ 3636131 h 4991619"/>
              <a:gd name="connsiteX1022" fmla="*/ 6190752 w 6537372"/>
              <a:gd name="connsiteY1022" fmla="*/ 3634701 h 4991619"/>
              <a:gd name="connsiteX1023" fmla="*/ 6188027 w 6537372"/>
              <a:gd name="connsiteY1023" fmla="*/ 3634701 h 4991619"/>
              <a:gd name="connsiteX1024" fmla="*/ 5980456 w 6537372"/>
              <a:gd name="connsiteY1024" fmla="*/ 3634523 h 4991619"/>
              <a:gd name="connsiteX1025" fmla="*/ 5982244 w 6537372"/>
              <a:gd name="connsiteY1025" fmla="*/ 3635238 h 4991619"/>
              <a:gd name="connsiteX1026" fmla="*/ 5983852 w 6537372"/>
              <a:gd name="connsiteY1026" fmla="*/ 3634879 h 4991619"/>
              <a:gd name="connsiteX1027" fmla="*/ 5980456 w 6537372"/>
              <a:gd name="connsiteY1027" fmla="*/ 3634523 h 4991619"/>
              <a:gd name="connsiteX1028" fmla="*/ 6152873 w 6537372"/>
              <a:gd name="connsiteY1028" fmla="*/ 3632201 h 4991619"/>
              <a:gd name="connsiteX1029" fmla="*/ 6155198 w 6537372"/>
              <a:gd name="connsiteY1029" fmla="*/ 3634165 h 4991619"/>
              <a:gd name="connsiteX1030" fmla="*/ 6163594 w 6537372"/>
              <a:gd name="connsiteY1030" fmla="*/ 3633272 h 4991619"/>
              <a:gd name="connsiteX1031" fmla="*/ 6163594 w 6537372"/>
              <a:gd name="connsiteY1031" fmla="*/ 3633094 h 4991619"/>
              <a:gd name="connsiteX1032" fmla="*/ 6152873 w 6537372"/>
              <a:gd name="connsiteY1032" fmla="*/ 3632201 h 4991619"/>
              <a:gd name="connsiteX1033" fmla="*/ 6156626 w 6537372"/>
              <a:gd name="connsiteY1033" fmla="*/ 3623981 h 4991619"/>
              <a:gd name="connsiteX1034" fmla="*/ 6157342 w 6537372"/>
              <a:gd name="connsiteY1034" fmla="*/ 3624159 h 4991619"/>
              <a:gd name="connsiteX1035" fmla="*/ 6157876 w 6537372"/>
              <a:gd name="connsiteY1035" fmla="*/ 3623981 h 4991619"/>
              <a:gd name="connsiteX1036" fmla="*/ 6156626 w 6537372"/>
              <a:gd name="connsiteY1036" fmla="*/ 3623981 h 4991619"/>
              <a:gd name="connsiteX1037" fmla="*/ 5848419 w 6537372"/>
              <a:gd name="connsiteY1037" fmla="*/ 3623803 h 4991619"/>
              <a:gd name="connsiteX1038" fmla="*/ 5833769 w 6537372"/>
              <a:gd name="connsiteY1038" fmla="*/ 3627198 h 4991619"/>
              <a:gd name="connsiteX1039" fmla="*/ 5855209 w 6537372"/>
              <a:gd name="connsiteY1039" fmla="*/ 3627913 h 4991619"/>
              <a:gd name="connsiteX1040" fmla="*/ 5857354 w 6537372"/>
              <a:gd name="connsiteY1040" fmla="*/ 3627913 h 4991619"/>
              <a:gd name="connsiteX1041" fmla="*/ 5862178 w 6537372"/>
              <a:gd name="connsiteY1041" fmla="*/ 3627198 h 4991619"/>
              <a:gd name="connsiteX1042" fmla="*/ 5869503 w 6537372"/>
              <a:gd name="connsiteY1042" fmla="*/ 3626125 h 4991619"/>
              <a:gd name="connsiteX1043" fmla="*/ 5866822 w 6537372"/>
              <a:gd name="connsiteY1043" fmla="*/ 3624874 h 4991619"/>
              <a:gd name="connsiteX1044" fmla="*/ 5848419 w 6537372"/>
              <a:gd name="connsiteY1044" fmla="*/ 3623803 h 4991619"/>
              <a:gd name="connsiteX1045" fmla="*/ 5887906 w 6537372"/>
              <a:gd name="connsiteY1045" fmla="*/ 3617907 h 4991619"/>
              <a:gd name="connsiteX1046" fmla="*/ 5877364 w 6537372"/>
              <a:gd name="connsiteY1046" fmla="*/ 3619871 h 4991619"/>
              <a:gd name="connsiteX1047" fmla="*/ 5881296 w 6537372"/>
              <a:gd name="connsiteY1047" fmla="*/ 3624339 h 4991619"/>
              <a:gd name="connsiteX1048" fmla="*/ 5881116 w 6537372"/>
              <a:gd name="connsiteY1048" fmla="*/ 3623981 h 4991619"/>
              <a:gd name="connsiteX1049" fmla="*/ 5892194 w 6537372"/>
              <a:gd name="connsiteY1049" fmla="*/ 3622373 h 4991619"/>
              <a:gd name="connsiteX1050" fmla="*/ 5887548 w 6537372"/>
              <a:gd name="connsiteY1050" fmla="*/ 3618442 h 4991619"/>
              <a:gd name="connsiteX1051" fmla="*/ 5887906 w 6537372"/>
              <a:gd name="connsiteY1051" fmla="*/ 3617907 h 4991619"/>
              <a:gd name="connsiteX1052" fmla="*/ 5969267 w 6537372"/>
              <a:gd name="connsiteY1052" fmla="*/ 3615293 h 4991619"/>
              <a:gd name="connsiteX1053" fmla="*/ 5957050 w 6537372"/>
              <a:gd name="connsiteY1053" fmla="*/ 3620051 h 4991619"/>
              <a:gd name="connsiteX1054" fmla="*/ 5941328 w 6537372"/>
              <a:gd name="connsiteY1054" fmla="*/ 3625054 h 4991619"/>
              <a:gd name="connsiteX1055" fmla="*/ 5964556 w 6537372"/>
              <a:gd name="connsiteY1055" fmla="*/ 3625054 h 4991619"/>
              <a:gd name="connsiteX1056" fmla="*/ 5981530 w 6537372"/>
              <a:gd name="connsiteY1056" fmla="*/ 3622015 h 4991619"/>
              <a:gd name="connsiteX1057" fmla="*/ 5981350 w 6537372"/>
              <a:gd name="connsiteY1057" fmla="*/ 3622015 h 4991619"/>
              <a:gd name="connsiteX1058" fmla="*/ 5981886 w 6537372"/>
              <a:gd name="connsiteY1058" fmla="*/ 3616834 h 4991619"/>
              <a:gd name="connsiteX1059" fmla="*/ 5969267 w 6537372"/>
              <a:gd name="connsiteY1059" fmla="*/ 3615293 h 4991619"/>
              <a:gd name="connsiteX1060" fmla="*/ 5867180 w 6537372"/>
              <a:gd name="connsiteY1060" fmla="*/ 3612010 h 4991619"/>
              <a:gd name="connsiteX1061" fmla="*/ 5828766 w 6537372"/>
              <a:gd name="connsiteY1061" fmla="*/ 3617193 h 4991619"/>
              <a:gd name="connsiteX1062" fmla="*/ 5827692 w 6537372"/>
              <a:gd name="connsiteY1062" fmla="*/ 3617907 h 4991619"/>
              <a:gd name="connsiteX1063" fmla="*/ 5826978 w 6537372"/>
              <a:gd name="connsiteY1063" fmla="*/ 3617907 h 4991619"/>
              <a:gd name="connsiteX1064" fmla="*/ 5827156 w 6537372"/>
              <a:gd name="connsiteY1064" fmla="*/ 3618264 h 4991619"/>
              <a:gd name="connsiteX1065" fmla="*/ 5827692 w 6537372"/>
              <a:gd name="connsiteY1065" fmla="*/ 3617907 h 4991619"/>
              <a:gd name="connsiteX1066" fmla="*/ 5839128 w 6537372"/>
              <a:gd name="connsiteY1066" fmla="*/ 3617907 h 4991619"/>
              <a:gd name="connsiteX1067" fmla="*/ 5840916 w 6537372"/>
              <a:gd name="connsiteY1067" fmla="*/ 3617907 h 4991619"/>
              <a:gd name="connsiteX1068" fmla="*/ 5841986 w 6537372"/>
              <a:gd name="connsiteY1068" fmla="*/ 3617907 h 4991619"/>
              <a:gd name="connsiteX1069" fmla="*/ 5862178 w 6537372"/>
              <a:gd name="connsiteY1069" fmla="*/ 3616298 h 4991619"/>
              <a:gd name="connsiteX1070" fmla="*/ 5865930 w 6537372"/>
              <a:gd name="connsiteY1070" fmla="*/ 3612724 h 4991619"/>
              <a:gd name="connsiteX1071" fmla="*/ 5867180 w 6537372"/>
              <a:gd name="connsiteY1071" fmla="*/ 3612010 h 4991619"/>
              <a:gd name="connsiteX1072" fmla="*/ 5960446 w 6537372"/>
              <a:gd name="connsiteY1072" fmla="*/ 3598789 h 4991619"/>
              <a:gd name="connsiteX1073" fmla="*/ 5955443 w 6537372"/>
              <a:gd name="connsiteY1073" fmla="*/ 3599145 h 4991619"/>
              <a:gd name="connsiteX1074" fmla="*/ 5960268 w 6537372"/>
              <a:gd name="connsiteY1074" fmla="*/ 3599145 h 4991619"/>
              <a:gd name="connsiteX1075" fmla="*/ 5960268 w 6537372"/>
              <a:gd name="connsiteY1075" fmla="*/ 3598967 h 4991619"/>
              <a:gd name="connsiteX1076" fmla="*/ 5994394 w 6537372"/>
              <a:gd name="connsiteY1076" fmla="*/ 3595930 h 4991619"/>
              <a:gd name="connsiteX1077" fmla="*/ 5993967 w 6537372"/>
              <a:gd name="connsiteY1077" fmla="*/ 3596108 h 4991619"/>
              <a:gd name="connsiteX1078" fmla="*/ 5992250 w 6537372"/>
              <a:gd name="connsiteY1078" fmla="*/ 3596108 h 4991619"/>
              <a:gd name="connsiteX1079" fmla="*/ 5990640 w 6537372"/>
              <a:gd name="connsiteY1079" fmla="*/ 3596108 h 4991619"/>
              <a:gd name="connsiteX1080" fmla="*/ 5989926 w 6537372"/>
              <a:gd name="connsiteY1080" fmla="*/ 3596287 h 4991619"/>
              <a:gd name="connsiteX1081" fmla="*/ 5990106 w 6537372"/>
              <a:gd name="connsiteY1081" fmla="*/ 3597716 h 4991619"/>
              <a:gd name="connsiteX1082" fmla="*/ 5993967 w 6537372"/>
              <a:gd name="connsiteY1082" fmla="*/ 3596108 h 4991619"/>
              <a:gd name="connsiteX1083" fmla="*/ 5994572 w 6537372"/>
              <a:gd name="connsiteY1083" fmla="*/ 3596108 h 4991619"/>
              <a:gd name="connsiteX1084" fmla="*/ 6036916 w 6537372"/>
              <a:gd name="connsiteY1084" fmla="*/ 3592179 h 4991619"/>
              <a:gd name="connsiteX1085" fmla="*/ 6025482 w 6537372"/>
              <a:gd name="connsiteY1085" fmla="*/ 3593428 h 4991619"/>
              <a:gd name="connsiteX1086" fmla="*/ 6017798 w 6537372"/>
              <a:gd name="connsiteY1086" fmla="*/ 3597181 h 4991619"/>
              <a:gd name="connsiteX1087" fmla="*/ 6014225 w 6537372"/>
              <a:gd name="connsiteY1087" fmla="*/ 3600933 h 4991619"/>
              <a:gd name="connsiteX1088" fmla="*/ 5994750 w 6537372"/>
              <a:gd name="connsiteY1088" fmla="*/ 3596287 h 4991619"/>
              <a:gd name="connsiteX1089" fmla="*/ 5974740 w 6537372"/>
              <a:gd name="connsiteY1089" fmla="*/ 3605936 h 4991619"/>
              <a:gd name="connsiteX1090" fmla="*/ 5968307 w 6537372"/>
              <a:gd name="connsiteY1090" fmla="*/ 3606292 h 4991619"/>
              <a:gd name="connsiteX1091" fmla="*/ 5924534 w 6537372"/>
              <a:gd name="connsiteY1091" fmla="*/ 3606292 h 4991619"/>
              <a:gd name="connsiteX1092" fmla="*/ 5923460 w 6537372"/>
              <a:gd name="connsiteY1092" fmla="*/ 3607543 h 4991619"/>
              <a:gd name="connsiteX1093" fmla="*/ 5907738 w 6537372"/>
              <a:gd name="connsiteY1093" fmla="*/ 3613976 h 4991619"/>
              <a:gd name="connsiteX1094" fmla="*/ 5907381 w 6537372"/>
              <a:gd name="connsiteY1094" fmla="*/ 3613976 h 4991619"/>
              <a:gd name="connsiteX1095" fmla="*/ 5911848 w 6537372"/>
              <a:gd name="connsiteY1095" fmla="*/ 3618085 h 4991619"/>
              <a:gd name="connsiteX1096" fmla="*/ 5918101 w 6537372"/>
              <a:gd name="connsiteY1096" fmla="*/ 3618085 h 4991619"/>
              <a:gd name="connsiteX1097" fmla="*/ 5931322 w 6537372"/>
              <a:gd name="connsiteY1097" fmla="*/ 3614868 h 4991619"/>
              <a:gd name="connsiteX1098" fmla="*/ 5972239 w 6537372"/>
              <a:gd name="connsiteY1098" fmla="*/ 3608616 h 4991619"/>
              <a:gd name="connsiteX1099" fmla="*/ 5982064 w 6537372"/>
              <a:gd name="connsiteY1099" fmla="*/ 3616478 h 4991619"/>
              <a:gd name="connsiteX1100" fmla="*/ 5983316 w 6537372"/>
              <a:gd name="connsiteY1100" fmla="*/ 3616656 h 4991619"/>
              <a:gd name="connsiteX1101" fmla="*/ 5992606 w 6537372"/>
              <a:gd name="connsiteY1101" fmla="*/ 3619693 h 4991619"/>
              <a:gd name="connsiteX1102" fmla="*/ 6038346 w 6537372"/>
              <a:gd name="connsiteY1102" fmla="*/ 3610939 h 4991619"/>
              <a:gd name="connsiteX1103" fmla="*/ 6032628 w 6537372"/>
              <a:gd name="connsiteY1103" fmla="*/ 3615227 h 4991619"/>
              <a:gd name="connsiteX1104" fmla="*/ 6033165 w 6537372"/>
              <a:gd name="connsiteY1104" fmla="*/ 3614868 h 4991619"/>
              <a:gd name="connsiteX1105" fmla="*/ 6079441 w 6537372"/>
              <a:gd name="connsiteY1105" fmla="*/ 3613976 h 4991619"/>
              <a:gd name="connsiteX1106" fmla="*/ 6088732 w 6537372"/>
              <a:gd name="connsiteY1106" fmla="*/ 3608436 h 4991619"/>
              <a:gd name="connsiteX1107" fmla="*/ 6057106 w 6537372"/>
              <a:gd name="connsiteY1107" fmla="*/ 3607722 h 4991619"/>
              <a:gd name="connsiteX1108" fmla="*/ 6063182 w 6537372"/>
              <a:gd name="connsiteY1108" fmla="*/ 3598431 h 4991619"/>
              <a:gd name="connsiteX1109" fmla="*/ 6058000 w 6537372"/>
              <a:gd name="connsiteY1109" fmla="*/ 3599682 h 4991619"/>
              <a:gd name="connsiteX1110" fmla="*/ 6051388 w 6537372"/>
              <a:gd name="connsiteY1110" fmla="*/ 3596287 h 4991619"/>
              <a:gd name="connsiteX1111" fmla="*/ 6049066 w 6537372"/>
              <a:gd name="connsiteY1111" fmla="*/ 3592357 h 4991619"/>
              <a:gd name="connsiteX1112" fmla="*/ 6038704 w 6537372"/>
              <a:gd name="connsiteY1112" fmla="*/ 3592179 h 4991619"/>
              <a:gd name="connsiteX1113" fmla="*/ 6036916 w 6537372"/>
              <a:gd name="connsiteY1113" fmla="*/ 3592179 h 4991619"/>
              <a:gd name="connsiteX1114" fmla="*/ 5695657 w 6537372"/>
              <a:gd name="connsiteY1114" fmla="*/ 3585210 h 4991619"/>
              <a:gd name="connsiteX1115" fmla="*/ 5695835 w 6537372"/>
              <a:gd name="connsiteY1115" fmla="*/ 3585210 h 4991619"/>
              <a:gd name="connsiteX1116" fmla="*/ 5695835 w 6537372"/>
              <a:gd name="connsiteY1116" fmla="*/ 3585388 h 4991619"/>
              <a:gd name="connsiteX1117" fmla="*/ 5695657 w 6537372"/>
              <a:gd name="connsiteY1117" fmla="*/ 3585210 h 4991619"/>
              <a:gd name="connsiteX1118" fmla="*/ 5695554 w 6537372"/>
              <a:gd name="connsiteY1118" fmla="*/ 3585193 h 4991619"/>
              <a:gd name="connsiteX1119" fmla="*/ 5695657 w 6537372"/>
              <a:gd name="connsiteY1119" fmla="*/ 3585210 h 4991619"/>
              <a:gd name="connsiteX1120" fmla="*/ 5695477 w 6537372"/>
              <a:gd name="connsiteY1120" fmla="*/ 3585210 h 4991619"/>
              <a:gd name="connsiteX1121" fmla="*/ 6083549 w 6537372"/>
              <a:gd name="connsiteY1121" fmla="*/ 3584852 h 4991619"/>
              <a:gd name="connsiteX1122" fmla="*/ 6071400 w 6537372"/>
              <a:gd name="connsiteY1122" fmla="*/ 3586639 h 4991619"/>
              <a:gd name="connsiteX1123" fmla="*/ 6059072 w 6537372"/>
              <a:gd name="connsiteY1123" fmla="*/ 3595394 h 4991619"/>
              <a:gd name="connsiteX1124" fmla="*/ 6063718 w 6537372"/>
              <a:gd name="connsiteY1124" fmla="*/ 3598253 h 4991619"/>
              <a:gd name="connsiteX1125" fmla="*/ 6081048 w 6537372"/>
              <a:gd name="connsiteY1125" fmla="*/ 3592179 h 4991619"/>
              <a:gd name="connsiteX1126" fmla="*/ 6106240 w 6537372"/>
              <a:gd name="connsiteY1126" fmla="*/ 3600040 h 4991619"/>
              <a:gd name="connsiteX1127" fmla="*/ 6118927 w 6537372"/>
              <a:gd name="connsiteY1127" fmla="*/ 3592179 h 4991619"/>
              <a:gd name="connsiteX1128" fmla="*/ 6107492 w 6537372"/>
              <a:gd name="connsiteY1128" fmla="*/ 3588962 h 4991619"/>
              <a:gd name="connsiteX1129" fmla="*/ 6102131 w 6537372"/>
              <a:gd name="connsiteY1129" fmla="*/ 3587176 h 4991619"/>
              <a:gd name="connsiteX1130" fmla="*/ 6095520 w 6537372"/>
              <a:gd name="connsiteY1130" fmla="*/ 3587176 h 4991619"/>
              <a:gd name="connsiteX1131" fmla="*/ 6097664 w 6537372"/>
              <a:gd name="connsiteY1131" fmla="*/ 3586103 h 4991619"/>
              <a:gd name="connsiteX1132" fmla="*/ 6098023 w 6537372"/>
              <a:gd name="connsiteY1132" fmla="*/ 3586103 h 4991619"/>
              <a:gd name="connsiteX1133" fmla="*/ 6083549 w 6537372"/>
              <a:gd name="connsiteY1133" fmla="*/ 3584852 h 4991619"/>
              <a:gd name="connsiteX1134" fmla="*/ 5736572 w 6537372"/>
              <a:gd name="connsiteY1134" fmla="*/ 3569309 h 4991619"/>
              <a:gd name="connsiteX1135" fmla="*/ 5729782 w 6537372"/>
              <a:gd name="connsiteY1135" fmla="*/ 3570738 h 4991619"/>
              <a:gd name="connsiteX1136" fmla="*/ 5729782 w 6537372"/>
              <a:gd name="connsiteY1136" fmla="*/ 3570916 h 4991619"/>
              <a:gd name="connsiteX1137" fmla="*/ 5727818 w 6537372"/>
              <a:gd name="connsiteY1137" fmla="*/ 3571273 h 4991619"/>
              <a:gd name="connsiteX1138" fmla="*/ 5736036 w 6537372"/>
              <a:gd name="connsiteY1138" fmla="*/ 3570024 h 4991619"/>
              <a:gd name="connsiteX1139" fmla="*/ 5736572 w 6537372"/>
              <a:gd name="connsiteY1139" fmla="*/ 3569309 h 4991619"/>
              <a:gd name="connsiteX1140" fmla="*/ 6049602 w 6537372"/>
              <a:gd name="connsiteY1140" fmla="*/ 3564126 h 4991619"/>
              <a:gd name="connsiteX1141" fmla="*/ 6050496 w 6537372"/>
              <a:gd name="connsiteY1141" fmla="*/ 3565735 h 4991619"/>
              <a:gd name="connsiteX1142" fmla="*/ 6051210 w 6537372"/>
              <a:gd name="connsiteY1142" fmla="*/ 3564126 h 4991619"/>
              <a:gd name="connsiteX1143" fmla="*/ 5934717 w 6537372"/>
              <a:gd name="connsiteY1143" fmla="*/ 3563233 h 4991619"/>
              <a:gd name="connsiteX1144" fmla="*/ 5933646 w 6537372"/>
              <a:gd name="connsiteY1144" fmla="*/ 3564306 h 4991619"/>
              <a:gd name="connsiteX1145" fmla="*/ 5936683 w 6537372"/>
              <a:gd name="connsiteY1145" fmla="*/ 3563770 h 4991619"/>
              <a:gd name="connsiteX1146" fmla="*/ 5934717 w 6537372"/>
              <a:gd name="connsiteY1146" fmla="*/ 3563233 h 4991619"/>
              <a:gd name="connsiteX1147" fmla="*/ 5981530 w 6537372"/>
              <a:gd name="connsiteY1147" fmla="*/ 3555550 h 4991619"/>
              <a:gd name="connsiteX1148" fmla="*/ 5953089 w 6537372"/>
              <a:gd name="connsiteY1148" fmla="*/ 3558767 h 4991619"/>
              <a:gd name="connsiteX1149" fmla="*/ 5951513 w 6537372"/>
              <a:gd name="connsiteY1149" fmla="*/ 3558767 h 4991619"/>
              <a:gd name="connsiteX1150" fmla="*/ 5951513 w 6537372"/>
              <a:gd name="connsiteY1150" fmla="*/ 3558945 h 4991619"/>
              <a:gd name="connsiteX1151" fmla="*/ 5953089 w 6537372"/>
              <a:gd name="connsiteY1151" fmla="*/ 3558767 h 4991619"/>
              <a:gd name="connsiteX1152" fmla="*/ 5962948 w 6537372"/>
              <a:gd name="connsiteY1152" fmla="*/ 3558767 h 4991619"/>
              <a:gd name="connsiteX1153" fmla="*/ 5981530 w 6537372"/>
              <a:gd name="connsiteY1153" fmla="*/ 3555550 h 4991619"/>
              <a:gd name="connsiteX1154" fmla="*/ 6123036 w 6537372"/>
              <a:gd name="connsiteY1154" fmla="*/ 3551798 h 4991619"/>
              <a:gd name="connsiteX1155" fmla="*/ 6123036 w 6537372"/>
              <a:gd name="connsiteY1155" fmla="*/ 3553406 h 4991619"/>
              <a:gd name="connsiteX1156" fmla="*/ 6125537 w 6537372"/>
              <a:gd name="connsiteY1156" fmla="*/ 3552691 h 4991619"/>
              <a:gd name="connsiteX1157" fmla="*/ 6123215 w 6537372"/>
              <a:gd name="connsiteY1157" fmla="*/ 3551798 h 4991619"/>
              <a:gd name="connsiteX1158" fmla="*/ 5916136 w 6537372"/>
              <a:gd name="connsiteY1158" fmla="*/ 3549298 h 4991619"/>
              <a:gd name="connsiteX1159" fmla="*/ 5914706 w 6537372"/>
              <a:gd name="connsiteY1159" fmla="*/ 3551084 h 4991619"/>
              <a:gd name="connsiteX1160" fmla="*/ 5916850 w 6537372"/>
              <a:gd name="connsiteY1160" fmla="*/ 3551976 h 4991619"/>
              <a:gd name="connsiteX1161" fmla="*/ 5917208 w 6537372"/>
              <a:gd name="connsiteY1161" fmla="*/ 3549654 h 4991619"/>
              <a:gd name="connsiteX1162" fmla="*/ 5916136 w 6537372"/>
              <a:gd name="connsiteY1162" fmla="*/ 3549298 h 4991619"/>
              <a:gd name="connsiteX1163" fmla="*/ 5892372 w 6537372"/>
              <a:gd name="connsiteY1163" fmla="*/ 3548583 h 4991619"/>
              <a:gd name="connsiteX1164" fmla="*/ 5879508 w 6537372"/>
              <a:gd name="connsiteY1164" fmla="*/ 3550369 h 4991619"/>
              <a:gd name="connsiteX1165" fmla="*/ 5826622 w 6537372"/>
              <a:gd name="connsiteY1165" fmla="*/ 3562162 h 4991619"/>
              <a:gd name="connsiteX1166" fmla="*/ 5818224 w 6537372"/>
              <a:gd name="connsiteY1166" fmla="*/ 3563233 h 4991619"/>
              <a:gd name="connsiteX1167" fmla="*/ 5813936 w 6537372"/>
              <a:gd name="connsiteY1167" fmla="*/ 3554301 h 4991619"/>
              <a:gd name="connsiteX1168" fmla="*/ 5815902 w 6537372"/>
              <a:gd name="connsiteY1168" fmla="*/ 3551262 h 4991619"/>
              <a:gd name="connsiteX1169" fmla="*/ 5813936 w 6537372"/>
              <a:gd name="connsiteY1169" fmla="*/ 3551262 h 4991619"/>
              <a:gd name="connsiteX1170" fmla="*/ 5785707 w 6537372"/>
              <a:gd name="connsiteY1170" fmla="*/ 3556623 h 4991619"/>
              <a:gd name="connsiteX1171" fmla="*/ 5761050 w 6537372"/>
              <a:gd name="connsiteY1171" fmla="*/ 3563055 h 4991619"/>
              <a:gd name="connsiteX1172" fmla="*/ 5761408 w 6537372"/>
              <a:gd name="connsiteY1172" fmla="*/ 3563055 h 4991619"/>
              <a:gd name="connsiteX1173" fmla="*/ 5743182 w 6537372"/>
              <a:gd name="connsiteY1173" fmla="*/ 3572524 h 4991619"/>
              <a:gd name="connsiteX1174" fmla="*/ 5725494 w 6537372"/>
              <a:gd name="connsiteY1174" fmla="*/ 3578465 h 4991619"/>
              <a:gd name="connsiteX1175" fmla="*/ 5695554 w 6537372"/>
              <a:gd name="connsiteY1175" fmla="*/ 3585193 h 4991619"/>
              <a:gd name="connsiteX1176" fmla="*/ 5691369 w 6537372"/>
              <a:gd name="connsiteY1176" fmla="*/ 3584495 h 4991619"/>
              <a:gd name="connsiteX1177" fmla="*/ 5668499 w 6537372"/>
              <a:gd name="connsiteY1177" fmla="*/ 3589320 h 4991619"/>
              <a:gd name="connsiteX1178" fmla="*/ 5661350 w 6537372"/>
              <a:gd name="connsiteY1178" fmla="*/ 3591464 h 4991619"/>
              <a:gd name="connsiteX1179" fmla="*/ 5667784 w 6537372"/>
              <a:gd name="connsiteY1179" fmla="*/ 3594679 h 4991619"/>
              <a:gd name="connsiteX1180" fmla="*/ 5659208 w 6537372"/>
              <a:gd name="connsiteY1180" fmla="*/ 3602362 h 4991619"/>
              <a:gd name="connsiteX1181" fmla="*/ 5667784 w 6537372"/>
              <a:gd name="connsiteY1181" fmla="*/ 3604148 h 4991619"/>
              <a:gd name="connsiteX1182" fmla="*/ 5666353 w 6537372"/>
              <a:gd name="connsiteY1182" fmla="*/ 3605758 h 4991619"/>
              <a:gd name="connsiteX1183" fmla="*/ 5638660 w 6537372"/>
              <a:gd name="connsiteY1183" fmla="*/ 3613797 h 4991619"/>
              <a:gd name="connsiteX1184" fmla="*/ 5614184 w 6537372"/>
              <a:gd name="connsiteY1184" fmla="*/ 3621122 h 4991619"/>
              <a:gd name="connsiteX1185" fmla="*/ 5646700 w 6537372"/>
              <a:gd name="connsiteY1185" fmla="*/ 3621122 h 4991619"/>
              <a:gd name="connsiteX1186" fmla="*/ 5661530 w 6537372"/>
              <a:gd name="connsiteY1186" fmla="*/ 3622015 h 4991619"/>
              <a:gd name="connsiteX1187" fmla="*/ 5636160 w 6537372"/>
              <a:gd name="connsiteY1187" fmla="*/ 3633630 h 4991619"/>
              <a:gd name="connsiteX1188" fmla="*/ 5595244 w 6537372"/>
              <a:gd name="connsiteY1188" fmla="*/ 3641133 h 4991619"/>
              <a:gd name="connsiteX1189" fmla="*/ 5594707 w 6537372"/>
              <a:gd name="connsiteY1189" fmla="*/ 3640597 h 4991619"/>
              <a:gd name="connsiteX1190" fmla="*/ 5585596 w 6537372"/>
              <a:gd name="connsiteY1190" fmla="*/ 3642921 h 4991619"/>
              <a:gd name="connsiteX1191" fmla="*/ 5586130 w 6537372"/>
              <a:gd name="connsiteY1191" fmla="*/ 3643992 h 4991619"/>
              <a:gd name="connsiteX1192" fmla="*/ 5587918 w 6537372"/>
              <a:gd name="connsiteY1192" fmla="*/ 3646314 h 4991619"/>
              <a:gd name="connsiteX1193" fmla="*/ 5605786 w 6537372"/>
              <a:gd name="connsiteY1193" fmla="*/ 3643992 h 4991619"/>
              <a:gd name="connsiteX1194" fmla="*/ 5608822 w 6537372"/>
              <a:gd name="connsiteY1194" fmla="*/ 3650602 h 4991619"/>
              <a:gd name="connsiteX1195" fmla="*/ 5622938 w 6537372"/>
              <a:gd name="connsiteY1195" fmla="*/ 3647924 h 4991619"/>
              <a:gd name="connsiteX1196" fmla="*/ 5635624 w 6537372"/>
              <a:gd name="connsiteY1196" fmla="*/ 3647209 h 4991619"/>
              <a:gd name="connsiteX1197" fmla="*/ 5635624 w 6537372"/>
              <a:gd name="connsiteY1197" fmla="*/ 3644885 h 4991619"/>
              <a:gd name="connsiteX1198" fmla="*/ 5623294 w 6537372"/>
              <a:gd name="connsiteY1198" fmla="*/ 3644170 h 4991619"/>
              <a:gd name="connsiteX1199" fmla="*/ 5625974 w 6537372"/>
              <a:gd name="connsiteY1199" fmla="*/ 3638453 h 4991619"/>
              <a:gd name="connsiteX1200" fmla="*/ 5647952 w 6537372"/>
              <a:gd name="connsiteY1200" fmla="*/ 3633094 h 4991619"/>
              <a:gd name="connsiteX1201" fmla="*/ 5641161 w 6537372"/>
              <a:gd name="connsiteY1201" fmla="*/ 3634701 h 4991619"/>
              <a:gd name="connsiteX1202" fmla="*/ 5639732 w 6537372"/>
              <a:gd name="connsiteY1202" fmla="*/ 3634345 h 4991619"/>
              <a:gd name="connsiteX1203" fmla="*/ 5666533 w 6537372"/>
              <a:gd name="connsiteY1203" fmla="*/ 3627913 h 4991619"/>
              <a:gd name="connsiteX1204" fmla="*/ 5665997 w 6537372"/>
              <a:gd name="connsiteY1204" fmla="*/ 3628627 h 4991619"/>
              <a:gd name="connsiteX1205" fmla="*/ 5688688 w 6537372"/>
              <a:gd name="connsiteY1205" fmla="*/ 3623088 h 4991619"/>
              <a:gd name="connsiteX1206" fmla="*/ 5679754 w 6537372"/>
              <a:gd name="connsiteY1206" fmla="*/ 3618978 h 4991619"/>
              <a:gd name="connsiteX1207" fmla="*/ 5707628 w 6537372"/>
              <a:gd name="connsiteY1207" fmla="*/ 3610760 h 4991619"/>
              <a:gd name="connsiteX1208" fmla="*/ 5712273 w 6537372"/>
              <a:gd name="connsiteY1208" fmla="*/ 3611295 h 4991619"/>
              <a:gd name="connsiteX1209" fmla="*/ 5731748 w 6537372"/>
              <a:gd name="connsiteY1209" fmla="*/ 3610402 h 4991619"/>
              <a:gd name="connsiteX1210" fmla="*/ 5756762 w 6537372"/>
              <a:gd name="connsiteY1210" fmla="*/ 3605936 h 4991619"/>
              <a:gd name="connsiteX1211" fmla="*/ 5759978 w 6537372"/>
              <a:gd name="connsiteY1211" fmla="*/ 3605936 h 4991619"/>
              <a:gd name="connsiteX1212" fmla="*/ 5765338 w 6537372"/>
              <a:gd name="connsiteY1212" fmla="*/ 3604685 h 4991619"/>
              <a:gd name="connsiteX1213" fmla="*/ 5810006 w 6537372"/>
              <a:gd name="connsiteY1213" fmla="*/ 3593964 h 4991619"/>
              <a:gd name="connsiteX1214" fmla="*/ 5809290 w 6537372"/>
              <a:gd name="connsiteY1214" fmla="*/ 3592179 h 4991619"/>
              <a:gd name="connsiteX1215" fmla="*/ 5811436 w 6537372"/>
              <a:gd name="connsiteY1215" fmla="*/ 3590569 h 4991619"/>
              <a:gd name="connsiteX1216" fmla="*/ 5826444 w 6537372"/>
              <a:gd name="connsiteY1216" fmla="*/ 3590035 h 4991619"/>
              <a:gd name="connsiteX1217" fmla="*/ 5850206 w 6537372"/>
              <a:gd name="connsiteY1217" fmla="*/ 3584495 h 4991619"/>
              <a:gd name="connsiteX1218" fmla="*/ 5853780 w 6537372"/>
              <a:gd name="connsiteY1218" fmla="*/ 3582888 h 4991619"/>
              <a:gd name="connsiteX1219" fmla="*/ 5873969 w 6537372"/>
              <a:gd name="connsiteY1219" fmla="*/ 3578778 h 4991619"/>
              <a:gd name="connsiteX1220" fmla="*/ 5889514 w 6537372"/>
              <a:gd name="connsiteY1220" fmla="*/ 3577349 h 4991619"/>
              <a:gd name="connsiteX1221" fmla="*/ 5910240 w 6537372"/>
              <a:gd name="connsiteY1221" fmla="*/ 3568951 h 4991619"/>
              <a:gd name="connsiteX1222" fmla="*/ 5922211 w 6537372"/>
              <a:gd name="connsiteY1222" fmla="*/ 3566450 h 4991619"/>
              <a:gd name="connsiteX1223" fmla="*/ 5922746 w 6537372"/>
              <a:gd name="connsiteY1223" fmla="*/ 3562697 h 4991619"/>
              <a:gd name="connsiteX1224" fmla="*/ 5928107 w 6537372"/>
              <a:gd name="connsiteY1224" fmla="*/ 3560196 h 4991619"/>
              <a:gd name="connsiteX1225" fmla="*/ 5950262 w 6537372"/>
              <a:gd name="connsiteY1225" fmla="*/ 3558945 h 4991619"/>
              <a:gd name="connsiteX1226" fmla="*/ 5948296 w 6537372"/>
              <a:gd name="connsiteY1226" fmla="*/ 3551262 h 4991619"/>
              <a:gd name="connsiteX1227" fmla="*/ 5941328 w 6537372"/>
              <a:gd name="connsiteY1227" fmla="*/ 3553586 h 4991619"/>
              <a:gd name="connsiteX1228" fmla="*/ 5908988 w 6537372"/>
              <a:gd name="connsiteY1228" fmla="*/ 3553586 h 4991619"/>
              <a:gd name="connsiteX1229" fmla="*/ 5901486 w 6537372"/>
              <a:gd name="connsiteY1229" fmla="*/ 3551084 h 4991619"/>
              <a:gd name="connsiteX1230" fmla="*/ 5892909 w 6537372"/>
              <a:gd name="connsiteY1230" fmla="*/ 3559838 h 4991619"/>
              <a:gd name="connsiteX1231" fmla="*/ 5910240 w 6537372"/>
              <a:gd name="connsiteY1231" fmla="*/ 3563233 h 4991619"/>
              <a:gd name="connsiteX1232" fmla="*/ 5906130 w 6537372"/>
              <a:gd name="connsiteY1232" fmla="*/ 3566092 h 4991619"/>
              <a:gd name="connsiteX1233" fmla="*/ 5863249 w 6537372"/>
              <a:gd name="connsiteY1233" fmla="*/ 3568772 h 4991619"/>
              <a:gd name="connsiteX1234" fmla="*/ 5861105 w 6537372"/>
              <a:gd name="connsiteY1234" fmla="*/ 3566450 h 4991619"/>
              <a:gd name="connsiteX1235" fmla="*/ 5870932 w 6537372"/>
              <a:gd name="connsiteY1235" fmla="*/ 3564484 h 4991619"/>
              <a:gd name="connsiteX1236" fmla="*/ 5881296 w 6537372"/>
              <a:gd name="connsiteY1236" fmla="*/ 3562877 h 4991619"/>
              <a:gd name="connsiteX1237" fmla="*/ 5889692 w 6537372"/>
              <a:gd name="connsiteY1237" fmla="*/ 3551262 h 4991619"/>
              <a:gd name="connsiteX1238" fmla="*/ 5892372 w 6537372"/>
              <a:gd name="connsiteY1238" fmla="*/ 3548583 h 4991619"/>
              <a:gd name="connsiteX1239" fmla="*/ 5978671 w 6537372"/>
              <a:gd name="connsiteY1239" fmla="*/ 3544473 h 4991619"/>
              <a:gd name="connsiteX1240" fmla="*/ 5977242 w 6537372"/>
              <a:gd name="connsiteY1240" fmla="*/ 3546439 h 4991619"/>
              <a:gd name="connsiteX1241" fmla="*/ 5979742 w 6537372"/>
              <a:gd name="connsiteY1241" fmla="*/ 3547332 h 4991619"/>
              <a:gd name="connsiteX1242" fmla="*/ 5980278 w 6537372"/>
              <a:gd name="connsiteY1242" fmla="*/ 3546259 h 4991619"/>
              <a:gd name="connsiteX1243" fmla="*/ 5978671 w 6537372"/>
              <a:gd name="connsiteY1243" fmla="*/ 3544473 h 4991619"/>
              <a:gd name="connsiteX1244" fmla="*/ 6016214 w 6537372"/>
              <a:gd name="connsiteY1244" fmla="*/ 3543088 h 4991619"/>
              <a:gd name="connsiteX1245" fmla="*/ 6012261 w 6537372"/>
              <a:gd name="connsiteY1245" fmla="*/ 3545366 h 4991619"/>
              <a:gd name="connsiteX1246" fmla="*/ 6019764 w 6537372"/>
              <a:gd name="connsiteY1246" fmla="*/ 3544295 h 4991619"/>
              <a:gd name="connsiteX1247" fmla="*/ 6016214 w 6537372"/>
              <a:gd name="connsiteY1247" fmla="*/ 3543088 h 4991619"/>
              <a:gd name="connsiteX1248" fmla="*/ 5784098 w 6537372"/>
              <a:gd name="connsiteY1248" fmla="*/ 3540185 h 4991619"/>
              <a:gd name="connsiteX1249" fmla="*/ 5773556 w 6537372"/>
              <a:gd name="connsiteY1249" fmla="*/ 3543400 h 4991619"/>
              <a:gd name="connsiteX1250" fmla="*/ 5778380 w 6537372"/>
              <a:gd name="connsiteY1250" fmla="*/ 3543400 h 4991619"/>
              <a:gd name="connsiteX1251" fmla="*/ 5784098 w 6537372"/>
              <a:gd name="connsiteY1251" fmla="*/ 3540363 h 4991619"/>
              <a:gd name="connsiteX1252" fmla="*/ 5932573 w 6537372"/>
              <a:gd name="connsiteY1252" fmla="*/ 3539827 h 4991619"/>
              <a:gd name="connsiteX1253" fmla="*/ 5930072 w 6537372"/>
              <a:gd name="connsiteY1253" fmla="*/ 3540542 h 4991619"/>
              <a:gd name="connsiteX1254" fmla="*/ 5929536 w 6537372"/>
              <a:gd name="connsiteY1254" fmla="*/ 3542151 h 4991619"/>
              <a:gd name="connsiteX1255" fmla="*/ 5930966 w 6537372"/>
              <a:gd name="connsiteY1255" fmla="*/ 3542151 h 4991619"/>
              <a:gd name="connsiteX1256" fmla="*/ 5934180 w 6537372"/>
              <a:gd name="connsiteY1256" fmla="*/ 3539827 h 4991619"/>
              <a:gd name="connsiteX1257" fmla="*/ 5932573 w 6537372"/>
              <a:gd name="connsiteY1257" fmla="*/ 3539827 h 4991619"/>
              <a:gd name="connsiteX1258" fmla="*/ 6063538 w 6537372"/>
              <a:gd name="connsiteY1258" fmla="*/ 3538397 h 4991619"/>
              <a:gd name="connsiteX1259" fmla="*/ 6039776 w 6537372"/>
              <a:gd name="connsiteY1259" fmla="*/ 3541256 h 4991619"/>
              <a:gd name="connsiteX1260" fmla="*/ 6030842 w 6537372"/>
              <a:gd name="connsiteY1260" fmla="*/ 3544473 h 4991619"/>
              <a:gd name="connsiteX1261" fmla="*/ 6024589 w 6537372"/>
              <a:gd name="connsiteY1261" fmla="*/ 3549832 h 4991619"/>
              <a:gd name="connsiteX1262" fmla="*/ 6054069 w 6537372"/>
              <a:gd name="connsiteY1262" fmla="*/ 3548403 h 4991619"/>
              <a:gd name="connsiteX1263" fmla="*/ 6055498 w 6537372"/>
              <a:gd name="connsiteY1263" fmla="*/ 3547332 h 4991619"/>
              <a:gd name="connsiteX1264" fmla="*/ 6058894 w 6537372"/>
              <a:gd name="connsiteY1264" fmla="*/ 3547332 h 4991619"/>
              <a:gd name="connsiteX1265" fmla="*/ 6061930 w 6537372"/>
              <a:gd name="connsiteY1265" fmla="*/ 3546439 h 4991619"/>
              <a:gd name="connsiteX1266" fmla="*/ 6076582 w 6537372"/>
              <a:gd name="connsiteY1266" fmla="*/ 3541971 h 4991619"/>
              <a:gd name="connsiteX1267" fmla="*/ 6078368 w 6537372"/>
              <a:gd name="connsiteY1267" fmla="*/ 3540900 h 4991619"/>
              <a:gd name="connsiteX1268" fmla="*/ 6063718 w 6537372"/>
              <a:gd name="connsiteY1268" fmla="*/ 3538578 h 4991619"/>
              <a:gd name="connsiteX1269" fmla="*/ 5967414 w 6537372"/>
              <a:gd name="connsiteY1269" fmla="*/ 3530001 h 4991619"/>
              <a:gd name="connsiteX1270" fmla="*/ 5952048 w 6537372"/>
              <a:gd name="connsiteY1270" fmla="*/ 3533216 h 4991619"/>
              <a:gd name="connsiteX1271" fmla="*/ 5934359 w 6537372"/>
              <a:gd name="connsiteY1271" fmla="*/ 3539292 h 4991619"/>
              <a:gd name="connsiteX1272" fmla="*/ 5934717 w 6537372"/>
              <a:gd name="connsiteY1272" fmla="*/ 3539470 h 4991619"/>
              <a:gd name="connsiteX1273" fmla="*/ 5941864 w 6537372"/>
              <a:gd name="connsiteY1273" fmla="*/ 3541256 h 4991619"/>
              <a:gd name="connsiteX1274" fmla="*/ 5949189 w 6537372"/>
              <a:gd name="connsiteY1274" fmla="*/ 3543937 h 4991619"/>
              <a:gd name="connsiteX1275" fmla="*/ 5949189 w 6537372"/>
              <a:gd name="connsiteY1275" fmla="*/ 3543580 h 4991619"/>
              <a:gd name="connsiteX1276" fmla="*/ 5954550 w 6537372"/>
              <a:gd name="connsiteY1276" fmla="*/ 3536612 h 4991619"/>
              <a:gd name="connsiteX1277" fmla="*/ 5959374 w 6537372"/>
              <a:gd name="connsiteY1277" fmla="*/ 3536612 h 4991619"/>
              <a:gd name="connsiteX1278" fmla="*/ 5960624 w 6537372"/>
              <a:gd name="connsiteY1278" fmla="*/ 3534646 h 4991619"/>
              <a:gd name="connsiteX1279" fmla="*/ 5967414 w 6537372"/>
              <a:gd name="connsiteY1279" fmla="*/ 3530001 h 4991619"/>
              <a:gd name="connsiteX1280" fmla="*/ 6002612 w 6537372"/>
              <a:gd name="connsiteY1280" fmla="*/ 3529465 h 4991619"/>
              <a:gd name="connsiteX1281" fmla="*/ 5976168 w 6537372"/>
              <a:gd name="connsiteY1281" fmla="*/ 3531609 h 4991619"/>
              <a:gd name="connsiteX1282" fmla="*/ 5979742 w 6537372"/>
              <a:gd name="connsiteY1282" fmla="*/ 3536612 h 4991619"/>
              <a:gd name="connsiteX1283" fmla="*/ 6039597 w 6537372"/>
              <a:gd name="connsiteY1283" fmla="*/ 3535182 h 4991619"/>
              <a:gd name="connsiteX1284" fmla="*/ 6019408 w 6537372"/>
              <a:gd name="connsiteY1284" fmla="*/ 3531431 h 4991619"/>
              <a:gd name="connsiteX1285" fmla="*/ 6002970 w 6537372"/>
              <a:gd name="connsiteY1285" fmla="*/ 3529465 h 4991619"/>
              <a:gd name="connsiteX1286" fmla="*/ 6103382 w 6537372"/>
              <a:gd name="connsiteY1286" fmla="*/ 3527321 h 4991619"/>
              <a:gd name="connsiteX1287" fmla="*/ 6092126 w 6537372"/>
              <a:gd name="connsiteY1287" fmla="*/ 3527857 h 4991619"/>
              <a:gd name="connsiteX1288" fmla="*/ 6087837 w 6537372"/>
              <a:gd name="connsiteY1288" fmla="*/ 3530536 h 4991619"/>
              <a:gd name="connsiteX1289" fmla="*/ 6092484 w 6537372"/>
              <a:gd name="connsiteY1289" fmla="*/ 3532680 h 4991619"/>
              <a:gd name="connsiteX1290" fmla="*/ 6093554 w 6537372"/>
              <a:gd name="connsiteY1290" fmla="*/ 3532680 h 4991619"/>
              <a:gd name="connsiteX1291" fmla="*/ 6103382 w 6537372"/>
              <a:gd name="connsiteY1291" fmla="*/ 3527321 h 4991619"/>
              <a:gd name="connsiteX1292" fmla="*/ 6225236 w 6537372"/>
              <a:gd name="connsiteY1292" fmla="*/ 3519101 h 4991619"/>
              <a:gd name="connsiteX1293" fmla="*/ 6225592 w 6537372"/>
              <a:gd name="connsiteY1293" fmla="*/ 3520530 h 4991619"/>
              <a:gd name="connsiteX1294" fmla="*/ 6230596 w 6537372"/>
              <a:gd name="connsiteY1294" fmla="*/ 3519459 h 4991619"/>
              <a:gd name="connsiteX1295" fmla="*/ 6225236 w 6537372"/>
              <a:gd name="connsiteY1295" fmla="*/ 3519101 h 4991619"/>
              <a:gd name="connsiteX1296" fmla="*/ 5810899 w 6537372"/>
              <a:gd name="connsiteY1296" fmla="*/ 3517493 h 4991619"/>
              <a:gd name="connsiteX1297" fmla="*/ 5809648 w 6537372"/>
              <a:gd name="connsiteY1297" fmla="*/ 3517672 h 4991619"/>
              <a:gd name="connsiteX1298" fmla="*/ 5809470 w 6537372"/>
              <a:gd name="connsiteY1298" fmla="*/ 3517852 h 4991619"/>
              <a:gd name="connsiteX1299" fmla="*/ 5804286 w 6537372"/>
              <a:gd name="connsiteY1299" fmla="*/ 3519816 h 4991619"/>
              <a:gd name="connsiteX1300" fmla="*/ 5810899 w 6537372"/>
              <a:gd name="connsiteY1300" fmla="*/ 3518923 h 4991619"/>
              <a:gd name="connsiteX1301" fmla="*/ 5810899 w 6537372"/>
              <a:gd name="connsiteY1301" fmla="*/ 3517493 h 4991619"/>
              <a:gd name="connsiteX1302" fmla="*/ 6033522 w 6537372"/>
              <a:gd name="connsiteY1302" fmla="*/ 3514635 h 4991619"/>
              <a:gd name="connsiteX1303" fmla="*/ 6030842 w 6537372"/>
              <a:gd name="connsiteY1303" fmla="*/ 3515171 h 4991619"/>
              <a:gd name="connsiteX1304" fmla="*/ 6031021 w 6537372"/>
              <a:gd name="connsiteY1304" fmla="*/ 3515349 h 4991619"/>
              <a:gd name="connsiteX1305" fmla="*/ 6034058 w 6537372"/>
              <a:gd name="connsiteY1305" fmla="*/ 3517137 h 4991619"/>
              <a:gd name="connsiteX1306" fmla="*/ 6036024 w 6537372"/>
              <a:gd name="connsiteY1306" fmla="*/ 3515528 h 4991619"/>
              <a:gd name="connsiteX1307" fmla="*/ 6033522 w 6537372"/>
              <a:gd name="connsiteY1307" fmla="*/ 3514635 h 4991619"/>
              <a:gd name="connsiteX1308" fmla="*/ 5989033 w 6537372"/>
              <a:gd name="connsiteY1308" fmla="*/ 3504988 h 4991619"/>
              <a:gd name="connsiteX1309" fmla="*/ 5981886 w 6537372"/>
              <a:gd name="connsiteY1309" fmla="*/ 3506417 h 4991619"/>
              <a:gd name="connsiteX1310" fmla="*/ 5914884 w 6537372"/>
              <a:gd name="connsiteY1310" fmla="*/ 3516422 h 4991619"/>
              <a:gd name="connsiteX1311" fmla="*/ 5874148 w 6537372"/>
              <a:gd name="connsiteY1311" fmla="*/ 3525177 h 4991619"/>
              <a:gd name="connsiteX1312" fmla="*/ 5874148 w 6537372"/>
              <a:gd name="connsiteY1312" fmla="*/ 3525533 h 4991619"/>
              <a:gd name="connsiteX1313" fmla="*/ 5872362 w 6537372"/>
              <a:gd name="connsiteY1313" fmla="*/ 3527677 h 4991619"/>
              <a:gd name="connsiteX1314" fmla="*/ 5853065 w 6537372"/>
              <a:gd name="connsiteY1314" fmla="*/ 3529287 h 4991619"/>
              <a:gd name="connsiteX1315" fmla="*/ 5841986 w 6537372"/>
              <a:gd name="connsiteY1315" fmla="*/ 3530180 h 4991619"/>
              <a:gd name="connsiteX1316" fmla="*/ 5831446 w 6537372"/>
              <a:gd name="connsiteY1316" fmla="*/ 3528392 h 4991619"/>
              <a:gd name="connsiteX1317" fmla="*/ 5832340 w 6537372"/>
              <a:gd name="connsiteY1317" fmla="*/ 3531965 h 4991619"/>
              <a:gd name="connsiteX1318" fmla="*/ 5819654 w 6537372"/>
              <a:gd name="connsiteY1318" fmla="*/ 3529287 h 4991619"/>
              <a:gd name="connsiteX1319" fmla="*/ 5808755 w 6537372"/>
              <a:gd name="connsiteY1319" fmla="*/ 3532145 h 4991619"/>
              <a:gd name="connsiteX1320" fmla="*/ 5809648 w 6537372"/>
              <a:gd name="connsiteY1320" fmla="*/ 3535182 h 4991619"/>
              <a:gd name="connsiteX1321" fmla="*/ 5809648 w 6537372"/>
              <a:gd name="connsiteY1321" fmla="*/ 3535539 h 4991619"/>
              <a:gd name="connsiteX1322" fmla="*/ 5798213 w 6537372"/>
              <a:gd name="connsiteY1322" fmla="*/ 3538578 h 4991619"/>
              <a:gd name="connsiteX1323" fmla="*/ 5790888 w 6537372"/>
              <a:gd name="connsiteY1323" fmla="*/ 3546259 h 4991619"/>
              <a:gd name="connsiteX1324" fmla="*/ 5839308 w 6537372"/>
              <a:gd name="connsiteY1324" fmla="*/ 3542151 h 4991619"/>
              <a:gd name="connsiteX1325" fmla="*/ 5842345 w 6537372"/>
              <a:gd name="connsiteY1325" fmla="*/ 3542686 h 4991619"/>
              <a:gd name="connsiteX1326" fmla="*/ 5858782 w 6537372"/>
              <a:gd name="connsiteY1326" fmla="*/ 3535539 h 4991619"/>
              <a:gd name="connsiteX1327" fmla="*/ 5864500 w 6537372"/>
              <a:gd name="connsiteY1327" fmla="*/ 3535182 h 4991619"/>
              <a:gd name="connsiteX1328" fmla="*/ 5915064 w 6537372"/>
              <a:gd name="connsiteY1328" fmla="*/ 3527499 h 4991619"/>
              <a:gd name="connsiteX1329" fmla="*/ 5957408 w 6537372"/>
              <a:gd name="connsiteY1329" fmla="*/ 3521067 h 4991619"/>
              <a:gd name="connsiteX1330" fmla="*/ 5989033 w 6537372"/>
              <a:gd name="connsiteY1330" fmla="*/ 3504988 h 4991619"/>
              <a:gd name="connsiteX1331" fmla="*/ 5904700 w 6537372"/>
              <a:gd name="connsiteY1331" fmla="*/ 3500163 h 4991619"/>
              <a:gd name="connsiteX1332" fmla="*/ 5890585 w 6537372"/>
              <a:gd name="connsiteY1332" fmla="*/ 3501949 h 4991619"/>
              <a:gd name="connsiteX1333" fmla="*/ 5894695 w 6537372"/>
              <a:gd name="connsiteY1333" fmla="*/ 3502663 h 4991619"/>
              <a:gd name="connsiteX1334" fmla="*/ 5896124 w 6537372"/>
              <a:gd name="connsiteY1334" fmla="*/ 3502663 h 4991619"/>
              <a:gd name="connsiteX1335" fmla="*/ 5904700 w 6537372"/>
              <a:gd name="connsiteY1335" fmla="*/ 3500163 h 4991619"/>
              <a:gd name="connsiteX1336" fmla="*/ 6001004 w 6537372"/>
              <a:gd name="connsiteY1336" fmla="*/ 3499270 h 4991619"/>
              <a:gd name="connsiteX1337" fmla="*/ 5996361 w 6537372"/>
              <a:gd name="connsiteY1337" fmla="*/ 3501680 h 4991619"/>
              <a:gd name="connsiteX1338" fmla="*/ 5991535 w 6537372"/>
              <a:gd name="connsiteY1338" fmla="*/ 3503736 h 4991619"/>
              <a:gd name="connsiteX1339" fmla="*/ 5991714 w 6537372"/>
              <a:gd name="connsiteY1339" fmla="*/ 3504093 h 4991619"/>
              <a:gd name="connsiteX1340" fmla="*/ 5996361 w 6537372"/>
              <a:gd name="connsiteY1340" fmla="*/ 3501680 h 4991619"/>
              <a:gd name="connsiteX1341" fmla="*/ 6001182 w 6537372"/>
              <a:gd name="connsiteY1341" fmla="*/ 3499626 h 4991619"/>
              <a:gd name="connsiteX1342" fmla="*/ 6001004 w 6537372"/>
              <a:gd name="connsiteY1342" fmla="*/ 3499270 h 4991619"/>
              <a:gd name="connsiteX1343" fmla="*/ 5913276 w 6537372"/>
              <a:gd name="connsiteY1343" fmla="*/ 3492658 h 4991619"/>
              <a:gd name="connsiteX1344" fmla="*/ 5902556 w 6537372"/>
              <a:gd name="connsiteY1344" fmla="*/ 3495697 h 4991619"/>
              <a:gd name="connsiteX1345" fmla="*/ 5902378 w 6537372"/>
              <a:gd name="connsiteY1345" fmla="*/ 3495697 h 4991619"/>
              <a:gd name="connsiteX1346" fmla="*/ 5907381 w 6537372"/>
              <a:gd name="connsiteY1346" fmla="*/ 3499448 h 4991619"/>
              <a:gd name="connsiteX1347" fmla="*/ 5913276 w 6537372"/>
              <a:gd name="connsiteY1347" fmla="*/ 3492658 h 4991619"/>
              <a:gd name="connsiteX1348" fmla="*/ 6026554 w 6537372"/>
              <a:gd name="connsiteY1348" fmla="*/ 3459963 h 4991619"/>
              <a:gd name="connsiteX1349" fmla="*/ 5974024 w 6537372"/>
              <a:gd name="connsiteY1349" fmla="*/ 3471754 h 4991619"/>
              <a:gd name="connsiteX1350" fmla="*/ 5962948 w 6537372"/>
              <a:gd name="connsiteY1350" fmla="*/ 3473005 h 4991619"/>
              <a:gd name="connsiteX1351" fmla="*/ 5892194 w 6537372"/>
              <a:gd name="connsiteY1351" fmla="*/ 3483189 h 4991619"/>
              <a:gd name="connsiteX1352" fmla="*/ 5877364 w 6537372"/>
              <a:gd name="connsiteY1352" fmla="*/ 3491050 h 4991619"/>
              <a:gd name="connsiteX1353" fmla="*/ 5917564 w 6537372"/>
              <a:gd name="connsiteY1353" fmla="*/ 3486940 h 4991619"/>
              <a:gd name="connsiteX1354" fmla="*/ 5918101 w 6537372"/>
              <a:gd name="connsiteY1354" fmla="*/ 3486584 h 4991619"/>
              <a:gd name="connsiteX1355" fmla="*/ 5939900 w 6537372"/>
              <a:gd name="connsiteY1355" fmla="*/ 3480867 h 4991619"/>
              <a:gd name="connsiteX1356" fmla="*/ 5996358 w 6537372"/>
              <a:gd name="connsiteY1356" fmla="*/ 3477115 h 4991619"/>
              <a:gd name="connsiteX1357" fmla="*/ 5997072 w 6537372"/>
              <a:gd name="connsiteY1357" fmla="*/ 3477115 h 4991619"/>
              <a:gd name="connsiteX1358" fmla="*/ 5999216 w 6537372"/>
              <a:gd name="connsiteY1358" fmla="*/ 3476757 h 4991619"/>
              <a:gd name="connsiteX1359" fmla="*/ 6040490 w 6537372"/>
              <a:gd name="connsiteY1359" fmla="*/ 3473361 h 4991619"/>
              <a:gd name="connsiteX1360" fmla="*/ 6041741 w 6537372"/>
              <a:gd name="connsiteY1360" fmla="*/ 3473361 h 4991619"/>
              <a:gd name="connsiteX1361" fmla="*/ 6063004 w 6537372"/>
              <a:gd name="connsiteY1361" fmla="*/ 3465322 h 4991619"/>
              <a:gd name="connsiteX1362" fmla="*/ 6065682 w 6537372"/>
              <a:gd name="connsiteY1362" fmla="*/ 3464071 h 4991619"/>
              <a:gd name="connsiteX1363" fmla="*/ 6027270 w 6537372"/>
              <a:gd name="connsiteY1363" fmla="*/ 3459963 h 4991619"/>
              <a:gd name="connsiteX1364" fmla="*/ 6026018 w 6537372"/>
              <a:gd name="connsiteY1364" fmla="*/ 3460319 h 4991619"/>
              <a:gd name="connsiteX1365" fmla="*/ 5944366 w 6537372"/>
              <a:gd name="connsiteY1365" fmla="*/ 3453709 h 4991619"/>
              <a:gd name="connsiteX1366" fmla="*/ 5927570 w 6537372"/>
              <a:gd name="connsiteY1366" fmla="*/ 3457460 h 4991619"/>
              <a:gd name="connsiteX1367" fmla="*/ 5935254 w 6537372"/>
              <a:gd name="connsiteY1367" fmla="*/ 3456031 h 4991619"/>
              <a:gd name="connsiteX1368" fmla="*/ 5944008 w 6537372"/>
              <a:gd name="connsiteY1368" fmla="*/ 3456924 h 4991619"/>
              <a:gd name="connsiteX1369" fmla="*/ 5944366 w 6537372"/>
              <a:gd name="connsiteY1369" fmla="*/ 3453709 h 4991619"/>
              <a:gd name="connsiteX1370" fmla="*/ 5947760 w 6537372"/>
              <a:gd name="connsiteY1370" fmla="*/ 3436198 h 4991619"/>
              <a:gd name="connsiteX1371" fmla="*/ 5927214 w 6537372"/>
              <a:gd name="connsiteY1371" fmla="*/ 3441381 h 4991619"/>
              <a:gd name="connsiteX1372" fmla="*/ 5911669 w 6537372"/>
              <a:gd name="connsiteY1372" fmla="*/ 3445669 h 4991619"/>
              <a:gd name="connsiteX1373" fmla="*/ 5911848 w 6537372"/>
              <a:gd name="connsiteY1373" fmla="*/ 3445489 h 4991619"/>
              <a:gd name="connsiteX1374" fmla="*/ 5911489 w 6537372"/>
              <a:gd name="connsiteY1374" fmla="*/ 3445311 h 4991619"/>
              <a:gd name="connsiteX1375" fmla="*/ 5888978 w 6537372"/>
              <a:gd name="connsiteY1375" fmla="*/ 3451028 h 4991619"/>
              <a:gd name="connsiteX1376" fmla="*/ 5902200 w 6537372"/>
              <a:gd name="connsiteY1376" fmla="*/ 3451028 h 4991619"/>
              <a:gd name="connsiteX1377" fmla="*/ 5926319 w 6537372"/>
              <a:gd name="connsiteY1377" fmla="*/ 3448528 h 4991619"/>
              <a:gd name="connsiteX1378" fmla="*/ 5928463 w 6537372"/>
              <a:gd name="connsiteY1378" fmla="*/ 3448348 h 4991619"/>
              <a:gd name="connsiteX1379" fmla="*/ 5932395 w 6537372"/>
              <a:gd name="connsiteY1379" fmla="*/ 3445132 h 4991619"/>
              <a:gd name="connsiteX1380" fmla="*/ 5961338 w 6537372"/>
              <a:gd name="connsiteY1380" fmla="*/ 3438879 h 4991619"/>
              <a:gd name="connsiteX1381" fmla="*/ 5960982 w 6537372"/>
              <a:gd name="connsiteY1381" fmla="*/ 3437627 h 4991619"/>
              <a:gd name="connsiteX1382" fmla="*/ 5956516 w 6537372"/>
              <a:gd name="connsiteY1382" fmla="*/ 3436198 h 4991619"/>
              <a:gd name="connsiteX1383" fmla="*/ 5947760 w 6537372"/>
              <a:gd name="connsiteY1383" fmla="*/ 3436198 h 4991619"/>
              <a:gd name="connsiteX1384" fmla="*/ 6270976 w 6537372"/>
              <a:gd name="connsiteY1384" fmla="*/ 3411721 h 4991619"/>
              <a:gd name="connsiteX1385" fmla="*/ 6270976 w 6537372"/>
              <a:gd name="connsiteY1385" fmla="*/ 3413508 h 4991619"/>
              <a:gd name="connsiteX1386" fmla="*/ 6272584 w 6537372"/>
              <a:gd name="connsiteY1386" fmla="*/ 3412613 h 4991619"/>
              <a:gd name="connsiteX1387" fmla="*/ 6000112 w 6537372"/>
              <a:gd name="connsiteY1387" fmla="*/ 3367589 h 4991619"/>
              <a:gd name="connsiteX1388" fmla="*/ 5996538 w 6537372"/>
              <a:gd name="connsiteY1388" fmla="*/ 3368125 h 4991619"/>
              <a:gd name="connsiteX1389" fmla="*/ 5997072 w 6537372"/>
              <a:gd name="connsiteY1389" fmla="*/ 3371877 h 4991619"/>
              <a:gd name="connsiteX1390" fmla="*/ 5998860 w 6537372"/>
              <a:gd name="connsiteY1390" fmla="*/ 3370984 h 4991619"/>
              <a:gd name="connsiteX1391" fmla="*/ 6000112 w 6537372"/>
              <a:gd name="connsiteY1391" fmla="*/ 3367589 h 4991619"/>
              <a:gd name="connsiteX1392" fmla="*/ 6040134 w 6537372"/>
              <a:gd name="connsiteY1392" fmla="*/ 3359371 h 4991619"/>
              <a:gd name="connsiteX1393" fmla="*/ 6039777 w 6537372"/>
              <a:gd name="connsiteY1393" fmla="*/ 3359549 h 4991619"/>
              <a:gd name="connsiteX1394" fmla="*/ 6039060 w 6537372"/>
              <a:gd name="connsiteY1394" fmla="*/ 3359549 h 4991619"/>
              <a:gd name="connsiteX1395" fmla="*/ 6039419 w 6537372"/>
              <a:gd name="connsiteY1395" fmla="*/ 3359727 h 4991619"/>
              <a:gd name="connsiteX1396" fmla="*/ 6039777 w 6537372"/>
              <a:gd name="connsiteY1396" fmla="*/ 3359549 h 4991619"/>
              <a:gd name="connsiteX1397" fmla="*/ 6040134 w 6537372"/>
              <a:gd name="connsiteY1397" fmla="*/ 3359549 h 4991619"/>
              <a:gd name="connsiteX1398" fmla="*/ 6164130 w 6537372"/>
              <a:gd name="connsiteY1398" fmla="*/ 3334535 h 4991619"/>
              <a:gd name="connsiteX1399" fmla="*/ 6161986 w 6537372"/>
              <a:gd name="connsiteY1399" fmla="*/ 3335250 h 4991619"/>
              <a:gd name="connsiteX1400" fmla="*/ 6166988 w 6537372"/>
              <a:gd name="connsiteY1400" fmla="*/ 3335071 h 4991619"/>
              <a:gd name="connsiteX1401" fmla="*/ 6166988 w 6537372"/>
              <a:gd name="connsiteY1401" fmla="*/ 3334535 h 4991619"/>
              <a:gd name="connsiteX1402" fmla="*/ 6164130 w 6537372"/>
              <a:gd name="connsiteY1402" fmla="*/ 3334535 h 4991619"/>
              <a:gd name="connsiteX1403" fmla="*/ 6109992 w 6537372"/>
              <a:gd name="connsiteY1403" fmla="*/ 3332927 h 4991619"/>
              <a:gd name="connsiteX1404" fmla="*/ 6107848 w 6537372"/>
              <a:gd name="connsiteY1404" fmla="*/ 3333464 h 4991619"/>
              <a:gd name="connsiteX1405" fmla="*/ 6107848 w 6537372"/>
              <a:gd name="connsiteY1405" fmla="*/ 3333284 h 4991619"/>
              <a:gd name="connsiteX1406" fmla="*/ 6103918 w 6537372"/>
              <a:gd name="connsiteY1406" fmla="*/ 3333999 h 4991619"/>
              <a:gd name="connsiteX1407" fmla="*/ 6118212 w 6537372"/>
              <a:gd name="connsiteY1407" fmla="*/ 3333642 h 4991619"/>
              <a:gd name="connsiteX1408" fmla="*/ 6109992 w 6537372"/>
              <a:gd name="connsiteY1408" fmla="*/ 3332927 h 4991619"/>
              <a:gd name="connsiteX1409" fmla="*/ 580144 w 6537372"/>
              <a:gd name="connsiteY1409" fmla="*/ 3244485 h 4991619"/>
              <a:gd name="connsiteX1410" fmla="*/ 575141 w 6537372"/>
              <a:gd name="connsiteY1410" fmla="*/ 3246987 h 4991619"/>
              <a:gd name="connsiteX1411" fmla="*/ 575677 w 6537372"/>
              <a:gd name="connsiteY1411" fmla="*/ 3247880 h 4991619"/>
              <a:gd name="connsiteX1412" fmla="*/ 580680 w 6537372"/>
              <a:gd name="connsiteY1412" fmla="*/ 3245378 h 4991619"/>
              <a:gd name="connsiteX1413" fmla="*/ 580144 w 6537372"/>
              <a:gd name="connsiteY1413" fmla="*/ 3244485 h 4991619"/>
              <a:gd name="connsiteX1414" fmla="*/ 387716 w 6537372"/>
              <a:gd name="connsiteY1414" fmla="*/ 3235731 h 4991619"/>
              <a:gd name="connsiteX1415" fmla="*/ 386821 w 6537372"/>
              <a:gd name="connsiteY1415" fmla="*/ 3241805 h 4991619"/>
              <a:gd name="connsiteX1416" fmla="*/ 391646 w 6537372"/>
              <a:gd name="connsiteY1416" fmla="*/ 3246807 h 4991619"/>
              <a:gd name="connsiteX1417" fmla="*/ 396649 w 6537372"/>
              <a:gd name="connsiteY1417" fmla="*/ 3243592 h 4991619"/>
              <a:gd name="connsiteX1418" fmla="*/ 387716 w 6537372"/>
              <a:gd name="connsiteY1418" fmla="*/ 3235731 h 4991619"/>
              <a:gd name="connsiteX1419" fmla="*/ 564957 w 6537372"/>
              <a:gd name="connsiteY1419" fmla="*/ 3221259 h 4991619"/>
              <a:gd name="connsiteX1420" fmla="*/ 562813 w 6537372"/>
              <a:gd name="connsiteY1420" fmla="*/ 3221615 h 4991619"/>
              <a:gd name="connsiteX1421" fmla="*/ 562813 w 6537372"/>
              <a:gd name="connsiteY1421" fmla="*/ 3224118 h 4991619"/>
              <a:gd name="connsiteX1422" fmla="*/ 565850 w 6537372"/>
              <a:gd name="connsiteY1422" fmla="*/ 3223403 h 4991619"/>
              <a:gd name="connsiteX1423" fmla="*/ 566028 w 6537372"/>
              <a:gd name="connsiteY1423" fmla="*/ 3223223 h 4991619"/>
              <a:gd name="connsiteX1424" fmla="*/ 564957 w 6537372"/>
              <a:gd name="connsiteY1424" fmla="*/ 3221259 h 4991619"/>
              <a:gd name="connsiteX1425" fmla="*/ 584432 w 6537372"/>
              <a:gd name="connsiteY1425" fmla="*/ 3218935 h 4991619"/>
              <a:gd name="connsiteX1426" fmla="*/ 581751 w 6537372"/>
              <a:gd name="connsiteY1426" fmla="*/ 3220186 h 4991619"/>
              <a:gd name="connsiteX1427" fmla="*/ 584073 w 6537372"/>
              <a:gd name="connsiteY1427" fmla="*/ 3219649 h 4991619"/>
              <a:gd name="connsiteX1428" fmla="*/ 584432 w 6537372"/>
              <a:gd name="connsiteY1428" fmla="*/ 3218935 h 4991619"/>
              <a:gd name="connsiteX1429" fmla="*/ 584252 w 6537372"/>
              <a:gd name="connsiteY1429" fmla="*/ 3205356 h 4991619"/>
              <a:gd name="connsiteX1430" fmla="*/ 578356 w 6537372"/>
              <a:gd name="connsiteY1430" fmla="*/ 3207322 h 4991619"/>
              <a:gd name="connsiteX1431" fmla="*/ 575141 w 6537372"/>
              <a:gd name="connsiteY1431" fmla="*/ 3210002 h 4991619"/>
              <a:gd name="connsiteX1432" fmla="*/ 573890 w 6537372"/>
              <a:gd name="connsiteY1432" fmla="*/ 3209466 h 4991619"/>
              <a:gd name="connsiteX1433" fmla="*/ 581751 w 6537372"/>
              <a:gd name="connsiteY1433" fmla="*/ 3210717 h 4991619"/>
              <a:gd name="connsiteX1434" fmla="*/ 584252 w 6537372"/>
              <a:gd name="connsiteY1434" fmla="*/ 3205356 h 4991619"/>
              <a:gd name="connsiteX1435" fmla="*/ 589791 w 6537372"/>
              <a:gd name="connsiteY1435" fmla="*/ 3181771 h 4991619"/>
              <a:gd name="connsiteX1436" fmla="*/ 528686 w 6537372"/>
              <a:gd name="connsiteY1436" fmla="*/ 3214647 h 4991619"/>
              <a:gd name="connsiteX1437" fmla="*/ 528508 w 6537372"/>
              <a:gd name="connsiteY1437" fmla="*/ 3215361 h 4991619"/>
              <a:gd name="connsiteX1438" fmla="*/ 532616 w 6537372"/>
              <a:gd name="connsiteY1438" fmla="*/ 3221437 h 4991619"/>
              <a:gd name="connsiteX1439" fmla="*/ 533153 w 6537372"/>
              <a:gd name="connsiteY1439" fmla="*/ 3221437 h 4991619"/>
              <a:gd name="connsiteX1440" fmla="*/ 533153 w 6537372"/>
              <a:gd name="connsiteY1440" fmla="*/ 3224474 h 4991619"/>
              <a:gd name="connsiteX1441" fmla="*/ 534940 w 6537372"/>
              <a:gd name="connsiteY1441" fmla="*/ 3225547 h 4991619"/>
              <a:gd name="connsiteX1442" fmla="*/ 548876 w 6537372"/>
              <a:gd name="connsiteY1442" fmla="*/ 3218935 h 4991619"/>
              <a:gd name="connsiteX1443" fmla="*/ 560669 w 6537372"/>
              <a:gd name="connsiteY1443" fmla="*/ 3216076 h 4991619"/>
              <a:gd name="connsiteX1444" fmla="*/ 570494 w 6537372"/>
              <a:gd name="connsiteY1444" fmla="*/ 3206251 h 4991619"/>
              <a:gd name="connsiteX1445" fmla="*/ 573353 w 6537372"/>
              <a:gd name="connsiteY1445" fmla="*/ 3203212 h 4991619"/>
              <a:gd name="connsiteX1446" fmla="*/ 577107 w 6537372"/>
              <a:gd name="connsiteY1446" fmla="*/ 3196423 h 4991619"/>
              <a:gd name="connsiteX1447" fmla="*/ 577821 w 6537372"/>
              <a:gd name="connsiteY1447" fmla="*/ 3198031 h 4991619"/>
              <a:gd name="connsiteX1448" fmla="*/ 581393 w 6537372"/>
              <a:gd name="connsiteY1448" fmla="*/ 3190169 h 4991619"/>
              <a:gd name="connsiteX1449" fmla="*/ 581573 w 6537372"/>
              <a:gd name="connsiteY1449" fmla="*/ 3189991 h 4991619"/>
              <a:gd name="connsiteX1450" fmla="*/ 589791 w 6537372"/>
              <a:gd name="connsiteY1450" fmla="*/ 3181771 h 4991619"/>
              <a:gd name="connsiteX1451" fmla="*/ 427558 w 6537372"/>
              <a:gd name="connsiteY1451" fmla="*/ 3178378 h 4991619"/>
              <a:gd name="connsiteX1452" fmla="*/ 425772 w 6537372"/>
              <a:gd name="connsiteY1452" fmla="*/ 3180700 h 4991619"/>
              <a:gd name="connsiteX1453" fmla="*/ 428987 w 6537372"/>
              <a:gd name="connsiteY1453" fmla="*/ 3179627 h 4991619"/>
              <a:gd name="connsiteX1454" fmla="*/ 427558 w 6537372"/>
              <a:gd name="connsiteY1454" fmla="*/ 3178378 h 4991619"/>
              <a:gd name="connsiteX1455" fmla="*/ 411120 w 6537372"/>
              <a:gd name="connsiteY1455" fmla="*/ 3176234 h 4991619"/>
              <a:gd name="connsiteX1456" fmla="*/ 394148 w 6537372"/>
              <a:gd name="connsiteY1456" fmla="*/ 3194636 h 4991619"/>
              <a:gd name="connsiteX1457" fmla="*/ 411479 w 6537372"/>
              <a:gd name="connsiteY1457" fmla="*/ 3186596 h 4991619"/>
              <a:gd name="connsiteX1458" fmla="*/ 419877 w 6537372"/>
              <a:gd name="connsiteY1458" fmla="*/ 3182844 h 4991619"/>
              <a:gd name="connsiteX1459" fmla="*/ 419877 w 6537372"/>
              <a:gd name="connsiteY1459" fmla="*/ 3183022 h 4991619"/>
              <a:gd name="connsiteX1460" fmla="*/ 426487 w 6537372"/>
              <a:gd name="connsiteY1460" fmla="*/ 3177483 h 4991619"/>
              <a:gd name="connsiteX1461" fmla="*/ 411120 w 6537372"/>
              <a:gd name="connsiteY1461" fmla="*/ 3176234 h 4991619"/>
              <a:gd name="connsiteX1462" fmla="*/ 409691 w 6537372"/>
              <a:gd name="connsiteY1462" fmla="*/ 3169265 h 4991619"/>
              <a:gd name="connsiteX1463" fmla="*/ 408798 w 6537372"/>
              <a:gd name="connsiteY1463" fmla="*/ 3170336 h 4991619"/>
              <a:gd name="connsiteX1464" fmla="*/ 410942 w 6537372"/>
              <a:gd name="connsiteY1464" fmla="*/ 3169265 h 4991619"/>
              <a:gd name="connsiteX1465" fmla="*/ 409691 w 6537372"/>
              <a:gd name="connsiteY1465" fmla="*/ 3169265 h 4991619"/>
              <a:gd name="connsiteX1466" fmla="*/ 349658 w 6537372"/>
              <a:gd name="connsiteY1466" fmla="*/ 3162297 h 4991619"/>
              <a:gd name="connsiteX1467" fmla="*/ 349301 w 6537372"/>
              <a:gd name="connsiteY1467" fmla="*/ 3163548 h 4991619"/>
              <a:gd name="connsiteX1468" fmla="*/ 350372 w 6537372"/>
              <a:gd name="connsiteY1468" fmla="*/ 3164441 h 4991619"/>
              <a:gd name="connsiteX1469" fmla="*/ 351445 w 6537372"/>
              <a:gd name="connsiteY1469" fmla="*/ 3163548 h 4991619"/>
              <a:gd name="connsiteX1470" fmla="*/ 349658 w 6537372"/>
              <a:gd name="connsiteY1470" fmla="*/ 3162297 h 4991619"/>
              <a:gd name="connsiteX1471" fmla="*/ 482054 w 6537372"/>
              <a:gd name="connsiteY1471" fmla="*/ 3148540 h 4991619"/>
              <a:gd name="connsiteX1472" fmla="*/ 480088 w 6537372"/>
              <a:gd name="connsiteY1472" fmla="*/ 3150862 h 4991619"/>
              <a:gd name="connsiteX1473" fmla="*/ 482232 w 6537372"/>
              <a:gd name="connsiteY1473" fmla="*/ 3152291 h 4991619"/>
              <a:gd name="connsiteX1474" fmla="*/ 487235 w 6537372"/>
              <a:gd name="connsiteY1474" fmla="*/ 3149969 h 4991619"/>
              <a:gd name="connsiteX1475" fmla="*/ 482054 w 6537372"/>
              <a:gd name="connsiteY1475" fmla="*/ 3148540 h 4991619"/>
              <a:gd name="connsiteX1476" fmla="*/ 535655 w 6537372"/>
              <a:gd name="connsiteY1476" fmla="*/ 3145503 h 4991619"/>
              <a:gd name="connsiteX1477" fmla="*/ 526899 w 6537372"/>
              <a:gd name="connsiteY1477" fmla="*/ 3150684 h 4991619"/>
              <a:gd name="connsiteX1478" fmla="*/ 536370 w 6537372"/>
              <a:gd name="connsiteY1478" fmla="*/ 3147288 h 4991619"/>
              <a:gd name="connsiteX1479" fmla="*/ 535655 w 6537372"/>
              <a:gd name="connsiteY1479" fmla="*/ 3145503 h 4991619"/>
              <a:gd name="connsiteX1480" fmla="*/ 525291 w 6537372"/>
              <a:gd name="connsiteY1480" fmla="*/ 3128528 h 4991619"/>
              <a:gd name="connsiteX1481" fmla="*/ 522254 w 6537372"/>
              <a:gd name="connsiteY1481" fmla="*/ 3130314 h 4991619"/>
              <a:gd name="connsiteX1482" fmla="*/ 522254 w 6537372"/>
              <a:gd name="connsiteY1482" fmla="*/ 3129243 h 4991619"/>
              <a:gd name="connsiteX1483" fmla="*/ 505817 w 6537372"/>
              <a:gd name="connsiteY1483" fmla="*/ 3135317 h 4991619"/>
              <a:gd name="connsiteX1484" fmla="*/ 490272 w 6537372"/>
              <a:gd name="connsiteY1484" fmla="*/ 3146574 h 4991619"/>
              <a:gd name="connsiteX1485" fmla="*/ 490630 w 6537372"/>
              <a:gd name="connsiteY1485" fmla="*/ 3146574 h 4991619"/>
              <a:gd name="connsiteX1486" fmla="*/ 490094 w 6537372"/>
              <a:gd name="connsiteY1486" fmla="*/ 3146932 h 4991619"/>
              <a:gd name="connsiteX1487" fmla="*/ 490094 w 6537372"/>
              <a:gd name="connsiteY1487" fmla="*/ 3146574 h 4991619"/>
              <a:gd name="connsiteX1488" fmla="*/ 488306 w 6537372"/>
              <a:gd name="connsiteY1488" fmla="*/ 3149791 h 4991619"/>
              <a:gd name="connsiteX1489" fmla="*/ 505638 w 6537372"/>
              <a:gd name="connsiteY1489" fmla="*/ 3148181 h 4991619"/>
              <a:gd name="connsiteX1490" fmla="*/ 511712 w 6537372"/>
              <a:gd name="connsiteY1490" fmla="*/ 3146752 h 4991619"/>
              <a:gd name="connsiteX1491" fmla="*/ 512785 w 6537372"/>
              <a:gd name="connsiteY1491" fmla="*/ 3146037 h 4991619"/>
              <a:gd name="connsiteX1492" fmla="*/ 513142 w 6537372"/>
              <a:gd name="connsiteY1492" fmla="*/ 3146217 h 4991619"/>
              <a:gd name="connsiteX1493" fmla="*/ 525291 w 6537372"/>
              <a:gd name="connsiteY1493" fmla="*/ 3128528 h 4991619"/>
              <a:gd name="connsiteX1494" fmla="*/ 482947 w 6537372"/>
              <a:gd name="connsiteY1494" fmla="*/ 3126384 h 4991619"/>
              <a:gd name="connsiteX1495" fmla="*/ 482935 w 6537372"/>
              <a:gd name="connsiteY1495" fmla="*/ 3126392 h 4991619"/>
              <a:gd name="connsiteX1496" fmla="*/ 481874 w 6537372"/>
              <a:gd name="connsiteY1496" fmla="*/ 3126741 h 4991619"/>
              <a:gd name="connsiteX1497" fmla="*/ 200468 w 6537372"/>
              <a:gd name="connsiteY1497" fmla="*/ 3122633 h 4991619"/>
              <a:gd name="connsiteX1498" fmla="*/ 198504 w 6537372"/>
              <a:gd name="connsiteY1498" fmla="*/ 3125848 h 4991619"/>
              <a:gd name="connsiteX1499" fmla="*/ 201899 w 6537372"/>
              <a:gd name="connsiteY1499" fmla="*/ 3127456 h 4991619"/>
              <a:gd name="connsiteX1500" fmla="*/ 202077 w 6537372"/>
              <a:gd name="connsiteY1500" fmla="*/ 3127456 h 4991619"/>
              <a:gd name="connsiteX1501" fmla="*/ 204043 w 6537372"/>
              <a:gd name="connsiteY1501" fmla="*/ 3125133 h 4991619"/>
              <a:gd name="connsiteX1502" fmla="*/ 200468 w 6537372"/>
              <a:gd name="connsiteY1502" fmla="*/ 3122633 h 4991619"/>
              <a:gd name="connsiteX1503" fmla="*/ 540658 w 6537372"/>
              <a:gd name="connsiteY1503" fmla="*/ 3120131 h 4991619"/>
              <a:gd name="connsiteX1504" fmla="*/ 533689 w 6537372"/>
              <a:gd name="connsiteY1504" fmla="*/ 3123704 h 4991619"/>
              <a:gd name="connsiteX1505" fmla="*/ 528686 w 6537372"/>
              <a:gd name="connsiteY1505" fmla="*/ 3133531 h 4991619"/>
              <a:gd name="connsiteX1506" fmla="*/ 537441 w 6537372"/>
              <a:gd name="connsiteY1506" fmla="*/ 3128885 h 4991619"/>
              <a:gd name="connsiteX1507" fmla="*/ 537441 w 6537372"/>
              <a:gd name="connsiteY1507" fmla="*/ 3134068 h 4991619"/>
              <a:gd name="connsiteX1508" fmla="*/ 526006 w 6537372"/>
              <a:gd name="connsiteY1508" fmla="*/ 3138890 h 4991619"/>
              <a:gd name="connsiteX1509" fmla="*/ 525650 w 6537372"/>
              <a:gd name="connsiteY1509" fmla="*/ 3139605 h 4991619"/>
              <a:gd name="connsiteX1510" fmla="*/ 520110 w 6537372"/>
              <a:gd name="connsiteY1510" fmla="*/ 3144966 h 4991619"/>
              <a:gd name="connsiteX1511" fmla="*/ 522076 w 6537372"/>
              <a:gd name="connsiteY1511" fmla="*/ 3146932 h 4991619"/>
              <a:gd name="connsiteX1512" fmla="*/ 528508 w 6537372"/>
              <a:gd name="connsiteY1512" fmla="*/ 3142822 h 4991619"/>
              <a:gd name="connsiteX1513" fmla="*/ 529938 w 6537372"/>
              <a:gd name="connsiteY1513" fmla="*/ 3144788 h 4991619"/>
              <a:gd name="connsiteX1514" fmla="*/ 524220 w 6537372"/>
              <a:gd name="connsiteY1514" fmla="*/ 3149076 h 4991619"/>
              <a:gd name="connsiteX1515" fmla="*/ 523862 w 6537372"/>
              <a:gd name="connsiteY1515" fmla="*/ 3149076 h 4991619"/>
              <a:gd name="connsiteX1516" fmla="*/ 525650 w 6537372"/>
              <a:gd name="connsiteY1516" fmla="*/ 3150862 h 4991619"/>
              <a:gd name="connsiteX1517" fmla="*/ 536012 w 6537372"/>
              <a:gd name="connsiteY1517" fmla="*/ 3141215 h 4991619"/>
              <a:gd name="connsiteX1518" fmla="*/ 568172 w 6537372"/>
              <a:gd name="connsiteY1518" fmla="*/ 3124419 h 4991619"/>
              <a:gd name="connsiteX1519" fmla="*/ 562098 w 6537372"/>
              <a:gd name="connsiteY1519" fmla="*/ 3121203 h 4991619"/>
              <a:gd name="connsiteX1520" fmla="*/ 556559 w 6537372"/>
              <a:gd name="connsiteY1520" fmla="*/ 3129600 h 4991619"/>
              <a:gd name="connsiteX1521" fmla="*/ 549590 w 6537372"/>
              <a:gd name="connsiteY1521" fmla="*/ 3123526 h 4991619"/>
              <a:gd name="connsiteX1522" fmla="*/ 545302 w 6537372"/>
              <a:gd name="connsiteY1522" fmla="*/ 3131029 h 4991619"/>
              <a:gd name="connsiteX1523" fmla="*/ 539943 w 6537372"/>
              <a:gd name="connsiteY1523" fmla="*/ 3127277 h 4991619"/>
              <a:gd name="connsiteX1524" fmla="*/ 537977 w 6537372"/>
              <a:gd name="connsiteY1524" fmla="*/ 3128350 h 4991619"/>
              <a:gd name="connsiteX1525" fmla="*/ 539229 w 6537372"/>
              <a:gd name="connsiteY1525" fmla="*/ 3126741 h 4991619"/>
              <a:gd name="connsiteX1526" fmla="*/ 540658 w 6537372"/>
              <a:gd name="connsiteY1526" fmla="*/ 3120131 h 4991619"/>
              <a:gd name="connsiteX1527" fmla="*/ 526542 w 6537372"/>
              <a:gd name="connsiteY1527" fmla="*/ 3114591 h 4991619"/>
              <a:gd name="connsiteX1528" fmla="*/ 526513 w 6537372"/>
              <a:gd name="connsiteY1528" fmla="*/ 3114680 h 4991619"/>
              <a:gd name="connsiteX1529" fmla="*/ 525469 w 6537372"/>
              <a:gd name="connsiteY1529" fmla="*/ 3115128 h 4991619"/>
              <a:gd name="connsiteX1530" fmla="*/ 517966 w 6537372"/>
              <a:gd name="connsiteY1530" fmla="*/ 3122989 h 4991619"/>
              <a:gd name="connsiteX1531" fmla="*/ 524577 w 6537372"/>
              <a:gd name="connsiteY1531" fmla="*/ 3120489 h 4991619"/>
              <a:gd name="connsiteX1532" fmla="*/ 526513 w 6537372"/>
              <a:gd name="connsiteY1532" fmla="*/ 3114680 h 4991619"/>
              <a:gd name="connsiteX1533" fmla="*/ 526721 w 6537372"/>
              <a:gd name="connsiteY1533" fmla="*/ 3114591 h 4991619"/>
              <a:gd name="connsiteX1534" fmla="*/ 526721 w 6537372"/>
              <a:gd name="connsiteY1534" fmla="*/ 3113877 h 4991619"/>
              <a:gd name="connsiteX1535" fmla="*/ 526542 w 6537372"/>
              <a:gd name="connsiteY1535" fmla="*/ 3114057 h 4991619"/>
              <a:gd name="connsiteX1536" fmla="*/ 526721 w 6537372"/>
              <a:gd name="connsiteY1536" fmla="*/ 3114235 h 4991619"/>
              <a:gd name="connsiteX1537" fmla="*/ 585503 w 6537372"/>
              <a:gd name="connsiteY1537" fmla="*/ 3109410 h 4991619"/>
              <a:gd name="connsiteX1538" fmla="*/ 585325 w 6537372"/>
              <a:gd name="connsiteY1538" fmla="*/ 3109588 h 4991619"/>
              <a:gd name="connsiteX1539" fmla="*/ 583895 w 6537372"/>
              <a:gd name="connsiteY1539" fmla="*/ 3110125 h 4991619"/>
              <a:gd name="connsiteX1540" fmla="*/ 577641 w 6537372"/>
              <a:gd name="connsiteY1540" fmla="*/ 3112447 h 4991619"/>
              <a:gd name="connsiteX1541" fmla="*/ 583539 w 6537372"/>
              <a:gd name="connsiteY1541" fmla="*/ 3115664 h 4991619"/>
              <a:gd name="connsiteX1542" fmla="*/ 585503 w 6537372"/>
              <a:gd name="connsiteY1542" fmla="*/ 3109410 h 4991619"/>
              <a:gd name="connsiteX1543" fmla="*/ 395756 w 6537372"/>
              <a:gd name="connsiteY1543" fmla="*/ 3104766 h 4991619"/>
              <a:gd name="connsiteX1544" fmla="*/ 395756 w 6537372"/>
              <a:gd name="connsiteY1544" fmla="*/ 3108159 h 4991619"/>
              <a:gd name="connsiteX1545" fmla="*/ 400044 w 6537372"/>
              <a:gd name="connsiteY1545" fmla="*/ 3106373 h 4991619"/>
              <a:gd name="connsiteX1546" fmla="*/ 395756 w 6537372"/>
              <a:gd name="connsiteY1546" fmla="*/ 3104766 h 4991619"/>
              <a:gd name="connsiteX1547" fmla="*/ 555308 w 6537372"/>
              <a:gd name="connsiteY1547" fmla="*/ 3097439 h 4991619"/>
              <a:gd name="connsiteX1548" fmla="*/ 544766 w 6537372"/>
              <a:gd name="connsiteY1548" fmla="*/ 3103515 h 4991619"/>
              <a:gd name="connsiteX1549" fmla="*/ 540836 w 6537372"/>
              <a:gd name="connsiteY1549" fmla="*/ 3110125 h 4991619"/>
              <a:gd name="connsiteX1550" fmla="*/ 541192 w 6537372"/>
              <a:gd name="connsiteY1550" fmla="*/ 3110125 h 4991619"/>
              <a:gd name="connsiteX1551" fmla="*/ 540300 w 6537372"/>
              <a:gd name="connsiteY1551" fmla="*/ 3110840 h 4991619"/>
              <a:gd name="connsiteX1552" fmla="*/ 540658 w 6537372"/>
              <a:gd name="connsiteY1552" fmla="*/ 3110125 h 4991619"/>
              <a:gd name="connsiteX1553" fmla="*/ 534760 w 6537372"/>
              <a:gd name="connsiteY1553" fmla="*/ 3110125 h 4991619"/>
              <a:gd name="connsiteX1554" fmla="*/ 532082 w 6537372"/>
              <a:gd name="connsiteY1554" fmla="*/ 3116557 h 4991619"/>
              <a:gd name="connsiteX1555" fmla="*/ 531902 w 6537372"/>
              <a:gd name="connsiteY1555" fmla="*/ 3117986 h 4991619"/>
              <a:gd name="connsiteX1556" fmla="*/ 534226 w 6537372"/>
              <a:gd name="connsiteY1556" fmla="*/ 3117094 h 4991619"/>
              <a:gd name="connsiteX1557" fmla="*/ 540300 w 6537372"/>
              <a:gd name="connsiteY1557" fmla="*/ 3111018 h 4991619"/>
              <a:gd name="connsiteX1558" fmla="*/ 537799 w 6537372"/>
              <a:gd name="connsiteY1558" fmla="*/ 3115842 h 4991619"/>
              <a:gd name="connsiteX1559" fmla="*/ 538156 w 6537372"/>
              <a:gd name="connsiteY1559" fmla="*/ 3115842 h 4991619"/>
              <a:gd name="connsiteX1560" fmla="*/ 543695 w 6537372"/>
              <a:gd name="connsiteY1560" fmla="*/ 3114235 h 4991619"/>
              <a:gd name="connsiteX1561" fmla="*/ 557274 w 6537372"/>
              <a:gd name="connsiteY1561" fmla="*/ 3104944 h 4991619"/>
              <a:gd name="connsiteX1562" fmla="*/ 555486 w 6537372"/>
              <a:gd name="connsiteY1562" fmla="*/ 3111554 h 4991619"/>
              <a:gd name="connsiteX1563" fmla="*/ 559596 w 6537372"/>
              <a:gd name="connsiteY1563" fmla="*/ 3110483 h 4991619"/>
              <a:gd name="connsiteX1564" fmla="*/ 569423 w 6537372"/>
              <a:gd name="connsiteY1564" fmla="*/ 3099583 h 4991619"/>
              <a:gd name="connsiteX1565" fmla="*/ 556201 w 6537372"/>
              <a:gd name="connsiteY1565" fmla="*/ 3097439 h 4991619"/>
              <a:gd name="connsiteX1566" fmla="*/ 555308 w 6537372"/>
              <a:gd name="connsiteY1566" fmla="*/ 3097439 h 4991619"/>
              <a:gd name="connsiteX1567" fmla="*/ 83262 w 6537372"/>
              <a:gd name="connsiteY1567" fmla="*/ 3093331 h 4991619"/>
              <a:gd name="connsiteX1568" fmla="*/ 75935 w 6537372"/>
              <a:gd name="connsiteY1568" fmla="*/ 3099227 h 4991619"/>
              <a:gd name="connsiteX1569" fmla="*/ 76829 w 6537372"/>
              <a:gd name="connsiteY1569" fmla="*/ 3103156 h 4991619"/>
              <a:gd name="connsiteX1570" fmla="*/ 80704 w 6537372"/>
              <a:gd name="connsiteY1570" fmla="*/ 3103156 h 4991619"/>
              <a:gd name="connsiteX1571" fmla="*/ 80581 w 6537372"/>
              <a:gd name="connsiteY1571" fmla="*/ 3103336 h 4991619"/>
              <a:gd name="connsiteX1572" fmla="*/ 80759 w 6537372"/>
              <a:gd name="connsiteY1572" fmla="*/ 3103156 h 4991619"/>
              <a:gd name="connsiteX1573" fmla="*/ 80704 w 6537372"/>
              <a:gd name="connsiteY1573" fmla="*/ 3103156 h 4991619"/>
              <a:gd name="connsiteX1574" fmla="*/ 85584 w 6537372"/>
              <a:gd name="connsiteY1574" fmla="*/ 3096010 h 4991619"/>
              <a:gd name="connsiteX1575" fmla="*/ 83262 w 6537372"/>
              <a:gd name="connsiteY1575" fmla="*/ 3093331 h 4991619"/>
              <a:gd name="connsiteX1576" fmla="*/ 148476 w 6537372"/>
              <a:gd name="connsiteY1576" fmla="*/ 3092616 h 4991619"/>
              <a:gd name="connsiteX1577" fmla="*/ 146510 w 6537372"/>
              <a:gd name="connsiteY1577" fmla="*/ 3097439 h 4991619"/>
              <a:gd name="connsiteX1578" fmla="*/ 151871 w 6537372"/>
              <a:gd name="connsiteY1578" fmla="*/ 3096724 h 4991619"/>
              <a:gd name="connsiteX1579" fmla="*/ 151871 w 6537372"/>
              <a:gd name="connsiteY1579" fmla="*/ 3096546 h 4991619"/>
              <a:gd name="connsiteX1580" fmla="*/ 152406 w 6537372"/>
              <a:gd name="connsiteY1580" fmla="*/ 3093687 h 4991619"/>
              <a:gd name="connsiteX1581" fmla="*/ 148476 w 6537372"/>
              <a:gd name="connsiteY1581" fmla="*/ 3092616 h 4991619"/>
              <a:gd name="connsiteX1582" fmla="*/ 6419808 w 6537372"/>
              <a:gd name="connsiteY1582" fmla="*/ 3085111 h 4991619"/>
              <a:gd name="connsiteX1583" fmla="*/ 6419841 w 6537372"/>
              <a:gd name="connsiteY1583" fmla="*/ 3085178 h 4991619"/>
              <a:gd name="connsiteX1584" fmla="*/ 6417664 w 6537372"/>
              <a:gd name="connsiteY1584" fmla="*/ 3086184 h 4991619"/>
              <a:gd name="connsiteX1585" fmla="*/ 6419450 w 6537372"/>
              <a:gd name="connsiteY1585" fmla="*/ 3091721 h 4991619"/>
              <a:gd name="connsiteX1586" fmla="*/ 6420700 w 6537372"/>
              <a:gd name="connsiteY1586" fmla="*/ 3086899 h 4991619"/>
              <a:gd name="connsiteX1587" fmla="*/ 6419841 w 6537372"/>
              <a:gd name="connsiteY1587" fmla="*/ 3085178 h 4991619"/>
              <a:gd name="connsiteX1588" fmla="*/ 6419986 w 6537372"/>
              <a:gd name="connsiteY1588" fmla="*/ 3085111 h 4991619"/>
              <a:gd name="connsiteX1589" fmla="*/ 423807 w 6537372"/>
              <a:gd name="connsiteY1589" fmla="*/ 3082967 h 4991619"/>
              <a:gd name="connsiteX1590" fmla="*/ 419162 w 6537372"/>
              <a:gd name="connsiteY1590" fmla="*/ 3084040 h 4991619"/>
              <a:gd name="connsiteX1591" fmla="*/ 414874 w 6537372"/>
              <a:gd name="connsiteY1591" fmla="*/ 3086184 h 4991619"/>
              <a:gd name="connsiteX1592" fmla="*/ 415945 w 6537372"/>
              <a:gd name="connsiteY1592" fmla="*/ 3087433 h 4991619"/>
              <a:gd name="connsiteX1593" fmla="*/ 420411 w 6537372"/>
              <a:gd name="connsiteY1593" fmla="*/ 3085469 h 4991619"/>
              <a:gd name="connsiteX1594" fmla="*/ 423807 w 6537372"/>
              <a:gd name="connsiteY1594" fmla="*/ 3082967 h 4991619"/>
              <a:gd name="connsiteX1595" fmla="*/ 586398 w 6537372"/>
              <a:gd name="connsiteY1595" fmla="*/ 3081716 h 4991619"/>
              <a:gd name="connsiteX1596" fmla="*/ 574604 w 6537372"/>
              <a:gd name="connsiteY1596" fmla="*/ 3086719 h 4991619"/>
              <a:gd name="connsiteX1597" fmla="*/ 574783 w 6537372"/>
              <a:gd name="connsiteY1597" fmla="*/ 3086719 h 4991619"/>
              <a:gd name="connsiteX1598" fmla="*/ 586398 w 6537372"/>
              <a:gd name="connsiteY1598" fmla="*/ 3084040 h 4991619"/>
              <a:gd name="connsiteX1599" fmla="*/ 586398 w 6537372"/>
              <a:gd name="connsiteY1599" fmla="*/ 3081716 h 4991619"/>
              <a:gd name="connsiteX1600" fmla="*/ 302669 w 6537372"/>
              <a:gd name="connsiteY1600" fmla="*/ 3081001 h 4991619"/>
              <a:gd name="connsiteX1601" fmla="*/ 299274 w 6537372"/>
              <a:gd name="connsiteY1601" fmla="*/ 3084396 h 4991619"/>
              <a:gd name="connsiteX1602" fmla="*/ 302132 w 6537372"/>
              <a:gd name="connsiteY1602" fmla="*/ 3084755 h 4991619"/>
              <a:gd name="connsiteX1603" fmla="*/ 302132 w 6537372"/>
              <a:gd name="connsiteY1603" fmla="*/ 3084575 h 4991619"/>
              <a:gd name="connsiteX1604" fmla="*/ 302669 w 6537372"/>
              <a:gd name="connsiteY1604" fmla="*/ 3081001 h 4991619"/>
              <a:gd name="connsiteX1605" fmla="*/ 87013 w 6537372"/>
              <a:gd name="connsiteY1605" fmla="*/ 3078857 h 4991619"/>
              <a:gd name="connsiteX1606" fmla="*/ 86477 w 6537372"/>
              <a:gd name="connsiteY1606" fmla="*/ 3084218 h 4991619"/>
              <a:gd name="connsiteX1607" fmla="*/ 91838 w 6537372"/>
              <a:gd name="connsiteY1607" fmla="*/ 3084218 h 4991619"/>
              <a:gd name="connsiteX1608" fmla="*/ 92731 w 6537372"/>
              <a:gd name="connsiteY1608" fmla="*/ 3080467 h 4991619"/>
              <a:gd name="connsiteX1609" fmla="*/ 87013 w 6537372"/>
              <a:gd name="connsiteY1609" fmla="*/ 3078857 h 4991619"/>
              <a:gd name="connsiteX1610" fmla="*/ 116852 w 6537372"/>
              <a:gd name="connsiteY1610" fmla="*/ 3075998 h 4991619"/>
              <a:gd name="connsiteX1611" fmla="*/ 115957 w 6537372"/>
              <a:gd name="connsiteY1611" fmla="*/ 3086719 h 4991619"/>
              <a:gd name="connsiteX1612" fmla="*/ 118816 w 6537372"/>
              <a:gd name="connsiteY1612" fmla="*/ 3086899 h 4991619"/>
              <a:gd name="connsiteX1613" fmla="*/ 116852 w 6537372"/>
              <a:gd name="connsiteY1613" fmla="*/ 3075998 h 4991619"/>
              <a:gd name="connsiteX1614" fmla="*/ 446676 w 6537372"/>
              <a:gd name="connsiteY1614" fmla="*/ 3070996 h 4991619"/>
              <a:gd name="connsiteX1615" fmla="*/ 445962 w 6537372"/>
              <a:gd name="connsiteY1615" fmla="*/ 3071532 h 4991619"/>
              <a:gd name="connsiteX1616" fmla="*/ 447213 w 6537372"/>
              <a:gd name="connsiteY1616" fmla="*/ 3071532 h 4991619"/>
              <a:gd name="connsiteX1617" fmla="*/ 130431 w 6537372"/>
              <a:gd name="connsiteY1617" fmla="*/ 3067959 h 4991619"/>
              <a:gd name="connsiteX1618" fmla="*/ 130536 w 6537372"/>
              <a:gd name="connsiteY1618" fmla="*/ 3068035 h 4991619"/>
              <a:gd name="connsiteX1619" fmla="*/ 125962 w 6537372"/>
              <a:gd name="connsiteY1619" fmla="*/ 3072783 h 4991619"/>
              <a:gd name="connsiteX1620" fmla="*/ 128643 w 6537372"/>
              <a:gd name="connsiteY1620" fmla="*/ 3075284 h 4991619"/>
              <a:gd name="connsiteX1621" fmla="*/ 132395 w 6537372"/>
              <a:gd name="connsiteY1621" fmla="*/ 3069388 h 4991619"/>
              <a:gd name="connsiteX1622" fmla="*/ 130536 w 6537372"/>
              <a:gd name="connsiteY1622" fmla="*/ 3068035 h 4991619"/>
              <a:gd name="connsiteX1623" fmla="*/ 130609 w 6537372"/>
              <a:gd name="connsiteY1623" fmla="*/ 3067959 h 4991619"/>
              <a:gd name="connsiteX1624" fmla="*/ 486877 w 6537372"/>
              <a:gd name="connsiteY1624" fmla="*/ 3066173 h 4991619"/>
              <a:gd name="connsiteX1625" fmla="*/ 481518 w 6537372"/>
              <a:gd name="connsiteY1625" fmla="*/ 3067602 h 4991619"/>
              <a:gd name="connsiteX1626" fmla="*/ 481339 w 6537372"/>
              <a:gd name="connsiteY1626" fmla="*/ 3067422 h 4991619"/>
              <a:gd name="connsiteX1627" fmla="*/ 481159 w 6537372"/>
              <a:gd name="connsiteY1627" fmla="*/ 3069210 h 4991619"/>
              <a:gd name="connsiteX1628" fmla="*/ 482589 w 6537372"/>
              <a:gd name="connsiteY1628" fmla="*/ 3069388 h 4991619"/>
              <a:gd name="connsiteX1629" fmla="*/ 485627 w 6537372"/>
              <a:gd name="connsiteY1629" fmla="*/ 3069925 h 4991619"/>
              <a:gd name="connsiteX1630" fmla="*/ 486877 w 6537372"/>
              <a:gd name="connsiteY1630" fmla="*/ 3066173 h 4991619"/>
              <a:gd name="connsiteX1631" fmla="*/ 581215 w 6537372"/>
              <a:gd name="connsiteY1631" fmla="*/ 3061705 h 4991619"/>
              <a:gd name="connsiteX1632" fmla="*/ 578536 w 6537372"/>
              <a:gd name="connsiteY1632" fmla="*/ 3062600 h 4991619"/>
              <a:gd name="connsiteX1633" fmla="*/ 578536 w 6537372"/>
              <a:gd name="connsiteY1633" fmla="*/ 3062956 h 4991619"/>
              <a:gd name="connsiteX1634" fmla="*/ 564957 w 6537372"/>
              <a:gd name="connsiteY1634" fmla="*/ 3077608 h 4991619"/>
              <a:gd name="connsiteX1635" fmla="*/ 563884 w 6537372"/>
              <a:gd name="connsiteY1635" fmla="*/ 3078857 h 4991619"/>
              <a:gd name="connsiteX1636" fmla="*/ 563528 w 6537372"/>
              <a:gd name="connsiteY1636" fmla="*/ 3078857 h 4991619"/>
              <a:gd name="connsiteX1637" fmla="*/ 559418 w 6537372"/>
              <a:gd name="connsiteY1637" fmla="*/ 3083145 h 4991619"/>
              <a:gd name="connsiteX1638" fmla="*/ 555130 w 6537372"/>
              <a:gd name="connsiteY1638" fmla="*/ 3088148 h 4991619"/>
              <a:gd name="connsiteX1639" fmla="*/ 561918 w 6537372"/>
              <a:gd name="connsiteY1639" fmla="*/ 3085469 h 4991619"/>
              <a:gd name="connsiteX1640" fmla="*/ 568709 w 6537372"/>
              <a:gd name="connsiteY1640" fmla="*/ 3081538 h 4991619"/>
              <a:gd name="connsiteX1641" fmla="*/ 581215 w 6537372"/>
              <a:gd name="connsiteY1641" fmla="*/ 3061705 h 4991619"/>
              <a:gd name="connsiteX1642" fmla="*/ 6397005 w 6537372"/>
              <a:gd name="connsiteY1642" fmla="*/ 3060611 h 4991619"/>
              <a:gd name="connsiteX1643" fmla="*/ 6376390 w 6537372"/>
              <a:gd name="connsiteY1643" fmla="*/ 3065636 h 4991619"/>
              <a:gd name="connsiteX1644" fmla="*/ 6388362 w 6537372"/>
              <a:gd name="connsiteY1644" fmla="*/ 3067422 h 4991619"/>
              <a:gd name="connsiteX1645" fmla="*/ 6402477 w 6537372"/>
              <a:gd name="connsiteY1645" fmla="*/ 3067422 h 4991619"/>
              <a:gd name="connsiteX1646" fmla="*/ 6414090 w 6537372"/>
              <a:gd name="connsiteY1646" fmla="*/ 3062600 h 4991619"/>
              <a:gd name="connsiteX1647" fmla="*/ 6414268 w 6537372"/>
              <a:gd name="connsiteY1647" fmla="*/ 3062419 h 4991619"/>
              <a:gd name="connsiteX1648" fmla="*/ 6397005 w 6537372"/>
              <a:gd name="connsiteY1648" fmla="*/ 3060611 h 4991619"/>
              <a:gd name="connsiteX1649" fmla="*/ 503136 w 6537372"/>
              <a:gd name="connsiteY1649" fmla="*/ 3058490 h 4991619"/>
              <a:gd name="connsiteX1650" fmla="*/ 498492 w 6537372"/>
              <a:gd name="connsiteY1650" fmla="*/ 3067422 h 4991619"/>
              <a:gd name="connsiteX1651" fmla="*/ 482232 w 6537372"/>
              <a:gd name="connsiteY1651" fmla="*/ 3099048 h 4991619"/>
              <a:gd name="connsiteX1652" fmla="*/ 484733 w 6537372"/>
              <a:gd name="connsiteY1652" fmla="*/ 3099048 h 4991619"/>
              <a:gd name="connsiteX1653" fmla="*/ 506173 w 6537372"/>
              <a:gd name="connsiteY1653" fmla="*/ 3100478 h 4991619"/>
              <a:gd name="connsiteX1654" fmla="*/ 493489 w 6537372"/>
              <a:gd name="connsiteY1654" fmla="*/ 3107625 h 4991619"/>
              <a:gd name="connsiteX1655" fmla="*/ 476335 w 6537372"/>
              <a:gd name="connsiteY1655" fmla="*/ 3108159 h 4991619"/>
              <a:gd name="connsiteX1656" fmla="*/ 467939 w 6537372"/>
              <a:gd name="connsiteY1656" fmla="*/ 3104408 h 4991619"/>
              <a:gd name="connsiteX1657" fmla="*/ 474727 w 6537372"/>
              <a:gd name="connsiteY1657" fmla="*/ 3100656 h 4991619"/>
              <a:gd name="connsiteX1658" fmla="*/ 474727 w 6537372"/>
              <a:gd name="connsiteY1658" fmla="*/ 3097619 h 4991619"/>
              <a:gd name="connsiteX1659" fmla="*/ 478301 w 6537372"/>
              <a:gd name="connsiteY1659" fmla="*/ 3086004 h 4991619"/>
              <a:gd name="connsiteX1660" fmla="*/ 483125 w 6537372"/>
              <a:gd name="connsiteY1660" fmla="*/ 3075998 h 4991619"/>
              <a:gd name="connsiteX1661" fmla="*/ 482232 w 6537372"/>
              <a:gd name="connsiteY1661" fmla="*/ 3076179 h 4991619"/>
              <a:gd name="connsiteX1662" fmla="*/ 431668 w 6537372"/>
              <a:gd name="connsiteY1662" fmla="*/ 3102442 h 4991619"/>
              <a:gd name="connsiteX1663" fmla="*/ 423450 w 6537372"/>
              <a:gd name="connsiteY1663" fmla="*/ 3112805 h 4991619"/>
              <a:gd name="connsiteX1664" fmla="*/ 417553 w 6537372"/>
              <a:gd name="connsiteY1664" fmla="*/ 3113342 h 4991619"/>
              <a:gd name="connsiteX1665" fmla="*/ 415052 w 6537372"/>
              <a:gd name="connsiteY1665" fmla="*/ 3118165 h 4991619"/>
              <a:gd name="connsiteX1666" fmla="*/ 415589 w 6537372"/>
              <a:gd name="connsiteY1666" fmla="*/ 3111018 h 4991619"/>
              <a:gd name="connsiteX1667" fmla="*/ 415052 w 6537372"/>
              <a:gd name="connsiteY1667" fmla="*/ 3110303 h 4991619"/>
              <a:gd name="connsiteX1668" fmla="*/ 412193 w 6537372"/>
              <a:gd name="connsiteY1668" fmla="*/ 3107803 h 4991619"/>
              <a:gd name="connsiteX1669" fmla="*/ 401473 w 6537372"/>
              <a:gd name="connsiteY1669" fmla="*/ 3121203 h 4991619"/>
              <a:gd name="connsiteX1670" fmla="*/ 417018 w 6537372"/>
              <a:gd name="connsiteY1670" fmla="*/ 3127456 h 4991619"/>
              <a:gd name="connsiteX1671" fmla="*/ 412372 w 6537372"/>
              <a:gd name="connsiteY1671" fmla="*/ 3133531 h 4991619"/>
              <a:gd name="connsiteX1672" fmla="*/ 401473 w 6537372"/>
              <a:gd name="connsiteY1672" fmla="*/ 3139249 h 4991619"/>
              <a:gd name="connsiteX1673" fmla="*/ 406476 w 6537372"/>
              <a:gd name="connsiteY1673" fmla="*/ 3154793 h 4991619"/>
              <a:gd name="connsiteX1674" fmla="*/ 381999 w 6537372"/>
              <a:gd name="connsiteY1674" fmla="*/ 3168551 h 4991619"/>
              <a:gd name="connsiteX1675" fmla="*/ 380033 w 6537372"/>
              <a:gd name="connsiteY1675" fmla="*/ 3180878 h 4991619"/>
              <a:gd name="connsiteX1676" fmla="*/ 379140 w 6537372"/>
              <a:gd name="connsiteY1676" fmla="*/ 3182308 h 4991619"/>
              <a:gd name="connsiteX1677" fmla="*/ 373601 w 6537372"/>
              <a:gd name="connsiteY1677" fmla="*/ 3224832 h 4991619"/>
              <a:gd name="connsiteX1678" fmla="*/ 380211 w 6537372"/>
              <a:gd name="connsiteY1678" fmla="*/ 3224832 h 4991619"/>
              <a:gd name="connsiteX1679" fmla="*/ 387358 w 6537372"/>
              <a:gd name="connsiteY1679" fmla="*/ 3235194 h 4991619"/>
              <a:gd name="connsiteX1680" fmla="*/ 397007 w 6537372"/>
              <a:gd name="connsiteY1680" fmla="*/ 3227155 h 4991619"/>
              <a:gd name="connsiteX1681" fmla="*/ 395219 w 6537372"/>
              <a:gd name="connsiteY1681" fmla="*/ 3215183 h 4991619"/>
              <a:gd name="connsiteX1682" fmla="*/ 405225 w 6537372"/>
              <a:gd name="connsiteY1682" fmla="*/ 3209109 h 4991619"/>
              <a:gd name="connsiteX1683" fmla="*/ 410942 w 6537372"/>
              <a:gd name="connsiteY1683" fmla="*/ 3202141 h 4991619"/>
              <a:gd name="connsiteX1684" fmla="*/ 393968 w 6537372"/>
              <a:gd name="connsiteY1684" fmla="*/ 3194816 h 4991619"/>
              <a:gd name="connsiteX1685" fmla="*/ 381284 w 6537372"/>
              <a:gd name="connsiteY1685" fmla="*/ 3188918 h 4991619"/>
              <a:gd name="connsiteX1686" fmla="*/ 423985 w 6537372"/>
              <a:gd name="connsiteY1686" fmla="*/ 3160511 h 4991619"/>
              <a:gd name="connsiteX1687" fmla="*/ 477229 w 6537372"/>
              <a:gd name="connsiteY1687" fmla="*/ 3137819 h 4991619"/>
              <a:gd name="connsiteX1688" fmla="*/ 476156 w 6537372"/>
              <a:gd name="connsiteY1688" fmla="*/ 3130851 h 4991619"/>
              <a:gd name="connsiteX1689" fmla="*/ 482935 w 6537372"/>
              <a:gd name="connsiteY1689" fmla="*/ 3126392 h 4991619"/>
              <a:gd name="connsiteX1690" fmla="*/ 507424 w 6537372"/>
              <a:gd name="connsiteY1690" fmla="*/ 3118345 h 4991619"/>
              <a:gd name="connsiteX1691" fmla="*/ 511176 w 6537372"/>
              <a:gd name="connsiteY1691" fmla="*/ 3125492 h 4991619"/>
              <a:gd name="connsiteX1692" fmla="*/ 514215 w 6537372"/>
              <a:gd name="connsiteY1692" fmla="*/ 3124240 h 4991619"/>
              <a:gd name="connsiteX1693" fmla="*/ 519932 w 6537372"/>
              <a:gd name="connsiteY1693" fmla="*/ 3110303 h 4991619"/>
              <a:gd name="connsiteX1694" fmla="*/ 518144 w 6537372"/>
              <a:gd name="connsiteY1694" fmla="*/ 3111018 h 4991619"/>
              <a:gd name="connsiteX1695" fmla="*/ 510105 w 6537372"/>
              <a:gd name="connsiteY1695" fmla="*/ 3111554 h 4991619"/>
              <a:gd name="connsiteX1696" fmla="*/ 527257 w 6537372"/>
              <a:gd name="connsiteY1696" fmla="*/ 3099048 h 4991619"/>
              <a:gd name="connsiteX1697" fmla="*/ 528328 w 6537372"/>
              <a:gd name="connsiteY1697" fmla="*/ 3097261 h 4991619"/>
              <a:gd name="connsiteX1698" fmla="*/ 542802 w 6537372"/>
              <a:gd name="connsiteY1698" fmla="*/ 3073320 h 4991619"/>
              <a:gd name="connsiteX1699" fmla="*/ 544409 w 6537372"/>
              <a:gd name="connsiteY1699" fmla="*/ 3065993 h 4991619"/>
              <a:gd name="connsiteX1700" fmla="*/ 537263 w 6537372"/>
              <a:gd name="connsiteY1700" fmla="*/ 3076357 h 4991619"/>
              <a:gd name="connsiteX1701" fmla="*/ 526184 w 6537372"/>
              <a:gd name="connsiteY1701" fmla="*/ 3088863 h 4991619"/>
              <a:gd name="connsiteX1702" fmla="*/ 521540 w 6537372"/>
              <a:gd name="connsiteY1702" fmla="*/ 3093509 h 4991619"/>
              <a:gd name="connsiteX1703" fmla="*/ 521003 w 6537372"/>
              <a:gd name="connsiteY1703" fmla="*/ 3094224 h 4991619"/>
              <a:gd name="connsiteX1704" fmla="*/ 513320 w 6537372"/>
              <a:gd name="connsiteY1704" fmla="*/ 3105837 h 4991619"/>
              <a:gd name="connsiteX1705" fmla="*/ 514571 w 6537372"/>
              <a:gd name="connsiteY1705" fmla="*/ 3094580 h 4991619"/>
              <a:gd name="connsiteX1706" fmla="*/ 524755 w 6537372"/>
              <a:gd name="connsiteY1706" fmla="*/ 3071890 h 4991619"/>
              <a:gd name="connsiteX1707" fmla="*/ 510461 w 6537372"/>
              <a:gd name="connsiteY1707" fmla="*/ 3089577 h 4991619"/>
              <a:gd name="connsiteX1708" fmla="*/ 501350 w 6537372"/>
              <a:gd name="connsiteY1708" fmla="*/ 3086184 h 4991619"/>
              <a:gd name="connsiteX1709" fmla="*/ 502780 w 6537372"/>
              <a:gd name="connsiteY1709" fmla="*/ 3069925 h 4991619"/>
              <a:gd name="connsiteX1710" fmla="*/ 503136 w 6537372"/>
              <a:gd name="connsiteY1710" fmla="*/ 3058490 h 4991619"/>
              <a:gd name="connsiteX1711" fmla="*/ 504387 w 6537372"/>
              <a:gd name="connsiteY1711" fmla="*/ 3056882 h 4991619"/>
              <a:gd name="connsiteX1712" fmla="*/ 503851 w 6537372"/>
              <a:gd name="connsiteY1712" fmla="*/ 3057597 h 4991619"/>
              <a:gd name="connsiteX1713" fmla="*/ 504387 w 6537372"/>
              <a:gd name="connsiteY1713" fmla="*/ 3057060 h 4991619"/>
              <a:gd name="connsiteX1714" fmla="*/ 555666 w 6537372"/>
              <a:gd name="connsiteY1714" fmla="*/ 3051699 h 4991619"/>
              <a:gd name="connsiteX1715" fmla="*/ 550663 w 6537372"/>
              <a:gd name="connsiteY1715" fmla="*/ 3052414 h 4991619"/>
              <a:gd name="connsiteX1716" fmla="*/ 547983 w 6537372"/>
              <a:gd name="connsiteY1716" fmla="*/ 3057239 h 4991619"/>
              <a:gd name="connsiteX1717" fmla="*/ 545734 w 6537372"/>
              <a:gd name="connsiteY1717" fmla="*/ 3064679 h 4991619"/>
              <a:gd name="connsiteX1718" fmla="*/ 545661 w 6537372"/>
              <a:gd name="connsiteY1718" fmla="*/ 3064744 h 4991619"/>
              <a:gd name="connsiteX1719" fmla="*/ 545661 w 6537372"/>
              <a:gd name="connsiteY1719" fmla="*/ 3064922 h 4991619"/>
              <a:gd name="connsiteX1720" fmla="*/ 545734 w 6537372"/>
              <a:gd name="connsiteY1720" fmla="*/ 3064679 h 4991619"/>
              <a:gd name="connsiteX1721" fmla="*/ 550305 w 6537372"/>
              <a:gd name="connsiteY1721" fmla="*/ 3060634 h 4991619"/>
              <a:gd name="connsiteX1722" fmla="*/ 555666 w 6537372"/>
              <a:gd name="connsiteY1722" fmla="*/ 3051699 h 4991619"/>
              <a:gd name="connsiteX1723" fmla="*/ 507961 w 6537372"/>
              <a:gd name="connsiteY1723" fmla="*/ 3051521 h 4991619"/>
              <a:gd name="connsiteX1724" fmla="*/ 507068 w 6537372"/>
              <a:gd name="connsiteY1724" fmla="*/ 3053129 h 4991619"/>
              <a:gd name="connsiteX1725" fmla="*/ 508139 w 6537372"/>
              <a:gd name="connsiteY1725" fmla="*/ 3051521 h 4991619"/>
              <a:gd name="connsiteX1726" fmla="*/ 6392114 w 6537372"/>
              <a:gd name="connsiteY1726" fmla="*/ 3048306 h 4991619"/>
              <a:gd name="connsiteX1727" fmla="*/ 6390328 w 6537372"/>
              <a:gd name="connsiteY1727" fmla="*/ 3051521 h 4991619"/>
              <a:gd name="connsiteX1728" fmla="*/ 6391577 w 6537372"/>
              <a:gd name="connsiteY1728" fmla="*/ 3055453 h 4991619"/>
              <a:gd name="connsiteX1729" fmla="*/ 6393721 w 6537372"/>
              <a:gd name="connsiteY1729" fmla="*/ 3050806 h 4991619"/>
              <a:gd name="connsiteX1730" fmla="*/ 6392114 w 6537372"/>
              <a:gd name="connsiteY1730" fmla="*/ 3048306 h 4991619"/>
              <a:gd name="connsiteX1731" fmla="*/ 254963 w 6537372"/>
              <a:gd name="connsiteY1731" fmla="*/ 3046696 h 4991619"/>
              <a:gd name="connsiteX1732" fmla="*/ 245494 w 6537372"/>
              <a:gd name="connsiteY1732" fmla="*/ 3050092 h 4991619"/>
              <a:gd name="connsiteX1733" fmla="*/ 246924 w 6537372"/>
              <a:gd name="connsiteY1733" fmla="*/ 3053487 h 4991619"/>
              <a:gd name="connsiteX1734" fmla="*/ 255856 w 6537372"/>
              <a:gd name="connsiteY1734" fmla="*/ 3048841 h 4991619"/>
              <a:gd name="connsiteX1735" fmla="*/ 254963 w 6537372"/>
              <a:gd name="connsiteY1735" fmla="*/ 3046696 h 4991619"/>
              <a:gd name="connsiteX1736" fmla="*/ 225840 w 6537372"/>
              <a:gd name="connsiteY1736" fmla="*/ 3045804 h 4991619"/>
              <a:gd name="connsiteX1737" fmla="*/ 203328 w 6537372"/>
              <a:gd name="connsiteY1737" fmla="*/ 3055809 h 4991619"/>
              <a:gd name="connsiteX1738" fmla="*/ 212261 w 6537372"/>
              <a:gd name="connsiteY1738" fmla="*/ 3057953 h 4991619"/>
              <a:gd name="connsiteX1739" fmla="*/ 229950 w 6537372"/>
              <a:gd name="connsiteY1739" fmla="*/ 3051521 h 4991619"/>
              <a:gd name="connsiteX1740" fmla="*/ 225840 w 6537372"/>
              <a:gd name="connsiteY1740" fmla="*/ 3045804 h 4991619"/>
              <a:gd name="connsiteX1741" fmla="*/ 6189322 w 6537372"/>
              <a:gd name="connsiteY1741" fmla="*/ 3044733 h 4991619"/>
              <a:gd name="connsiteX1742" fmla="*/ 6183604 w 6537372"/>
              <a:gd name="connsiteY1742" fmla="*/ 3048662 h 4991619"/>
              <a:gd name="connsiteX1743" fmla="*/ 6192002 w 6537372"/>
              <a:gd name="connsiteY1743" fmla="*/ 3049021 h 4991619"/>
              <a:gd name="connsiteX1744" fmla="*/ 6189502 w 6537372"/>
              <a:gd name="connsiteY1744" fmla="*/ 3044733 h 4991619"/>
              <a:gd name="connsiteX1745" fmla="*/ 6407480 w 6537372"/>
              <a:gd name="connsiteY1745" fmla="*/ 3042052 h 4991619"/>
              <a:gd name="connsiteX1746" fmla="*/ 6401048 w 6537372"/>
              <a:gd name="connsiteY1746" fmla="*/ 3043303 h 4991619"/>
              <a:gd name="connsiteX1747" fmla="*/ 6401404 w 6537372"/>
              <a:gd name="connsiteY1747" fmla="*/ 3045804 h 4991619"/>
              <a:gd name="connsiteX1748" fmla="*/ 6408014 w 6537372"/>
              <a:gd name="connsiteY1748" fmla="*/ 3045267 h 4991619"/>
              <a:gd name="connsiteX1749" fmla="*/ 6407658 w 6537372"/>
              <a:gd name="connsiteY1749" fmla="*/ 3042052 h 4991619"/>
              <a:gd name="connsiteX1750" fmla="*/ 240492 w 6537372"/>
              <a:gd name="connsiteY1750" fmla="*/ 3041516 h 4991619"/>
              <a:gd name="connsiteX1751" fmla="*/ 236738 w 6537372"/>
              <a:gd name="connsiteY1751" fmla="*/ 3044552 h 4991619"/>
              <a:gd name="connsiteX1752" fmla="*/ 238348 w 6537372"/>
              <a:gd name="connsiteY1752" fmla="*/ 3046877 h 4991619"/>
              <a:gd name="connsiteX1753" fmla="*/ 238348 w 6537372"/>
              <a:gd name="connsiteY1753" fmla="*/ 3047055 h 4991619"/>
              <a:gd name="connsiteX1754" fmla="*/ 242099 w 6537372"/>
              <a:gd name="connsiteY1754" fmla="*/ 3043838 h 4991619"/>
              <a:gd name="connsiteX1755" fmla="*/ 240492 w 6537372"/>
              <a:gd name="connsiteY1755" fmla="*/ 3041516 h 4991619"/>
              <a:gd name="connsiteX1756" fmla="*/ 310842 w 6537372"/>
              <a:gd name="connsiteY1756" fmla="*/ 3038969 h 4991619"/>
              <a:gd name="connsiteX1757" fmla="*/ 308206 w 6537372"/>
              <a:gd name="connsiteY1757" fmla="*/ 3045625 h 4991619"/>
              <a:gd name="connsiteX1758" fmla="*/ 316068 w 6537372"/>
              <a:gd name="connsiteY1758" fmla="*/ 3041874 h 4991619"/>
              <a:gd name="connsiteX1759" fmla="*/ 316961 w 6537372"/>
              <a:gd name="connsiteY1759" fmla="*/ 3040086 h 4991619"/>
              <a:gd name="connsiteX1760" fmla="*/ 310842 w 6537372"/>
              <a:gd name="connsiteY1760" fmla="*/ 3038969 h 4991619"/>
              <a:gd name="connsiteX1761" fmla="*/ 6292594 w 6537372"/>
              <a:gd name="connsiteY1761" fmla="*/ 3038120 h 4991619"/>
              <a:gd name="connsiteX1762" fmla="*/ 6288843 w 6537372"/>
              <a:gd name="connsiteY1762" fmla="*/ 3042230 h 4991619"/>
              <a:gd name="connsiteX1763" fmla="*/ 6290450 w 6537372"/>
              <a:gd name="connsiteY1763" fmla="*/ 3044374 h 4991619"/>
              <a:gd name="connsiteX1764" fmla="*/ 6290450 w 6537372"/>
              <a:gd name="connsiteY1764" fmla="*/ 3044196 h 4991619"/>
              <a:gd name="connsiteX1765" fmla="*/ 6293846 w 6537372"/>
              <a:gd name="connsiteY1765" fmla="*/ 3039550 h 4991619"/>
              <a:gd name="connsiteX1766" fmla="*/ 6292594 w 6537372"/>
              <a:gd name="connsiteY1766" fmla="*/ 3038120 h 4991619"/>
              <a:gd name="connsiteX1767" fmla="*/ 564957 w 6537372"/>
              <a:gd name="connsiteY1767" fmla="*/ 3036156 h 4991619"/>
              <a:gd name="connsiteX1768" fmla="*/ 563169 w 6537372"/>
              <a:gd name="connsiteY1768" fmla="*/ 3037049 h 4991619"/>
              <a:gd name="connsiteX1769" fmla="*/ 557810 w 6537372"/>
              <a:gd name="connsiteY1769" fmla="*/ 3039730 h 4991619"/>
              <a:gd name="connsiteX1770" fmla="*/ 557810 w 6537372"/>
              <a:gd name="connsiteY1770" fmla="*/ 3039550 h 4991619"/>
              <a:gd name="connsiteX1771" fmla="*/ 555666 w 6537372"/>
              <a:gd name="connsiteY1771" fmla="*/ 3043481 h 4991619"/>
              <a:gd name="connsiteX1772" fmla="*/ 562813 w 6537372"/>
              <a:gd name="connsiteY1772" fmla="*/ 3039908 h 4991619"/>
              <a:gd name="connsiteX1773" fmla="*/ 564957 w 6537372"/>
              <a:gd name="connsiteY1773" fmla="*/ 3036156 h 4991619"/>
              <a:gd name="connsiteX1774" fmla="*/ 246565 w 6537372"/>
              <a:gd name="connsiteY1774" fmla="*/ 3032939 h 4991619"/>
              <a:gd name="connsiteX1775" fmla="*/ 244065 w 6537372"/>
              <a:gd name="connsiteY1775" fmla="*/ 3034727 h 4991619"/>
              <a:gd name="connsiteX1776" fmla="*/ 245314 w 6537372"/>
              <a:gd name="connsiteY1776" fmla="*/ 3037227 h 4991619"/>
              <a:gd name="connsiteX1777" fmla="*/ 248353 w 6537372"/>
              <a:gd name="connsiteY1777" fmla="*/ 3038835 h 4991619"/>
              <a:gd name="connsiteX1778" fmla="*/ 248353 w 6537372"/>
              <a:gd name="connsiteY1778" fmla="*/ 3035620 h 4991619"/>
              <a:gd name="connsiteX1779" fmla="*/ 246565 w 6537372"/>
              <a:gd name="connsiteY1779" fmla="*/ 3032939 h 4991619"/>
              <a:gd name="connsiteX1780" fmla="*/ 278190 w 6537372"/>
              <a:gd name="connsiteY1780" fmla="*/ 3030439 h 4991619"/>
              <a:gd name="connsiteX1781" fmla="*/ 276940 w 6537372"/>
              <a:gd name="connsiteY1781" fmla="*/ 3032403 h 4991619"/>
              <a:gd name="connsiteX1782" fmla="*/ 283014 w 6537372"/>
              <a:gd name="connsiteY1782" fmla="*/ 3036335 h 4991619"/>
              <a:gd name="connsiteX1783" fmla="*/ 284265 w 6537372"/>
              <a:gd name="connsiteY1783" fmla="*/ 3034012 h 4991619"/>
              <a:gd name="connsiteX1784" fmla="*/ 278190 w 6537372"/>
              <a:gd name="connsiteY1784" fmla="*/ 3030439 h 4991619"/>
              <a:gd name="connsiteX1785" fmla="*/ 522969 w 6537372"/>
              <a:gd name="connsiteY1785" fmla="*/ 3030259 h 4991619"/>
              <a:gd name="connsiteX1786" fmla="*/ 514749 w 6537372"/>
              <a:gd name="connsiteY1786" fmla="*/ 3034369 h 4991619"/>
              <a:gd name="connsiteX1787" fmla="*/ 514929 w 6537372"/>
              <a:gd name="connsiteY1787" fmla="*/ 3034369 h 4991619"/>
              <a:gd name="connsiteX1788" fmla="*/ 514035 w 6537372"/>
              <a:gd name="connsiteY1788" fmla="*/ 3035976 h 4991619"/>
              <a:gd name="connsiteX1789" fmla="*/ 516893 w 6537372"/>
              <a:gd name="connsiteY1789" fmla="*/ 3038657 h 4991619"/>
              <a:gd name="connsiteX1790" fmla="*/ 517430 w 6537372"/>
              <a:gd name="connsiteY1790" fmla="*/ 3038657 h 4991619"/>
              <a:gd name="connsiteX1791" fmla="*/ 522969 w 6537372"/>
              <a:gd name="connsiteY1791" fmla="*/ 3030259 h 4991619"/>
              <a:gd name="connsiteX1792" fmla="*/ 334471 w 6537372"/>
              <a:gd name="connsiteY1792" fmla="*/ 3029010 h 4991619"/>
              <a:gd name="connsiteX1793" fmla="*/ 334115 w 6537372"/>
              <a:gd name="connsiteY1793" fmla="*/ 3029544 h 4991619"/>
              <a:gd name="connsiteX1794" fmla="*/ 334115 w 6537372"/>
              <a:gd name="connsiteY1794" fmla="*/ 3029724 h 4991619"/>
              <a:gd name="connsiteX1795" fmla="*/ 334649 w 6537372"/>
              <a:gd name="connsiteY1795" fmla="*/ 3029366 h 4991619"/>
              <a:gd name="connsiteX1796" fmla="*/ 334471 w 6537372"/>
              <a:gd name="connsiteY1796" fmla="*/ 3029010 h 4991619"/>
              <a:gd name="connsiteX1797" fmla="*/ 271223 w 6537372"/>
              <a:gd name="connsiteY1797" fmla="*/ 3021863 h 4991619"/>
              <a:gd name="connsiteX1798" fmla="*/ 248353 w 6537372"/>
              <a:gd name="connsiteY1798" fmla="*/ 3039015 h 4991619"/>
              <a:gd name="connsiteX1799" fmla="*/ 249782 w 6537372"/>
              <a:gd name="connsiteY1799" fmla="*/ 3040623 h 4991619"/>
              <a:gd name="connsiteX1800" fmla="*/ 271223 w 6537372"/>
              <a:gd name="connsiteY1800" fmla="*/ 3021863 h 4991619"/>
              <a:gd name="connsiteX1801" fmla="*/ 292842 w 6537372"/>
              <a:gd name="connsiteY1801" fmla="*/ 3019539 h 4991619"/>
              <a:gd name="connsiteX1802" fmla="*/ 287661 w 6537372"/>
              <a:gd name="connsiteY1802" fmla="*/ 3024007 h 4991619"/>
              <a:gd name="connsiteX1803" fmla="*/ 289805 w 6537372"/>
              <a:gd name="connsiteY1803" fmla="*/ 3026329 h 4991619"/>
              <a:gd name="connsiteX1804" fmla="*/ 295522 w 6537372"/>
              <a:gd name="connsiteY1804" fmla="*/ 3022934 h 4991619"/>
              <a:gd name="connsiteX1805" fmla="*/ 292842 w 6537372"/>
              <a:gd name="connsiteY1805" fmla="*/ 3019539 h 4991619"/>
              <a:gd name="connsiteX1806" fmla="*/ 306777 w 6537372"/>
              <a:gd name="connsiteY1806" fmla="*/ 3018824 h 4991619"/>
              <a:gd name="connsiteX1807" fmla="*/ 298381 w 6537372"/>
              <a:gd name="connsiteY1807" fmla="*/ 3026685 h 4991619"/>
              <a:gd name="connsiteX1808" fmla="*/ 306777 w 6537372"/>
              <a:gd name="connsiteY1808" fmla="*/ 3018824 h 4991619"/>
              <a:gd name="connsiteX1809" fmla="*/ 238882 w 6537372"/>
              <a:gd name="connsiteY1809" fmla="*/ 3016860 h 4991619"/>
              <a:gd name="connsiteX1810" fmla="*/ 229591 w 6537372"/>
              <a:gd name="connsiteY1810" fmla="*/ 3024900 h 4991619"/>
              <a:gd name="connsiteX1811" fmla="*/ 238882 w 6537372"/>
              <a:gd name="connsiteY1811" fmla="*/ 3016860 h 4991619"/>
              <a:gd name="connsiteX1812" fmla="*/ 215478 w 6537372"/>
              <a:gd name="connsiteY1812" fmla="*/ 3012214 h 4991619"/>
              <a:gd name="connsiteX1813" fmla="*/ 208866 w 6537372"/>
              <a:gd name="connsiteY1813" fmla="*/ 3019360 h 4991619"/>
              <a:gd name="connsiteX1814" fmla="*/ 215478 w 6537372"/>
              <a:gd name="connsiteY1814" fmla="*/ 3015072 h 4991619"/>
              <a:gd name="connsiteX1815" fmla="*/ 215478 w 6537372"/>
              <a:gd name="connsiteY1815" fmla="*/ 3012214 h 4991619"/>
              <a:gd name="connsiteX1816" fmla="*/ 6290092 w 6537372"/>
              <a:gd name="connsiteY1816" fmla="*/ 3010962 h 4991619"/>
              <a:gd name="connsiteX1817" fmla="*/ 6284911 w 6537372"/>
              <a:gd name="connsiteY1817" fmla="*/ 3011857 h 4991619"/>
              <a:gd name="connsiteX1818" fmla="*/ 6284911 w 6537372"/>
              <a:gd name="connsiteY1818" fmla="*/ 3013821 h 4991619"/>
              <a:gd name="connsiteX1819" fmla="*/ 6290272 w 6537372"/>
              <a:gd name="connsiteY1819" fmla="*/ 3013821 h 4991619"/>
              <a:gd name="connsiteX1820" fmla="*/ 6290092 w 6537372"/>
              <a:gd name="connsiteY1820" fmla="*/ 3010962 h 4991619"/>
              <a:gd name="connsiteX1821" fmla="*/ 6374068 w 6537372"/>
              <a:gd name="connsiteY1821" fmla="*/ 3010070 h 4991619"/>
              <a:gd name="connsiteX1822" fmla="*/ 6367100 w 6537372"/>
              <a:gd name="connsiteY1822" fmla="*/ 3011857 h 4991619"/>
              <a:gd name="connsiteX1823" fmla="*/ 6367992 w 6537372"/>
              <a:gd name="connsiteY1823" fmla="*/ 3014894 h 4991619"/>
              <a:gd name="connsiteX1824" fmla="*/ 6374424 w 6537372"/>
              <a:gd name="connsiteY1824" fmla="*/ 3012035 h 4991619"/>
              <a:gd name="connsiteX1825" fmla="*/ 6374424 w 6537372"/>
              <a:gd name="connsiteY1825" fmla="*/ 3011857 h 4991619"/>
              <a:gd name="connsiteX1826" fmla="*/ 6374068 w 6537372"/>
              <a:gd name="connsiteY1826" fmla="*/ 3010070 h 4991619"/>
              <a:gd name="connsiteX1827" fmla="*/ 322143 w 6537372"/>
              <a:gd name="connsiteY1827" fmla="*/ 3005603 h 4991619"/>
              <a:gd name="connsiteX1828" fmla="*/ 316248 w 6537372"/>
              <a:gd name="connsiteY1828" fmla="*/ 3009355 h 4991619"/>
              <a:gd name="connsiteX1829" fmla="*/ 323751 w 6537372"/>
              <a:gd name="connsiteY1829" fmla="*/ 3025436 h 4991619"/>
              <a:gd name="connsiteX1830" fmla="*/ 323751 w 6537372"/>
              <a:gd name="connsiteY1830" fmla="*/ 3025614 h 4991619"/>
              <a:gd name="connsiteX1831" fmla="*/ 330541 w 6537372"/>
              <a:gd name="connsiteY1831" fmla="*/ 3007925 h 4991619"/>
              <a:gd name="connsiteX1832" fmla="*/ 330541 w 6537372"/>
              <a:gd name="connsiteY1832" fmla="*/ 3007569 h 4991619"/>
              <a:gd name="connsiteX1833" fmla="*/ 322143 w 6537372"/>
              <a:gd name="connsiteY1833" fmla="*/ 3005603 h 4991619"/>
              <a:gd name="connsiteX1834" fmla="*/ 6247392 w 6537372"/>
              <a:gd name="connsiteY1834" fmla="*/ 3002030 h 4991619"/>
              <a:gd name="connsiteX1835" fmla="*/ 6230774 w 6537372"/>
              <a:gd name="connsiteY1835" fmla="*/ 3012392 h 4991619"/>
              <a:gd name="connsiteX1836" fmla="*/ 6247392 w 6537372"/>
              <a:gd name="connsiteY1836" fmla="*/ 3002030 h 4991619"/>
              <a:gd name="connsiteX1837" fmla="*/ 329290 w 6537372"/>
              <a:gd name="connsiteY1837" fmla="*/ 3001672 h 4991619"/>
              <a:gd name="connsiteX1838" fmla="*/ 331891 w 6537372"/>
              <a:gd name="connsiteY1838" fmla="*/ 3004272 h 4991619"/>
              <a:gd name="connsiteX1839" fmla="*/ 331791 w 6537372"/>
              <a:gd name="connsiteY1839" fmla="*/ 3004530 h 4991619"/>
              <a:gd name="connsiteX1840" fmla="*/ 331971 w 6537372"/>
              <a:gd name="connsiteY1840" fmla="*/ 3004352 h 4991619"/>
              <a:gd name="connsiteX1841" fmla="*/ 331891 w 6537372"/>
              <a:gd name="connsiteY1841" fmla="*/ 3004272 h 4991619"/>
              <a:gd name="connsiteX1842" fmla="*/ 332686 w 6537372"/>
              <a:gd name="connsiteY1842" fmla="*/ 3002208 h 4991619"/>
              <a:gd name="connsiteX1843" fmla="*/ 329290 w 6537372"/>
              <a:gd name="connsiteY1843" fmla="*/ 3001672 h 4991619"/>
              <a:gd name="connsiteX1844" fmla="*/ 6304922 w 6537372"/>
              <a:gd name="connsiteY1844" fmla="*/ 3000957 h 4991619"/>
              <a:gd name="connsiteX1845" fmla="*/ 6291700 w 6537372"/>
              <a:gd name="connsiteY1845" fmla="*/ 3004530 h 4991619"/>
              <a:gd name="connsiteX1846" fmla="*/ 6291880 w 6537372"/>
              <a:gd name="connsiteY1846" fmla="*/ 3008818 h 4991619"/>
              <a:gd name="connsiteX1847" fmla="*/ 6305280 w 6537372"/>
              <a:gd name="connsiteY1847" fmla="*/ 3008462 h 4991619"/>
              <a:gd name="connsiteX1848" fmla="*/ 6308318 w 6537372"/>
              <a:gd name="connsiteY1848" fmla="*/ 3003816 h 4991619"/>
              <a:gd name="connsiteX1849" fmla="*/ 6304922 w 6537372"/>
              <a:gd name="connsiteY1849" fmla="*/ 3000957 h 4991619"/>
              <a:gd name="connsiteX1850" fmla="*/ 239240 w 6537372"/>
              <a:gd name="connsiteY1850" fmla="*/ 3000064 h 4991619"/>
              <a:gd name="connsiteX1851" fmla="*/ 226198 w 6537372"/>
              <a:gd name="connsiteY1851" fmla="*/ 3006674 h 4991619"/>
              <a:gd name="connsiteX1852" fmla="*/ 228162 w 6537372"/>
              <a:gd name="connsiteY1852" fmla="*/ 3009713 h 4991619"/>
              <a:gd name="connsiteX1853" fmla="*/ 240312 w 6537372"/>
              <a:gd name="connsiteY1853" fmla="*/ 3002030 h 4991619"/>
              <a:gd name="connsiteX1854" fmla="*/ 239240 w 6537372"/>
              <a:gd name="connsiteY1854" fmla="*/ 3000064 h 4991619"/>
              <a:gd name="connsiteX1855" fmla="*/ 6372102 w 6537372"/>
              <a:gd name="connsiteY1855" fmla="*/ 2997920 h 4991619"/>
              <a:gd name="connsiteX1856" fmla="*/ 6352984 w 6537372"/>
              <a:gd name="connsiteY1856" fmla="*/ 2998278 h 4991619"/>
              <a:gd name="connsiteX1857" fmla="*/ 6357094 w 6537372"/>
              <a:gd name="connsiteY1857" fmla="*/ 3002030 h 4991619"/>
              <a:gd name="connsiteX1858" fmla="*/ 6339049 w 6537372"/>
              <a:gd name="connsiteY1858" fmla="*/ 3008998 h 4991619"/>
              <a:gd name="connsiteX1859" fmla="*/ 6335297 w 6537372"/>
              <a:gd name="connsiteY1859" fmla="*/ 3008818 h 4991619"/>
              <a:gd name="connsiteX1860" fmla="*/ 6335117 w 6537372"/>
              <a:gd name="connsiteY1860" fmla="*/ 3008462 h 4991619"/>
              <a:gd name="connsiteX1861" fmla="*/ 6331724 w 6537372"/>
              <a:gd name="connsiteY1861" fmla="*/ 3015431 h 4991619"/>
              <a:gd name="connsiteX1862" fmla="*/ 6351913 w 6537372"/>
              <a:gd name="connsiteY1862" fmla="*/ 3013287 h 4991619"/>
              <a:gd name="connsiteX1863" fmla="*/ 6372102 w 6537372"/>
              <a:gd name="connsiteY1863" fmla="*/ 2997920 h 4991619"/>
              <a:gd name="connsiteX1864" fmla="*/ 6386218 w 6537372"/>
              <a:gd name="connsiteY1864" fmla="*/ 2995598 h 4991619"/>
              <a:gd name="connsiteX1865" fmla="*/ 6380678 w 6537372"/>
              <a:gd name="connsiteY1865" fmla="*/ 3001852 h 4991619"/>
              <a:gd name="connsiteX1866" fmla="*/ 6386218 w 6537372"/>
              <a:gd name="connsiteY1866" fmla="*/ 2995598 h 4991619"/>
              <a:gd name="connsiteX1867" fmla="*/ 356448 w 6537372"/>
              <a:gd name="connsiteY1867" fmla="*/ 2995598 h 4991619"/>
              <a:gd name="connsiteX1868" fmla="*/ 347157 w 6537372"/>
              <a:gd name="connsiteY1868" fmla="*/ 3001852 h 4991619"/>
              <a:gd name="connsiteX1869" fmla="*/ 343047 w 6537372"/>
              <a:gd name="connsiteY1869" fmla="*/ 3010962 h 4991619"/>
              <a:gd name="connsiteX1870" fmla="*/ 358770 w 6537372"/>
              <a:gd name="connsiteY1870" fmla="*/ 3007747 h 4991619"/>
              <a:gd name="connsiteX1871" fmla="*/ 363595 w 6537372"/>
              <a:gd name="connsiteY1871" fmla="*/ 3005603 h 4991619"/>
              <a:gd name="connsiteX1872" fmla="*/ 366454 w 6537372"/>
              <a:gd name="connsiteY1872" fmla="*/ 2997742 h 4991619"/>
              <a:gd name="connsiteX1873" fmla="*/ 366276 w 6537372"/>
              <a:gd name="connsiteY1873" fmla="*/ 2996669 h 4991619"/>
              <a:gd name="connsiteX1874" fmla="*/ 356448 w 6537372"/>
              <a:gd name="connsiteY1874" fmla="*/ 2995598 h 4991619"/>
              <a:gd name="connsiteX1875" fmla="*/ 222625 w 6537372"/>
              <a:gd name="connsiteY1875" fmla="*/ 2995598 h 4991619"/>
              <a:gd name="connsiteX1876" fmla="*/ 216907 w 6537372"/>
              <a:gd name="connsiteY1876" fmla="*/ 2998456 h 4991619"/>
              <a:gd name="connsiteX1877" fmla="*/ 218515 w 6537372"/>
              <a:gd name="connsiteY1877" fmla="*/ 3001137 h 4991619"/>
              <a:gd name="connsiteX1878" fmla="*/ 223696 w 6537372"/>
              <a:gd name="connsiteY1878" fmla="*/ 2997383 h 4991619"/>
              <a:gd name="connsiteX1879" fmla="*/ 222625 w 6537372"/>
              <a:gd name="connsiteY1879" fmla="*/ 2995598 h 4991619"/>
              <a:gd name="connsiteX1880" fmla="*/ 516389 w 6537372"/>
              <a:gd name="connsiteY1880" fmla="*/ 2995363 h 4991619"/>
              <a:gd name="connsiteX1881" fmla="*/ 514571 w 6537372"/>
              <a:gd name="connsiteY1881" fmla="*/ 2996669 h 4991619"/>
              <a:gd name="connsiteX1882" fmla="*/ 515192 w 6537372"/>
              <a:gd name="connsiteY1882" fmla="*/ 2995635 h 4991619"/>
              <a:gd name="connsiteX1883" fmla="*/ 139900 w 6537372"/>
              <a:gd name="connsiteY1883" fmla="*/ 2993990 h 4991619"/>
              <a:gd name="connsiteX1884" fmla="*/ 130251 w 6537372"/>
              <a:gd name="connsiteY1884" fmla="*/ 2998635 h 4991619"/>
              <a:gd name="connsiteX1885" fmla="*/ 139900 w 6537372"/>
              <a:gd name="connsiteY1885" fmla="*/ 2993990 h 4991619"/>
              <a:gd name="connsiteX1886" fmla="*/ 6254538 w 6537372"/>
              <a:gd name="connsiteY1886" fmla="*/ 2989344 h 4991619"/>
              <a:gd name="connsiteX1887" fmla="*/ 6243460 w 6537372"/>
              <a:gd name="connsiteY1887" fmla="*/ 2990058 h 4991619"/>
              <a:gd name="connsiteX1888" fmla="*/ 6229524 w 6537372"/>
              <a:gd name="connsiteY1888" fmla="*/ 2993275 h 4991619"/>
              <a:gd name="connsiteX1889" fmla="*/ 6229702 w 6537372"/>
              <a:gd name="connsiteY1889" fmla="*/ 2992739 h 4991619"/>
              <a:gd name="connsiteX1890" fmla="*/ 6208976 w 6537372"/>
              <a:gd name="connsiteY1890" fmla="*/ 2992024 h 4991619"/>
              <a:gd name="connsiteX1891" fmla="*/ 6209513 w 6537372"/>
              <a:gd name="connsiteY1891" fmla="*/ 2996134 h 4991619"/>
              <a:gd name="connsiteX1892" fmla="*/ 6217016 w 6537372"/>
              <a:gd name="connsiteY1892" fmla="*/ 2994347 h 4991619"/>
              <a:gd name="connsiteX1893" fmla="*/ 6212014 w 6537372"/>
              <a:gd name="connsiteY1893" fmla="*/ 2996669 h 4991619"/>
              <a:gd name="connsiteX1894" fmla="*/ 6223985 w 6537372"/>
              <a:gd name="connsiteY1894" fmla="*/ 2997027 h 4991619"/>
              <a:gd name="connsiteX1895" fmla="*/ 6232203 w 6537372"/>
              <a:gd name="connsiteY1895" fmla="*/ 2995954 h 4991619"/>
              <a:gd name="connsiteX1896" fmla="*/ 6284733 w 6537372"/>
              <a:gd name="connsiteY1896" fmla="*/ 2996312 h 4991619"/>
              <a:gd name="connsiteX1897" fmla="*/ 6289914 w 6537372"/>
              <a:gd name="connsiteY1897" fmla="*/ 2993990 h 4991619"/>
              <a:gd name="connsiteX1898" fmla="*/ 6276335 w 6537372"/>
              <a:gd name="connsiteY1898" fmla="*/ 2990773 h 4991619"/>
              <a:gd name="connsiteX1899" fmla="*/ 6254538 w 6537372"/>
              <a:gd name="connsiteY1899" fmla="*/ 2989344 h 4991619"/>
              <a:gd name="connsiteX1900" fmla="*/ 550127 w 6537372"/>
              <a:gd name="connsiteY1900" fmla="*/ 2980231 h 4991619"/>
              <a:gd name="connsiteX1901" fmla="*/ 544766 w 6537372"/>
              <a:gd name="connsiteY1901" fmla="*/ 2983448 h 4991619"/>
              <a:gd name="connsiteX1902" fmla="*/ 520825 w 6537372"/>
              <a:gd name="connsiteY1902" fmla="*/ 3022934 h 4991619"/>
              <a:gd name="connsiteX1903" fmla="*/ 527257 w 6537372"/>
              <a:gd name="connsiteY1903" fmla="*/ 3022934 h 4991619"/>
              <a:gd name="connsiteX1904" fmla="*/ 548698 w 6537372"/>
              <a:gd name="connsiteY1904" fmla="*/ 2983448 h 4991619"/>
              <a:gd name="connsiteX1905" fmla="*/ 550127 w 6537372"/>
              <a:gd name="connsiteY1905" fmla="*/ 2980231 h 4991619"/>
              <a:gd name="connsiteX1906" fmla="*/ 373422 w 6537372"/>
              <a:gd name="connsiteY1906" fmla="*/ 2979516 h 4991619"/>
              <a:gd name="connsiteX1907" fmla="*/ 369849 w 6537372"/>
              <a:gd name="connsiteY1907" fmla="*/ 2982197 h 4991619"/>
              <a:gd name="connsiteX1908" fmla="*/ 368420 w 6537372"/>
              <a:gd name="connsiteY1908" fmla="*/ 2992202 h 4991619"/>
              <a:gd name="connsiteX1909" fmla="*/ 373422 w 6537372"/>
              <a:gd name="connsiteY1909" fmla="*/ 2979516 h 4991619"/>
              <a:gd name="connsiteX1910" fmla="*/ 6235062 w 6537372"/>
              <a:gd name="connsiteY1910" fmla="*/ 2979338 h 4991619"/>
              <a:gd name="connsiteX1911" fmla="*/ 6235242 w 6537372"/>
              <a:gd name="connsiteY1911" fmla="*/ 2979516 h 4991619"/>
              <a:gd name="connsiteX1912" fmla="*/ 6232383 w 6537372"/>
              <a:gd name="connsiteY1912" fmla="*/ 2983270 h 4991619"/>
              <a:gd name="connsiteX1913" fmla="*/ 6240779 w 6537372"/>
              <a:gd name="connsiteY1913" fmla="*/ 2985592 h 4991619"/>
              <a:gd name="connsiteX1914" fmla="*/ 6272940 w 6537372"/>
              <a:gd name="connsiteY1914" fmla="*/ 2983985 h 4991619"/>
              <a:gd name="connsiteX1915" fmla="*/ 6275620 w 6537372"/>
              <a:gd name="connsiteY1915" fmla="*/ 2983626 h 4991619"/>
              <a:gd name="connsiteX1916" fmla="*/ 6300634 w 6537372"/>
              <a:gd name="connsiteY1916" fmla="*/ 2984341 h 4991619"/>
              <a:gd name="connsiteX1917" fmla="*/ 6306888 w 6537372"/>
              <a:gd name="connsiteY1917" fmla="*/ 2983448 h 4991619"/>
              <a:gd name="connsiteX1918" fmla="*/ 6251321 w 6537372"/>
              <a:gd name="connsiteY1918" fmla="*/ 2980231 h 4991619"/>
              <a:gd name="connsiteX1919" fmla="*/ 6235062 w 6537372"/>
              <a:gd name="connsiteY1919" fmla="*/ 2979338 h 4991619"/>
              <a:gd name="connsiteX1920" fmla="*/ 383070 w 6537372"/>
              <a:gd name="connsiteY1920" fmla="*/ 2978624 h 4991619"/>
              <a:gd name="connsiteX1921" fmla="*/ 380569 w 6537372"/>
              <a:gd name="connsiteY1921" fmla="*/ 2984699 h 4991619"/>
              <a:gd name="connsiteX1922" fmla="*/ 383248 w 6537372"/>
              <a:gd name="connsiteY1922" fmla="*/ 2978624 h 4991619"/>
              <a:gd name="connsiteX1923" fmla="*/ 383070 w 6537372"/>
              <a:gd name="connsiteY1923" fmla="*/ 2978624 h 4991619"/>
              <a:gd name="connsiteX1924" fmla="*/ 341082 w 6537372"/>
              <a:gd name="connsiteY1924" fmla="*/ 2967903 h 4991619"/>
              <a:gd name="connsiteX1925" fmla="*/ 329647 w 6537372"/>
              <a:gd name="connsiteY1925" fmla="*/ 2975050 h 4991619"/>
              <a:gd name="connsiteX1926" fmla="*/ 341082 w 6537372"/>
              <a:gd name="connsiteY1926" fmla="*/ 2967903 h 4991619"/>
              <a:gd name="connsiteX1927" fmla="*/ 397541 w 6537372"/>
              <a:gd name="connsiteY1927" fmla="*/ 2965045 h 4991619"/>
              <a:gd name="connsiteX1928" fmla="*/ 395578 w 6537372"/>
              <a:gd name="connsiteY1928" fmla="*/ 2965581 h 4991619"/>
              <a:gd name="connsiteX1929" fmla="*/ 396827 w 6537372"/>
              <a:gd name="connsiteY1929" fmla="*/ 2966832 h 4991619"/>
              <a:gd name="connsiteX1930" fmla="*/ 396827 w 6537372"/>
              <a:gd name="connsiteY1930" fmla="*/ 2967010 h 4991619"/>
              <a:gd name="connsiteX1931" fmla="*/ 397541 w 6537372"/>
              <a:gd name="connsiteY1931" fmla="*/ 2965045 h 4991619"/>
              <a:gd name="connsiteX1932" fmla="*/ 239597 w 6537372"/>
              <a:gd name="connsiteY1932" fmla="*/ 2961649 h 4991619"/>
              <a:gd name="connsiteX1933" fmla="*/ 225125 w 6537372"/>
              <a:gd name="connsiteY1933" fmla="*/ 2965223 h 4991619"/>
              <a:gd name="connsiteX1934" fmla="*/ 217978 w 6537372"/>
              <a:gd name="connsiteY1934" fmla="*/ 2970940 h 4991619"/>
              <a:gd name="connsiteX1935" fmla="*/ 221373 w 6537372"/>
              <a:gd name="connsiteY1935" fmla="*/ 2972370 h 4991619"/>
              <a:gd name="connsiteX1936" fmla="*/ 219277 w 6537372"/>
              <a:gd name="connsiteY1936" fmla="*/ 2976401 h 4991619"/>
              <a:gd name="connsiteX1937" fmla="*/ 218426 w 6537372"/>
              <a:gd name="connsiteY1937" fmla="*/ 2976578 h 4991619"/>
              <a:gd name="connsiteX1938" fmla="*/ 216907 w 6537372"/>
              <a:gd name="connsiteY1938" fmla="*/ 2975943 h 4991619"/>
              <a:gd name="connsiteX1939" fmla="*/ 217622 w 6537372"/>
              <a:gd name="connsiteY1939" fmla="*/ 2971120 h 4991619"/>
              <a:gd name="connsiteX1940" fmla="*/ 214763 w 6537372"/>
              <a:gd name="connsiteY1940" fmla="*/ 2973084 h 4991619"/>
              <a:gd name="connsiteX1941" fmla="*/ 210295 w 6537372"/>
              <a:gd name="connsiteY1941" fmla="*/ 2978267 h 4991619"/>
              <a:gd name="connsiteX1942" fmla="*/ 218426 w 6537372"/>
              <a:gd name="connsiteY1942" fmla="*/ 2976578 h 4991619"/>
              <a:gd name="connsiteX1943" fmla="*/ 219049 w 6537372"/>
              <a:gd name="connsiteY1943" fmla="*/ 2976838 h 4991619"/>
              <a:gd name="connsiteX1944" fmla="*/ 219277 w 6537372"/>
              <a:gd name="connsiteY1944" fmla="*/ 2976401 h 4991619"/>
              <a:gd name="connsiteX1945" fmla="*/ 224054 w 6537372"/>
              <a:gd name="connsiteY1945" fmla="*/ 2975408 h 4991619"/>
              <a:gd name="connsiteX1946" fmla="*/ 239955 w 6537372"/>
              <a:gd name="connsiteY1946" fmla="*/ 2977372 h 4991619"/>
              <a:gd name="connsiteX1947" fmla="*/ 239955 w 6537372"/>
              <a:gd name="connsiteY1947" fmla="*/ 2977552 h 4991619"/>
              <a:gd name="connsiteX1948" fmla="*/ 258359 w 6537372"/>
              <a:gd name="connsiteY1948" fmla="*/ 2967725 h 4991619"/>
              <a:gd name="connsiteX1949" fmla="*/ 254785 w 6537372"/>
              <a:gd name="connsiteY1949" fmla="*/ 2964508 h 4991619"/>
              <a:gd name="connsiteX1950" fmla="*/ 244958 w 6537372"/>
              <a:gd name="connsiteY1950" fmla="*/ 2967367 h 4991619"/>
              <a:gd name="connsiteX1951" fmla="*/ 239597 w 6537372"/>
              <a:gd name="connsiteY1951" fmla="*/ 2961649 h 4991619"/>
              <a:gd name="connsiteX1952" fmla="*/ 351087 w 6537372"/>
              <a:gd name="connsiteY1952" fmla="*/ 2957005 h 4991619"/>
              <a:gd name="connsiteX1953" fmla="*/ 342511 w 6537372"/>
              <a:gd name="connsiteY1953" fmla="*/ 2961293 h 4991619"/>
              <a:gd name="connsiteX1954" fmla="*/ 347514 w 6537372"/>
              <a:gd name="connsiteY1954" fmla="*/ 2963793 h 4991619"/>
              <a:gd name="connsiteX1955" fmla="*/ 351087 w 6537372"/>
              <a:gd name="connsiteY1955" fmla="*/ 2957005 h 4991619"/>
              <a:gd name="connsiteX1956" fmla="*/ 429346 w 6537372"/>
              <a:gd name="connsiteY1956" fmla="*/ 2948607 h 4991619"/>
              <a:gd name="connsiteX1957" fmla="*/ 421484 w 6537372"/>
              <a:gd name="connsiteY1957" fmla="*/ 2952717 h 4991619"/>
              <a:gd name="connsiteX1958" fmla="*/ 422555 w 6537372"/>
              <a:gd name="connsiteY1958" fmla="*/ 2955039 h 4991619"/>
              <a:gd name="connsiteX1959" fmla="*/ 422734 w 6537372"/>
              <a:gd name="connsiteY1959" fmla="*/ 2955039 h 4991619"/>
              <a:gd name="connsiteX1960" fmla="*/ 430775 w 6537372"/>
              <a:gd name="connsiteY1960" fmla="*/ 2951287 h 4991619"/>
              <a:gd name="connsiteX1961" fmla="*/ 429346 w 6537372"/>
              <a:gd name="connsiteY1961" fmla="*/ 2948607 h 4991619"/>
              <a:gd name="connsiteX1962" fmla="*/ 235489 w 6537372"/>
              <a:gd name="connsiteY1962" fmla="*/ 2948251 h 4991619"/>
              <a:gd name="connsiteX1963" fmla="*/ 230664 w 6537372"/>
              <a:gd name="connsiteY1963" fmla="*/ 2951287 h 4991619"/>
              <a:gd name="connsiteX1964" fmla="*/ 231557 w 6537372"/>
              <a:gd name="connsiteY1964" fmla="*/ 2952717 h 4991619"/>
              <a:gd name="connsiteX1965" fmla="*/ 236382 w 6537372"/>
              <a:gd name="connsiteY1965" fmla="*/ 2949680 h 4991619"/>
              <a:gd name="connsiteX1966" fmla="*/ 235489 w 6537372"/>
              <a:gd name="connsiteY1966" fmla="*/ 2948251 h 4991619"/>
              <a:gd name="connsiteX1967" fmla="*/ 440959 w 6537372"/>
              <a:gd name="connsiteY1967" fmla="*/ 2945033 h 4991619"/>
              <a:gd name="connsiteX1968" fmla="*/ 437144 w 6537372"/>
              <a:gd name="connsiteY1968" fmla="*/ 2947522 h 4991619"/>
              <a:gd name="connsiteX1969" fmla="*/ 436671 w 6537372"/>
              <a:gd name="connsiteY1969" fmla="*/ 2947536 h 4991619"/>
              <a:gd name="connsiteX1970" fmla="*/ 436849 w 6537372"/>
              <a:gd name="connsiteY1970" fmla="*/ 2947714 h 4991619"/>
              <a:gd name="connsiteX1971" fmla="*/ 437144 w 6537372"/>
              <a:gd name="connsiteY1971" fmla="*/ 2947522 h 4991619"/>
              <a:gd name="connsiteX1972" fmla="*/ 442747 w 6537372"/>
              <a:gd name="connsiteY1972" fmla="*/ 2947356 h 4991619"/>
              <a:gd name="connsiteX1973" fmla="*/ 440959 w 6537372"/>
              <a:gd name="connsiteY1973" fmla="*/ 2945033 h 4991619"/>
              <a:gd name="connsiteX1974" fmla="*/ 588005 w 6537372"/>
              <a:gd name="connsiteY1974" fmla="*/ 2944855 h 4991619"/>
              <a:gd name="connsiteX1975" fmla="*/ 587290 w 6537372"/>
              <a:gd name="connsiteY1975" fmla="*/ 2945570 h 4991619"/>
              <a:gd name="connsiteX1976" fmla="*/ 588361 w 6537372"/>
              <a:gd name="connsiteY1976" fmla="*/ 2945570 h 4991619"/>
              <a:gd name="connsiteX1977" fmla="*/ 448284 w 6537372"/>
              <a:gd name="connsiteY1977" fmla="*/ 2940567 h 4991619"/>
              <a:gd name="connsiteX1978" fmla="*/ 441674 w 6537372"/>
              <a:gd name="connsiteY1978" fmla="*/ 2944677 h 4991619"/>
              <a:gd name="connsiteX1979" fmla="*/ 446140 w 6537372"/>
              <a:gd name="connsiteY1979" fmla="*/ 2945033 h 4991619"/>
              <a:gd name="connsiteX1980" fmla="*/ 448284 w 6537372"/>
              <a:gd name="connsiteY1980" fmla="*/ 2940567 h 4991619"/>
              <a:gd name="connsiteX1981" fmla="*/ 269972 w 6537372"/>
              <a:gd name="connsiteY1981" fmla="*/ 2939853 h 4991619"/>
              <a:gd name="connsiteX1982" fmla="*/ 256929 w 6537372"/>
              <a:gd name="connsiteY1982" fmla="*/ 2957541 h 4991619"/>
              <a:gd name="connsiteX1983" fmla="*/ 272472 w 6537372"/>
              <a:gd name="connsiteY1983" fmla="*/ 2962008 h 4991619"/>
              <a:gd name="connsiteX1984" fmla="*/ 272472 w 6537372"/>
              <a:gd name="connsiteY1984" fmla="*/ 2961829 h 4991619"/>
              <a:gd name="connsiteX1985" fmla="*/ 273187 w 6537372"/>
              <a:gd name="connsiteY1985" fmla="*/ 2941104 h 4991619"/>
              <a:gd name="connsiteX1986" fmla="*/ 269972 w 6537372"/>
              <a:gd name="connsiteY1986" fmla="*/ 2939853 h 4991619"/>
              <a:gd name="connsiteX1987" fmla="*/ 263540 w 6537372"/>
              <a:gd name="connsiteY1987" fmla="*/ 2936816 h 4991619"/>
              <a:gd name="connsiteX1988" fmla="*/ 259430 w 6537372"/>
              <a:gd name="connsiteY1988" fmla="*/ 2940745 h 4991619"/>
              <a:gd name="connsiteX1989" fmla="*/ 261752 w 6537372"/>
              <a:gd name="connsiteY1989" fmla="*/ 2942711 h 4991619"/>
              <a:gd name="connsiteX1990" fmla="*/ 265147 w 6537372"/>
              <a:gd name="connsiteY1990" fmla="*/ 2938245 h 4991619"/>
              <a:gd name="connsiteX1991" fmla="*/ 263540 w 6537372"/>
              <a:gd name="connsiteY1991" fmla="*/ 2936816 h 4991619"/>
              <a:gd name="connsiteX1992" fmla="*/ 368598 w 6537372"/>
              <a:gd name="connsiteY1992" fmla="*/ 2935921 h 4991619"/>
              <a:gd name="connsiteX1993" fmla="*/ 369491 w 6537372"/>
              <a:gd name="connsiteY1993" fmla="*/ 2938780 h 4991619"/>
              <a:gd name="connsiteX1994" fmla="*/ 370205 w 6537372"/>
              <a:gd name="connsiteY1994" fmla="*/ 2936279 h 4991619"/>
              <a:gd name="connsiteX1995" fmla="*/ 368598 w 6537372"/>
              <a:gd name="connsiteY1995" fmla="*/ 2935921 h 4991619"/>
              <a:gd name="connsiteX1996" fmla="*/ 292483 w 6537372"/>
              <a:gd name="connsiteY1996" fmla="*/ 2934850 h 4991619"/>
              <a:gd name="connsiteX1997" fmla="*/ 277297 w 6537372"/>
              <a:gd name="connsiteY1997" fmla="*/ 2959327 h 4991619"/>
              <a:gd name="connsiteX1998" fmla="*/ 277475 w 6537372"/>
              <a:gd name="connsiteY1998" fmla="*/ 2959327 h 4991619"/>
              <a:gd name="connsiteX1999" fmla="*/ 292483 w 6537372"/>
              <a:gd name="connsiteY1999" fmla="*/ 2953968 h 4991619"/>
              <a:gd name="connsiteX2000" fmla="*/ 292483 w 6537372"/>
              <a:gd name="connsiteY2000" fmla="*/ 2934850 h 4991619"/>
              <a:gd name="connsiteX2001" fmla="*/ 363059 w 6537372"/>
              <a:gd name="connsiteY2001" fmla="*/ 2934313 h 4991619"/>
              <a:gd name="connsiteX2002" fmla="*/ 362344 w 6537372"/>
              <a:gd name="connsiteY2002" fmla="*/ 2941282 h 4991619"/>
              <a:gd name="connsiteX2003" fmla="*/ 367705 w 6537372"/>
              <a:gd name="connsiteY2003" fmla="*/ 2935564 h 4991619"/>
              <a:gd name="connsiteX2004" fmla="*/ 367883 w 6537372"/>
              <a:gd name="connsiteY2004" fmla="*/ 2935564 h 4991619"/>
              <a:gd name="connsiteX2005" fmla="*/ 363059 w 6537372"/>
              <a:gd name="connsiteY2005" fmla="*/ 2934313 h 4991619"/>
              <a:gd name="connsiteX2006" fmla="*/ 394505 w 6537372"/>
              <a:gd name="connsiteY2006" fmla="*/ 2932706 h 4991619"/>
              <a:gd name="connsiteX2007" fmla="*/ 376816 w 6537372"/>
              <a:gd name="connsiteY2007" fmla="*/ 2944677 h 4991619"/>
              <a:gd name="connsiteX2008" fmla="*/ 369849 w 6537372"/>
              <a:gd name="connsiteY2008" fmla="*/ 2953073 h 4991619"/>
              <a:gd name="connsiteX2009" fmla="*/ 379140 w 6537372"/>
              <a:gd name="connsiteY2009" fmla="*/ 2949322 h 4991619"/>
              <a:gd name="connsiteX2010" fmla="*/ 388429 w 6537372"/>
              <a:gd name="connsiteY2010" fmla="*/ 2945212 h 4991619"/>
              <a:gd name="connsiteX2011" fmla="*/ 388609 w 6537372"/>
              <a:gd name="connsiteY2011" fmla="*/ 2945033 h 4991619"/>
              <a:gd name="connsiteX2012" fmla="*/ 394505 w 6537372"/>
              <a:gd name="connsiteY2012" fmla="*/ 2932706 h 4991619"/>
              <a:gd name="connsiteX2013" fmla="*/ 270686 w 6537372"/>
              <a:gd name="connsiteY2013" fmla="*/ 2931991 h 4991619"/>
              <a:gd name="connsiteX2014" fmla="*/ 269972 w 6537372"/>
              <a:gd name="connsiteY2014" fmla="*/ 2934672 h 4991619"/>
              <a:gd name="connsiteX2015" fmla="*/ 274645 w 6537372"/>
              <a:gd name="connsiteY2015" fmla="*/ 2937786 h 4991619"/>
              <a:gd name="connsiteX2016" fmla="*/ 274616 w 6537372"/>
              <a:gd name="connsiteY2016" fmla="*/ 2937887 h 4991619"/>
              <a:gd name="connsiteX2017" fmla="*/ 274796 w 6537372"/>
              <a:gd name="connsiteY2017" fmla="*/ 2937887 h 4991619"/>
              <a:gd name="connsiteX2018" fmla="*/ 274645 w 6537372"/>
              <a:gd name="connsiteY2018" fmla="*/ 2937786 h 4991619"/>
              <a:gd name="connsiteX2019" fmla="*/ 275867 w 6537372"/>
              <a:gd name="connsiteY2019" fmla="*/ 2933420 h 4991619"/>
              <a:gd name="connsiteX2020" fmla="*/ 270686 w 6537372"/>
              <a:gd name="connsiteY2020" fmla="*/ 2931991 h 4991619"/>
              <a:gd name="connsiteX2021" fmla="*/ 404154 w 6537372"/>
              <a:gd name="connsiteY2021" fmla="*/ 2930025 h 4991619"/>
              <a:gd name="connsiteX2022" fmla="*/ 402010 w 6537372"/>
              <a:gd name="connsiteY2022" fmla="*/ 2936457 h 4991619"/>
              <a:gd name="connsiteX2023" fmla="*/ 407191 w 6537372"/>
              <a:gd name="connsiteY2023" fmla="*/ 2930025 h 4991619"/>
              <a:gd name="connsiteX2024" fmla="*/ 404154 w 6537372"/>
              <a:gd name="connsiteY2024" fmla="*/ 2930025 h 4991619"/>
              <a:gd name="connsiteX2025" fmla="*/ 424699 w 6537372"/>
              <a:gd name="connsiteY2025" fmla="*/ 2918590 h 4991619"/>
              <a:gd name="connsiteX2026" fmla="*/ 414516 w 6537372"/>
              <a:gd name="connsiteY2026" fmla="*/ 2926630 h 4991619"/>
              <a:gd name="connsiteX2027" fmla="*/ 424699 w 6537372"/>
              <a:gd name="connsiteY2027" fmla="*/ 2918590 h 4991619"/>
              <a:gd name="connsiteX2028" fmla="*/ 6323504 w 6537372"/>
              <a:gd name="connsiteY2028" fmla="*/ 2916446 h 4991619"/>
              <a:gd name="connsiteX2029" fmla="*/ 6321182 w 6537372"/>
              <a:gd name="connsiteY2029" fmla="*/ 2916983 h 4991619"/>
              <a:gd name="connsiteX2030" fmla="*/ 6321182 w 6537372"/>
              <a:gd name="connsiteY2030" fmla="*/ 2917161 h 4991619"/>
              <a:gd name="connsiteX2031" fmla="*/ 6320824 w 6537372"/>
              <a:gd name="connsiteY2031" fmla="*/ 2918768 h 4991619"/>
              <a:gd name="connsiteX2032" fmla="*/ 6322968 w 6537372"/>
              <a:gd name="connsiteY2032" fmla="*/ 2919483 h 4991619"/>
              <a:gd name="connsiteX2033" fmla="*/ 6323504 w 6537372"/>
              <a:gd name="connsiteY2033" fmla="*/ 2916446 h 4991619"/>
              <a:gd name="connsiteX2034" fmla="*/ 528865 w 6537372"/>
              <a:gd name="connsiteY2034" fmla="*/ 2915375 h 4991619"/>
              <a:gd name="connsiteX2035" fmla="*/ 531367 w 6537372"/>
              <a:gd name="connsiteY2035" fmla="*/ 2918949 h 4991619"/>
              <a:gd name="connsiteX2036" fmla="*/ 532260 w 6537372"/>
              <a:gd name="connsiteY2036" fmla="*/ 2916983 h 4991619"/>
              <a:gd name="connsiteX2037" fmla="*/ 528865 w 6537372"/>
              <a:gd name="connsiteY2037" fmla="*/ 2915375 h 4991619"/>
              <a:gd name="connsiteX2038" fmla="*/ 6085515 w 6537372"/>
              <a:gd name="connsiteY2038" fmla="*/ 2911265 h 4991619"/>
              <a:gd name="connsiteX2039" fmla="*/ 6085158 w 6537372"/>
              <a:gd name="connsiteY2039" fmla="*/ 2911622 h 4991619"/>
              <a:gd name="connsiteX2040" fmla="*/ 6085515 w 6537372"/>
              <a:gd name="connsiteY2040" fmla="*/ 2911622 h 4991619"/>
              <a:gd name="connsiteX2041" fmla="*/ 6085515 w 6537372"/>
              <a:gd name="connsiteY2041" fmla="*/ 2911265 h 4991619"/>
              <a:gd name="connsiteX2042" fmla="*/ 452930 w 6537372"/>
              <a:gd name="connsiteY2042" fmla="*/ 2905370 h 4991619"/>
              <a:gd name="connsiteX2043" fmla="*/ 451857 w 6537372"/>
              <a:gd name="connsiteY2043" fmla="*/ 2905726 h 4991619"/>
              <a:gd name="connsiteX2044" fmla="*/ 452037 w 6537372"/>
              <a:gd name="connsiteY2044" fmla="*/ 2906619 h 4991619"/>
              <a:gd name="connsiteX2045" fmla="*/ 452216 w 6537372"/>
              <a:gd name="connsiteY2045" fmla="*/ 2906619 h 4991619"/>
              <a:gd name="connsiteX2046" fmla="*/ 452930 w 6537372"/>
              <a:gd name="connsiteY2046" fmla="*/ 2905370 h 4991619"/>
              <a:gd name="connsiteX2047" fmla="*/ 518144 w 6537372"/>
              <a:gd name="connsiteY2047" fmla="*/ 2904475 h 4991619"/>
              <a:gd name="connsiteX2048" fmla="*/ 517073 w 6537372"/>
              <a:gd name="connsiteY2048" fmla="*/ 2909836 h 4991619"/>
              <a:gd name="connsiteX2049" fmla="*/ 522254 w 6537372"/>
              <a:gd name="connsiteY2049" fmla="*/ 2907692 h 4991619"/>
              <a:gd name="connsiteX2050" fmla="*/ 517430 w 6537372"/>
              <a:gd name="connsiteY2050" fmla="*/ 2913051 h 4991619"/>
              <a:gd name="connsiteX2051" fmla="*/ 517608 w 6537372"/>
              <a:gd name="connsiteY2051" fmla="*/ 2913231 h 4991619"/>
              <a:gd name="connsiteX2052" fmla="*/ 523325 w 6537372"/>
              <a:gd name="connsiteY2052" fmla="*/ 2909658 h 4991619"/>
              <a:gd name="connsiteX2053" fmla="*/ 522791 w 6537372"/>
              <a:gd name="connsiteY2053" fmla="*/ 2907514 h 4991619"/>
              <a:gd name="connsiteX2054" fmla="*/ 522254 w 6537372"/>
              <a:gd name="connsiteY2054" fmla="*/ 2907692 h 4991619"/>
              <a:gd name="connsiteX2055" fmla="*/ 522611 w 6537372"/>
              <a:gd name="connsiteY2055" fmla="*/ 2907334 h 4991619"/>
              <a:gd name="connsiteX2056" fmla="*/ 518144 w 6537372"/>
              <a:gd name="connsiteY2056" fmla="*/ 2904475 h 4991619"/>
              <a:gd name="connsiteX2057" fmla="*/ 6139116 w 6537372"/>
              <a:gd name="connsiteY2057" fmla="*/ 2904297 h 4991619"/>
              <a:gd name="connsiteX2058" fmla="*/ 6136972 w 6537372"/>
              <a:gd name="connsiteY2058" fmla="*/ 2911443 h 4991619"/>
              <a:gd name="connsiteX2059" fmla="*/ 6139116 w 6537372"/>
              <a:gd name="connsiteY2059" fmla="*/ 2904297 h 4991619"/>
              <a:gd name="connsiteX2060" fmla="*/ 369491 w 6537372"/>
              <a:gd name="connsiteY2060" fmla="*/ 2901260 h 4991619"/>
              <a:gd name="connsiteX2061" fmla="*/ 366632 w 6537372"/>
              <a:gd name="connsiteY2061" fmla="*/ 2903940 h 4991619"/>
              <a:gd name="connsiteX2062" fmla="*/ 356270 w 6537372"/>
              <a:gd name="connsiteY2062" fmla="*/ 2915195 h 4991619"/>
              <a:gd name="connsiteX2063" fmla="*/ 354661 w 6537372"/>
              <a:gd name="connsiteY2063" fmla="*/ 2904833 h 4991619"/>
              <a:gd name="connsiteX2064" fmla="*/ 351624 w 6537372"/>
              <a:gd name="connsiteY2064" fmla="*/ 2904475 h 4991619"/>
              <a:gd name="connsiteX2065" fmla="*/ 348765 w 6537372"/>
              <a:gd name="connsiteY2065" fmla="*/ 2908228 h 4991619"/>
              <a:gd name="connsiteX2066" fmla="*/ 349838 w 6537372"/>
              <a:gd name="connsiteY2066" fmla="*/ 2907692 h 4991619"/>
              <a:gd name="connsiteX2067" fmla="*/ 349480 w 6537372"/>
              <a:gd name="connsiteY2067" fmla="*/ 2909478 h 4991619"/>
              <a:gd name="connsiteX2068" fmla="*/ 348409 w 6537372"/>
              <a:gd name="connsiteY2068" fmla="*/ 2908585 h 4991619"/>
              <a:gd name="connsiteX2069" fmla="*/ 348050 w 6537372"/>
              <a:gd name="connsiteY2069" fmla="*/ 2908943 h 4991619"/>
              <a:gd name="connsiteX2070" fmla="*/ 331434 w 6537372"/>
              <a:gd name="connsiteY2070" fmla="*/ 2924308 h 4991619"/>
              <a:gd name="connsiteX2071" fmla="*/ 319641 w 6537372"/>
              <a:gd name="connsiteY2071" fmla="*/ 2932884 h 4991619"/>
              <a:gd name="connsiteX2072" fmla="*/ 301059 w 6537372"/>
              <a:gd name="connsiteY2072" fmla="*/ 2924130 h 4991619"/>
              <a:gd name="connsiteX2073" fmla="*/ 299983 w 6537372"/>
              <a:gd name="connsiteY2073" fmla="*/ 2923130 h 4991619"/>
              <a:gd name="connsiteX2074" fmla="*/ 299988 w 6537372"/>
              <a:gd name="connsiteY2074" fmla="*/ 2923057 h 4991619"/>
              <a:gd name="connsiteX2075" fmla="*/ 299935 w 6537372"/>
              <a:gd name="connsiteY2075" fmla="*/ 2923085 h 4991619"/>
              <a:gd name="connsiteX2076" fmla="*/ 293556 w 6537372"/>
              <a:gd name="connsiteY2076" fmla="*/ 2917161 h 4991619"/>
              <a:gd name="connsiteX2077" fmla="*/ 283907 w 6537372"/>
              <a:gd name="connsiteY2077" fmla="*/ 2922700 h 4991619"/>
              <a:gd name="connsiteX2078" fmla="*/ 292216 w 6537372"/>
              <a:gd name="connsiteY2078" fmla="*/ 2927233 h 4991619"/>
              <a:gd name="connsiteX2079" fmla="*/ 299935 w 6537372"/>
              <a:gd name="connsiteY2079" fmla="*/ 2923085 h 4991619"/>
              <a:gd name="connsiteX2080" fmla="*/ 299983 w 6537372"/>
              <a:gd name="connsiteY2080" fmla="*/ 2923130 h 4991619"/>
              <a:gd name="connsiteX2081" fmla="*/ 298023 w 6537372"/>
              <a:gd name="connsiteY2081" fmla="*/ 2947892 h 4991619"/>
              <a:gd name="connsiteX2082" fmla="*/ 338403 w 6537372"/>
              <a:gd name="connsiteY2082" fmla="*/ 2929311 h 4991619"/>
              <a:gd name="connsiteX2083" fmla="*/ 338223 w 6537372"/>
              <a:gd name="connsiteY2083" fmla="*/ 2929311 h 4991619"/>
              <a:gd name="connsiteX2084" fmla="*/ 353411 w 6537372"/>
              <a:gd name="connsiteY2084" fmla="*/ 2924308 h 4991619"/>
              <a:gd name="connsiteX2085" fmla="*/ 366095 w 6537372"/>
              <a:gd name="connsiteY2085" fmla="*/ 2917161 h 4991619"/>
              <a:gd name="connsiteX2086" fmla="*/ 369491 w 6537372"/>
              <a:gd name="connsiteY2086" fmla="*/ 2901260 h 4991619"/>
              <a:gd name="connsiteX2087" fmla="*/ 544588 w 6537372"/>
              <a:gd name="connsiteY2087" fmla="*/ 2894649 h 4991619"/>
              <a:gd name="connsiteX2088" fmla="*/ 542265 w 6537372"/>
              <a:gd name="connsiteY2088" fmla="*/ 2897328 h 4991619"/>
              <a:gd name="connsiteX2089" fmla="*/ 543337 w 6537372"/>
              <a:gd name="connsiteY2089" fmla="*/ 2897328 h 4991619"/>
              <a:gd name="connsiteX2090" fmla="*/ 544766 w 6537372"/>
              <a:gd name="connsiteY2090" fmla="*/ 2894828 h 4991619"/>
              <a:gd name="connsiteX2091" fmla="*/ 448284 w 6537372"/>
              <a:gd name="connsiteY2091" fmla="*/ 2890003 h 4991619"/>
              <a:gd name="connsiteX2092" fmla="*/ 448284 w 6537372"/>
              <a:gd name="connsiteY2092" fmla="*/ 2893398 h 4991619"/>
              <a:gd name="connsiteX2093" fmla="*/ 448642 w 6537372"/>
              <a:gd name="connsiteY2093" fmla="*/ 2894649 h 4991619"/>
              <a:gd name="connsiteX2094" fmla="*/ 452572 w 6537372"/>
              <a:gd name="connsiteY2094" fmla="*/ 2896613 h 4991619"/>
              <a:gd name="connsiteX2095" fmla="*/ 453287 w 6537372"/>
              <a:gd name="connsiteY2095" fmla="*/ 2893755 h 4991619"/>
              <a:gd name="connsiteX2096" fmla="*/ 448284 w 6537372"/>
              <a:gd name="connsiteY2096" fmla="*/ 2890003 h 4991619"/>
              <a:gd name="connsiteX2097" fmla="*/ 448820 w 6537372"/>
              <a:gd name="connsiteY2097" fmla="*/ 2883571 h 4991619"/>
              <a:gd name="connsiteX2098" fmla="*/ 446140 w 6537372"/>
              <a:gd name="connsiteY2098" fmla="*/ 2886251 h 4991619"/>
              <a:gd name="connsiteX2099" fmla="*/ 446140 w 6537372"/>
              <a:gd name="connsiteY2099" fmla="*/ 2886608 h 4991619"/>
              <a:gd name="connsiteX2100" fmla="*/ 448820 w 6537372"/>
              <a:gd name="connsiteY2100" fmla="*/ 2883571 h 4991619"/>
              <a:gd name="connsiteX2101" fmla="*/ 6049781 w 6537372"/>
              <a:gd name="connsiteY2101" fmla="*/ 2869455 h 4991619"/>
              <a:gd name="connsiteX2102" fmla="*/ 6051210 w 6537372"/>
              <a:gd name="connsiteY2102" fmla="*/ 2871243 h 4991619"/>
              <a:gd name="connsiteX2103" fmla="*/ 6061394 w 6537372"/>
              <a:gd name="connsiteY2103" fmla="*/ 2872672 h 4991619"/>
              <a:gd name="connsiteX2104" fmla="*/ 6066755 w 6537372"/>
              <a:gd name="connsiteY2104" fmla="*/ 2871958 h 4991619"/>
              <a:gd name="connsiteX2105" fmla="*/ 6066755 w 6537372"/>
              <a:gd name="connsiteY2105" fmla="*/ 2871421 h 4991619"/>
              <a:gd name="connsiteX2106" fmla="*/ 6066933 w 6537372"/>
              <a:gd name="connsiteY2106" fmla="*/ 2871421 h 4991619"/>
              <a:gd name="connsiteX2107" fmla="*/ 6049781 w 6537372"/>
              <a:gd name="connsiteY2107" fmla="*/ 2869455 h 4991619"/>
              <a:gd name="connsiteX2108" fmla="*/ 530831 w 6537372"/>
              <a:gd name="connsiteY2108" fmla="*/ 2864274 h 4991619"/>
              <a:gd name="connsiteX2109" fmla="*/ 530831 w 6537372"/>
              <a:gd name="connsiteY2109" fmla="*/ 2865526 h 4991619"/>
              <a:gd name="connsiteX2110" fmla="*/ 532438 w 6537372"/>
              <a:gd name="connsiteY2110" fmla="*/ 2864274 h 4991619"/>
              <a:gd name="connsiteX2111" fmla="*/ 530831 w 6537372"/>
              <a:gd name="connsiteY2111" fmla="*/ 2864274 h 4991619"/>
              <a:gd name="connsiteX2112" fmla="*/ 365024 w 6537372"/>
              <a:gd name="connsiteY2112" fmla="*/ 2854269 h 4991619"/>
              <a:gd name="connsiteX2113" fmla="*/ 364666 w 6537372"/>
              <a:gd name="connsiteY2113" fmla="*/ 2854627 h 4991619"/>
              <a:gd name="connsiteX2114" fmla="*/ 365621 w 6537372"/>
              <a:gd name="connsiteY2114" fmla="*/ 2854627 h 4991619"/>
              <a:gd name="connsiteX2115" fmla="*/ 365917 w 6537372"/>
              <a:gd name="connsiteY2115" fmla="*/ 2854805 h 4991619"/>
              <a:gd name="connsiteX2116" fmla="*/ 365739 w 6537372"/>
              <a:gd name="connsiteY2116" fmla="*/ 2854627 h 4991619"/>
              <a:gd name="connsiteX2117" fmla="*/ 365621 w 6537372"/>
              <a:gd name="connsiteY2117" fmla="*/ 2854627 h 4991619"/>
              <a:gd name="connsiteX2118" fmla="*/ 543873 w 6537372"/>
              <a:gd name="connsiteY2118" fmla="*/ 2853554 h 4991619"/>
              <a:gd name="connsiteX2119" fmla="*/ 543517 w 6537372"/>
              <a:gd name="connsiteY2119" fmla="*/ 2854805 h 4991619"/>
              <a:gd name="connsiteX2120" fmla="*/ 544588 w 6537372"/>
              <a:gd name="connsiteY2120" fmla="*/ 2855520 h 4991619"/>
              <a:gd name="connsiteX2121" fmla="*/ 544946 w 6537372"/>
              <a:gd name="connsiteY2121" fmla="*/ 2854269 h 4991619"/>
              <a:gd name="connsiteX2122" fmla="*/ 543873 w 6537372"/>
              <a:gd name="connsiteY2122" fmla="*/ 2853554 h 4991619"/>
              <a:gd name="connsiteX2123" fmla="*/ 550842 w 6537372"/>
              <a:gd name="connsiteY2123" fmla="*/ 2840868 h 4991619"/>
              <a:gd name="connsiteX2124" fmla="*/ 550663 w 6537372"/>
              <a:gd name="connsiteY2124" fmla="*/ 2841583 h 4991619"/>
              <a:gd name="connsiteX2125" fmla="*/ 551378 w 6537372"/>
              <a:gd name="connsiteY2125" fmla="*/ 2842656 h 4991619"/>
              <a:gd name="connsiteX2126" fmla="*/ 552627 w 6537372"/>
              <a:gd name="connsiteY2126" fmla="*/ 2841763 h 4991619"/>
              <a:gd name="connsiteX2127" fmla="*/ 552271 w 6537372"/>
              <a:gd name="connsiteY2127" fmla="*/ 2841405 h 4991619"/>
              <a:gd name="connsiteX2128" fmla="*/ 551556 w 6537372"/>
              <a:gd name="connsiteY2128" fmla="*/ 2841763 h 4991619"/>
              <a:gd name="connsiteX2129" fmla="*/ 551020 w 6537372"/>
              <a:gd name="connsiteY2129" fmla="*/ 2840868 h 4991619"/>
              <a:gd name="connsiteX2130" fmla="*/ 357341 w 6537372"/>
              <a:gd name="connsiteY2130" fmla="*/ 2836760 h 4991619"/>
              <a:gd name="connsiteX2131" fmla="*/ 355258 w 6537372"/>
              <a:gd name="connsiteY2131" fmla="*/ 2837106 h 4991619"/>
              <a:gd name="connsiteX2132" fmla="*/ 355375 w 6537372"/>
              <a:gd name="connsiteY2132" fmla="*/ 2836938 h 4991619"/>
              <a:gd name="connsiteX2133" fmla="*/ 355197 w 6537372"/>
              <a:gd name="connsiteY2133" fmla="*/ 2837117 h 4991619"/>
              <a:gd name="connsiteX2134" fmla="*/ 355258 w 6537372"/>
              <a:gd name="connsiteY2134" fmla="*/ 2837106 h 4991619"/>
              <a:gd name="connsiteX2135" fmla="*/ 352517 w 6537372"/>
              <a:gd name="connsiteY2135" fmla="*/ 2841048 h 4991619"/>
              <a:gd name="connsiteX2136" fmla="*/ 361093 w 6537372"/>
              <a:gd name="connsiteY2136" fmla="*/ 2840868 h 4991619"/>
              <a:gd name="connsiteX2137" fmla="*/ 357341 w 6537372"/>
              <a:gd name="connsiteY2137" fmla="*/ 2836760 h 4991619"/>
              <a:gd name="connsiteX2138" fmla="*/ 380033 w 6537372"/>
              <a:gd name="connsiteY2138" fmla="*/ 2833543 h 4991619"/>
              <a:gd name="connsiteX2139" fmla="*/ 373242 w 6537372"/>
              <a:gd name="connsiteY2139" fmla="*/ 2837831 h 4991619"/>
              <a:gd name="connsiteX2140" fmla="*/ 374315 w 6537372"/>
              <a:gd name="connsiteY2140" fmla="*/ 2839797 h 4991619"/>
              <a:gd name="connsiteX2141" fmla="*/ 374137 w 6537372"/>
              <a:gd name="connsiteY2141" fmla="*/ 2839975 h 4991619"/>
              <a:gd name="connsiteX2142" fmla="*/ 381462 w 6537372"/>
              <a:gd name="connsiteY2142" fmla="*/ 2836580 h 4991619"/>
              <a:gd name="connsiteX2143" fmla="*/ 380033 w 6537372"/>
              <a:gd name="connsiteY2143" fmla="*/ 2833543 h 4991619"/>
              <a:gd name="connsiteX2144" fmla="*/ 5867715 w 6537372"/>
              <a:gd name="connsiteY2144" fmla="*/ 2831043 h 4991619"/>
              <a:gd name="connsiteX2145" fmla="*/ 5862534 w 6537372"/>
              <a:gd name="connsiteY2145" fmla="*/ 2835151 h 4991619"/>
              <a:gd name="connsiteX2146" fmla="*/ 5862712 w 6537372"/>
              <a:gd name="connsiteY2146" fmla="*/ 2836760 h 4991619"/>
              <a:gd name="connsiteX2147" fmla="*/ 5883438 w 6537372"/>
              <a:gd name="connsiteY2147" fmla="*/ 2833187 h 4991619"/>
              <a:gd name="connsiteX2148" fmla="*/ 5867715 w 6537372"/>
              <a:gd name="connsiteY2148" fmla="*/ 2831043 h 4991619"/>
              <a:gd name="connsiteX2149" fmla="*/ 524577 w 6537372"/>
              <a:gd name="connsiteY2149" fmla="*/ 2829792 h 4991619"/>
              <a:gd name="connsiteX2150" fmla="*/ 523147 w 6537372"/>
              <a:gd name="connsiteY2150" fmla="*/ 2831221 h 4991619"/>
              <a:gd name="connsiteX2151" fmla="*/ 522969 w 6537372"/>
              <a:gd name="connsiteY2151" fmla="*/ 2831399 h 4991619"/>
              <a:gd name="connsiteX2152" fmla="*/ 517073 w 6537372"/>
              <a:gd name="connsiteY2152" fmla="*/ 2837295 h 4991619"/>
              <a:gd name="connsiteX2153" fmla="*/ 517430 w 6537372"/>
              <a:gd name="connsiteY2153" fmla="*/ 2837295 h 4991619"/>
              <a:gd name="connsiteX2154" fmla="*/ 522969 w 6537372"/>
              <a:gd name="connsiteY2154" fmla="*/ 2831577 h 4991619"/>
              <a:gd name="connsiteX2155" fmla="*/ 523684 w 6537372"/>
              <a:gd name="connsiteY2155" fmla="*/ 2834973 h 4991619"/>
              <a:gd name="connsiteX2156" fmla="*/ 528150 w 6537372"/>
              <a:gd name="connsiteY2156" fmla="*/ 2833901 h 4991619"/>
              <a:gd name="connsiteX2157" fmla="*/ 528150 w 6537372"/>
              <a:gd name="connsiteY2157" fmla="*/ 2833721 h 4991619"/>
              <a:gd name="connsiteX2158" fmla="*/ 528865 w 6537372"/>
              <a:gd name="connsiteY2158" fmla="*/ 2830506 h 4991619"/>
              <a:gd name="connsiteX2159" fmla="*/ 524755 w 6537372"/>
              <a:gd name="connsiteY2159" fmla="*/ 2829792 h 4991619"/>
              <a:gd name="connsiteX2160" fmla="*/ 524577 w 6537372"/>
              <a:gd name="connsiteY2160" fmla="*/ 2829792 h 4991619"/>
              <a:gd name="connsiteX2161" fmla="*/ 5910596 w 6537372"/>
              <a:gd name="connsiteY2161" fmla="*/ 2823538 h 4991619"/>
              <a:gd name="connsiteX2162" fmla="*/ 5896661 w 6537372"/>
              <a:gd name="connsiteY2162" fmla="*/ 2829255 h 4991619"/>
              <a:gd name="connsiteX2163" fmla="*/ 5897376 w 6537372"/>
              <a:gd name="connsiteY2163" fmla="*/ 2831757 h 4991619"/>
              <a:gd name="connsiteX2164" fmla="*/ 5910596 w 6537372"/>
              <a:gd name="connsiteY2164" fmla="*/ 2823538 h 4991619"/>
              <a:gd name="connsiteX2165" fmla="*/ 5959909 w 6537372"/>
              <a:gd name="connsiteY2165" fmla="*/ 2821215 h 4991619"/>
              <a:gd name="connsiteX2166" fmla="*/ 5949547 w 6537372"/>
              <a:gd name="connsiteY2166" fmla="*/ 2827648 h 4991619"/>
              <a:gd name="connsiteX2167" fmla="*/ 5957767 w 6537372"/>
              <a:gd name="connsiteY2167" fmla="*/ 2826755 h 4991619"/>
              <a:gd name="connsiteX2168" fmla="*/ 5959909 w 6537372"/>
              <a:gd name="connsiteY2168" fmla="*/ 2821215 h 4991619"/>
              <a:gd name="connsiteX2169" fmla="*/ 6043170 w 6537372"/>
              <a:gd name="connsiteY2169" fmla="*/ 2819071 h 4991619"/>
              <a:gd name="connsiteX2170" fmla="*/ 6042992 w 6537372"/>
              <a:gd name="connsiteY2170" fmla="*/ 2821930 h 4991619"/>
              <a:gd name="connsiteX2171" fmla="*/ 6042189 w 6537372"/>
              <a:gd name="connsiteY2171" fmla="*/ 2822149 h 4991619"/>
              <a:gd name="connsiteX2172" fmla="*/ 6041561 w 6537372"/>
              <a:gd name="connsiteY2172" fmla="*/ 2821752 h 4991619"/>
              <a:gd name="connsiteX2173" fmla="*/ 6041207 w 6537372"/>
              <a:gd name="connsiteY2173" fmla="*/ 2819151 h 4991619"/>
              <a:gd name="connsiteX2174" fmla="*/ 427024 w 6537372"/>
              <a:gd name="connsiteY2174" fmla="*/ 2814425 h 4991619"/>
              <a:gd name="connsiteX2175" fmla="*/ 409156 w 6537372"/>
              <a:gd name="connsiteY2175" fmla="*/ 2836224 h 4991619"/>
              <a:gd name="connsiteX2176" fmla="*/ 400758 w 6537372"/>
              <a:gd name="connsiteY2176" fmla="*/ 2844978 h 4991619"/>
              <a:gd name="connsiteX2177" fmla="*/ 391289 w 6537372"/>
              <a:gd name="connsiteY2177" fmla="*/ 2849624 h 4991619"/>
              <a:gd name="connsiteX2178" fmla="*/ 398078 w 6537372"/>
              <a:gd name="connsiteY2178" fmla="*/ 2851410 h 4991619"/>
              <a:gd name="connsiteX2179" fmla="*/ 412908 w 6537372"/>
              <a:gd name="connsiteY2179" fmla="*/ 2839797 h 4991619"/>
              <a:gd name="connsiteX2180" fmla="*/ 413086 w 6537372"/>
              <a:gd name="connsiteY2180" fmla="*/ 2839619 h 4991619"/>
              <a:gd name="connsiteX2181" fmla="*/ 417911 w 6537372"/>
              <a:gd name="connsiteY2181" fmla="*/ 2841405 h 4991619"/>
              <a:gd name="connsiteX2182" fmla="*/ 418447 w 6537372"/>
              <a:gd name="connsiteY2182" fmla="*/ 2840868 h 4991619"/>
              <a:gd name="connsiteX2183" fmla="*/ 430597 w 6537372"/>
              <a:gd name="connsiteY2183" fmla="*/ 2822467 h 4991619"/>
              <a:gd name="connsiteX2184" fmla="*/ 427024 w 6537372"/>
              <a:gd name="connsiteY2184" fmla="*/ 2814425 h 4991619"/>
              <a:gd name="connsiteX2185" fmla="*/ 514393 w 6537372"/>
              <a:gd name="connsiteY2185" fmla="*/ 2811746 h 4991619"/>
              <a:gd name="connsiteX2186" fmla="*/ 510819 w 6537372"/>
              <a:gd name="connsiteY2186" fmla="*/ 2814247 h 4991619"/>
              <a:gd name="connsiteX2187" fmla="*/ 510819 w 6537372"/>
              <a:gd name="connsiteY2187" fmla="*/ 2813354 h 4991619"/>
              <a:gd name="connsiteX2188" fmla="*/ 496526 w 6537372"/>
              <a:gd name="connsiteY2188" fmla="*/ 2827289 h 4991619"/>
              <a:gd name="connsiteX2189" fmla="*/ 496526 w 6537372"/>
              <a:gd name="connsiteY2189" fmla="*/ 2827469 h 4991619"/>
              <a:gd name="connsiteX2190" fmla="*/ 514393 w 6537372"/>
              <a:gd name="connsiteY2190" fmla="*/ 2811746 h 4991619"/>
              <a:gd name="connsiteX2191" fmla="*/ 585503 w 6537372"/>
              <a:gd name="connsiteY2191" fmla="*/ 2807100 h 4991619"/>
              <a:gd name="connsiteX2192" fmla="*/ 584432 w 6537372"/>
              <a:gd name="connsiteY2192" fmla="*/ 2807636 h 4991619"/>
              <a:gd name="connsiteX2193" fmla="*/ 585325 w 6537372"/>
              <a:gd name="connsiteY2193" fmla="*/ 2807636 h 4991619"/>
              <a:gd name="connsiteX2194" fmla="*/ 585503 w 6537372"/>
              <a:gd name="connsiteY2194" fmla="*/ 2807278 h 4991619"/>
              <a:gd name="connsiteX2195" fmla="*/ 6009580 w 6537372"/>
              <a:gd name="connsiteY2195" fmla="*/ 2803527 h 4991619"/>
              <a:gd name="connsiteX2196" fmla="*/ 6008330 w 6537372"/>
              <a:gd name="connsiteY2196" fmla="*/ 2804419 h 4991619"/>
              <a:gd name="connsiteX2197" fmla="*/ 6017978 w 6537372"/>
              <a:gd name="connsiteY2197" fmla="*/ 2803885 h 4991619"/>
              <a:gd name="connsiteX2198" fmla="*/ 6009580 w 6537372"/>
              <a:gd name="connsiteY2198" fmla="*/ 2803527 h 4991619"/>
              <a:gd name="connsiteX2199" fmla="*/ 6061930 w 6537372"/>
              <a:gd name="connsiteY2199" fmla="*/ 2800311 h 4991619"/>
              <a:gd name="connsiteX2200" fmla="*/ 6068721 w 6537372"/>
              <a:gd name="connsiteY2200" fmla="*/ 2801741 h 4991619"/>
              <a:gd name="connsiteX2201" fmla="*/ 6067648 w 6537372"/>
              <a:gd name="connsiteY2201" fmla="*/ 2800846 h 4991619"/>
              <a:gd name="connsiteX2202" fmla="*/ 6061930 w 6537372"/>
              <a:gd name="connsiteY2202" fmla="*/ 2800311 h 4991619"/>
              <a:gd name="connsiteX2203" fmla="*/ 417018 w 6537372"/>
              <a:gd name="connsiteY2203" fmla="*/ 2780835 h 4991619"/>
              <a:gd name="connsiteX2204" fmla="*/ 417018 w 6537372"/>
              <a:gd name="connsiteY2204" fmla="*/ 2781015 h 4991619"/>
              <a:gd name="connsiteX2205" fmla="*/ 417196 w 6537372"/>
              <a:gd name="connsiteY2205" fmla="*/ 2781015 h 4991619"/>
              <a:gd name="connsiteX2206" fmla="*/ 443281 w 6537372"/>
              <a:gd name="connsiteY2206" fmla="*/ 2780300 h 4991619"/>
              <a:gd name="connsiteX2207" fmla="*/ 440959 w 6537372"/>
              <a:gd name="connsiteY2207" fmla="*/ 2781908 h 4991619"/>
              <a:gd name="connsiteX2208" fmla="*/ 437922 w 6537372"/>
              <a:gd name="connsiteY2208" fmla="*/ 2786196 h 4991619"/>
              <a:gd name="connsiteX2209" fmla="*/ 437922 w 6537372"/>
              <a:gd name="connsiteY2209" fmla="*/ 2786374 h 4991619"/>
              <a:gd name="connsiteX2210" fmla="*/ 437922 w 6537372"/>
              <a:gd name="connsiteY2210" fmla="*/ 2788518 h 4991619"/>
              <a:gd name="connsiteX2211" fmla="*/ 443818 w 6537372"/>
              <a:gd name="connsiteY2211" fmla="*/ 2783874 h 4991619"/>
              <a:gd name="connsiteX2212" fmla="*/ 443281 w 6537372"/>
              <a:gd name="connsiteY2212" fmla="*/ 2780300 h 4991619"/>
              <a:gd name="connsiteX2213" fmla="*/ 423628 w 6537372"/>
              <a:gd name="connsiteY2213" fmla="*/ 2767614 h 4991619"/>
              <a:gd name="connsiteX2214" fmla="*/ 418982 w 6537372"/>
              <a:gd name="connsiteY2214" fmla="*/ 2773153 h 4991619"/>
              <a:gd name="connsiteX2215" fmla="*/ 423270 w 6537372"/>
              <a:gd name="connsiteY2215" fmla="*/ 2775832 h 4991619"/>
              <a:gd name="connsiteX2216" fmla="*/ 423270 w 6537372"/>
              <a:gd name="connsiteY2216" fmla="*/ 2775654 h 4991619"/>
              <a:gd name="connsiteX2217" fmla="*/ 423628 w 6537372"/>
              <a:gd name="connsiteY2217" fmla="*/ 2767614 h 4991619"/>
              <a:gd name="connsiteX2218" fmla="*/ 425058 w 6537372"/>
              <a:gd name="connsiteY2218" fmla="*/ 2765292 h 4991619"/>
              <a:gd name="connsiteX2219" fmla="*/ 424343 w 6537372"/>
              <a:gd name="connsiteY2219" fmla="*/ 2766900 h 4991619"/>
              <a:gd name="connsiteX2220" fmla="*/ 427738 w 6537372"/>
              <a:gd name="connsiteY2220" fmla="*/ 2765470 h 4991619"/>
              <a:gd name="connsiteX2221" fmla="*/ 425058 w 6537372"/>
              <a:gd name="connsiteY2221" fmla="*/ 2765292 h 4991619"/>
              <a:gd name="connsiteX2222" fmla="*/ 476693 w 6537372"/>
              <a:gd name="connsiteY2222" fmla="*/ 2760109 h 4991619"/>
              <a:gd name="connsiteX2223" fmla="*/ 474907 w 6537372"/>
              <a:gd name="connsiteY2223" fmla="*/ 2767792 h 4991619"/>
              <a:gd name="connsiteX2224" fmla="*/ 476335 w 6537372"/>
              <a:gd name="connsiteY2224" fmla="*/ 2765827 h 4991619"/>
              <a:gd name="connsiteX2225" fmla="*/ 476335 w 6537372"/>
              <a:gd name="connsiteY2225" fmla="*/ 2766007 h 4991619"/>
              <a:gd name="connsiteX2226" fmla="*/ 479015 w 6537372"/>
              <a:gd name="connsiteY2226" fmla="*/ 2760109 h 4991619"/>
              <a:gd name="connsiteX2227" fmla="*/ 476693 w 6537372"/>
              <a:gd name="connsiteY2227" fmla="*/ 2760109 h 4991619"/>
              <a:gd name="connsiteX2228" fmla="*/ 470975 w 6537372"/>
              <a:gd name="connsiteY2228" fmla="*/ 2760109 h 4991619"/>
              <a:gd name="connsiteX2229" fmla="*/ 464543 w 6537372"/>
              <a:gd name="connsiteY2229" fmla="*/ 2760646 h 4991619"/>
              <a:gd name="connsiteX2230" fmla="*/ 460077 w 6537372"/>
              <a:gd name="connsiteY2230" fmla="*/ 2761360 h 4991619"/>
              <a:gd name="connsiteX2231" fmla="*/ 457040 w 6537372"/>
              <a:gd name="connsiteY2231" fmla="*/ 2766363 h 4991619"/>
              <a:gd name="connsiteX2232" fmla="*/ 457933 w 6537372"/>
              <a:gd name="connsiteY2232" fmla="*/ 2770829 h 4991619"/>
              <a:gd name="connsiteX2233" fmla="*/ 456325 w 6537372"/>
              <a:gd name="connsiteY2233" fmla="*/ 2771188 h 4991619"/>
              <a:gd name="connsiteX2234" fmla="*/ 456682 w 6537372"/>
              <a:gd name="connsiteY2234" fmla="*/ 2772795 h 4991619"/>
              <a:gd name="connsiteX2235" fmla="*/ 458111 w 6537372"/>
              <a:gd name="connsiteY2235" fmla="*/ 2771188 h 4991619"/>
              <a:gd name="connsiteX2236" fmla="*/ 458111 w 6537372"/>
              <a:gd name="connsiteY2236" fmla="*/ 2771009 h 4991619"/>
              <a:gd name="connsiteX2237" fmla="*/ 458468 w 6537372"/>
              <a:gd name="connsiteY2237" fmla="*/ 2771009 h 4991619"/>
              <a:gd name="connsiteX2238" fmla="*/ 458289 w 6537372"/>
              <a:gd name="connsiteY2238" fmla="*/ 2771366 h 4991619"/>
              <a:gd name="connsiteX2239" fmla="*/ 462043 w 6537372"/>
              <a:gd name="connsiteY2239" fmla="*/ 2771009 h 4991619"/>
              <a:gd name="connsiteX2240" fmla="*/ 464187 w 6537372"/>
              <a:gd name="connsiteY2240" fmla="*/ 2768329 h 4991619"/>
              <a:gd name="connsiteX2241" fmla="*/ 470439 w 6537372"/>
              <a:gd name="connsiteY2241" fmla="*/ 2760646 h 4991619"/>
              <a:gd name="connsiteX2242" fmla="*/ 470975 w 6537372"/>
              <a:gd name="connsiteY2242" fmla="*/ 2760646 h 4991619"/>
              <a:gd name="connsiteX2243" fmla="*/ 470619 w 6537372"/>
              <a:gd name="connsiteY2243" fmla="*/ 2761182 h 4991619"/>
              <a:gd name="connsiteX2244" fmla="*/ 464543 w 6537372"/>
              <a:gd name="connsiteY2244" fmla="*/ 2768507 h 4991619"/>
              <a:gd name="connsiteX2245" fmla="*/ 462578 w 6537372"/>
              <a:gd name="connsiteY2245" fmla="*/ 2770829 h 4991619"/>
              <a:gd name="connsiteX2246" fmla="*/ 465080 w 6537372"/>
              <a:gd name="connsiteY2246" fmla="*/ 2770651 h 4991619"/>
              <a:gd name="connsiteX2247" fmla="*/ 465080 w 6537372"/>
              <a:gd name="connsiteY2247" fmla="*/ 2770829 h 4991619"/>
              <a:gd name="connsiteX2248" fmla="*/ 471690 w 6537372"/>
              <a:gd name="connsiteY2248" fmla="*/ 2760467 h 4991619"/>
              <a:gd name="connsiteX2249" fmla="*/ 470975 w 6537372"/>
              <a:gd name="connsiteY2249" fmla="*/ 2760467 h 4991619"/>
              <a:gd name="connsiteX2250" fmla="*/ 470975 w 6537372"/>
              <a:gd name="connsiteY2250" fmla="*/ 2760109 h 4991619"/>
              <a:gd name="connsiteX2251" fmla="*/ 445605 w 6537372"/>
              <a:gd name="connsiteY2251" fmla="*/ 2722589 h 4991619"/>
              <a:gd name="connsiteX2252" fmla="*/ 445444 w 6537372"/>
              <a:gd name="connsiteY2252" fmla="*/ 2722834 h 4991619"/>
              <a:gd name="connsiteX2253" fmla="*/ 441674 w 6537372"/>
              <a:gd name="connsiteY2253" fmla="*/ 2724375 h 4991619"/>
              <a:gd name="connsiteX2254" fmla="*/ 440601 w 6537372"/>
              <a:gd name="connsiteY2254" fmla="*/ 2726341 h 4991619"/>
              <a:gd name="connsiteX2255" fmla="*/ 436493 w 6537372"/>
              <a:gd name="connsiteY2255" fmla="*/ 2732951 h 4991619"/>
              <a:gd name="connsiteX2256" fmla="*/ 439708 w 6537372"/>
              <a:gd name="connsiteY2256" fmla="*/ 2731522 h 4991619"/>
              <a:gd name="connsiteX2257" fmla="*/ 445444 w 6537372"/>
              <a:gd name="connsiteY2257" fmla="*/ 2722834 h 4991619"/>
              <a:gd name="connsiteX2258" fmla="*/ 445605 w 6537372"/>
              <a:gd name="connsiteY2258" fmla="*/ 2722768 h 4991619"/>
              <a:gd name="connsiteX2259" fmla="*/ 473298 w 6537372"/>
              <a:gd name="connsiteY2259" fmla="*/ 2719731 h 4991619"/>
              <a:gd name="connsiteX2260" fmla="*/ 467046 w 6537372"/>
              <a:gd name="connsiteY2260" fmla="*/ 2721696 h 4991619"/>
              <a:gd name="connsiteX2261" fmla="*/ 450786 w 6537372"/>
              <a:gd name="connsiteY2261" fmla="*/ 2729558 h 4991619"/>
              <a:gd name="connsiteX2262" fmla="*/ 429168 w 6537372"/>
              <a:gd name="connsiteY2262" fmla="*/ 2756894 h 4991619"/>
              <a:gd name="connsiteX2263" fmla="*/ 428809 w 6537372"/>
              <a:gd name="connsiteY2263" fmla="*/ 2757431 h 4991619"/>
              <a:gd name="connsiteX2264" fmla="*/ 431668 w 6537372"/>
              <a:gd name="connsiteY2264" fmla="*/ 2757431 h 4991619"/>
              <a:gd name="connsiteX2265" fmla="*/ 427558 w 6537372"/>
              <a:gd name="connsiteY2265" fmla="*/ 2759575 h 4991619"/>
              <a:gd name="connsiteX2266" fmla="*/ 427558 w 6537372"/>
              <a:gd name="connsiteY2266" fmla="*/ 2759394 h 4991619"/>
              <a:gd name="connsiteX2267" fmla="*/ 426487 w 6537372"/>
              <a:gd name="connsiteY2267" fmla="*/ 2761360 h 4991619"/>
              <a:gd name="connsiteX2268" fmla="*/ 432026 w 6537372"/>
              <a:gd name="connsiteY2268" fmla="*/ 2759394 h 4991619"/>
              <a:gd name="connsiteX2269" fmla="*/ 432383 w 6537372"/>
              <a:gd name="connsiteY2269" fmla="*/ 2757431 h 4991619"/>
              <a:gd name="connsiteX2270" fmla="*/ 438278 w 6537372"/>
              <a:gd name="connsiteY2270" fmla="*/ 2754035 h 4991619"/>
              <a:gd name="connsiteX2271" fmla="*/ 440066 w 6537372"/>
              <a:gd name="connsiteY2271" fmla="*/ 2758323 h 4991619"/>
              <a:gd name="connsiteX2272" fmla="*/ 445425 w 6537372"/>
              <a:gd name="connsiteY2272" fmla="*/ 2752428 h 4991619"/>
              <a:gd name="connsiteX2273" fmla="*/ 447213 w 6537372"/>
              <a:gd name="connsiteY2273" fmla="*/ 2746888 h 4991619"/>
              <a:gd name="connsiteX2274" fmla="*/ 452394 w 6537372"/>
              <a:gd name="connsiteY2274" fmla="*/ 2744208 h 4991619"/>
              <a:gd name="connsiteX2275" fmla="*/ 461863 w 6537372"/>
              <a:gd name="connsiteY2275" fmla="*/ 2733310 h 4991619"/>
              <a:gd name="connsiteX2276" fmla="*/ 465616 w 6537372"/>
              <a:gd name="connsiteY2276" fmla="*/ 2729200 h 4991619"/>
              <a:gd name="connsiteX2277" fmla="*/ 465258 w 6537372"/>
              <a:gd name="connsiteY2277" fmla="*/ 2729200 h 4991619"/>
              <a:gd name="connsiteX2278" fmla="*/ 473298 w 6537372"/>
              <a:gd name="connsiteY2278" fmla="*/ 2719731 h 4991619"/>
              <a:gd name="connsiteX2279" fmla="*/ 6158412 w 6537372"/>
              <a:gd name="connsiteY2279" fmla="*/ 2707223 h 4991619"/>
              <a:gd name="connsiteX2280" fmla="*/ 6158356 w 6537372"/>
              <a:gd name="connsiteY2280" fmla="*/ 2707407 h 4991619"/>
              <a:gd name="connsiteX2281" fmla="*/ 6154124 w 6537372"/>
              <a:gd name="connsiteY2281" fmla="*/ 2707759 h 4991619"/>
              <a:gd name="connsiteX2282" fmla="*/ 6154482 w 6537372"/>
              <a:gd name="connsiteY2282" fmla="*/ 2710440 h 4991619"/>
              <a:gd name="connsiteX2283" fmla="*/ 6157117 w 6537372"/>
              <a:gd name="connsiteY2283" fmla="*/ 2711511 h 4991619"/>
              <a:gd name="connsiteX2284" fmla="*/ 6158356 w 6537372"/>
              <a:gd name="connsiteY2284" fmla="*/ 2707407 h 4991619"/>
              <a:gd name="connsiteX2285" fmla="*/ 6158412 w 6537372"/>
              <a:gd name="connsiteY2285" fmla="*/ 2707403 h 4991619"/>
              <a:gd name="connsiteX2286" fmla="*/ 483483 w 6537372"/>
              <a:gd name="connsiteY2286" fmla="*/ 2699183 h 4991619"/>
              <a:gd name="connsiteX2287" fmla="*/ 475442 w 6537372"/>
              <a:gd name="connsiteY2287" fmla="*/ 2706688 h 4991619"/>
              <a:gd name="connsiteX2288" fmla="*/ 471334 w 6537372"/>
              <a:gd name="connsiteY2288" fmla="*/ 2710796 h 4991619"/>
              <a:gd name="connsiteX2289" fmla="*/ 474012 w 6537372"/>
              <a:gd name="connsiteY2289" fmla="*/ 2711869 h 4991619"/>
              <a:gd name="connsiteX2290" fmla="*/ 479174 w 6537372"/>
              <a:gd name="connsiteY2290" fmla="*/ 2713470 h 4991619"/>
              <a:gd name="connsiteX2291" fmla="*/ 479015 w 6537372"/>
              <a:gd name="connsiteY2291" fmla="*/ 2713655 h 4991619"/>
              <a:gd name="connsiteX2292" fmla="*/ 479195 w 6537372"/>
              <a:gd name="connsiteY2292" fmla="*/ 2713477 h 4991619"/>
              <a:gd name="connsiteX2293" fmla="*/ 479174 w 6537372"/>
              <a:gd name="connsiteY2293" fmla="*/ 2713470 h 4991619"/>
              <a:gd name="connsiteX2294" fmla="*/ 490630 w 6537372"/>
              <a:gd name="connsiteY2294" fmla="*/ 2700076 h 4991619"/>
              <a:gd name="connsiteX2295" fmla="*/ 483483 w 6537372"/>
              <a:gd name="connsiteY2295" fmla="*/ 2699183 h 4991619"/>
              <a:gd name="connsiteX2296" fmla="*/ 502780 w 6537372"/>
              <a:gd name="connsiteY2296" fmla="*/ 2681852 h 4991619"/>
              <a:gd name="connsiteX2297" fmla="*/ 496526 w 6537372"/>
              <a:gd name="connsiteY2297" fmla="*/ 2685782 h 4991619"/>
              <a:gd name="connsiteX2298" fmla="*/ 494204 w 6537372"/>
              <a:gd name="connsiteY2298" fmla="*/ 2688463 h 4991619"/>
              <a:gd name="connsiteX2299" fmla="*/ 500636 w 6537372"/>
              <a:gd name="connsiteY2299" fmla="*/ 2685782 h 4991619"/>
              <a:gd name="connsiteX2300" fmla="*/ 502780 w 6537372"/>
              <a:gd name="connsiteY2300" fmla="*/ 2681852 h 4991619"/>
              <a:gd name="connsiteX2301" fmla="*/ 476871 w 6537372"/>
              <a:gd name="connsiteY2301" fmla="*/ 2677206 h 4991619"/>
              <a:gd name="connsiteX2302" fmla="*/ 476693 w 6537372"/>
              <a:gd name="connsiteY2302" fmla="*/ 2677386 h 4991619"/>
              <a:gd name="connsiteX2303" fmla="*/ 476335 w 6537372"/>
              <a:gd name="connsiteY2303" fmla="*/ 2677386 h 4991619"/>
              <a:gd name="connsiteX2304" fmla="*/ 476335 w 6537372"/>
              <a:gd name="connsiteY2304" fmla="*/ 2677743 h 4991619"/>
              <a:gd name="connsiteX2305" fmla="*/ 472405 w 6537372"/>
              <a:gd name="connsiteY2305" fmla="*/ 2680065 h 4991619"/>
              <a:gd name="connsiteX2306" fmla="*/ 471334 w 6537372"/>
              <a:gd name="connsiteY2306" fmla="*/ 2683460 h 4991619"/>
              <a:gd name="connsiteX2307" fmla="*/ 476871 w 6537372"/>
              <a:gd name="connsiteY2307" fmla="*/ 2677206 h 4991619"/>
              <a:gd name="connsiteX2308" fmla="*/ 472048 w 6537372"/>
              <a:gd name="connsiteY2308" fmla="*/ 2648619 h 4991619"/>
              <a:gd name="connsiteX2309" fmla="*/ 471868 w 6537372"/>
              <a:gd name="connsiteY2309" fmla="*/ 2648799 h 4991619"/>
              <a:gd name="connsiteX2310" fmla="*/ 460614 w 6537372"/>
              <a:gd name="connsiteY2310" fmla="*/ 2670059 h 4991619"/>
              <a:gd name="connsiteX2311" fmla="*/ 443281 w 6537372"/>
              <a:gd name="connsiteY2311" fmla="*/ 2679172 h 4991619"/>
              <a:gd name="connsiteX2312" fmla="*/ 413086 w 6537372"/>
              <a:gd name="connsiteY2312" fmla="*/ 2688463 h 4991619"/>
              <a:gd name="connsiteX2313" fmla="*/ 384143 w 6537372"/>
              <a:gd name="connsiteY2313" fmla="*/ 2719731 h 4991619"/>
              <a:gd name="connsiteX2314" fmla="*/ 371098 w 6537372"/>
              <a:gd name="connsiteY2314" fmla="*/ 2764934 h 4991619"/>
              <a:gd name="connsiteX2315" fmla="*/ 364310 w 6537372"/>
              <a:gd name="connsiteY2315" fmla="*/ 2766007 h 4991619"/>
              <a:gd name="connsiteX2316" fmla="*/ 363773 w 6537372"/>
              <a:gd name="connsiteY2316" fmla="*/ 2766541 h 4991619"/>
              <a:gd name="connsiteX2317" fmla="*/ 356626 w 6537372"/>
              <a:gd name="connsiteY2317" fmla="*/ 2783337 h 4991619"/>
              <a:gd name="connsiteX2318" fmla="*/ 361093 w 6537372"/>
              <a:gd name="connsiteY2318" fmla="*/ 2789411 h 4991619"/>
              <a:gd name="connsiteX2319" fmla="*/ 357163 w 6537372"/>
              <a:gd name="connsiteY2319" fmla="*/ 2804599 h 4991619"/>
              <a:gd name="connsiteX2320" fmla="*/ 366454 w 6537372"/>
              <a:gd name="connsiteY2320" fmla="*/ 2815676 h 4991619"/>
              <a:gd name="connsiteX2321" fmla="*/ 366095 w 6537372"/>
              <a:gd name="connsiteY2321" fmla="*/ 2819964 h 4991619"/>
              <a:gd name="connsiteX2322" fmla="*/ 362880 w 6537372"/>
              <a:gd name="connsiteY2322" fmla="*/ 2824967 h 4991619"/>
              <a:gd name="connsiteX2323" fmla="*/ 370562 w 6537372"/>
              <a:gd name="connsiteY2323" fmla="*/ 2823716 h 4991619"/>
              <a:gd name="connsiteX2324" fmla="*/ 375923 w 6537372"/>
              <a:gd name="connsiteY2324" fmla="*/ 2821930 h 4991619"/>
              <a:gd name="connsiteX2325" fmla="*/ 390038 w 6537372"/>
              <a:gd name="connsiteY2325" fmla="*/ 2816749 h 4991619"/>
              <a:gd name="connsiteX2326" fmla="*/ 384857 w 6537372"/>
              <a:gd name="connsiteY2326" fmla="*/ 2841226 h 4991619"/>
              <a:gd name="connsiteX2327" fmla="*/ 381640 w 6537372"/>
              <a:gd name="connsiteY2327" fmla="*/ 2842834 h 4991619"/>
              <a:gd name="connsiteX2328" fmla="*/ 380569 w 6537372"/>
              <a:gd name="connsiteY2328" fmla="*/ 2844085 h 4991619"/>
              <a:gd name="connsiteX2329" fmla="*/ 379855 w 6537372"/>
              <a:gd name="connsiteY2329" fmla="*/ 2846766 h 4991619"/>
              <a:gd name="connsiteX2330" fmla="*/ 386465 w 6537372"/>
              <a:gd name="connsiteY2330" fmla="*/ 2848373 h 4991619"/>
              <a:gd name="connsiteX2331" fmla="*/ 391109 w 6537372"/>
              <a:gd name="connsiteY2331" fmla="*/ 2841048 h 4991619"/>
              <a:gd name="connsiteX2332" fmla="*/ 390216 w 6537372"/>
              <a:gd name="connsiteY2332" fmla="*/ 2827289 h 4991619"/>
              <a:gd name="connsiteX2333" fmla="*/ 406832 w 6537372"/>
              <a:gd name="connsiteY2333" fmla="*/ 2806385 h 4991619"/>
              <a:gd name="connsiteX2334" fmla="*/ 416303 w 6537372"/>
              <a:gd name="connsiteY2334" fmla="*/ 2781908 h 4991619"/>
              <a:gd name="connsiteX2335" fmla="*/ 410586 w 6537372"/>
              <a:gd name="connsiteY2335" fmla="*/ 2786018 h 4991619"/>
              <a:gd name="connsiteX2336" fmla="*/ 406296 w 6537372"/>
              <a:gd name="connsiteY2336" fmla="*/ 2796558 h 4991619"/>
              <a:gd name="connsiteX2337" fmla="*/ 396470 w 6537372"/>
              <a:gd name="connsiteY2337" fmla="*/ 2788340 h 4991619"/>
              <a:gd name="connsiteX2338" fmla="*/ 420591 w 6537372"/>
              <a:gd name="connsiteY2338" fmla="*/ 2755465 h 4991619"/>
              <a:gd name="connsiteX2339" fmla="*/ 425414 w 6537372"/>
              <a:gd name="connsiteY2339" fmla="*/ 2750284 h 4991619"/>
              <a:gd name="connsiteX2340" fmla="*/ 425414 w 6537372"/>
              <a:gd name="connsiteY2340" fmla="*/ 2749033 h 4991619"/>
              <a:gd name="connsiteX2341" fmla="*/ 426309 w 6537372"/>
              <a:gd name="connsiteY2341" fmla="*/ 2749389 h 4991619"/>
              <a:gd name="connsiteX2342" fmla="*/ 437385 w 6537372"/>
              <a:gd name="connsiteY2342" fmla="*/ 2735275 h 4991619"/>
              <a:gd name="connsiteX2343" fmla="*/ 434885 w 6537372"/>
              <a:gd name="connsiteY2343" fmla="*/ 2735095 h 4991619"/>
              <a:gd name="connsiteX2344" fmla="*/ 424879 w 6537372"/>
              <a:gd name="connsiteY2344" fmla="*/ 2741886 h 4991619"/>
              <a:gd name="connsiteX2345" fmla="*/ 424879 w 6537372"/>
              <a:gd name="connsiteY2345" fmla="*/ 2732951 h 4991619"/>
              <a:gd name="connsiteX2346" fmla="*/ 412908 w 6537372"/>
              <a:gd name="connsiteY2346" fmla="*/ 2736346 h 4991619"/>
              <a:gd name="connsiteX2347" fmla="*/ 418982 w 6537372"/>
              <a:gd name="connsiteY2347" fmla="*/ 2730273 h 4991619"/>
              <a:gd name="connsiteX2348" fmla="*/ 404688 w 6537372"/>
              <a:gd name="connsiteY2348" fmla="*/ 2726341 h 4991619"/>
              <a:gd name="connsiteX2349" fmla="*/ 402544 w 6537372"/>
              <a:gd name="connsiteY2349" fmla="*/ 2717228 h 4991619"/>
              <a:gd name="connsiteX2350" fmla="*/ 415409 w 6537372"/>
              <a:gd name="connsiteY2350" fmla="*/ 2710081 h 4991619"/>
              <a:gd name="connsiteX2351" fmla="*/ 420411 w 6537372"/>
              <a:gd name="connsiteY2351" fmla="*/ 2716335 h 4991619"/>
              <a:gd name="connsiteX2352" fmla="*/ 419697 w 6537372"/>
              <a:gd name="connsiteY2352" fmla="*/ 2714906 h 4991619"/>
              <a:gd name="connsiteX2353" fmla="*/ 424879 w 6537372"/>
              <a:gd name="connsiteY2353" fmla="*/ 2712225 h 4991619"/>
              <a:gd name="connsiteX2354" fmla="*/ 425772 w 6537372"/>
              <a:gd name="connsiteY2354" fmla="*/ 2714013 h 4991619"/>
              <a:gd name="connsiteX2355" fmla="*/ 420591 w 6537372"/>
              <a:gd name="connsiteY2355" fmla="*/ 2716335 h 4991619"/>
              <a:gd name="connsiteX2356" fmla="*/ 428453 w 6537372"/>
              <a:gd name="connsiteY2356" fmla="*/ 2723126 h 4991619"/>
              <a:gd name="connsiteX2357" fmla="*/ 434349 w 6537372"/>
              <a:gd name="connsiteY2357" fmla="*/ 2714728 h 4991619"/>
              <a:gd name="connsiteX2358" fmla="*/ 438458 w 6537372"/>
              <a:gd name="connsiteY2358" fmla="*/ 2709367 h 4991619"/>
              <a:gd name="connsiteX2359" fmla="*/ 435600 w 6537372"/>
              <a:gd name="connsiteY2359" fmla="*/ 2708117 h 4991619"/>
              <a:gd name="connsiteX2360" fmla="*/ 453108 w 6537372"/>
              <a:gd name="connsiteY2360" fmla="*/ 2696502 h 4991619"/>
              <a:gd name="connsiteX2361" fmla="*/ 454538 w 6537372"/>
              <a:gd name="connsiteY2361" fmla="*/ 2694002 h 4991619"/>
              <a:gd name="connsiteX2362" fmla="*/ 458826 w 6537372"/>
              <a:gd name="connsiteY2362" fmla="*/ 2683996 h 4991619"/>
              <a:gd name="connsiteX2363" fmla="*/ 465258 w 6537372"/>
              <a:gd name="connsiteY2363" fmla="*/ 2689714 h 4991619"/>
              <a:gd name="connsiteX2364" fmla="*/ 460614 w 6537372"/>
              <a:gd name="connsiteY2364" fmla="*/ 2698112 h 4991619"/>
              <a:gd name="connsiteX2365" fmla="*/ 458289 w 6537372"/>
              <a:gd name="connsiteY2365" fmla="*/ 2701149 h 4991619"/>
              <a:gd name="connsiteX2366" fmla="*/ 458203 w 6537372"/>
              <a:gd name="connsiteY2366" fmla="*/ 2701494 h 4991619"/>
              <a:gd name="connsiteX2367" fmla="*/ 457933 w 6537372"/>
              <a:gd name="connsiteY2367" fmla="*/ 2701864 h 4991619"/>
              <a:gd name="connsiteX2368" fmla="*/ 457933 w 6537372"/>
              <a:gd name="connsiteY2368" fmla="*/ 2701952 h 4991619"/>
              <a:gd name="connsiteX2369" fmla="*/ 457397 w 6537372"/>
              <a:gd name="connsiteY2369" fmla="*/ 2702220 h 4991619"/>
              <a:gd name="connsiteX2370" fmla="*/ 452394 w 6537372"/>
              <a:gd name="connsiteY2370" fmla="*/ 2708474 h 4991619"/>
              <a:gd name="connsiteX2371" fmla="*/ 454538 w 6537372"/>
              <a:gd name="connsiteY2371" fmla="*/ 2708474 h 4991619"/>
              <a:gd name="connsiteX2372" fmla="*/ 458468 w 6537372"/>
              <a:gd name="connsiteY2372" fmla="*/ 2701685 h 4991619"/>
              <a:gd name="connsiteX2373" fmla="*/ 457933 w 6537372"/>
              <a:gd name="connsiteY2373" fmla="*/ 2702042 h 4991619"/>
              <a:gd name="connsiteX2374" fmla="*/ 457933 w 6537372"/>
              <a:gd name="connsiteY2374" fmla="*/ 2701952 h 4991619"/>
              <a:gd name="connsiteX2375" fmla="*/ 458111 w 6537372"/>
              <a:gd name="connsiteY2375" fmla="*/ 2701864 h 4991619"/>
              <a:gd name="connsiteX2376" fmla="*/ 458203 w 6537372"/>
              <a:gd name="connsiteY2376" fmla="*/ 2701494 h 4991619"/>
              <a:gd name="connsiteX2377" fmla="*/ 470975 w 6537372"/>
              <a:gd name="connsiteY2377" fmla="*/ 2683996 h 4991619"/>
              <a:gd name="connsiteX2378" fmla="*/ 471154 w 6537372"/>
              <a:gd name="connsiteY2378" fmla="*/ 2683638 h 4991619"/>
              <a:gd name="connsiteX2379" fmla="*/ 471154 w 6537372"/>
              <a:gd name="connsiteY2379" fmla="*/ 2680779 h 4991619"/>
              <a:gd name="connsiteX2380" fmla="*/ 470083 w 6537372"/>
              <a:gd name="connsiteY2380" fmla="*/ 2681316 h 4991619"/>
              <a:gd name="connsiteX2381" fmla="*/ 469190 w 6537372"/>
              <a:gd name="connsiteY2381" fmla="*/ 2680245 h 4991619"/>
              <a:gd name="connsiteX2382" fmla="*/ 470975 w 6537372"/>
              <a:gd name="connsiteY2382" fmla="*/ 2678816 h 4991619"/>
              <a:gd name="connsiteX2383" fmla="*/ 472048 w 6537372"/>
              <a:gd name="connsiteY2383" fmla="*/ 2672918 h 4991619"/>
              <a:gd name="connsiteX2384" fmla="*/ 485806 w 6537372"/>
              <a:gd name="connsiteY2384" fmla="*/ 2652192 h 4991619"/>
              <a:gd name="connsiteX2385" fmla="*/ 487057 w 6537372"/>
              <a:gd name="connsiteY2385" fmla="*/ 2650585 h 4991619"/>
              <a:gd name="connsiteX2386" fmla="*/ 472048 w 6537372"/>
              <a:gd name="connsiteY2386" fmla="*/ 2648619 h 4991619"/>
              <a:gd name="connsiteX2387" fmla="*/ 534404 w 6537372"/>
              <a:gd name="connsiteY2387" fmla="*/ 2627893 h 4991619"/>
              <a:gd name="connsiteX2388" fmla="*/ 520825 w 6537372"/>
              <a:gd name="connsiteY2388" fmla="*/ 2642723 h 4991619"/>
              <a:gd name="connsiteX2389" fmla="*/ 536190 w 6537372"/>
              <a:gd name="connsiteY2389" fmla="*/ 2628073 h 4991619"/>
              <a:gd name="connsiteX2390" fmla="*/ 534404 w 6537372"/>
              <a:gd name="connsiteY2390" fmla="*/ 2628073 h 4991619"/>
              <a:gd name="connsiteX2391" fmla="*/ 550305 w 6537372"/>
              <a:gd name="connsiteY2391" fmla="*/ 2578938 h 4991619"/>
              <a:gd name="connsiteX2392" fmla="*/ 550127 w 6537372"/>
              <a:gd name="connsiteY2392" fmla="*/ 2579295 h 4991619"/>
              <a:gd name="connsiteX2393" fmla="*/ 550663 w 6537372"/>
              <a:gd name="connsiteY2393" fmla="*/ 2578938 h 4991619"/>
              <a:gd name="connsiteX2394" fmla="*/ 550483 w 6537372"/>
              <a:gd name="connsiteY2394" fmla="*/ 2578938 h 4991619"/>
              <a:gd name="connsiteX2395" fmla="*/ 1882294 w 6537372"/>
              <a:gd name="connsiteY2395" fmla="*/ 2578760 h 4991619"/>
              <a:gd name="connsiteX2396" fmla="*/ 1880864 w 6537372"/>
              <a:gd name="connsiteY2396" fmla="*/ 2579295 h 4991619"/>
              <a:gd name="connsiteX2397" fmla="*/ 1880864 w 6537372"/>
              <a:gd name="connsiteY2397" fmla="*/ 2579116 h 4991619"/>
              <a:gd name="connsiteX2398" fmla="*/ 1876933 w 6537372"/>
              <a:gd name="connsiteY2398" fmla="*/ 2583583 h 4991619"/>
              <a:gd name="connsiteX2399" fmla="*/ 1882294 w 6537372"/>
              <a:gd name="connsiteY2399" fmla="*/ 2578760 h 4991619"/>
              <a:gd name="connsiteX2400" fmla="*/ 1067913 w 6537372"/>
              <a:gd name="connsiteY2400" fmla="*/ 2451010 h 4991619"/>
              <a:gd name="connsiteX2401" fmla="*/ 1067913 w 6537372"/>
              <a:gd name="connsiteY2401" fmla="*/ 2452081 h 4991619"/>
              <a:gd name="connsiteX2402" fmla="*/ 1069164 w 6537372"/>
              <a:gd name="connsiteY2402" fmla="*/ 2451903 h 4991619"/>
              <a:gd name="connsiteX2403" fmla="*/ 1069342 w 6537372"/>
              <a:gd name="connsiteY2403" fmla="*/ 2451903 h 4991619"/>
              <a:gd name="connsiteX2404" fmla="*/ 1067913 w 6537372"/>
              <a:gd name="connsiteY2404" fmla="*/ 2451010 h 4991619"/>
              <a:gd name="connsiteX2405" fmla="*/ 1025569 w 6537372"/>
              <a:gd name="connsiteY2405" fmla="*/ 2196225 h 4991619"/>
              <a:gd name="connsiteX2406" fmla="*/ 1011453 w 6537372"/>
              <a:gd name="connsiteY2406" fmla="*/ 2207482 h 4991619"/>
              <a:gd name="connsiteX2407" fmla="*/ 1020924 w 6537372"/>
              <a:gd name="connsiteY2407" fmla="*/ 2201050 h 4991619"/>
              <a:gd name="connsiteX2408" fmla="*/ 1020388 w 6537372"/>
              <a:gd name="connsiteY2408" fmla="*/ 2202838 h 4991619"/>
              <a:gd name="connsiteX2409" fmla="*/ 1025569 w 6537372"/>
              <a:gd name="connsiteY2409" fmla="*/ 2196225 h 4991619"/>
              <a:gd name="connsiteX2410" fmla="*/ 6121249 w 6537372"/>
              <a:gd name="connsiteY2410" fmla="*/ 1733470 h 4991619"/>
              <a:gd name="connsiteX2411" fmla="*/ 6120892 w 6537372"/>
              <a:gd name="connsiteY2411" fmla="*/ 1734541 h 4991619"/>
              <a:gd name="connsiteX2412" fmla="*/ 6121786 w 6537372"/>
              <a:gd name="connsiteY2412" fmla="*/ 1733470 h 4991619"/>
              <a:gd name="connsiteX2413" fmla="*/ 6121249 w 6537372"/>
              <a:gd name="connsiteY2413" fmla="*/ 1733470 h 4991619"/>
              <a:gd name="connsiteX2414" fmla="*/ 6121071 w 6537372"/>
              <a:gd name="connsiteY2414" fmla="*/ 1665575 h 4991619"/>
              <a:gd name="connsiteX2415" fmla="*/ 6099808 w 6537372"/>
              <a:gd name="connsiteY2415" fmla="*/ 1671829 h 4991619"/>
              <a:gd name="connsiteX2416" fmla="*/ 6108743 w 6537372"/>
              <a:gd name="connsiteY2416" fmla="*/ 1679691 h 4991619"/>
              <a:gd name="connsiteX2417" fmla="*/ 6115710 w 6537372"/>
              <a:gd name="connsiteY2417" fmla="*/ 1677903 h 4991619"/>
              <a:gd name="connsiteX2418" fmla="*/ 6121071 w 6537372"/>
              <a:gd name="connsiteY2418" fmla="*/ 1665932 h 4991619"/>
              <a:gd name="connsiteX2419" fmla="*/ 6120892 w 6537372"/>
              <a:gd name="connsiteY2419" fmla="*/ 1665932 h 4991619"/>
              <a:gd name="connsiteX2420" fmla="*/ 6121071 w 6537372"/>
              <a:gd name="connsiteY2420" fmla="*/ 1665575 h 4991619"/>
              <a:gd name="connsiteX2421" fmla="*/ 6064789 w 6537372"/>
              <a:gd name="connsiteY2421" fmla="*/ 1654677 h 4991619"/>
              <a:gd name="connsiteX2422" fmla="*/ 6063004 w 6537372"/>
              <a:gd name="connsiteY2422" fmla="*/ 1656821 h 4991619"/>
              <a:gd name="connsiteX2423" fmla="*/ 6066218 w 6537372"/>
              <a:gd name="connsiteY2423" fmla="*/ 1658428 h 4991619"/>
              <a:gd name="connsiteX2424" fmla="*/ 6064789 w 6537372"/>
              <a:gd name="connsiteY2424" fmla="*/ 1654677 h 4991619"/>
              <a:gd name="connsiteX2425" fmla="*/ 6095342 w 6537372"/>
              <a:gd name="connsiteY2425" fmla="*/ 1650389 h 4991619"/>
              <a:gd name="connsiteX2426" fmla="*/ 6094091 w 6537372"/>
              <a:gd name="connsiteY2426" fmla="*/ 1650567 h 4991619"/>
              <a:gd name="connsiteX2427" fmla="*/ 6093913 w 6537372"/>
              <a:gd name="connsiteY2427" fmla="*/ 1651103 h 4991619"/>
              <a:gd name="connsiteX2428" fmla="*/ 6095342 w 6537372"/>
              <a:gd name="connsiteY2428" fmla="*/ 1650389 h 4991619"/>
              <a:gd name="connsiteX2429" fmla="*/ 6141618 w 6537372"/>
              <a:gd name="connsiteY2429" fmla="*/ 1643598 h 4991619"/>
              <a:gd name="connsiteX2430" fmla="*/ 6133577 w 6537372"/>
              <a:gd name="connsiteY2430" fmla="*/ 1650567 h 4991619"/>
              <a:gd name="connsiteX2431" fmla="*/ 6130718 w 6537372"/>
              <a:gd name="connsiteY2431" fmla="*/ 1651460 h 4991619"/>
              <a:gd name="connsiteX2432" fmla="*/ 6128932 w 6537372"/>
              <a:gd name="connsiteY2432" fmla="*/ 1653782 h 4991619"/>
              <a:gd name="connsiteX2433" fmla="*/ 6121249 w 6537372"/>
              <a:gd name="connsiteY2433" fmla="*/ 1665753 h 4991619"/>
              <a:gd name="connsiteX2434" fmla="*/ 6121249 w 6537372"/>
              <a:gd name="connsiteY2434" fmla="*/ 1665932 h 4991619"/>
              <a:gd name="connsiteX2435" fmla="*/ 6141618 w 6537372"/>
              <a:gd name="connsiteY2435" fmla="*/ 1643598 h 4991619"/>
              <a:gd name="connsiteX2436" fmla="*/ 6117139 w 6537372"/>
              <a:gd name="connsiteY2436" fmla="*/ 1643062 h 4991619"/>
              <a:gd name="connsiteX2437" fmla="*/ 6110350 w 6537372"/>
              <a:gd name="connsiteY2437" fmla="*/ 1644491 h 4991619"/>
              <a:gd name="connsiteX2438" fmla="*/ 6111244 w 6537372"/>
              <a:gd name="connsiteY2438" fmla="*/ 1645921 h 4991619"/>
              <a:gd name="connsiteX2439" fmla="*/ 6100167 w 6537372"/>
              <a:gd name="connsiteY2439" fmla="*/ 1653426 h 4991619"/>
              <a:gd name="connsiteX2440" fmla="*/ 6081585 w 6537372"/>
              <a:gd name="connsiteY2440" fmla="*/ 1665932 h 4991619"/>
              <a:gd name="connsiteX2441" fmla="*/ 6079620 w 6537372"/>
              <a:gd name="connsiteY2441" fmla="*/ 1667719 h 4991619"/>
              <a:gd name="connsiteX2442" fmla="*/ 6083549 w 6537372"/>
              <a:gd name="connsiteY2442" fmla="*/ 1668970 h 4991619"/>
              <a:gd name="connsiteX2443" fmla="*/ 6083371 w 6537372"/>
              <a:gd name="connsiteY2443" fmla="*/ 1669327 h 4991619"/>
              <a:gd name="connsiteX2444" fmla="*/ 6100882 w 6537372"/>
              <a:gd name="connsiteY2444" fmla="*/ 1657892 h 4991619"/>
              <a:gd name="connsiteX2445" fmla="*/ 6103918 w 6537372"/>
              <a:gd name="connsiteY2445" fmla="*/ 1662895 h 4991619"/>
              <a:gd name="connsiteX2446" fmla="*/ 6111422 w 6537372"/>
              <a:gd name="connsiteY2446" fmla="*/ 1660929 h 4991619"/>
              <a:gd name="connsiteX2447" fmla="*/ 6113924 w 6537372"/>
              <a:gd name="connsiteY2447" fmla="*/ 1651103 h 4991619"/>
              <a:gd name="connsiteX2448" fmla="*/ 6117139 w 6537372"/>
              <a:gd name="connsiteY2448" fmla="*/ 1643062 h 4991619"/>
              <a:gd name="connsiteX2449" fmla="*/ 6122500 w 6537372"/>
              <a:gd name="connsiteY2449" fmla="*/ 1622158 h 4991619"/>
              <a:gd name="connsiteX2450" fmla="*/ 6121786 w 6537372"/>
              <a:gd name="connsiteY2450" fmla="*/ 1624124 h 4991619"/>
              <a:gd name="connsiteX2451" fmla="*/ 6121786 w 6537372"/>
              <a:gd name="connsiteY2451" fmla="*/ 1624302 h 4991619"/>
              <a:gd name="connsiteX2452" fmla="*/ 6128040 w 6537372"/>
              <a:gd name="connsiteY2452" fmla="*/ 1622694 h 4991619"/>
              <a:gd name="connsiteX2453" fmla="*/ 6122500 w 6537372"/>
              <a:gd name="connsiteY2453" fmla="*/ 1622158 h 4991619"/>
              <a:gd name="connsiteX2454" fmla="*/ 6008151 w 6537372"/>
              <a:gd name="connsiteY2454" fmla="*/ 1604649 h 4991619"/>
              <a:gd name="connsiteX2455" fmla="*/ 6007078 w 6537372"/>
              <a:gd name="connsiteY2455" fmla="*/ 1605720 h 4991619"/>
              <a:gd name="connsiteX2456" fmla="*/ 6007436 w 6537372"/>
              <a:gd name="connsiteY2456" fmla="*/ 1606078 h 4991619"/>
              <a:gd name="connsiteX2457" fmla="*/ 6008151 w 6537372"/>
              <a:gd name="connsiteY2457" fmla="*/ 1605542 h 4991619"/>
              <a:gd name="connsiteX2458" fmla="*/ 6009044 w 6537372"/>
              <a:gd name="connsiteY2458" fmla="*/ 1606435 h 4991619"/>
              <a:gd name="connsiteX2459" fmla="*/ 6009222 w 6537372"/>
              <a:gd name="connsiteY2459" fmla="*/ 1606435 h 4991619"/>
              <a:gd name="connsiteX2460" fmla="*/ 6009222 w 6537372"/>
              <a:gd name="connsiteY2460" fmla="*/ 1605720 h 4991619"/>
              <a:gd name="connsiteX2461" fmla="*/ 6008151 w 6537372"/>
              <a:gd name="connsiteY2461" fmla="*/ 1604649 h 4991619"/>
              <a:gd name="connsiteX2462" fmla="*/ 6053890 w 6537372"/>
              <a:gd name="connsiteY2462" fmla="*/ 1604469 h 4991619"/>
              <a:gd name="connsiteX2463" fmla="*/ 6035131 w 6537372"/>
              <a:gd name="connsiteY2463" fmla="*/ 1609830 h 4991619"/>
              <a:gd name="connsiteX2464" fmla="*/ 6034772 w 6537372"/>
              <a:gd name="connsiteY2464" fmla="*/ 1613582 h 4991619"/>
              <a:gd name="connsiteX2465" fmla="*/ 6053890 w 6537372"/>
              <a:gd name="connsiteY2465" fmla="*/ 1604469 h 4991619"/>
              <a:gd name="connsiteX2466" fmla="*/ 6200400 w 6537372"/>
              <a:gd name="connsiteY2466" fmla="*/ 1576955 h 4991619"/>
              <a:gd name="connsiteX2467" fmla="*/ 6193076 w 6537372"/>
              <a:gd name="connsiteY2467" fmla="*/ 1581779 h 4991619"/>
              <a:gd name="connsiteX2468" fmla="*/ 6195220 w 6537372"/>
              <a:gd name="connsiteY2468" fmla="*/ 1584816 h 4991619"/>
              <a:gd name="connsiteX2469" fmla="*/ 6201830 w 6537372"/>
              <a:gd name="connsiteY2469" fmla="*/ 1578921 h 4991619"/>
              <a:gd name="connsiteX2470" fmla="*/ 6200400 w 6537372"/>
              <a:gd name="connsiteY2470" fmla="*/ 1576955 h 4991619"/>
              <a:gd name="connsiteX2471" fmla="*/ 6066577 w 6537372"/>
              <a:gd name="connsiteY2471" fmla="*/ 1565520 h 4991619"/>
              <a:gd name="connsiteX2472" fmla="*/ 6037810 w 6537372"/>
              <a:gd name="connsiteY2472" fmla="*/ 1581243 h 4991619"/>
              <a:gd name="connsiteX2473" fmla="*/ 6033880 w 6537372"/>
              <a:gd name="connsiteY2473" fmla="*/ 1588746 h 4991619"/>
              <a:gd name="connsiteX2474" fmla="*/ 6034772 w 6537372"/>
              <a:gd name="connsiteY2474" fmla="*/ 1593392 h 4991619"/>
              <a:gd name="connsiteX2475" fmla="*/ 6037275 w 6537372"/>
              <a:gd name="connsiteY2475" fmla="*/ 1588390 h 4991619"/>
              <a:gd name="connsiteX2476" fmla="*/ 6042992 w 6537372"/>
              <a:gd name="connsiteY2476" fmla="*/ 1590355 h 4991619"/>
              <a:gd name="connsiteX2477" fmla="*/ 6046208 w 6537372"/>
              <a:gd name="connsiteY2477" fmla="*/ 1584994 h 4991619"/>
              <a:gd name="connsiteX2478" fmla="*/ 6054426 w 6537372"/>
              <a:gd name="connsiteY2478" fmla="*/ 1587675 h 4991619"/>
              <a:gd name="connsiteX2479" fmla="*/ 6060501 w 6537372"/>
              <a:gd name="connsiteY2479" fmla="*/ 1579992 h 4991619"/>
              <a:gd name="connsiteX2480" fmla="*/ 6056928 w 6537372"/>
              <a:gd name="connsiteY2480" fmla="*/ 1588390 h 4991619"/>
              <a:gd name="connsiteX2481" fmla="*/ 6064789 w 6537372"/>
              <a:gd name="connsiteY2481" fmla="*/ 1593392 h 4991619"/>
              <a:gd name="connsiteX2482" fmla="*/ 6054606 w 6537372"/>
              <a:gd name="connsiteY2482" fmla="*/ 1603934 h 4991619"/>
              <a:gd name="connsiteX2483" fmla="*/ 6069436 w 6537372"/>
              <a:gd name="connsiteY2483" fmla="*/ 1603398 h 4991619"/>
              <a:gd name="connsiteX2484" fmla="*/ 6044956 w 6537372"/>
              <a:gd name="connsiteY2484" fmla="*/ 1625375 h 4991619"/>
              <a:gd name="connsiteX2485" fmla="*/ 6051568 w 6537372"/>
              <a:gd name="connsiteY2485" fmla="*/ 1633771 h 4991619"/>
              <a:gd name="connsiteX2486" fmla="*/ 6057286 w 6537372"/>
              <a:gd name="connsiteY2486" fmla="*/ 1628234 h 4991619"/>
              <a:gd name="connsiteX2487" fmla="*/ 6054784 w 6537372"/>
              <a:gd name="connsiteY2487" fmla="*/ 1638954 h 4991619"/>
              <a:gd name="connsiteX2488" fmla="*/ 6057286 w 6537372"/>
              <a:gd name="connsiteY2488" fmla="*/ 1643598 h 4991619"/>
              <a:gd name="connsiteX2489" fmla="*/ 6065148 w 6537372"/>
              <a:gd name="connsiteY2489" fmla="*/ 1636810 h 4991619"/>
              <a:gd name="connsiteX2490" fmla="*/ 6077475 w 6537372"/>
              <a:gd name="connsiteY2490" fmla="*/ 1625375 h 4991619"/>
              <a:gd name="connsiteX2491" fmla="*/ 6076939 w 6537372"/>
              <a:gd name="connsiteY2491" fmla="*/ 1625375 h 4991619"/>
              <a:gd name="connsiteX2492" fmla="*/ 6068721 w 6537372"/>
              <a:gd name="connsiteY2492" fmla="*/ 1623051 h 4991619"/>
              <a:gd name="connsiteX2493" fmla="*/ 6079083 w 6537372"/>
              <a:gd name="connsiteY2493" fmla="*/ 1606613 h 4991619"/>
              <a:gd name="connsiteX2494" fmla="*/ 6091947 w 6537372"/>
              <a:gd name="connsiteY2494" fmla="*/ 1601790 h 4991619"/>
              <a:gd name="connsiteX2495" fmla="*/ 6091769 w 6537372"/>
              <a:gd name="connsiteY2495" fmla="*/ 1601790 h 4991619"/>
              <a:gd name="connsiteX2496" fmla="*/ 6070328 w 6537372"/>
              <a:gd name="connsiteY2496" fmla="*/ 1602861 h 4991619"/>
              <a:gd name="connsiteX2497" fmla="*/ 6073902 w 6537372"/>
              <a:gd name="connsiteY2497" fmla="*/ 1586960 h 4991619"/>
              <a:gd name="connsiteX2498" fmla="*/ 6067292 w 6537372"/>
              <a:gd name="connsiteY2498" fmla="*/ 1581958 h 4991619"/>
              <a:gd name="connsiteX2499" fmla="*/ 6065862 w 6537372"/>
              <a:gd name="connsiteY2499" fmla="*/ 1574096 h 4991619"/>
              <a:gd name="connsiteX2500" fmla="*/ 6066577 w 6537372"/>
              <a:gd name="connsiteY2500" fmla="*/ 1565520 h 4991619"/>
              <a:gd name="connsiteX2501" fmla="*/ 6216302 w 6537372"/>
              <a:gd name="connsiteY2501" fmla="*/ 1545687 h 4991619"/>
              <a:gd name="connsiteX2502" fmla="*/ 6201115 w 6537372"/>
              <a:gd name="connsiteY2502" fmla="*/ 1557300 h 4991619"/>
              <a:gd name="connsiteX2503" fmla="*/ 6208084 w 6537372"/>
              <a:gd name="connsiteY2503" fmla="*/ 1559981 h 4991619"/>
              <a:gd name="connsiteX2504" fmla="*/ 6216302 w 6537372"/>
              <a:gd name="connsiteY2504" fmla="*/ 1545687 h 4991619"/>
              <a:gd name="connsiteX2505" fmla="*/ 6264900 w 6537372"/>
              <a:gd name="connsiteY2505" fmla="*/ 1457066 h 4991619"/>
              <a:gd name="connsiteX2506" fmla="*/ 6182712 w 6537372"/>
              <a:gd name="connsiteY2506" fmla="*/ 1502269 h 4991619"/>
              <a:gd name="connsiteX2507" fmla="*/ 6164666 w 6537372"/>
              <a:gd name="connsiteY2507" fmla="*/ 1514956 h 4991619"/>
              <a:gd name="connsiteX2508" fmla="*/ 6132148 w 6537372"/>
              <a:gd name="connsiteY2508" fmla="*/ 1536754 h 4991619"/>
              <a:gd name="connsiteX2509" fmla="*/ 6122500 w 6537372"/>
              <a:gd name="connsiteY2509" fmla="*/ 1538898 h 4991619"/>
              <a:gd name="connsiteX2510" fmla="*/ 6115890 w 6537372"/>
              <a:gd name="connsiteY2510" fmla="*/ 1538898 h 4991619"/>
              <a:gd name="connsiteX2511" fmla="*/ 6113746 w 6537372"/>
              <a:gd name="connsiteY2511" fmla="*/ 1540148 h 4991619"/>
              <a:gd name="connsiteX2512" fmla="*/ 6111422 w 6537372"/>
              <a:gd name="connsiteY2512" fmla="*/ 1547116 h 4991619"/>
              <a:gd name="connsiteX2513" fmla="*/ 6107670 w 6537372"/>
              <a:gd name="connsiteY2513" fmla="*/ 1553548 h 4991619"/>
              <a:gd name="connsiteX2514" fmla="*/ 6103918 w 6537372"/>
              <a:gd name="connsiteY2514" fmla="*/ 1557122 h 4991619"/>
              <a:gd name="connsiteX2515" fmla="*/ 6115532 w 6537372"/>
              <a:gd name="connsiteY2515" fmla="*/ 1561588 h 4991619"/>
              <a:gd name="connsiteX2516" fmla="*/ 6098201 w 6537372"/>
              <a:gd name="connsiteY2516" fmla="*/ 1563017 h 4991619"/>
              <a:gd name="connsiteX2517" fmla="*/ 6098023 w 6537372"/>
              <a:gd name="connsiteY2517" fmla="*/ 1562125 h 4991619"/>
              <a:gd name="connsiteX2518" fmla="*/ 6092306 w 6537372"/>
              <a:gd name="connsiteY2518" fmla="*/ 1567127 h 4991619"/>
              <a:gd name="connsiteX2519" fmla="*/ 6091054 w 6537372"/>
              <a:gd name="connsiteY2519" fmla="*/ 1553548 h 4991619"/>
              <a:gd name="connsiteX2520" fmla="*/ 6091769 w 6537372"/>
              <a:gd name="connsiteY2520" fmla="*/ 1552297 h 4991619"/>
              <a:gd name="connsiteX2521" fmla="*/ 6079083 w 6537372"/>
              <a:gd name="connsiteY2521" fmla="*/ 1559266 h 4991619"/>
              <a:gd name="connsiteX2522" fmla="*/ 6097308 w 6537372"/>
              <a:gd name="connsiteY2522" fmla="*/ 1592141 h 4991619"/>
              <a:gd name="connsiteX2523" fmla="*/ 6098379 w 6537372"/>
              <a:gd name="connsiteY2523" fmla="*/ 1594285 h 4991619"/>
              <a:gd name="connsiteX2524" fmla="*/ 6103560 w 6537372"/>
              <a:gd name="connsiteY2524" fmla="*/ 1589282 h 4991619"/>
              <a:gd name="connsiteX2525" fmla="*/ 6116782 w 6537372"/>
              <a:gd name="connsiteY2525" fmla="*/ 1593749 h 4991619"/>
              <a:gd name="connsiteX2526" fmla="*/ 6120178 w 6537372"/>
              <a:gd name="connsiteY2526" fmla="*/ 1589819 h 4991619"/>
              <a:gd name="connsiteX2527" fmla="*/ 6113388 w 6537372"/>
              <a:gd name="connsiteY2527" fmla="*/ 1588211 h 4991619"/>
              <a:gd name="connsiteX2528" fmla="*/ 6122322 w 6537372"/>
              <a:gd name="connsiteY2528" fmla="*/ 1580350 h 4991619"/>
              <a:gd name="connsiteX2529" fmla="*/ 6126610 w 6537372"/>
              <a:gd name="connsiteY2529" fmla="*/ 1582136 h 4991619"/>
              <a:gd name="connsiteX2530" fmla="*/ 6133757 w 6537372"/>
              <a:gd name="connsiteY2530" fmla="*/ 1573918 h 4991619"/>
              <a:gd name="connsiteX2531" fmla="*/ 6135721 w 6537372"/>
              <a:gd name="connsiteY2531" fmla="*/ 1575167 h 4991619"/>
              <a:gd name="connsiteX2532" fmla="*/ 6134828 w 6537372"/>
              <a:gd name="connsiteY2532" fmla="*/ 1577848 h 4991619"/>
              <a:gd name="connsiteX2533" fmla="*/ 6132148 w 6537372"/>
              <a:gd name="connsiteY2533" fmla="*/ 1583029 h 4991619"/>
              <a:gd name="connsiteX2534" fmla="*/ 6148944 w 6537372"/>
              <a:gd name="connsiteY2534" fmla="*/ 1567842 h 4991619"/>
              <a:gd name="connsiteX2535" fmla="*/ 6165738 w 6537372"/>
              <a:gd name="connsiteY2535" fmla="*/ 1543006 h 4991619"/>
              <a:gd name="connsiteX2536" fmla="*/ 6168240 w 6537372"/>
              <a:gd name="connsiteY2536" fmla="*/ 1542292 h 4991619"/>
              <a:gd name="connsiteX2537" fmla="*/ 6197362 w 6537372"/>
              <a:gd name="connsiteY2537" fmla="*/ 1507272 h 4991619"/>
              <a:gd name="connsiteX2538" fmla="*/ 6206654 w 6537372"/>
              <a:gd name="connsiteY2538" fmla="*/ 1493337 h 4991619"/>
              <a:gd name="connsiteX2539" fmla="*/ 6210048 w 6537372"/>
              <a:gd name="connsiteY2539" fmla="*/ 1504414 h 4991619"/>
              <a:gd name="connsiteX2540" fmla="*/ 6225951 w 6537372"/>
              <a:gd name="connsiteY2540" fmla="*/ 1503521 h 4991619"/>
              <a:gd name="connsiteX2541" fmla="*/ 6247926 w 6537372"/>
              <a:gd name="connsiteY2541" fmla="*/ 1485297 h 4991619"/>
              <a:gd name="connsiteX2542" fmla="*/ 6261148 w 6537372"/>
              <a:gd name="connsiteY2542" fmla="*/ 1490300 h 4991619"/>
              <a:gd name="connsiteX2543" fmla="*/ 6261685 w 6537372"/>
              <a:gd name="connsiteY2543" fmla="*/ 1490300 h 4991619"/>
              <a:gd name="connsiteX2544" fmla="*/ 6283660 w 6537372"/>
              <a:gd name="connsiteY2544" fmla="*/ 1472611 h 4991619"/>
              <a:gd name="connsiteX2545" fmla="*/ 6266330 w 6537372"/>
              <a:gd name="connsiteY2545" fmla="*/ 1474933 h 4991619"/>
              <a:gd name="connsiteX2546" fmla="*/ 6264900 w 6537372"/>
              <a:gd name="connsiteY2546" fmla="*/ 1457066 h 4991619"/>
              <a:gd name="connsiteX2547" fmla="*/ 6290628 w 6537372"/>
              <a:gd name="connsiteY2547" fmla="*/ 1454386 h 4991619"/>
              <a:gd name="connsiteX2548" fmla="*/ 6290092 w 6537372"/>
              <a:gd name="connsiteY2548" fmla="*/ 1459389 h 4991619"/>
              <a:gd name="connsiteX2549" fmla="*/ 6295810 w 6537372"/>
              <a:gd name="connsiteY2549" fmla="*/ 1460103 h 4991619"/>
              <a:gd name="connsiteX2550" fmla="*/ 6295990 w 6537372"/>
              <a:gd name="connsiteY2550" fmla="*/ 1460103 h 4991619"/>
              <a:gd name="connsiteX2551" fmla="*/ 6296346 w 6537372"/>
              <a:gd name="connsiteY2551" fmla="*/ 1457066 h 4991619"/>
              <a:gd name="connsiteX2552" fmla="*/ 6290628 w 6537372"/>
              <a:gd name="connsiteY2552" fmla="*/ 1454386 h 4991619"/>
              <a:gd name="connsiteX2553" fmla="*/ 6281338 w 6537372"/>
              <a:gd name="connsiteY2553" fmla="*/ 1447419 h 4991619"/>
              <a:gd name="connsiteX2554" fmla="*/ 6271154 w 6537372"/>
              <a:gd name="connsiteY2554" fmla="*/ 1453137 h 4991619"/>
              <a:gd name="connsiteX2555" fmla="*/ 6272225 w 6537372"/>
              <a:gd name="connsiteY2555" fmla="*/ 1460283 h 4991619"/>
              <a:gd name="connsiteX2556" fmla="*/ 6281338 w 6537372"/>
              <a:gd name="connsiteY2556" fmla="*/ 1447419 h 4991619"/>
              <a:gd name="connsiteX2557" fmla="*/ 6304030 w 6537372"/>
              <a:gd name="connsiteY2557" fmla="*/ 1446704 h 4991619"/>
              <a:gd name="connsiteX2558" fmla="*/ 6301170 w 6537372"/>
              <a:gd name="connsiteY2558" fmla="*/ 1452064 h 4991619"/>
              <a:gd name="connsiteX2559" fmla="*/ 6303136 w 6537372"/>
              <a:gd name="connsiteY2559" fmla="*/ 1453315 h 4991619"/>
              <a:gd name="connsiteX2560" fmla="*/ 6303136 w 6537372"/>
              <a:gd name="connsiteY2560" fmla="*/ 1453493 h 4991619"/>
              <a:gd name="connsiteX2561" fmla="*/ 6306888 w 6537372"/>
              <a:gd name="connsiteY2561" fmla="*/ 1448490 h 4991619"/>
              <a:gd name="connsiteX2562" fmla="*/ 6304030 w 6537372"/>
              <a:gd name="connsiteY2562" fmla="*/ 1446704 h 4991619"/>
              <a:gd name="connsiteX2563" fmla="*/ 6304030 w 6537372"/>
              <a:gd name="connsiteY2563" fmla="*/ 1434911 h 4991619"/>
              <a:gd name="connsiteX2564" fmla="*/ 6293309 w 6537372"/>
              <a:gd name="connsiteY2564" fmla="*/ 1440807 h 4991619"/>
              <a:gd name="connsiteX2565" fmla="*/ 6293309 w 6537372"/>
              <a:gd name="connsiteY2565" fmla="*/ 1440629 h 4991619"/>
              <a:gd name="connsiteX2566" fmla="*/ 6292058 w 6537372"/>
              <a:gd name="connsiteY2566" fmla="*/ 1449920 h 4991619"/>
              <a:gd name="connsiteX2567" fmla="*/ 6295810 w 6537372"/>
              <a:gd name="connsiteY2567" fmla="*/ 1450812 h 4991619"/>
              <a:gd name="connsiteX2568" fmla="*/ 6304030 w 6537372"/>
              <a:gd name="connsiteY2568" fmla="*/ 1434911 h 4991619"/>
              <a:gd name="connsiteX2569" fmla="*/ 6334760 w 6537372"/>
              <a:gd name="connsiteY2569" fmla="*/ 1430801 h 4991619"/>
              <a:gd name="connsiteX2570" fmla="*/ 6330114 w 6537372"/>
              <a:gd name="connsiteY2570" fmla="*/ 1434911 h 4991619"/>
              <a:gd name="connsiteX2571" fmla="*/ 6331366 w 6537372"/>
              <a:gd name="connsiteY2571" fmla="*/ 1436162 h 4991619"/>
              <a:gd name="connsiteX2572" fmla="*/ 6336012 w 6537372"/>
              <a:gd name="connsiteY2572" fmla="*/ 1432053 h 4991619"/>
              <a:gd name="connsiteX2573" fmla="*/ 6334760 w 6537372"/>
              <a:gd name="connsiteY2573" fmla="*/ 1430801 h 4991619"/>
              <a:gd name="connsiteX2574" fmla="*/ 6353342 w 6537372"/>
              <a:gd name="connsiteY2574" fmla="*/ 1399535 h 4991619"/>
              <a:gd name="connsiteX2575" fmla="*/ 6346910 w 6537372"/>
              <a:gd name="connsiteY2575" fmla="*/ 1400250 h 4991619"/>
              <a:gd name="connsiteX2576" fmla="*/ 6326541 w 6537372"/>
              <a:gd name="connsiteY2576" fmla="*/ 1422225 h 4991619"/>
              <a:gd name="connsiteX2577" fmla="*/ 6339405 w 6537372"/>
              <a:gd name="connsiteY2577" fmla="*/ 1416508 h 4991619"/>
              <a:gd name="connsiteX2578" fmla="*/ 6349232 w 6537372"/>
              <a:gd name="connsiteY2578" fmla="*/ 1406146 h 4991619"/>
              <a:gd name="connsiteX2579" fmla="*/ 6349410 w 6537372"/>
              <a:gd name="connsiteY2579" fmla="*/ 1405968 h 4991619"/>
              <a:gd name="connsiteX2580" fmla="*/ 6353342 w 6537372"/>
              <a:gd name="connsiteY2580" fmla="*/ 1399535 h 4991619"/>
              <a:gd name="connsiteX2581" fmla="*/ 6436246 w 6537372"/>
              <a:gd name="connsiteY2581" fmla="*/ 1363443 h 4991619"/>
              <a:gd name="connsiteX2582" fmla="*/ 6426596 w 6537372"/>
              <a:gd name="connsiteY2582" fmla="*/ 1370053 h 4991619"/>
              <a:gd name="connsiteX2583" fmla="*/ 6436246 w 6537372"/>
              <a:gd name="connsiteY2583" fmla="*/ 1363443 h 4991619"/>
              <a:gd name="connsiteX2584" fmla="*/ 6347982 w 6537372"/>
              <a:gd name="connsiteY2584" fmla="*/ 1354867 h 4991619"/>
              <a:gd name="connsiteX2585" fmla="*/ 6346374 w 6537372"/>
              <a:gd name="connsiteY2585" fmla="*/ 1356296 h 4991619"/>
              <a:gd name="connsiteX2586" fmla="*/ 6347982 w 6537372"/>
              <a:gd name="connsiteY2586" fmla="*/ 1360228 h 4991619"/>
              <a:gd name="connsiteX2587" fmla="*/ 6347982 w 6537372"/>
              <a:gd name="connsiteY2587" fmla="*/ 1354867 h 4991619"/>
              <a:gd name="connsiteX2588" fmla="*/ 5958124 w 6537372"/>
              <a:gd name="connsiteY2588" fmla="*/ 1315023 h 4991619"/>
              <a:gd name="connsiteX2589" fmla="*/ 5953836 w 6537372"/>
              <a:gd name="connsiteY2589" fmla="*/ 1316811 h 4991619"/>
              <a:gd name="connsiteX2590" fmla="*/ 5951692 w 6537372"/>
              <a:gd name="connsiteY2590" fmla="*/ 1320026 h 4991619"/>
              <a:gd name="connsiteX2591" fmla="*/ 5957587 w 6537372"/>
              <a:gd name="connsiteY2591" fmla="*/ 1319847 h 4991619"/>
              <a:gd name="connsiteX2592" fmla="*/ 5958124 w 6537372"/>
              <a:gd name="connsiteY2592" fmla="*/ 1315023 h 4991619"/>
              <a:gd name="connsiteX2593" fmla="*/ 5982244 w 6537372"/>
              <a:gd name="connsiteY2593" fmla="*/ 1304483 h 4991619"/>
              <a:gd name="connsiteX2594" fmla="*/ 5975990 w 6537372"/>
              <a:gd name="connsiteY2594" fmla="*/ 1307698 h 4991619"/>
              <a:gd name="connsiteX2595" fmla="*/ 5970273 w 6537372"/>
              <a:gd name="connsiteY2595" fmla="*/ 1310200 h 4991619"/>
              <a:gd name="connsiteX2596" fmla="*/ 5960804 w 6537372"/>
              <a:gd name="connsiteY2596" fmla="*/ 1320206 h 4991619"/>
              <a:gd name="connsiteX2597" fmla="*/ 5970273 w 6537372"/>
              <a:gd name="connsiteY2597" fmla="*/ 1321813 h 4991619"/>
              <a:gd name="connsiteX2598" fmla="*/ 5971880 w 6537372"/>
              <a:gd name="connsiteY2598" fmla="*/ 1320920 h 4991619"/>
              <a:gd name="connsiteX2599" fmla="*/ 5976705 w 6537372"/>
              <a:gd name="connsiteY2599" fmla="*/ 1316989 h 4991619"/>
              <a:gd name="connsiteX2600" fmla="*/ 5982064 w 6537372"/>
              <a:gd name="connsiteY2600" fmla="*/ 1305912 h 4991619"/>
              <a:gd name="connsiteX2601" fmla="*/ 5982244 w 6537372"/>
              <a:gd name="connsiteY2601" fmla="*/ 1305912 h 4991619"/>
              <a:gd name="connsiteX2602" fmla="*/ 5982244 w 6537372"/>
              <a:gd name="connsiteY2602" fmla="*/ 1304483 h 4991619"/>
              <a:gd name="connsiteX2603" fmla="*/ 5964556 w 6537372"/>
              <a:gd name="connsiteY2603" fmla="*/ 1294834 h 4991619"/>
              <a:gd name="connsiteX2604" fmla="*/ 5960446 w 6537372"/>
              <a:gd name="connsiteY2604" fmla="*/ 1299836 h 4991619"/>
              <a:gd name="connsiteX2605" fmla="*/ 5962234 w 6537372"/>
              <a:gd name="connsiteY2605" fmla="*/ 1301087 h 4991619"/>
              <a:gd name="connsiteX2606" fmla="*/ 5964556 w 6537372"/>
              <a:gd name="connsiteY2606" fmla="*/ 1294834 h 4991619"/>
              <a:gd name="connsiteX2607" fmla="*/ 6424810 w 6537372"/>
              <a:gd name="connsiteY2607" fmla="*/ 1280362 h 4991619"/>
              <a:gd name="connsiteX2608" fmla="*/ 6421774 w 6537372"/>
              <a:gd name="connsiteY2608" fmla="*/ 1287330 h 4991619"/>
              <a:gd name="connsiteX2609" fmla="*/ 6424096 w 6537372"/>
              <a:gd name="connsiteY2609" fmla="*/ 1288580 h 4991619"/>
              <a:gd name="connsiteX2610" fmla="*/ 6428206 w 6537372"/>
              <a:gd name="connsiteY2610" fmla="*/ 1282506 h 4991619"/>
              <a:gd name="connsiteX2611" fmla="*/ 6424810 w 6537372"/>
              <a:gd name="connsiteY2611" fmla="*/ 1280362 h 4991619"/>
              <a:gd name="connsiteX2612" fmla="*/ 6436602 w 6537372"/>
              <a:gd name="connsiteY2612" fmla="*/ 1266068 h 4991619"/>
              <a:gd name="connsiteX2613" fmla="*/ 6433386 w 6537372"/>
              <a:gd name="connsiteY2613" fmla="*/ 1266246 h 4991619"/>
              <a:gd name="connsiteX2614" fmla="*/ 6433565 w 6537372"/>
              <a:gd name="connsiteY2614" fmla="*/ 1266246 h 4991619"/>
              <a:gd name="connsiteX2615" fmla="*/ 6437496 w 6537372"/>
              <a:gd name="connsiteY2615" fmla="*/ 1277681 h 4991619"/>
              <a:gd name="connsiteX2616" fmla="*/ 6436602 w 6537372"/>
              <a:gd name="connsiteY2616" fmla="*/ 1266068 h 4991619"/>
              <a:gd name="connsiteX2617" fmla="*/ 6468584 w 6537372"/>
              <a:gd name="connsiteY2617" fmla="*/ 1263566 h 4991619"/>
              <a:gd name="connsiteX2618" fmla="*/ 6462867 w 6537372"/>
              <a:gd name="connsiteY2618" fmla="*/ 1264460 h 4991619"/>
              <a:gd name="connsiteX2619" fmla="*/ 6462694 w 6537372"/>
              <a:gd name="connsiteY2619" fmla="*/ 1268594 h 4991619"/>
              <a:gd name="connsiteX2620" fmla="*/ 6462510 w 6537372"/>
              <a:gd name="connsiteY2620" fmla="*/ 1268569 h 4991619"/>
              <a:gd name="connsiteX2621" fmla="*/ 6462688 w 6537372"/>
              <a:gd name="connsiteY2621" fmla="*/ 1268749 h 4991619"/>
              <a:gd name="connsiteX2622" fmla="*/ 6462694 w 6537372"/>
              <a:gd name="connsiteY2622" fmla="*/ 1268594 h 4991619"/>
              <a:gd name="connsiteX2623" fmla="*/ 6468942 w 6537372"/>
              <a:gd name="connsiteY2623" fmla="*/ 1269463 h 4991619"/>
              <a:gd name="connsiteX2624" fmla="*/ 6468584 w 6537372"/>
              <a:gd name="connsiteY2624" fmla="*/ 1263566 h 4991619"/>
              <a:gd name="connsiteX2625" fmla="*/ 6014427 w 6537372"/>
              <a:gd name="connsiteY2625" fmla="*/ 1261199 h 4991619"/>
              <a:gd name="connsiteX2626" fmla="*/ 6006007 w 6537372"/>
              <a:gd name="connsiteY2626" fmla="*/ 1267139 h 4991619"/>
              <a:gd name="connsiteX2627" fmla="*/ 5999575 w 6537372"/>
              <a:gd name="connsiteY2627" fmla="*/ 1269642 h 4991619"/>
              <a:gd name="connsiteX2628" fmla="*/ 5993680 w 6537372"/>
              <a:gd name="connsiteY2628" fmla="*/ 1275359 h 4991619"/>
              <a:gd name="connsiteX2629" fmla="*/ 5987960 w 6537372"/>
              <a:gd name="connsiteY2629" fmla="*/ 1271071 h 4991619"/>
              <a:gd name="connsiteX2630" fmla="*/ 5981708 w 6537372"/>
              <a:gd name="connsiteY2630" fmla="*/ 1276430 h 4991619"/>
              <a:gd name="connsiteX2631" fmla="*/ 5980635 w 6537372"/>
              <a:gd name="connsiteY2631" fmla="*/ 1275359 h 4991619"/>
              <a:gd name="connsiteX2632" fmla="*/ 5966163 w 6537372"/>
              <a:gd name="connsiteY2632" fmla="*/ 1292868 h 4991619"/>
              <a:gd name="connsiteX2633" fmla="*/ 5971880 w 6537372"/>
              <a:gd name="connsiteY2633" fmla="*/ 1295548 h 4991619"/>
              <a:gd name="connsiteX2634" fmla="*/ 5973846 w 6537372"/>
              <a:gd name="connsiteY2634" fmla="*/ 1294119 h 4991619"/>
              <a:gd name="connsiteX2635" fmla="*/ 5972774 w 6537372"/>
              <a:gd name="connsiteY2635" fmla="*/ 1296085 h 4991619"/>
              <a:gd name="connsiteX2636" fmla="*/ 5972239 w 6537372"/>
              <a:gd name="connsiteY2636" fmla="*/ 1303410 h 4991619"/>
              <a:gd name="connsiteX2637" fmla="*/ 5972774 w 6537372"/>
              <a:gd name="connsiteY2637" fmla="*/ 1303768 h 4991619"/>
              <a:gd name="connsiteX2638" fmla="*/ 5986889 w 6537372"/>
              <a:gd name="connsiteY2638" fmla="*/ 1293941 h 4991619"/>
              <a:gd name="connsiteX2639" fmla="*/ 5991714 w 6537372"/>
              <a:gd name="connsiteY2639" fmla="*/ 1289474 h 4991619"/>
              <a:gd name="connsiteX2640" fmla="*/ 5991714 w 6537372"/>
              <a:gd name="connsiteY2640" fmla="*/ 1290724 h 4991619"/>
              <a:gd name="connsiteX2641" fmla="*/ 6008330 w 6537372"/>
              <a:gd name="connsiteY2641" fmla="*/ 1281255 h 4991619"/>
              <a:gd name="connsiteX2642" fmla="*/ 6023160 w 6537372"/>
              <a:gd name="connsiteY2642" fmla="*/ 1266424 h 4991619"/>
              <a:gd name="connsiteX2643" fmla="*/ 6022623 w 6537372"/>
              <a:gd name="connsiteY2643" fmla="*/ 1266424 h 4991619"/>
              <a:gd name="connsiteX2644" fmla="*/ 6023160 w 6537372"/>
              <a:gd name="connsiteY2644" fmla="*/ 1265890 h 4991619"/>
              <a:gd name="connsiteX2645" fmla="*/ 6023160 w 6537372"/>
              <a:gd name="connsiteY2645" fmla="*/ 1266246 h 4991619"/>
              <a:gd name="connsiteX2646" fmla="*/ 6024589 w 6537372"/>
              <a:gd name="connsiteY2646" fmla="*/ 1262495 h 4991619"/>
              <a:gd name="connsiteX2647" fmla="*/ 6014427 w 6537372"/>
              <a:gd name="connsiteY2647" fmla="*/ 1261199 h 4991619"/>
              <a:gd name="connsiteX2648" fmla="*/ 6030662 w 6537372"/>
              <a:gd name="connsiteY2648" fmla="*/ 1257848 h 4991619"/>
              <a:gd name="connsiteX2649" fmla="*/ 6025660 w 6537372"/>
              <a:gd name="connsiteY2649" fmla="*/ 1261244 h 4991619"/>
              <a:gd name="connsiteX2650" fmla="*/ 6031558 w 6537372"/>
              <a:gd name="connsiteY2650" fmla="*/ 1261958 h 4991619"/>
              <a:gd name="connsiteX2651" fmla="*/ 6033165 w 6537372"/>
              <a:gd name="connsiteY2651" fmla="*/ 1259278 h 4991619"/>
              <a:gd name="connsiteX2652" fmla="*/ 6030662 w 6537372"/>
              <a:gd name="connsiteY2652" fmla="*/ 1258028 h 4991619"/>
              <a:gd name="connsiteX2653" fmla="*/ 6475911 w 6537372"/>
              <a:gd name="connsiteY2653" fmla="*/ 1241591 h 4991619"/>
              <a:gd name="connsiteX2654" fmla="*/ 6471622 w 6537372"/>
              <a:gd name="connsiteY2654" fmla="*/ 1242125 h 4991619"/>
              <a:gd name="connsiteX2655" fmla="*/ 6467514 w 6537372"/>
              <a:gd name="connsiteY2655" fmla="*/ 1250882 h 4991619"/>
              <a:gd name="connsiteX2656" fmla="*/ 6470550 w 6537372"/>
              <a:gd name="connsiteY2656" fmla="*/ 1253382 h 4991619"/>
              <a:gd name="connsiteX2657" fmla="*/ 6477519 w 6537372"/>
              <a:gd name="connsiteY2657" fmla="*/ 1245699 h 4991619"/>
              <a:gd name="connsiteX2658" fmla="*/ 6475911 w 6537372"/>
              <a:gd name="connsiteY2658" fmla="*/ 1241591 h 4991619"/>
              <a:gd name="connsiteX2659" fmla="*/ 6106777 w 6537372"/>
              <a:gd name="connsiteY2659" fmla="*/ 1225868 h 4991619"/>
              <a:gd name="connsiteX2660" fmla="*/ 6104633 w 6537372"/>
              <a:gd name="connsiteY2660" fmla="*/ 1227475 h 4991619"/>
              <a:gd name="connsiteX2661" fmla="*/ 6106062 w 6537372"/>
              <a:gd name="connsiteY2661" fmla="*/ 1227297 h 4991619"/>
              <a:gd name="connsiteX2662" fmla="*/ 6106777 w 6537372"/>
              <a:gd name="connsiteY2662" fmla="*/ 1226046 h 4991619"/>
              <a:gd name="connsiteX2663" fmla="*/ 6170026 w 6537372"/>
              <a:gd name="connsiteY2663" fmla="*/ 1223009 h 4991619"/>
              <a:gd name="connsiteX2664" fmla="*/ 6169132 w 6537372"/>
              <a:gd name="connsiteY2664" fmla="*/ 1224080 h 4991619"/>
              <a:gd name="connsiteX2665" fmla="*/ 6171277 w 6537372"/>
              <a:gd name="connsiteY2665" fmla="*/ 1225153 h 4991619"/>
              <a:gd name="connsiteX2666" fmla="*/ 6171277 w 6537372"/>
              <a:gd name="connsiteY2666" fmla="*/ 1223724 h 4991619"/>
              <a:gd name="connsiteX2667" fmla="*/ 6170026 w 6537372"/>
              <a:gd name="connsiteY2667" fmla="*/ 1223009 h 4991619"/>
              <a:gd name="connsiteX2668" fmla="*/ 6086588 w 6537372"/>
              <a:gd name="connsiteY2668" fmla="*/ 1217826 h 4991619"/>
              <a:gd name="connsiteX2669" fmla="*/ 6083371 w 6537372"/>
              <a:gd name="connsiteY2669" fmla="*/ 1219614 h 4991619"/>
              <a:gd name="connsiteX2670" fmla="*/ 6084978 w 6537372"/>
              <a:gd name="connsiteY2670" fmla="*/ 1220685 h 4991619"/>
              <a:gd name="connsiteX2671" fmla="*/ 6086588 w 6537372"/>
              <a:gd name="connsiteY2671" fmla="*/ 1217826 h 4991619"/>
              <a:gd name="connsiteX2672" fmla="*/ 6118390 w 6537372"/>
              <a:gd name="connsiteY2672" fmla="*/ 1197459 h 4991619"/>
              <a:gd name="connsiteX2673" fmla="*/ 6118318 w 6537372"/>
              <a:gd name="connsiteY2673" fmla="*/ 1197668 h 4991619"/>
              <a:gd name="connsiteX2674" fmla="*/ 6118212 w 6537372"/>
              <a:gd name="connsiteY2674" fmla="*/ 1197637 h 4991619"/>
              <a:gd name="connsiteX2675" fmla="*/ 6118076 w 6537372"/>
              <a:gd name="connsiteY2675" fmla="*/ 1197602 h 4991619"/>
              <a:gd name="connsiteX2676" fmla="*/ 6118212 w 6537372"/>
              <a:gd name="connsiteY2676" fmla="*/ 1152970 h 4991619"/>
              <a:gd name="connsiteX2677" fmla="*/ 6109100 w 6537372"/>
              <a:gd name="connsiteY2677" fmla="*/ 1163332 h 4991619"/>
              <a:gd name="connsiteX2678" fmla="*/ 6113210 w 6537372"/>
              <a:gd name="connsiteY2678" fmla="*/ 1175840 h 4991619"/>
              <a:gd name="connsiteX2679" fmla="*/ 6103560 w 6537372"/>
              <a:gd name="connsiteY2679" fmla="*/ 1184236 h 4991619"/>
              <a:gd name="connsiteX2680" fmla="*/ 6098558 w 6537372"/>
              <a:gd name="connsiteY2680" fmla="*/ 1192634 h 4991619"/>
              <a:gd name="connsiteX2681" fmla="*/ 6118076 w 6537372"/>
              <a:gd name="connsiteY2681" fmla="*/ 1197602 h 4991619"/>
              <a:gd name="connsiteX2682" fmla="*/ 6108921 w 6537372"/>
              <a:gd name="connsiteY2682" fmla="*/ 1201791 h 4991619"/>
              <a:gd name="connsiteX2683" fmla="*/ 6101060 w 6537372"/>
              <a:gd name="connsiteY2683" fmla="*/ 1209072 h 4991619"/>
              <a:gd name="connsiteX2684" fmla="*/ 6092662 w 6537372"/>
              <a:gd name="connsiteY2684" fmla="*/ 1214433 h 4991619"/>
              <a:gd name="connsiteX2685" fmla="*/ 6092484 w 6537372"/>
              <a:gd name="connsiteY2685" fmla="*/ 1214433 h 4991619"/>
              <a:gd name="connsiteX2686" fmla="*/ 6086408 w 6537372"/>
              <a:gd name="connsiteY2686" fmla="*/ 1221580 h 4991619"/>
              <a:gd name="connsiteX2687" fmla="*/ 6103204 w 6537372"/>
              <a:gd name="connsiteY2687" fmla="*/ 1220150 h 4991619"/>
              <a:gd name="connsiteX2688" fmla="*/ 6113745 w 6537372"/>
              <a:gd name="connsiteY2688" fmla="*/ 1210882 h 4991619"/>
              <a:gd name="connsiteX2689" fmla="*/ 6118318 w 6537372"/>
              <a:gd name="connsiteY2689" fmla="*/ 1197668 h 4991619"/>
              <a:gd name="connsiteX2690" fmla="*/ 6132862 w 6537372"/>
              <a:gd name="connsiteY2690" fmla="*/ 1201925 h 4991619"/>
              <a:gd name="connsiteX2691" fmla="*/ 6091769 w 6537372"/>
              <a:gd name="connsiteY2691" fmla="*/ 1239803 h 4991619"/>
              <a:gd name="connsiteX2692" fmla="*/ 6038168 w 6537372"/>
              <a:gd name="connsiteY2692" fmla="*/ 1273393 h 4991619"/>
              <a:gd name="connsiteX2693" fmla="*/ 6040668 w 6537372"/>
              <a:gd name="connsiteY2693" fmla="*/ 1280718 h 4991619"/>
              <a:gd name="connsiteX2694" fmla="*/ 6034058 w 6537372"/>
              <a:gd name="connsiteY2694" fmla="*/ 1286616 h 4991619"/>
              <a:gd name="connsiteX2695" fmla="*/ 6007973 w 6537372"/>
              <a:gd name="connsiteY2695" fmla="*/ 1300015 h 4991619"/>
              <a:gd name="connsiteX2696" fmla="*/ 6002790 w 6537372"/>
              <a:gd name="connsiteY2696" fmla="*/ 1292868 h 4991619"/>
              <a:gd name="connsiteX2697" fmla="*/ 5990106 w 6537372"/>
              <a:gd name="connsiteY2697" fmla="*/ 1300195 h 4991619"/>
              <a:gd name="connsiteX2698" fmla="*/ 5988854 w 6537372"/>
              <a:gd name="connsiteY2698" fmla="*/ 1306805 h 4991619"/>
              <a:gd name="connsiteX2699" fmla="*/ 5990106 w 6537372"/>
              <a:gd name="connsiteY2699" fmla="*/ 1305912 h 4991619"/>
              <a:gd name="connsiteX2700" fmla="*/ 5990820 w 6537372"/>
              <a:gd name="connsiteY2700" fmla="*/ 1307161 h 4991619"/>
              <a:gd name="connsiteX2701" fmla="*/ 5989391 w 6537372"/>
              <a:gd name="connsiteY2701" fmla="*/ 1308056 h 4991619"/>
              <a:gd name="connsiteX2702" fmla="*/ 5988676 w 6537372"/>
              <a:gd name="connsiteY2702" fmla="*/ 1306983 h 4991619"/>
              <a:gd name="connsiteX2703" fmla="*/ 5989926 w 6537372"/>
              <a:gd name="connsiteY2703" fmla="*/ 1311630 h 4991619"/>
              <a:gd name="connsiteX2704" fmla="*/ 5990106 w 6537372"/>
              <a:gd name="connsiteY2704" fmla="*/ 1311808 h 4991619"/>
              <a:gd name="connsiteX2705" fmla="*/ 6051746 w 6537372"/>
              <a:gd name="connsiteY2705" fmla="*/ 1279469 h 4991619"/>
              <a:gd name="connsiteX2706" fmla="*/ 6117139 w 6537372"/>
              <a:gd name="connsiteY2706" fmla="*/ 1287330 h 4991619"/>
              <a:gd name="connsiteX2707" fmla="*/ 6122322 w 6537372"/>
              <a:gd name="connsiteY2707" fmla="*/ 1278396 h 4991619"/>
              <a:gd name="connsiteX2708" fmla="*/ 6104455 w 6537372"/>
              <a:gd name="connsiteY2708" fmla="*/ 1274286 h 4991619"/>
              <a:gd name="connsiteX2709" fmla="*/ 6108385 w 6537372"/>
              <a:gd name="connsiteY2709" fmla="*/ 1266961 h 4991619"/>
              <a:gd name="connsiteX2710" fmla="*/ 6119283 w 6537372"/>
              <a:gd name="connsiteY2710" fmla="*/ 1258921 h 4991619"/>
              <a:gd name="connsiteX2711" fmla="*/ 6111244 w 6537372"/>
              <a:gd name="connsiteY2711" fmla="*/ 1243020 h 4991619"/>
              <a:gd name="connsiteX2712" fmla="*/ 6135364 w 6537372"/>
              <a:gd name="connsiteY2712" fmla="*/ 1224080 h 4991619"/>
              <a:gd name="connsiteX2713" fmla="*/ 6135364 w 6537372"/>
              <a:gd name="connsiteY2713" fmla="*/ 1210323 h 4991619"/>
              <a:gd name="connsiteX2714" fmla="*/ 6136079 w 6537372"/>
              <a:gd name="connsiteY2714" fmla="*/ 1208715 h 4991619"/>
              <a:gd name="connsiteX2715" fmla="*/ 6134650 w 6537372"/>
              <a:gd name="connsiteY2715" fmla="*/ 1161903 h 4991619"/>
              <a:gd name="connsiteX2716" fmla="*/ 6127681 w 6537372"/>
              <a:gd name="connsiteY2716" fmla="*/ 1162976 h 4991619"/>
              <a:gd name="connsiteX2717" fmla="*/ 6118212 w 6537372"/>
              <a:gd name="connsiteY2717" fmla="*/ 1152970 h 4991619"/>
              <a:gd name="connsiteX2718" fmla="*/ 6112136 w 6537372"/>
              <a:gd name="connsiteY2718" fmla="*/ 1140641 h 4991619"/>
              <a:gd name="connsiteX2719" fmla="*/ 6112136 w 6537372"/>
              <a:gd name="connsiteY2719" fmla="*/ 1140821 h 4991619"/>
              <a:gd name="connsiteX2720" fmla="*/ 6107314 w 6537372"/>
              <a:gd name="connsiteY2720" fmla="*/ 1145109 h 4991619"/>
              <a:gd name="connsiteX2721" fmla="*/ 6118212 w 6537372"/>
              <a:gd name="connsiteY2721" fmla="*/ 1152076 h 4991619"/>
              <a:gd name="connsiteX2722" fmla="*/ 6118212 w 6537372"/>
              <a:gd name="connsiteY2722" fmla="*/ 1145287 h 4991619"/>
              <a:gd name="connsiteX2723" fmla="*/ 6112136 w 6537372"/>
              <a:gd name="connsiteY2723" fmla="*/ 1140641 h 4991619"/>
              <a:gd name="connsiteX2724" fmla="*/ 1980920 w 6537372"/>
              <a:gd name="connsiteY2724" fmla="*/ 1006102 h 4991619"/>
              <a:gd name="connsiteX2725" fmla="*/ 1979312 w 6537372"/>
              <a:gd name="connsiteY2725" fmla="*/ 1006639 h 4991619"/>
              <a:gd name="connsiteX2726" fmla="*/ 1979132 w 6537372"/>
              <a:gd name="connsiteY2726" fmla="*/ 1006639 h 4991619"/>
              <a:gd name="connsiteX2727" fmla="*/ 1979490 w 6537372"/>
              <a:gd name="connsiteY2727" fmla="*/ 1008068 h 4991619"/>
              <a:gd name="connsiteX2728" fmla="*/ 1981098 w 6537372"/>
              <a:gd name="connsiteY2728" fmla="*/ 1007532 h 4991619"/>
              <a:gd name="connsiteX2729" fmla="*/ 1980920 w 6537372"/>
              <a:gd name="connsiteY2729" fmla="*/ 1006102 h 4991619"/>
              <a:gd name="connsiteX2730" fmla="*/ 6055676 w 6537372"/>
              <a:gd name="connsiteY2730" fmla="*/ 930524 h 4991619"/>
              <a:gd name="connsiteX2731" fmla="*/ 6051568 w 6537372"/>
              <a:gd name="connsiteY2731" fmla="*/ 931775 h 4991619"/>
              <a:gd name="connsiteX2732" fmla="*/ 6047637 w 6537372"/>
              <a:gd name="connsiteY2732" fmla="*/ 936778 h 4991619"/>
              <a:gd name="connsiteX2733" fmla="*/ 6047995 w 6537372"/>
              <a:gd name="connsiteY2733" fmla="*/ 938744 h 4991619"/>
              <a:gd name="connsiteX2734" fmla="*/ 6055676 w 6537372"/>
              <a:gd name="connsiteY2734" fmla="*/ 930524 h 4991619"/>
              <a:gd name="connsiteX2735" fmla="*/ 6037810 w 6537372"/>
              <a:gd name="connsiteY2735" fmla="*/ 910513 h 4991619"/>
              <a:gd name="connsiteX2736" fmla="*/ 6036558 w 6537372"/>
              <a:gd name="connsiteY2736" fmla="*/ 910871 h 4991619"/>
              <a:gd name="connsiteX2737" fmla="*/ 6037275 w 6537372"/>
              <a:gd name="connsiteY2737" fmla="*/ 911764 h 4991619"/>
              <a:gd name="connsiteX2738" fmla="*/ 6037990 w 6537372"/>
              <a:gd name="connsiteY2738" fmla="*/ 910693 h 4991619"/>
              <a:gd name="connsiteX2739" fmla="*/ 5516986 w 6537372"/>
              <a:gd name="connsiteY2739" fmla="*/ 905869 h 4991619"/>
              <a:gd name="connsiteX2740" fmla="*/ 5510732 w 6537372"/>
              <a:gd name="connsiteY2740" fmla="*/ 909264 h 4991619"/>
              <a:gd name="connsiteX2741" fmla="*/ 5511984 w 6537372"/>
              <a:gd name="connsiteY2741" fmla="*/ 911408 h 4991619"/>
              <a:gd name="connsiteX2742" fmla="*/ 5518058 w 6537372"/>
              <a:gd name="connsiteY2742" fmla="*/ 907834 h 4991619"/>
              <a:gd name="connsiteX2743" fmla="*/ 5516986 w 6537372"/>
              <a:gd name="connsiteY2743" fmla="*/ 905869 h 4991619"/>
              <a:gd name="connsiteX2744" fmla="*/ 5952764 w 6537372"/>
              <a:gd name="connsiteY2744" fmla="*/ 885679 h 4991619"/>
              <a:gd name="connsiteX2745" fmla="*/ 5942757 w 6537372"/>
              <a:gd name="connsiteY2745" fmla="*/ 887643 h 4991619"/>
              <a:gd name="connsiteX2746" fmla="*/ 5921138 w 6537372"/>
              <a:gd name="connsiteY2746" fmla="*/ 905690 h 4991619"/>
              <a:gd name="connsiteX2747" fmla="*/ 5917208 w 6537372"/>
              <a:gd name="connsiteY2747" fmla="*/ 909264 h 4991619"/>
              <a:gd name="connsiteX2748" fmla="*/ 5919709 w 6537372"/>
              <a:gd name="connsiteY2748" fmla="*/ 926772 h 4991619"/>
              <a:gd name="connsiteX2749" fmla="*/ 5936861 w 6537372"/>
              <a:gd name="connsiteY2749" fmla="*/ 913908 h 4991619"/>
              <a:gd name="connsiteX2750" fmla="*/ 5951513 w 6537372"/>
              <a:gd name="connsiteY2750" fmla="*/ 897829 h 4991619"/>
              <a:gd name="connsiteX2751" fmla="*/ 5952764 w 6537372"/>
              <a:gd name="connsiteY2751" fmla="*/ 885679 h 4991619"/>
              <a:gd name="connsiteX2752" fmla="*/ 5959374 w 6537372"/>
              <a:gd name="connsiteY2752" fmla="*/ 864953 h 4991619"/>
              <a:gd name="connsiteX2753" fmla="*/ 5957408 w 6537372"/>
              <a:gd name="connsiteY2753" fmla="*/ 865668 h 4991619"/>
              <a:gd name="connsiteX2754" fmla="*/ 5957408 w 6537372"/>
              <a:gd name="connsiteY2754" fmla="*/ 865846 h 4991619"/>
              <a:gd name="connsiteX2755" fmla="*/ 5955801 w 6537372"/>
              <a:gd name="connsiteY2755" fmla="*/ 870491 h 4991619"/>
              <a:gd name="connsiteX2756" fmla="*/ 5957767 w 6537372"/>
              <a:gd name="connsiteY2756" fmla="*/ 875137 h 4991619"/>
              <a:gd name="connsiteX2757" fmla="*/ 5961518 w 6537372"/>
              <a:gd name="connsiteY2757" fmla="*/ 872279 h 4991619"/>
              <a:gd name="connsiteX2758" fmla="*/ 5961875 w 6537372"/>
              <a:gd name="connsiteY2758" fmla="*/ 866917 h 4991619"/>
              <a:gd name="connsiteX2759" fmla="*/ 5959374 w 6537372"/>
              <a:gd name="connsiteY2759" fmla="*/ 864953 h 4991619"/>
              <a:gd name="connsiteX2760" fmla="*/ 5800357 w 6537372"/>
              <a:gd name="connsiteY2760" fmla="*/ 804562 h 4991619"/>
              <a:gd name="connsiteX2761" fmla="*/ 5799820 w 6537372"/>
              <a:gd name="connsiteY2761" fmla="*/ 804740 h 4991619"/>
              <a:gd name="connsiteX2762" fmla="*/ 5799128 w 6537372"/>
              <a:gd name="connsiteY2762" fmla="*/ 805230 h 4991619"/>
              <a:gd name="connsiteX2763" fmla="*/ 5789257 w 6537372"/>
              <a:gd name="connsiteY2763" fmla="*/ 809833 h 4991619"/>
              <a:gd name="connsiteX2764" fmla="*/ 5782490 w 6537372"/>
              <a:gd name="connsiteY2764" fmla="*/ 819214 h 4991619"/>
              <a:gd name="connsiteX2765" fmla="*/ 5784634 w 6537372"/>
              <a:gd name="connsiteY2765" fmla="*/ 821000 h 4991619"/>
              <a:gd name="connsiteX2766" fmla="*/ 5792496 w 6537372"/>
              <a:gd name="connsiteY2766" fmla="*/ 809923 h 4991619"/>
              <a:gd name="connsiteX2767" fmla="*/ 5799128 w 6537372"/>
              <a:gd name="connsiteY2767" fmla="*/ 805230 h 4991619"/>
              <a:gd name="connsiteX2768" fmla="*/ 5800178 w 6537372"/>
              <a:gd name="connsiteY2768" fmla="*/ 804740 h 4991619"/>
              <a:gd name="connsiteX2769" fmla="*/ 1828514 w 6537372"/>
              <a:gd name="connsiteY2769" fmla="*/ 804026 h 4991619"/>
              <a:gd name="connsiteX2770" fmla="*/ 1829407 w 6537372"/>
              <a:gd name="connsiteY2770" fmla="*/ 805455 h 4991619"/>
              <a:gd name="connsiteX2771" fmla="*/ 1831193 w 6537372"/>
              <a:gd name="connsiteY2771" fmla="*/ 804384 h 4991619"/>
              <a:gd name="connsiteX2772" fmla="*/ 1828514 w 6537372"/>
              <a:gd name="connsiteY2772" fmla="*/ 804026 h 4991619"/>
              <a:gd name="connsiteX2773" fmla="*/ 1709341 w 6537372"/>
              <a:gd name="connsiteY2773" fmla="*/ 803847 h 4991619"/>
              <a:gd name="connsiteX2774" fmla="*/ 1707733 w 6537372"/>
              <a:gd name="connsiteY2774" fmla="*/ 804740 h 4991619"/>
              <a:gd name="connsiteX2775" fmla="*/ 1708268 w 6537372"/>
              <a:gd name="connsiteY2775" fmla="*/ 806169 h 4991619"/>
              <a:gd name="connsiteX2776" fmla="*/ 1709877 w 6537372"/>
              <a:gd name="connsiteY2776" fmla="*/ 805277 h 4991619"/>
              <a:gd name="connsiteX2777" fmla="*/ 1709341 w 6537372"/>
              <a:gd name="connsiteY2777" fmla="*/ 803847 h 4991619"/>
              <a:gd name="connsiteX2778" fmla="*/ 1726671 w 6537372"/>
              <a:gd name="connsiteY2778" fmla="*/ 789912 h 4991619"/>
              <a:gd name="connsiteX2779" fmla="*/ 1726671 w 6537372"/>
              <a:gd name="connsiteY2779" fmla="*/ 790090 h 4991619"/>
              <a:gd name="connsiteX2780" fmla="*/ 1726671 w 6537372"/>
              <a:gd name="connsiteY2780" fmla="*/ 794378 h 4991619"/>
              <a:gd name="connsiteX2781" fmla="*/ 1730781 w 6537372"/>
              <a:gd name="connsiteY2781" fmla="*/ 793664 h 4991619"/>
              <a:gd name="connsiteX2782" fmla="*/ 1732747 w 6537372"/>
              <a:gd name="connsiteY2782" fmla="*/ 790627 h 4991619"/>
              <a:gd name="connsiteX2783" fmla="*/ 1726671 w 6537372"/>
              <a:gd name="connsiteY2783" fmla="*/ 789912 h 4991619"/>
              <a:gd name="connsiteX2784" fmla="*/ 5821619 w 6537372"/>
              <a:gd name="connsiteY2784" fmla="*/ 782765 h 4991619"/>
              <a:gd name="connsiteX2785" fmla="*/ 5805360 w 6537372"/>
              <a:gd name="connsiteY2785" fmla="*/ 793664 h 4991619"/>
              <a:gd name="connsiteX2786" fmla="*/ 5810362 w 6537372"/>
              <a:gd name="connsiteY2786" fmla="*/ 799381 h 4991619"/>
              <a:gd name="connsiteX2787" fmla="*/ 5823048 w 6537372"/>
              <a:gd name="connsiteY2787" fmla="*/ 782765 h 4991619"/>
              <a:gd name="connsiteX2788" fmla="*/ 5821619 w 6537372"/>
              <a:gd name="connsiteY2788" fmla="*/ 782765 h 4991619"/>
              <a:gd name="connsiteX2789" fmla="*/ 2637712 w 6537372"/>
              <a:gd name="connsiteY2789" fmla="*/ 766506 h 4991619"/>
              <a:gd name="connsiteX2790" fmla="*/ 2629492 w 6537372"/>
              <a:gd name="connsiteY2790" fmla="*/ 772580 h 4991619"/>
              <a:gd name="connsiteX2791" fmla="*/ 2629492 w 6537372"/>
              <a:gd name="connsiteY2791" fmla="*/ 774189 h 4991619"/>
              <a:gd name="connsiteX2792" fmla="*/ 2642715 w 6537372"/>
              <a:gd name="connsiteY2792" fmla="*/ 768828 h 4991619"/>
              <a:gd name="connsiteX2793" fmla="*/ 2637712 w 6537372"/>
              <a:gd name="connsiteY2793" fmla="*/ 766506 h 4991619"/>
              <a:gd name="connsiteX2794" fmla="*/ 2663619 w 6537372"/>
              <a:gd name="connsiteY2794" fmla="*/ 761145 h 4991619"/>
              <a:gd name="connsiteX2795" fmla="*/ 2646288 w 6537372"/>
              <a:gd name="connsiteY2795" fmla="*/ 767399 h 4991619"/>
              <a:gd name="connsiteX2796" fmla="*/ 2648789 w 6537372"/>
              <a:gd name="connsiteY2796" fmla="*/ 767399 h 4991619"/>
              <a:gd name="connsiteX2797" fmla="*/ 2646288 w 6537372"/>
              <a:gd name="connsiteY2797" fmla="*/ 773652 h 4991619"/>
              <a:gd name="connsiteX2798" fmla="*/ 2644144 w 6537372"/>
              <a:gd name="connsiteY2798" fmla="*/ 775618 h 4991619"/>
              <a:gd name="connsiteX2799" fmla="*/ 2643786 w 6537372"/>
              <a:gd name="connsiteY2799" fmla="*/ 776511 h 4991619"/>
              <a:gd name="connsiteX2800" fmla="*/ 2664334 w 6537372"/>
              <a:gd name="connsiteY2800" fmla="*/ 761325 h 4991619"/>
              <a:gd name="connsiteX2801" fmla="*/ 2663619 w 6537372"/>
              <a:gd name="connsiteY2801" fmla="*/ 761145 h 4991619"/>
              <a:gd name="connsiteX2802" fmla="*/ 1788849 w 6537372"/>
              <a:gd name="connsiteY2802" fmla="*/ 759715 h 4991619"/>
              <a:gd name="connsiteX2803" fmla="*/ 1787956 w 6537372"/>
              <a:gd name="connsiteY2803" fmla="*/ 761325 h 4991619"/>
              <a:gd name="connsiteX2804" fmla="*/ 1789741 w 6537372"/>
              <a:gd name="connsiteY2804" fmla="*/ 761503 h 4991619"/>
              <a:gd name="connsiteX2805" fmla="*/ 1790636 w 6537372"/>
              <a:gd name="connsiteY2805" fmla="*/ 759895 h 4991619"/>
              <a:gd name="connsiteX2806" fmla="*/ 1788849 w 6537372"/>
              <a:gd name="connsiteY2806" fmla="*/ 759895 h 4991619"/>
              <a:gd name="connsiteX2807" fmla="*/ 2494239 w 6537372"/>
              <a:gd name="connsiteY2807" fmla="*/ 749532 h 4991619"/>
              <a:gd name="connsiteX2808" fmla="*/ 2457434 w 6537372"/>
              <a:gd name="connsiteY2808" fmla="*/ 766684 h 4991619"/>
              <a:gd name="connsiteX2809" fmla="*/ 2494239 w 6537372"/>
              <a:gd name="connsiteY2809" fmla="*/ 749532 h 4991619"/>
              <a:gd name="connsiteX2810" fmla="*/ 2745451 w 6537372"/>
              <a:gd name="connsiteY2810" fmla="*/ 728628 h 4991619"/>
              <a:gd name="connsiteX2811" fmla="*/ 2734016 w 6537372"/>
              <a:gd name="connsiteY2811" fmla="*/ 737204 h 4991619"/>
              <a:gd name="connsiteX2812" fmla="*/ 2743663 w 6537372"/>
              <a:gd name="connsiteY2812" fmla="*/ 735060 h 4991619"/>
              <a:gd name="connsiteX2813" fmla="*/ 2746880 w 6537372"/>
              <a:gd name="connsiteY2813" fmla="*/ 728628 h 4991619"/>
              <a:gd name="connsiteX2814" fmla="*/ 2745451 w 6537372"/>
              <a:gd name="connsiteY2814" fmla="*/ 728628 h 4991619"/>
              <a:gd name="connsiteX2815" fmla="*/ 2727226 w 6537372"/>
              <a:gd name="connsiteY2815" fmla="*/ 723625 h 4991619"/>
              <a:gd name="connsiteX2816" fmla="*/ 2726353 w 6537372"/>
              <a:gd name="connsiteY2816" fmla="*/ 726069 h 4991619"/>
              <a:gd name="connsiteX2817" fmla="*/ 2726155 w 6537372"/>
              <a:gd name="connsiteY2817" fmla="*/ 726125 h 4991619"/>
              <a:gd name="connsiteX2818" fmla="*/ 2726333 w 6537372"/>
              <a:gd name="connsiteY2818" fmla="*/ 726125 h 4991619"/>
              <a:gd name="connsiteX2819" fmla="*/ 2726353 w 6537372"/>
              <a:gd name="connsiteY2819" fmla="*/ 726069 h 4991619"/>
              <a:gd name="connsiteX2820" fmla="*/ 2727404 w 6537372"/>
              <a:gd name="connsiteY2820" fmla="*/ 725769 h 4991619"/>
              <a:gd name="connsiteX2821" fmla="*/ 2727226 w 6537372"/>
              <a:gd name="connsiteY2821" fmla="*/ 723625 h 4991619"/>
              <a:gd name="connsiteX2822" fmla="*/ 2715434 w 6537372"/>
              <a:gd name="connsiteY2822" fmla="*/ 719158 h 4991619"/>
              <a:gd name="connsiteX2823" fmla="*/ 2714720 w 6537372"/>
              <a:gd name="connsiteY2823" fmla="*/ 720766 h 4991619"/>
              <a:gd name="connsiteX2824" fmla="*/ 2716327 w 6537372"/>
              <a:gd name="connsiteY2824" fmla="*/ 721122 h 4991619"/>
              <a:gd name="connsiteX2825" fmla="*/ 2717757 w 6537372"/>
              <a:gd name="connsiteY2825" fmla="*/ 719873 h 4991619"/>
              <a:gd name="connsiteX2826" fmla="*/ 2715434 w 6537372"/>
              <a:gd name="connsiteY2826" fmla="*/ 719158 h 4991619"/>
              <a:gd name="connsiteX2827" fmla="*/ 1864605 w 6537372"/>
              <a:gd name="connsiteY2827" fmla="*/ 716120 h 4991619"/>
              <a:gd name="connsiteX2828" fmla="*/ 1861031 w 6537372"/>
              <a:gd name="connsiteY2828" fmla="*/ 718086 h 4991619"/>
              <a:gd name="connsiteX2829" fmla="*/ 1863175 w 6537372"/>
              <a:gd name="connsiteY2829" fmla="*/ 719873 h 4991619"/>
              <a:gd name="connsiteX2830" fmla="*/ 1866034 w 6537372"/>
              <a:gd name="connsiteY2830" fmla="*/ 717193 h 4991619"/>
              <a:gd name="connsiteX2831" fmla="*/ 1864605 w 6537372"/>
              <a:gd name="connsiteY2831" fmla="*/ 716120 h 4991619"/>
              <a:gd name="connsiteX2832" fmla="*/ 2553558 w 6537372"/>
              <a:gd name="connsiteY2832" fmla="*/ 713797 h 4991619"/>
              <a:gd name="connsiteX2833" fmla="*/ 2526044 w 6537372"/>
              <a:gd name="connsiteY2833" fmla="*/ 729520 h 4991619"/>
              <a:gd name="connsiteX2834" fmla="*/ 2527829 w 6537372"/>
              <a:gd name="connsiteY2834" fmla="*/ 733272 h 4991619"/>
              <a:gd name="connsiteX2835" fmla="*/ 2554631 w 6537372"/>
              <a:gd name="connsiteY2835" fmla="*/ 715585 h 4991619"/>
              <a:gd name="connsiteX2836" fmla="*/ 2553558 w 6537372"/>
              <a:gd name="connsiteY2836" fmla="*/ 713797 h 4991619"/>
              <a:gd name="connsiteX2837" fmla="*/ 5442838 w 6537372"/>
              <a:gd name="connsiteY2837" fmla="*/ 704865 h 4991619"/>
              <a:gd name="connsiteX2838" fmla="*/ 5432118 w 6537372"/>
              <a:gd name="connsiteY2838" fmla="*/ 714334 h 4991619"/>
              <a:gd name="connsiteX2839" fmla="*/ 5426756 w 6537372"/>
              <a:gd name="connsiteY2839" fmla="*/ 717549 h 4991619"/>
              <a:gd name="connsiteX2840" fmla="*/ 5413000 w 6537372"/>
              <a:gd name="connsiteY2840" fmla="*/ 722374 h 4991619"/>
              <a:gd name="connsiteX2841" fmla="*/ 5371370 w 6537372"/>
              <a:gd name="connsiteY2841" fmla="*/ 752212 h 4991619"/>
              <a:gd name="connsiteX2842" fmla="*/ 5365022 w 6537372"/>
              <a:gd name="connsiteY2842" fmla="*/ 758560 h 4991619"/>
              <a:gd name="connsiteX2843" fmla="*/ 5364938 w 6537372"/>
              <a:gd name="connsiteY2843" fmla="*/ 758466 h 4991619"/>
              <a:gd name="connsiteX2844" fmla="*/ 5364938 w 6537372"/>
              <a:gd name="connsiteY2844" fmla="*/ 758644 h 4991619"/>
              <a:gd name="connsiteX2845" fmla="*/ 5365022 w 6537372"/>
              <a:gd name="connsiteY2845" fmla="*/ 758560 h 4991619"/>
              <a:gd name="connsiteX2846" fmla="*/ 5366545 w 6537372"/>
              <a:gd name="connsiteY2846" fmla="*/ 760252 h 4991619"/>
              <a:gd name="connsiteX2847" fmla="*/ 5381019 w 6537372"/>
              <a:gd name="connsiteY2847" fmla="*/ 752749 h 4991619"/>
              <a:gd name="connsiteX2848" fmla="*/ 5384412 w 6537372"/>
              <a:gd name="connsiteY2848" fmla="*/ 758822 h 4991619"/>
              <a:gd name="connsiteX2849" fmla="*/ 5391559 w 6537372"/>
              <a:gd name="connsiteY2849" fmla="*/ 749175 h 4991619"/>
              <a:gd name="connsiteX2850" fmla="*/ 5394062 w 6537372"/>
              <a:gd name="connsiteY2850" fmla="*/ 743814 h 4991619"/>
              <a:gd name="connsiteX2851" fmla="*/ 5421039 w 6537372"/>
              <a:gd name="connsiteY2851" fmla="*/ 728449 h 4991619"/>
              <a:gd name="connsiteX2852" fmla="*/ 5443552 w 6537372"/>
              <a:gd name="connsiteY2852" fmla="*/ 715405 h 4991619"/>
              <a:gd name="connsiteX2853" fmla="*/ 5442838 w 6537372"/>
              <a:gd name="connsiteY2853" fmla="*/ 704865 h 4991619"/>
              <a:gd name="connsiteX2854" fmla="*/ 5434082 w 6537372"/>
              <a:gd name="connsiteY2854" fmla="*/ 698074 h 4991619"/>
              <a:gd name="connsiteX2855" fmla="*/ 5429259 w 6537372"/>
              <a:gd name="connsiteY2855" fmla="*/ 701648 h 4991619"/>
              <a:gd name="connsiteX2856" fmla="*/ 5429974 w 6537372"/>
              <a:gd name="connsiteY2856" fmla="*/ 702721 h 4991619"/>
              <a:gd name="connsiteX2857" fmla="*/ 5434798 w 6537372"/>
              <a:gd name="connsiteY2857" fmla="*/ 699147 h 4991619"/>
              <a:gd name="connsiteX2858" fmla="*/ 5434082 w 6537372"/>
              <a:gd name="connsiteY2858" fmla="*/ 698253 h 4991619"/>
              <a:gd name="connsiteX2859" fmla="*/ 5826444 w 6537372"/>
              <a:gd name="connsiteY2859" fmla="*/ 697896 h 4991619"/>
              <a:gd name="connsiteX2860" fmla="*/ 5823048 w 6537372"/>
              <a:gd name="connsiteY2860" fmla="*/ 700755 h 4991619"/>
              <a:gd name="connsiteX2861" fmla="*/ 5822870 w 6537372"/>
              <a:gd name="connsiteY2861" fmla="*/ 700755 h 4991619"/>
              <a:gd name="connsiteX2862" fmla="*/ 5822690 w 6537372"/>
              <a:gd name="connsiteY2862" fmla="*/ 701111 h 4991619"/>
              <a:gd name="connsiteX2863" fmla="*/ 5826086 w 6537372"/>
              <a:gd name="connsiteY2863" fmla="*/ 702362 h 4991619"/>
              <a:gd name="connsiteX2864" fmla="*/ 5828230 w 6537372"/>
              <a:gd name="connsiteY2864" fmla="*/ 700040 h 4991619"/>
              <a:gd name="connsiteX2865" fmla="*/ 5826444 w 6537372"/>
              <a:gd name="connsiteY2865" fmla="*/ 697896 h 4991619"/>
              <a:gd name="connsiteX2866" fmla="*/ 5895410 w 6537372"/>
              <a:gd name="connsiteY2866" fmla="*/ 693430 h 4991619"/>
              <a:gd name="connsiteX2867" fmla="*/ 5881830 w 6537372"/>
              <a:gd name="connsiteY2867" fmla="*/ 704328 h 4991619"/>
              <a:gd name="connsiteX2868" fmla="*/ 5884511 w 6537372"/>
              <a:gd name="connsiteY2868" fmla="*/ 703435 h 4991619"/>
              <a:gd name="connsiteX2869" fmla="*/ 5892194 w 6537372"/>
              <a:gd name="connsiteY2869" fmla="*/ 698789 h 4991619"/>
              <a:gd name="connsiteX2870" fmla="*/ 5895588 w 6537372"/>
              <a:gd name="connsiteY2870" fmla="*/ 693430 h 4991619"/>
              <a:gd name="connsiteX2871" fmla="*/ 2600905 w 6537372"/>
              <a:gd name="connsiteY2871" fmla="*/ 693072 h 4991619"/>
              <a:gd name="connsiteX2872" fmla="*/ 2599119 w 6537372"/>
              <a:gd name="connsiteY2872" fmla="*/ 695394 h 4991619"/>
              <a:gd name="connsiteX2873" fmla="*/ 2600549 w 6537372"/>
              <a:gd name="connsiteY2873" fmla="*/ 695930 h 4991619"/>
              <a:gd name="connsiteX2874" fmla="*/ 2602335 w 6537372"/>
              <a:gd name="connsiteY2874" fmla="*/ 693608 h 4991619"/>
              <a:gd name="connsiteX2875" fmla="*/ 2600905 w 6537372"/>
              <a:gd name="connsiteY2875" fmla="*/ 693072 h 4991619"/>
              <a:gd name="connsiteX2876" fmla="*/ 2590721 w 6537372"/>
              <a:gd name="connsiteY2876" fmla="*/ 688247 h 4991619"/>
              <a:gd name="connsiteX2877" fmla="*/ 2594117 w 6537372"/>
              <a:gd name="connsiteY2877" fmla="*/ 688247 h 4991619"/>
              <a:gd name="connsiteX2878" fmla="*/ 2594117 w 6537372"/>
              <a:gd name="connsiteY2878" fmla="*/ 688397 h 4991619"/>
              <a:gd name="connsiteX2879" fmla="*/ 2593938 w 6537372"/>
              <a:gd name="connsiteY2879" fmla="*/ 688605 h 4991619"/>
              <a:gd name="connsiteX2880" fmla="*/ 2590721 w 6537372"/>
              <a:gd name="connsiteY2880" fmla="*/ 688247 h 4991619"/>
              <a:gd name="connsiteX2881" fmla="*/ 2596082 w 6537372"/>
              <a:gd name="connsiteY2881" fmla="*/ 686103 h 4991619"/>
              <a:gd name="connsiteX2882" fmla="*/ 2590721 w 6537372"/>
              <a:gd name="connsiteY2882" fmla="*/ 688247 h 4991619"/>
              <a:gd name="connsiteX2883" fmla="*/ 2577321 w 6537372"/>
              <a:gd name="connsiteY2883" fmla="*/ 700397 h 4991619"/>
              <a:gd name="connsiteX2884" fmla="*/ 2586792 w 6537372"/>
              <a:gd name="connsiteY2884" fmla="*/ 703792 h 4991619"/>
              <a:gd name="connsiteX2885" fmla="*/ 2591080 w 6537372"/>
              <a:gd name="connsiteY2885" fmla="*/ 693786 h 4991619"/>
              <a:gd name="connsiteX2886" fmla="*/ 2593938 w 6537372"/>
              <a:gd name="connsiteY2886" fmla="*/ 688784 h 4991619"/>
              <a:gd name="connsiteX2887" fmla="*/ 2593938 w 6537372"/>
              <a:gd name="connsiteY2887" fmla="*/ 688605 h 4991619"/>
              <a:gd name="connsiteX2888" fmla="*/ 2594117 w 6537372"/>
              <a:gd name="connsiteY2888" fmla="*/ 688784 h 4991619"/>
              <a:gd name="connsiteX2889" fmla="*/ 2594117 w 6537372"/>
              <a:gd name="connsiteY2889" fmla="*/ 688397 h 4991619"/>
              <a:gd name="connsiteX2890" fmla="*/ 5892729 w 6537372"/>
              <a:gd name="connsiteY2890" fmla="*/ 681100 h 4991619"/>
              <a:gd name="connsiteX2891" fmla="*/ 5889514 w 6537372"/>
              <a:gd name="connsiteY2891" fmla="*/ 684854 h 4991619"/>
              <a:gd name="connsiteX2892" fmla="*/ 5895053 w 6537372"/>
              <a:gd name="connsiteY2892" fmla="*/ 681995 h 4991619"/>
              <a:gd name="connsiteX2893" fmla="*/ 5892729 w 6537372"/>
              <a:gd name="connsiteY2893" fmla="*/ 681100 h 4991619"/>
              <a:gd name="connsiteX2894" fmla="*/ 5872718 w 6537372"/>
              <a:gd name="connsiteY2894" fmla="*/ 653408 h 4991619"/>
              <a:gd name="connsiteX2895" fmla="*/ 5872797 w 6537372"/>
              <a:gd name="connsiteY2895" fmla="*/ 653526 h 4991619"/>
              <a:gd name="connsiteX2896" fmla="*/ 5871825 w 6537372"/>
              <a:gd name="connsiteY2896" fmla="*/ 654657 h 4991619"/>
              <a:gd name="connsiteX2897" fmla="*/ 5871825 w 6537372"/>
              <a:gd name="connsiteY2897" fmla="*/ 654837 h 4991619"/>
              <a:gd name="connsiteX2898" fmla="*/ 5873076 w 6537372"/>
              <a:gd name="connsiteY2898" fmla="*/ 653942 h 4991619"/>
              <a:gd name="connsiteX2899" fmla="*/ 5872797 w 6537372"/>
              <a:gd name="connsiteY2899" fmla="*/ 653526 h 4991619"/>
              <a:gd name="connsiteX2900" fmla="*/ 5872898 w 6537372"/>
              <a:gd name="connsiteY2900" fmla="*/ 653408 h 4991619"/>
              <a:gd name="connsiteX2901" fmla="*/ 2684703 w 6537372"/>
              <a:gd name="connsiteY2901" fmla="*/ 652335 h 4991619"/>
              <a:gd name="connsiteX2902" fmla="*/ 2679700 w 6537372"/>
              <a:gd name="connsiteY2902" fmla="*/ 658589 h 4991619"/>
              <a:gd name="connsiteX2903" fmla="*/ 2679700 w 6537372"/>
              <a:gd name="connsiteY2903" fmla="*/ 658672 h 4991619"/>
              <a:gd name="connsiteX2904" fmla="*/ 2679342 w 6537372"/>
              <a:gd name="connsiteY2904" fmla="*/ 659125 h 4991619"/>
              <a:gd name="connsiteX2905" fmla="*/ 2679700 w 6537372"/>
              <a:gd name="connsiteY2905" fmla="*/ 658767 h 4991619"/>
              <a:gd name="connsiteX2906" fmla="*/ 2679700 w 6537372"/>
              <a:gd name="connsiteY2906" fmla="*/ 658672 h 4991619"/>
              <a:gd name="connsiteX2907" fmla="*/ 2866607 w 6537372"/>
              <a:gd name="connsiteY2907" fmla="*/ 648588 h 4991619"/>
              <a:gd name="connsiteX2908" fmla="*/ 2866232 w 6537372"/>
              <a:gd name="connsiteY2908" fmla="*/ 650013 h 4991619"/>
              <a:gd name="connsiteX2909" fmla="*/ 2866052 w 6537372"/>
              <a:gd name="connsiteY2909" fmla="*/ 650013 h 4991619"/>
              <a:gd name="connsiteX2910" fmla="*/ 2865738 w 6537372"/>
              <a:gd name="connsiteY2910" fmla="*/ 649455 h 4991619"/>
              <a:gd name="connsiteX2911" fmla="*/ 2865874 w 6537372"/>
              <a:gd name="connsiteY2911" fmla="*/ 648940 h 4991619"/>
              <a:gd name="connsiteX2912" fmla="*/ 5936324 w 6537372"/>
              <a:gd name="connsiteY2912" fmla="*/ 642866 h 4991619"/>
              <a:gd name="connsiteX2913" fmla="*/ 5936468 w 6537372"/>
              <a:gd name="connsiteY2913" fmla="*/ 642913 h 4991619"/>
              <a:gd name="connsiteX2914" fmla="*/ 5933646 w 6537372"/>
              <a:gd name="connsiteY2914" fmla="*/ 646617 h 4991619"/>
              <a:gd name="connsiteX2915" fmla="*/ 5936861 w 6537372"/>
              <a:gd name="connsiteY2915" fmla="*/ 647869 h 4991619"/>
              <a:gd name="connsiteX2916" fmla="*/ 5939005 w 6537372"/>
              <a:gd name="connsiteY2916" fmla="*/ 643759 h 4991619"/>
              <a:gd name="connsiteX2917" fmla="*/ 5936468 w 6537372"/>
              <a:gd name="connsiteY2917" fmla="*/ 642913 h 4991619"/>
              <a:gd name="connsiteX2918" fmla="*/ 5936504 w 6537372"/>
              <a:gd name="connsiteY2918" fmla="*/ 642866 h 4991619"/>
              <a:gd name="connsiteX2919" fmla="*/ 2599476 w 6537372"/>
              <a:gd name="connsiteY2919" fmla="*/ 641436 h 4991619"/>
              <a:gd name="connsiteX2920" fmla="*/ 2575177 w 6537372"/>
              <a:gd name="connsiteY2920" fmla="*/ 648047 h 4991619"/>
              <a:gd name="connsiteX2921" fmla="*/ 2581789 w 6537372"/>
              <a:gd name="connsiteY2921" fmla="*/ 651978 h 4991619"/>
              <a:gd name="connsiteX2922" fmla="*/ 2580716 w 6537372"/>
              <a:gd name="connsiteY2922" fmla="*/ 653586 h 4991619"/>
              <a:gd name="connsiteX2923" fmla="*/ 2484056 w 6537372"/>
              <a:gd name="connsiteY2923" fmla="*/ 693430 h 4991619"/>
              <a:gd name="connsiteX2924" fmla="*/ 2480660 w 6537372"/>
              <a:gd name="connsiteY2924" fmla="*/ 694859 h 4991619"/>
              <a:gd name="connsiteX2925" fmla="*/ 2474943 w 6537372"/>
              <a:gd name="connsiteY2925" fmla="*/ 705936 h 4991619"/>
              <a:gd name="connsiteX2926" fmla="*/ 2475301 w 6537372"/>
              <a:gd name="connsiteY2926" fmla="*/ 705580 h 4991619"/>
              <a:gd name="connsiteX2927" fmla="*/ 2466010 w 6537372"/>
              <a:gd name="connsiteY2927" fmla="*/ 724339 h 4991619"/>
              <a:gd name="connsiteX2928" fmla="*/ 2477087 w 6537372"/>
              <a:gd name="connsiteY2928" fmla="*/ 718264 h 4991619"/>
              <a:gd name="connsiteX2929" fmla="*/ 2486736 w 6537372"/>
              <a:gd name="connsiteY2929" fmla="*/ 713083 h 4991619"/>
              <a:gd name="connsiteX2930" fmla="*/ 2490488 w 6537372"/>
              <a:gd name="connsiteY2930" fmla="*/ 711117 h 4991619"/>
              <a:gd name="connsiteX2931" fmla="*/ 2501923 w 6537372"/>
              <a:gd name="connsiteY2931" fmla="*/ 705399 h 4991619"/>
              <a:gd name="connsiteX2932" fmla="*/ 2505674 w 6537372"/>
              <a:gd name="connsiteY2932" fmla="*/ 703970 h 4991619"/>
              <a:gd name="connsiteX2933" fmla="*/ 2515680 w 6537372"/>
              <a:gd name="connsiteY2933" fmla="*/ 699326 h 4991619"/>
              <a:gd name="connsiteX2934" fmla="*/ 2597332 w 6537372"/>
              <a:gd name="connsiteY2934" fmla="*/ 659482 h 4991619"/>
              <a:gd name="connsiteX2935" fmla="*/ 2603229 w 6537372"/>
              <a:gd name="connsiteY2935" fmla="*/ 656266 h 4991619"/>
              <a:gd name="connsiteX2936" fmla="*/ 2603229 w 6537372"/>
              <a:gd name="connsiteY2936" fmla="*/ 656445 h 4991619"/>
              <a:gd name="connsiteX2937" fmla="*/ 2618772 w 6537372"/>
              <a:gd name="connsiteY2937" fmla="*/ 647510 h 4991619"/>
              <a:gd name="connsiteX2938" fmla="*/ 2610196 w 6537372"/>
              <a:gd name="connsiteY2938" fmla="*/ 649298 h 4991619"/>
              <a:gd name="connsiteX2939" fmla="*/ 2603764 w 6537372"/>
              <a:gd name="connsiteY2939" fmla="*/ 653942 h 4991619"/>
              <a:gd name="connsiteX2940" fmla="*/ 2603229 w 6537372"/>
              <a:gd name="connsiteY2940" fmla="*/ 655372 h 4991619"/>
              <a:gd name="connsiteX2941" fmla="*/ 2603229 w 6537372"/>
              <a:gd name="connsiteY2941" fmla="*/ 654301 h 4991619"/>
              <a:gd name="connsiteX2942" fmla="*/ 2603586 w 6537372"/>
              <a:gd name="connsiteY2942" fmla="*/ 653942 h 4991619"/>
              <a:gd name="connsiteX2943" fmla="*/ 2599476 w 6537372"/>
              <a:gd name="connsiteY2943" fmla="*/ 641436 h 4991619"/>
              <a:gd name="connsiteX2944" fmla="*/ 5868788 w 6537372"/>
              <a:gd name="connsiteY2944" fmla="*/ 636075 h 4991619"/>
              <a:gd name="connsiteX2945" fmla="*/ 5861463 w 6537372"/>
              <a:gd name="connsiteY2945" fmla="*/ 642329 h 4991619"/>
              <a:gd name="connsiteX2946" fmla="*/ 5862712 w 6537372"/>
              <a:gd name="connsiteY2946" fmla="*/ 643759 h 4991619"/>
              <a:gd name="connsiteX2947" fmla="*/ 5869860 w 6537372"/>
              <a:gd name="connsiteY2947" fmla="*/ 637326 h 4991619"/>
              <a:gd name="connsiteX2948" fmla="*/ 5868788 w 6537372"/>
              <a:gd name="connsiteY2948" fmla="*/ 636075 h 4991619"/>
              <a:gd name="connsiteX2949" fmla="*/ 2864622 w 6537372"/>
              <a:gd name="connsiteY2949" fmla="*/ 633038 h 4991619"/>
              <a:gd name="connsiteX2950" fmla="*/ 2857476 w 6537372"/>
              <a:gd name="connsiteY2950" fmla="*/ 635541 h 4991619"/>
              <a:gd name="connsiteX2951" fmla="*/ 2859442 w 6537372"/>
              <a:gd name="connsiteY2951" fmla="*/ 638934 h 4991619"/>
              <a:gd name="connsiteX2952" fmla="*/ 2867125 w 6537372"/>
              <a:gd name="connsiteY2952" fmla="*/ 637863 h 4991619"/>
              <a:gd name="connsiteX2953" fmla="*/ 2864803 w 6537372"/>
              <a:gd name="connsiteY2953" fmla="*/ 633038 h 4991619"/>
              <a:gd name="connsiteX2954" fmla="*/ 2735087 w 6537372"/>
              <a:gd name="connsiteY2954" fmla="*/ 632860 h 4991619"/>
              <a:gd name="connsiteX2955" fmla="*/ 2709180 w 6537372"/>
              <a:gd name="connsiteY2955" fmla="*/ 639292 h 4991619"/>
              <a:gd name="connsiteX2956" fmla="*/ 2704534 w 6537372"/>
              <a:gd name="connsiteY2956" fmla="*/ 649120 h 4991619"/>
              <a:gd name="connsiteX2957" fmla="*/ 2728477 w 6537372"/>
              <a:gd name="connsiteY2957" fmla="*/ 640363 h 4991619"/>
              <a:gd name="connsiteX2958" fmla="*/ 2735087 w 6537372"/>
              <a:gd name="connsiteY2958" fmla="*/ 632860 h 4991619"/>
              <a:gd name="connsiteX2959" fmla="*/ 2624048 w 6537372"/>
              <a:gd name="connsiteY2959" fmla="*/ 629733 h 4991619"/>
              <a:gd name="connsiteX2960" fmla="*/ 2615913 w 6537372"/>
              <a:gd name="connsiteY2960" fmla="*/ 635182 h 4991619"/>
              <a:gd name="connsiteX2961" fmla="*/ 2628778 w 6537372"/>
              <a:gd name="connsiteY2961" fmla="*/ 632324 h 4991619"/>
              <a:gd name="connsiteX2962" fmla="*/ 2624048 w 6537372"/>
              <a:gd name="connsiteY2962" fmla="*/ 629733 h 4991619"/>
              <a:gd name="connsiteX2963" fmla="*/ 2509248 w 6537372"/>
              <a:gd name="connsiteY2963" fmla="*/ 629465 h 4991619"/>
              <a:gd name="connsiteX2964" fmla="*/ 2490310 w 6537372"/>
              <a:gd name="connsiteY2964" fmla="*/ 630716 h 4991619"/>
              <a:gd name="connsiteX2965" fmla="*/ 2492988 w 6537372"/>
              <a:gd name="connsiteY2965" fmla="*/ 635182 h 4991619"/>
              <a:gd name="connsiteX2966" fmla="*/ 2509426 w 6537372"/>
              <a:gd name="connsiteY2966" fmla="*/ 631609 h 4991619"/>
              <a:gd name="connsiteX2967" fmla="*/ 2509248 w 6537372"/>
              <a:gd name="connsiteY2967" fmla="*/ 629465 h 4991619"/>
              <a:gd name="connsiteX2968" fmla="*/ 2500493 w 6537372"/>
              <a:gd name="connsiteY2968" fmla="*/ 606595 h 4991619"/>
              <a:gd name="connsiteX2969" fmla="*/ 2491917 w 6537372"/>
              <a:gd name="connsiteY2969" fmla="*/ 612849 h 4991619"/>
              <a:gd name="connsiteX2970" fmla="*/ 2491917 w 6537372"/>
              <a:gd name="connsiteY2970" fmla="*/ 612491 h 4991619"/>
              <a:gd name="connsiteX2971" fmla="*/ 2484056 w 6537372"/>
              <a:gd name="connsiteY2971" fmla="*/ 619996 h 4991619"/>
              <a:gd name="connsiteX2972" fmla="*/ 2486021 w 6537372"/>
              <a:gd name="connsiteY2972" fmla="*/ 623211 h 4991619"/>
              <a:gd name="connsiteX2973" fmla="*/ 2486378 w 6537372"/>
              <a:gd name="connsiteY2973" fmla="*/ 623211 h 4991619"/>
              <a:gd name="connsiteX2974" fmla="*/ 2487807 w 6537372"/>
              <a:gd name="connsiteY2974" fmla="*/ 619996 h 4991619"/>
              <a:gd name="connsiteX2975" fmla="*/ 2489773 w 6537372"/>
              <a:gd name="connsiteY2975" fmla="*/ 618745 h 4991619"/>
              <a:gd name="connsiteX2976" fmla="*/ 2500493 w 6537372"/>
              <a:gd name="connsiteY2976" fmla="*/ 606595 h 4991619"/>
              <a:gd name="connsiteX2977" fmla="*/ 1982171 w 6537372"/>
              <a:gd name="connsiteY2977" fmla="*/ 598912 h 4991619"/>
              <a:gd name="connsiteX2978" fmla="*/ 1941254 w 6537372"/>
              <a:gd name="connsiteY2978" fmla="*/ 614100 h 4991619"/>
              <a:gd name="connsiteX2979" fmla="*/ 1982171 w 6537372"/>
              <a:gd name="connsiteY2979" fmla="*/ 598912 h 4991619"/>
              <a:gd name="connsiteX2980" fmla="*/ 2776897 w 6537372"/>
              <a:gd name="connsiteY2980" fmla="*/ 589086 h 4991619"/>
              <a:gd name="connsiteX2981" fmla="*/ 2776717 w 6537372"/>
              <a:gd name="connsiteY2981" fmla="*/ 589443 h 4991619"/>
              <a:gd name="connsiteX2982" fmla="*/ 2777075 w 6537372"/>
              <a:gd name="connsiteY2982" fmla="*/ 589443 h 4991619"/>
              <a:gd name="connsiteX2983" fmla="*/ 2776897 w 6537372"/>
              <a:gd name="connsiteY2983" fmla="*/ 589086 h 4991619"/>
              <a:gd name="connsiteX2984" fmla="*/ 4160453 w 6537372"/>
              <a:gd name="connsiteY2984" fmla="*/ 585982 h 4991619"/>
              <a:gd name="connsiteX2985" fmla="*/ 4155160 w 6537372"/>
              <a:gd name="connsiteY2985" fmla="*/ 586228 h 4991619"/>
              <a:gd name="connsiteX2986" fmla="*/ 4155338 w 6537372"/>
              <a:gd name="connsiteY2986" fmla="*/ 586228 h 4991619"/>
              <a:gd name="connsiteX2987" fmla="*/ 4141402 w 6537372"/>
              <a:gd name="connsiteY2987" fmla="*/ 591587 h 4991619"/>
              <a:gd name="connsiteX2988" fmla="*/ 4141759 w 6537372"/>
              <a:gd name="connsiteY2988" fmla="*/ 593194 h 4991619"/>
              <a:gd name="connsiteX2989" fmla="*/ 4167488 w 6537372"/>
              <a:gd name="connsiteY2989" fmla="*/ 600878 h 4991619"/>
              <a:gd name="connsiteX2990" fmla="*/ 4178566 w 6537372"/>
              <a:gd name="connsiteY2990" fmla="*/ 593731 h 4991619"/>
              <a:gd name="connsiteX2991" fmla="*/ 4162665 w 6537372"/>
              <a:gd name="connsiteY2991" fmla="*/ 593909 h 4991619"/>
              <a:gd name="connsiteX2992" fmla="*/ 4160453 w 6537372"/>
              <a:gd name="connsiteY2992" fmla="*/ 585982 h 4991619"/>
              <a:gd name="connsiteX2993" fmla="*/ 2144760 w 6537372"/>
              <a:gd name="connsiteY2993" fmla="*/ 584440 h 4991619"/>
              <a:gd name="connsiteX2994" fmla="*/ 2144760 w 6537372"/>
              <a:gd name="connsiteY2994" fmla="*/ 586228 h 4991619"/>
              <a:gd name="connsiteX2995" fmla="*/ 2146726 w 6537372"/>
              <a:gd name="connsiteY2995" fmla="*/ 586228 h 4991619"/>
              <a:gd name="connsiteX2996" fmla="*/ 2146548 w 6537372"/>
              <a:gd name="connsiteY2996" fmla="*/ 584440 h 4991619"/>
              <a:gd name="connsiteX2997" fmla="*/ 2144760 w 6537372"/>
              <a:gd name="connsiteY2997" fmla="*/ 584440 h 4991619"/>
              <a:gd name="connsiteX2998" fmla="*/ 4197148 w 6537372"/>
              <a:gd name="connsiteY2998" fmla="*/ 580688 h 4991619"/>
              <a:gd name="connsiteX2999" fmla="*/ 4190357 w 6537372"/>
              <a:gd name="connsiteY2999" fmla="*/ 586048 h 4991619"/>
              <a:gd name="connsiteX3000" fmla="*/ 4191072 w 6537372"/>
              <a:gd name="connsiteY3000" fmla="*/ 587835 h 4991619"/>
              <a:gd name="connsiteX3001" fmla="*/ 4196790 w 6537372"/>
              <a:gd name="connsiteY3001" fmla="*/ 584798 h 4991619"/>
              <a:gd name="connsiteX3002" fmla="*/ 4197148 w 6537372"/>
              <a:gd name="connsiteY3002" fmla="*/ 580688 h 4991619"/>
              <a:gd name="connsiteX3003" fmla="*/ 4171061 w 6537372"/>
              <a:gd name="connsiteY3003" fmla="*/ 579437 h 4991619"/>
              <a:gd name="connsiteX3004" fmla="*/ 4168917 w 6537372"/>
              <a:gd name="connsiteY3004" fmla="*/ 582118 h 4991619"/>
              <a:gd name="connsiteX3005" fmla="*/ 4173027 w 6537372"/>
              <a:gd name="connsiteY3005" fmla="*/ 587299 h 4991619"/>
              <a:gd name="connsiteX3006" fmla="*/ 4175707 w 6537372"/>
              <a:gd name="connsiteY3006" fmla="*/ 582118 h 4991619"/>
              <a:gd name="connsiteX3007" fmla="*/ 4171061 w 6537372"/>
              <a:gd name="connsiteY3007" fmla="*/ 579437 h 4991619"/>
              <a:gd name="connsiteX3008" fmla="*/ 5753724 w 6537372"/>
              <a:gd name="connsiteY3008" fmla="*/ 571576 h 4991619"/>
              <a:gd name="connsiteX3009" fmla="*/ 5753724 w 6537372"/>
              <a:gd name="connsiteY3009" fmla="*/ 571754 h 4991619"/>
              <a:gd name="connsiteX3010" fmla="*/ 5748544 w 6537372"/>
              <a:gd name="connsiteY3010" fmla="*/ 576222 h 4991619"/>
              <a:gd name="connsiteX3011" fmla="*/ 5749436 w 6537372"/>
              <a:gd name="connsiteY3011" fmla="*/ 577471 h 4991619"/>
              <a:gd name="connsiteX3012" fmla="*/ 5755510 w 6537372"/>
              <a:gd name="connsiteY3012" fmla="*/ 574256 h 4991619"/>
              <a:gd name="connsiteX3013" fmla="*/ 5753724 w 6537372"/>
              <a:gd name="connsiteY3013" fmla="*/ 571576 h 4991619"/>
              <a:gd name="connsiteX3014" fmla="*/ 2824713 w 6537372"/>
              <a:gd name="connsiteY3014" fmla="*/ 570709 h 4991619"/>
              <a:gd name="connsiteX3015" fmla="*/ 2824780 w 6537372"/>
              <a:gd name="connsiteY3015" fmla="*/ 572112 h 4991619"/>
              <a:gd name="connsiteX3016" fmla="*/ 2824528 w 6537372"/>
              <a:gd name="connsiteY3016" fmla="*/ 571592 h 4991619"/>
              <a:gd name="connsiteX3017" fmla="*/ 2824600 w 6537372"/>
              <a:gd name="connsiteY3017" fmla="*/ 571039 h 4991619"/>
              <a:gd name="connsiteX3018" fmla="*/ 2824600 w 6537372"/>
              <a:gd name="connsiteY3018" fmla="*/ 570861 h 4991619"/>
              <a:gd name="connsiteX3019" fmla="*/ 2745986 w 6537372"/>
              <a:gd name="connsiteY3019" fmla="*/ 558355 h 4991619"/>
              <a:gd name="connsiteX3020" fmla="*/ 2726689 w 6537372"/>
              <a:gd name="connsiteY3020" fmla="*/ 563714 h 4991619"/>
              <a:gd name="connsiteX3021" fmla="*/ 2729191 w 6537372"/>
              <a:gd name="connsiteY3021" fmla="*/ 563714 h 4991619"/>
              <a:gd name="connsiteX3022" fmla="*/ 2741341 w 6537372"/>
              <a:gd name="connsiteY3022" fmla="*/ 561392 h 4991619"/>
              <a:gd name="connsiteX3023" fmla="*/ 2746166 w 6537372"/>
              <a:gd name="connsiteY3023" fmla="*/ 558890 h 4991619"/>
              <a:gd name="connsiteX3024" fmla="*/ 2746166 w 6537372"/>
              <a:gd name="connsiteY3024" fmla="*/ 558355 h 4991619"/>
              <a:gd name="connsiteX3025" fmla="*/ 2587504 w 6537372"/>
              <a:gd name="connsiteY3025" fmla="*/ 552994 h 4991619"/>
              <a:gd name="connsiteX3026" fmla="*/ 2575535 w 6537372"/>
              <a:gd name="connsiteY3026" fmla="*/ 561392 h 4991619"/>
              <a:gd name="connsiteX3027" fmla="*/ 2550521 w 6537372"/>
              <a:gd name="connsiteY3027" fmla="*/ 577830 h 4991619"/>
              <a:gd name="connsiteX3028" fmla="*/ 2550699 w 6537372"/>
              <a:gd name="connsiteY3028" fmla="*/ 577830 h 4991619"/>
              <a:gd name="connsiteX3029" fmla="*/ 2506747 w 6537372"/>
              <a:gd name="connsiteY3029" fmla="*/ 602307 h 4991619"/>
              <a:gd name="connsiteX3030" fmla="*/ 2511214 w 6537372"/>
              <a:gd name="connsiteY3030" fmla="*/ 610705 h 4991619"/>
              <a:gd name="connsiteX3031" fmla="*/ 2578394 w 6537372"/>
              <a:gd name="connsiteY3031" fmla="*/ 579615 h 4991619"/>
              <a:gd name="connsiteX3032" fmla="*/ 2581967 w 6537372"/>
              <a:gd name="connsiteY3032" fmla="*/ 578186 h 4991619"/>
              <a:gd name="connsiteX3033" fmla="*/ 2587504 w 6537372"/>
              <a:gd name="connsiteY3033" fmla="*/ 552994 h 4991619"/>
              <a:gd name="connsiteX3034" fmla="*/ 4160521 w 6537372"/>
              <a:gd name="connsiteY3034" fmla="*/ 549064 h 4991619"/>
              <a:gd name="connsiteX3035" fmla="*/ 4155874 w 6537372"/>
              <a:gd name="connsiteY3035" fmla="*/ 552101 h 4991619"/>
              <a:gd name="connsiteX3036" fmla="*/ 4157840 w 6537372"/>
              <a:gd name="connsiteY3036" fmla="*/ 555853 h 4991619"/>
              <a:gd name="connsiteX3037" fmla="*/ 4161950 w 6537372"/>
              <a:gd name="connsiteY3037" fmla="*/ 551565 h 4991619"/>
              <a:gd name="connsiteX3038" fmla="*/ 4160521 w 6537372"/>
              <a:gd name="connsiteY3038" fmla="*/ 549242 h 4991619"/>
              <a:gd name="connsiteX3039" fmla="*/ 2272152 w 6537372"/>
              <a:gd name="connsiteY3039" fmla="*/ 548528 h 4991619"/>
              <a:gd name="connsiteX3040" fmla="*/ 2261611 w 6537372"/>
              <a:gd name="connsiteY3040" fmla="*/ 551386 h 4991619"/>
              <a:gd name="connsiteX3041" fmla="*/ 2261611 w 6537372"/>
              <a:gd name="connsiteY3041" fmla="*/ 551565 h 4991619"/>
              <a:gd name="connsiteX3042" fmla="*/ 2261611 w 6537372"/>
              <a:gd name="connsiteY3042" fmla="*/ 552994 h 4991619"/>
              <a:gd name="connsiteX3043" fmla="*/ 2268400 w 6537372"/>
              <a:gd name="connsiteY3043" fmla="*/ 554423 h 4991619"/>
              <a:gd name="connsiteX3044" fmla="*/ 2270722 w 6537372"/>
              <a:gd name="connsiteY3044" fmla="*/ 553887 h 4991619"/>
              <a:gd name="connsiteX3045" fmla="*/ 2273403 w 6537372"/>
              <a:gd name="connsiteY3045" fmla="*/ 550314 h 4991619"/>
              <a:gd name="connsiteX3046" fmla="*/ 2272152 w 6537372"/>
              <a:gd name="connsiteY3046" fmla="*/ 548528 h 4991619"/>
              <a:gd name="connsiteX3047" fmla="*/ 4113886 w 6537372"/>
              <a:gd name="connsiteY3047" fmla="*/ 539415 h 4991619"/>
              <a:gd name="connsiteX3048" fmla="*/ 4114066 w 6537372"/>
              <a:gd name="connsiteY3048" fmla="*/ 539421 h 4991619"/>
              <a:gd name="connsiteX3049" fmla="*/ 4114066 w 6537372"/>
              <a:gd name="connsiteY3049" fmla="*/ 541023 h 4991619"/>
              <a:gd name="connsiteX3050" fmla="*/ 4119426 w 6537372"/>
              <a:gd name="connsiteY3050" fmla="*/ 542274 h 4991619"/>
              <a:gd name="connsiteX3051" fmla="*/ 4119426 w 6537372"/>
              <a:gd name="connsiteY3051" fmla="*/ 539593 h 4991619"/>
              <a:gd name="connsiteX3052" fmla="*/ 4114066 w 6537372"/>
              <a:gd name="connsiteY3052" fmla="*/ 539421 h 4991619"/>
              <a:gd name="connsiteX3053" fmla="*/ 4114066 w 6537372"/>
              <a:gd name="connsiteY3053" fmla="*/ 539415 h 4991619"/>
              <a:gd name="connsiteX3054" fmla="*/ 2218730 w 6537372"/>
              <a:gd name="connsiteY3054" fmla="*/ 530302 h 4991619"/>
              <a:gd name="connsiteX3055" fmla="*/ 2193180 w 6537372"/>
              <a:gd name="connsiteY3055" fmla="*/ 544596 h 4991619"/>
              <a:gd name="connsiteX3056" fmla="*/ 2226412 w 6537372"/>
              <a:gd name="connsiteY3056" fmla="*/ 538522 h 4991619"/>
              <a:gd name="connsiteX3057" fmla="*/ 2218730 w 6537372"/>
              <a:gd name="connsiteY3057" fmla="*/ 530302 h 4991619"/>
              <a:gd name="connsiteX3058" fmla="*/ 4735303 w 6537372"/>
              <a:gd name="connsiteY3058" fmla="*/ 515474 h 4991619"/>
              <a:gd name="connsiteX3059" fmla="*/ 4728692 w 6537372"/>
              <a:gd name="connsiteY3059" fmla="*/ 518333 h 4991619"/>
              <a:gd name="connsiteX3060" fmla="*/ 4728692 w 6537372"/>
              <a:gd name="connsiteY3060" fmla="*/ 518511 h 4991619"/>
              <a:gd name="connsiteX3061" fmla="*/ 4711360 w 6537372"/>
              <a:gd name="connsiteY3061" fmla="*/ 528517 h 4991619"/>
              <a:gd name="connsiteX3062" fmla="*/ 4732264 w 6537372"/>
              <a:gd name="connsiteY3062" fmla="*/ 526194 h 4991619"/>
              <a:gd name="connsiteX3063" fmla="*/ 4739233 w 6537372"/>
              <a:gd name="connsiteY3063" fmla="*/ 522977 h 4991619"/>
              <a:gd name="connsiteX3064" fmla="*/ 4740484 w 6537372"/>
              <a:gd name="connsiteY3064" fmla="*/ 521370 h 4991619"/>
              <a:gd name="connsiteX3065" fmla="*/ 4735303 w 6537372"/>
              <a:gd name="connsiteY3065" fmla="*/ 515474 h 4991619"/>
              <a:gd name="connsiteX3066" fmla="*/ 3001842 w 6537372"/>
              <a:gd name="connsiteY3066" fmla="*/ 512972 h 4991619"/>
              <a:gd name="connsiteX3067" fmla="*/ 2999878 w 6537372"/>
              <a:gd name="connsiteY3067" fmla="*/ 514223 h 4991619"/>
              <a:gd name="connsiteX3068" fmla="*/ 3000056 w 6537372"/>
              <a:gd name="connsiteY3068" fmla="*/ 516009 h 4991619"/>
              <a:gd name="connsiteX3069" fmla="*/ 3002378 w 6537372"/>
              <a:gd name="connsiteY3069" fmla="*/ 516009 h 4991619"/>
              <a:gd name="connsiteX3070" fmla="*/ 3001842 w 6537372"/>
              <a:gd name="connsiteY3070" fmla="*/ 513150 h 4991619"/>
              <a:gd name="connsiteX3071" fmla="*/ 4627386 w 6537372"/>
              <a:gd name="connsiteY3071" fmla="*/ 512615 h 4991619"/>
              <a:gd name="connsiteX3072" fmla="*/ 4614164 w 6537372"/>
              <a:gd name="connsiteY3072" fmla="*/ 518689 h 4991619"/>
              <a:gd name="connsiteX3073" fmla="*/ 4613986 w 6537372"/>
              <a:gd name="connsiteY3073" fmla="*/ 518689 h 4991619"/>
              <a:gd name="connsiteX3074" fmla="*/ 4608626 w 6537372"/>
              <a:gd name="connsiteY3074" fmla="*/ 522085 h 4991619"/>
              <a:gd name="connsiteX3075" fmla="*/ 4609160 w 6537372"/>
              <a:gd name="connsiteY3075" fmla="*/ 525480 h 4991619"/>
              <a:gd name="connsiteX3076" fmla="*/ 4614878 w 6537372"/>
              <a:gd name="connsiteY3076" fmla="*/ 523336 h 4991619"/>
              <a:gd name="connsiteX3077" fmla="*/ 4627386 w 6537372"/>
              <a:gd name="connsiteY3077" fmla="*/ 512615 h 4991619"/>
              <a:gd name="connsiteX3078" fmla="*/ 4627028 w 6537372"/>
              <a:gd name="connsiteY3078" fmla="*/ 504574 h 4991619"/>
              <a:gd name="connsiteX3079" fmla="*/ 4625420 w 6537372"/>
              <a:gd name="connsiteY3079" fmla="*/ 507076 h 4991619"/>
              <a:gd name="connsiteX3080" fmla="*/ 4627742 w 6537372"/>
              <a:gd name="connsiteY3080" fmla="*/ 507969 h 4991619"/>
              <a:gd name="connsiteX3081" fmla="*/ 4627028 w 6537372"/>
              <a:gd name="connsiteY3081" fmla="*/ 504574 h 4991619"/>
              <a:gd name="connsiteX3082" fmla="*/ 4756028 w 6537372"/>
              <a:gd name="connsiteY3082" fmla="*/ 501537 h 4991619"/>
              <a:gd name="connsiteX3083" fmla="*/ 4751740 w 6537372"/>
              <a:gd name="connsiteY3083" fmla="*/ 506003 h 4991619"/>
              <a:gd name="connsiteX3084" fmla="*/ 4749775 w 6537372"/>
              <a:gd name="connsiteY3084" fmla="*/ 508506 h 4991619"/>
              <a:gd name="connsiteX3085" fmla="*/ 4756028 w 6537372"/>
              <a:gd name="connsiteY3085" fmla="*/ 501895 h 4991619"/>
              <a:gd name="connsiteX3086" fmla="*/ 4756028 w 6537372"/>
              <a:gd name="connsiteY3086" fmla="*/ 501537 h 4991619"/>
              <a:gd name="connsiteX3087" fmla="*/ 4624907 w 6537372"/>
              <a:gd name="connsiteY3087" fmla="*/ 501292 h 4991619"/>
              <a:gd name="connsiteX3088" fmla="*/ 4620418 w 6537372"/>
              <a:gd name="connsiteY3088" fmla="*/ 505110 h 4991619"/>
              <a:gd name="connsiteX3089" fmla="*/ 4621490 w 6537372"/>
              <a:gd name="connsiteY3089" fmla="*/ 505469 h 4991619"/>
              <a:gd name="connsiteX3090" fmla="*/ 4626745 w 6537372"/>
              <a:gd name="connsiteY3090" fmla="*/ 503891 h 4991619"/>
              <a:gd name="connsiteX3091" fmla="*/ 4626850 w 6537372"/>
              <a:gd name="connsiteY3091" fmla="*/ 504039 h 4991619"/>
              <a:gd name="connsiteX3092" fmla="*/ 4626850 w 6537372"/>
              <a:gd name="connsiteY3092" fmla="*/ 503859 h 4991619"/>
              <a:gd name="connsiteX3093" fmla="*/ 4626745 w 6537372"/>
              <a:gd name="connsiteY3093" fmla="*/ 503891 h 4991619"/>
              <a:gd name="connsiteX3094" fmla="*/ 4176422 w 6537372"/>
              <a:gd name="connsiteY3094" fmla="*/ 499393 h 4991619"/>
              <a:gd name="connsiteX3095" fmla="*/ 4176422 w 6537372"/>
              <a:gd name="connsiteY3095" fmla="*/ 499571 h 4991619"/>
              <a:gd name="connsiteX3096" fmla="*/ 4168917 w 6537372"/>
              <a:gd name="connsiteY3096" fmla="*/ 502788 h 4991619"/>
              <a:gd name="connsiteX3097" fmla="*/ 4169812 w 6537372"/>
              <a:gd name="connsiteY3097" fmla="*/ 505289 h 4991619"/>
              <a:gd name="connsiteX3098" fmla="*/ 4177493 w 6537372"/>
              <a:gd name="connsiteY3098" fmla="*/ 502252 h 4991619"/>
              <a:gd name="connsiteX3099" fmla="*/ 4176422 w 6537372"/>
              <a:gd name="connsiteY3099" fmla="*/ 499393 h 4991619"/>
              <a:gd name="connsiteX3100" fmla="*/ 4183925 w 6537372"/>
              <a:gd name="connsiteY3100" fmla="*/ 494034 h 4991619"/>
              <a:gd name="connsiteX3101" fmla="*/ 4181781 w 6537372"/>
              <a:gd name="connsiteY3101" fmla="*/ 498856 h 4991619"/>
              <a:gd name="connsiteX3102" fmla="*/ 4183032 w 6537372"/>
              <a:gd name="connsiteY3102" fmla="*/ 500286 h 4991619"/>
              <a:gd name="connsiteX3103" fmla="*/ 4186249 w 6537372"/>
              <a:gd name="connsiteY3103" fmla="*/ 496178 h 4991619"/>
              <a:gd name="connsiteX3104" fmla="*/ 4184105 w 6537372"/>
              <a:gd name="connsiteY3104" fmla="*/ 494034 h 4991619"/>
              <a:gd name="connsiteX3105" fmla="*/ 2422593 w 6537372"/>
              <a:gd name="connsiteY3105" fmla="*/ 493675 h 4991619"/>
              <a:gd name="connsiteX3106" fmla="*/ 2418661 w 6537372"/>
              <a:gd name="connsiteY3106" fmla="*/ 494748 h 4991619"/>
              <a:gd name="connsiteX3107" fmla="*/ 2418483 w 6537372"/>
              <a:gd name="connsiteY3107" fmla="*/ 494748 h 4991619"/>
              <a:gd name="connsiteX3108" fmla="*/ 2418127 w 6537372"/>
              <a:gd name="connsiteY3108" fmla="*/ 499571 h 4991619"/>
              <a:gd name="connsiteX3109" fmla="*/ 2423844 w 6537372"/>
              <a:gd name="connsiteY3109" fmla="*/ 496712 h 4991619"/>
              <a:gd name="connsiteX3110" fmla="*/ 2422593 w 6537372"/>
              <a:gd name="connsiteY3110" fmla="*/ 493675 h 4991619"/>
              <a:gd name="connsiteX3111" fmla="*/ 2388825 w 6537372"/>
              <a:gd name="connsiteY3111" fmla="*/ 492246 h 4991619"/>
              <a:gd name="connsiteX3112" fmla="*/ 2385786 w 6537372"/>
              <a:gd name="connsiteY3112" fmla="*/ 502430 h 4991619"/>
              <a:gd name="connsiteX3113" fmla="*/ 2395613 w 6537372"/>
              <a:gd name="connsiteY3113" fmla="*/ 500286 h 4991619"/>
              <a:gd name="connsiteX3114" fmla="*/ 2397401 w 6537372"/>
              <a:gd name="connsiteY3114" fmla="*/ 492424 h 4991619"/>
              <a:gd name="connsiteX3115" fmla="*/ 2388825 w 6537372"/>
              <a:gd name="connsiteY3115" fmla="*/ 492246 h 4991619"/>
              <a:gd name="connsiteX3116" fmla="*/ 2722045 w 6537372"/>
              <a:gd name="connsiteY3116" fmla="*/ 491531 h 4991619"/>
              <a:gd name="connsiteX3117" fmla="*/ 2722045 w 6537372"/>
              <a:gd name="connsiteY3117" fmla="*/ 491710 h 4991619"/>
              <a:gd name="connsiteX3118" fmla="*/ 2716505 w 6537372"/>
              <a:gd name="connsiteY3118" fmla="*/ 493139 h 4991619"/>
              <a:gd name="connsiteX3119" fmla="*/ 2723296 w 6537372"/>
              <a:gd name="connsiteY3119" fmla="*/ 492068 h 4991619"/>
              <a:gd name="connsiteX3120" fmla="*/ 2722045 w 6537372"/>
              <a:gd name="connsiteY3120" fmla="*/ 491531 h 4991619"/>
              <a:gd name="connsiteX3121" fmla="*/ 4716207 w 6537372"/>
              <a:gd name="connsiteY3121" fmla="*/ 482866 h 4991619"/>
              <a:gd name="connsiteX3122" fmla="*/ 4711540 w 6537372"/>
              <a:gd name="connsiteY3122" fmla="*/ 489566 h 4991619"/>
              <a:gd name="connsiteX3123" fmla="*/ 4722617 w 6537372"/>
              <a:gd name="connsiteY3123" fmla="*/ 483133 h 4991619"/>
              <a:gd name="connsiteX3124" fmla="*/ 4716207 w 6537372"/>
              <a:gd name="connsiteY3124" fmla="*/ 482866 h 4991619"/>
              <a:gd name="connsiteX3125" fmla="*/ 4786046 w 6537372"/>
              <a:gd name="connsiteY3125" fmla="*/ 475272 h 4991619"/>
              <a:gd name="connsiteX3126" fmla="*/ 4765320 w 6537372"/>
              <a:gd name="connsiteY3126" fmla="*/ 485992 h 4991619"/>
              <a:gd name="connsiteX3127" fmla="*/ 4765676 w 6537372"/>
              <a:gd name="connsiteY3127" fmla="*/ 494927 h 4991619"/>
              <a:gd name="connsiteX3128" fmla="*/ 4767998 w 6537372"/>
              <a:gd name="connsiteY3128" fmla="*/ 495283 h 4991619"/>
              <a:gd name="connsiteX3129" fmla="*/ 4765676 w 6537372"/>
              <a:gd name="connsiteY3129" fmla="*/ 496892 h 4991619"/>
              <a:gd name="connsiteX3130" fmla="*/ 4765676 w 6537372"/>
              <a:gd name="connsiteY3130" fmla="*/ 499751 h 4991619"/>
              <a:gd name="connsiteX3131" fmla="*/ 4768715 w 6537372"/>
              <a:gd name="connsiteY3131" fmla="*/ 501001 h 4991619"/>
              <a:gd name="connsiteX3132" fmla="*/ 4768893 w 6537372"/>
              <a:gd name="connsiteY3132" fmla="*/ 500822 h 4991619"/>
              <a:gd name="connsiteX3133" fmla="*/ 4786046 w 6537372"/>
              <a:gd name="connsiteY3133" fmla="*/ 475272 h 4991619"/>
              <a:gd name="connsiteX3134" fmla="*/ 4706001 w 6537372"/>
              <a:gd name="connsiteY3134" fmla="*/ 473308 h 4991619"/>
              <a:gd name="connsiteX3135" fmla="*/ 4700106 w 6537372"/>
              <a:gd name="connsiteY3135" fmla="*/ 475630 h 4991619"/>
              <a:gd name="connsiteX3136" fmla="*/ 4700998 w 6537372"/>
              <a:gd name="connsiteY3136" fmla="*/ 477774 h 4991619"/>
              <a:gd name="connsiteX3137" fmla="*/ 4706538 w 6537372"/>
              <a:gd name="connsiteY3137" fmla="*/ 474916 h 4991619"/>
              <a:gd name="connsiteX3138" fmla="*/ 4705823 w 6537372"/>
              <a:gd name="connsiteY3138" fmla="*/ 473486 h 4991619"/>
              <a:gd name="connsiteX3139" fmla="*/ 4818920 w 6537372"/>
              <a:gd name="connsiteY3139" fmla="*/ 462051 h 4991619"/>
              <a:gd name="connsiteX3140" fmla="*/ 4809808 w 6537372"/>
              <a:gd name="connsiteY3140" fmla="*/ 468483 h 4991619"/>
              <a:gd name="connsiteX3141" fmla="*/ 4818920 w 6537372"/>
              <a:gd name="connsiteY3141" fmla="*/ 462051 h 4991619"/>
              <a:gd name="connsiteX3142" fmla="*/ 4212334 w 6537372"/>
              <a:gd name="connsiteY3142" fmla="*/ 460978 h 4991619"/>
              <a:gd name="connsiteX3143" fmla="*/ 4206260 w 6537372"/>
              <a:gd name="connsiteY3143" fmla="*/ 462408 h 4991619"/>
              <a:gd name="connsiteX3144" fmla="*/ 4206438 w 6537372"/>
              <a:gd name="connsiteY3144" fmla="*/ 463302 h 4991619"/>
              <a:gd name="connsiteX3145" fmla="*/ 4212512 w 6537372"/>
              <a:gd name="connsiteY3145" fmla="*/ 461873 h 4991619"/>
              <a:gd name="connsiteX3146" fmla="*/ 4212512 w 6537372"/>
              <a:gd name="connsiteY3146" fmla="*/ 460978 h 4991619"/>
              <a:gd name="connsiteX3147" fmla="*/ 4834286 w 6537372"/>
              <a:gd name="connsiteY3147" fmla="*/ 451687 h 4991619"/>
              <a:gd name="connsiteX3148" fmla="*/ 4819099 w 6537372"/>
              <a:gd name="connsiteY3148" fmla="*/ 461873 h 4991619"/>
              <a:gd name="connsiteX3149" fmla="*/ 4825353 w 6537372"/>
              <a:gd name="connsiteY3149" fmla="*/ 465625 h 4991619"/>
              <a:gd name="connsiteX3150" fmla="*/ 4826960 w 6537372"/>
              <a:gd name="connsiteY3150" fmla="*/ 464195 h 4991619"/>
              <a:gd name="connsiteX3151" fmla="*/ 4826960 w 6537372"/>
              <a:gd name="connsiteY3151" fmla="*/ 464017 h 4991619"/>
              <a:gd name="connsiteX3152" fmla="*/ 4834286 w 6537372"/>
              <a:gd name="connsiteY3152" fmla="*/ 451687 h 4991619"/>
              <a:gd name="connsiteX3153" fmla="*/ 5448377 w 6537372"/>
              <a:gd name="connsiteY3153" fmla="*/ 451331 h 4991619"/>
              <a:gd name="connsiteX3154" fmla="*/ 5443552 w 6537372"/>
              <a:gd name="connsiteY3154" fmla="*/ 456870 h 4991619"/>
              <a:gd name="connsiteX3155" fmla="*/ 5445518 w 6537372"/>
              <a:gd name="connsiteY3155" fmla="*/ 458478 h 4991619"/>
              <a:gd name="connsiteX3156" fmla="*/ 5449984 w 6537372"/>
              <a:gd name="connsiteY3156" fmla="*/ 452760 h 4991619"/>
              <a:gd name="connsiteX3157" fmla="*/ 5448377 w 6537372"/>
              <a:gd name="connsiteY3157" fmla="*/ 451509 h 4991619"/>
              <a:gd name="connsiteX3158" fmla="*/ 4778006 w 6537372"/>
              <a:gd name="connsiteY3158" fmla="*/ 450795 h 4991619"/>
              <a:gd name="connsiteX3159" fmla="*/ 4772288 w 6537372"/>
              <a:gd name="connsiteY3159" fmla="*/ 451331 h 4991619"/>
              <a:gd name="connsiteX3160" fmla="*/ 4766390 w 6537372"/>
              <a:gd name="connsiteY3160" fmla="*/ 455619 h 4991619"/>
              <a:gd name="connsiteX3161" fmla="*/ 4739233 w 6537372"/>
              <a:gd name="connsiteY3161" fmla="*/ 468662 h 4991619"/>
              <a:gd name="connsiteX3162" fmla="*/ 4739233 w 6537372"/>
              <a:gd name="connsiteY3162" fmla="*/ 469020 h 4991619"/>
              <a:gd name="connsiteX3163" fmla="*/ 4730122 w 6537372"/>
              <a:gd name="connsiteY3163" fmla="*/ 476881 h 4991619"/>
              <a:gd name="connsiteX3164" fmla="*/ 4733696 w 6537372"/>
              <a:gd name="connsiteY3164" fmla="*/ 481704 h 4991619"/>
              <a:gd name="connsiteX3165" fmla="*/ 4745845 w 6537372"/>
              <a:gd name="connsiteY3165" fmla="*/ 479025 h 4991619"/>
              <a:gd name="connsiteX3166" fmla="*/ 4747989 w 6537372"/>
              <a:gd name="connsiteY3166" fmla="*/ 478131 h 4991619"/>
              <a:gd name="connsiteX3167" fmla="*/ 4747452 w 6537372"/>
              <a:gd name="connsiteY3167" fmla="*/ 479204 h 4991619"/>
              <a:gd name="connsiteX3168" fmla="*/ 4751026 w 6537372"/>
              <a:gd name="connsiteY3168" fmla="*/ 481348 h 4991619"/>
              <a:gd name="connsiteX3169" fmla="*/ 4751740 w 6537372"/>
              <a:gd name="connsiteY3169" fmla="*/ 478667 h 4991619"/>
              <a:gd name="connsiteX3170" fmla="*/ 4756922 w 6537372"/>
              <a:gd name="connsiteY3170" fmla="*/ 469555 h 4991619"/>
              <a:gd name="connsiteX3171" fmla="*/ 4779076 w 6537372"/>
              <a:gd name="connsiteY3171" fmla="*/ 454012 h 4991619"/>
              <a:gd name="connsiteX3172" fmla="*/ 4778006 w 6537372"/>
              <a:gd name="connsiteY3172" fmla="*/ 450795 h 4991619"/>
              <a:gd name="connsiteX3173" fmla="*/ 4719400 w 6537372"/>
              <a:gd name="connsiteY3173" fmla="*/ 446865 h 4991619"/>
              <a:gd name="connsiteX3174" fmla="*/ 4706716 w 6537372"/>
              <a:gd name="connsiteY3174" fmla="*/ 453831 h 4991619"/>
              <a:gd name="connsiteX3175" fmla="*/ 4708145 w 6537372"/>
              <a:gd name="connsiteY3175" fmla="*/ 456334 h 4991619"/>
              <a:gd name="connsiteX3176" fmla="*/ 4719580 w 6537372"/>
              <a:gd name="connsiteY3176" fmla="*/ 446865 h 4991619"/>
              <a:gd name="connsiteX3177" fmla="*/ 4733874 w 6537372"/>
              <a:gd name="connsiteY3177" fmla="*/ 445255 h 4991619"/>
              <a:gd name="connsiteX3178" fmla="*/ 4727083 w 6537372"/>
              <a:gd name="connsiteY3178" fmla="*/ 446865 h 4991619"/>
              <a:gd name="connsiteX3179" fmla="*/ 4727442 w 6537372"/>
              <a:gd name="connsiteY3179" fmla="*/ 448650 h 4991619"/>
              <a:gd name="connsiteX3180" fmla="*/ 4734410 w 6537372"/>
              <a:gd name="connsiteY3180" fmla="*/ 447758 h 4991619"/>
              <a:gd name="connsiteX3181" fmla="*/ 4733874 w 6537372"/>
              <a:gd name="connsiteY3181" fmla="*/ 445255 h 4991619"/>
              <a:gd name="connsiteX3182" fmla="*/ 4128002 w 6537372"/>
              <a:gd name="connsiteY3182" fmla="*/ 441862 h 4991619"/>
              <a:gd name="connsiteX3183" fmla="*/ 4122642 w 6537372"/>
              <a:gd name="connsiteY3183" fmla="*/ 443826 h 4991619"/>
              <a:gd name="connsiteX3184" fmla="*/ 4120677 w 6537372"/>
              <a:gd name="connsiteY3184" fmla="*/ 446507 h 4991619"/>
              <a:gd name="connsiteX3185" fmla="*/ 4126036 w 6537372"/>
              <a:gd name="connsiteY3185" fmla="*/ 442933 h 4991619"/>
              <a:gd name="connsiteX3186" fmla="*/ 4128002 w 6537372"/>
              <a:gd name="connsiteY3186" fmla="*/ 441862 h 4991619"/>
              <a:gd name="connsiteX3187" fmla="*/ 4726190 w 6537372"/>
              <a:gd name="connsiteY3187" fmla="*/ 431320 h 4991619"/>
              <a:gd name="connsiteX3188" fmla="*/ 4726235 w 6537372"/>
              <a:gd name="connsiteY3188" fmla="*/ 431405 h 4991619"/>
              <a:gd name="connsiteX3189" fmla="*/ 4717972 w 6537372"/>
              <a:gd name="connsiteY3189" fmla="*/ 436679 h 4991619"/>
              <a:gd name="connsiteX3190" fmla="*/ 4727620 w 6537372"/>
              <a:gd name="connsiteY3190" fmla="*/ 434000 h 4991619"/>
              <a:gd name="connsiteX3191" fmla="*/ 4726235 w 6537372"/>
              <a:gd name="connsiteY3191" fmla="*/ 431405 h 4991619"/>
              <a:gd name="connsiteX3192" fmla="*/ 4726368 w 6537372"/>
              <a:gd name="connsiteY3192" fmla="*/ 431320 h 4991619"/>
              <a:gd name="connsiteX3193" fmla="*/ 4830065 w 6537372"/>
              <a:gd name="connsiteY3193" fmla="*/ 426898 h 4991619"/>
              <a:gd name="connsiteX3194" fmla="*/ 4827140 w 6537372"/>
              <a:gd name="connsiteY3194" fmla="*/ 427568 h 4991619"/>
              <a:gd name="connsiteX3195" fmla="*/ 4807842 w 6537372"/>
              <a:gd name="connsiteY3195" fmla="*/ 443469 h 4991619"/>
              <a:gd name="connsiteX3196" fmla="*/ 4778006 w 6537372"/>
              <a:gd name="connsiteY3196" fmla="*/ 460264 h 4991619"/>
              <a:gd name="connsiteX3197" fmla="*/ 4775147 w 6537372"/>
              <a:gd name="connsiteY3197" fmla="*/ 463659 h 4991619"/>
              <a:gd name="connsiteX3198" fmla="*/ 4778362 w 6537372"/>
              <a:gd name="connsiteY3198" fmla="*/ 466876 h 4991619"/>
              <a:gd name="connsiteX3199" fmla="*/ 4786938 w 6537372"/>
              <a:gd name="connsiteY3199" fmla="*/ 464374 h 4991619"/>
              <a:gd name="connsiteX3200" fmla="*/ 4816776 w 6537372"/>
              <a:gd name="connsiteY3200" fmla="*/ 445435 h 4991619"/>
              <a:gd name="connsiteX3201" fmla="*/ 4836073 w 6537372"/>
              <a:gd name="connsiteY3201" fmla="*/ 430783 h 4991619"/>
              <a:gd name="connsiteX3202" fmla="*/ 4830065 w 6537372"/>
              <a:gd name="connsiteY3202" fmla="*/ 426898 h 4991619"/>
              <a:gd name="connsiteX3203" fmla="*/ 4822316 w 6537372"/>
              <a:gd name="connsiteY3203" fmla="*/ 417026 h 4991619"/>
              <a:gd name="connsiteX3204" fmla="*/ 4816776 w 6537372"/>
              <a:gd name="connsiteY3204" fmla="*/ 418992 h 4991619"/>
              <a:gd name="connsiteX3205" fmla="*/ 4787653 w 6537372"/>
              <a:gd name="connsiteY3205" fmla="*/ 440074 h 4991619"/>
              <a:gd name="connsiteX3206" fmla="*/ 4787116 w 6537372"/>
              <a:gd name="connsiteY3206" fmla="*/ 441147 h 4991619"/>
              <a:gd name="connsiteX3207" fmla="*/ 4787474 w 6537372"/>
              <a:gd name="connsiteY3207" fmla="*/ 442397 h 4991619"/>
              <a:gd name="connsiteX3208" fmla="*/ 4786938 w 6537372"/>
              <a:gd name="connsiteY3208" fmla="*/ 442397 h 4991619"/>
              <a:gd name="connsiteX3209" fmla="*/ 4786760 w 6537372"/>
              <a:gd name="connsiteY3209" fmla="*/ 442397 h 4991619"/>
              <a:gd name="connsiteX3210" fmla="*/ 4786224 w 6537372"/>
              <a:gd name="connsiteY3210" fmla="*/ 448294 h 4991619"/>
              <a:gd name="connsiteX3211" fmla="*/ 4800876 w 6537372"/>
              <a:gd name="connsiteY3211" fmla="*/ 438289 h 4991619"/>
              <a:gd name="connsiteX3212" fmla="*/ 4797122 w 6537372"/>
              <a:gd name="connsiteY3212" fmla="*/ 439718 h 4991619"/>
              <a:gd name="connsiteX3213" fmla="*/ 4795872 w 6537372"/>
              <a:gd name="connsiteY3213" fmla="*/ 436859 h 4991619"/>
              <a:gd name="connsiteX3214" fmla="*/ 4808735 w 6537372"/>
              <a:gd name="connsiteY3214" fmla="*/ 432391 h 4991619"/>
              <a:gd name="connsiteX3215" fmla="*/ 4824102 w 6537372"/>
              <a:gd name="connsiteY3215" fmla="*/ 419885 h 4991619"/>
              <a:gd name="connsiteX3216" fmla="*/ 4822316 w 6537372"/>
              <a:gd name="connsiteY3216" fmla="*/ 417026 h 4991619"/>
              <a:gd name="connsiteX3217" fmla="*/ 3526062 w 6537372"/>
              <a:gd name="connsiteY3217" fmla="*/ 410236 h 4991619"/>
              <a:gd name="connsiteX3218" fmla="*/ 3522666 w 6537372"/>
              <a:gd name="connsiteY3218" fmla="*/ 411309 h 4991619"/>
              <a:gd name="connsiteX3219" fmla="*/ 3518200 w 6537372"/>
              <a:gd name="connsiteY3219" fmla="*/ 414524 h 4991619"/>
              <a:gd name="connsiteX3220" fmla="*/ 3508551 w 6537372"/>
              <a:gd name="connsiteY3220" fmla="*/ 418487 h 4991619"/>
              <a:gd name="connsiteX3221" fmla="*/ 3508551 w 6537372"/>
              <a:gd name="connsiteY3221" fmla="*/ 418456 h 4991619"/>
              <a:gd name="connsiteX3222" fmla="*/ 3508194 w 6537372"/>
              <a:gd name="connsiteY3222" fmla="*/ 418634 h 4991619"/>
              <a:gd name="connsiteX3223" fmla="*/ 3508551 w 6537372"/>
              <a:gd name="connsiteY3223" fmla="*/ 418487 h 4991619"/>
              <a:gd name="connsiteX3224" fmla="*/ 3508551 w 6537372"/>
              <a:gd name="connsiteY3224" fmla="*/ 424173 h 4991619"/>
              <a:gd name="connsiteX3225" fmla="*/ 3512304 w 6537372"/>
              <a:gd name="connsiteY3225" fmla="*/ 425244 h 4991619"/>
              <a:gd name="connsiteX3226" fmla="*/ 3518200 w 6537372"/>
              <a:gd name="connsiteY3226" fmla="*/ 422386 h 4991619"/>
              <a:gd name="connsiteX3227" fmla="*/ 3518022 w 6537372"/>
              <a:gd name="connsiteY3227" fmla="*/ 421851 h 4991619"/>
              <a:gd name="connsiteX3228" fmla="*/ 3525525 w 6537372"/>
              <a:gd name="connsiteY3228" fmla="*/ 417204 h 4991619"/>
              <a:gd name="connsiteX3229" fmla="*/ 3527132 w 6537372"/>
              <a:gd name="connsiteY3229" fmla="*/ 415775 h 4991619"/>
              <a:gd name="connsiteX3230" fmla="*/ 3527312 w 6537372"/>
              <a:gd name="connsiteY3230" fmla="*/ 411845 h 4991619"/>
              <a:gd name="connsiteX3231" fmla="*/ 3526062 w 6537372"/>
              <a:gd name="connsiteY3231" fmla="*/ 410236 h 4991619"/>
              <a:gd name="connsiteX3232" fmla="*/ 4805164 w 6537372"/>
              <a:gd name="connsiteY3232" fmla="*/ 396122 h 4991619"/>
              <a:gd name="connsiteX3233" fmla="*/ 4795692 w 6537372"/>
              <a:gd name="connsiteY3233" fmla="*/ 402374 h 4991619"/>
              <a:gd name="connsiteX3234" fmla="*/ 4805164 w 6537372"/>
              <a:gd name="connsiteY3234" fmla="*/ 396122 h 4991619"/>
              <a:gd name="connsiteX3235" fmla="*/ 4895034 w 6537372"/>
              <a:gd name="connsiteY3235" fmla="*/ 377719 h 4991619"/>
              <a:gd name="connsiteX3236" fmla="*/ 4876452 w 6537372"/>
              <a:gd name="connsiteY3236" fmla="*/ 384507 h 4991619"/>
              <a:gd name="connsiteX3237" fmla="*/ 4878061 w 6537372"/>
              <a:gd name="connsiteY3237" fmla="*/ 386651 h 4991619"/>
              <a:gd name="connsiteX3238" fmla="*/ 4895034 w 6537372"/>
              <a:gd name="connsiteY3238" fmla="*/ 377719 h 4991619"/>
              <a:gd name="connsiteX3239" fmla="*/ 4844694 w 6537372"/>
              <a:gd name="connsiteY3239" fmla="*/ 372090 h 4991619"/>
              <a:gd name="connsiteX3240" fmla="*/ 4838396 w 6537372"/>
              <a:gd name="connsiteY3240" fmla="*/ 376646 h 4991619"/>
              <a:gd name="connsiteX3241" fmla="*/ 4850723 w 6537372"/>
              <a:gd name="connsiteY3241" fmla="*/ 376646 h 4991619"/>
              <a:gd name="connsiteX3242" fmla="*/ 4844694 w 6537372"/>
              <a:gd name="connsiteY3242" fmla="*/ 372090 h 4991619"/>
              <a:gd name="connsiteX3243" fmla="*/ 4899680 w 6537372"/>
              <a:gd name="connsiteY3243" fmla="*/ 369499 h 4991619"/>
              <a:gd name="connsiteX3244" fmla="*/ 4898965 w 6537372"/>
              <a:gd name="connsiteY3244" fmla="*/ 374860 h 4991619"/>
              <a:gd name="connsiteX3245" fmla="*/ 4905397 w 6537372"/>
              <a:gd name="connsiteY3245" fmla="*/ 376111 h 4991619"/>
              <a:gd name="connsiteX3246" fmla="*/ 4905576 w 6537372"/>
              <a:gd name="connsiteY3246" fmla="*/ 376111 h 4991619"/>
              <a:gd name="connsiteX3247" fmla="*/ 4905219 w 6537372"/>
              <a:gd name="connsiteY3247" fmla="*/ 369857 h 4991619"/>
              <a:gd name="connsiteX3248" fmla="*/ 4899680 w 6537372"/>
              <a:gd name="connsiteY3248" fmla="*/ 369499 h 4991619"/>
              <a:gd name="connsiteX3249" fmla="*/ 4882528 w 6537372"/>
              <a:gd name="connsiteY3249" fmla="*/ 347524 h 4991619"/>
              <a:gd name="connsiteX3250" fmla="*/ 4879132 w 6537372"/>
              <a:gd name="connsiteY3250" fmla="*/ 348773 h 4991619"/>
              <a:gd name="connsiteX3251" fmla="*/ 4878596 w 6537372"/>
              <a:gd name="connsiteY3251" fmla="*/ 353420 h 4991619"/>
              <a:gd name="connsiteX3252" fmla="*/ 4883420 w 6537372"/>
              <a:gd name="connsiteY3252" fmla="*/ 350739 h 4991619"/>
              <a:gd name="connsiteX3253" fmla="*/ 4882528 w 6537372"/>
              <a:gd name="connsiteY3253" fmla="*/ 347524 h 4991619"/>
              <a:gd name="connsiteX3254" fmla="*/ 4894855 w 6537372"/>
              <a:gd name="connsiteY3254" fmla="*/ 338233 h 4991619"/>
              <a:gd name="connsiteX3255" fmla="*/ 4891104 w 6537372"/>
              <a:gd name="connsiteY3255" fmla="*/ 342878 h 4991619"/>
              <a:gd name="connsiteX3256" fmla="*/ 4892711 w 6537372"/>
              <a:gd name="connsiteY3256" fmla="*/ 344307 h 4991619"/>
              <a:gd name="connsiteX3257" fmla="*/ 4897358 w 6537372"/>
              <a:gd name="connsiteY3257" fmla="*/ 340197 h 4991619"/>
              <a:gd name="connsiteX3258" fmla="*/ 4894855 w 6537372"/>
              <a:gd name="connsiteY3258" fmla="*/ 338233 h 4991619"/>
              <a:gd name="connsiteX3259" fmla="*/ 4939880 w 6537372"/>
              <a:gd name="connsiteY3259" fmla="*/ 316434 h 4991619"/>
              <a:gd name="connsiteX3260" fmla="*/ 4913795 w 6537372"/>
              <a:gd name="connsiteY3260" fmla="*/ 335194 h 4991619"/>
              <a:gd name="connsiteX3261" fmla="*/ 4939880 w 6537372"/>
              <a:gd name="connsiteY3261" fmla="*/ 316434 h 4991619"/>
              <a:gd name="connsiteX3262" fmla="*/ 5321698 w 6537372"/>
              <a:gd name="connsiteY3262" fmla="*/ 291242 h 4991619"/>
              <a:gd name="connsiteX3263" fmla="*/ 5319734 w 6537372"/>
              <a:gd name="connsiteY3263" fmla="*/ 292494 h 4991619"/>
              <a:gd name="connsiteX3264" fmla="*/ 5323486 w 6537372"/>
              <a:gd name="connsiteY3264" fmla="*/ 298567 h 4991619"/>
              <a:gd name="connsiteX3265" fmla="*/ 5323486 w 6537372"/>
              <a:gd name="connsiteY3265" fmla="*/ 298389 h 4991619"/>
              <a:gd name="connsiteX3266" fmla="*/ 5325808 w 6537372"/>
              <a:gd name="connsiteY3266" fmla="*/ 296960 h 4991619"/>
              <a:gd name="connsiteX3267" fmla="*/ 5321698 w 6537372"/>
              <a:gd name="connsiteY3267" fmla="*/ 291242 h 4991619"/>
              <a:gd name="connsiteX3268" fmla="*/ 5338136 w 6537372"/>
              <a:gd name="connsiteY3268" fmla="*/ 288025 h 4991619"/>
              <a:gd name="connsiteX3269" fmla="*/ 5329382 w 6537372"/>
              <a:gd name="connsiteY3269" fmla="*/ 291420 h 4991619"/>
              <a:gd name="connsiteX3270" fmla="*/ 5330454 w 6537372"/>
              <a:gd name="connsiteY3270" fmla="*/ 294816 h 4991619"/>
              <a:gd name="connsiteX3271" fmla="*/ 5339031 w 6537372"/>
              <a:gd name="connsiteY3271" fmla="*/ 289635 h 4991619"/>
              <a:gd name="connsiteX3272" fmla="*/ 5338136 w 6537372"/>
              <a:gd name="connsiteY3272" fmla="*/ 288025 h 4991619"/>
              <a:gd name="connsiteX3273" fmla="*/ 4991874 w 6537372"/>
              <a:gd name="connsiteY3273" fmla="*/ 284632 h 4991619"/>
              <a:gd name="connsiteX3274" fmla="*/ 4960070 w 6537372"/>
              <a:gd name="connsiteY3274" fmla="*/ 297496 h 4991619"/>
              <a:gd name="connsiteX3275" fmla="*/ 4945241 w 6537372"/>
              <a:gd name="connsiteY3275" fmla="*/ 310539 h 4991619"/>
              <a:gd name="connsiteX3276" fmla="*/ 4949886 w 6537372"/>
              <a:gd name="connsiteY3276" fmla="*/ 311432 h 4991619"/>
              <a:gd name="connsiteX3277" fmla="*/ 4979724 w 6537372"/>
              <a:gd name="connsiteY3277" fmla="*/ 294994 h 4991619"/>
              <a:gd name="connsiteX3278" fmla="*/ 4991874 w 6537372"/>
              <a:gd name="connsiteY3278" fmla="*/ 284632 h 4991619"/>
              <a:gd name="connsiteX3279" fmla="*/ 5021532 w 6537372"/>
              <a:gd name="connsiteY3279" fmla="*/ 270517 h 4991619"/>
              <a:gd name="connsiteX3280" fmla="*/ 4997591 w 6537372"/>
              <a:gd name="connsiteY3280" fmla="*/ 282488 h 4991619"/>
              <a:gd name="connsiteX3281" fmla="*/ 4999020 w 6537372"/>
              <a:gd name="connsiteY3281" fmla="*/ 284632 h 4991619"/>
              <a:gd name="connsiteX3282" fmla="*/ 5021532 w 6537372"/>
              <a:gd name="connsiteY3282" fmla="*/ 270517 h 4991619"/>
              <a:gd name="connsiteX3283" fmla="*/ 5079243 w 6537372"/>
              <a:gd name="connsiteY3283" fmla="*/ 255150 h 4991619"/>
              <a:gd name="connsiteX3284" fmla="*/ 5077992 w 6537372"/>
              <a:gd name="connsiteY3284" fmla="*/ 259618 h 4991619"/>
              <a:gd name="connsiteX3285" fmla="*/ 5082816 w 6537372"/>
              <a:gd name="connsiteY3285" fmla="*/ 260689 h 4991619"/>
              <a:gd name="connsiteX3286" fmla="*/ 5083710 w 6537372"/>
              <a:gd name="connsiteY3286" fmla="*/ 255150 h 4991619"/>
              <a:gd name="connsiteX3287" fmla="*/ 5079243 w 6537372"/>
              <a:gd name="connsiteY3287" fmla="*/ 255150 h 4991619"/>
              <a:gd name="connsiteX3288" fmla="*/ 5306156 w 6537372"/>
              <a:gd name="connsiteY3288" fmla="*/ 250862 h 4991619"/>
              <a:gd name="connsiteX3289" fmla="*/ 5288645 w 6537372"/>
              <a:gd name="connsiteY3289" fmla="*/ 266407 h 4991619"/>
              <a:gd name="connsiteX3290" fmla="*/ 5289360 w 6537372"/>
              <a:gd name="connsiteY3290" fmla="*/ 268014 h 4991619"/>
              <a:gd name="connsiteX3291" fmla="*/ 5300438 w 6537372"/>
              <a:gd name="connsiteY3291" fmla="*/ 265336 h 4991619"/>
              <a:gd name="connsiteX3292" fmla="*/ 5306690 w 6537372"/>
              <a:gd name="connsiteY3292" fmla="*/ 272482 h 4991619"/>
              <a:gd name="connsiteX3293" fmla="*/ 5306870 w 6537372"/>
              <a:gd name="connsiteY3293" fmla="*/ 272302 h 4991619"/>
              <a:gd name="connsiteX3294" fmla="*/ 5313837 w 6537372"/>
              <a:gd name="connsiteY3294" fmla="*/ 256579 h 4991619"/>
              <a:gd name="connsiteX3295" fmla="*/ 5304190 w 6537372"/>
              <a:gd name="connsiteY3295" fmla="*/ 262477 h 4991619"/>
              <a:gd name="connsiteX3296" fmla="*/ 5302224 w 6537372"/>
              <a:gd name="connsiteY3296" fmla="*/ 260511 h 4991619"/>
              <a:gd name="connsiteX3297" fmla="*/ 5308120 w 6537372"/>
              <a:gd name="connsiteY3297" fmla="*/ 252291 h 4991619"/>
              <a:gd name="connsiteX3298" fmla="*/ 5306156 w 6537372"/>
              <a:gd name="connsiteY3298" fmla="*/ 250862 h 4991619"/>
              <a:gd name="connsiteX3299" fmla="*/ 5153570 w 6537372"/>
              <a:gd name="connsiteY3299" fmla="*/ 219952 h 4991619"/>
              <a:gd name="connsiteX3300" fmla="*/ 5140706 w 6537372"/>
              <a:gd name="connsiteY3300" fmla="*/ 224777 h 4991619"/>
              <a:gd name="connsiteX3301" fmla="*/ 5153570 w 6537372"/>
              <a:gd name="connsiteY3301" fmla="*/ 219952 h 4991619"/>
              <a:gd name="connsiteX3302" fmla="*/ 5122838 w 6537372"/>
              <a:gd name="connsiteY3302" fmla="*/ 206373 h 4991619"/>
              <a:gd name="connsiteX3303" fmla="*/ 5114262 w 6537372"/>
              <a:gd name="connsiteY3303" fmla="*/ 209947 h 4991619"/>
              <a:gd name="connsiteX3304" fmla="*/ 5115870 w 6537372"/>
              <a:gd name="connsiteY3304" fmla="*/ 212449 h 4991619"/>
              <a:gd name="connsiteX3305" fmla="*/ 5122838 w 6537372"/>
              <a:gd name="connsiteY3305" fmla="*/ 206373 h 4991619"/>
              <a:gd name="connsiteX3306" fmla="*/ 4503210 w 6537372"/>
              <a:gd name="connsiteY3306" fmla="*/ 9 h 4991619"/>
              <a:gd name="connsiteX3307" fmla="*/ 4508034 w 6537372"/>
              <a:gd name="connsiteY3307" fmla="*/ 3762 h 4991619"/>
              <a:gd name="connsiteX3308" fmla="*/ 4506068 w 6537372"/>
              <a:gd name="connsiteY3308" fmla="*/ 7692 h 4991619"/>
              <a:gd name="connsiteX3309" fmla="*/ 4504282 w 6537372"/>
              <a:gd name="connsiteY3309" fmla="*/ 9121 h 4991619"/>
              <a:gd name="connsiteX3310" fmla="*/ 4498385 w 6537372"/>
              <a:gd name="connsiteY3310" fmla="*/ 20200 h 4991619"/>
              <a:gd name="connsiteX3311" fmla="*/ 4493382 w 6537372"/>
              <a:gd name="connsiteY3311" fmla="*/ 31276 h 4991619"/>
              <a:gd name="connsiteX3312" fmla="*/ 4467654 w 6537372"/>
              <a:gd name="connsiteY3312" fmla="*/ 46999 h 4991619"/>
              <a:gd name="connsiteX3313" fmla="*/ 4467476 w 6537372"/>
              <a:gd name="connsiteY3313" fmla="*/ 46643 h 4991619"/>
              <a:gd name="connsiteX3314" fmla="*/ 4438352 w 6537372"/>
              <a:gd name="connsiteY3314" fmla="*/ 65403 h 4991619"/>
              <a:gd name="connsiteX3315" fmla="*/ 4434244 w 6537372"/>
              <a:gd name="connsiteY3315" fmla="*/ 73264 h 4991619"/>
              <a:gd name="connsiteX3316" fmla="*/ 4438174 w 6537372"/>
              <a:gd name="connsiteY3316" fmla="*/ 79875 h 4991619"/>
              <a:gd name="connsiteX3317" fmla="*/ 4442105 w 6537372"/>
              <a:gd name="connsiteY3317" fmla="*/ 81841 h 4991619"/>
              <a:gd name="connsiteX3318" fmla="*/ 4443354 w 6537372"/>
              <a:gd name="connsiteY3318" fmla="*/ 85770 h 4991619"/>
              <a:gd name="connsiteX3319" fmla="*/ 4442284 w 6537372"/>
              <a:gd name="connsiteY3319" fmla="*/ 87022 h 4991619"/>
              <a:gd name="connsiteX3320" fmla="*/ 4433529 w 6537372"/>
              <a:gd name="connsiteY3320" fmla="*/ 88987 h 4991619"/>
              <a:gd name="connsiteX3321" fmla="*/ 4419592 w 6537372"/>
              <a:gd name="connsiteY3321" fmla="*/ 97027 h 4991619"/>
              <a:gd name="connsiteX3322" fmla="*/ 4411374 w 6537372"/>
              <a:gd name="connsiteY3322" fmla="*/ 99171 h 4991619"/>
              <a:gd name="connsiteX3323" fmla="*/ 4407442 w 6537372"/>
              <a:gd name="connsiteY3323" fmla="*/ 104532 h 4991619"/>
              <a:gd name="connsiteX3324" fmla="*/ 4397795 w 6537372"/>
              <a:gd name="connsiteY3324" fmla="*/ 110784 h 4991619"/>
              <a:gd name="connsiteX3325" fmla="*/ 4393327 w 6537372"/>
              <a:gd name="connsiteY3325" fmla="*/ 115787 h 4991619"/>
              <a:gd name="connsiteX3326" fmla="*/ 4387790 w 6537372"/>
              <a:gd name="connsiteY3326" fmla="*/ 122578 h 4991619"/>
              <a:gd name="connsiteX3327" fmla="*/ 4375818 w 6537372"/>
              <a:gd name="connsiteY3327" fmla="*/ 129546 h 4991619"/>
              <a:gd name="connsiteX3328" fmla="*/ 4371352 w 6537372"/>
              <a:gd name="connsiteY3328" fmla="*/ 141516 h 4991619"/>
              <a:gd name="connsiteX3329" fmla="*/ 4376354 w 6537372"/>
              <a:gd name="connsiteY3329" fmla="*/ 145447 h 4991619"/>
              <a:gd name="connsiteX3330" fmla="*/ 4378318 w 6537372"/>
              <a:gd name="connsiteY3330" fmla="*/ 146340 h 4991619"/>
              <a:gd name="connsiteX3331" fmla="*/ 4376174 w 6537372"/>
              <a:gd name="connsiteY3331" fmla="*/ 149735 h 4991619"/>
              <a:gd name="connsiteX3332" fmla="*/ 4371886 w 6537372"/>
              <a:gd name="connsiteY3332" fmla="*/ 150628 h 4991619"/>
              <a:gd name="connsiteX3333" fmla="*/ 4368134 w 6537372"/>
              <a:gd name="connsiteY3333" fmla="*/ 151879 h 4991619"/>
              <a:gd name="connsiteX3334" fmla="*/ 4362239 w 6537372"/>
              <a:gd name="connsiteY3334" fmla="*/ 158668 h 4991619"/>
              <a:gd name="connsiteX3335" fmla="*/ 4346516 w 6537372"/>
              <a:gd name="connsiteY3335" fmla="*/ 168317 h 4991619"/>
              <a:gd name="connsiteX3336" fmla="*/ 4337225 w 6537372"/>
              <a:gd name="connsiteY3336" fmla="*/ 177964 h 4991619"/>
              <a:gd name="connsiteX3337" fmla="*/ 4329900 w 6537372"/>
              <a:gd name="connsiteY3337" fmla="*/ 183147 h 4991619"/>
              <a:gd name="connsiteX3338" fmla="*/ 4313104 w 6537372"/>
              <a:gd name="connsiteY3338" fmla="*/ 189221 h 4991619"/>
              <a:gd name="connsiteX3339" fmla="*/ 4301133 w 6537372"/>
              <a:gd name="connsiteY3339" fmla="*/ 196368 h 4991619"/>
              <a:gd name="connsiteX3340" fmla="*/ 4288627 w 6537372"/>
              <a:gd name="connsiteY3340" fmla="*/ 211734 h 4991619"/>
              <a:gd name="connsiteX3341" fmla="*/ 4284160 w 6537372"/>
              <a:gd name="connsiteY3341" fmla="*/ 216737 h 4991619"/>
              <a:gd name="connsiteX3342" fmla="*/ 4262898 w 6537372"/>
              <a:gd name="connsiteY3342" fmla="*/ 230673 h 4991619"/>
              <a:gd name="connsiteX3343" fmla="*/ 4260932 w 6537372"/>
              <a:gd name="connsiteY3343" fmla="*/ 236568 h 4991619"/>
              <a:gd name="connsiteX3344" fmla="*/ 4260576 w 6537372"/>
              <a:gd name="connsiteY3344" fmla="*/ 240678 h 4991619"/>
              <a:gd name="connsiteX3345" fmla="*/ 4250212 w 6537372"/>
              <a:gd name="connsiteY3345" fmla="*/ 252650 h 4991619"/>
              <a:gd name="connsiteX3346" fmla="*/ 4242709 w 6537372"/>
              <a:gd name="connsiteY3346" fmla="*/ 257831 h 4991619"/>
              <a:gd name="connsiteX3347" fmla="*/ 4238956 w 6537372"/>
              <a:gd name="connsiteY3347" fmla="*/ 263192 h 4991619"/>
              <a:gd name="connsiteX3348" fmla="*/ 4241814 w 6537372"/>
              <a:gd name="connsiteY3348" fmla="*/ 284452 h 4991619"/>
              <a:gd name="connsiteX3349" fmla="*/ 4248604 w 6537372"/>
              <a:gd name="connsiteY3349" fmla="*/ 295887 h 4991619"/>
              <a:gd name="connsiteX3350" fmla="*/ 4248604 w 6537372"/>
              <a:gd name="connsiteY3350" fmla="*/ 299997 h 4991619"/>
              <a:gd name="connsiteX3351" fmla="*/ 4225376 w 6537372"/>
              <a:gd name="connsiteY3351" fmla="*/ 314469 h 4991619"/>
              <a:gd name="connsiteX3352" fmla="*/ 4220910 w 6537372"/>
              <a:gd name="connsiteY3352" fmla="*/ 314469 h 4991619"/>
              <a:gd name="connsiteX3353" fmla="*/ 4217337 w 6537372"/>
              <a:gd name="connsiteY3353" fmla="*/ 321615 h 4991619"/>
              <a:gd name="connsiteX3354" fmla="*/ 4219839 w 6537372"/>
              <a:gd name="connsiteY3354" fmla="*/ 324118 h 4991619"/>
              <a:gd name="connsiteX3355" fmla="*/ 4221803 w 6537372"/>
              <a:gd name="connsiteY3355" fmla="*/ 325011 h 4991619"/>
              <a:gd name="connsiteX3356" fmla="*/ 4219839 w 6537372"/>
              <a:gd name="connsiteY3356" fmla="*/ 333409 h 4991619"/>
              <a:gd name="connsiteX3357" fmla="*/ 4213764 w 6537372"/>
              <a:gd name="connsiteY3357" fmla="*/ 335553 h 4991619"/>
              <a:gd name="connsiteX3358" fmla="*/ 4210012 w 6537372"/>
              <a:gd name="connsiteY3358" fmla="*/ 336982 h 4991619"/>
              <a:gd name="connsiteX3359" fmla="*/ 4206080 w 6537372"/>
              <a:gd name="connsiteY3359" fmla="*/ 342341 h 4991619"/>
              <a:gd name="connsiteX3360" fmla="*/ 4196433 w 6537372"/>
              <a:gd name="connsiteY3360" fmla="*/ 348773 h 4991619"/>
              <a:gd name="connsiteX3361" fmla="*/ 4191608 w 6537372"/>
              <a:gd name="connsiteY3361" fmla="*/ 355920 h 4991619"/>
              <a:gd name="connsiteX3362" fmla="*/ 4184105 w 6537372"/>
              <a:gd name="connsiteY3362" fmla="*/ 366640 h 4991619"/>
              <a:gd name="connsiteX3363" fmla="*/ 4171241 w 6537372"/>
              <a:gd name="connsiteY3363" fmla="*/ 378970 h 4991619"/>
              <a:gd name="connsiteX3364" fmla="*/ 4163379 w 6537372"/>
              <a:gd name="connsiteY3364" fmla="*/ 383973 h 4991619"/>
              <a:gd name="connsiteX3365" fmla="*/ 4153730 w 6537372"/>
              <a:gd name="connsiteY3365" fmla="*/ 390405 h 4991619"/>
              <a:gd name="connsiteX3366" fmla="*/ 4147298 w 6537372"/>
              <a:gd name="connsiteY3366" fmla="*/ 399516 h 4991619"/>
              <a:gd name="connsiteX3367" fmla="*/ 4149800 w 6537372"/>
              <a:gd name="connsiteY3367" fmla="*/ 403626 h 4991619"/>
              <a:gd name="connsiteX3368" fmla="*/ 4156767 w 6537372"/>
              <a:gd name="connsiteY3368" fmla="*/ 400410 h 4991619"/>
              <a:gd name="connsiteX3369" fmla="*/ 4159984 w 6537372"/>
              <a:gd name="connsiteY3369" fmla="*/ 397372 h 4991619"/>
              <a:gd name="connsiteX3370" fmla="*/ 4165343 w 6537372"/>
              <a:gd name="connsiteY3370" fmla="*/ 399516 h 4991619"/>
              <a:gd name="connsiteX3371" fmla="*/ 4165165 w 6537372"/>
              <a:gd name="connsiteY3371" fmla="*/ 405948 h 4991619"/>
              <a:gd name="connsiteX3372" fmla="*/ 4163199 w 6537372"/>
              <a:gd name="connsiteY3372" fmla="*/ 410058 h 4991619"/>
              <a:gd name="connsiteX3373" fmla="*/ 4151944 w 6537372"/>
              <a:gd name="connsiteY3373" fmla="*/ 426854 h 4991619"/>
              <a:gd name="connsiteX3374" fmla="*/ 4131753 w 6537372"/>
              <a:gd name="connsiteY3374" fmla="*/ 439360 h 4991619"/>
              <a:gd name="connsiteX3375" fmla="*/ 4134256 w 6537372"/>
              <a:gd name="connsiteY3375" fmla="*/ 439360 h 4991619"/>
              <a:gd name="connsiteX3376" fmla="*/ 4144439 w 6537372"/>
              <a:gd name="connsiteY3376" fmla="*/ 437394 h 4991619"/>
              <a:gd name="connsiteX3377" fmla="*/ 4182318 w 6537372"/>
              <a:gd name="connsiteY3377" fmla="*/ 424351 h 4991619"/>
              <a:gd name="connsiteX3378" fmla="*/ 4183032 w 6537372"/>
              <a:gd name="connsiteY3378" fmla="*/ 430427 h 4991619"/>
              <a:gd name="connsiteX3379" fmla="*/ 4161235 w 6537372"/>
              <a:gd name="connsiteY3379" fmla="*/ 438108 h 4991619"/>
              <a:gd name="connsiteX3380" fmla="*/ 4154088 w 6537372"/>
              <a:gd name="connsiteY3380" fmla="*/ 440611 h 4991619"/>
              <a:gd name="connsiteX3381" fmla="*/ 4142474 w 6537372"/>
              <a:gd name="connsiteY3381" fmla="*/ 443648 h 4991619"/>
              <a:gd name="connsiteX3382" fmla="*/ 4137471 w 6537372"/>
              <a:gd name="connsiteY3382" fmla="*/ 445970 h 4991619"/>
              <a:gd name="connsiteX3383" fmla="*/ 4114244 w 6537372"/>
              <a:gd name="connsiteY3383" fmla="*/ 457585 h 4991619"/>
              <a:gd name="connsiteX3384" fmla="*/ 4112815 w 6537372"/>
              <a:gd name="connsiteY3384" fmla="*/ 458120 h 4991619"/>
              <a:gd name="connsiteX3385" fmla="*/ 4109242 w 6537372"/>
              <a:gd name="connsiteY3385" fmla="*/ 463837 h 4991619"/>
              <a:gd name="connsiteX3386" fmla="*/ 4103881 w 6537372"/>
              <a:gd name="connsiteY3386" fmla="*/ 467769 h 4991619"/>
              <a:gd name="connsiteX3387" fmla="*/ 4103524 w 6537372"/>
              <a:gd name="connsiteY3387" fmla="*/ 469555 h 4991619"/>
              <a:gd name="connsiteX3388" fmla="*/ 4108705 w 6537372"/>
              <a:gd name="connsiteY3388" fmla="*/ 472593 h 4991619"/>
              <a:gd name="connsiteX3389" fmla="*/ 4099058 w 6537372"/>
              <a:gd name="connsiteY3389" fmla="*/ 478845 h 4991619"/>
              <a:gd name="connsiteX3390" fmla="*/ 4157662 w 6537372"/>
              <a:gd name="connsiteY3390" fmla="*/ 466517 h 4991619"/>
              <a:gd name="connsiteX3391" fmla="*/ 4148906 w 6537372"/>
              <a:gd name="connsiteY3391" fmla="*/ 476523 h 4991619"/>
              <a:gd name="connsiteX3392" fmla="*/ 4161414 w 6537372"/>
              <a:gd name="connsiteY3392" fmla="*/ 471879 h 4991619"/>
              <a:gd name="connsiteX3393" fmla="*/ 4223591 w 6537372"/>
              <a:gd name="connsiteY3393" fmla="*/ 452939 h 4991619"/>
              <a:gd name="connsiteX3394" fmla="*/ 4218766 w 6537372"/>
              <a:gd name="connsiteY3394" fmla="*/ 459192 h 4991619"/>
              <a:gd name="connsiteX3395" fmla="*/ 4225376 w 6537372"/>
              <a:gd name="connsiteY3395" fmla="*/ 462944 h 4991619"/>
              <a:gd name="connsiteX3396" fmla="*/ 4194467 w 6537372"/>
              <a:gd name="connsiteY3396" fmla="*/ 474023 h 4991619"/>
              <a:gd name="connsiteX3397" fmla="*/ 4191608 w 6537372"/>
              <a:gd name="connsiteY3397" fmla="*/ 473486 h 4991619"/>
              <a:gd name="connsiteX3398" fmla="*/ 4174456 w 6537372"/>
              <a:gd name="connsiteY3398" fmla="*/ 479918 h 4991619"/>
              <a:gd name="connsiteX3399" fmla="*/ 4163379 w 6537372"/>
              <a:gd name="connsiteY3399" fmla="*/ 484921 h 4991619"/>
              <a:gd name="connsiteX3400" fmla="*/ 4169453 w 6537372"/>
              <a:gd name="connsiteY3400" fmla="*/ 477238 h 4991619"/>
              <a:gd name="connsiteX3401" fmla="*/ 4150515 w 6537372"/>
              <a:gd name="connsiteY3401" fmla="*/ 487602 h 4991619"/>
              <a:gd name="connsiteX3402" fmla="*/ 4139436 w 6537372"/>
              <a:gd name="connsiteY3402" fmla="*/ 494212 h 4991619"/>
              <a:gd name="connsiteX3403" fmla="*/ 4135507 w 6537372"/>
              <a:gd name="connsiteY3403" fmla="*/ 497785 h 4991619"/>
              <a:gd name="connsiteX3404" fmla="*/ 4134256 w 6537372"/>
              <a:gd name="connsiteY3404" fmla="*/ 499571 h 4991619"/>
              <a:gd name="connsiteX3405" fmla="*/ 4136042 w 6537372"/>
              <a:gd name="connsiteY3405" fmla="*/ 504932 h 4991619"/>
              <a:gd name="connsiteX3406" fmla="*/ 4165702 w 6537372"/>
              <a:gd name="connsiteY3406" fmla="*/ 492068 h 4991619"/>
              <a:gd name="connsiteX3407" fmla="*/ 4196970 w 6537372"/>
              <a:gd name="connsiteY3407" fmla="*/ 480096 h 4991619"/>
              <a:gd name="connsiteX3408" fmla="*/ 4228950 w 6537372"/>
              <a:gd name="connsiteY3408" fmla="*/ 472057 h 4991619"/>
              <a:gd name="connsiteX3409" fmla="*/ 4231630 w 6537372"/>
              <a:gd name="connsiteY3409" fmla="*/ 478489 h 4991619"/>
              <a:gd name="connsiteX3410" fmla="*/ 4226628 w 6537372"/>
              <a:gd name="connsiteY3410" fmla="*/ 481170 h 4991619"/>
              <a:gd name="connsiteX3411" fmla="*/ 4197862 w 6537372"/>
              <a:gd name="connsiteY3411" fmla="*/ 491353 h 4991619"/>
              <a:gd name="connsiteX3412" fmla="*/ 4191252 w 6537372"/>
              <a:gd name="connsiteY3412" fmla="*/ 499571 h 4991619"/>
              <a:gd name="connsiteX3413" fmla="*/ 4183210 w 6537372"/>
              <a:gd name="connsiteY3413" fmla="*/ 514938 h 4991619"/>
              <a:gd name="connsiteX3414" fmla="*/ 4182496 w 6537372"/>
              <a:gd name="connsiteY3414" fmla="*/ 519940 h 4991619"/>
              <a:gd name="connsiteX3415" fmla="*/ 4164987 w 6537372"/>
              <a:gd name="connsiteY3415" fmla="*/ 515831 h 4991619"/>
              <a:gd name="connsiteX3416" fmla="*/ 4155518 w 6537372"/>
              <a:gd name="connsiteY3416" fmla="*/ 521548 h 4991619"/>
              <a:gd name="connsiteX3417" fmla="*/ 4158018 w 6537372"/>
              <a:gd name="connsiteY3417" fmla="*/ 527624 h 4991619"/>
              <a:gd name="connsiteX3418" fmla="*/ 4134792 w 6537372"/>
              <a:gd name="connsiteY3418" fmla="*/ 536556 h 4991619"/>
              <a:gd name="connsiteX3419" fmla="*/ 4135685 w 6537372"/>
              <a:gd name="connsiteY3419" fmla="*/ 547277 h 4991619"/>
              <a:gd name="connsiteX3420" fmla="*/ 4132290 w 6537372"/>
              <a:gd name="connsiteY3420" fmla="*/ 559784 h 4991619"/>
              <a:gd name="connsiteX3421" fmla="*/ 4124250 w 6537372"/>
              <a:gd name="connsiteY3421" fmla="*/ 565858 h 4991619"/>
              <a:gd name="connsiteX3422" fmla="*/ 4114066 w 6537372"/>
              <a:gd name="connsiteY3422" fmla="*/ 568002 h 4991619"/>
              <a:gd name="connsiteX3423" fmla="*/ 4104776 w 6537372"/>
              <a:gd name="connsiteY3423" fmla="*/ 572649 h 4991619"/>
              <a:gd name="connsiteX3424" fmla="*/ 4091553 w 6537372"/>
              <a:gd name="connsiteY3424" fmla="*/ 578186 h 4991619"/>
              <a:gd name="connsiteX3425" fmla="*/ 4076008 w 6537372"/>
              <a:gd name="connsiteY3425" fmla="*/ 586406 h 4991619"/>
              <a:gd name="connsiteX3426" fmla="*/ 4074937 w 6537372"/>
              <a:gd name="connsiteY3426" fmla="*/ 591945 h 4991619"/>
              <a:gd name="connsiteX3427" fmla="*/ 4087086 w 6537372"/>
              <a:gd name="connsiteY3427" fmla="*/ 586406 h 4991619"/>
              <a:gd name="connsiteX3428" fmla="*/ 4091911 w 6537372"/>
              <a:gd name="connsiteY3428" fmla="*/ 591587 h 4991619"/>
              <a:gd name="connsiteX3429" fmla="*/ 4104061 w 6537372"/>
              <a:gd name="connsiteY3429" fmla="*/ 584798 h 4991619"/>
              <a:gd name="connsiteX3430" fmla="*/ 4130146 w 6537372"/>
              <a:gd name="connsiteY3430" fmla="*/ 572827 h 4991619"/>
              <a:gd name="connsiteX3431" fmla="*/ 4144083 w 6537372"/>
              <a:gd name="connsiteY3431" fmla="*/ 558890 h 4991619"/>
              <a:gd name="connsiteX3432" fmla="*/ 4140330 w 6537372"/>
              <a:gd name="connsiteY3432" fmla="*/ 555853 h 4991619"/>
              <a:gd name="connsiteX3433" fmla="*/ 4138544 w 6537372"/>
              <a:gd name="connsiteY3433" fmla="*/ 548706 h 4991619"/>
              <a:gd name="connsiteX3434" fmla="*/ 4143725 w 6537372"/>
              <a:gd name="connsiteY3434" fmla="*/ 546206 h 4991619"/>
              <a:gd name="connsiteX3435" fmla="*/ 4154982 w 6537372"/>
              <a:gd name="connsiteY3435" fmla="*/ 534056 h 4991619"/>
              <a:gd name="connsiteX3436" fmla="*/ 4165702 w 6537372"/>
              <a:gd name="connsiteY3436" fmla="*/ 525480 h 4991619"/>
              <a:gd name="connsiteX3437" fmla="*/ 4177315 w 6537372"/>
              <a:gd name="connsiteY3437" fmla="*/ 529946 h 4991619"/>
              <a:gd name="connsiteX3438" fmla="*/ 4164450 w 6537372"/>
              <a:gd name="connsiteY3438" fmla="*/ 549421 h 4991619"/>
              <a:gd name="connsiteX3439" fmla="*/ 4185534 w 6537372"/>
              <a:gd name="connsiteY3439" fmla="*/ 535663 h 4991619"/>
              <a:gd name="connsiteX3440" fmla="*/ 4208224 w 6537372"/>
              <a:gd name="connsiteY3440" fmla="*/ 516904 h 4991619"/>
              <a:gd name="connsiteX3441" fmla="*/ 4209834 w 6537372"/>
              <a:gd name="connsiteY3441" fmla="*/ 505469 h 4991619"/>
              <a:gd name="connsiteX3442" fmla="*/ 4221984 w 6537372"/>
              <a:gd name="connsiteY3442" fmla="*/ 521726 h 4991619"/>
              <a:gd name="connsiteX3443" fmla="*/ 4209297 w 6537372"/>
              <a:gd name="connsiteY3443" fmla="*/ 530839 h 4991619"/>
              <a:gd name="connsiteX3444" fmla="*/ 4210368 w 6537372"/>
              <a:gd name="connsiteY3444" fmla="*/ 533698 h 4991619"/>
              <a:gd name="connsiteX3445" fmla="*/ 4239850 w 6537372"/>
              <a:gd name="connsiteY3445" fmla="*/ 525300 h 4991619"/>
              <a:gd name="connsiteX3446" fmla="*/ 4239850 w 6537372"/>
              <a:gd name="connsiteY3446" fmla="*/ 522621 h 4991619"/>
              <a:gd name="connsiteX3447" fmla="*/ 4230380 w 6537372"/>
              <a:gd name="connsiteY3447" fmla="*/ 519404 h 4991619"/>
              <a:gd name="connsiteX3448" fmla="*/ 4252000 w 6537372"/>
              <a:gd name="connsiteY3448" fmla="*/ 514760 h 4991619"/>
              <a:gd name="connsiteX3449" fmla="*/ 4258252 w 6537372"/>
              <a:gd name="connsiteY3449" fmla="*/ 526551 h 4991619"/>
              <a:gd name="connsiteX3450" fmla="*/ 4254144 w 6537372"/>
              <a:gd name="connsiteY3450" fmla="*/ 529410 h 4991619"/>
              <a:gd name="connsiteX3451" fmla="*/ 4248783 w 6537372"/>
              <a:gd name="connsiteY3451" fmla="*/ 518868 h 4991619"/>
              <a:gd name="connsiteX3452" fmla="*/ 4244495 w 6537372"/>
              <a:gd name="connsiteY3452" fmla="*/ 523870 h 4991619"/>
              <a:gd name="connsiteX3453" fmla="*/ 4239314 w 6537372"/>
              <a:gd name="connsiteY3453" fmla="*/ 533519 h 4991619"/>
              <a:gd name="connsiteX3454" fmla="*/ 4224306 w 6537372"/>
              <a:gd name="connsiteY3454" fmla="*/ 541381 h 4991619"/>
              <a:gd name="connsiteX3455" fmla="*/ 4221803 w 6537372"/>
              <a:gd name="connsiteY3455" fmla="*/ 541559 h 4991619"/>
              <a:gd name="connsiteX3456" fmla="*/ 4213586 w 6537372"/>
              <a:gd name="connsiteY3456" fmla="*/ 542632 h 4991619"/>
              <a:gd name="connsiteX3457" fmla="*/ 4190894 w 6537372"/>
              <a:gd name="connsiteY3457" fmla="*/ 556031 h 4991619"/>
              <a:gd name="connsiteX3458" fmla="*/ 4185891 w 6537372"/>
              <a:gd name="connsiteY3458" fmla="*/ 547991 h 4991619"/>
              <a:gd name="connsiteX3459" fmla="*/ 4179995 w 6537372"/>
              <a:gd name="connsiteY3459" fmla="*/ 559963 h 4991619"/>
              <a:gd name="connsiteX3460" fmla="*/ 4165165 w 6537372"/>
              <a:gd name="connsiteY3460" fmla="*/ 563714 h 4991619"/>
              <a:gd name="connsiteX3461" fmla="*/ 4167668 w 6537372"/>
              <a:gd name="connsiteY3461" fmla="*/ 556746 h 4991619"/>
              <a:gd name="connsiteX3462" fmla="*/ 4163379 w 6537372"/>
              <a:gd name="connsiteY3462" fmla="*/ 557460 h 4991619"/>
              <a:gd name="connsiteX3463" fmla="*/ 4145154 w 6537372"/>
              <a:gd name="connsiteY3463" fmla="*/ 574078 h 4991619"/>
              <a:gd name="connsiteX3464" fmla="*/ 4139615 w 6537372"/>
              <a:gd name="connsiteY3464" fmla="*/ 580867 h 4991619"/>
              <a:gd name="connsiteX3465" fmla="*/ 4145512 w 6537372"/>
              <a:gd name="connsiteY3465" fmla="*/ 580867 h 4991619"/>
              <a:gd name="connsiteX3466" fmla="*/ 4182318 w 6537372"/>
              <a:gd name="connsiteY3466" fmla="*/ 564607 h 4991619"/>
              <a:gd name="connsiteX3467" fmla="*/ 4190894 w 6537372"/>
              <a:gd name="connsiteY3467" fmla="*/ 563358 h 4991619"/>
              <a:gd name="connsiteX3468" fmla="*/ 4219659 w 6537372"/>
              <a:gd name="connsiteY3468" fmla="*/ 553172 h 4991619"/>
              <a:gd name="connsiteX3469" fmla="*/ 4224128 w 6537372"/>
              <a:gd name="connsiteY3469" fmla="*/ 552101 h 4991619"/>
              <a:gd name="connsiteX3470" fmla="*/ 4229486 w 6537372"/>
              <a:gd name="connsiteY3470" fmla="*/ 558890 h 4991619"/>
              <a:gd name="connsiteX3471" fmla="*/ 4215371 w 6537372"/>
              <a:gd name="connsiteY3471" fmla="*/ 559426 h 4991619"/>
              <a:gd name="connsiteX3472" fmla="*/ 4203044 w 6537372"/>
              <a:gd name="connsiteY3472" fmla="*/ 577652 h 4991619"/>
              <a:gd name="connsiteX3473" fmla="*/ 4194646 w 6537372"/>
              <a:gd name="connsiteY3473" fmla="*/ 597126 h 4991619"/>
              <a:gd name="connsiteX3474" fmla="*/ 4181246 w 6537372"/>
              <a:gd name="connsiteY3474" fmla="*/ 600700 h 4991619"/>
              <a:gd name="connsiteX3475" fmla="*/ 4174100 w 6537372"/>
              <a:gd name="connsiteY3475" fmla="*/ 605524 h 4991619"/>
              <a:gd name="connsiteX3476" fmla="*/ 4180888 w 6537372"/>
              <a:gd name="connsiteY3476" fmla="*/ 613027 h 4991619"/>
              <a:gd name="connsiteX3477" fmla="*/ 4184640 w 6537372"/>
              <a:gd name="connsiteY3477" fmla="*/ 612134 h 4991619"/>
              <a:gd name="connsiteX3478" fmla="*/ 4182139 w 6537372"/>
              <a:gd name="connsiteY3478" fmla="*/ 614815 h 4991619"/>
              <a:gd name="connsiteX3479" fmla="*/ 4185891 w 6537372"/>
              <a:gd name="connsiteY3479" fmla="*/ 620711 h 4991619"/>
              <a:gd name="connsiteX3480" fmla="*/ 4536622 w 6537372"/>
              <a:gd name="connsiteY3480" fmla="*/ 469913 h 4991619"/>
              <a:gd name="connsiteX3481" fmla="*/ 4598798 w 6537372"/>
              <a:gd name="connsiteY3481" fmla="*/ 495998 h 4991619"/>
              <a:gd name="connsiteX3482" fmla="*/ 4600228 w 6537372"/>
              <a:gd name="connsiteY3482" fmla="*/ 495463 h 4991619"/>
              <a:gd name="connsiteX3483" fmla="*/ 4599872 w 6537372"/>
              <a:gd name="connsiteY3483" fmla="*/ 497963 h 4991619"/>
              <a:gd name="connsiteX3484" fmla="*/ 4602372 w 6537372"/>
              <a:gd name="connsiteY3484" fmla="*/ 502610 h 4991619"/>
              <a:gd name="connsiteX3485" fmla="*/ 4608446 w 6537372"/>
              <a:gd name="connsiteY3485" fmla="*/ 499751 h 4991619"/>
              <a:gd name="connsiteX3486" fmla="*/ 4612198 w 6537372"/>
              <a:gd name="connsiteY3486" fmla="*/ 497785 h 4991619"/>
              <a:gd name="connsiteX3487" fmla="*/ 4616488 w 6537372"/>
              <a:gd name="connsiteY3487" fmla="*/ 495641 h 4991619"/>
              <a:gd name="connsiteX3488" fmla="*/ 4609697 w 6537372"/>
              <a:gd name="connsiteY3488" fmla="*/ 494390 h 4991619"/>
              <a:gd name="connsiteX3489" fmla="*/ 4628994 w 6537372"/>
              <a:gd name="connsiteY3489" fmla="*/ 488673 h 4991619"/>
              <a:gd name="connsiteX3490" fmla="*/ 4633818 w 6537372"/>
              <a:gd name="connsiteY3490" fmla="*/ 487065 h 4991619"/>
              <a:gd name="connsiteX3491" fmla="*/ 4642036 w 6537372"/>
              <a:gd name="connsiteY3491" fmla="*/ 482062 h 4991619"/>
              <a:gd name="connsiteX3492" fmla="*/ 4629352 w 6537372"/>
              <a:gd name="connsiteY3492" fmla="*/ 497427 h 4991619"/>
              <a:gd name="connsiteX3493" fmla="*/ 4637214 w 6537372"/>
              <a:gd name="connsiteY3493" fmla="*/ 499393 h 4991619"/>
              <a:gd name="connsiteX3494" fmla="*/ 4641322 w 6537372"/>
              <a:gd name="connsiteY3494" fmla="*/ 516545 h 4991619"/>
              <a:gd name="connsiteX3495" fmla="*/ 4660618 w 6537372"/>
              <a:gd name="connsiteY3495" fmla="*/ 502788 h 4991619"/>
              <a:gd name="connsiteX3496" fmla="*/ 4662942 w 6537372"/>
              <a:gd name="connsiteY3496" fmla="*/ 501537 h 4991619"/>
              <a:gd name="connsiteX3497" fmla="*/ 4684204 w 6537372"/>
              <a:gd name="connsiteY3497" fmla="*/ 484028 h 4991619"/>
              <a:gd name="connsiteX3498" fmla="*/ 4686346 w 6537372"/>
              <a:gd name="connsiteY3498" fmla="*/ 479740 h 4991619"/>
              <a:gd name="connsiteX3499" fmla="*/ 4688312 w 6537372"/>
              <a:gd name="connsiteY3499" fmla="*/ 480633 h 4991619"/>
              <a:gd name="connsiteX3500" fmla="*/ 4688312 w 6537372"/>
              <a:gd name="connsiteY3500" fmla="*/ 481526 h 4991619"/>
              <a:gd name="connsiteX3501" fmla="*/ 4693136 w 6537372"/>
              <a:gd name="connsiteY3501" fmla="*/ 474557 h 4991619"/>
              <a:gd name="connsiteX3502" fmla="*/ 4701354 w 6537372"/>
              <a:gd name="connsiteY3502" fmla="*/ 465088 h 4991619"/>
              <a:gd name="connsiteX3503" fmla="*/ 4704394 w 6537372"/>
              <a:gd name="connsiteY3503" fmla="*/ 459192 h 4991619"/>
              <a:gd name="connsiteX3504" fmla="*/ 4700106 w 6537372"/>
              <a:gd name="connsiteY3504" fmla="*/ 457405 h 4991619"/>
              <a:gd name="connsiteX3505" fmla="*/ 4679380 w 6537372"/>
              <a:gd name="connsiteY3505" fmla="*/ 470269 h 4991619"/>
              <a:gd name="connsiteX3506" fmla="*/ 4669552 w 6537372"/>
              <a:gd name="connsiteY3506" fmla="*/ 478489 h 4991619"/>
              <a:gd name="connsiteX3507" fmla="*/ 4673840 w 6537372"/>
              <a:gd name="connsiteY3507" fmla="*/ 482955 h 4991619"/>
              <a:gd name="connsiteX3508" fmla="*/ 4661154 w 6537372"/>
              <a:gd name="connsiteY3508" fmla="*/ 495283 h 4991619"/>
              <a:gd name="connsiteX3509" fmla="*/ 4649363 w 6537372"/>
              <a:gd name="connsiteY3509" fmla="*/ 503144 h 4991619"/>
              <a:gd name="connsiteX3510" fmla="*/ 4648290 w 6537372"/>
              <a:gd name="connsiteY3510" fmla="*/ 501180 h 4991619"/>
              <a:gd name="connsiteX3511" fmla="*/ 4663656 w 6537372"/>
              <a:gd name="connsiteY3511" fmla="*/ 489209 h 4991619"/>
              <a:gd name="connsiteX3512" fmla="*/ 4647039 w 6537372"/>
              <a:gd name="connsiteY3512" fmla="*/ 481884 h 4991619"/>
              <a:gd name="connsiteX3513" fmla="*/ 4657224 w 6537372"/>
              <a:gd name="connsiteY3513" fmla="*/ 477416 h 4991619"/>
              <a:gd name="connsiteX3514" fmla="*/ 4659903 w 6537372"/>
              <a:gd name="connsiteY3514" fmla="*/ 475808 h 4991619"/>
              <a:gd name="connsiteX3515" fmla="*/ 4662762 w 6537372"/>
              <a:gd name="connsiteY3515" fmla="*/ 464017 h 4991619"/>
              <a:gd name="connsiteX3516" fmla="*/ 4686526 w 6537372"/>
              <a:gd name="connsiteY3516" fmla="*/ 448294 h 4991619"/>
              <a:gd name="connsiteX3517" fmla="*/ 4708860 w 6537372"/>
              <a:gd name="connsiteY3517" fmla="*/ 437394 h 4991619"/>
              <a:gd name="connsiteX3518" fmla="*/ 4721546 w 6537372"/>
              <a:gd name="connsiteY3518" fmla="*/ 424710 h 4991619"/>
              <a:gd name="connsiteX3519" fmla="*/ 4735660 w 6537372"/>
              <a:gd name="connsiteY3519" fmla="*/ 409521 h 4991619"/>
              <a:gd name="connsiteX3520" fmla="*/ 4749418 w 6537372"/>
              <a:gd name="connsiteY3520" fmla="*/ 400589 h 4991619"/>
              <a:gd name="connsiteX3521" fmla="*/ 4751562 w 6537372"/>
              <a:gd name="connsiteY3521" fmla="*/ 402374 h 4991619"/>
              <a:gd name="connsiteX3522" fmla="*/ 4748346 w 6537372"/>
              <a:gd name="connsiteY3522" fmla="*/ 415239 h 4991619"/>
              <a:gd name="connsiteX3523" fmla="*/ 4766034 w 6537372"/>
              <a:gd name="connsiteY3523" fmla="*/ 401125 h 4991619"/>
              <a:gd name="connsiteX3524" fmla="*/ 4777469 w 6537372"/>
              <a:gd name="connsiteY3524" fmla="*/ 382185 h 4991619"/>
              <a:gd name="connsiteX3525" fmla="*/ 4798910 w 6537372"/>
              <a:gd name="connsiteY3525" fmla="*/ 386831 h 4991619"/>
              <a:gd name="connsiteX3526" fmla="*/ 4808735 w 6537372"/>
              <a:gd name="connsiteY3526" fmla="*/ 378970 h 4991619"/>
              <a:gd name="connsiteX3527" fmla="*/ 4820528 w 6537372"/>
              <a:gd name="connsiteY3527" fmla="*/ 392369 h 4991619"/>
              <a:gd name="connsiteX3528" fmla="*/ 4830892 w 6537372"/>
              <a:gd name="connsiteY3528" fmla="*/ 375931 h 4991619"/>
              <a:gd name="connsiteX3529" fmla="*/ 4828212 w 6537372"/>
              <a:gd name="connsiteY3529" fmla="*/ 370572 h 4991619"/>
              <a:gd name="connsiteX3530" fmla="*/ 4830712 w 6537372"/>
              <a:gd name="connsiteY3530" fmla="*/ 369857 h 4991619"/>
              <a:gd name="connsiteX3531" fmla="*/ 4873236 w 6537372"/>
              <a:gd name="connsiteY3531" fmla="*/ 339662 h 4991619"/>
              <a:gd name="connsiteX3532" fmla="*/ 4875380 w 6537372"/>
              <a:gd name="connsiteY3532" fmla="*/ 338233 h 4991619"/>
              <a:gd name="connsiteX3533" fmla="*/ 4883598 w 6537372"/>
              <a:gd name="connsiteY3533" fmla="*/ 328942 h 4991619"/>
              <a:gd name="connsiteX3534" fmla="*/ 4900751 w 6537372"/>
              <a:gd name="connsiteY3534" fmla="*/ 331979 h 4991619"/>
              <a:gd name="connsiteX3535" fmla="*/ 4898965 w 6537372"/>
              <a:gd name="connsiteY3535" fmla="*/ 319651 h 4991619"/>
              <a:gd name="connsiteX3536" fmla="*/ 4930053 w 6537372"/>
              <a:gd name="connsiteY3536" fmla="*/ 299997 h 4991619"/>
              <a:gd name="connsiteX3537" fmla="*/ 4931126 w 6537372"/>
              <a:gd name="connsiteY3537" fmla="*/ 301784 h 4991619"/>
              <a:gd name="connsiteX3538" fmla="*/ 4924336 w 6537372"/>
              <a:gd name="connsiteY3538" fmla="*/ 310539 h 4991619"/>
              <a:gd name="connsiteX3539" fmla="*/ 4925408 w 6537372"/>
              <a:gd name="connsiteY3539" fmla="*/ 311968 h 4991619"/>
              <a:gd name="connsiteX3540" fmla="*/ 4952922 w 6537372"/>
              <a:gd name="connsiteY3540" fmla="*/ 295887 h 4991619"/>
              <a:gd name="connsiteX3541" fmla="*/ 4950958 w 6537372"/>
              <a:gd name="connsiteY3541" fmla="*/ 289991 h 4991619"/>
              <a:gd name="connsiteX3542" fmla="*/ 4953102 w 6537372"/>
              <a:gd name="connsiteY3542" fmla="*/ 288740 h 4991619"/>
              <a:gd name="connsiteX3543" fmla="*/ 4957391 w 6537372"/>
              <a:gd name="connsiteY3543" fmla="*/ 296782 h 4991619"/>
              <a:gd name="connsiteX3544" fmla="*/ 4972041 w 6537372"/>
              <a:gd name="connsiteY3544" fmla="*/ 282308 h 4991619"/>
              <a:gd name="connsiteX3545" fmla="*/ 4975080 w 6537372"/>
              <a:gd name="connsiteY3545" fmla="*/ 280344 h 4991619"/>
              <a:gd name="connsiteX3546" fmla="*/ 4990444 w 6537372"/>
              <a:gd name="connsiteY3546" fmla="*/ 275161 h 4991619"/>
              <a:gd name="connsiteX3547" fmla="*/ 5002950 w 6537372"/>
              <a:gd name="connsiteY3547" fmla="*/ 263548 h 4991619"/>
              <a:gd name="connsiteX3548" fmla="*/ 5022783 w 6537372"/>
              <a:gd name="connsiteY3548" fmla="*/ 251398 h 4991619"/>
              <a:gd name="connsiteX3549" fmla="*/ 5015280 w 6537372"/>
              <a:gd name="connsiteY3549" fmla="*/ 260153 h 4991619"/>
              <a:gd name="connsiteX3550" fmla="*/ 5028680 w 6537372"/>
              <a:gd name="connsiteY3550" fmla="*/ 257652 h 4991619"/>
              <a:gd name="connsiteX3551" fmla="*/ 5030466 w 6537372"/>
              <a:gd name="connsiteY3551" fmla="*/ 264799 h 4991619"/>
              <a:gd name="connsiteX3552" fmla="*/ 5051370 w 6537372"/>
              <a:gd name="connsiteY3552" fmla="*/ 253901 h 4991619"/>
              <a:gd name="connsiteX3553" fmla="*/ 5055658 w 6537372"/>
              <a:gd name="connsiteY3553" fmla="*/ 258723 h 4991619"/>
              <a:gd name="connsiteX3554" fmla="*/ 5058339 w 6537372"/>
              <a:gd name="connsiteY3554" fmla="*/ 257294 h 4991619"/>
              <a:gd name="connsiteX3555" fmla="*/ 5079243 w 6537372"/>
              <a:gd name="connsiteY3555" fmla="*/ 240678 h 4991619"/>
              <a:gd name="connsiteX3556" fmla="*/ 5104257 w 6537372"/>
              <a:gd name="connsiteY3556" fmla="*/ 227458 h 4991619"/>
              <a:gd name="connsiteX3557" fmla="*/ 5103364 w 6537372"/>
              <a:gd name="connsiteY3557" fmla="*/ 219059 h 4991619"/>
              <a:gd name="connsiteX3558" fmla="*/ 5105150 w 6537372"/>
              <a:gd name="connsiteY3558" fmla="*/ 211198 h 4991619"/>
              <a:gd name="connsiteX3559" fmla="*/ 5113370 w 6537372"/>
              <a:gd name="connsiteY3559" fmla="*/ 203693 h 4991619"/>
              <a:gd name="connsiteX3560" fmla="*/ 5150890 w 6537372"/>
              <a:gd name="connsiteY3560" fmla="*/ 188328 h 4991619"/>
              <a:gd name="connsiteX3561" fmla="*/ 5139098 w 6537372"/>
              <a:gd name="connsiteY3561" fmla="*/ 195475 h 4991619"/>
              <a:gd name="connsiteX3562" fmla="*/ 5132844 w 6537372"/>
              <a:gd name="connsiteY3562" fmla="*/ 206732 h 4991619"/>
              <a:gd name="connsiteX3563" fmla="*/ 5121410 w 6537372"/>
              <a:gd name="connsiteY3563" fmla="*/ 214593 h 4991619"/>
              <a:gd name="connsiteX3564" fmla="*/ 5160895 w 6537372"/>
              <a:gd name="connsiteY3564" fmla="*/ 199048 h 4991619"/>
              <a:gd name="connsiteX3565" fmla="*/ 5201276 w 6537372"/>
              <a:gd name="connsiteY3565" fmla="*/ 179574 h 4991619"/>
              <a:gd name="connsiteX3566" fmla="*/ 5241654 w 6537372"/>
              <a:gd name="connsiteY3566" fmla="*/ 165815 h 4991619"/>
              <a:gd name="connsiteX3567" fmla="*/ 5217535 w 6537372"/>
              <a:gd name="connsiteY3567" fmla="*/ 180288 h 4991619"/>
              <a:gd name="connsiteX3568" fmla="*/ 5190197 w 6537372"/>
              <a:gd name="connsiteY3568" fmla="*/ 201192 h 4991619"/>
              <a:gd name="connsiteX3569" fmla="*/ 5228434 w 6537372"/>
              <a:gd name="connsiteY3569" fmla="*/ 182967 h 4991619"/>
              <a:gd name="connsiteX3570" fmla="*/ 5232722 w 6537372"/>
              <a:gd name="connsiteY3570" fmla="*/ 188328 h 4991619"/>
              <a:gd name="connsiteX3571" fmla="*/ 5247730 w 6537372"/>
              <a:gd name="connsiteY3571" fmla="*/ 184218 h 4991619"/>
              <a:gd name="connsiteX3572" fmla="*/ 5249874 w 6537372"/>
              <a:gd name="connsiteY3572" fmla="*/ 192258 h 4991619"/>
              <a:gd name="connsiteX3573" fmla="*/ 5288645 w 6537372"/>
              <a:gd name="connsiteY3573" fmla="*/ 180288 h 4991619"/>
              <a:gd name="connsiteX3574" fmla="*/ 5269348 w 6537372"/>
              <a:gd name="connsiteY3574" fmla="*/ 196546 h 4991619"/>
              <a:gd name="connsiteX3575" fmla="*/ 5295077 w 6537372"/>
              <a:gd name="connsiteY3575" fmla="*/ 208696 h 4991619"/>
              <a:gd name="connsiteX3576" fmla="*/ 5282928 w 6537372"/>
              <a:gd name="connsiteY3576" fmla="*/ 212806 h 4991619"/>
              <a:gd name="connsiteX3577" fmla="*/ 5304726 w 6537372"/>
              <a:gd name="connsiteY3577" fmla="*/ 215664 h 4991619"/>
              <a:gd name="connsiteX3578" fmla="*/ 5324737 w 6537372"/>
              <a:gd name="connsiteY3578" fmla="*/ 201192 h 4991619"/>
              <a:gd name="connsiteX3579" fmla="*/ 5312766 w 6537372"/>
              <a:gd name="connsiteY3579" fmla="*/ 222989 h 4991619"/>
              <a:gd name="connsiteX3580" fmla="*/ 5329204 w 6537372"/>
              <a:gd name="connsiteY3580" fmla="*/ 212984 h 4991619"/>
              <a:gd name="connsiteX3581" fmla="*/ 5319376 w 6537372"/>
              <a:gd name="connsiteY3581" fmla="*/ 224777 h 4991619"/>
              <a:gd name="connsiteX3582" fmla="*/ 5330989 w 6537372"/>
              <a:gd name="connsiteY3582" fmla="*/ 229065 h 4991619"/>
              <a:gd name="connsiteX3583" fmla="*/ 5313480 w 6537372"/>
              <a:gd name="connsiteY3583" fmla="*/ 246754 h 4991619"/>
              <a:gd name="connsiteX3584" fmla="*/ 5321520 w 6537372"/>
              <a:gd name="connsiteY3584" fmla="*/ 256401 h 4991619"/>
              <a:gd name="connsiteX3585" fmla="*/ 5338850 w 6537372"/>
              <a:gd name="connsiteY3585" fmla="*/ 239249 h 4991619"/>
              <a:gd name="connsiteX3586" fmla="*/ 5341710 w 6537372"/>
              <a:gd name="connsiteY3586" fmla="*/ 252291 h 4991619"/>
              <a:gd name="connsiteX3587" fmla="*/ 5334562 w 6537372"/>
              <a:gd name="connsiteY3587" fmla="*/ 262655 h 4991619"/>
              <a:gd name="connsiteX3588" fmla="*/ 5351715 w 6537372"/>
              <a:gd name="connsiteY3588" fmla="*/ 260333 h 4991619"/>
              <a:gd name="connsiteX3589" fmla="*/ 5349393 w 6537372"/>
              <a:gd name="connsiteY3589" fmla="*/ 269265 h 4991619"/>
              <a:gd name="connsiteX3590" fmla="*/ 5356362 w 6537372"/>
              <a:gd name="connsiteY3590" fmla="*/ 270517 h 4991619"/>
              <a:gd name="connsiteX3591" fmla="*/ 5340280 w 6537372"/>
              <a:gd name="connsiteY3591" fmla="*/ 289813 h 4991619"/>
              <a:gd name="connsiteX3592" fmla="*/ 5337958 w 6537372"/>
              <a:gd name="connsiteY3592" fmla="*/ 307144 h 4991619"/>
              <a:gd name="connsiteX3593" fmla="*/ 5365294 w 6537372"/>
              <a:gd name="connsiteY3593" fmla="*/ 288384 h 4991619"/>
              <a:gd name="connsiteX3594" fmla="*/ 5391202 w 6537372"/>
              <a:gd name="connsiteY3594" fmla="*/ 269980 h 4991619"/>
              <a:gd name="connsiteX3595" fmla="*/ 5398170 w 6537372"/>
              <a:gd name="connsiteY3595" fmla="*/ 268194 h 4991619"/>
              <a:gd name="connsiteX3596" fmla="*/ 5389415 w 6537372"/>
              <a:gd name="connsiteY3596" fmla="*/ 275876 h 4991619"/>
              <a:gd name="connsiteX3597" fmla="*/ 5391202 w 6537372"/>
              <a:gd name="connsiteY3597" fmla="*/ 278556 h 4991619"/>
              <a:gd name="connsiteX3598" fmla="*/ 5404960 w 6537372"/>
              <a:gd name="connsiteY3598" fmla="*/ 271231 h 4991619"/>
              <a:gd name="connsiteX3599" fmla="*/ 5365474 w 6537372"/>
              <a:gd name="connsiteY3599" fmla="*/ 305536 h 4991619"/>
              <a:gd name="connsiteX3600" fmla="*/ 5360472 w 6537372"/>
              <a:gd name="connsiteY3600" fmla="*/ 327691 h 4991619"/>
              <a:gd name="connsiteX3601" fmla="*/ 5366724 w 6537372"/>
              <a:gd name="connsiteY3601" fmla="*/ 340555 h 4991619"/>
              <a:gd name="connsiteX3602" fmla="*/ 5375478 w 6537372"/>
              <a:gd name="connsiteY3602" fmla="*/ 349132 h 4991619"/>
              <a:gd name="connsiteX3603" fmla="*/ 5405496 w 6537372"/>
              <a:gd name="connsiteY3603" fmla="*/ 343414 h 4991619"/>
              <a:gd name="connsiteX3604" fmla="*/ 5398348 w 6537372"/>
              <a:gd name="connsiteY3604" fmla="*/ 352168 h 4991619"/>
              <a:gd name="connsiteX3605" fmla="*/ 5441586 w 6537372"/>
              <a:gd name="connsiteY3605" fmla="*/ 328942 h 4991619"/>
              <a:gd name="connsiteX3606" fmla="*/ 5424434 w 6537372"/>
              <a:gd name="connsiteY3606" fmla="*/ 345558 h 4991619"/>
              <a:gd name="connsiteX3607" fmla="*/ 5405316 w 6537372"/>
              <a:gd name="connsiteY3607" fmla="*/ 364318 h 4991619"/>
              <a:gd name="connsiteX3608" fmla="*/ 5429974 w 6537372"/>
              <a:gd name="connsiteY3608" fmla="*/ 351276 h 4991619"/>
              <a:gd name="connsiteX3609" fmla="*/ 5453022 w 6537372"/>
              <a:gd name="connsiteY3609" fmla="*/ 338053 h 4991619"/>
              <a:gd name="connsiteX3610" fmla="*/ 5418360 w 6537372"/>
              <a:gd name="connsiteY3610" fmla="*/ 375575 h 4991619"/>
              <a:gd name="connsiteX3611" fmla="*/ 5420682 w 6537372"/>
              <a:gd name="connsiteY3611" fmla="*/ 389510 h 4991619"/>
              <a:gd name="connsiteX3612" fmla="*/ 5429259 w 6537372"/>
              <a:gd name="connsiteY3612" fmla="*/ 385222 h 4991619"/>
              <a:gd name="connsiteX3613" fmla="*/ 5427472 w 6537372"/>
              <a:gd name="connsiteY3613" fmla="*/ 397730 h 4991619"/>
              <a:gd name="connsiteX3614" fmla="*/ 5458918 w 6537372"/>
              <a:gd name="connsiteY3614" fmla="*/ 375753 h 4991619"/>
              <a:gd name="connsiteX3615" fmla="*/ 5460168 w 6537372"/>
              <a:gd name="connsiteY3615" fmla="*/ 377182 h 4991619"/>
              <a:gd name="connsiteX3616" fmla="*/ 5448197 w 6537372"/>
              <a:gd name="connsiteY3616" fmla="*/ 393798 h 4991619"/>
              <a:gd name="connsiteX3617" fmla="*/ 5459812 w 6537372"/>
              <a:gd name="connsiteY3617" fmla="*/ 393084 h 4991619"/>
              <a:gd name="connsiteX3618" fmla="*/ 5436406 w 6537372"/>
              <a:gd name="connsiteY3618" fmla="*/ 417204 h 4991619"/>
              <a:gd name="connsiteX3619" fmla="*/ 5449092 w 6537372"/>
              <a:gd name="connsiteY3619" fmla="*/ 417204 h 4991619"/>
              <a:gd name="connsiteX3620" fmla="*/ 5443730 w 6537372"/>
              <a:gd name="connsiteY3620" fmla="*/ 425244 h 4991619"/>
              <a:gd name="connsiteX3621" fmla="*/ 5462134 w 6537372"/>
              <a:gd name="connsiteY3621" fmla="*/ 439181 h 4991619"/>
              <a:gd name="connsiteX3622" fmla="*/ 5453380 w 6537372"/>
              <a:gd name="connsiteY3622" fmla="*/ 446865 h 4991619"/>
              <a:gd name="connsiteX3623" fmla="*/ 5454273 w 6537372"/>
              <a:gd name="connsiteY3623" fmla="*/ 448114 h 4991619"/>
              <a:gd name="connsiteX3624" fmla="*/ 5467137 w 6537372"/>
              <a:gd name="connsiteY3624" fmla="*/ 441682 h 4991619"/>
              <a:gd name="connsiteX3625" fmla="*/ 5468566 w 6537372"/>
              <a:gd name="connsiteY3625" fmla="*/ 444006 h 4991619"/>
              <a:gd name="connsiteX3626" fmla="*/ 5441765 w 6537372"/>
              <a:gd name="connsiteY3626" fmla="*/ 467591 h 4991619"/>
              <a:gd name="connsiteX3627" fmla="*/ 5434798 w 6537372"/>
              <a:gd name="connsiteY3627" fmla="*/ 462229 h 4991619"/>
              <a:gd name="connsiteX3628" fmla="*/ 5433188 w 6537372"/>
              <a:gd name="connsiteY3628" fmla="*/ 475808 h 4991619"/>
              <a:gd name="connsiteX3629" fmla="*/ 5425327 w 6537372"/>
              <a:gd name="connsiteY3629" fmla="*/ 501001 h 4991619"/>
              <a:gd name="connsiteX3630" fmla="*/ 5442480 w 6537372"/>
              <a:gd name="connsiteY3630" fmla="*/ 511721 h 4991619"/>
              <a:gd name="connsiteX3631" fmla="*/ 5423720 w 6537372"/>
              <a:gd name="connsiteY3631" fmla="*/ 534771 h 4991619"/>
              <a:gd name="connsiteX3632" fmla="*/ 5424612 w 6537372"/>
              <a:gd name="connsiteY3632" fmla="*/ 536915 h 4991619"/>
              <a:gd name="connsiteX3633" fmla="*/ 5433369 w 6537372"/>
              <a:gd name="connsiteY3633" fmla="*/ 534412 h 4991619"/>
              <a:gd name="connsiteX3634" fmla="*/ 5474820 w 6537372"/>
              <a:gd name="connsiteY3634" fmla="*/ 506540 h 4991619"/>
              <a:gd name="connsiteX3635" fmla="*/ 5482860 w 6537372"/>
              <a:gd name="connsiteY3635" fmla="*/ 503681 h 4991619"/>
              <a:gd name="connsiteX3636" fmla="*/ 5487682 w 6537372"/>
              <a:gd name="connsiteY3636" fmla="*/ 502788 h 4991619"/>
              <a:gd name="connsiteX3637" fmla="*/ 5518058 w 6537372"/>
              <a:gd name="connsiteY3637" fmla="*/ 486350 h 4991619"/>
              <a:gd name="connsiteX3638" fmla="*/ 5339387 w 6537372"/>
              <a:gd name="connsiteY3638" fmla="*/ 740419 h 4991619"/>
              <a:gd name="connsiteX3639" fmla="*/ 5362972 w 6537372"/>
              <a:gd name="connsiteY3639" fmla="*/ 733630 h 4991619"/>
              <a:gd name="connsiteX3640" fmla="*/ 5372621 w 6537372"/>
              <a:gd name="connsiteY3640" fmla="*/ 730235 h 4991619"/>
              <a:gd name="connsiteX3641" fmla="*/ 5388344 w 6537372"/>
              <a:gd name="connsiteY3641" fmla="*/ 726840 h 4991619"/>
              <a:gd name="connsiteX3642" fmla="*/ 5402994 w 6537372"/>
              <a:gd name="connsiteY3642" fmla="*/ 718622 h 4991619"/>
              <a:gd name="connsiteX3643" fmla="*/ 5414607 w 6537372"/>
              <a:gd name="connsiteY3643" fmla="*/ 704685 h 4991619"/>
              <a:gd name="connsiteX3644" fmla="*/ 5419790 w 6537372"/>
              <a:gd name="connsiteY3644" fmla="*/ 697718 h 4991619"/>
              <a:gd name="connsiteX3645" fmla="*/ 5436942 w 6537372"/>
              <a:gd name="connsiteY3645" fmla="*/ 687354 h 4991619"/>
              <a:gd name="connsiteX3646" fmla="*/ 5442838 w 6537372"/>
              <a:gd name="connsiteY3646" fmla="*/ 693965 h 4991619"/>
              <a:gd name="connsiteX3647" fmla="*/ 5456238 w 6537372"/>
              <a:gd name="connsiteY3647" fmla="*/ 676456 h 4991619"/>
              <a:gd name="connsiteX3648" fmla="*/ 5468923 w 6537372"/>
              <a:gd name="connsiteY3648" fmla="*/ 669487 h 4991619"/>
              <a:gd name="connsiteX3649" fmla="*/ 5488221 w 6537372"/>
              <a:gd name="connsiteY3649" fmla="*/ 661089 h 4991619"/>
              <a:gd name="connsiteX3650" fmla="*/ 5506981 w 6537372"/>
              <a:gd name="connsiteY3650" fmla="*/ 660196 h 4991619"/>
              <a:gd name="connsiteX3651" fmla="*/ 5500727 w 6537372"/>
              <a:gd name="connsiteY3651" fmla="*/ 653228 h 4991619"/>
              <a:gd name="connsiteX3652" fmla="*/ 5547003 w 6537372"/>
              <a:gd name="connsiteY3652" fmla="*/ 627499 h 4991619"/>
              <a:gd name="connsiteX3653" fmla="*/ 5547718 w 6537372"/>
              <a:gd name="connsiteY3653" fmla="*/ 628036 h 4991619"/>
              <a:gd name="connsiteX3654" fmla="*/ 5539856 w 6537372"/>
              <a:gd name="connsiteY3654" fmla="*/ 635719 h 4991619"/>
              <a:gd name="connsiteX3655" fmla="*/ 5568978 w 6537372"/>
              <a:gd name="connsiteY3655" fmla="*/ 621962 h 4991619"/>
              <a:gd name="connsiteX3656" fmla="*/ 5571659 w 6537372"/>
              <a:gd name="connsiteY3656" fmla="*/ 619281 h 4991619"/>
              <a:gd name="connsiteX3657" fmla="*/ 5588811 w 6537372"/>
              <a:gd name="connsiteY3657" fmla="*/ 606773 h 4991619"/>
              <a:gd name="connsiteX3658" fmla="*/ 5604356 w 6537372"/>
              <a:gd name="connsiteY3658" fmla="*/ 598197 h 4991619"/>
              <a:gd name="connsiteX3659" fmla="*/ 5607036 w 6537372"/>
              <a:gd name="connsiteY3659" fmla="*/ 604809 h 4991619"/>
              <a:gd name="connsiteX3660" fmla="*/ 5621150 w 6537372"/>
              <a:gd name="connsiteY3660" fmla="*/ 593194 h 4991619"/>
              <a:gd name="connsiteX3661" fmla="*/ 5639197 w 6537372"/>
              <a:gd name="connsiteY3661" fmla="*/ 583547 h 4991619"/>
              <a:gd name="connsiteX3662" fmla="*/ 5629726 w 6537372"/>
              <a:gd name="connsiteY3662" fmla="*/ 594089 h 4991619"/>
              <a:gd name="connsiteX3663" fmla="*/ 5668856 w 6537372"/>
              <a:gd name="connsiteY3663" fmla="*/ 581045 h 4991619"/>
              <a:gd name="connsiteX3664" fmla="*/ 5659028 w 6537372"/>
              <a:gd name="connsiteY3664" fmla="*/ 589801 h 4991619"/>
              <a:gd name="connsiteX3665" fmla="*/ 5662782 w 6537372"/>
              <a:gd name="connsiteY3665" fmla="*/ 591409 h 4991619"/>
              <a:gd name="connsiteX3666" fmla="*/ 5704412 w 6537372"/>
              <a:gd name="connsiteY3666" fmla="*/ 571934 h 4991619"/>
              <a:gd name="connsiteX3667" fmla="*/ 5758549 w 6537372"/>
              <a:gd name="connsiteY3667" fmla="*/ 547635 h 4991619"/>
              <a:gd name="connsiteX3668" fmla="*/ 5760513 w 6537372"/>
              <a:gd name="connsiteY3668" fmla="*/ 548350 h 4991619"/>
              <a:gd name="connsiteX3669" fmla="*/ 5726923 w 6537372"/>
              <a:gd name="connsiteY3669" fmla="*/ 568895 h 4991619"/>
              <a:gd name="connsiteX3670" fmla="*/ 5739431 w 6537372"/>
              <a:gd name="connsiteY3670" fmla="*/ 571754 h 4991619"/>
              <a:gd name="connsiteX3671" fmla="*/ 5774628 w 6537372"/>
              <a:gd name="connsiteY3671" fmla="*/ 557282 h 4991619"/>
              <a:gd name="connsiteX3672" fmla="*/ 5784634 w 6537372"/>
              <a:gd name="connsiteY3672" fmla="*/ 555853 h 4991619"/>
              <a:gd name="connsiteX3673" fmla="*/ 5759084 w 6537372"/>
              <a:gd name="connsiteY3673" fmla="*/ 576579 h 4991619"/>
              <a:gd name="connsiteX3674" fmla="*/ 5753902 w 6537372"/>
              <a:gd name="connsiteY3674" fmla="*/ 579795 h 4991619"/>
              <a:gd name="connsiteX3675" fmla="*/ 5755154 w 6537372"/>
              <a:gd name="connsiteY3675" fmla="*/ 582296 h 4991619"/>
              <a:gd name="connsiteX3676" fmla="*/ 5801786 w 6537372"/>
              <a:gd name="connsiteY3676" fmla="*/ 561392 h 4991619"/>
              <a:gd name="connsiteX3677" fmla="*/ 5817868 w 6537372"/>
              <a:gd name="connsiteY3677" fmla="*/ 569968 h 4991619"/>
              <a:gd name="connsiteX3678" fmla="*/ 5814294 w 6537372"/>
              <a:gd name="connsiteY3678" fmla="*/ 565502 h 4991619"/>
              <a:gd name="connsiteX3679" fmla="*/ 5810899 w 6537372"/>
              <a:gd name="connsiteY3679" fmla="*/ 558355 h 4991619"/>
              <a:gd name="connsiteX3680" fmla="*/ 5817688 w 6537372"/>
              <a:gd name="connsiteY3680" fmla="*/ 553709 h 4991619"/>
              <a:gd name="connsiteX3681" fmla="*/ 5836984 w 6537372"/>
              <a:gd name="connsiteY3681" fmla="*/ 547813 h 4991619"/>
              <a:gd name="connsiteX3682" fmla="*/ 5855924 w 6537372"/>
              <a:gd name="connsiteY3682" fmla="*/ 539059 h 4991619"/>
              <a:gd name="connsiteX3683" fmla="*/ 5873432 w 6537372"/>
              <a:gd name="connsiteY3683" fmla="*/ 532446 h 4991619"/>
              <a:gd name="connsiteX3684" fmla="*/ 5868432 w 6537372"/>
              <a:gd name="connsiteY3684" fmla="*/ 541023 h 4991619"/>
              <a:gd name="connsiteX3685" fmla="*/ 5937576 w 6537372"/>
              <a:gd name="connsiteY3685" fmla="*/ 507613 h 4991619"/>
              <a:gd name="connsiteX3686" fmla="*/ 5940078 w 6537372"/>
              <a:gd name="connsiteY3686" fmla="*/ 518333 h 4991619"/>
              <a:gd name="connsiteX3687" fmla="*/ 5937934 w 6537372"/>
              <a:gd name="connsiteY3687" fmla="*/ 519762 h 4991619"/>
              <a:gd name="connsiteX3688" fmla="*/ 5927034 w 6537372"/>
              <a:gd name="connsiteY3688" fmla="*/ 519940 h 4991619"/>
              <a:gd name="connsiteX3689" fmla="*/ 5891658 w 6537372"/>
              <a:gd name="connsiteY3689" fmla="*/ 537807 h 4991619"/>
              <a:gd name="connsiteX3690" fmla="*/ 5884333 w 6537372"/>
              <a:gd name="connsiteY3690" fmla="*/ 540666 h 4991619"/>
              <a:gd name="connsiteX3691" fmla="*/ 5857888 w 6537372"/>
              <a:gd name="connsiteY3691" fmla="*/ 557997 h 4991619"/>
              <a:gd name="connsiteX3692" fmla="*/ 5865930 w 6537372"/>
              <a:gd name="connsiteY3692" fmla="*/ 557282 h 4991619"/>
              <a:gd name="connsiteX3693" fmla="*/ 5889514 w 6537372"/>
              <a:gd name="connsiteY3693" fmla="*/ 547991 h 4991619"/>
              <a:gd name="connsiteX3694" fmla="*/ 5897912 w 6537372"/>
              <a:gd name="connsiteY3694" fmla="*/ 549779 h 4991619"/>
              <a:gd name="connsiteX3695" fmla="*/ 5906308 w 6537372"/>
              <a:gd name="connsiteY3695" fmla="*/ 557819 h 4991619"/>
              <a:gd name="connsiteX3696" fmla="*/ 5892372 w 6537372"/>
              <a:gd name="connsiteY3696" fmla="*/ 575864 h 4991619"/>
              <a:gd name="connsiteX3697" fmla="*/ 5879865 w 6537372"/>
              <a:gd name="connsiteY3697" fmla="*/ 566751 h 4991619"/>
              <a:gd name="connsiteX3698" fmla="*/ 5865751 w 6537372"/>
              <a:gd name="connsiteY3698" fmla="*/ 579615 h 4991619"/>
              <a:gd name="connsiteX3699" fmla="*/ 5859854 w 6537372"/>
              <a:gd name="connsiteY3699" fmla="*/ 590516 h 4991619"/>
              <a:gd name="connsiteX3700" fmla="*/ 5851100 w 6537372"/>
              <a:gd name="connsiteY3700" fmla="*/ 591230 h 4991619"/>
              <a:gd name="connsiteX3701" fmla="*/ 5855209 w 6537372"/>
              <a:gd name="connsiteY3701" fmla="*/ 604273 h 4991619"/>
              <a:gd name="connsiteX3702" fmla="*/ 5877901 w 6537372"/>
              <a:gd name="connsiteY3702" fmla="*/ 599626 h 4991619"/>
              <a:gd name="connsiteX3703" fmla="*/ 5873076 w 6537372"/>
              <a:gd name="connsiteY3703" fmla="*/ 605880 h 4991619"/>
              <a:gd name="connsiteX3704" fmla="*/ 5855924 w 6537372"/>
              <a:gd name="connsiteY3704" fmla="*/ 624820 h 4991619"/>
              <a:gd name="connsiteX3705" fmla="*/ 5845204 w 6537372"/>
              <a:gd name="connsiteY3705" fmla="*/ 633931 h 4991619"/>
              <a:gd name="connsiteX3706" fmla="*/ 5815902 w 6537372"/>
              <a:gd name="connsiteY3706" fmla="*/ 670202 h 4991619"/>
              <a:gd name="connsiteX3707" fmla="*/ 5832161 w 6537372"/>
              <a:gd name="connsiteY3707" fmla="*/ 661804 h 4991619"/>
              <a:gd name="connsiteX3708" fmla="*/ 5843952 w 6537372"/>
              <a:gd name="connsiteY3708" fmla="*/ 647154 h 4991619"/>
              <a:gd name="connsiteX3709" fmla="*/ 5846990 w 6537372"/>
              <a:gd name="connsiteY3709" fmla="*/ 648225 h 4991619"/>
              <a:gd name="connsiteX3710" fmla="*/ 5845740 w 6537372"/>
              <a:gd name="connsiteY3710" fmla="*/ 642507 h 4991619"/>
              <a:gd name="connsiteX3711" fmla="*/ 5855209 w 6537372"/>
              <a:gd name="connsiteY3711" fmla="*/ 630538 h 4991619"/>
              <a:gd name="connsiteX3712" fmla="*/ 5862534 w 6537372"/>
              <a:gd name="connsiteY3712" fmla="*/ 625177 h 4991619"/>
              <a:gd name="connsiteX3713" fmla="*/ 5887370 w 6537372"/>
              <a:gd name="connsiteY3713" fmla="*/ 618388 h 4991619"/>
              <a:gd name="connsiteX3714" fmla="*/ 5883260 w 6537372"/>
              <a:gd name="connsiteY3714" fmla="*/ 614635 h 4991619"/>
              <a:gd name="connsiteX3715" fmla="*/ 5891658 w 6537372"/>
              <a:gd name="connsiteY3715" fmla="*/ 616244 h 4991619"/>
              <a:gd name="connsiteX3716" fmla="*/ 5892194 w 6537372"/>
              <a:gd name="connsiteY3716" fmla="*/ 617494 h 4991619"/>
              <a:gd name="connsiteX3717" fmla="*/ 5900056 w 6537372"/>
              <a:gd name="connsiteY3717" fmla="*/ 616779 h 4991619"/>
              <a:gd name="connsiteX3718" fmla="*/ 5905594 w 6537372"/>
              <a:gd name="connsiteY3718" fmla="*/ 617137 h 4991619"/>
              <a:gd name="connsiteX3719" fmla="*/ 5908096 w 6537372"/>
              <a:gd name="connsiteY3719" fmla="*/ 617494 h 4991619"/>
              <a:gd name="connsiteX3720" fmla="*/ 5929178 w 6537372"/>
              <a:gd name="connsiteY3720" fmla="*/ 611956 h 4991619"/>
              <a:gd name="connsiteX3721" fmla="*/ 5924175 w 6537372"/>
              <a:gd name="connsiteY3721" fmla="*/ 616244 h 4991619"/>
              <a:gd name="connsiteX3722" fmla="*/ 5919530 w 6537372"/>
              <a:gd name="connsiteY3722" fmla="*/ 618745 h 4991619"/>
              <a:gd name="connsiteX3723" fmla="*/ 5933288 w 6537372"/>
              <a:gd name="connsiteY3723" fmla="*/ 618923 h 4991619"/>
              <a:gd name="connsiteX3724" fmla="*/ 5976884 w 6537372"/>
              <a:gd name="connsiteY3724" fmla="*/ 613742 h 4991619"/>
              <a:gd name="connsiteX3725" fmla="*/ 5985103 w 6537372"/>
              <a:gd name="connsiteY3725" fmla="*/ 609812 h 4991619"/>
              <a:gd name="connsiteX3726" fmla="*/ 5998324 w 6537372"/>
              <a:gd name="connsiteY3726" fmla="*/ 600700 h 4991619"/>
              <a:gd name="connsiteX3727" fmla="*/ 6031378 w 6537372"/>
              <a:gd name="connsiteY3727" fmla="*/ 596768 h 4991619"/>
              <a:gd name="connsiteX3728" fmla="*/ 6033522 w 6537372"/>
              <a:gd name="connsiteY3728" fmla="*/ 610705 h 4991619"/>
              <a:gd name="connsiteX3729" fmla="*/ 6050674 w 6537372"/>
              <a:gd name="connsiteY3729" fmla="*/ 613742 h 4991619"/>
              <a:gd name="connsiteX3730" fmla="*/ 6045851 w 6537372"/>
              <a:gd name="connsiteY3730" fmla="*/ 625535 h 4991619"/>
              <a:gd name="connsiteX3731" fmla="*/ 6048888 w 6537372"/>
              <a:gd name="connsiteY3731" fmla="*/ 637685 h 4991619"/>
              <a:gd name="connsiteX3732" fmla="*/ 6048530 w 6537372"/>
              <a:gd name="connsiteY3732" fmla="*/ 650369 h 4991619"/>
              <a:gd name="connsiteX3733" fmla="*/ 6037275 w 6537372"/>
              <a:gd name="connsiteY3733" fmla="*/ 679671 h 4991619"/>
              <a:gd name="connsiteX3734" fmla="*/ 6038704 w 6537372"/>
              <a:gd name="connsiteY3734" fmla="*/ 679136 h 4991619"/>
              <a:gd name="connsiteX3735" fmla="*/ 6036558 w 6537372"/>
              <a:gd name="connsiteY3735" fmla="*/ 681100 h 4991619"/>
              <a:gd name="connsiteX3736" fmla="*/ 6029770 w 6537372"/>
              <a:gd name="connsiteY3736" fmla="*/ 692179 h 4991619"/>
              <a:gd name="connsiteX3737" fmla="*/ 6019050 w 6537372"/>
              <a:gd name="connsiteY3737" fmla="*/ 731664 h 4991619"/>
              <a:gd name="connsiteX3738" fmla="*/ 6013868 w 6537372"/>
              <a:gd name="connsiteY3738" fmla="*/ 769543 h 4991619"/>
              <a:gd name="connsiteX3739" fmla="*/ 6002790 w 6537372"/>
              <a:gd name="connsiteY3739" fmla="*/ 815997 h 4991619"/>
              <a:gd name="connsiteX3740" fmla="*/ 5999753 w 6537372"/>
              <a:gd name="connsiteY3740" fmla="*/ 829934 h 4991619"/>
              <a:gd name="connsiteX3741" fmla="*/ 6034058 w 6537372"/>
              <a:gd name="connsiteY3741" fmla="*/ 822073 h 4991619"/>
              <a:gd name="connsiteX3742" fmla="*/ 6010474 w 6537372"/>
              <a:gd name="connsiteY3742" fmla="*/ 834579 h 4991619"/>
              <a:gd name="connsiteX3743" fmla="*/ 5996894 w 6537372"/>
              <a:gd name="connsiteY3743" fmla="*/ 838152 h 4991619"/>
              <a:gd name="connsiteX3744" fmla="*/ 5991535 w 6537372"/>
              <a:gd name="connsiteY3744" fmla="*/ 852982 h 4991619"/>
              <a:gd name="connsiteX3745" fmla="*/ 5988140 w 6537372"/>
              <a:gd name="connsiteY3745" fmla="*/ 859414 h 4991619"/>
              <a:gd name="connsiteX3746" fmla="*/ 5964556 w 6537372"/>
              <a:gd name="connsiteY3746" fmla="*/ 925165 h 4991619"/>
              <a:gd name="connsiteX3747" fmla="*/ 5972417 w 6537372"/>
              <a:gd name="connsiteY3747" fmla="*/ 922843 h 4991619"/>
              <a:gd name="connsiteX3748" fmla="*/ 5979386 w 6537372"/>
              <a:gd name="connsiteY3748" fmla="*/ 920877 h 4991619"/>
              <a:gd name="connsiteX3749" fmla="*/ 6029235 w 6537372"/>
              <a:gd name="connsiteY3749" fmla="*/ 903010 h 4991619"/>
              <a:gd name="connsiteX3750" fmla="*/ 6043707 w 6537372"/>
              <a:gd name="connsiteY3750" fmla="*/ 902117 h 4991619"/>
              <a:gd name="connsiteX3751" fmla="*/ 6081405 w 6537372"/>
              <a:gd name="connsiteY3751" fmla="*/ 910693 h 4991619"/>
              <a:gd name="connsiteX3752" fmla="*/ 6081942 w 6537372"/>
              <a:gd name="connsiteY3752" fmla="*/ 912301 h 4991619"/>
              <a:gd name="connsiteX3753" fmla="*/ 6080512 w 6537372"/>
              <a:gd name="connsiteY3753" fmla="*/ 915338 h 4991619"/>
              <a:gd name="connsiteX3754" fmla="*/ 6056572 w 6537372"/>
              <a:gd name="connsiteY3754" fmla="*/ 928202 h 4991619"/>
              <a:gd name="connsiteX3755" fmla="*/ 6076046 w 6537372"/>
              <a:gd name="connsiteY3755" fmla="*/ 922663 h 4991619"/>
              <a:gd name="connsiteX3756" fmla="*/ 6082478 w 6537372"/>
              <a:gd name="connsiteY3756" fmla="*/ 918911 h 4991619"/>
              <a:gd name="connsiteX3757" fmla="*/ 6101952 w 6537372"/>
              <a:gd name="connsiteY3757" fmla="*/ 911050 h 4991619"/>
              <a:gd name="connsiteX3758" fmla="*/ 6121071 w 6537372"/>
              <a:gd name="connsiteY3758" fmla="*/ 904439 h 4991619"/>
              <a:gd name="connsiteX3759" fmla="*/ 6108206 w 6537372"/>
              <a:gd name="connsiteY3759" fmla="*/ 917482 h 4991619"/>
              <a:gd name="connsiteX3760" fmla="*/ 6092840 w 6537372"/>
              <a:gd name="connsiteY3760" fmla="*/ 932134 h 4991619"/>
              <a:gd name="connsiteX3761" fmla="*/ 6115532 w 6537372"/>
              <a:gd name="connsiteY3761" fmla="*/ 930882 h 4991619"/>
              <a:gd name="connsiteX3762" fmla="*/ 6105884 w 6537372"/>
              <a:gd name="connsiteY3762" fmla="*/ 939280 h 4991619"/>
              <a:gd name="connsiteX3763" fmla="*/ 6095520 w 6537372"/>
              <a:gd name="connsiteY3763" fmla="*/ 957147 h 4991619"/>
              <a:gd name="connsiteX3764" fmla="*/ 6064970 w 6537372"/>
              <a:gd name="connsiteY3764" fmla="*/ 974120 h 4991619"/>
              <a:gd name="connsiteX3765" fmla="*/ 6074616 w 6537372"/>
              <a:gd name="connsiteY3765" fmla="*/ 975015 h 4991619"/>
              <a:gd name="connsiteX3766" fmla="*/ 6046566 w 6537372"/>
              <a:gd name="connsiteY3766" fmla="*/ 999670 h 4991619"/>
              <a:gd name="connsiteX3767" fmla="*/ 6052283 w 6537372"/>
              <a:gd name="connsiteY3767" fmla="*/ 1002172 h 4991619"/>
              <a:gd name="connsiteX3768" fmla="*/ 6059250 w 6537372"/>
              <a:gd name="connsiteY3768" fmla="*/ 996097 h 4991619"/>
              <a:gd name="connsiteX3769" fmla="*/ 6080334 w 6537372"/>
              <a:gd name="connsiteY3769" fmla="*/ 982518 h 4991619"/>
              <a:gd name="connsiteX3770" fmla="*/ 6060860 w 6537372"/>
              <a:gd name="connsiteY3770" fmla="*/ 999670 h 4991619"/>
              <a:gd name="connsiteX3771" fmla="*/ 6065326 w 6537372"/>
              <a:gd name="connsiteY3771" fmla="*/ 999670 h 4991619"/>
              <a:gd name="connsiteX3772" fmla="*/ 6065326 w 6537372"/>
              <a:gd name="connsiteY3772" fmla="*/ 1006995 h 4991619"/>
              <a:gd name="connsiteX3773" fmla="*/ 6074258 w 6537372"/>
              <a:gd name="connsiteY3773" fmla="*/ 998777 h 4991619"/>
              <a:gd name="connsiteX3774" fmla="*/ 6089981 w 6537372"/>
              <a:gd name="connsiteY3774" fmla="*/ 986984 h 4991619"/>
              <a:gd name="connsiteX3775" fmla="*/ 6112851 w 6537372"/>
              <a:gd name="connsiteY3775" fmla="*/ 971797 h 4991619"/>
              <a:gd name="connsiteX3776" fmla="*/ 6121964 w 6537372"/>
              <a:gd name="connsiteY3776" fmla="*/ 971797 h 4991619"/>
              <a:gd name="connsiteX3777" fmla="*/ 6106062 w 6537372"/>
              <a:gd name="connsiteY3777" fmla="*/ 982696 h 4991619"/>
              <a:gd name="connsiteX3778" fmla="*/ 6088732 w 6537372"/>
              <a:gd name="connsiteY3778" fmla="*/ 996633 h 4991619"/>
              <a:gd name="connsiteX3779" fmla="*/ 6081227 w 6537372"/>
              <a:gd name="connsiteY3779" fmla="*/ 1001458 h 4991619"/>
              <a:gd name="connsiteX3780" fmla="*/ 6067292 w 6537372"/>
              <a:gd name="connsiteY3780" fmla="*/ 1014500 h 4991619"/>
              <a:gd name="connsiteX3781" fmla="*/ 6072650 w 6537372"/>
              <a:gd name="connsiteY3781" fmla="*/ 1021469 h 4991619"/>
              <a:gd name="connsiteX3782" fmla="*/ 6070865 w 6537372"/>
              <a:gd name="connsiteY3782" fmla="*/ 1035404 h 4991619"/>
              <a:gd name="connsiteX3783" fmla="*/ 6066933 w 6537372"/>
              <a:gd name="connsiteY3783" fmla="*/ 1040765 h 4991619"/>
              <a:gd name="connsiteX3784" fmla="*/ 6060860 w 6537372"/>
              <a:gd name="connsiteY3784" fmla="*/ 1034868 h 4991619"/>
              <a:gd name="connsiteX3785" fmla="*/ 6046922 w 6537372"/>
              <a:gd name="connsiteY3785" fmla="*/ 1036297 h 4991619"/>
              <a:gd name="connsiteX3786" fmla="*/ 6054606 w 6537372"/>
              <a:gd name="connsiteY3786" fmla="*/ 1024328 h 4991619"/>
              <a:gd name="connsiteX3787" fmla="*/ 6050139 w 6537372"/>
              <a:gd name="connsiteY3787" fmla="*/ 1022718 h 4991619"/>
              <a:gd name="connsiteX3788" fmla="*/ 6037990 w 6537372"/>
              <a:gd name="connsiteY3788" fmla="*/ 1034153 h 4991619"/>
              <a:gd name="connsiteX3789" fmla="*/ 6041026 w 6537372"/>
              <a:gd name="connsiteY3789" fmla="*/ 1044159 h 4991619"/>
              <a:gd name="connsiteX3790" fmla="*/ 6036202 w 6537372"/>
              <a:gd name="connsiteY3790" fmla="*/ 1044159 h 4991619"/>
              <a:gd name="connsiteX3791" fmla="*/ 6032987 w 6537372"/>
              <a:gd name="connsiteY3791" fmla="*/ 1047375 h 4991619"/>
              <a:gd name="connsiteX3792" fmla="*/ 6041026 w 6537372"/>
              <a:gd name="connsiteY3792" fmla="*/ 1050056 h 4991619"/>
              <a:gd name="connsiteX3793" fmla="*/ 6050318 w 6537372"/>
              <a:gd name="connsiteY3793" fmla="*/ 1046303 h 4991619"/>
              <a:gd name="connsiteX3794" fmla="*/ 6047458 w 6537372"/>
              <a:gd name="connsiteY3794" fmla="*/ 1076499 h 4991619"/>
              <a:gd name="connsiteX3795" fmla="*/ 6048530 w 6537372"/>
              <a:gd name="connsiteY3795" fmla="*/ 1076141 h 4991619"/>
              <a:gd name="connsiteX3796" fmla="*/ 6056213 w 6537372"/>
              <a:gd name="connsiteY3796" fmla="*/ 1066850 h 4991619"/>
              <a:gd name="connsiteX3797" fmla="*/ 6058357 w 6537372"/>
              <a:gd name="connsiteY3797" fmla="*/ 1069709 h 4991619"/>
              <a:gd name="connsiteX3798" fmla="*/ 6056750 w 6537372"/>
              <a:gd name="connsiteY3798" fmla="*/ 1080251 h 4991619"/>
              <a:gd name="connsiteX3799" fmla="*/ 6063718 w 6537372"/>
              <a:gd name="connsiteY3799" fmla="*/ 1081144 h 4991619"/>
              <a:gd name="connsiteX3800" fmla="*/ 6079261 w 6537372"/>
              <a:gd name="connsiteY3800" fmla="*/ 1092757 h 4991619"/>
              <a:gd name="connsiteX3801" fmla="*/ 6079083 w 6537372"/>
              <a:gd name="connsiteY3801" fmla="*/ 1099011 h 4991619"/>
              <a:gd name="connsiteX3802" fmla="*/ 6090876 w 6537372"/>
              <a:gd name="connsiteY3802" fmla="*/ 1102762 h 4991619"/>
              <a:gd name="connsiteX3803" fmla="*/ 6095700 w 6537372"/>
              <a:gd name="connsiteY3803" fmla="*/ 1107409 h 4991619"/>
              <a:gd name="connsiteX3804" fmla="*/ 6108563 w 6537372"/>
              <a:gd name="connsiteY3804" fmla="*/ 1120810 h 4991619"/>
              <a:gd name="connsiteX3805" fmla="*/ 6115710 w 6537372"/>
              <a:gd name="connsiteY3805" fmla="*/ 1122417 h 4991619"/>
              <a:gd name="connsiteX3806" fmla="*/ 6127681 w 6537372"/>
              <a:gd name="connsiteY3806" fmla="*/ 1135103 h 4991619"/>
              <a:gd name="connsiteX3807" fmla="*/ 6131076 w 6537372"/>
              <a:gd name="connsiteY3807" fmla="*/ 1151541 h 4991619"/>
              <a:gd name="connsiteX3808" fmla="*/ 6152338 w 6537372"/>
              <a:gd name="connsiteY3808" fmla="*/ 1150646 h 4991619"/>
              <a:gd name="connsiteX3809" fmla="*/ 6151624 w 6537372"/>
              <a:gd name="connsiteY3809" fmla="*/ 1168513 h 4991619"/>
              <a:gd name="connsiteX3810" fmla="*/ 6164666 w 6537372"/>
              <a:gd name="connsiteY3810" fmla="*/ 1184773 h 4991619"/>
              <a:gd name="connsiteX3811" fmla="*/ 6166988 w 6537372"/>
              <a:gd name="connsiteY3811" fmla="*/ 1197100 h 4991619"/>
              <a:gd name="connsiteX3812" fmla="*/ 6161450 w 6537372"/>
              <a:gd name="connsiteY3812" fmla="*/ 1203713 h 4991619"/>
              <a:gd name="connsiteX3813" fmla="*/ 6176994 w 6537372"/>
              <a:gd name="connsiteY3813" fmla="*/ 1209430 h 4991619"/>
              <a:gd name="connsiteX3814" fmla="*/ 6188788 w 6537372"/>
              <a:gd name="connsiteY3814" fmla="*/ 1209965 h 4991619"/>
              <a:gd name="connsiteX3815" fmla="*/ 6177530 w 6537372"/>
              <a:gd name="connsiteY3815" fmla="*/ 1227475 h 4991619"/>
              <a:gd name="connsiteX3816" fmla="*/ 6174314 w 6537372"/>
              <a:gd name="connsiteY3816" fmla="*/ 1252131 h 4991619"/>
              <a:gd name="connsiteX3817" fmla="*/ 6170740 w 6537372"/>
              <a:gd name="connsiteY3817" fmla="*/ 1255884 h 4991619"/>
              <a:gd name="connsiteX3818" fmla="*/ 6133577 w 6537372"/>
              <a:gd name="connsiteY3818" fmla="*/ 1289116 h 4991619"/>
              <a:gd name="connsiteX3819" fmla="*/ 6125716 w 6537372"/>
              <a:gd name="connsiteY3819" fmla="*/ 1293941 h 4991619"/>
              <a:gd name="connsiteX3820" fmla="*/ 6136616 w 6537372"/>
              <a:gd name="connsiteY3820" fmla="*/ 1291619 h 4991619"/>
              <a:gd name="connsiteX3821" fmla="*/ 6144656 w 6537372"/>
              <a:gd name="connsiteY3821" fmla="*/ 1287330 h 4991619"/>
              <a:gd name="connsiteX3822" fmla="*/ 6151088 w 6537372"/>
              <a:gd name="connsiteY3822" fmla="*/ 1287865 h 4991619"/>
              <a:gd name="connsiteX3823" fmla="*/ 6151088 w 6537372"/>
              <a:gd name="connsiteY3823" fmla="*/ 1296263 h 4991619"/>
              <a:gd name="connsiteX3824" fmla="*/ 6142512 w 6537372"/>
              <a:gd name="connsiteY3824" fmla="*/ 1302873 h 4991619"/>
              <a:gd name="connsiteX3825" fmla="*/ 6131254 w 6537372"/>
              <a:gd name="connsiteY3825" fmla="*/ 1311093 h 4991619"/>
              <a:gd name="connsiteX3826" fmla="*/ 6133757 w 6537372"/>
              <a:gd name="connsiteY3826" fmla="*/ 1321992 h 4991619"/>
              <a:gd name="connsiteX3827" fmla="*/ 6323148 w 6537372"/>
              <a:gd name="connsiteY3827" fmla="*/ 1232300 h 4991619"/>
              <a:gd name="connsiteX3828" fmla="*/ 6369780 w 6537372"/>
              <a:gd name="connsiteY3828" fmla="*/ 1229441 h 4991619"/>
              <a:gd name="connsiteX3829" fmla="*/ 6372639 w 6537372"/>
              <a:gd name="connsiteY3829" fmla="*/ 1223187 h 4991619"/>
              <a:gd name="connsiteX3830" fmla="*/ 6382822 w 6537372"/>
              <a:gd name="connsiteY3830" fmla="*/ 1219792 h 4991619"/>
              <a:gd name="connsiteX3831" fmla="*/ 6377642 w 6537372"/>
              <a:gd name="connsiteY3831" fmla="*/ 1230690 h 4991619"/>
              <a:gd name="connsiteX3832" fmla="*/ 6386218 w 6537372"/>
              <a:gd name="connsiteY3832" fmla="*/ 1234264 h 4991619"/>
              <a:gd name="connsiteX3833" fmla="*/ 6383000 w 6537372"/>
              <a:gd name="connsiteY3833" fmla="*/ 1236944 h 4991619"/>
              <a:gd name="connsiteX3834" fmla="*/ 6387647 w 6537372"/>
              <a:gd name="connsiteY3834" fmla="*/ 1240518 h 4991619"/>
              <a:gd name="connsiteX3835" fmla="*/ 6391935 w 6537372"/>
              <a:gd name="connsiteY3835" fmla="*/ 1234800 h 4991619"/>
              <a:gd name="connsiteX3836" fmla="*/ 6405870 w 6537372"/>
              <a:gd name="connsiteY3836" fmla="*/ 1224795 h 4991619"/>
              <a:gd name="connsiteX3837" fmla="*/ 6409802 w 6537372"/>
              <a:gd name="connsiteY3837" fmla="*/ 1225153 h 4991619"/>
              <a:gd name="connsiteX3838" fmla="*/ 6425882 w 6537372"/>
              <a:gd name="connsiteY3838" fmla="*/ 1228190 h 4991619"/>
              <a:gd name="connsiteX3839" fmla="*/ 6429277 w 6537372"/>
              <a:gd name="connsiteY3839" fmla="*/ 1245879 h 4991619"/>
              <a:gd name="connsiteX3840" fmla="*/ 6431421 w 6537372"/>
              <a:gd name="connsiteY3840" fmla="*/ 1259636 h 4991619"/>
              <a:gd name="connsiteX3841" fmla="*/ 6438926 w 6537372"/>
              <a:gd name="connsiteY3841" fmla="*/ 1263566 h 4991619"/>
              <a:gd name="connsiteX3842" fmla="*/ 6435352 w 6537372"/>
              <a:gd name="connsiteY3842" fmla="*/ 1248738 h 4991619"/>
              <a:gd name="connsiteX3843" fmla="*/ 6437496 w 6537372"/>
              <a:gd name="connsiteY3843" fmla="*/ 1247843 h 4991619"/>
              <a:gd name="connsiteX3844" fmla="*/ 6442141 w 6537372"/>
              <a:gd name="connsiteY3844" fmla="*/ 1255170 h 4991619"/>
              <a:gd name="connsiteX3845" fmla="*/ 6454112 w 6537372"/>
              <a:gd name="connsiteY3845" fmla="*/ 1244806 h 4991619"/>
              <a:gd name="connsiteX3846" fmla="*/ 6446073 w 6537372"/>
              <a:gd name="connsiteY3846" fmla="*/ 1229976 h 4991619"/>
              <a:gd name="connsiteX3847" fmla="*/ 6426062 w 6537372"/>
              <a:gd name="connsiteY3847" fmla="*/ 1224258 h 4991619"/>
              <a:gd name="connsiteX3848" fmla="*/ 6473946 w 6537372"/>
              <a:gd name="connsiteY3848" fmla="*/ 1184951 h 4991619"/>
              <a:gd name="connsiteX3849" fmla="*/ 6469658 w 6537372"/>
              <a:gd name="connsiteY3849" fmla="*/ 1206750 h 4991619"/>
              <a:gd name="connsiteX3850" fmla="*/ 6464474 w 6537372"/>
              <a:gd name="connsiteY3850" fmla="*/ 1199244 h 4991619"/>
              <a:gd name="connsiteX3851" fmla="*/ 6460544 w 6537372"/>
              <a:gd name="connsiteY3851" fmla="*/ 1213896 h 4991619"/>
              <a:gd name="connsiteX3852" fmla="*/ 6452683 w 6537372"/>
              <a:gd name="connsiteY3852" fmla="*/ 1220865 h 4991619"/>
              <a:gd name="connsiteX3853" fmla="*/ 6459294 w 6537372"/>
              <a:gd name="connsiteY3853" fmla="*/ 1228727 h 4991619"/>
              <a:gd name="connsiteX3854" fmla="*/ 6460723 w 6537372"/>
              <a:gd name="connsiteY3854" fmla="*/ 1239447 h 4991619"/>
              <a:gd name="connsiteX3855" fmla="*/ 6481448 w 6537372"/>
              <a:gd name="connsiteY3855" fmla="*/ 1229261 h 4991619"/>
              <a:gd name="connsiteX3856" fmla="*/ 6484308 w 6537372"/>
              <a:gd name="connsiteY3856" fmla="*/ 1242125 h 4991619"/>
              <a:gd name="connsiteX3857" fmla="*/ 6510394 w 6537372"/>
              <a:gd name="connsiteY3857" fmla="*/ 1223009 h 4991619"/>
              <a:gd name="connsiteX3858" fmla="*/ 6537372 w 6537372"/>
              <a:gd name="connsiteY3858" fmla="*/ 1202998 h 4991619"/>
              <a:gd name="connsiteX3859" fmla="*/ 6535050 w 6537372"/>
              <a:gd name="connsiteY3859" fmla="*/ 1206928 h 4991619"/>
              <a:gd name="connsiteX3860" fmla="*/ 6531476 w 6537372"/>
              <a:gd name="connsiteY3860" fmla="*/ 1216577 h 4991619"/>
              <a:gd name="connsiteX3861" fmla="*/ 6490740 w 6537372"/>
              <a:gd name="connsiteY3861" fmla="*/ 1253204 h 4991619"/>
              <a:gd name="connsiteX3862" fmla="*/ 6489668 w 6537372"/>
              <a:gd name="connsiteY3862" fmla="*/ 1256777 h 4991619"/>
              <a:gd name="connsiteX3863" fmla="*/ 6507714 w 6537372"/>
              <a:gd name="connsiteY3863" fmla="*/ 1252489 h 4991619"/>
              <a:gd name="connsiteX3864" fmla="*/ 6508784 w 6537372"/>
              <a:gd name="connsiteY3864" fmla="*/ 1253919 h 4991619"/>
              <a:gd name="connsiteX3865" fmla="*/ 6483056 w 6537372"/>
              <a:gd name="connsiteY3865" fmla="*/ 1273393 h 4991619"/>
              <a:gd name="connsiteX3866" fmla="*/ 6478412 w 6537372"/>
              <a:gd name="connsiteY3866" fmla="*/ 1262851 h 4991619"/>
              <a:gd name="connsiteX3867" fmla="*/ 6468942 w 6537372"/>
              <a:gd name="connsiteY3867" fmla="*/ 1264460 h 4991619"/>
              <a:gd name="connsiteX3868" fmla="*/ 6474302 w 6537372"/>
              <a:gd name="connsiteY3868" fmla="*/ 1271964 h 4991619"/>
              <a:gd name="connsiteX3869" fmla="*/ 6461081 w 6537372"/>
              <a:gd name="connsiteY3869" fmla="*/ 1295192 h 4991619"/>
              <a:gd name="connsiteX3870" fmla="*/ 6482522 w 6537372"/>
              <a:gd name="connsiteY3870" fmla="*/ 1283577 h 4991619"/>
              <a:gd name="connsiteX3871" fmla="*/ 6501102 w 6537372"/>
              <a:gd name="connsiteY3871" fmla="*/ 1270356 h 4991619"/>
              <a:gd name="connsiteX3872" fmla="*/ 6498601 w 6537372"/>
              <a:gd name="connsiteY3872" fmla="*/ 1276610 h 4991619"/>
              <a:gd name="connsiteX3873" fmla="*/ 6487702 w 6537372"/>
              <a:gd name="connsiteY3873" fmla="*/ 1291260 h 4991619"/>
              <a:gd name="connsiteX3874" fmla="*/ 6476624 w 6537372"/>
              <a:gd name="connsiteY3874" fmla="*/ 1299658 h 4991619"/>
              <a:gd name="connsiteX3875" fmla="*/ 6471802 w 6537372"/>
              <a:gd name="connsiteY3875" fmla="*/ 1301444 h 4991619"/>
              <a:gd name="connsiteX3876" fmla="*/ 6449466 w 6537372"/>
              <a:gd name="connsiteY3876" fmla="*/ 1302873 h 4991619"/>
              <a:gd name="connsiteX3877" fmla="*/ 6441963 w 6537372"/>
              <a:gd name="connsiteY3877" fmla="*/ 1305017 h 4991619"/>
              <a:gd name="connsiteX3878" fmla="*/ 6447858 w 6537372"/>
              <a:gd name="connsiteY3878" fmla="*/ 1309486 h 4991619"/>
              <a:gd name="connsiteX3879" fmla="*/ 6448752 w 6537372"/>
              <a:gd name="connsiteY3879" fmla="*/ 1322884 h 4991619"/>
              <a:gd name="connsiteX3880" fmla="*/ 6433208 w 6537372"/>
              <a:gd name="connsiteY3880" fmla="*/ 1336822 h 4991619"/>
              <a:gd name="connsiteX3881" fmla="*/ 6420164 w 6537372"/>
              <a:gd name="connsiteY3881" fmla="*/ 1345039 h 4991619"/>
              <a:gd name="connsiteX3882" fmla="*/ 6409802 w 6537372"/>
              <a:gd name="connsiteY3882" fmla="*/ 1356118 h 4991619"/>
              <a:gd name="connsiteX3883" fmla="*/ 6404085 w 6537372"/>
              <a:gd name="connsiteY3883" fmla="*/ 1367195 h 4991619"/>
              <a:gd name="connsiteX3884" fmla="*/ 6406050 w 6537372"/>
              <a:gd name="connsiteY3884" fmla="*/ 1368982 h 4991619"/>
              <a:gd name="connsiteX3885" fmla="*/ 6446608 w 6537372"/>
              <a:gd name="connsiteY3885" fmla="*/ 1337893 h 4991619"/>
              <a:gd name="connsiteX3886" fmla="*/ 6452503 w 6537372"/>
              <a:gd name="connsiteY3886" fmla="*/ 1342539 h 4991619"/>
              <a:gd name="connsiteX3887" fmla="*/ 6460723 w 6537372"/>
              <a:gd name="connsiteY3887" fmla="*/ 1331997 h 4991619"/>
              <a:gd name="connsiteX3888" fmla="*/ 6472694 w 6537372"/>
              <a:gd name="connsiteY3888" fmla="*/ 1337358 h 4991619"/>
              <a:gd name="connsiteX3889" fmla="*/ 6442500 w 6537372"/>
              <a:gd name="connsiteY3889" fmla="*/ 1368982 h 4991619"/>
              <a:gd name="connsiteX3890" fmla="*/ 6399440 w 6537372"/>
              <a:gd name="connsiteY3890" fmla="*/ 1411685 h 4991619"/>
              <a:gd name="connsiteX3891" fmla="*/ 6350842 w 6537372"/>
              <a:gd name="connsiteY3891" fmla="*/ 1435984 h 4991619"/>
              <a:gd name="connsiteX3892" fmla="*/ 6338690 w 6537372"/>
              <a:gd name="connsiteY3892" fmla="*/ 1444380 h 4991619"/>
              <a:gd name="connsiteX3893" fmla="*/ 6304030 w 6537372"/>
              <a:gd name="connsiteY3893" fmla="*/ 1482795 h 4991619"/>
              <a:gd name="connsiteX3894" fmla="*/ 6262400 w 6537372"/>
              <a:gd name="connsiteY3894" fmla="*/ 1512812 h 4991619"/>
              <a:gd name="connsiteX3895" fmla="*/ 6240422 w 6537372"/>
              <a:gd name="connsiteY3895" fmla="*/ 1526390 h 4991619"/>
              <a:gd name="connsiteX3896" fmla="*/ 6230954 w 6537372"/>
              <a:gd name="connsiteY3896" fmla="*/ 1525139 h 4991619"/>
              <a:gd name="connsiteX3897" fmla="*/ 6242923 w 6537372"/>
              <a:gd name="connsiteY3897" fmla="*/ 1514063 h 4991619"/>
              <a:gd name="connsiteX3898" fmla="*/ 6242923 w 6537372"/>
              <a:gd name="connsiteY3898" fmla="*/ 1496552 h 4991619"/>
              <a:gd name="connsiteX3899" fmla="*/ 6228810 w 6537372"/>
              <a:gd name="connsiteY3899" fmla="*/ 1508882 h 4991619"/>
              <a:gd name="connsiteX3900" fmla="*/ 6228810 w 6537372"/>
              <a:gd name="connsiteY3900" fmla="*/ 1511560 h 4991619"/>
              <a:gd name="connsiteX3901" fmla="*/ 6236671 w 6537372"/>
              <a:gd name="connsiteY3901" fmla="*/ 1507987 h 4991619"/>
              <a:gd name="connsiteX3902" fmla="*/ 6237028 w 6537372"/>
              <a:gd name="connsiteY3902" fmla="*/ 1511560 h 4991619"/>
              <a:gd name="connsiteX3903" fmla="*/ 6217374 w 6537372"/>
              <a:gd name="connsiteY3903" fmla="*/ 1533896 h 4991619"/>
              <a:gd name="connsiteX3904" fmla="*/ 6222556 w 6537372"/>
              <a:gd name="connsiteY3904" fmla="*/ 1535503 h 4991619"/>
              <a:gd name="connsiteX3905" fmla="*/ 6217731 w 6537372"/>
              <a:gd name="connsiteY3905" fmla="*/ 1561768 h 4991619"/>
              <a:gd name="connsiteX3906" fmla="*/ 6209692 w 6537372"/>
              <a:gd name="connsiteY3906" fmla="*/ 1568200 h 4991619"/>
              <a:gd name="connsiteX3907" fmla="*/ 6216838 w 6537372"/>
              <a:gd name="connsiteY3907" fmla="*/ 1580884 h 4991619"/>
              <a:gd name="connsiteX3908" fmla="*/ 6232918 w 6537372"/>
              <a:gd name="connsiteY3908" fmla="*/ 1576062 h 4991619"/>
              <a:gd name="connsiteX3909" fmla="*/ 6232740 w 6537372"/>
              <a:gd name="connsiteY3909" fmla="*/ 1581243 h 4991619"/>
              <a:gd name="connsiteX3910" fmla="*/ 6204330 w 6537372"/>
              <a:gd name="connsiteY3910" fmla="*/ 1597680 h 4991619"/>
              <a:gd name="connsiteX3911" fmla="*/ 6198793 w 6537372"/>
              <a:gd name="connsiteY3911" fmla="*/ 1600539 h 4991619"/>
              <a:gd name="connsiteX3912" fmla="*/ 6184498 w 6537372"/>
              <a:gd name="connsiteY3912" fmla="*/ 1608401 h 4991619"/>
              <a:gd name="connsiteX3913" fmla="*/ 6185928 w 6537372"/>
              <a:gd name="connsiteY3913" fmla="*/ 1581243 h 4991619"/>
              <a:gd name="connsiteX3914" fmla="*/ 6189858 w 6537372"/>
              <a:gd name="connsiteY3914" fmla="*/ 1578384 h 4991619"/>
              <a:gd name="connsiteX3915" fmla="*/ 6190573 w 6537372"/>
              <a:gd name="connsiteY3915" fmla="*/ 1574452 h 4991619"/>
              <a:gd name="connsiteX3916" fmla="*/ 6170206 w 6537372"/>
              <a:gd name="connsiteY3916" fmla="*/ 1572488 h 4991619"/>
              <a:gd name="connsiteX3917" fmla="*/ 6156090 w 6537372"/>
              <a:gd name="connsiteY3917" fmla="*/ 1587497 h 4991619"/>
              <a:gd name="connsiteX3918" fmla="*/ 6150551 w 6537372"/>
              <a:gd name="connsiteY3918" fmla="*/ 1586424 h 4991619"/>
              <a:gd name="connsiteX3919" fmla="*/ 6140189 w 6537372"/>
              <a:gd name="connsiteY3919" fmla="*/ 1609115 h 4991619"/>
              <a:gd name="connsiteX3920" fmla="*/ 6148228 w 6537372"/>
              <a:gd name="connsiteY3920" fmla="*/ 1621621 h 4991619"/>
              <a:gd name="connsiteX3921" fmla="*/ 6144834 w 6537372"/>
              <a:gd name="connsiteY3921" fmla="*/ 1627161 h 4991619"/>
              <a:gd name="connsiteX3922" fmla="*/ 6148407 w 6537372"/>
              <a:gd name="connsiteY3922" fmla="*/ 1631270 h 4991619"/>
              <a:gd name="connsiteX3923" fmla="*/ 6152338 w 6537372"/>
              <a:gd name="connsiteY3923" fmla="*/ 1635559 h 4991619"/>
              <a:gd name="connsiteX3924" fmla="*/ 6150194 w 6537372"/>
              <a:gd name="connsiteY3924" fmla="*/ 1638954 h 4991619"/>
              <a:gd name="connsiteX3925" fmla="*/ 6148585 w 6537372"/>
              <a:gd name="connsiteY3925" fmla="*/ 1640561 h 4991619"/>
              <a:gd name="connsiteX3926" fmla="*/ 6148585 w 6537372"/>
              <a:gd name="connsiteY3926" fmla="*/ 1663431 h 4991619"/>
              <a:gd name="connsiteX3927" fmla="*/ 6150194 w 6537372"/>
              <a:gd name="connsiteY3927" fmla="*/ 1663431 h 4991619"/>
              <a:gd name="connsiteX3928" fmla="*/ 6150729 w 6537372"/>
              <a:gd name="connsiteY3928" fmla="*/ 1665932 h 4991619"/>
              <a:gd name="connsiteX3929" fmla="*/ 6149658 w 6537372"/>
              <a:gd name="connsiteY3929" fmla="*/ 1669505 h 4991619"/>
              <a:gd name="connsiteX3930" fmla="*/ 6158771 w 6537372"/>
              <a:gd name="connsiteY3930" fmla="*/ 1668790 h 4991619"/>
              <a:gd name="connsiteX3931" fmla="*/ 6159664 w 6537372"/>
              <a:gd name="connsiteY3931" fmla="*/ 1671114 h 4991619"/>
              <a:gd name="connsiteX3932" fmla="*/ 6148585 w 6537372"/>
              <a:gd name="connsiteY3932" fmla="*/ 1677010 h 4991619"/>
              <a:gd name="connsiteX3933" fmla="*/ 6148585 w 6537372"/>
              <a:gd name="connsiteY3933" fmla="*/ 1679332 h 4991619"/>
              <a:gd name="connsiteX3934" fmla="*/ 6142690 w 6537372"/>
              <a:gd name="connsiteY3934" fmla="*/ 1683979 h 4991619"/>
              <a:gd name="connsiteX3935" fmla="*/ 6138938 w 6537372"/>
              <a:gd name="connsiteY3935" fmla="*/ 1677725 h 4991619"/>
              <a:gd name="connsiteX3936" fmla="*/ 6135721 w 6537372"/>
              <a:gd name="connsiteY3936" fmla="*/ 1678618 h 4991619"/>
              <a:gd name="connsiteX3937" fmla="*/ 6119642 w 6537372"/>
              <a:gd name="connsiteY3937" fmla="*/ 1696307 h 4991619"/>
              <a:gd name="connsiteX3938" fmla="*/ 6122142 w 6537372"/>
              <a:gd name="connsiteY3938" fmla="*/ 1710242 h 4991619"/>
              <a:gd name="connsiteX3939" fmla="*/ 6121608 w 6537372"/>
              <a:gd name="connsiteY3939" fmla="*/ 1720784 h 4991619"/>
              <a:gd name="connsiteX3940" fmla="*/ 6133398 w 6537372"/>
              <a:gd name="connsiteY3940" fmla="*/ 1712744 h 4991619"/>
              <a:gd name="connsiteX3941" fmla="*/ 6140009 w 6537372"/>
              <a:gd name="connsiteY3941" fmla="*/ 1711851 h 4991619"/>
              <a:gd name="connsiteX3942" fmla="*/ 6134828 w 6537372"/>
              <a:gd name="connsiteY3942" fmla="*/ 1723106 h 4991619"/>
              <a:gd name="connsiteX3943" fmla="*/ 6153232 w 6537372"/>
              <a:gd name="connsiteY3943" fmla="*/ 1713459 h 4991619"/>
              <a:gd name="connsiteX3944" fmla="*/ 6156983 w 6537372"/>
              <a:gd name="connsiteY3944" fmla="*/ 1712030 h 4991619"/>
              <a:gd name="connsiteX3945" fmla="*/ 6159664 w 6537372"/>
              <a:gd name="connsiteY3945" fmla="*/ 1708634 h 4991619"/>
              <a:gd name="connsiteX3946" fmla="*/ 6174136 w 6537372"/>
              <a:gd name="connsiteY3946" fmla="*/ 1698629 h 4991619"/>
              <a:gd name="connsiteX3947" fmla="*/ 6168596 w 6537372"/>
              <a:gd name="connsiteY3947" fmla="*/ 1706312 h 4991619"/>
              <a:gd name="connsiteX3948" fmla="*/ 6184678 w 6537372"/>
              <a:gd name="connsiteY3948" fmla="*/ 1708098 h 4991619"/>
              <a:gd name="connsiteX3949" fmla="*/ 6188608 w 6537372"/>
              <a:gd name="connsiteY3949" fmla="*/ 1717569 h 4991619"/>
              <a:gd name="connsiteX3950" fmla="*/ 6175923 w 6537372"/>
              <a:gd name="connsiteY3950" fmla="*/ 1727394 h 4991619"/>
              <a:gd name="connsiteX3951" fmla="*/ 6169491 w 6537372"/>
              <a:gd name="connsiteY3951" fmla="*/ 1721499 h 4991619"/>
              <a:gd name="connsiteX3952" fmla="*/ 6170562 w 6537372"/>
              <a:gd name="connsiteY3952" fmla="*/ 1722928 h 4991619"/>
              <a:gd name="connsiteX3953" fmla="*/ 6165381 w 6537372"/>
              <a:gd name="connsiteY3953" fmla="*/ 1726680 h 4991619"/>
              <a:gd name="connsiteX3954" fmla="*/ 6164130 w 6537372"/>
              <a:gd name="connsiteY3954" fmla="*/ 1724894 h 4991619"/>
              <a:gd name="connsiteX3955" fmla="*/ 6169311 w 6537372"/>
              <a:gd name="connsiteY3955" fmla="*/ 1721499 h 4991619"/>
              <a:gd name="connsiteX3956" fmla="*/ 6159306 w 6537372"/>
              <a:gd name="connsiteY3956" fmla="*/ 1715245 h 4991619"/>
              <a:gd name="connsiteX3957" fmla="*/ 6147692 w 6537372"/>
              <a:gd name="connsiteY3957" fmla="*/ 1731326 h 4991619"/>
              <a:gd name="connsiteX3958" fmla="*/ 6154482 w 6537372"/>
              <a:gd name="connsiteY3958" fmla="*/ 1732933 h 4991619"/>
              <a:gd name="connsiteX3959" fmla="*/ 6136258 w 6537372"/>
              <a:gd name="connsiteY3959" fmla="*/ 1748478 h 4991619"/>
              <a:gd name="connsiteX3960" fmla="*/ 6140367 w 6537372"/>
              <a:gd name="connsiteY3960" fmla="*/ 1735256 h 4991619"/>
              <a:gd name="connsiteX3961" fmla="*/ 6123036 w 6537372"/>
              <a:gd name="connsiteY3961" fmla="*/ 1742761 h 4991619"/>
              <a:gd name="connsiteX3962" fmla="*/ 6115710 w 6537372"/>
              <a:gd name="connsiteY3962" fmla="*/ 1747585 h 4991619"/>
              <a:gd name="connsiteX3963" fmla="*/ 6097842 w 6537372"/>
              <a:gd name="connsiteY3963" fmla="*/ 1798328 h 4991619"/>
              <a:gd name="connsiteX3964" fmla="*/ 6083371 w 6537372"/>
              <a:gd name="connsiteY3964" fmla="*/ 1835133 h 4991619"/>
              <a:gd name="connsiteX3965" fmla="*/ 6062824 w 6537372"/>
              <a:gd name="connsiteY3965" fmla="*/ 1880694 h 4991619"/>
              <a:gd name="connsiteX3966" fmla="*/ 6078726 w 6537372"/>
              <a:gd name="connsiteY3966" fmla="*/ 1876763 h 4991619"/>
              <a:gd name="connsiteX3967" fmla="*/ 6083371 w 6537372"/>
              <a:gd name="connsiteY3967" fmla="*/ 1878372 h 4991619"/>
              <a:gd name="connsiteX3968" fmla="*/ 6058894 w 6537372"/>
              <a:gd name="connsiteY3968" fmla="*/ 1889092 h 4991619"/>
              <a:gd name="connsiteX3969" fmla="*/ 6041920 w 6537372"/>
              <a:gd name="connsiteY3969" fmla="*/ 1926612 h 4991619"/>
              <a:gd name="connsiteX3970" fmla="*/ 6040134 w 6537372"/>
              <a:gd name="connsiteY3970" fmla="*/ 1930722 h 4991619"/>
              <a:gd name="connsiteX3971" fmla="*/ 6056572 w 6537372"/>
              <a:gd name="connsiteY3971" fmla="*/ 1924826 h 4991619"/>
              <a:gd name="connsiteX3972" fmla="*/ 6044600 w 6537372"/>
              <a:gd name="connsiteY3972" fmla="*/ 1941084 h 4991619"/>
              <a:gd name="connsiteX3973" fmla="*/ 6036024 w 6537372"/>
              <a:gd name="connsiteY3973" fmla="*/ 1947338 h 4991619"/>
              <a:gd name="connsiteX3974" fmla="*/ 6031199 w 6537372"/>
              <a:gd name="connsiteY3974" fmla="*/ 1951448 h 4991619"/>
              <a:gd name="connsiteX3975" fmla="*/ 6000646 w 6537372"/>
              <a:gd name="connsiteY3975" fmla="*/ 2022201 h 4991619"/>
              <a:gd name="connsiteX3976" fmla="*/ 5993143 w 6537372"/>
              <a:gd name="connsiteY3976" fmla="*/ 2043284 h 4991619"/>
              <a:gd name="connsiteX3977" fmla="*/ 5991535 w 6537372"/>
              <a:gd name="connsiteY3977" fmla="*/ 2055077 h 4991619"/>
              <a:gd name="connsiteX3978" fmla="*/ 6005470 w 6537372"/>
              <a:gd name="connsiteY3978" fmla="*/ 2050430 h 4991619"/>
              <a:gd name="connsiteX3979" fmla="*/ 6044778 w 6537372"/>
              <a:gd name="connsiteY3979" fmla="*/ 2034888 h 4991619"/>
              <a:gd name="connsiteX3980" fmla="*/ 6167882 w 6537372"/>
              <a:gd name="connsiteY3980" fmla="*/ 1979499 h 4991619"/>
              <a:gd name="connsiteX3981" fmla="*/ 6206118 w 6537372"/>
              <a:gd name="connsiteY3981" fmla="*/ 1969671 h 4991619"/>
              <a:gd name="connsiteX3982" fmla="*/ 6240422 w 6537372"/>
              <a:gd name="connsiteY3982" fmla="*/ 1968957 h 4991619"/>
              <a:gd name="connsiteX3983" fmla="*/ 6263829 w 6537372"/>
              <a:gd name="connsiteY3983" fmla="*/ 1976462 h 4991619"/>
              <a:gd name="connsiteX3984" fmla="*/ 6291344 w 6537372"/>
              <a:gd name="connsiteY3984" fmla="*/ 1983787 h 4991619"/>
              <a:gd name="connsiteX3985" fmla="*/ 6314213 w 6537372"/>
              <a:gd name="connsiteY3985" fmla="*/ 1994865 h 4991619"/>
              <a:gd name="connsiteX3986" fmla="*/ 6323682 w 6537372"/>
              <a:gd name="connsiteY3986" fmla="*/ 2001654 h 4991619"/>
              <a:gd name="connsiteX3987" fmla="*/ 6357452 w 6537372"/>
              <a:gd name="connsiteY3987" fmla="*/ 2026489 h 4991619"/>
              <a:gd name="connsiteX3988" fmla="*/ 6371031 w 6537372"/>
              <a:gd name="connsiteY3988" fmla="*/ 2043642 h 4991619"/>
              <a:gd name="connsiteX3989" fmla="*/ 6374783 w 6537372"/>
              <a:gd name="connsiteY3989" fmla="*/ 2047037 h 4991619"/>
              <a:gd name="connsiteX3990" fmla="*/ 6400690 w 6537372"/>
              <a:gd name="connsiteY3990" fmla="*/ 2076339 h 4991619"/>
              <a:gd name="connsiteX3991" fmla="*/ 6413912 w 6537372"/>
              <a:gd name="connsiteY3991" fmla="*/ 2095814 h 4991619"/>
              <a:gd name="connsiteX3992" fmla="*/ 6437853 w 6537372"/>
              <a:gd name="connsiteY3992" fmla="*/ 2131548 h 4991619"/>
              <a:gd name="connsiteX3993" fmla="*/ 6448037 w 6537372"/>
              <a:gd name="connsiteY3993" fmla="*/ 2146378 h 4991619"/>
              <a:gd name="connsiteX3994" fmla="*/ 6459652 w 6537372"/>
              <a:gd name="connsiteY3994" fmla="*/ 2165138 h 4991619"/>
              <a:gd name="connsiteX3995" fmla="*/ 6466618 w 6537372"/>
              <a:gd name="connsiteY3995" fmla="*/ 2186400 h 4991619"/>
              <a:gd name="connsiteX3996" fmla="*/ 6466084 w 6537372"/>
              <a:gd name="connsiteY3996" fmla="*/ 2206589 h 4991619"/>
              <a:gd name="connsiteX3997" fmla="*/ 6466084 w 6537372"/>
              <a:gd name="connsiteY3997" fmla="*/ 2212663 h 4991619"/>
              <a:gd name="connsiteX3998" fmla="*/ 6473409 w 6537372"/>
              <a:gd name="connsiteY3998" fmla="*/ 2276270 h 4991619"/>
              <a:gd name="connsiteX3999" fmla="*/ 6456435 w 6537372"/>
              <a:gd name="connsiteY3999" fmla="*/ 2315757 h 4991619"/>
              <a:gd name="connsiteX4000" fmla="*/ 6447322 w 6537372"/>
              <a:gd name="connsiteY4000" fmla="*/ 2334339 h 4991619"/>
              <a:gd name="connsiteX4001" fmla="*/ 6444822 w 6537372"/>
              <a:gd name="connsiteY4001" fmla="*/ 2340413 h 4991619"/>
              <a:gd name="connsiteX4002" fmla="*/ 6423738 w 6537372"/>
              <a:gd name="connsiteY4002" fmla="*/ 2370788 h 4991619"/>
              <a:gd name="connsiteX4003" fmla="*/ 6384074 w 6537372"/>
              <a:gd name="connsiteY4003" fmla="*/ 2418491 h 4991619"/>
              <a:gd name="connsiteX4004" fmla="*/ 6323682 w 6537372"/>
              <a:gd name="connsiteY4004" fmla="*/ 2469770 h 4991619"/>
              <a:gd name="connsiteX4005" fmla="*/ 6317964 w 6537372"/>
              <a:gd name="connsiteY4005" fmla="*/ 2472987 h 4991619"/>
              <a:gd name="connsiteX4006" fmla="*/ 6180568 w 6537372"/>
              <a:gd name="connsiteY4006" fmla="*/ 2566430 h 4991619"/>
              <a:gd name="connsiteX4007" fmla="*/ 6133577 w 6537372"/>
              <a:gd name="connsiteY4007" fmla="*/ 2607167 h 4991619"/>
              <a:gd name="connsiteX4008" fmla="*/ 6073009 w 6537372"/>
              <a:gd name="connsiteY4008" fmla="*/ 2660412 h 4991619"/>
              <a:gd name="connsiteX4009" fmla="*/ 6076224 w 6537372"/>
              <a:gd name="connsiteY4009" fmla="*/ 2663985 h 4991619"/>
              <a:gd name="connsiteX4010" fmla="*/ 6092662 w 6537372"/>
              <a:gd name="connsiteY4010" fmla="*/ 2652729 h 4991619"/>
              <a:gd name="connsiteX4011" fmla="*/ 6087659 w 6537372"/>
              <a:gd name="connsiteY4011" fmla="*/ 2664522 h 4991619"/>
              <a:gd name="connsiteX4012" fmla="*/ 6078368 w 6537372"/>
              <a:gd name="connsiteY4012" fmla="*/ 2667022 h 4991619"/>
              <a:gd name="connsiteX4013" fmla="*/ 6066040 w 6537372"/>
              <a:gd name="connsiteY4013" fmla="*/ 2677743 h 4991619"/>
              <a:gd name="connsiteX4014" fmla="*/ 6059428 w 6537372"/>
              <a:gd name="connsiteY4014" fmla="*/ 2683282 h 4991619"/>
              <a:gd name="connsiteX4015" fmla="*/ 6057464 w 6537372"/>
              <a:gd name="connsiteY4015" fmla="*/ 2685068 h 4991619"/>
              <a:gd name="connsiteX4016" fmla="*/ 6060501 w 6537372"/>
              <a:gd name="connsiteY4016" fmla="*/ 2687748 h 4991619"/>
              <a:gd name="connsiteX4017" fmla="*/ 6060860 w 6537372"/>
              <a:gd name="connsiteY4017" fmla="*/ 2687748 h 4991619"/>
              <a:gd name="connsiteX4018" fmla="*/ 6080512 w 6537372"/>
              <a:gd name="connsiteY4018" fmla="*/ 2679172 h 4991619"/>
              <a:gd name="connsiteX4019" fmla="*/ 6088018 w 6537372"/>
              <a:gd name="connsiteY4019" fmla="*/ 2681316 h 4991619"/>
              <a:gd name="connsiteX4020" fmla="*/ 6078190 w 6537372"/>
              <a:gd name="connsiteY4020" fmla="*/ 2684533 h 4991619"/>
              <a:gd name="connsiteX4021" fmla="*/ 6071043 w 6537372"/>
              <a:gd name="connsiteY4021" fmla="*/ 2687926 h 4991619"/>
              <a:gd name="connsiteX4022" fmla="*/ 6062288 w 6537372"/>
              <a:gd name="connsiteY4022" fmla="*/ 2691680 h 4991619"/>
              <a:gd name="connsiteX4023" fmla="*/ 6060860 w 6537372"/>
              <a:gd name="connsiteY4023" fmla="*/ 2691858 h 4991619"/>
              <a:gd name="connsiteX4024" fmla="*/ 6060501 w 6537372"/>
              <a:gd name="connsiteY4024" fmla="*/ 2693109 h 4991619"/>
              <a:gd name="connsiteX4025" fmla="*/ 6042278 w 6537372"/>
              <a:gd name="connsiteY4025" fmla="*/ 2695253 h 4991619"/>
              <a:gd name="connsiteX4026" fmla="*/ 6031558 w 6537372"/>
              <a:gd name="connsiteY4026" fmla="*/ 2697039 h 4991619"/>
              <a:gd name="connsiteX4027" fmla="*/ 6027626 w 6537372"/>
              <a:gd name="connsiteY4027" fmla="*/ 2700434 h 4991619"/>
              <a:gd name="connsiteX4028" fmla="*/ 6081405 w 6537372"/>
              <a:gd name="connsiteY4028" fmla="*/ 2703649 h 4991619"/>
              <a:gd name="connsiteX4029" fmla="*/ 6075153 w 6537372"/>
              <a:gd name="connsiteY4029" fmla="*/ 2705793 h 4991619"/>
              <a:gd name="connsiteX4030" fmla="*/ 6113210 w 6537372"/>
              <a:gd name="connsiteY4030" fmla="*/ 2709189 h 4991619"/>
              <a:gd name="connsiteX4031" fmla="*/ 6118034 w 6537372"/>
              <a:gd name="connsiteY4031" fmla="*/ 2709903 h 4991619"/>
              <a:gd name="connsiteX4032" fmla="*/ 6121071 w 6537372"/>
              <a:gd name="connsiteY4032" fmla="*/ 2709189 h 4991619"/>
              <a:gd name="connsiteX4033" fmla="*/ 6140009 w 6537372"/>
              <a:gd name="connsiteY4033" fmla="*/ 2698468 h 4991619"/>
              <a:gd name="connsiteX4034" fmla="*/ 6151980 w 6537372"/>
              <a:gd name="connsiteY4034" fmla="*/ 2692929 h 4991619"/>
              <a:gd name="connsiteX4035" fmla="*/ 6147514 w 6537372"/>
              <a:gd name="connsiteY4035" fmla="*/ 2698112 h 4991619"/>
              <a:gd name="connsiteX4036" fmla="*/ 6148407 w 6537372"/>
              <a:gd name="connsiteY4036" fmla="*/ 2700256 h 4991619"/>
              <a:gd name="connsiteX4037" fmla="*/ 6172528 w 6537372"/>
              <a:gd name="connsiteY4037" fmla="*/ 2703829 h 4991619"/>
              <a:gd name="connsiteX4038" fmla="*/ 6183963 w 6537372"/>
              <a:gd name="connsiteY4038" fmla="*/ 2686855 h 4991619"/>
              <a:gd name="connsiteX4039" fmla="*/ 6198256 w 6537372"/>
              <a:gd name="connsiteY4039" fmla="*/ 2686855 h 4991619"/>
              <a:gd name="connsiteX4040" fmla="*/ 6188608 w 6537372"/>
              <a:gd name="connsiteY4040" fmla="*/ 2691322 h 4991619"/>
              <a:gd name="connsiteX4041" fmla="*/ 6194505 w 6537372"/>
              <a:gd name="connsiteY4041" fmla="*/ 2695788 h 4991619"/>
              <a:gd name="connsiteX4042" fmla="*/ 6190752 w 6537372"/>
              <a:gd name="connsiteY4042" fmla="*/ 2702756 h 4991619"/>
              <a:gd name="connsiteX4043" fmla="*/ 6216838 w 6537372"/>
              <a:gd name="connsiteY4043" fmla="*/ 2703293 h 4991619"/>
              <a:gd name="connsiteX4044" fmla="*/ 6215946 w 6537372"/>
              <a:gd name="connsiteY4044" fmla="*/ 2710440 h 4991619"/>
              <a:gd name="connsiteX4045" fmla="*/ 6178067 w 6537372"/>
              <a:gd name="connsiteY4045" fmla="*/ 2715979 h 4991619"/>
              <a:gd name="connsiteX4046" fmla="*/ 6134292 w 6537372"/>
              <a:gd name="connsiteY4046" fmla="*/ 2720087 h 4991619"/>
              <a:gd name="connsiteX4047" fmla="*/ 6136972 w 6537372"/>
              <a:gd name="connsiteY4047" fmla="*/ 2723840 h 4991619"/>
              <a:gd name="connsiteX4048" fmla="*/ 6139831 w 6537372"/>
              <a:gd name="connsiteY4048" fmla="*/ 2727414 h 4991619"/>
              <a:gd name="connsiteX4049" fmla="*/ 6157162 w 6537372"/>
              <a:gd name="connsiteY4049" fmla="*/ 2725448 h 4991619"/>
              <a:gd name="connsiteX4050" fmla="*/ 6142690 w 6537372"/>
              <a:gd name="connsiteY4050" fmla="*/ 2731880 h 4991619"/>
              <a:gd name="connsiteX4051" fmla="*/ 6143404 w 6537372"/>
              <a:gd name="connsiteY4051" fmla="*/ 2738849 h 4991619"/>
              <a:gd name="connsiteX4052" fmla="*/ 6138402 w 6537372"/>
              <a:gd name="connsiteY4052" fmla="*/ 2749389 h 4991619"/>
              <a:gd name="connsiteX4053" fmla="*/ 6145906 w 6537372"/>
              <a:gd name="connsiteY4053" fmla="*/ 2748854 h 4991619"/>
              <a:gd name="connsiteX4054" fmla="*/ 6143404 w 6537372"/>
              <a:gd name="connsiteY4054" fmla="*/ 2751533 h 4991619"/>
              <a:gd name="connsiteX4055" fmla="*/ 6169311 w 6537372"/>
              <a:gd name="connsiteY4055" fmla="*/ 2750998 h 4991619"/>
              <a:gd name="connsiteX4056" fmla="*/ 6072292 w 6537372"/>
              <a:gd name="connsiteY4056" fmla="*/ 2773868 h 4991619"/>
              <a:gd name="connsiteX4057" fmla="*/ 6078546 w 6537372"/>
              <a:gd name="connsiteY4057" fmla="*/ 2788340 h 4991619"/>
              <a:gd name="connsiteX4058" fmla="*/ 6082836 w 6537372"/>
              <a:gd name="connsiteY4058" fmla="*/ 2791555 h 4991619"/>
              <a:gd name="connsiteX4059" fmla="*/ 6100882 w 6537372"/>
              <a:gd name="connsiteY4059" fmla="*/ 2793343 h 4991619"/>
              <a:gd name="connsiteX4060" fmla="*/ 6193610 w 6537372"/>
              <a:gd name="connsiteY4060" fmla="*/ 2801204 h 4991619"/>
              <a:gd name="connsiteX4061" fmla="*/ 6201652 w 6537372"/>
              <a:gd name="connsiteY4061" fmla="*/ 2793879 h 4991619"/>
              <a:gd name="connsiteX4062" fmla="*/ 6200042 w 6537372"/>
              <a:gd name="connsiteY4062" fmla="*/ 2802097 h 4991619"/>
              <a:gd name="connsiteX4063" fmla="*/ 6224342 w 6537372"/>
              <a:gd name="connsiteY4063" fmla="*/ 2807458 h 4991619"/>
              <a:gd name="connsiteX4064" fmla="*/ 6238457 w 6537372"/>
              <a:gd name="connsiteY4064" fmla="*/ 2807278 h 4991619"/>
              <a:gd name="connsiteX4065" fmla="*/ 6231846 w 6537372"/>
              <a:gd name="connsiteY4065" fmla="*/ 2810137 h 4991619"/>
              <a:gd name="connsiteX4066" fmla="*/ 6240959 w 6537372"/>
              <a:gd name="connsiteY4066" fmla="*/ 2818178 h 4991619"/>
              <a:gd name="connsiteX4067" fmla="*/ 6223092 w 6537372"/>
              <a:gd name="connsiteY4067" fmla="*/ 2818357 h 4991619"/>
              <a:gd name="connsiteX4068" fmla="*/ 6069970 w 6537372"/>
              <a:gd name="connsiteY4068" fmla="*/ 2804419 h 4991619"/>
              <a:gd name="connsiteX4069" fmla="*/ 6067292 w 6537372"/>
              <a:gd name="connsiteY4069" fmla="*/ 2805314 h 4991619"/>
              <a:gd name="connsiteX4070" fmla="*/ 6069614 w 6537372"/>
              <a:gd name="connsiteY4070" fmla="*/ 2811388 h 4991619"/>
              <a:gd name="connsiteX4071" fmla="*/ 6038524 w 6537372"/>
              <a:gd name="connsiteY4071" fmla="*/ 2809066 h 4991619"/>
              <a:gd name="connsiteX4072" fmla="*/ 6045136 w 6537372"/>
              <a:gd name="connsiteY4072" fmla="*/ 2815498 h 4991619"/>
              <a:gd name="connsiteX4073" fmla="*/ 5987782 w 6537372"/>
              <a:gd name="connsiteY4073" fmla="*/ 2817464 h 4991619"/>
              <a:gd name="connsiteX4074" fmla="*/ 5978491 w 6537372"/>
              <a:gd name="connsiteY4074" fmla="*/ 2821037 h 4991619"/>
              <a:gd name="connsiteX4075" fmla="*/ 5979028 w 6537372"/>
              <a:gd name="connsiteY4075" fmla="*/ 2816749 h 4991619"/>
              <a:gd name="connsiteX4076" fmla="*/ 5975098 w 6537372"/>
              <a:gd name="connsiteY4076" fmla="*/ 2816213 h 4991619"/>
              <a:gd name="connsiteX4077" fmla="*/ 5974203 w 6537372"/>
              <a:gd name="connsiteY4077" fmla="*/ 2828540 h 4991619"/>
              <a:gd name="connsiteX4078" fmla="*/ 5994928 w 6537372"/>
              <a:gd name="connsiteY4078" fmla="*/ 2827826 h 4991619"/>
              <a:gd name="connsiteX4079" fmla="*/ 6019942 w 6537372"/>
              <a:gd name="connsiteY4079" fmla="*/ 2824789 h 4991619"/>
              <a:gd name="connsiteX4080" fmla="*/ 6025840 w 6537372"/>
              <a:gd name="connsiteY4080" fmla="*/ 2821752 h 4991619"/>
              <a:gd name="connsiteX4081" fmla="*/ 6041026 w 6537372"/>
              <a:gd name="connsiteY4081" fmla="*/ 2817820 h 4991619"/>
              <a:gd name="connsiteX4082" fmla="*/ 6041207 w 6537372"/>
              <a:gd name="connsiteY4082" fmla="*/ 2819151 h 4991619"/>
              <a:gd name="connsiteX4083" fmla="*/ 6038770 w 6537372"/>
              <a:gd name="connsiteY4083" fmla="*/ 2819250 h 4991619"/>
              <a:gd name="connsiteX4084" fmla="*/ 6036380 w 6537372"/>
              <a:gd name="connsiteY4084" fmla="*/ 2823716 h 4991619"/>
              <a:gd name="connsiteX4085" fmla="*/ 6039060 w 6537372"/>
              <a:gd name="connsiteY4085" fmla="*/ 2823001 h 4991619"/>
              <a:gd name="connsiteX4086" fmla="*/ 6042189 w 6537372"/>
              <a:gd name="connsiteY4086" fmla="*/ 2822149 h 4991619"/>
              <a:gd name="connsiteX4087" fmla="*/ 6044956 w 6537372"/>
              <a:gd name="connsiteY4087" fmla="*/ 2823896 h 4991619"/>
              <a:gd name="connsiteX4088" fmla="*/ 6055498 w 6537372"/>
              <a:gd name="connsiteY4088" fmla="*/ 2822467 h 4991619"/>
              <a:gd name="connsiteX4089" fmla="*/ 6060323 w 6537372"/>
              <a:gd name="connsiteY4089" fmla="*/ 2822286 h 4991619"/>
              <a:gd name="connsiteX4090" fmla="*/ 6088552 w 6537372"/>
              <a:gd name="connsiteY4090" fmla="*/ 2823896 h 4991619"/>
              <a:gd name="connsiteX4091" fmla="*/ 6089446 w 6537372"/>
              <a:gd name="connsiteY4091" fmla="*/ 2821572 h 4991619"/>
              <a:gd name="connsiteX4092" fmla="*/ 6091769 w 6537372"/>
              <a:gd name="connsiteY4092" fmla="*/ 2822645 h 4991619"/>
              <a:gd name="connsiteX4093" fmla="*/ 6091410 w 6537372"/>
              <a:gd name="connsiteY4093" fmla="*/ 2824074 h 4991619"/>
              <a:gd name="connsiteX4094" fmla="*/ 6106240 w 6537372"/>
              <a:gd name="connsiteY4094" fmla="*/ 2825682 h 4991619"/>
              <a:gd name="connsiteX4095" fmla="*/ 6103560 w 6537372"/>
              <a:gd name="connsiteY4095" fmla="*/ 2823716 h 4991619"/>
              <a:gd name="connsiteX4096" fmla="*/ 6121249 w 6537372"/>
              <a:gd name="connsiteY4096" fmla="*/ 2817284 h 4991619"/>
              <a:gd name="connsiteX4097" fmla="*/ 6115890 w 6537372"/>
              <a:gd name="connsiteY4097" fmla="*/ 2826755 h 4991619"/>
              <a:gd name="connsiteX4098" fmla="*/ 6144119 w 6537372"/>
              <a:gd name="connsiteY4098" fmla="*/ 2829792 h 4991619"/>
              <a:gd name="connsiteX4099" fmla="*/ 6180746 w 6537372"/>
              <a:gd name="connsiteY4099" fmla="*/ 2831221 h 4991619"/>
              <a:gd name="connsiteX4100" fmla="*/ 6216660 w 6537372"/>
              <a:gd name="connsiteY4100" fmla="*/ 2836580 h 4991619"/>
              <a:gd name="connsiteX4101" fmla="*/ 6217016 w 6537372"/>
              <a:gd name="connsiteY4101" fmla="*/ 2834258 h 4991619"/>
              <a:gd name="connsiteX4102" fmla="*/ 6219518 w 6537372"/>
              <a:gd name="connsiteY4102" fmla="*/ 2836402 h 4991619"/>
              <a:gd name="connsiteX4103" fmla="*/ 6225236 w 6537372"/>
              <a:gd name="connsiteY4103" fmla="*/ 2836938 h 4991619"/>
              <a:gd name="connsiteX4104" fmla="*/ 6233096 w 6537372"/>
              <a:gd name="connsiteY4104" fmla="*/ 2841048 h 4991619"/>
              <a:gd name="connsiteX4105" fmla="*/ 6217910 w 6537372"/>
              <a:gd name="connsiteY4105" fmla="*/ 2843907 h 4991619"/>
              <a:gd name="connsiteX4106" fmla="*/ 6214158 w 6537372"/>
              <a:gd name="connsiteY4106" fmla="*/ 2846586 h 4991619"/>
              <a:gd name="connsiteX4107" fmla="*/ 6226666 w 6537372"/>
              <a:gd name="connsiteY4107" fmla="*/ 2855342 h 4991619"/>
              <a:gd name="connsiteX4108" fmla="*/ 6247926 w 6537372"/>
              <a:gd name="connsiteY4108" fmla="*/ 2856949 h 4991619"/>
              <a:gd name="connsiteX4109" fmla="*/ 6261326 w 6537372"/>
              <a:gd name="connsiteY4109" fmla="*/ 2869636 h 4991619"/>
              <a:gd name="connsiteX4110" fmla="*/ 6249892 w 6537372"/>
              <a:gd name="connsiteY4110" fmla="*/ 2874458 h 4991619"/>
              <a:gd name="connsiteX4111" fmla="*/ 6149480 w 6537372"/>
              <a:gd name="connsiteY4111" fmla="*/ 2881605 h 4991619"/>
              <a:gd name="connsiteX4112" fmla="*/ 6122142 w 6537372"/>
              <a:gd name="connsiteY4112" fmla="*/ 2886430 h 4991619"/>
              <a:gd name="connsiteX4113" fmla="*/ 6113746 w 6537372"/>
              <a:gd name="connsiteY4113" fmla="*/ 2886788 h 4991619"/>
              <a:gd name="connsiteX4114" fmla="*/ 6123930 w 6537372"/>
              <a:gd name="connsiteY4114" fmla="*/ 2891076 h 4991619"/>
              <a:gd name="connsiteX4115" fmla="*/ 6136972 w 6537372"/>
              <a:gd name="connsiteY4115" fmla="*/ 2889825 h 4991619"/>
              <a:gd name="connsiteX4116" fmla="*/ 6133577 w 6537372"/>
              <a:gd name="connsiteY4116" fmla="*/ 2892862 h 4991619"/>
              <a:gd name="connsiteX4117" fmla="*/ 6136972 w 6537372"/>
              <a:gd name="connsiteY4117" fmla="*/ 2893935 h 4991619"/>
              <a:gd name="connsiteX4118" fmla="*/ 6141260 w 6537372"/>
              <a:gd name="connsiteY4118" fmla="*/ 2910729 h 4991619"/>
              <a:gd name="connsiteX4119" fmla="*/ 6134828 w 6537372"/>
              <a:gd name="connsiteY4119" fmla="*/ 2915017 h 4991619"/>
              <a:gd name="connsiteX4120" fmla="*/ 6134828 w 6537372"/>
              <a:gd name="connsiteY4120" fmla="*/ 2915195 h 4991619"/>
              <a:gd name="connsiteX4121" fmla="*/ 6132862 w 6537372"/>
              <a:gd name="connsiteY4121" fmla="*/ 2918949 h 4991619"/>
              <a:gd name="connsiteX4122" fmla="*/ 6141082 w 6537372"/>
              <a:gd name="connsiteY4122" fmla="*/ 2918590 h 4991619"/>
              <a:gd name="connsiteX4123" fmla="*/ 6146978 w 6537372"/>
              <a:gd name="connsiteY4123" fmla="*/ 2913051 h 4991619"/>
              <a:gd name="connsiteX4124" fmla="*/ 6156983 w 6537372"/>
              <a:gd name="connsiteY4124" fmla="*/ 2913766 h 4991619"/>
              <a:gd name="connsiteX4125" fmla="*/ 6156983 w 6537372"/>
              <a:gd name="connsiteY4125" fmla="*/ 2912695 h 4991619"/>
              <a:gd name="connsiteX4126" fmla="*/ 6163594 w 6537372"/>
              <a:gd name="connsiteY4126" fmla="*/ 2911622 h 4991619"/>
              <a:gd name="connsiteX4127" fmla="*/ 6163774 w 6537372"/>
              <a:gd name="connsiteY4127" fmla="*/ 2913946 h 4991619"/>
              <a:gd name="connsiteX4128" fmla="*/ 6157698 w 6537372"/>
              <a:gd name="connsiteY4128" fmla="*/ 2914839 h 4991619"/>
              <a:gd name="connsiteX4129" fmla="*/ 6158056 w 6537372"/>
              <a:gd name="connsiteY4129" fmla="*/ 2915732 h 4991619"/>
              <a:gd name="connsiteX4130" fmla="*/ 6166810 w 6537372"/>
              <a:gd name="connsiteY4130" fmla="*/ 2916446 h 4991619"/>
              <a:gd name="connsiteX4131" fmla="*/ 6192180 w 6537372"/>
              <a:gd name="connsiteY4131" fmla="*/ 2917339 h 4991619"/>
              <a:gd name="connsiteX4132" fmla="*/ 6284374 w 6537372"/>
              <a:gd name="connsiteY4132" fmla="*/ 2914480 h 4991619"/>
              <a:gd name="connsiteX4133" fmla="*/ 6303314 w 6537372"/>
              <a:gd name="connsiteY4133" fmla="*/ 2910907 h 4991619"/>
              <a:gd name="connsiteX4134" fmla="*/ 6346732 w 6537372"/>
              <a:gd name="connsiteY4134" fmla="*/ 2899652 h 4991619"/>
              <a:gd name="connsiteX4135" fmla="*/ 6362990 w 6537372"/>
              <a:gd name="connsiteY4135" fmla="*/ 2902511 h 4991619"/>
              <a:gd name="connsiteX4136" fmla="*/ 6365314 w 6537372"/>
              <a:gd name="connsiteY4136" fmla="*/ 2906977 h 4991619"/>
              <a:gd name="connsiteX4137" fmla="*/ 6362634 w 6537372"/>
              <a:gd name="connsiteY4137" fmla="*/ 2911443 h 4991619"/>
              <a:gd name="connsiteX4138" fmla="*/ 6343337 w 6537372"/>
              <a:gd name="connsiteY4138" fmla="*/ 2920020 h 4991619"/>
              <a:gd name="connsiteX4139" fmla="*/ 6353879 w 6537372"/>
              <a:gd name="connsiteY4139" fmla="*/ 2926810 h 4991619"/>
              <a:gd name="connsiteX4140" fmla="*/ 6422666 w 6537372"/>
              <a:gd name="connsiteY4140" fmla="*/ 2935921 h 4991619"/>
              <a:gd name="connsiteX4141" fmla="*/ 6356380 w 6537372"/>
              <a:gd name="connsiteY4141" fmla="*/ 2934672 h 4991619"/>
              <a:gd name="connsiteX4142" fmla="*/ 6328328 w 6537372"/>
              <a:gd name="connsiteY4142" fmla="*/ 2935921 h 4991619"/>
              <a:gd name="connsiteX4143" fmla="*/ 6297776 w 6537372"/>
              <a:gd name="connsiteY4143" fmla="*/ 2938245 h 4991619"/>
              <a:gd name="connsiteX4144" fmla="*/ 6275798 w 6537372"/>
              <a:gd name="connsiteY4144" fmla="*/ 2943248 h 4991619"/>
              <a:gd name="connsiteX4145" fmla="*/ 6286162 w 6537372"/>
              <a:gd name="connsiteY4145" fmla="*/ 2948429 h 4991619"/>
              <a:gd name="connsiteX4146" fmla="*/ 6328685 w 6537372"/>
              <a:gd name="connsiteY4146" fmla="*/ 2961471 h 4991619"/>
              <a:gd name="connsiteX4147" fmla="*/ 6367992 w 6537372"/>
              <a:gd name="connsiteY4147" fmla="*/ 2961471 h 4991619"/>
              <a:gd name="connsiteX4148" fmla="*/ 6477875 w 6537372"/>
              <a:gd name="connsiteY4148" fmla="*/ 2966652 h 4991619"/>
              <a:gd name="connsiteX4149" fmla="*/ 6500745 w 6537372"/>
              <a:gd name="connsiteY4149" fmla="*/ 2970940 h 4991619"/>
              <a:gd name="connsiteX4150" fmla="*/ 6495920 w 6537372"/>
              <a:gd name="connsiteY4150" fmla="*/ 2975587 h 4991619"/>
              <a:gd name="connsiteX4151" fmla="*/ 6421059 w 6537372"/>
              <a:gd name="connsiteY4151" fmla="*/ 2987558 h 4991619"/>
              <a:gd name="connsiteX4152" fmla="*/ 6370316 w 6537372"/>
              <a:gd name="connsiteY4152" fmla="*/ 2988093 h 4991619"/>
              <a:gd name="connsiteX4153" fmla="*/ 6367100 w 6537372"/>
              <a:gd name="connsiteY4153" fmla="*/ 2988093 h 4991619"/>
              <a:gd name="connsiteX4154" fmla="*/ 6367278 w 6537372"/>
              <a:gd name="connsiteY4154" fmla="*/ 2988807 h 4991619"/>
              <a:gd name="connsiteX4155" fmla="*/ 6360131 w 6537372"/>
              <a:gd name="connsiteY4155" fmla="*/ 2991488 h 4991619"/>
              <a:gd name="connsiteX4156" fmla="*/ 6359416 w 6537372"/>
              <a:gd name="connsiteY4156" fmla="*/ 2988629 h 4991619"/>
              <a:gd name="connsiteX4157" fmla="*/ 6361026 w 6537372"/>
              <a:gd name="connsiteY4157" fmla="*/ 2987914 h 4991619"/>
              <a:gd name="connsiteX4158" fmla="*/ 6325112 w 6537372"/>
              <a:gd name="connsiteY4158" fmla="*/ 2987558 h 4991619"/>
              <a:gd name="connsiteX4159" fmla="*/ 6310998 w 6537372"/>
              <a:gd name="connsiteY4159" fmla="*/ 2997383 h 4991619"/>
              <a:gd name="connsiteX4160" fmla="*/ 6297241 w 6537372"/>
              <a:gd name="connsiteY4160" fmla="*/ 2997383 h 4991619"/>
              <a:gd name="connsiteX4161" fmla="*/ 6297241 w 6537372"/>
              <a:gd name="connsiteY4161" fmla="*/ 3000064 h 4991619"/>
              <a:gd name="connsiteX4162" fmla="*/ 6323326 w 6537372"/>
              <a:gd name="connsiteY4162" fmla="*/ 3002030 h 4991619"/>
              <a:gd name="connsiteX4163" fmla="*/ 6338690 w 6537372"/>
              <a:gd name="connsiteY4163" fmla="*/ 3003101 h 4991619"/>
              <a:gd name="connsiteX4164" fmla="*/ 6343158 w 6537372"/>
              <a:gd name="connsiteY4164" fmla="*/ 3002386 h 4991619"/>
              <a:gd name="connsiteX4165" fmla="*/ 6364062 w 6537372"/>
              <a:gd name="connsiteY4165" fmla="*/ 2996669 h 4991619"/>
              <a:gd name="connsiteX4166" fmla="*/ 6379249 w 6537372"/>
              <a:gd name="connsiteY4166" fmla="*/ 2994525 h 4991619"/>
              <a:gd name="connsiteX4167" fmla="*/ 6404800 w 6537372"/>
              <a:gd name="connsiteY4167" fmla="*/ 2996134 h 4991619"/>
              <a:gd name="connsiteX4168" fmla="*/ 6393364 w 6537372"/>
              <a:gd name="connsiteY4168" fmla="*/ 3000242 h 4991619"/>
              <a:gd name="connsiteX4169" fmla="*/ 6403548 w 6537372"/>
              <a:gd name="connsiteY4169" fmla="*/ 3001852 h 4991619"/>
              <a:gd name="connsiteX4170" fmla="*/ 6387647 w 6537372"/>
              <a:gd name="connsiteY4170" fmla="*/ 3021326 h 4991619"/>
              <a:gd name="connsiteX4171" fmla="*/ 6446429 w 6537372"/>
              <a:gd name="connsiteY4171" fmla="*/ 3026685 h 4991619"/>
              <a:gd name="connsiteX4172" fmla="*/ 6444822 w 6537372"/>
              <a:gd name="connsiteY4172" fmla="*/ 3033476 h 4991619"/>
              <a:gd name="connsiteX4173" fmla="*/ 6440356 w 6537372"/>
              <a:gd name="connsiteY4173" fmla="*/ 3038657 h 4991619"/>
              <a:gd name="connsiteX4174" fmla="*/ 6431064 w 6537372"/>
              <a:gd name="connsiteY4174" fmla="*/ 3042230 h 4991619"/>
              <a:gd name="connsiteX4175" fmla="*/ 6411410 w 6537372"/>
              <a:gd name="connsiteY4175" fmla="*/ 3044911 h 4991619"/>
              <a:gd name="connsiteX4176" fmla="*/ 6417308 w 6537372"/>
              <a:gd name="connsiteY4176" fmla="*/ 3059919 h 4991619"/>
              <a:gd name="connsiteX4177" fmla="*/ 6430884 w 6537372"/>
              <a:gd name="connsiteY4177" fmla="*/ 3064207 h 4991619"/>
              <a:gd name="connsiteX4178" fmla="*/ 6440890 w 6537372"/>
              <a:gd name="connsiteY4178" fmla="*/ 3063671 h 4991619"/>
              <a:gd name="connsiteX4179" fmla="*/ 6429634 w 6537372"/>
              <a:gd name="connsiteY4179" fmla="*/ 3070461 h 4991619"/>
              <a:gd name="connsiteX4180" fmla="*/ 6432850 w 6537372"/>
              <a:gd name="connsiteY4180" fmla="*/ 3081001 h 4991619"/>
              <a:gd name="connsiteX4181" fmla="*/ 6448752 w 6537372"/>
              <a:gd name="connsiteY4181" fmla="*/ 3078142 h 4991619"/>
              <a:gd name="connsiteX4182" fmla="*/ 6478412 w 6537372"/>
              <a:gd name="connsiteY4182" fmla="*/ 3083860 h 4991619"/>
              <a:gd name="connsiteX4183" fmla="*/ 6467155 w 6537372"/>
              <a:gd name="connsiteY4183" fmla="*/ 3084040 h 4991619"/>
              <a:gd name="connsiteX4184" fmla="*/ 6455898 w 6537372"/>
              <a:gd name="connsiteY4184" fmla="*/ 3085648 h 4991619"/>
              <a:gd name="connsiteX4185" fmla="*/ 6448574 w 6537372"/>
              <a:gd name="connsiteY4185" fmla="*/ 3086540 h 4991619"/>
              <a:gd name="connsiteX4186" fmla="*/ 6437496 w 6537372"/>
              <a:gd name="connsiteY4186" fmla="*/ 3098868 h 4991619"/>
              <a:gd name="connsiteX4187" fmla="*/ 6425525 w 6537372"/>
              <a:gd name="connsiteY4187" fmla="*/ 3089043 h 4991619"/>
              <a:gd name="connsiteX4188" fmla="*/ 6421237 w 6537372"/>
              <a:gd name="connsiteY4188" fmla="*/ 3097082 h 4991619"/>
              <a:gd name="connsiteX4189" fmla="*/ 6381574 w 6537372"/>
              <a:gd name="connsiteY4189" fmla="*/ 3100119 h 4991619"/>
              <a:gd name="connsiteX4190" fmla="*/ 6378712 w 6537372"/>
              <a:gd name="connsiteY4190" fmla="*/ 3102622 h 4991619"/>
              <a:gd name="connsiteX4191" fmla="*/ 6403726 w 6537372"/>
              <a:gd name="connsiteY4191" fmla="*/ 3108159 h 4991619"/>
              <a:gd name="connsiteX4192" fmla="*/ 6367992 w 6537372"/>
              <a:gd name="connsiteY4192" fmla="*/ 3109947 h 4991619"/>
              <a:gd name="connsiteX4193" fmla="*/ 6366743 w 6537372"/>
              <a:gd name="connsiteY4193" fmla="*/ 3129780 h 4991619"/>
              <a:gd name="connsiteX4194" fmla="*/ 6423560 w 6537372"/>
              <a:gd name="connsiteY4194" fmla="*/ 3133531 h 4991619"/>
              <a:gd name="connsiteX4195" fmla="*/ 6398902 w 6537372"/>
              <a:gd name="connsiteY4195" fmla="*/ 3226082 h 4991619"/>
              <a:gd name="connsiteX4196" fmla="*/ 6329758 w 6537372"/>
              <a:gd name="connsiteY4196" fmla="*/ 3251632 h 4991619"/>
              <a:gd name="connsiteX4197" fmla="*/ 6291344 w 6537372"/>
              <a:gd name="connsiteY4197" fmla="*/ 3286295 h 4991619"/>
              <a:gd name="connsiteX4198" fmla="*/ 6194683 w 6537372"/>
              <a:gd name="connsiteY4198" fmla="*/ 3311309 h 4991619"/>
              <a:gd name="connsiteX4199" fmla="*/ 6196469 w 6537372"/>
              <a:gd name="connsiteY4199" fmla="*/ 3311309 h 4991619"/>
              <a:gd name="connsiteX4200" fmla="*/ 6233096 w 6537372"/>
              <a:gd name="connsiteY4200" fmla="*/ 3310594 h 4991619"/>
              <a:gd name="connsiteX4201" fmla="*/ 6289914 w 6537372"/>
              <a:gd name="connsiteY4201" fmla="*/ 3306484 h 4991619"/>
              <a:gd name="connsiteX4202" fmla="*/ 6298312 w 6537372"/>
              <a:gd name="connsiteY4202" fmla="*/ 3304697 h 4991619"/>
              <a:gd name="connsiteX4203" fmla="*/ 6317250 w 6537372"/>
              <a:gd name="connsiteY4203" fmla="*/ 3317741 h 4991619"/>
              <a:gd name="connsiteX4204" fmla="*/ 6299563 w 6537372"/>
              <a:gd name="connsiteY4204" fmla="*/ 3324708 h 4991619"/>
              <a:gd name="connsiteX4205" fmla="*/ 6231846 w 6537372"/>
              <a:gd name="connsiteY4205" fmla="*/ 3329891 h 4991619"/>
              <a:gd name="connsiteX4206" fmla="*/ 6231796 w 6537372"/>
              <a:gd name="connsiteY4206" fmla="*/ 3329890 h 4991619"/>
              <a:gd name="connsiteX4207" fmla="*/ 6232024 w 6537372"/>
              <a:gd name="connsiteY4207" fmla="*/ 3329710 h 4991619"/>
              <a:gd name="connsiteX4208" fmla="*/ 6231086 w 6537372"/>
              <a:gd name="connsiteY4208" fmla="*/ 3329877 h 4991619"/>
              <a:gd name="connsiteX4209" fmla="*/ 6212192 w 6537372"/>
              <a:gd name="connsiteY4209" fmla="*/ 3329532 h 4991619"/>
              <a:gd name="connsiteX4210" fmla="*/ 6177172 w 6537372"/>
              <a:gd name="connsiteY4210" fmla="*/ 3333106 h 4991619"/>
              <a:gd name="connsiteX4211" fmla="*/ 6189144 w 6537372"/>
              <a:gd name="connsiteY4211" fmla="*/ 3336501 h 4991619"/>
              <a:gd name="connsiteX4212" fmla="*/ 6190752 w 6537372"/>
              <a:gd name="connsiteY4212" fmla="*/ 3337037 h 4991619"/>
              <a:gd name="connsiteX4213" fmla="*/ 6231086 w 6537372"/>
              <a:gd name="connsiteY4213" fmla="*/ 3329877 h 4991619"/>
              <a:gd name="connsiteX4214" fmla="*/ 6231796 w 6537372"/>
              <a:gd name="connsiteY4214" fmla="*/ 3329890 h 4991619"/>
              <a:gd name="connsiteX4215" fmla="*/ 6220232 w 6537372"/>
              <a:gd name="connsiteY4215" fmla="*/ 3339001 h 4991619"/>
              <a:gd name="connsiteX4216" fmla="*/ 6238457 w 6537372"/>
              <a:gd name="connsiteY4216" fmla="*/ 3344899 h 4991619"/>
              <a:gd name="connsiteX4217" fmla="*/ 6242923 w 6537372"/>
              <a:gd name="connsiteY4217" fmla="*/ 3345970 h 4991619"/>
              <a:gd name="connsiteX4218" fmla="*/ 6242923 w 6537372"/>
              <a:gd name="connsiteY4218" fmla="*/ 3345613 h 4991619"/>
              <a:gd name="connsiteX4219" fmla="*/ 6243460 w 6537372"/>
              <a:gd name="connsiteY4219" fmla="*/ 3345613 h 4991619"/>
              <a:gd name="connsiteX4220" fmla="*/ 6243103 w 6537372"/>
              <a:gd name="connsiteY4220" fmla="*/ 3345970 h 4991619"/>
              <a:gd name="connsiteX4221" fmla="*/ 6254002 w 6537372"/>
              <a:gd name="connsiteY4221" fmla="*/ 3349722 h 4991619"/>
              <a:gd name="connsiteX4222" fmla="*/ 6264364 w 6537372"/>
              <a:gd name="connsiteY4222" fmla="*/ 3358834 h 4991619"/>
              <a:gd name="connsiteX4223" fmla="*/ 6266508 w 6537372"/>
              <a:gd name="connsiteY4223" fmla="*/ 3376879 h 4991619"/>
              <a:gd name="connsiteX4224" fmla="*/ 6257575 w 6537372"/>
              <a:gd name="connsiteY4224" fmla="*/ 3378131 h 4991619"/>
              <a:gd name="connsiteX4225" fmla="*/ 6261863 w 6537372"/>
              <a:gd name="connsiteY4225" fmla="*/ 3366874 h 4991619"/>
              <a:gd name="connsiteX4226" fmla="*/ 6242745 w 6537372"/>
              <a:gd name="connsiteY4226" fmla="*/ 3354546 h 4991619"/>
              <a:gd name="connsiteX4227" fmla="*/ 6233990 w 6537372"/>
              <a:gd name="connsiteY4227" fmla="*/ 3350794 h 4991619"/>
              <a:gd name="connsiteX4228" fmla="*/ 6220770 w 6537372"/>
              <a:gd name="connsiteY4228" fmla="*/ 3345792 h 4991619"/>
              <a:gd name="connsiteX4229" fmla="*/ 6195934 w 6537372"/>
              <a:gd name="connsiteY4229" fmla="*/ 3343648 h 4991619"/>
              <a:gd name="connsiteX4230" fmla="*/ 6163237 w 6537372"/>
              <a:gd name="connsiteY4230" fmla="*/ 3354724 h 4991619"/>
              <a:gd name="connsiteX4231" fmla="*/ 6149122 w 6537372"/>
              <a:gd name="connsiteY4231" fmla="*/ 3349007 h 4991619"/>
              <a:gd name="connsiteX4232" fmla="*/ 6146084 w 6537372"/>
              <a:gd name="connsiteY4232" fmla="*/ 3352939 h 4991619"/>
              <a:gd name="connsiteX4233" fmla="*/ 6143760 w 6537372"/>
              <a:gd name="connsiteY4233" fmla="*/ 3361336 h 4991619"/>
              <a:gd name="connsiteX4234" fmla="*/ 6158412 w 6537372"/>
              <a:gd name="connsiteY4234" fmla="*/ 3365803 h 4991619"/>
              <a:gd name="connsiteX4235" fmla="*/ 6147870 w 6537372"/>
              <a:gd name="connsiteY4235" fmla="*/ 3369913 h 4991619"/>
              <a:gd name="connsiteX4236" fmla="*/ 6152517 w 6537372"/>
              <a:gd name="connsiteY4236" fmla="*/ 3373486 h 4991619"/>
              <a:gd name="connsiteX4237" fmla="*/ 6165560 w 6537372"/>
              <a:gd name="connsiteY4237" fmla="*/ 3389387 h 4991619"/>
              <a:gd name="connsiteX4238" fmla="*/ 6153588 w 6537372"/>
              <a:gd name="connsiteY4238" fmla="*/ 3394746 h 4991619"/>
              <a:gd name="connsiteX4239" fmla="*/ 6158771 w 6537372"/>
              <a:gd name="connsiteY4239" fmla="*/ 3399215 h 4991619"/>
              <a:gd name="connsiteX4240" fmla="*/ 6190573 w 6537372"/>
              <a:gd name="connsiteY4240" fmla="*/ 3392068 h 4991619"/>
              <a:gd name="connsiteX4241" fmla="*/ 6219160 w 6537372"/>
              <a:gd name="connsiteY4241" fmla="*/ 3389387 h 4991619"/>
              <a:gd name="connsiteX4242" fmla="*/ 6218624 w 6537372"/>
              <a:gd name="connsiteY4242" fmla="*/ 3397427 h 4991619"/>
              <a:gd name="connsiteX4243" fmla="*/ 6164488 w 6537372"/>
              <a:gd name="connsiteY4243" fmla="*/ 3404037 h 4991619"/>
              <a:gd name="connsiteX4244" fmla="*/ 6170384 w 6537372"/>
              <a:gd name="connsiteY4244" fmla="*/ 3409398 h 4991619"/>
              <a:gd name="connsiteX4245" fmla="*/ 6171635 w 6537372"/>
              <a:gd name="connsiteY4245" fmla="*/ 3411184 h 4991619"/>
              <a:gd name="connsiteX4246" fmla="*/ 6176638 w 6537372"/>
              <a:gd name="connsiteY4246" fmla="*/ 3410469 h 4991619"/>
              <a:gd name="connsiteX4247" fmla="*/ 6178960 w 6537372"/>
              <a:gd name="connsiteY4247" fmla="*/ 3414938 h 4991619"/>
              <a:gd name="connsiteX4248" fmla="*/ 6185570 w 6537372"/>
              <a:gd name="connsiteY4248" fmla="*/ 3414043 h 4991619"/>
              <a:gd name="connsiteX4249" fmla="*/ 6190038 w 6537372"/>
              <a:gd name="connsiteY4249" fmla="*/ 3421370 h 4991619"/>
              <a:gd name="connsiteX4250" fmla="*/ 6191824 w 6537372"/>
              <a:gd name="connsiteY4250" fmla="*/ 3421370 h 4991619"/>
              <a:gd name="connsiteX4251" fmla="*/ 6205045 w 6537372"/>
              <a:gd name="connsiteY4251" fmla="*/ 3416902 h 4991619"/>
              <a:gd name="connsiteX4252" fmla="*/ 6224342 w 6537372"/>
              <a:gd name="connsiteY4252" fmla="*/ 3416187 h 4991619"/>
              <a:gd name="connsiteX4253" fmla="*/ 6316716 w 6537372"/>
              <a:gd name="connsiteY4253" fmla="*/ 3400108 h 4991619"/>
              <a:gd name="connsiteX4254" fmla="*/ 6418378 w 6537372"/>
              <a:gd name="connsiteY4254" fmla="*/ 3401537 h 4991619"/>
              <a:gd name="connsiteX4255" fmla="*/ 6411946 w 6537372"/>
              <a:gd name="connsiteY4255" fmla="*/ 3408505 h 4991619"/>
              <a:gd name="connsiteX4256" fmla="*/ 6378712 w 6537372"/>
              <a:gd name="connsiteY4256" fmla="*/ 3415294 h 4991619"/>
              <a:gd name="connsiteX4257" fmla="*/ 6360311 w 6537372"/>
              <a:gd name="connsiteY4257" fmla="*/ 3411364 h 4991619"/>
              <a:gd name="connsiteX4258" fmla="*/ 6345659 w 6537372"/>
              <a:gd name="connsiteY4258" fmla="*/ 3414223 h 4991619"/>
              <a:gd name="connsiteX4259" fmla="*/ 6335476 w 6537372"/>
              <a:gd name="connsiteY4259" fmla="*/ 3412972 h 4991619"/>
              <a:gd name="connsiteX4260" fmla="*/ 6316536 w 6537372"/>
              <a:gd name="connsiteY4260" fmla="*/ 3412257 h 4991619"/>
              <a:gd name="connsiteX4261" fmla="*/ 6289736 w 6537372"/>
              <a:gd name="connsiteY4261" fmla="*/ 3414758 h 4991619"/>
              <a:gd name="connsiteX4262" fmla="*/ 6257575 w 6537372"/>
              <a:gd name="connsiteY4262" fmla="*/ 3424585 h 4991619"/>
              <a:gd name="connsiteX4263" fmla="*/ 6223092 w 6537372"/>
              <a:gd name="connsiteY4263" fmla="*/ 3428695 h 4991619"/>
              <a:gd name="connsiteX4264" fmla="*/ 6239708 w 6537372"/>
              <a:gd name="connsiteY4264" fmla="*/ 3432805 h 4991619"/>
              <a:gd name="connsiteX4265" fmla="*/ 6253644 w 6537372"/>
              <a:gd name="connsiteY4265" fmla="*/ 3434590 h 4991619"/>
              <a:gd name="connsiteX4266" fmla="*/ 6289021 w 6537372"/>
              <a:gd name="connsiteY4266" fmla="*/ 3441559 h 4991619"/>
              <a:gd name="connsiteX4267" fmla="*/ 6293488 w 6537372"/>
              <a:gd name="connsiteY4267" fmla="*/ 3442630 h 4991619"/>
              <a:gd name="connsiteX4268" fmla="*/ 6293488 w 6537372"/>
              <a:gd name="connsiteY4268" fmla="*/ 3442274 h 4991619"/>
              <a:gd name="connsiteX4269" fmla="*/ 6294024 w 6537372"/>
              <a:gd name="connsiteY4269" fmla="*/ 3442274 h 4991619"/>
              <a:gd name="connsiteX4270" fmla="*/ 6293666 w 6537372"/>
              <a:gd name="connsiteY4270" fmla="*/ 3442630 h 4991619"/>
              <a:gd name="connsiteX4271" fmla="*/ 6304564 w 6537372"/>
              <a:gd name="connsiteY4271" fmla="*/ 3446384 h 4991619"/>
              <a:gd name="connsiteX4272" fmla="*/ 6314928 w 6537372"/>
              <a:gd name="connsiteY4272" fmla="*/ 3455494 h 4991619"/>
              <a:gd name="connsiteX4273" fmla="*/ 6317072 w 6537372"/>
              <a:gd name="connsiteY4273" fmla="*/ 3473542 h 4991619"/>
              <a:gd name="connsiteX4274" fmla="*/ 6308139 w 6537372"/>
              <a:gd name="connsiteY4274" fmla="*/ 3474791 h 4991619"/>
              <a:gd name="connsiteX4275" fmla="*/ 6312428 w 6537372"/>
              <a:gd name="connsiteY4275" fmla="*/ 3463536 h 4991619"/>
              <a:gd name="connsiteX4276" fmla="*/ 6293309 w 6537372"/>
              <a:gd name="connsiteY4276" fmla="*/ 3451206 h 4991619"/>
              <a:gd name="connsiteX4277" fmla="*/ 6284733 w 6537372"/>
              <a:gd name="connsiteY4277" fmla="*/ 3447455 h 4991619"/>
              <a:gd name="connsiteX4278" fmla="*/ 6271510 w 6537372"/>
              <a:gd name="connsiteY4278" fmla="*/ 3442452 h 4991619"/>
              <a:gd name="connsiteX4279" fmla="*/ 6227736 w 6537372"/>
              <a:gd name="connsiteY4279" fmla="*/ 3440666 h 4991619"/>
              <a:gd name="connsiteX4280" fmla="*/ 6211120 w 6537372"/>
              <a:gd name="connsiteY4280" fmla="*/ 3439057 h 4991619"/>
              <a:gd name="connsiteX4281" fmla="*/ 6215587 w 6537372"/>
              <a:gd name="connsiteY4281" fmla="*/ 3436556 h 4991619"/>
              <a:gd name="connsiteX4282" fmla="*/ 6215050 w 6537372"/>
              <a:gd name="connsiteY4282" fmla="*/ 3434412 h 4991619"/>
              <a:gd name="connsiteX4283" fmla="*/ 6202544 w 6537372"/>
              <a:gd name="connsiteY4283" fmla="*/ 3434412 h 4991619"/>
              <a:gd name="connsiteX4284" fmla="*/ 6165738 w 6537372"/>
              <a:gd name="connsiteY4284" fmla="*/ 3444059 h 4991619"/>
              <a:gd name="connsiteX4285" fmla="*/ 6162879 w 6537372"/>
              <a:gd name="connsiteY4285" fmla="*/ 3448706 h 4991619"/>
              <a:gd name="connsiteX4286" fmla="*/ 6160378 w 6537372"/>
              <a:gd name="connsiteY4286" fmla="*/ 3455853 h 4991619"/>
              <a:gd name="connsiteX4287" fmla="*/ 6139116 w 6537372"/>
              <a:gd name="connsiteY4287" fmla="*/ 3449777 h 4991619"/>
              <a:gd name="connsiteX4288" fmla="*/ 6134650 w 6537372"/>
              <a:gd name="connsiteY4288" fmla="*/ 3453709 h 4991619"/>
              <a:gd name="connsiteX4289" fmla="*/ 6125000 w 6537372"/>
              <a:gd name="connsiteY4289" fmla="*/ 3460141 h 4991619"/>
              <a:gd name="connsiteX4290" fmla="*/ 6112673 w 6537372"/>
              <a:gd name="connsiteY4290" fmla="*/ 3461212 h 4991619"/>
              <a:gd name="connsiteX4291" fmla="*/ 6089981 w 6537372"/>
              <a:gd name="connsiteY4291" fmla="*/ 3464965 h 4991619"/>
              <a:gd name="connsiteX4292" fmla="*/ 6145370 w 6537372"/>
              <a:gd name="connsiteY4292" fmla="*/ 3459068 h 4991619"/>
              <a:gd name="connsiteX4293" fmla="*/ 6172350 w 6537372"/>
              <a:gd name="connsiteY4293" fmla="*/ 3458711 h 4991619"/>
              <a:gd name="connsiteX4294" fmla="*/ 6172350 w 6537372"/>
              <a:gd name="connsiteY4294" fmla="*/ 3462999 h 4991619"/>
              <a:gd name="connsiteX4295" fmla="*/ 6103740 w 6537372"/>
              <a:gd name="connsiteY4295" fmla="*/ 3489084 h 4991619"/>
              <a:gd name="connsiteX4296" fmla="*/ 6041741 w 6537372"/>
              <a:gd name="connsiteY4296" fmla="*/ 3499805 h 4991619"/>
              <a:gd name="connsiteX4297" fmla="*/ 6083729 w 6537372"/>
              <a:gd name="connsiteY4297" fmla="*/ 3497304 h 4991619"/>
              <a:gd name="connsiteX4298" fmla="*/ 6060501 w 6537372"/>
              <a:gd name="connsiteY4298" fmla="*/ 3510168 h 4991619"/>
              <a:gd name="connsiteX4299" fmla="*/ 6046208 w 6537372"/>
              <a:gd name="connsiteY4299" fmla="*/ 3523211 h 4991619"/>
              <a:gd name="connsiteX4300" fmla="*/ 6111958 w 6537372"/>
              <a:gd name="connsiteY4300" fmla="*/ 3523389 h 4991619"/>
              <a:gd name="connsiteX4301" fmla="*/ 6131076 w 6537372"/>
              <a:gd name="connsiteY4301" fmla="*/ 3522140 h 4991619"/>
              <a:gd name="connsiteX4302" fmla="*/ 6127144 w 6537372"/>
              <a:gd name="connsiteY4302" fmla="*/ 3528928 h 4991619"/>
              <a:gd name="connsiteX4303" fmla="*/ 6126966 w 6537372"/>
              <a:gd name="connsiteY4303" fmla="*/ 3528928 h 4991619"/>
              <a:gd name="connsiteX4304" fmla="*/ 6135186 w 6537372"/>
              <a:gd name="connsiteY4304" fmla="*/ 3531251 h 4991619"/>
              <a:gd name="connsiteX4305" fmla="*/ 6146978 w 6537372"/>
              <a:gd name="connsiteY4305" fmla="*/ 3536612 h 4991619"/>
              <a:gd name="connsiteX4306" fmla="*/ 6152873 w 6537372"/>
              <a:gd name="connsiteY4306" fmla="*/ 3526606 h 4991619"/>
              <a:gd name="connsiteX4307" fmla="*/ 6168062 w 6537372"/>
              <a:gd name="connsiteY4307" fmla="*/ 3523569 h 4991619"/>
              <a:gd name="connsiteX4308" fmla="*/ 6163594 w 6537372"/>
              <a:gd name="connsiteY4308" fmla="*/ 3523926 h 4991619"/>
              <a:gd name="connsiteX4309" fmla="*/ 6148050 w 6537372"/>
              <a:gd name="connsiteY4309" fmla="*/ 3521960 h 4991619"/>
              <a:gd name="connsiteX4310" fmla="*/ 6191824 w 6537372"/>
              <a:gd name="connsiteY4310" fmla="*/ 3516601 h 4991619"/>
              <a:gd name="connsiteX4311" fmla="*/ 6233096 w 6537372"/>
              <a:gd name="connsiteY4311" fmla="*/ 3508381 h 4991619"/>
              <a:gd name="connsiteX4312" fmla="*/ 6286340 w 6537372"/>
              <a:gd name="connsiteY4312" fmla="*/ 3502307 h 4991619"/>
              <a:gd name="connsiteX4313" fmla="*/ 6294202 w 6537372"/>
              <a:gd name="connsiteY4313" fmla="*/ 3503915 h 4991619"/>
              <a:gd name="connsiteX4314" fmla="*/ 6297776 w 6537372"/>
              <a:gd name="connsiteY4314" fmla="*/ 3516242 h 4991619"/>
              <a:gd name="connsiteX4315" fmla="*/ 6329400 w 6537372"/>
              <a:gd name="connsiteY4315" fmla="*/ 3516779 h 4991619"/>
              <a:gd name="connsiteX4316" fmla="*/ 6310640 w 6537372"/>
              <a:gd name="connsiteY4316" fmla="*/ 3524104 h 4991619"/>
              <a:gd name="connsiteX4317" fmla="*/ 6290807 w 6537372"/>
              <a:gd name="connsiteY4317" fmla="*/ 3527143 h 4991619"/>
              <a:gd name="connsiteX4318" fmla="*/ 6271332 w 6537372"/>
              <a:gd name="connsiteY4318" fmla="*/ 3531965 h 4991619"/>
              <a:gd name="connsiteX4319" fmla="*/ 6251680 w 6537372"/>
              <a:gd name="connsiteY4319" fmla="*/ 3535361 h 4991619"/>
              <a:gd name="connsiteX4320" fmla="*/ 6232024 w 6537372"/>
              <a:gd name="connsiteY4320" fmla="*/ 3539827 h 4991619"/>
              <a:gd name="connsiteX4321" fmla="*/ 6210762 w 6537372"/>
              <a:gd name="connsiteY4321" fmla="*/ 3539827 h 4991619"/>
              <a:gd name="connsiteX4322" fmla="*/ 6236850 w 6537372"/>
              <a:gd name="connsiteY4322" fmla="*/ 3547332 h 4991619"/>
              <a:gd name="connsiteX4323" fmla="*/ 6233990 w 6537372"/>
              <a:gd name="connsiteY4323" fmla="*/ 3549832 h 4991619"/>
              <a:gd name="connsiteX4324" fmla="*/ 6242566 w 6537372"/>
              <a:gd name="connsiteY4324" fmla="*/ 3548939 h 4991619"/>
              <a:gd name="connsiteX4325" fmla="*/ 6216838 w 6537372"/>
              <a:gd name="connsiteY4325" fmla="*/ 3553764 h 4991619"/>
              <a:gd name="connsiteX4326" fmla="*/ 6163952 w 6537372"/>
              <a:gd name="connsiteY4326" fmla="*/ 3562340 h 4991619"/>
              <a:gd name="connsiteX4327" fmla="*/ 6147336 w 6537372"/>
              <a:gd name="connsiteY4327" fmla="*/ 3565914 h 4991619"/>
              <a:gd name="connsiteX4328" fmla="*/ 6125000 w 6537372"/>
              <a:gd name="connsiteY4328" fmla="*/ 3567879 h 4991619"/>
              <a:gd name="connsiteX4329" fmla="*/ 6121608 w 6537372"/>
              <a:gd name="connsiteY4329" fmla="*/ 3572346 h 4991619"/>
              <a:gd name="connsiteX4330" fmla="*/ 6123572 w 6537372"/>
              <a:gd name="connsiteY4330" fmla="*/ 3573775 h 4991619"/>
              <a:gd name="connsiteX4331" fmla="*/ 6155732 w 6537372"/>
              <a:gd name="connsiteY4331" fmla="*/ 3567521 h 4991619"/>
              <a:gd name="connsiteX4332" fmla="*/ 6137865 w 6537372"/>
              <a:gd name="connsiteY4332" fmla="*/ 3575919 h 4991619"/>
              <a:gd name="connsiteX4333" fmla="*/ 6128754 w 6537372"/>
              <a:gd name="connsiteY4333" fmla="*/ 3577705 h 4991619"/>
              <a:gd name="connsiteX4334" fmla="*/ 6131791 w 6537372"/>
              <a:gd name="connsiteY4334" fmla="*/ 3579671 h 4991619"/>
              <a:gd name="connsiteX4335" fmla="*/ 6142512 w 6537372"/>
              <a:gd name="connsiteY4335" fmla="*/ 3584137 h 4991619"/>
              <a:gd name="connsiteX4336" fmla="*/ 6154124 w 6537372"/>
              <a:gd name="connsiteY4336" fmla="*/ 3581993 h 4991619"/>
              <a:gd name="connsiteX4337" fmla="*/ 6252928 w 6537372"/>
              <a:gd name="connsiteY4337" fmla="*/ 3565555 h 4991619"/>
              <a:gd name="connsiteX4338" fmla="*/ 6275620 w 6537372"/>
              <a:gd name="connsiteY4338" fmla="*/ 3564484 h 4991619"/>
              <a:gd name="connsiteX4339" fmla="*/ 6285270 w 6537372"/>
              <a:gd name="connsiteY4339" fmla="*/ 3568772 h 4991619"/>
              <a:gd name="connsiteX4340" fmla="*/ 6275798 w 6537372"/>
              <a:gd name="connsiteY4340" fmla="*/ 3571453 h 4991619"/>
              <a:gd name="connsiteX4341" fmla="*/ 6328865 w 6537372"/>
              <a:gd name="connsiteY4341" fmla="*/ 3564306 h 4991619"/>
              <a:gd name="connsiteX4342" fmla="*/ 6370673 w 6537372"/>
              <a:gd name="connsiteY4342" fmla="*/ 3560553 h 4991619"/>
              <a:gd name="connsiteX4343" fmla="*/ 6366206 w 6537372"/>
              <a:gd name="connsiteY4343" fmla="*/ 3566985 h 4991619"/>
              <a:gd name="connsiteX4344" fmla="*/ 6300278 w 6537372"/>
              <a:gd name="connsiteY4344" fmla="*/ 3577705 h 4991619"/>
              <a:gd name="connsiteX4345" fmla="*/ 6246140 w 6537372"/>
              <a:gd name="connsiteY4345" fmla="*/ 3582530 h 4991619"/>
              <a:gd name="connsiteX4346" fmla="*/ 6194505 w 6537372"/>
              <a:gd name="connsiteY4346" fmla="*/ 3592357 h 4991619"/>
              <a:gd name="connsiteX4347" fmla="*/ 6155732 w 6537372"/>
              <a:gd name="connsiteY4347" fmla="*/ 3593786 h 4991619"/>
              <a:gd name="connsiteX4348" fmla="*/ 6147514 w 6537372"/>
              <a:gd name="connsiteY4348" fmla="*/ 3596823 h 4991619"/>
              <a:gd name="connsiteX4349" fmla="*/ 6126788 w 6537372"/>
              <a:gd name="connsiteY4349" fmla="*/ 3604685 h 4991619"/>
              <a:gd name="connsiteX4350" fmla="*/ 6184498 w 6537372"/>
              <a:gd name="connsiteY4350" fmla="*/ 3599145 h 4991619"/>
              <a:gd name="connsiteX4351" fmla="*/ 6202186 w 6537372"/>
              <a:gd name="connsiteY4351" fmla="*/ 3593786 h 4991619"/>
              <a:gd name="connsiteX4352" fmla="*/ 6228452 w 6537372"/>
              <a:gd name="connsiteY4352" fmla="*/ 3592535 h 4991619"/>
              <a:gd name="connsiteX4353" fmla="*/ 6271510 w 6537372"/>
              <a:gd name="connsiteY4353" fmla="*/ 3585388 h 4991619"/>
              <a:gd name="connsiteX4354" fmla="*/ 6293131 w 6537372"/>
              <a:gd name="connsiteY4354" fmla="*/ 3583244 h 4991619"/>
              <a:gd name="connsiteX4355" fmla="*/ 6287592 w 6537372"/>
              <a:gd name="connsiteY4355" fmla="*/ 3586996 h 4991619"/>
              <a:gd name="connsiteX4356" fmla="*/ 6246855 w 6537372"/>
              <a:gd name="connsiteY4356" fmla="*/ 3595930 h 4991619"/>
              <a:gd name="connsiteX4357" fmla="*/ 6200578 w 6537372"/>
              <a:gd name="connsiteY4357" fmla="*/ 3604863 h 4991619"/>
              <a:gd name="connsiteX4358" fmla="*/ 6175923 w 6537372"/>
              <a:gd name="connsiteY4358" fmla="*/ 3609151 h 4991619"/>
              <a:gd name="connsiteX4359" fmla="*/ 6178424 w 6537372"/>
              <a:gd name="connsiteY4359" fmla="*/ 3605221 h 4991619"/>
              <a:gd name="connsiteX4360" fmla="*/ 6136079 w 6537372"/>
              <a:gd name="connsiteY4360" fmla="*/ 3614512 h 4991619"/>
              <a:gd name="connsiteX4361" fmla="*/ 6137330 w 6537372"/>
              <a:gd name="connsiteY4361" fmla="*/ 3614690 h 4991619"/>
              <a:gd name="connsiteX4362" fmla="*/ 6171098 w 6537372"/>
              <a:gd name="connsiteY4362" fmla="*/ 3619337 h 4991619"/>
              <a:gd name="connsiteX4363" fmla="*/ 6181104 w 6537372"/>
              <a:gd name="connsiteY4363" fmla="*/ 3618622 h 4991619"/>
              <a:gd name="connsiteX4364" fmla="*/ 6181460 w 6537372"/>
              <a:gd name="connsiteY4364" fmla="*/ 3622373 h 4991619"/>
              <a:gd name="connsiteX4365" fmla="*/ 6181640 w 6537372"/>
              <a:gd name="connsiteY4365" fmla="*/ 3622910 h 4991619"/>
              <a:gd name="connsiteX4366" fmla="*/ 6183963 w 6537372"/>
              <a:gd name="connsiteY4366" fmla="*/ 3627913 h 4991619"/>
              <a:gd name="connsiteX4367" fmla="*/ 6173779 w 6537372"/>
              <a:gd name="connsiteY4367" fmla="*/ 3634345 h 4991619"/>
              <a:gd name="connsiteX4368" fmla="*/ 6174494 w 6537372"/>
              <a:gd name="connsiteY4368" fmla="*/ 3634345 h 4991619"/>
              <a:gd name="connsiteX4369" fmla="*/ 6205582 w 6537372"/>
              <a:gd name="connsiteY4369" fmla="*/ 3629162 h 4991619"/>
              <a:gd name="connsiteX4370" fmla="*/ 6203438 w 6537372"/>
              <a:gd name="connsiteY4370" fmla="*/ 3627018 h 4991619"/>
              <a:gd name="connsiteX4371" fmla="*/ 6252394 w 6537372"/>
              <a:gd name="connsiteY4371" fmla="*/ 3615227 h 4991619"/>
              <a:gd name="connsiteX4372" fmla="*/ 6248820 w 6537372"/>
              <a:gd name="connsiteY4372" fmla="*/ 3619515 h 4991619"/>
              <a:gd name="connsiteX4373" fmla="*/ 6240601 w 6537372"/>
              <a:gd name="connsiteY4373" fmla="*/ 3621659 h 4991619"/>
              <a:gd name="connsiteX4374" fmla="*/ 6233812 w 6537372"/>
              <a:gd name="connsiteY4374" fmla="*/ 3623803 h 4991619"/>
              <a:gd name="connsiteX4375" fmla="*/ 6223092 w 6537372"/>
              <a:gd name="connsiteY4375" fmla="*/ 3627913 h 4991619"/>
              <a:gd name="connsiteX4376" fmla="*/ 6221126 w 6537372"/>
              <a:gd name="connsiteY4376" fmla="*/ 3628627 h 4991619"/>
              <a:gd name="connsiteX4377" fmla="*/ 6199328 w 6537372"/>
              <a:gd name="connsiteY4377" fmla="*/ 3640777 h 4991619"/>
              <a:gd name="connsiteX4378" fmla="*/ 6169311 w 6537372"/>
              <a:gd name="connsiteY4378" fmla="*/ 3650424 h 4991619"/>
              <a:gd name="connsiteX4379" fmla="*/ 6193432 w 6537372"/>
              <a:gd name="connsiteY4379" fmla="*/ 3653105 h 4991619"/>
              <a:gd name="connsiteX4380" fmla="*/ 6188608 w 6537372"/>
              <a:gd name="connsiteY4380" fmla="*/ 3656500 h 4991619"/>
              <a:gd name="connsiteX4381" fmla="*/ 6176816 w 6537372"/>
              <a:gd name="connsiteY4381" fmla="*/ 3659179 h 4991619"/>
              <a:gd name="connsiteX4382" fmla="*/ 6172350 w 6537372"/>
              <a:gd name="connsiteY4382" fmla="*/ 3669542 h 4991619"/>
              <a:gd name="connsiteX4383" fmla="*/ 6182534 w 6537372"/>
              <a:gd name="connsiteY4383" fmla="*/ 3676868 h 4991619"/>
              <a:gd name="connsiteX4384" fmla="*/ 6194505 w 6537372"/>
              <a:gd name="connsiteY4384" fmla="*/ 3681870 h 4991619"/>
              <a:gd name="connsiteX4385" fmla="*/ 6184856 w 6537372"/>
              <a:gd name="connsiteY4385" fmla="*/ 3690268 h 4991619"/>
              <a:gd name="connsiteX4386" fmla="*/ 6176280 w 6537372"/>
              <a:gd name="connsiteY4386" fmla="*/ 3693305 h 4991619"/>
              <a:gd name="connsiteX4387" fmla="*/ 6156090 w 6537372"/>
              <a:gd name="connsiteY4387" fmla="*/ 3688839 h 4991619"/>
              <a:gd name="connsiteX4388" fmla="*/ 6121427 w 6537372"/>
              <a:gd name="connsiteY4388" fmla="*/ 3685444 h 4991619"/>
              <a:gd name="connsiteX4389" fmla="*/ 6110172 w 6537372"/>
              <a:gd name="connsiteY4389" fmla="*/ 3685622 h 4991619"/>
              <a:gd name="connsiteX4390" fmla="*/ 6105704 w 6537372"/>
              <a:gd name="connsiteY4390" fmla="*/ 3686517 h 4991619"/>
              <a:gd name="connsiteX4391" fmla="*/ 6086944 w 6537372"/>
              <a:gd name="connsiteY4391" fmla="*/ 3692234 h 4991619"/>
              <a:gd name="connsiteX4392" fmla="*/ 6071580 w 6537372"/>
              <a:gd name="connsiteY4392" fmla="*/ 3692234 h 4991619"/>
              <a:gd name="connsiteX4393" fmla="*/ 6069970 w 6537372"/>
              <a:gd name="connsiteY4393" fmla="*/ 3692949 h 4991619"/>
              <a:gd name="connsiteX4394" fmla="*/ 6054784 w 6537372"/>
              <a:gd name="connsiteY4394" fmla="*/ 3697415 h 4991619"/>
              <a:gd name="connsiteX4395" fmla="*/ 6014047 w 6537372"/>
              <a:gd name="connsiteY4395" fmla="*/ 3708492 h 4991619"/>
              <a:gd name="connsiteX4396" fmla="*/ 6009758 w 6537372"/>
              <a:gd name="connsiteY4396" fmla="*/ 3710101 h 4991619"/>
              <a:gd name="connsiteX4397" fmla="*/ 6021016 w 6537372"/>
              <a:gd name="connsiteY4397" fmla="*/ 3708672 h 4991619"/>
              <a:gd name="connsiteX4398" fmla="*/ 6026631 w 6537372"/>
              <a:gd name="connsiteY4398" fmla="*/ 3713164 h 4991619"/>
              <a:gd name="connsiteX4399" fmla="*/ 6019652 w 6537372"/>
              <a:gd name="connsiteY4399" fmla="*/ 3712312 h 4991619"/>
              <a:gd name="connsiteX4400" fmla="*/ 6007436 w 6537372"/>
              <a:gd name="connsiteY4400" fmla="*/ 3717068 h 4991619"/>
              <a:gd name="connsiteX4401" fmla="*/ 5991714 w 6537372"/>
              <a:gd name="connsiteY4401" fmla="*/ 3722071 h 4991619"/>
              <a:gd name="connsiteX4402" fmla="*/ 6014940 w 6537372"/>
              <a:gd name="connsiteY4402" fmla="*/ 3722071 h 4991619"/>
              <a:gd name="connsiteX4403" fmla="*/ 6031914 w 6537372"/>
              <a:gd name="connsiteY4403" fmla="*/ 3719034 h 4991619"/>
              <a:gd name="connsiteX4404" fmla="*/ 6032153 w 6537372"/>
              <a:gd name="connsiteY4404" fmla="*/ 3716725 h 4991619"/>
              <a:gd name="connsiteX4405" fmla="*/ 6048775 w 6537372"/>
              <a:gd name="connsiteY4405" fmla="*/ 3720575 h 4991619"/>
              <a:gd name="connsiteX4406" fmla="*/ 6065326 w 6537372"/>
              <a:gd name="connsiteY4406" fmla="*/ 3715460 h 4991619"/>
              <a:gd name="connsiteX4407" fmla="*/ 6074616 w 6537372"/>
              <a:gd name="connsiteY4407" fmla="*/ 3714567 h 4991619"/>
              <a:gd name="connsiteX4408" fmla="*/ 6092126 w 6537372"/>
              <a:gd name="connsiteY4408" fmla="*/ 3715639 h 4991619"/>
              <a:gd name="connsiteX4409" fmla="*/ 6111066 w 6537372"/>
              <a:gd name="connsiteY4409" fmla="*/ 3710636 h 4991619"/>
              <a:gd name="connsiteX4410" fmla="*/ 6178602 w 6537372"/>
              <a:gd name="connsiteY4410" fmla="*/ 3698666 h 4991619"/>
              <a:gd name="connsiteX4411" fmla="*/ 6189858 w 6537372"/>
              <a:gd name="connsiteY4411" fmla="*/ 3697237 h 4991619"/>
              <a:gd name="connsiteX4412" fmla="*/ 6175743 w 6537372"/>
              <a:gd name="connsiteY4412" fmla="*/ 3708672 h 4991619"/>
              <a:gd name="connsiteX4413" fmla="*/ 6171455 w 6537372"/>
              <a:gd name="connsiteY4413" fmla="*/ 3709743 h 4991619"/>
              <a:gd name="connsiteX4414" fmla="*/ 6187714 w 6537372"/>
              <a:gd name="connsiteY4414" fmla="*/ 3712245 h 4991619"/>
              <a:gd name="connsiteX4415" fmla="*/ 6222704 w 6537372"/>
              <a:gd name="connsiteY4415" fmla="*/ 3716921 h 4991619"/>
              <a:gd name="connsiteX4416" fmla="*/ 6222378 w 6537372"/>
              <a:gd name="connsiteY4416" fmla="*/ 3719212 h 4991619"/>
              <a:gd name="connsiteX4417" fmla="*/ 6224878 w 6537372"/>
              <a:gd name="connsiteY4417" fmla="*/ 3719927 h 4991619"/>
              <a:gd name="connsiteX4418" fmla="*/ 6226853 w 6537372"/>
              <a:gd name="connsiteY4418" fmla="*/ 3717438 h 4991619"/>
              <a:gd name="connsiteX4419" fmla="*/ 6232024 w 6537372"/>
              <a:gd name="connsiteY4419" fmla="*/ 3720107 h 4991619"/>
              <a:gd name="connsiteX4420" fmla="*/ 6234347 w 6537372"/>
              <a:gd name="connsiteY4420" fmla="*/ 3725109 h 4991619"/>
              <a:gd name="connsiteX4421" fmla="*/ 6218804 w 6537372"/>
              <a:gd name="connsiteY4421" fmla="*/ 3734935 h 4991619"/>
              <a:gd name="connsiteX4422" fmla="*/ 6177709 w 6537372"/>
              <a:gd name="connsiteY4422" fmla="*/ 3734935 h 4991619"/>
              <a:gd name="connsiteX4423" fmla="*/ 6194146 w 6537372"/>
              <a:gd name="connsiteY4423" fmla="*/ 3736544 h 4991619"/>
              <a:gd name="connsiteX4424" fmla="*/ 6209870 w 6537372"/>
              <a:gd name="connsiteY4424" fmla="*/ 3740474 h 4991619"/>
              <a:gd name="connsiteX4425" fmla="*/ 6204330 w 6537372"/>
              <a:gd name="connsiteY4425" fmla="*/ 3743155 h 4991619"/>
              <a:gd name="connsiteX4426" fmla="*/ 6159842 w 6537372"/>
              <a:gd name="connsiteY4426" fmla="*/ 3745655 h 4991619"/>
              <a:gd name="connsiteX4427" fmla="*/ 6139474 w 6537372"/>
              <a:gd name="connsiteY4427" fmla="*/ 3742618 h 4991619"/>
              <a:gd name="connsiteX4428" fmla="*/ 6117854 w 6537372"/>
              <a:gd name="connsiteY4428" fmla="*/ 3744406 h 4991619"/>
              <a:gd name="connsiteX4429" fmla="*/ 6090160 w 6537372"/>
              <a:gd name="connsiteY4429" fmla="*/ 3750123 h 4991619"/>
              <a:gd name="connsiteX4430" fmla="*/ 6007258 w 6537372"/>
              <a:gd name="connsiteY4430" fmla="*/ 3753697 h 4991619"/>
              <a:gd name="connsiteX4431" fmla="*/ 5978491 w 6537372"/>
              <a:gd name="connsiteY4431" fmla="*/ 3764237 h 4991619"/>
              <a:gd name="connsiteX4432" fmla="*/ 5958660 w 6537372"/>
              <a:gd name="connsiteY4432" fmla="*/ 3770134 h 4991619"/>
              <a:gd name="connsiteX4433" fmla="*/ 5935432 w 6537372"/>
              <a:gd name="connsiteY4433" fmla="*/ 3775315 h 4991619"/>
              <a:gd name="connsiteX4434" fmla="*/ 5912206 w 6537372"/>
              <a:gd name="connsiteY4434" fmla="*/ 3780318 h 4991619"/>
              <a:gd name="connsiteX4435" fmla="*/ 5891300 w 6537372"/>
              <a:gd name="connsiteY4435" fmla="*/ 3786572 h 4991619"/>
              <a:gd name="connsiteX4436" fmla="*/ 5871468 w 6537372"/>
              <a:gd name="connsiteY4436" fmla="*/ 3792290 h 4991619"/>
              <a:gd name="connsiteX4437" fmla="*/ 5829480 w 6537372"/>
              <a:gd name="connsiteY4437" fmla="*/ 3802295 h 4991619"/>
              <a:gd name="connsiteX4438" fmla="*/ 5810540 w 6537372"/>
              <a:gd name="connsiteY4438" fmla="*/ 3804617 h 4991619"/>
              <a:gd name="connsiteX4439" fmla="*/ 5806789 w 6537372"/>
              <a:gd name="connsiteY4439" fmla="*/ 3802473 h 4991619"/>
              <a:gd name="connsiteX4440" fmla="*/ 5801964 w 6537372"/>
              <a:gd name="connsiteY4440" fmla="*/ 3804259 h 4991619"/>
              <a:gd name="connsiteX4441" fmla="*/ 5771948 w 6537372"/>
              <a:gd name="connsiteY4441" fmla="*/ 3818018 h 4991619"/>
              <a:gd name="connsiteX4442" fmla="*/ 5763372 w 6537372"/>
              <a:gd name="connsiteY4442" fmla="*/ 3816767 h 4991619"/>
              <a:gd name="connsiteX4443" fmla="*/ 5766588 w 6537372"/>
              <a:gd name="connsiteY4443" fmla="*/ 3812301 h 4991619"/>
              <a:gd name="connsiteX4444" fmla="*/ 5768018 w 6537372"/>
              <a:gd name="connsiteY4444" fmla="*/ 3811586 h 4991619"/>
              <a:gd name="connsiteX4445" fmla="*/ 5767304 w 6537372"/>
              <a:gd name="connsiteY4445" fmla="*/ 3811586 h 4991619"/>
              <a:gd name="connsiteX4446" fmla="*/ 5755688 w 6537372"/>
              <a:gd name="connsiteY4446" fmla="*/ 3814445 h 4991619"/>
              <a:gd name="connsiteX4447" fmla="*/ 5751758 w 6537372"/>
              <a:gd name="connsiteY4447" fmla="*/ 3816052 h 4991619"/>
              <a:gd name="connsiteX4448" fmla="*/ 5752652 w 6537372"/>
              <a:gd name="connsiteY4448" fmla="*/ 3816052 h 4991619"/>
              <a:gd name="connsiteX4449" fmla="*/ 5756046 w 6537372"/>
              <a:gd name="connsiteY4449" fmla="*/ 3818733 h 4991619"/>
              <a:gd name="connsiteX4450" fmla="*/ 5749258 w 6537372"/>
              <a:gd name="connsiteY4450" fmla="*/ 3824628 h 4991619"/>
              <a:gd name="connsiteX4451" fmla="*/ 5735858 w 6537372"/>
              <a:gd name="connsiteY4451" fmla="*/ 3828738 h 4991619"/>
              <a:gd name="connsiteX4452" fmla="*/ 5732998 w 6537372"/>
              <a:gd name="connsiteY4452" fmla="*/ 3830168 h 4991619"/>
              <a:gd name="connsiteX4453" fmla="*/ 5713166 w 6537372"/>
              <a:gd name="connsiteY4453" fmla="*/ 3833741 h 4991619"/>
              <a:gd name="connsiteX4454" fmla="*/ 5697443 w 6537372"/>
              <a:gd name="connsiteY4454" fmla="*/ 3842495 h 4991619"/>
              <a:gd name="connsiteX4455" fmla="*/ 5692084 w 6537372"/>
              <a:gd name="connsiteY4455" fmla="*/ 3850357 h 4991619"/>
              <a:gd name="connsiteX4456" fmla="*/ 5624904 w 6537372"/>
              <a:gd name="connsiteY4456" fmla="*/ 3880374 h 4991619"/>
              <a:gd name="connsiteX4457" fmla="*/ 5620079 w 6537372"/>
              <a:gd name="connsiteY4457" fmla="*/ 3882518 h 4991619"/>
              <a:gd name="connsiteX4458" fmla="*/ 5577734 w 6537372"/>
              <a:gd name="connsiteY4458" fmla="*/ 3903243 h 4991619"/>
              <a:gd name="connsiteX4459" fmla="*/ 5565048 w 6537372"/>
              <a:gd name="connsiteY4459" fmla="*/ 3911820 h 4991619"/>
              <a:gd name="connsiteX4460" fmla="*/ 5544679 w 6537372"/>
              <a:gd name="connsiteY4460" fmla="*/ 3927006 h 4991619"/>
              <a:gd name="connsiteX4461" fmla="*/ 5586667 w 6537372"/>
              <a:gd name="connsiteY4461" fmla="*/ 3915393 h 4991619"/>
              <a:gd name="connsiteX4462" fmla="*/ 5611324 w 6537372"/>
              <a:gd name="connsiteY4462" fmla="*/ 3906639 h 4991619"/>
              <a:gd name="connsiteX4463" fmla="*/ 5618113 w 6537372"/>
              <a:gd name="connsiteY4463" fmla="*/ 3905029 h 4991619"/>
              <a:gd name="connsiteX4464" fmla="*/ 5680112 w 6537372"/>
              <a:gd name="connsiteY4464" fmla="*/ 3885376 h 4991619"/>
              <a:gd name="connsiteX4465" fmla="*/ 5697621 w 6537372"/>
              <a:gd name="connsiteY4465" fmla="*/ 3883411 h 4991619"/>
              <a:gd name="connsiteX4466" fmla="*/ 5725496 w 6537372"/>
              <a:gd name="connsiteY4466" fmla="*/ 3870905 h 4991619"/>
              <a:gd name="connsiteX4467" fmla="*/ 5777309 w 6537372"/>
              <a:gd name="connsiteY4467" fmla="*/ 3853930 h 4991619"/>
              <a:gd name="connsiteX4468" fmla="*/ 5808396 w 6537372"/>
              <a:gd name="connsiteY4468" fmla="*/ 3846962 h 4991619"/>
              <a:gd name="connsiteX4469" fmla="*/ 5797676 w 6537372"/>
              <a:gd name="connsiteY4469" fmla="*/ 3858397 h 4991619"/>
              <a:gd name="connsiteX4470" fmla="*/ 5812684 w 6537372"/>
              <a:gd name="connsiteY4470" fmla="*/ 3857682 h 4991619"/>
              <a:gd name="connsiteX4471" fmla="*/ 5811256 w 6537372"/>
              <a:gd name="connsiteY4471" fmla="*/ 3868760 h 4991619"/>
              <a:gd name="connsiteX4472" fmla="*/ 5802860 w 6537372"/>
              <a:gd name="connsiteY4472" fmla="*/ 3864829 h 4991619"/>
              <a:gd name="connsiteX4473" fmla="*/ 5800000 w 6537372"/>
              <a:gd name="connsiteY4473" fmla="*/ 3866080 h 4991619"/>
              <a:gd name="connsiteX4474" fmla="*/ 5774806 w 6537372"/>
              <a:gd name="connsiteY4474" fmla="*/ 3886447 h 4991619"/>
              <a:gd name="connsiteX4475" fmla="*/ 5711022 w 6537372"/>
              <a:gd name="connsiteY4475" fmla="*/ 3906459 h 4991619"/>
              <a:gd name="connsiteX4476" fmla="*/ 5701731 w 6537372"/>
              <a:gd name="connsiteY4476" fmla="*/ 3903243 h 4991619"/>
              <a:gd name="connsiteX4477" fmla="*/ 5672250 w 6537372"/>
              <a:gd name="connsiteY4477" fmla="*/ 3910390 h 4991619"/>
              <a:gd name="connsiteX4478" fmla="*/ 5655991 w 6537372"/>
              <a:gd name="connsiteY4478" fmla="*/ 3920037 h 4991619"/>
              <a:gd name="connsiteX4479" fmla="*/ 5638839 w 6537372"/>
              <a:gd name="connsiteY4479" fmla="*/ 3930223 h 4991619"/>
              <a:gd name="connsiteX4480" fmla="*/ 5654562 w 6537372"/>
              <a:gd name="connsiteY4480" fmla="*/ 3927184 h 4991619"/>
              <a:gd name="connsiteX4481" fmla="*/ 5634014 w 6537372"/>
              <a:gd name="connsiteY4481" fmla="*/ 3937012 h 4991619"/>
              <a:gd name="connsiteX4482" fmla="*/ 5627048 w 6537372"/>
              <a:gd name="connsiteY4482" fmla="*/ 3934331 h 4991619"/>
              <a:gd name="connsiteX4483" fmla="*/ 5612218 w 6537372"/>
              <a:gd name="connsiteY4483" fmla="*/ 3939514 h 4991619"/>
              <a:gd name="connsiteX4484" fmla="*/ 5611503 w 6537372"/>
              <a:gd name="connsiteY4484" fmla="*/ 3941836 h 4991619"/>
              <a:gd name="connsiteX4485" fmla="*/ 5594350 w 6537372"/>
              <a:gd name="connsiteY4485" fmla="*/ 3947375 h 4991619"/>
              <a:gd name="connsiteX4486" fmla="*/ 5596316 w 6537372"/>
              <a:gd name="connsiteY4486" fmla="*/ 3945051 h 4991619"/>
              <a:gd name="connsiteX4487" fmla="*/ 5556828 w 6537372"/>
              <a:gd name="connsiteY4487" fmla="*/ 3959167 h 4991619"/>
              <a:gd name="connsiteX4488" fmla="*/ 5481252 w 6537372"/>
              <a:gd name="connsiteY4488" fmla="*/ 3988291 h 4991619"/>
              <a:gd name="connsiteX4489" fmla="*/ 5374585 w 6537372"/>
              <a:gd name="connsiteY4489" fmla="*/ 4029384 h 4991619"/>
              <a:gd name="connsiteX4490" fmla="*/ 5353324 w 6537372"/>
              <a:gd name="connsiteY4490" fmla="*/ 4041533 h 4991619"/>
              <a:gd name="connsiteX4491" fmla="*/ 5344390 w 6537372"/>
              <a:gd name="connsiteY4491" fmla="*/ 4046716 h 4991619"/>
              <a:gd name="connsiteX4492" fmla="*/ 5323308 w 6537372"/>
              <a:gd name="connsiteY4492" fmla="*/ 4058508 h 4991619"/>
              <a:gd name="connsiteX4493" fmla="*/ 5304726 w 6537372"/>
              <a:gd name="connsiteY4493" fmla="*/ 4067977 h 4991619"/>
              <a:gd name="connsiteX4494" fmla="*/ 5207886 w 6537372"/>
              <a:gd name="connsiteY4494" fmla="*/ 4109786 h 4991619"/>
              <a:gd name="connsiteX4495" fmla="*/ 5179835 w 6537372"/>
              <a:gd name="connsiteY4495" fmla="*/ 4124436 h 4991619"/>
              <a:gd name="connsiteX4496" fmla="*/ 5124626 w 6537372"/>
              <a:gd name="connsiteY4496" fmla="*/ 4151774 h 4991619"/>
              <a:gd name="connsiteX4497" fmla="*/ 5115336 w 6537372"/>
              <a:gd name="connsiteY4497" fmla="*/ 4158921 h 4991619"/>
              <a:gd name="connsiteX4498" fmla="*/ 5119802 w 6537372"/>
              <a:gd name="connsiteY4498" fmla="*/ 4161600 h 4991619"/>
              <a:gd name="connsiteX4499" fmla="*/ 5107116 w 6537372"/>
              <a:gd name="connsiteY4499" fmla="*/ 4165173 h 4991619"/>
              <a:gd name="connsiteX4500" fmla="*/ 5085497 w 6537372"/>
              <a:gd name="connsiteY4500" fmla="*/ 4172678 h 4991619"/>
              <a:gd name="connsiteX4501" fmla="*/ 5057802 w 6537372"/>
              <a:gd name="connsiteY4501" fmla="*/ 4193404 h 4991619"/>
              <a:gd name="connsiteX4502" fmla="*/ 5011170 w 6537372"/>
              <a:gd name="connsiteY4502" fmla="*/ 4217882 h 4991619"/>
              <a:gd name="connsiteX4503" fmla="*/ 4960428 w 6537372"/>
              <a:gd name="connsiteY4503" fmla="*/ 4245754 h 4991619"/>
              <a:gd name="connsiteX4504" fmla="*/ 4953102 w 6537372"/>
              <a:gd name="connsiteY4504" fmla="*/ 4250401 h 4991619"/>
              <a:gd name="connsiteX4505" fmla="*/ 4927730 w 6537372"/>
              <a:gd name="connsiteY4505" fmla="*/ 4265944 h 4991619"/>
              <a:gd name="connsiteX4506" fmla="*/ 4823387 w 6537372"/>
              <a:gd name="connsiteY4506" fmla="*/ 4407631 h 4991619"/>
              <a:gd name="connsiteX4507" fmla="*/ 4794622 w 6537372"/>
              <a:gd name="connsiteY4507" fmla="*/ 4421029 h 4991619"/>
              <a:gd name="connsiteX4508" fmla="*/ 4788011 w 6537372"/>
              <a:gd name="connsiteY4508" fmla="*/ 4421924 h 4991619"/>
              <a:gd name="connsiteX4509" fmla="*/ 4776040 w 6537372"/>
              <a:gd name="connsiteY4509" fmla="*/ 4421744 h 4991619"/>
              <a:gd name="connsiteX4510" fmla="*/ 4772466 w 6537372"/>
              <a:gd name="connsiteY4510" fmla="*/ 4424425 h 4991619"/>
              <a:gd name="connsiteX4511" fmla="*/ 4771930 w 6537372"/>
              <a:gd name="connsiteY4511" fmla="*/ 4423710 h 4991619"/>
              <a:gd name="connsiteX4512" fmla="*/ 4769964 w 6537372"/>
              <a:gd name="connsiteY4512" fmla="*/ 4424783 h 4991619"/>
              <a:gd name="connsiteX4513" fmla="*/ 4698140 w 6537372"/>
              <a:gd name="connsiteY4513" fmla="*/ 4465698 h 4991619"/>
              <a:gd name="connsiteX4514" fmla="*/ 4654900 w 6537372"/>
              <a:gd name="connsiteY4514" fmla="*/ 4489282 h 4991619"/>
              <a:gd name="connsiteX4515" fmla="*/ 4608982 w 6537372"/>
              <a:gd name="connsiteY4515" fmla="*/ 4521800 h 4991619"/>
              <a:gd name="connsiteX4516" fmla="*/ 4572892 w 6537372"/>
              <a:gd name="connsiteY4516" fmla="*/ 4550030 h 4991619"/>
              <a:gd name="connsiteX4517" fmla="*/ 4517682 w 6537372"/>
              <a:gd name="connsiteY4517" fmla="*/ 4593626 h 4991619"/>
              <a:gd name="connsiteX4518" fmla="*/ 4462831 w 6537372"/>
              <a:gd name="connsiteY4518" fmla="*/ 4631504 h 4991619"/>
              <a:gd name="connsiteX4519" fmla="*/ 4431385 w 6537372"/>
              <a:gd name="connsiteY4519" fmla="*/ 4650979 h 4991619"/>
              <a:gd name="connsiteX4520" fmla="*/ 4362061 w 6537372"/>
              <a:gd name="connsiteY4520" fmla="*/ 4685283 h 4991619"/>
              <a:gd name="connsiteX4521" fmla="*/ 4353663 w 6537372"/>
              <a:gd name="connsiteY4521" fmla="*/ 4687606 h 4991619"/>
              <a:gd name="connsiteX4522" fmla="*/ 4303457 w 6537372"/>
              <a:gd name="connsiteY4522" fmla="*/ 4702794 h 4991619"/>
              <a:gd name="connsiteX4523" fmla="*/ 4254322 w 6537372"/>
              <a:gd name="connsiteY4523" fmla="*/ 4715837 h 4991619"/>
              <a:gd name="connsiteX4524" fmla="*/ 4230380 w 6537372"/>
              <a:gd name="connsiteY4524" fmla="*/ 4715837 h 4991619"/>
              <a:gd name="connsiteX4525" fmla="*/ 4226450 w 6537372"/>
              <a:gd name="connsiteY4525" fmla="*/ 4720303 h 4991619"/>
              <a:gd name="connsiteX4526" fmla="*/ 4208939 w 6537372"/>
              <a:gd name="connsiteY4526" fmla="*/ 4742458 h 4991619"/>
              <a:gd name="connsiteX4527" fmla="*/ 4183390 w 6537372"/>
              <a:gd name="connsiteY4527" fmla="*/ 4772118 h 4991619"/>
              <a:gd name="connsiteX4528" fmla="*/ 4180710 w 6537372"/>
              <a:gd name="connsiteY4528" fmla="*/ 4776048 h 4991619"/>
              <a:gd name="connsiteX4529" fmla="*/ 4133183 w 6537372"/>
              <a:gd name="connsiteY4529" fmla="*/ 4829293 h 4991619"/>
              <a:gd name="connsiteX4530" fmla="*/ 4128360 w 6537372"/>
              <a:gd name="connsiteY4530" fmla="*/ 4832330 h 4991619"/>
              <a:gd name="connsiteX4531" fmla="*/ 4132826 w 6537372"/>
              <a:gd name="connsiteY4531" fmla="*/ 4823039 h 4991619"/>
              <a:gd name="connsiteX4532" fmla="*/ 4190179 w 6537372"/>
              <a:gd name="connsiteY4532" fmla="*/ 4752464 h 4991619"/>
              <a:gd name="connsiteX4533" fmla="*/ 4221625 w 6537372"/>
              <a:gd name="connsiteY4533" fmla="*/ 4714049 h 4991619"/>
              <a:gd name="connsiteX4534" fmla="*/ 4208404 w 6537372"/>
              <a:gd name="connsiteY4534" fmla="*/ 4713693 h 4991619"/>
              <a:gd name="connsiteX4535" fmla="*/ 4196790 w 6537372"/>
              <a:gd name="connsiteY4535" fmla="*/ 4722625 h 4991619"/>
              <a:gd name="connsiteX4536" fmla="*/ 4201972 w 6537372"/>
              <a:gd name="connsiteY4536" fmla="*/ 4713871 h 4991619"/>
              <a:gd name="connsiteX4537" fmla="*/ 4199114 w 6537372"/>
              <a:gd name="connsiteY4537" fmla="*/ 4713871 h 4991619"/>
              <a:gd name="connsiteX4538" fmla="*/ 4190537 w 6537372"/>
              <a:gd name="connsiteY4538" fmla="*/ 4725664 h 4991619"/>
              <a:gd name="connsiteX4539" fmla="*/ 4196433 w 6537372"/>
              <a:gd name="connsiteY4539" fmla="*/ 4722447 h 4991619"/>
              <a:gd name="connsiteX4540" fmla="*/ 4196790 w 6537372"/>
              <a:gd name="connsiteY4540" fmla="*/ 4722447 h 4991619"/>
              <a:gd name="connsiteX4541" fmla="*/ 4196611 w 6537372"/>
              <a:gd name="connsiteY4541" fmla="*/ 4722805 h 4991619"/>
              <a:gd name="connsiteX4542" fmla="*/ 4190537 w 6537372"/>
              <a:gd name="connsiteY4542" fmla="*/ 4725842 h 4991619"/>
              <a:gd name="connsiteX4543" fmla="*/ 4190179 w 6537372"/>
              <a:gd name="connsiteY4543" fmla="*/ 4725842 h 4991619"/>
              <a:gd name="connsiteX4544" fmla="*/ 4184105 w 6537372"/>
              <a:gd name="connsiteY4544" fmla="*/ 4734418 h 4991619"/>
              <a:gd name="connsiteX4545" fmla="*/ 4170346 w 6537372"/>
              <a:gd name="connsiteY4545" fmla="*/ 4747283 h 4991619"/>
              <a:gd name="connsiteX4546" fmla="*/ 4136756 w 6537372"/>
              <a:gd name="connsiteY4546" fmla="*/ 4789449 h 4991619"/>
              <a:gd name="connsiteX4547" fmla="*/ 4125321 w 6537372"/>
              <a:gd name="connsiteY4547" fmla="*/ 4807852 h 4991619"/>
              <a:gd name="connsiteX4548" fmla="*/ 4116925 w 6537372"/>
              <a:gd name="connsiteY4548" fmla="*/ 4816428 h 4991619"/>
              <a:gd name="connsiteX4549" fmla="*/ 4124786 w 6537372"/>
              <a:gd name="connsiteY4549" fmla="*/ 4813211 h 4991619"/>
              <a:gd name="connsiteX4550" fmla="*/ 4117282 w 6537372"/>
              <a:gd name="connsiteY4550" fmla="*/ 4816963 h 4991619"/>
              <a:gd name="connsiteX4551" fmla="*/ 4104417 w 6537372"/>
              <a:gd name="connsiteY4551" fmla="*/ 4828756 h 4991619"/>
              <a:gd name="connsiteX4552" fmla="*/ 4090838 w 6537372"/>
              <a:gd name="connsiteY4552" fmla="*/ 4845194 h 4991619"/>
              <a:gd name="connsiteX4553" fmla="*/ 4081011 w 6537372"/>
              <a:gd name="connsiteY4553" fmla="*/ 4842693 h 4991619"/>
              <a:gd name="connsiteX4554" fmla="*/ 4103346 w 6537372"/>
              <a:gd name="connsiteY4554" fmla="*/ 4806959 h 4991619"/>
              <a:gd name="connsiteX4555" fmla="*/ 4144798 w 6537372"/>
              <a:gd name="connsiteY4555" fmla="*/ 4751927 h 4991619"/>
              <a:gd name="connsiteX4556" fmla="*/ 4146762 w 6537372"/>
              <a:gd name="connsiteY4556" fmla="*/ 4745675 h 4991619"/>
              <a:gd name="connsiteX4557" fmla="*/ 4134256 w 6537372"/>
              <a:gd name="connsiteY4557" fmla="*/ 4757644 h 4991619"/>
              <a:gd name="connsiteX4558" fmla="*/ 4135327 w 6537372"/>
              <a:gd name="connsiteY4558" fmla="*/ 4744424 h 4991619"/>
              <a:gd name="connsiteX4559" fmla="*/ 4132468 w 6537372"/>
              <a:gd name="connsiteY4559" fmla="*/ 4744424 h 4991619"/>
              <a:gd name="connsiteX4560" fmla="*/ 4112457 w 6537372"/>
              <a:gd name="connsiteY4560" fmla="*/ 4751571 h 4991619"/>
              <a:gd name="connsiteX4561" fmla="*/ 4080476 w 6537372"/>
              <a:gd name="connsiteY4561" fmla="*/ 4794988 h 4991619"/>
              <a:gd name="connsiteX4562" fmla="*/ 4079047 w 6537372"/>
              <a:gd name="connsiteY4562" fmla="*/ 4800525 h 4991619"/>
              <a:gd name="connsiteX4563" fmla="*/ 4095663 w 6537372"/>
              <a:gd name="connsiteY4563" fmla="*/ 4786054 h 4991619"/>
              <a:gd name="connsiteX4564" fmla="*/ 4091911 w 6537372"/>
              <a:gd name="connsiteY4564" fmla="*/ 4802135 h 4991619"/>
              <a:gd name="connsiteX4565" fmla="*/ 4101022 w 6537372"/>
              <a:gd name="connsiteY4565" fmla="*/ 4793559 h 4991619"/>
              <a:gd name="connsiteX4566" fmla="*/ 4121570 w 6537372"/>
              <a:gd name="connsiteY4566" fmla="*/ 4766935 h 4991619"/>
              <a:gd name="connsiteX4567" fmla="*/ 4134078 w 6537372"/>
              <a:gd name="connsiteY4567" fmla="*/ 4757644 h 4991619"/>
              <a:gd name="connsiteX4568" fmla="*/ 4094948 w 6537372"/>
              <a:gd name="connsiteY4568" fmla="*/ 4810353 h 4991619"/>
              <a:gd name="connsiteX4569" fmla="*/ 4087265 w 6537372"/>
              <a:gd name="connsiteY4569" fmla="*/ 4815355 h 4991619"/>
              <a:gd name="connsiteX4570" fmla="*/ 4086550 w 6537372"/>
              <a:gd name="connsiteY4570" fmla="*/ 4812675 h 4991619"/>
              <a:gd name="connsiteX4571" fmla="*/ 4090838 w 6537372"/>
              <a:gd name="connsiteY4571" fmla="*/ 4803028 h 4991619"/>
              <a:gd name="connsiteX4572" fmla="*/ 4086372 w 6537372"/>
              <a:gd name="connsiteY4572" fmla="*/ 4812497 h 4991619"/>
              <a:gd name="connsiteX4573" fmla="*/ 4076723 w 6537372"/>
              <a:gd name="connsiteY4573" fmla="*/ 4826790 h 4991619"/>
              <a:gd name="connsiteX4574" fmla="*/ 4082262 w 6537372"/>
              <a:gd name="connsiteY4574" fmla="*/ 4823932 h 4991619"/>
              <a:gd name="connsiteX4575" fmla="*/ 4055104 w 6537372"/>
              <a:gd name="connsiteY4575" fmla="*/ 4860202 h 4991619"/>
              <a:gd name="connsiteX4576" fmla="*/ 4056355 w 6537372"/>
              <a:gd name="connsiteY4576" fmla="*/ 4856451 h 4991619"/>
              <a:gd name="connsiteX4577" fmla="*/ 4049030 w 6537372"/>
              <a:gd name="connsiteY4577" fmla="*/ 4861988 h 4991619"/>
              <a:gd name="connsiteX4578" fmla="*/ 4037774 w 6537372"/>
              <a:gd name="connsiteY4578" fmla="*/ 4878069 h 4991619"/>
              <a:gd name="connsiteX4579" fmla="*/ 4022407 w 6537372"/>
              <a:gd name="connsiteY4579" fmla="*/ 4900046 h 4991619"/>
              <a:gd name="connsiteX4580" fmla="*/ 4028661 w 6537372"/>
              <a:gd name="connsiteY4580" fmla="*/ 4897187 h 4991619"/>
              <a:gd name="connsiteX4581" fmla="*/ 4019548 w 6537372"/>
              <a:gd name="connsiteY4581" fmla="*/ 4914874 h 4991619"/>
              <a:gd name="connsiteX4582" fmla="*/ 4017941 w 6537372"/>
              <a:gd name="connsiteY4582" fmla="*/ 4908264 h 4991619"/>
              <a:gd name="connsiteX4583" fmla="*/ 4013296 w 6537372"/>
              <a:gd name="connsiteY4583" fmla="*/ 4916662 h 4991619"/>
              <a:gd name="connsiteX4584" fmla="*/ 4008113 w 6537372"/>
              <a:gd name="connsiteY4584" fmla="*/ 4928097 h 4991619"/>
              <a:gd name="connsiteX4585" fmla="*/ 4013652 w 6537372"/>
              <a:gd name="connsiteY4585" fmla="*/ 4916840 h 4991619"/>
              <a:gd name="connsiteX4586" fmla="*/ 4019548 w 6537372"/>
              <a:gd name="connsiteY4586" fmla="*/ 4915411 h 4991619"/>
              <a:gd name="connsiteX4587" fmla="*/ 4008294 w 6537372"/>
              <a:gd name="connsiteY4587" fmla="*/ 4928275 h 4991619"/>
              <a:gd name="connsiteX4588" fmla="*/ 4008294 w 6537372"/>
              <a:gd name="connsiteY4588" fmla="*/ 4928453 h 4991619"/>
              <a:gd name="connsiteX4589" fmla="*/ 3999359 w 6537372"/>
              <a:gd name="connsiteY4589" fmla="*/ 4931670 h 4991619"/>
              <a:gd name="connsiteX4590" fmla="*/ 3992570 w 6537372"/>
              <a:gd name="connsiteY4590" fmla="*/ 4926668 h 4991619"/>
              <a:gd name="connsiteX4591" fmla="*/ 3993105 w 6537372"/>
              <a:gd name="connsiteY4591" fmla="*/ 4920414 h 4991619"/>
              <a:gd name="connsiteX4592" fmla="*/ 3991141 w 6537372"/>
              <a:gd name="connsiteY4592" fmla="*/ 4914874 h 4991619"/>
              <a:gd name="connsiteX4593" fmla="*/ 3985958 w 6537372"/>
              <a:gd name="connsiteY4593" fmla="*/ 4904869 h 4991619"/>
              <a:gd name="connsiteX4594" fmla="*/ 3973630 w 6537372"/>
              <a:gd name="connsiteY4594" fmla="*/ 4916126 h 4991619"/>
              <a:gd name="connsiteX4595" fmla="*/ 3973094 w 6537372"/>
              <a:gd name="connsiteY4595" fmla="*/ 4908442 h 4991619"/>
              <a:gd name="connsiteX4596" fmla="*/ 3977204 w 6537372"/>
              <a:gd name="connsiteY4596" fmla="*/ 4900581 h 4991619"/>
              <a:gd name="connsiteX4597" fmla="*/ 3969879 w 6537372"/>
              <a:gd name="connsiteY4597" fmla="*/ 4899866 h 4991619"/>
              <a:gd name="connsiteX4598" fmla="*/ 3965769 w 6537372"/>
              <a:gd name="connsiteY4598" fmla="*/ 4897007 h 4991619"/>
              <a:gd name="connsiteX4599" fmla="*/ 3963803 w 6537372"/>
              <a:gd name="connsiteY4599" fmla="*/ 4900761 h 4991619"/>
              <a:gd name="connsiteX4600" fmla="*/ 3955227 w 6537372"/>
              <a:gd name="connsiteY4600" fmla="*/ 4900046 h 4991619"/>
              <a:gd name="connsiteX4601" fmla="*/ 3954692 w 6537372"/>
              <a:gd name="connsiteY4601" fmla="*/ 4892363 h 4991619"/>
              <a:gd name="connsiteX4602" fmla="*/ 3961659 w 6537372"/>
              <a:gd name="connsiteY4602" fmla="*/ 4872530 h 4991619"/>
              <a:gd name="connsiteX4603" fmla="*/ 3958800 w 6537372"/>
              <a:gd name="connsiteY4603" fmla="*/ 4868600 h 4991619"/>
              <a:gd name="connsiteX4604" fmla="*/ 3957908 w 6537372"/>
              <a:gd name="connsiteY4604" fmla="*/ 4870208 h 4991619"/>
              <a:gd name="connsiteX4605" fmla="*/ 3955049 w 6537372"/>
              <a:gd name="connsiteY4605" fmla="*/ 4867705 h 4991619"/>
              <a:gd name="connsiteX4606" fmla="*/ 3955764 w 6537372"/>
              <a:gd name="connsiteY4606" fmla="*/ 4863954 h 4991619"/>
              <a:gd name="connsiteX4607" fmla="*/ 3943614 w 6537372"/>
              <a:gd name="connsiteY4607" fmla="*/ 4832866 h 4991619"/>
              <a:gd name="connsiteX4608" fmla="*/ 3942363 w 6537372"/>
              <a:gd name="connsiteY4608" fmla="*/ 4829649 h 4991619"/>
              <a:gd name="connsiteX4609" fmla="*/ 3942721 w 6537372"/>
              <a:gd name="connsiteY4609" fmla="*/ 4826254 h 4991619"/>
              <a:gd name="connsiteX4610" fmla="*/ 3942184 w 6537372"/>
              <a:gd name="connsiteY4610" fmla="*/ 4820002 h 4991619"/>
              <a:gd name="connsiteX4611" fmla="*/ 3940933 w 6537372"/>
              <a:gd name="connsiteY4611" fmla="*/ 4817858 h 4991619"/>
              <a:gd name="connsiteX4612" fmla="*/ 3935752 w 6537372"/>
              <a:gd name="connsiteY4612" fmla="*/ 4807852 h 4991619"/>
              <a:gd name="connsiteX4613" fmla="*/ 3923424 w 6537372"/>
              <a:gd name="connsiteY4613" fmla="*/ 4819107 h 4991619"/>
              <a:gd name="connsiteX4614" fmla="*/ 3922888 w 6537372"/>
              <a:gd name="connsiteY4614" fmla="*/ 4811426 h 4991619"/>
              <a:gd name="connsiteX4615" fmla="*/ 3923424 w 6537372"/>
              <a:gd name="connsiteY4615" fmla="*/ 4810175 h 4991619"/>
              <a:gd name="connsiteX4616" fmla="*/ 3921459 w 6537372"/>
              <a:gd name="connsiteY4616" fmla="*/ 4811246 h 4991619"/>
              <a:gd name="connsiteX4617" fmla="*/ 3920029 w 6537372"/>
              <a:gd name="connsiteY4617" fmla="*/ 4807494 h 4991619"/>
              <a:gd name="connsiteX4618" fmla="*/ 3923066 w 6537372"/>
              <a:gd name="connsiteY4618" fmla="*/ 4804635 h 4991619"/>
              <a:gd name="connsiteX4619" fmla="*/ 3924676 w 6537372"/>
              <a:gd name="connsiteY4619" fmla="*/ 4806779 h 4991619"/>
              <a:gd name="connsiteX4620" fmla="*/ 3924496 w 6537372"/>
              <a:gd name="connsiteY4620" fmla="*/ 4807852 h 4991619"/>
              <a:gd name="connsiteX4621" fmla="*/ 3926998 w 6537372"/>
              <a:gd name="connsiteY4621" fmla="*/ 4803384 h 4991619"/>
              <a:gd name="connsiteX4622" fmla="*/ 3919673 w 6537372"/>
              <a:gd name="connsiteY4622" fmla="*/ 4802669 h 4991619"/>
              <a:gd name="connsiteX4623" fmla="*/ 3915563 w 6537372"/>
              <a:gd name="connsiteY4623" fmla="*/ 4799811 h 4991619"/>
              <a:gd name="connsiteX4624" fmla="*/ 3913597 w 6537372"/>
              <a:gd name="connsiteY4624" fmla="*/ 4803564 h 4991619"/>
              <a:gd name="connsiteX4625" fmla="*/ 3905021 w 6537372"/>
              <a:gd name="connsiteY4625" fmla="*/ 4802850 h 4991619"/>
              <a:gd name="connsiteX4626" fmla="*/ 3904484 w 6537372"/>
              <a:gd name="connsiteY4626" fmla="*/ 4795166 h 4991619"/>
              <a:gd name="connsiteX4627" fmla="*/ 3911453 w 6537372"/>
              <a:gd name="connsiteY4627" fmla="*/ 4775333 h 4991619"/>
              <a:gd name="connsiteX4628" fmla="*/ 3892872 w 6537372"/>
              <a:gd name="connsiteY4628" fmla="*/ 4734240 h 4991619"/>
              <a:gd name="connsiteX4629" fmla="*/ 3892693 w 6537372"/>
              <a:gd name="connsiteY4629" fmla="*/ 4734240 h 4991619"/>
              <a:gd name="connsiteX4630" fmla="*/ 3892693 w 6537372"/>
              <a:gd name="connsiteY4630" fmla="*/ 4733882 h 4991619"/>
              <a:gd name="connsiteX4631" fmla="*/ 3891620 w 6537372"/>
              <a:gd name="connsiteY4631" fmla="*/ 4724235 h 4991619"/>
              <a:gd name="connsiteX4632" fmla="*/ 3873753 w 6537372"/>
              <a:gd name="connsiteY4632" fmla="*/ 4736562 h 4991619"/>
              <a:gd name="connsiteX4633" fmla="*/ 3875719 w 6537372"/>
              <a:gd name="connsiteY4633" fmla="*/ 4729594 h 4991619"/>
              <a:gd name="connsiteX4634" fmla="*/ 3891620 w 6537372"/>
              <a:gd name="connsiteY4634" fmla="*/ 4714764 h 4991619"/>
              <a:gd name="connsiteX4635" fmla="*/ 3895908 w 6537372"/>
              <a:gd name="connsiteY4635" fmla="*/ 4699935 h 4991619"/>
              <a:gd name="connsiteX4636" fmla="*/ 3897696 w 6537372"/>
              <a:gd name="connsiteY4636" fmla="*/ 4693681 h 4991619"/>
              <a:gd name="connsiteX4637" fmla="*/ 3896623 w 6537372"/>
              <a:gd name="connsiteY4637" fmla="*/ 4693681 h 4991619"/>
              <a:gd name="connsiteX4638" fmla="*/ 3872324 w 6537372"/>
              <a:gd name="connsiteY4638" fmla="*/ 4680995 h 4991619"/>
              <a:gd name="connsiteX4639" fmla="*/ 3887690 w 6537372"/>
              <a:gd name="connsiteY4639" fmla="*/ 4660984 h 4991619"/>
              <a:gd name="connsiteX4640" fmla="*/ 3889120 w 6537372"/>
              <a:gd name="connsiteY4640" fmla="*/ 4655267 h 4991619"/>
              <a:gd name="connsiteX4641" fmla="*/ 3884474 w 6537372"/>
              <a:gd name="connsiteY4641" fmla="*/ 4647584 h 4991619"/>
              <a:gd name="connsiteX4642" fmla="*/ 3892335 w 6537372"/>
              <a:gd name="connsiteY4642" fmla="*/ 4644905 h 4991619"/>
              <a:gd name="connsiteX4643" fmla="*/ 3891798 w 6537372"/>
              <a:gd name="connsiteY4643" fmla="*/ 4642224 h 4991619"/>
              <a:gd name="connsiteX4644" fmla="*/ 3887868 w 6537372"/>
              <a:gd name="connsiteY4644" fmla="*/ 4639544 h 4991619"/>
              <a:gd name="connsiteX4645" fmla="*/ 3876792 w 6537372"/>
              <a:gd name="connsiteY4645" fmla="*/ 4631504 h 4991619"/>
              <a:gd name="connsiteX4646" fmla="*/ 3869465 w 6537372"/>
              <a:gd name="connsiteY4646" fmla="*/ 4622928 h 4991619"/>
              <a:gd name="connsiteX4647" fmla="*/ 3841772 w 6537372"/>
              <a:gd name="connsiteY4647" fmla="*/ 4637400 h 4991619"/>
              <a:gd name="connsiteX4648" fmla="*/ 3858210 w 6537372"/>
              <a:gd name="connsiteY4648" fmla="*/ 4623464 h 4991619"/>
              <a:gd name="connsiteX4649" fmla="*/ 3857852 w 6537372"/>
              <a:gd name="connsiteY4649" fmla="*/ 4620606 h 4991619"/>
              <a:gd name="connsiteX4650" fmla="*/ 3875897 w 6537372"/>
              <a:gd name="connsiteY4650" fmla="*/ 4600236 h 4991619"/>
              <a:gd name="connsiteX4651" fmla="*/ 3889476 w 6537372"/>
              <a:gd name="connsiteY4651" fmla="*/ 4586301 h 4991619"/>
              <a:gd name="connsiteX4652" fmla="*/ 3884474 w 6537372"/>
              <a:gd name="connsiteY4652" fmla="*/ 4580762 h 4991619"/>
              <a:gd name="connsiteX4653" fmla="*/ 3883044 w 6537372"/>
              <a:gd name="connsiteY4653" fmla="*/ 4582191 h 4991619"/>
              <a:gd name="connsiteX4654" fmla="*/ 3850349 w 6537372"/>
              <a:gd name="connsiteY4654" fmla="*/ 4612208 h 4991619"/>
              <a:gd name="connsiteX4655" fmla="*/ 3844810 w 6537372"/>
              <a:gd name="connsiteY4655" fmla="*/ 4615781 h 4991619"/>
              <a:gd name="connsiteX4656" fmla="*/ 3847310 w 6537372"/>
              <a:gd name="connsiteY4656" fmla="*/ 4614708 h 4991619"/>
              <a:gd name="connsiteX4657" fmla="*/ 3847310 w 6537372"/>
              <a:gd name="connsiteY4657" fmla="*/ 4619891 h 4991619"/>
              <a:gd name="connsiteX4658" fmla="*/ 3823011 w 6537372"/>
              <a:gd name="connsiteY4658" fmla="*/ 4639544 h 4991619"/>
              <a:gd name="connsiteX4659" fmla="*/ 3824977 w 6537372"/>
              <a:gd name="connsiteY4659" fmla="*/ 4632575 h 4991619"/>
              <a:gd name="connsiteX4660" fmla="*/ 3841236 w 6537372"/>
              <a:gd name="connsiteY4660" fmla="*/ 4617567 h 4991619"/>
              <a:gd name="connsiteX4661" fmla="*/ 3844631 w 6537372"/>
              <a:gd name="connsiteY4661" fmla="*/ 4610242 h 4991619"/>
              <a:gd name="connsiteX4662" fmla="*/ 3865535 w 6537372"/>
              <a:gd name="connsiteY4662" fmla="*/ 4588801 h 4991619"/>
              <a:gd name="connsiteX4663" fmla="*/ 3877148 w 6537372"/>
              <a:gd name="connsiteY4663" fmla="*/ 4577188 h 4991619"/>
              <a:gd name="connsiteX4664" fmla="*/ 3876612 w 6537372"/>
              <a:gd name="connsiteY4664" fmla="*/ 4576474 h 4991619"/>
              <a:gd name="connsiteX4665" fmla="*/ 3877148 w 6537372"/>
              <a:gd name="connsiteY4665" fmla="*/ 4575401 h 4991619"/>
              <a:gd name="connsiteX4666" fmla="*/ 3877863 w 6537372"/>
              <a:gd name="connsiteY4666" fmla="*/ 4576295 h 4991619"/>
              <a:gd name="connsiteX4667" fmla="*/ 3878756 w 6537372"/>
              <a:gd name="connsiteY4667" fmla="*/ 4575044 h 4991619"/>
              <a:gd name="connsiteX4668" fmla="*/ 3870360 w 6537372"/>
              <a:gd name="connsiteY4668" fmla="*/ 4567897 h 4991619"/>
              <a:gd name="connsiteX4669" fmla="*/ 3856781 w 6537372"/>
              <a:gd name="connsiteY4669" fmla="*/ 4572542 h 4991619"/>
              <a:gd name="connsiteX4670" fmla="*/ 3850883 w 6537372"/>
              <a:gd name="connsiteY4670" fmla="*/ 4577188 h 4991619"/>
              <a:gd name="connsiteX4671" fmla="*/ 3853208 w 6537372"/>
              <a:gd name="connsiteY4671" fmla="*/ 4583977 h 4991619"/>
              <a:gd name="connsiteX4672" fmla="*/ 3853208 w 6537372"/>
              <a:gd name="connsiteY4672" fmla="*/ 4584335 h 4991619"/>
              <a:gd name="connsiteX4673" fmla="*/ 3854100 w 6537372"/>
              <a:gd name="connsiteY4673" fmla="*/ 4584872 h 4991619"/>
              <a:gd name="connsiteX4674" fmla="*/ 3853564 w 6537372"/>
              <a:gd name="connsiteY4674" fmla="*/ 4585228 h 4991619"/>
              <a:gd name="connsiteX4675" fmla="*/ 3845702 w 6537372"/>
              <a:gd name="connsiteY4675" fmla="*/ 4596841 h 4991619"/>
              <a:gd name="connsiteX4676" fmla="*/ 3841414 w 6537372"/>
              <a:gd name="connsiteY4676" fmla="*/ 4596841 h 4991619"/>
              <a:gd name="connsiteX4677" fmla="*/ 3836412 w 6537372"/>
              <a:gd name="connsiteY4677" fmla="*/ 4601666 h 4991619"/>
              <a:gd name="connsiteX4678" fmla="*/ 3811756 w 6537372"/>
              <a:gd name="connsiteY4678" fmla="*/ 4623999 h 4991619"/>
              <a:gd name="connsiteX4679" fmla="*/ 3793531 w 6537372"/>
              <a:gd name="connsiteY4679" fmla="*/ 4634719 h 4991619"/>
              <a:gd name="connsiteX4680" fmla="*/ 3808361 w 6537372"/>
              <a:gd name="connsiteY4680" fmla="*/ 4611493 h 4991619"/>
              <a:gd name="connsiteX4681" fmla="*/ 3825870 w 6537372"/>
              <a:gd name="connsiteY4681" fmla="*/ 4600951 h 4991619"/>
              <a:gd name="connsiteX4682" fmla="*/ 3831945 w 6537372"/>
              <a:gd name="connsiteY4682" fmla="*/ 4596485 h 4991619"/>
              <a:gd name="connsiteX4683" fmla="*/ 3833196 w 6537372"/>
              <a:gd name="connsiteY4683" fmla="*/ 4595055 h 4991619"/>
              <a:gd name="connsiteX4684" fmla="*/ 3821582 w 6537372"/>
              <a:gd name="connsiteY4684" fmla="*/ 4584335 h 4991619"/>
              <a:gd name="connsiteX4685" fmla="*/ 3832660 w 6537372"/>
              <a:gd name="connsiteY4685" fmla="*/ 4568969 h 4991619"/>
              <a:gd name="connsiteX4686" fmla="*/ 3824084 w 6537372"/>
              <a:gd name="connsiteY4686" fmla="*/ 4567539 h 4991619"/>
              <a:gd name="connsiteX4687" fmla="*/ 3810505 w 6537372"/>
              <a:gd name="connsiteY4687" fmla="*/ 4582728 h 4991619"/>
              <a:gd name="connsiteX4688" fmla="*/ 3796748 w 6537372"/>
              <a:gd name="connsiteY4688" fmla="*/ 4581118 h 4991619"/>
              <a:gd name="connsiteX4689" fmla="*/ 3796926 w 6537372"/>
              <a:gd name="connsiteY4689" fmla="*/ 4576652 h 4991619"/>
              <a:gd name="connsiteX4690" fmla="*/ 3806573 w 6537372"/>
              <a:gd name="connsiteY4690" fmla="*/ 4563251 h 4991619"/>
              <a:gd name="connsiteX4691" fmla="*/ 3789779 w 6537372"/>
              <a:gd name="connsiteY4691" fmla="*/ 4571649 h 4991619"/>
              <a:gd name="connsiteX4692" fmla="*/ 3792638 w 6537372"/>
              <a:gd name="connsiteY4692" fmla="*/ 4558070 h 4991619"/>
              <a:gd name="connsiteX4693" fmla="*/ 3783883 w 6537372"/>
              <a:gd name="connsiteY4693" fmla="*/ 4563609 h 4991619"/>
              <a:gd name="connsiteX4694" fmla="*/ 3785669 w 6537372"/>
              <a:gd name="connsiteY4694" fmla="*/ 4558070 h 4991619"/>
              <a:gd name="connsiteX4695" fmla="*/ 3769232 w 6537372"/>
              <a:gd name="connsiteY4695" fmla="*/ 4572186 h 4991619"/>
              <a:gd name="connsiteX4696" fmla="*/ 3765302 w 6537372"/>
              <a:gd name="connsiteY4696" fmla="*/ 4575937 h 4991619"/>
              <a:gd name="connsiteX4697" fmla="*/ 3756904 w 6537372"/>
              <a:gd name="connsiteY4697" fmla="*/ 4578974 h 4991619"/>
              <a:gd name="connsiteX4698" fmla="*/ 3755831 w 6537372"/>
              <a:gd name="connsiteY4698" fmla="*/ 4580225 h 4991619"/>
              <a:gd name="connsiteX4699" fmla="*/ 3752972 w 6537372"/>
              <a:gd name="connsiteY4699" fmla="*/ 4587372 h 4991619"/>
              <a:gd name="connsiteX4700" fmla="*/ 3739036 w 6537372"/>
              <a:gd name="connsiteY4700" fmla="*/ 4605597 h 4991619"/>
              <a:gd name="connsiteX4701" fmla="*/ 3735820 w 6537372"/>
              <a:gd name="connsiteY4701" fmla="*/ 4606312 h 4991619"/>
              <a:gd name="connsiteX4702" fmla="*/ 3733319 w 6537372"/>
              <a:gd name="connsiteY4702" fmla="*/ 4606847 h 4991619"/>
              <a:gd name="connsiteX4703" fmla="*/ 3730282 w 6537372"/>
              <a:gd name="connsiteY4703" fmla="*/ 4622391 h 4991619"/>
              <a:gd name="connsiteX4704" fmla="*/ 3745110 w 6537372"/>
              <a:gd name="connsiteY4704" fmla="*/ 4608098 h 4991619"/>
              <a:gd name="connsiteX4705" fmla="*/ 3758870 w 6537372"/>
              <a:gd name="connsiteY4705" fmla="*/ 4595948 h 4991619"/>
              <a:gd name="connsiteX4706" fmla="*/ 3762978 w 6537372"/>
              <a:gd name="connsiteY4706" fmla="*/ 4602024 h 4991619"/>
              <a:gd name="connsiteX4707" fmla="*/ 3738144 w 6537372"/>
              <a:gd name="connsiteY4707" fmla="*/ 4644905 h 4991619"/>
              <a:gd name="connsiteX4708" fmla="*/ 3731532 w 6537372"/>
              <a:gd name="connsiteY4708" fmla="*/ 4644547 h 4991619"/>
              <a:gd name="connsiteX4709" fmla="*/ 3721170 w 6537372"/>
              <a:gd name="connsiteY4709" fmla="*/ 4658840 h 4991619"/>
              <a:gd name="connsiteX4710" fmla="*/ 3723670 w 6537372"/>
              <a:gd name="connsiteY4710" fmla="*/ 4664736 h 4991619"/>
              <a:gd name="connsiteX4711" fmla="*/ 3729568 w 6537372"/>
              <a:gd name="connsiteY4711" fmla="*/ 4654910 h 4991619"/>
              <a:gd name="connsiteX4712" fmla="*/ 3733676 w 6537372"/>
              <a:gd name="connsiteY4712" fmla="*/ 4652945 h 4991619"/>
              <a:gd name="connsiteX4713" fmla="*/ 3739036 w 6537372"/>
              <a:gd name="connsiteY4713" fmla="*/ 4660091 h 4991619"/>
              <a:gd name="connsiteX4714" fmla="*/ 3732068 w 6537372"/>
              <a:gd name="connsiteY4714" fmla="*/ 4682961 h 4991619"/>
              <a:gd name="connsiteX4715" fmla="*/ 3733319 w 6537372"/>
              <a:gd name="connsiteY4715" fmla="*/ 4706187 h 4991619"/>
              <a:gd name="connsiteX4716" fmla="*/ 3738322 w 6537372"/>
              <a:gd name="connsiteY4716" fmla="*/ 4709941 h 4991619"/>
              <a:gd name="connsiteX4717" fmla="*/ 3723492 w 6537372"/>
              <a:gd name="connsiteY4717" fmla="*/ 4728701 h 4991619"/>
              <a:gd name="connsiteX4718" fmla="*/ 3723492 w 6537372"/>
              <a:gd name="connsiteY4718" fmla="*/ 4729952 h 4991619"/>
              <a:gd name="connsiteX4719" fmla="*/ 3732068 w 6537372"/>
              <a:gd name="connsiteY4719" fmla="*/ 4730308 h 4991619"/>
              <a:gd name="connsiteX4720" fmla="*/ 3732604 w 6537372"/>
              <a:gd name="connsiteY4720" fmla="*/ 4733345 h 4991619"/>
              <a:gd name="connsiteX4721" fmla="*/ 3729388 w 6537372"/>
              <a:gd name="connsiteY4721" fmla="*/ 4737813 h 4991619"/>
              <a:gd name="connsiteX4722" fmla="*/ 3733856 w 6537372"/>
              <a:gd name="connsiteY4722" fmla="*/ 4739243 h 4991619"/>
              <a:gd name="connsiteX4723" fmla="*/ 3724206 w 6537372"/>
              <a:gd name="connsiteY4723" fmla="*/ 4744960 h 4991619"/>
              <a:gd name="connsiteX4724" fmla="*/ 3722421 w 6537372"/>
              <a:gd name="connsiteY4724" fmla="*/ 4743709 h 4991619"/>
              <a:gd name="connsiteX4725" fmla="*/ 3685257 w 6537372"/>
              <a:gd name="connsiteY4725" fmla="*/ 4775333 h 4991619"/>
              <a:gd name="connsiteX4726" fmla="*/ 3666317 w 6537372"/>
              <a:gd name="connsiteY4726" fmla="*/ 4786232 h 4991619"/>
              <a:gd name="connsiteX4727" fmla="*/ 3653275 w 6537372"/>
              <a:gd name="connsiteY4727" fmla="*/ 4791771 h 4991619"/>
              <a:gd name="connsiteX4728" fmla="*/ 3637552 w 6537372"/>
              <a:gd name="connsiteY4728" fmla="*/ 4779443 h 4991619"/>
              <a:gd name="connsiteX4729" fmla="*/ 3628261 w 6537372"/>
              <a:gd name="connsiteY4729" fmla="*/ 4756395 h 4991619"/>
              <a:gd name="connsiteX4730" fmla="*/ 3623973 w 6537372"/>
              <a:gd name="connsiteY4730" fmla="*/ 4742102 h 4991619"/>
              <a:gd name="connsiteX4731" fmla="*/ 3600388 w 6537372"/>
              <a:gd name="connsiteY4731" fmla="*/ 4744960 h 4991619"/>
              <a:gd name="connsiteX4732" fmla="*/ 3597708 w 6537372"/>
              <a:gd name="connsiteY4732" fmla="*/ 4739421 h 4991619"/>
              <a:gd name="connsiteX4733" fmla="*/ 3598066 w 6537372"/>
              <a:gd name="connsiteY4733" fmla="*/ 4735133 h 4991619"/>
              <a:gd name="connsiteX4734" fmla="*/ 3589310 w 6537372"/>
              <a:gd name="connsiteY4734" fmla="*/ 4744602 h 4991619"/>
              <a:gd name="connsiteX4735" fmla="*/ 3575731 w 6537372"/>
              <a:gd name="connsiteY4735" fmla="*/ 4753536 h 4991619"/>
              <a:gd name="connsiteX4736" fmla="*/ 3573587 w 6537372"/>
              <a:gd name="connsiteY4736" fmla="*/ 4751749 h 4991619"/>
              <a:gd name="connsiteX4737" fmla="*/ 3576804 w 6537372"/>
              <a:gd name="connsiteY4737" fmla="*/ 4738885 h 4991619"/>
              <a:gd name="connsiteX4738" fmla="*/ 3559115 w 6537372"/>
              <a:gd name="connsiteY4738" fmla="*/ 4753000 h 4991619"/>
              <a:gd name="connsiteX4739" fmla="*/ 3547858 w 6537372"/>
              <a:gd name="connsiteY4739" fmla="*/ 4772118 h 4991619"/>
              <a:gd name="connsiteX4740" fmla="*/ 3526418 w 6537372"/>
              <a:gd name="connsiteY4740" fmla="*/ 4767650 h 4991619"/>
              <a:gd name="connsiteX4741" fmla="*/ 3516590 w 6537372"/>
              <a:gd name="connsiteY4741" fmla="*/ 4775512 h 4991619"/>
              <a:gd name="connsiteX4742" fmla="*/ 3504621 w 6537372"/>
              <a:gd name="connsiteY4742" fmla="*/ 4762113 h 4991619"/>
              <a:gd name="connsiteX4743" fmla="*/ 3494437 w 6537372"/>
              <a:gd name="connsiteY4743" fmla="*/ 4778729 h 4991619"/>
              <a:gd name="connsiteX4744" fmla="*/ 3497116 w 6537372"/>
              <a:gd name="connsiteY4744" fmla="*/ 4784090 h 4991619"/>
              <a:gd name="connsiteX4745" fmla="*/ 3494616 w 6537372"/>
              <a:gd name="connsiteY4745" fmla="*/ 4784802 h 4991619"/>
              <a:gd name="connsiteX4746" fmla="*/ 3452271 w 6537372"/>
              <a:gd name="connsiteY4746" fmla="*/ 4815177 h 4991619"/>
              <a:gd name="connsiteX4747" fmla="*/ 3450127 w 6537372"/>
              <a:gd name="connsiteY4747" fmla="*/ 4816607 h 4991619"/>
              <a:gd name="connsiteX4748" fmla="*/ 3441907 w 6537372"/>
              <a:gd name="connsiteY4748" fmla="*/ 4825898 h 4991619"/>
              <a:gd name="connsiteX4749" fmla="*/ 3424755 w 6537372"/>
              <a:gd name="connsiteY4749" fmla="*/ 4823039 h 4991619"/>
              <a:gd name="connsiteX4750" fmla="*/ 3426721 w 6537372"/>
              <a:gd name="connsiteY4750" fmla="*/ 4835367 h 4991619"/>
              <a:gd name="connsiteX4751" fmla="*/ 3395811 w 6537372"/>
              <a:gd name="connsiteY4751" fmla="*/ 4855199 h 4991619"/>
              <a:gd name="connsiteX4752" fmla="*/ 3394738 w 6537372"/>
              <a:gd name="connsiteY4752" fmla="*/ 4853412 h 4991619"/>
              <a:gd name="connsiteX4753" fmla="*/ 3401529 w 6537372"/>
              <a:gd name="connsiteY4753" fmla="*/ 4844657 h 4991619"/>
              <a:gd name="connsiteX4754" fmla="*/ 3400456 w 6537372"/>
              <a:gd name="connsiteY4754" fmla="*/ 4843228 h 4991619"/>
              <a:gd name="connsiteX4755" fmla="*/ 3373120 w 6537372"/>
              <a:gd name="connsiteY4755" fmla="*/ 4859488 h 4991619"/>
              <a:gd name="connsiteX4756" fmla="*/ 3375086 w 6537372"/>
              <a:gd name="connsiteY4756" fmla="*/ 4865383 h 4991619"/>
              <a:gd name="connsiteX4757" fmla="*/ 3373120 w 6537372"/>
              <a:gd name="connsiteY4757" fmla="*/ 4866634 h 4991619"/>
              <a:gd name="connsiteX4758" fmla="*/ 3368653 w 6537372"/>
              <a:gd name="connsiteY4758" fmla="*/ 4858773 h 4991619"/>
              <a:gd name="connsiteX4759" fmla="*/ 3354180 w 6537372"/>
              <a:gd name="connsiteY4759" fmla="*/ 4873425 h 4991619"/>
              <a:gd name="connsiteX4760" fmla="*/ 3351143 w 6537372"/>
              <a:gd name="connsiteY4760" fmla="*/ 4875389 h 4991619"/>
              <a:gd name="connsiteX4761" fmla="*/ 3335778 w 6537372"/>
              <a:gd name="connsiteY4761" fmla="*/ 4880570 h 4991619"/>
              <a:gd name="connsiteX4762" fmla="*/ 3323448 w 6537372"/>
              <a:gd name="connsiteY4762" fmla="*/ 4892185 h 4991619"/>
              <a:gd name="connsiteX4763" fmla="*/ 3303796 w 6537372"/>
              <a:gd name="connsiteY4763" fmla="*/ 4904513 h 4991619"/>
              <a:gd name="connsiteX4764" fmla="*/ 3311299 w 6537372"/>
              <a:gd name="connsiteY4764" fmla="*/ 4895578 h 4991619"/>
              <a:gd name="connsiteX4765" fmla="*/ 3298078 w 6537372"/>
              <a:gd name="connsiteY4765" fmla="*/ 4898080 h 4991619"/>
              <a:gd name="connsiteX4766" fmla="*/ 3296290 w 6537372"/>
              <a:gd name="connsiteY4766" fmla="*/ 4890934 h 4991619"/>
              <a:gd name="connsiteX4767" fmla="*/ 3275386 w 6537372"/>
              <a:gd name="connsiteY4767" fmla="*/ 4902010 h 4991619"/>
              <a:gd name="connsiteX4768" fmla="*/ 3271098 w 6537372"/>
              <a:gd name="connsiteY4768" fmla="*/ 4897187 h 4991619"/>
              <a:gd name="connsiteX4769" fmla="*/ 3268418 w 6537372"/>
              <a:gd name="connsiteY4769" fmla="*/ 4898617 h 4991619"/>
              <a:gd name="connsiteX4770" fmla="*/ 3247692 w 6537372"/>
              <a:gd name="connsiteY4770" fmla="*/ 4915411 h 4991619"/>
              <a:gd name="connsiteX4771" fmla="*/ 3222858 w 6537372"/>
              <a:gd name="connsiteY4771" fmla="*/ 4928812 h 4991619"/>
              <a:gd name="connsiteX4772" fmla="*/ 3223751 w 6537372"/>
              <a:gd name="connsiteY4772" fmla="*/ 4937210 h 4991619"/>
              <a:gd name="connsiteX4773" fmla="*/ 3221964 w 6537372"/>
              <a:gd name="connsiteY4773" fmla="*/ 4945071 h 4991619"/>
              <a:gd name="connsiteX4774" fmla="*/ 3213746 w 6537372"/>
              <a:gd name="connsiteY4774" fmla="*/ 4952753 h 4991619"/>
              <a:gd name="connsiteX4775" fmla="*/ 3176404 w 6537372"/>
              <a:gd name="connsiteY4775" fmla="*/ 4968297 h 4991619"/>
              <a:gd name="connsiteX4776" fmla="*/ 3188195 w 6537372"/>
              <a:gd name="connsiteY4776" fmla="*/ 4960972 h 4991619"/>
              <a:gd name="connsiteX4777" fmla="*/ 3194449 w 6537372"/>
              <a:gd name="connsiteY4777" fmla="*/ 4949716 h 4991619"/>
              <a:gd name="connsiteX4778" fmla="*/ 3205884 w 6537372"/>
              <a:gd name="connsiteY4778" fmla="*/ 4941854 h 4991619"/>
              <a:gd name="connsiteX4779" fmla="*/ 3166576 w 6537372"/>
              <a:gd name="connsiteY4779" fmla="*/ 4957577 h 4991619"/>
              <a:gd name="connsiteX4780" fmla="*/ 3126376 w 6537372"/>
              <a:gd name="connsiteY4780" fmla="*/ 4977410 h 4991619"/>
              <a:gd name="connsiteX4781" fmla="*/ 3085996 w 6537372"/>
              <a:gd name="connsiteY4781" fmla="*/ 4991525 h 4991619"/>
              <a:gd name="connsiteX4782" fmla="*/ 3110117 w 6537372"/>
              <a:gd name="connsiteY4782" fmla="*/ 4976874 h 4991619"/>
              <a:gd name="connsiteX4783" fmla="*/ 3137274 w 6537372"/>
              <a:gd name="connsiteY4783" fmla="*/ 4955611 h 4991619"/>
              <a:gd name="connsiteX4784" fmla="*/ 3099038 w 6537372"/>
              <a:gd name="connsiteY4784" fmla="*/ 4974193 h 4991619"/>
              <a:gd name="connsiteX4785" fmla="*/ 3094750 w 6537372"/>
              <a:gd name="connsiteY4785" fmla="*/ 4968834 h 4991619"/>
              <a:gd name="connsiteX4786" fmla="*/ 3079742 w 6537372"/>
              <a:gd name="connsiteY4786" fmla="*/ 4973122 h 4991619"/>
              <a:gd name="connsiteX4787" fmla="*/ 3077598 w 6537372"/>
              <a:gd name="connsiteY4787" fmla="*/ 4965082 h 4991619"/>
              <a:gd name="connsiteX4788" fmla="*/ 3038827 w 6537372"/>
              <a:gd name="connsiteY4788" fmla="*/ 4977232 h 4991619"/>
              <a:gd name="connsiteX4789" fmla="*/ 3057945 w 6537372"/>
              <a:gd name="connsiteY4789" fmla="*/ 4960794 h 4991619"/>
              <a:gd name="connsiteX4790" fmla="*/ 3032216 w 6537372"/>
              <a:gd name="connsiteY4790" fmla="*/ 4948823 h 4991619"/>
              <a:gd name="connsiteX4791" fmla="*/ 3044366 w 6537372"/>
              <a:gd name="connsiteY4791" fmla="*/ 4944713 h 4991619"/>
              <a:gd name="connsiteX4792" fmla="*/ 3022567 w 6537372"/>
              <a:gd name="connsiteY4792" fmla="*/ 4942032 h 4991619"/>
              <a:gd name="connsiteX4793" fmla="*/ 3002736 w 6537372"/>
              <a:gd name="connsiteY4793" fmla="*/ 4956506 h 4991619"/>
              <a:gd name="connsiteX4794" fmla="*/ 3014528 w 6537372"/>
              <a:gd name="connsiteY4794" fmla="*/ 4934529 h 4991619"/>
              <a:gd name="connsiteX4795" fmla="*/ 2998090 w 6537372"/>
              <a:gd name="connsiteY4795" fmla="*/ 4944535 h 4991619"/>
              <a:gd name="connsiteX4796" fmla="*/ 3007917 w 6537372"/>
              <a:gd name="connsiteY4796" fmla="*/ 4932741 h 4991619"/>
              <a:gd name="connsiteX4797" fmla="*/ 2996304 w 6537372"/>
              <a:gd name="connsiteY4797" fmla="*/ 4928453 h 4991619"/>
              <a:gd name="connsiteX4798" fmla="*/ 3013635 w 6537372"/>
              <a:gd name="connsiteY4798" fmla="*/ 4910766 h 4991619"/>
              <a:gd name="connsiteX4799" fmla="*/ 3005595 w 6537372"/>
              <a:gd name="connsiteY4799" fmla="*/ 4901117 h 4991619"/>
              <a:gd name="connsiteX4800" fmla="*/ 2988442 w 6537372"/>
              <a:gd name="connsiteY4800" fmla="*/ 4918448 h 4991619"/>
              <a:gd name="connsiteX4801" fmla="*/ 2985404 w 6537372"/>
              <a:gd name="connsiteY4801" fmla="*/ 4905405 h 4991619"/>
              <a:gd name="connsiteX4802" fmla="*/ 2992372 w 6537372"/>
              <a:gd name="connsiteY4802" fmla="*/ 4895043 h 4991619"/>
              <a:gd name="connsiteX4803" fmla="*/ 2975220 w 6537372"/>
              <a:gd name="connsiteY4803" fmla="*/ 4897544 h 4991619"/>
              <a:gd name="connsiteX4804" fmla="*/ 2977542 w 6537372"/>
              <a:gd name="connsiteY4804" fmla="*/ 4888611 h 4991619"/>
              <a:gd name="connsiteX4805" fmla="*/ 2970576 w 6537372"/>
              <a:gd name="connsiteY4805" fmla="*/ 4887538 h 4991619"/>
              <a:gd name="connsiteX4806" fmla="*/ 2986655 w 6537372"/>
              <a:gd name="connsiteY4806" fmla="*/ 4868242 h 4991619"/>
              <a:gd name="connsiteX4807" fmla="*/ 2988799 w 6537372"/>
              <a:gd name="connsiteY4807" fmla="*/ 4850733 h 4991619"/>
              <a:gd name="connsiteX4808" fmla="*/ 2961641 w 6537372"/>
              <a:gd name="connsiteY4808" fmla="*/ 4869850 h 4991619"/>
              <a:gd name="connsiteX4809" fmla="*/ 2935912 w 6537372"/>
              <a:gd name="connsiteY4809" fmla="*/ 4888431 h 4991619"/>
              <a:gd name="connsiteX4810" fmla="*/ 2928944 w 6537372"/>
              <a:gd name="connsiteY4810" fmla="*/ 4890219 h 4991619"/>
              <a:gd name="connsiteX4811" fmla="*/ 2937520 w 6537372"/>
              <a:gd name="connsiteY4811" fmla="*/ 4882536 h 4991619"/>
              <a:gd name="connsiteX4812" fmla="*/ 2935734 w 6537372"/>
              <a:gd name="connsiteY4812" fmla="*/ 4879855 h 4991619"/>
              <a:gd name="connsiteX4813" fmla="*/ 2921977 w 6537372"/>
              <a:gd name="connsiteY4813" fmla="*/ 4887360 h 4991619"/>
              <a:gd name="connsiteX4814" fmla="*/ 2961104 w 6537372"/>
              <a:gd name="connsiteY4814" fmla="*/ 4852697 h 4991619"/>
              <a:gd name="connsiteX4815" fmla="*/ 2966108 w 6537372"/>
              <a:gd name="connsiteY4815" fmla="*/ 4830542 h 4991619"/>
              <a:gd name="connsiteX4816" fmla="*/ 2959675 w 6537372"/>
              <a:gd name="connsiteY4816" fmla="*/ 4817858 h 4991619"/>
              <a:gd name="connsiteX4817" fmla="*/ 2950921 w 6537372"/>
              <a:gd name="connsiteY4817" fmla="*/ 4809460 h 4991619"/>
              <a:gd name="connsiteX4818" fmla="*/ 2920904 w 6537372"/>
              <a:gd name="connsiteY4818" fmla="*/ 4815355 h 4991619"/>
              <a:gd name="connsiteX4819" fmla="*/ 2928051 w 6537372"/>
              <a:gd name="connsiteY4819" fmla="*/ 4806423 h 4991619"/>
              <a:gd name="connsiteX4820" fmla="*/ 2884992 w 6537372"/>
              <a:gd name="connsiteY4820" fmla="*/ 4830007 h 4991619"/>
              <a:gd name="connsiteX4821" fmla="*/ 2901966 w 6537372"/>
              <a:gd name="connsiteY4821" fmla="*/ 4813211 h 4991619"/>
              <a:gd name="connsiteX4822" fmla="*/ 2920904 w 6537372"/>
              <a:gd name="connsiteY4822" fmla="*/ 4794273 h 4991619"/>
              <a:gd name="connsiteX4823" fmla="*/ 2896427 w 6537372"/>
              <a:gd name="connsiteY4823" fmla="*/ 4807494 h 4991619"/>
              <a:gd name="connsiteX4824" fmla="*/ 2873557 w 6537372"/>
              <a:gd name="connsiteY4824" fmla="*/ 4820895 h 4991619"/>
              <a:gd name="connsiteX4825" fmla="*/ 2907862 w 6537372"/>
              <a:gd name="connsiteY4825" fmla="*/ 4783017 h 4991619"/>
              <a:gd name="connsiteX4826" fmla="*/ 2905360 w 6537372"/>
              <a:gd name="connsiteY4826" fmla="*/ 4769079 h 4991619"/>
              <a:gd name="connsiteX4827" fmla="*/ 2896783 w 6537372"/>
              <a:gd name="connsiteY4827" fmla="*/ 4773548 h 4991619"/>
              <a:gd name="connsiteX4828" fmla="*/ 2898393 w 6537372"/>
              <a:gd name="connsiteY4828" fmla="*/ 4761040 h 4991619"/>
              <a:gd name="connsiteX4829" fmla="*/ 2867125 w 6537372"/>
              <a:gd name="connsiteY4829" fmla="*/ 4783195 h 4991619"/>
              <a:gd name="connsiteX4830" fmla="*/ 2865874 w 6537372"/>
              <a:gd name="connsiteY4830" fmla="*/ 4781765 h 4991619"/>
              <a:gd name="connsiteX4831" fmla="*/ 2877667 w 6537372"/>
              <a:gd name="connsiteY4831" fmla="*/ 4765150 h 4991619"/>
              <a:gd name="connsiteX4832" fmla="*/ 2866052 w 6537372"/>
              <a:gd name="connsiteY4832" fmla="*/ 4766042 h 4991619"/>
              <a:gd name="connsiteX4833" fmla="*/ 2889280 w 6537372"/>
              <a:gd name="connsiteY4833" fmla="*/ 4741743 h 4991619"/>
              <a:gd name="connsiteX4834" fmla="*/ 2876594 w 6537372"/>
              <a:gd name="connsiteY4834" fmla="*/ 4741921 h 4991619"/>
              <a:gd name="connsiteX4835" fmla="*/ 2881955 w 6537372"/>
              <a:gd name="connsiteY4835" fmla="*/ 4733704 h 4991619"/>
              <a:gd name="connsiteX4836" fmla="*/ 2863373 w 6537372"/>
              <a:gd name="connsiteY4836" fmla="*/ 4719946 h 4991619"/>
              <a:gd name="connsiteX4837" fmla="*/ 2871950 w 6537372"/>
              <a:gd name="connsiteY4837" fmla="*/ 4712263 h 4991619"/>
              <a:gd name="connsiteX4838" fmla="*/ 2871055 w 6537372"/>
              <a:gd name="connsiteY4838" fmla="*/ 4711012 h 4991619"/>
              <a:gd name="connsiteX4839" fmla="*/ 2858190 w 6537372"/>
              <a:gd name="connsiteY4839" fmla="*/ 4717444 h 4991619"/>
              <a:gd name="connsiteX4840" fmla="*/ 2856761 w 6537372"/>
              <a:gd name="connsiteY4840" fmla="*/ 4715122 h 4991619"/>
              <a:gd name="connsiteX4841" fmla="*/ 2883384 w 6537372"/>
              <a:gd name="connsiteY4841" fmla="*/ 4691359 h 4991619"/>
              <a:gd name="connsiteX4842" fmla="*/ 2890351 w 6537372"/>
              <a:gd name="connsiteY4842" fmla="*/ 4696540 h 4991619"/>
              <a:gd name="connsiteX4843" fmla="*/ 2891960 w 6537372"/>
              <a:gd name="connsiteY4843" fmla="*/ 4682961 h 4991619"/>
              <a:gd name="connsiteX4844" fmla="*/ 2899642 w 6537372"/>
              <a:gd name="connsiteY4844" fmla="*/ 4657769 h 4991619"/>
              <a:gd name="connsiteX4845" fmla="*/ 2882490 w 6537372"/>
              <a:gd name="connsiteY4845" fmla="*/ 4647227 h 4991619"/>
              <a:gd name="connsiteX4846" fmla="*/ 2901252 w 6537372"/>
              <a:gd name="connsiteY4846" fmla="*/ 4623999 h 4991619"/>
              <a:gd name="connsiteX4847" fmla="*/ 2900357 w 6537372"/>
              <a:gd name="connsiteY4847" fmla="*/ 4621855 h 4991619"/>
              <a:gd name="connsiteX4848" fmla="*/ 2891602 w 6537372"/>
              <a:gd name="connsiteY4848" fmla="*/ 4624535 h 4991619"/>
              <a:gd name="connsiteX4849" fmla="*/ 2850329 w 6537372"/>
              <a:gd name="connsiteY4849" fmla="*/ 4652766 h 4991619"/>
              <a:gd name="connsiteX4850" fmla="*/ 2842289 w 6537372"/>
              <a:gd name="connsiteY4850" fmla="*/ 4655803 h 4991619"/>
              <a:gd name="connsiteX4851" fmla="*/ 2837465 w 6537372"/>
              <a:gd name="connsiteY4851" fmla="*/ 4656874 h 4991619"/>
              <a:gd name="connsiteX4852" fmla="*/ 2807092 w 6537372"/>
              <a:gd name="connsiteY4852" fmla="*/ 4673492 h 4991619"/>
              <a:gd name="connsiteX4853" fmla="*/ 2669158 w 6537372"/>
              <a:gd name="connsiteY4853" fmla="*/ 4669382 h 4991619"/>
              <a:gd name="connsiteX4854" fmla="*/ 2645752 w 6537372"/>
              <a:gd name="connsiteY4854" fmla="*/ 4676351 h 4991619"/>
              <a:gd name="connsiteX4855" fmla="*/ 2636105 w 6537372"/>
              <a:gd name="connsiteY4855" fmla="*/ 4679744 h 4991619"/>
              <a:gd name="connsiteX4856" fmla="*/ 2620382 w 6537372"/>
              <a:gd name="connsiteY4856" fmla="*/ 4683318 h 4991619"/>
              <a:gd name="connsiteX4857" fmla="*/ 2605730 w 6537372"/>
              <a:gd name="connsiteY4857" fmla="*/ 4691537 h 4991619"/>
              <a:gd name="connsiteX4858" fmla="*/ 2594295 w 6537372"/>
              <a:gd name="connsiteY4858" fmla="*/ 4705653 h 4991619"/>
              <a:gd name="connsiteX4859" fmla="*/ 2589292 w 6537372"/>
              <a:gd name="connsiteY4859" fmla="*/ 4712621 h 4991619"/>
              <a:gd name="connsiteX4860" fmla="*/ 2572318 w 6537372"/>
              <a:gd name="connsiteY4860" fmla="*/ 4723162 h 4991619"/>
              <a:gd name="connsiteX4861" fmla="*/ 2566422 w 6537372"/>
              <a:gd name="connsiteY4861" fmla="*/ 4716551 h 4991619"/>
              <a:gd name="connsiteX4862" fmla="*/ 2553202 w 6537372"/>
              <a:gd name="connsiteY4862" fmla="*/ 4734060 h 4991619"/>
              <a:gd name="connsiteX4863" fmla="*/ 2540515 w 6537372"/>
              <a:gd name="connsiteY4863" fmla="*/ 4741029 h 4991619"/>
              <a:gd name="connsiteX4864" fmla="*/ 2521219 w 6537372"/>
              <a:gd name="connsiteY4864" fmla="*/ 4749605 h 4991619"/>
              <a:gd name="connsiteX4865" fmla="*/ 2502459 w 6537372"/>
              <a:gd name="connsiteY4865" fmla="*/ 4750678 h 4991619"/>
              <a:gd name="connsiteX4866" fmla="*/ 2508711 w 6537372"/>
              <a:gd name="connsiteY4866" fmla="*/ 4757644 h 4991619"/>
              <a:gd name="connsiteX4867" fmla="*/ 2462615 w 6537372"/>
              <a:gd name="connsiteY4867" fmla="*/ 4783731 h 4991619"/>
              <a:gd name="connsiteX4868" fmla="*/ 2461900 w 6537372"/>
              <a:gd name="connsiteY4868" fmla="*/ 4783195 h 4991619"/>
              <a:gd name="connsiteX4869" fmla="*/ 2469762 w 6537372"/>
              <a:gd name="connsiteY4869" fmla="*/ 4775333 h 4991619"/>
              <a:gd name="connsiteX4870" fmla="*/ 2440816 w 6537372"/>
              <a:gd name="connsiteY4870" fmla="*/ 4789271 h 4991619"/>
              <a:gd name="connsiteX4871" fmla="*/ 2438136 w 6537372"/>
              <a:gd name="connsiteY4871" fmla="*/ 4791949 h 4991619"/>
              <a:gd name="connsiteX4872" fmla="*/ 2420985 w 6537372"/>
              <a:gd name="connsiteY4872" fmla="*/ 4804635 h 4991619"/>
              <a:gd name="connsiteX4873" fmla="*/ 2405441 w 6537372"/>
              <a:gd name="connsiteY4873" fmla="*/ 4813390 h 4991619"/>
              <a:gd name="connsiteX4874" fmla="*/ 2402760 w 6537372"/>
              <a:gd name="connsiteY4874" fmla="*/ 4806779 h 4991619"/>
              <a:gd name="connsiteX4875" fmla="*/ 2388645 w 6537372"/>
              <a:gd name="connsiteY4875" fmla="*/ 4818573 h 4991619"/>
              <a:gd name="connsiteX4876" fmla="*/ 2370778 w 6537372"/>
              <a:gd name="connsiteY4876" fmla="*/ 4828220 h 4991619"/>
              <a:gd name="connsiteX4877" fmla="*/ 2380249 w 6537372"/>
              <a:gd name="connsiteY4877" fmla="*/ 4817678 h 4991619"/>
              <a:gd name="connsiteX4878" fmla="*/ 2341297 w 6537372"/>
              <a:gd name="connsiteY4878" fmla="*/ 4831078 h 4991619"/>
              <a:gd name="connsiteX4879" fmla="*/ 2351125 w 6537372"/>
              <a:gd name="connsiteY4879" fmla="*/ 4822324 h 4991619"/>
              <a:gd name="connsiteX4880" fmla="*/ 2347373 w 6537372"/>
              <a:gd name="connsiteY4880" fmla="*/ 4820717 h 4991619"/>
              <a:gd name="connsiteX4881" fmla="*/ 2305922 w 6537372"/>
              <a:gd name="connsiteY4881" fmla="*/ 4840369 h 4991619"/>
              <a:gd name="connsiteX4882" fmla="*/ 2251962 w 6537372"/>
              <a:gd name="connsiteY4882" fmla="*/ 4865027 h 4991619"/>
              <a:gd name="connsiteX4883" fmla="*/ 2249996 w 6537372"/>
              <a:gd name="connsiteY4883" fmla="*/ 4864312 h 4991619"/>
              <a:gd name="connsiteX4884" fmla="*/ 2283586 w 6537372"/>
              <a:gd name="connsiteY4884" fmla="*/ 4843406 h 4991619"/>
              <a:gd name="connsiteX4885" fmla="*/ 2271080 w 6537372"/>
              <a:gd name="connsiteY4885" fmla="*/ 4840728 h 4991619"/>
              <a:gd name="connsiteX4886" fmla="*/ 2235883 w 6537372"/>
              <a:gd name="connsiteY4886" fmla="*/ 4855378 h 4991619"/>
              <a:gd name="connsiteX4887" fmla="*/ 2225877 w 6537372"/>
              <a:gd name="connsiteY4887" fmla="*/ 4856807 h 4991619"/>
              <a:gd name="connsiteX4888" fmla="*/ 2251248 w 6537372"/>
              <a:gd name="connsiteY4888" fmla="*/ 4835903 h 4991619"/>
              <a:gd name="connsiteX4889" fmla="*/ 2256429 w 6537372"/>
              <a:gd name="connsiteY4889" fmla="*/ 4832688 h 4991619"/>
              <a:gd name="connsiteX4890" fmla="*/ 2255179 w 6537372"/>
              <a:gd name="connsiteY4890" fmla="*/ 4830186 h 4991619"/>
              <a:gd name="connsiteX4891" fmla="*/ 2208725 w 6537372"/>
              <a:gd name="connsiteY4891" fmla="*/ 4851448 h 4991619"/>
              <a:gd name="connsiteX4892" fmla="*/ 2192644 w 6537372"/>
              <a:gd name="connsiteY4892" fmla="*/ 4842872 h 4991619"/>
              <a:gd name="connsiteX4893" fmla="*/ 2196217 w 6537372"/>
              <a:gd name="connsiteY4893" fmla="*/ 4847338 h 4991619"/>
              <a:gd name="connsiteX4894" fmla="*/ 2199612 w 6537372"/>
              <a:gd name="connsiteY4894" fmla="*/ 4854485 h 4991619"/>
              <a:gd name="connsiteX4895" fmla="*/ 2192822 w 6537372"/>
              <a:gd name="connsiteY4895" fmla="*/ 4859129 h 4991619"/>
              <a:gd name="connsiteX4896" fmla="*/ 2173525 w 6537372"/>
              <a:gd name="connsiteY4896" fmla="*/ 4865205 h 4991619"/>
              <a:gd name="connsiteX4897" fmla="*/ 2154587 w 6537372"/>
              <a:gd name="connsiteY4897" fmla="*/ 4874138 h 4991619"/>
              <a:gd name="connsiteX4898" fmla="*/ 2137077 w 6537372"/>
              <a:gd name="connsiteY4898" fmla="*/ 4880928 h 4991619"/>
              <a:gd name="connsiteX4899" fmla="*/ 2142079 w 6537372"/>
              <a:gd name="connsiteY4899" fmla="*/ 4872352 h 4991619"/>
              <a:gd name="connsiteX4900" fmla="*/ 2073114 w 6537372"/>
              <a:gd name="connsiteY4900" fmla="*/ 4906298 h 4991619"/>
              <a:gd name="connsiteX4901" fmla="*/ 2070433 w 6537372"/>
              <a:gd name="connsiteY4901" fmla="*/ 4895578 h 4991619"/>
              <a:gd name="connsiteX4902" fmla="*/ 2072577 w 6537372"/>
              <a:gd name="connsiteY4902" fmla="*/ 4894149 h 4991619"/>
              <a:gd name="connsiteX4903" fmla="*/ 2083476 w 6537372"/>
              <a:gd name="connsiteY4903" fmla="*/ 4893792 h 4991619"/>
              <a:gd name="connsiteX4904" fmla="*/ 2118675 w 6537372"/>
              <a:gd name="connsiteY4904" fmla="*/ 4875567 h 4991619"/>
              <a:gd name="connsiteX4905" fmla="*/ 2126000 w 6537372"/>
              <a:gd name="connsiteY4905" fmla="*/ 4872708 h 4991619"/>
              <a:gd name="connsiteX4906" fmla="*/ 2152265 w 6537372"/>
              <a:gd name="connsiteY4906" fmla="*/ 4855199 h 4991619"/>
              <a:gd name="connsiteX4907" fmla="*/ 2144224 w 6537372"/>
              <a:gd name="connsiteY4907" fmla="*/ 4855914 h 4991619"/>
              <a:gd name="connsiteX4908" fmla="*/ 2120639 w 6537372"/>
              <a:gd name="connsiteY4908" fmla="*/ 4865383 h 4991619"/>
              <a:gd name="connsiteX4909" fmla="*/ 2112063 w 6537372"/>
              <a:gd name="connsiteY4909" fmla="*/ 4863597 h 4991619"/>
              <a:gd name="connsiteX4910" fmla="*/ 2103487 w 6537372"/>
              <a:gd name="connsiteY4910" fmla="*/ 4855558 h 4991619"/>
              <a:gd name="connsiteX4911" fmla="*/ 2117246 w 6537372"/>
              <a:gd name="connsiteY4911" fmla="*/ 4837332 h 4991619"/>
              <a:gd name="connsiteX4912" fmla="*/ 2129752 w 6537372"/>
              <a:gd name="connsiteY4912" fmla="*/ 4846445 h 4991619"/>
              <a:gd name="connsiteX4913" fmla="*/ 2143689 w 6537372"/>
              <a:gd name="connsiteY4913" fmla="*/ 4833581 h 4991619"/>
              <a:gd name="connsiteX4914" fmla="*/ 2149585 w 6537372"/>
              <a:gd name="connsiteY4914" fmla="*/ 4822502 h 4991619"/>
              <a:gd name="connsiteX4915" fmla="*/ 2158339 w 6537372"/>
              <a:gd name="connsiteY4915" fmla="*/ 4821609 h 4991619"/>
              <a:gd name="connsiteX4916" fmla="*/ 2154051 w 6537372"/>
              <a:gd name="connsiteY4916" fmla="*/ 4808567 h 4991619"/>
              <a:gd name="connsiteX4917" fmla="*/ 2131359 w 6537372"/>
              <a:gd name="connsiteY4917" fmla="*/ 4813390 h 4991619"/>
              <a:gd name="connsiteX4918" fmla="*/ 2136184 w 6537372"/>
              <a:gd name="connsiteY4918" fmla="*/ 4807138 h 4991619"/>
              <a:gd name="connsiteX4919" fmla="*/ 2153158 w 6537372"/>
              <a:gd name="connsiteY4919" fmla="*/ 4788019 h 4991619"/>
              <a:gd name="connsiteX4920" fmla="*/ 2163700 w 6537372"/>
              <a:gd name="connsiteY4920" fmla="*/ 4778729 h 4991619"/>
              <a:gd name="connsiteX4921" fmla="*/ 2192644 w 6537372"/>
              <a:gd name="connsiteY4921" fmla="*/ 4742280 h 4991619"/>
              <a:gd name="connsiteX4922" fmla="*/ 2176564 w 6537372"/>
              <a:gd name="connsiteY4922" fmla="*/ 4750678 h 4991619"/>
              <a:gd name="connsiteX4923" fmla="*/ 2164949 w 6537372"/>
              <a:gd name="connsiteY4923" fmla="*/ 4765506 h 4991619"/>
              <a:gd name="connsiteX4924" fmla="*/ 2148333 w 6537372"/>
              <a:gd name="connsiteY4924" fmla="*/ 4769079 h 4991619"/>
              <a:gd name="connsiteX4925" fmla="*/ 2119568 w 6537372"/>
              <a:gd name="connsiteY4925" fmla="*/ 4792307 h 4991619"/>
              <a:gd name="connsiteX4926" fmla="*/ 2126000 w 6537372"/>
              <a:gd name="connsiteY4926" fmla="*/ 4798203 h 4991619"/>
              <a:gd name="connsiteX4927" fmla="*/ 2117424 w 6537372"/>
              <a:gd name="connsiteY4927" fmla="*/ 4796774 h 4991619"/>
              <a:gd name="connsiteX4928" fmla="*/ 2115458 w 6537372"/>
              <a:gd name="connsiteY4928" fmla="*/ 4787127 h 4991619"/>
              <a:gd name="connsiteX4929" fmla="*/ 2080082 w 6537372"/>
              <a:gd name="connsiteY4929" fmla="*/ 4801240 h 4991619"/>
              <a:gd name="connsiteX4930" fmla="*/ 2085085 w 6537372"/>
              <a:gd name="connsiteY4930" fmla="*/ 4796954 h 4991619"/>
              <a:gd name="connsiteX4931" fmla="*/ 2101164 w 6537372"/>
              <a:gd name="connsiteY4931" fmla="*/ 4787841 h 4991619"/>
              <a:gd name="connsiteX4932" fmla="*/ 2118139 w 6537372"/>
              <a:gd name="connsiteY4932" fmla="*/ 4767294 h 4991619"/>
              <a:gd name="connsiteX4933" fmla="*/ 2129930 w 6537372"/>
              <a:gd name="connsiteY4933" fmla="*/ 4754786 h 4991619"/>
              <a:gd name="connsiteX4934" fmla="*/ 2134933 w 6537372"/>
              <a:gd name="connsiteY4934" fmla="*/ 4762113 h 4991619"/>
              <a:gd name="connsiteX4935" fmla="*/ 2140472 w 6537372"/>
              <a:gd name="connsiteY4935" fmla="*/ 4751034 h 4991619"/>
              <a:gd name="connsiteX4936" fmla="*/ 2158339 w 6537372"/>
              <a:gd name="connsiteY4936" fmla="*/ 4730667 h 4991619"/>
              <a:gd name="connsiteX4937" fmla="*/ 2165664 w 6537372"/>
              <a:gd name="connsiteY4937" fmla="*/ 4725664 h 4991619"/>
              <a:gd name="connsiteX4938" fmla="*/ 2184067 w 6537372"/>
              <a:gd name="connsiteY4938" fmla="*/ 4717444 h 4991619"/>
              <a:gd name="connsiteX4939" fmla="*/ 2194073 w 6537372"/>
              <a:gd name="connsiteY4939" fmla="*/ 4703150 h 4991619"/>
              <a:gd name="connsiteX4940" fmla="*/ 2192107 w 6537372"/>
              <a:gd name="connsiteY4940" fmla="*/ 4700828 h 4991619"/>
              <a:gd name="connsiteX4941" fmla="*/ 2174598 w 6537372"/>
              <a:gd name="connsiteY4941" fmla="*/ 4711012 h 4991619"/>
              <a:gd name="connsiteX4942" fmla="*/ 2169596 w 6537372"/>
              <a:gd name="connsiteY4942" fmla="*/ 4715300 h 4991619"/>
              <a:gd name="connsiteX4943" fmla="*/ 2138686 w 6537372"/>
              <a:gd name="connsiteY4943" fmla="*/ 4723162 h 4991619"/>
              <a:gd name="connsiteX4944" fmla="*/ 2134218 w 6537372"/>
              <a:gd name="connsiteY4944" fmla="*/ 4737633 h 4991619"/>
              <a:gd name="connsiteX4945" fmla="*/ 2119031 w 6537372"/>
              <a:gd name="connsiteY4945" fmla="*/ 4741207 h 4991619"/>
              <a:gd name="connsiteX4946" fmla="*/ 2123678 w 6537372"/>
              <a:gd name="connsiteY4946" fmla="*/ 4727450 h 4991619"/>
              <a:gd name="connsiteX4947" fmla="*/ 2081153 w 6537372"/>
              <a:gd name="connsiteY4947" fmla="*/ 4749783 h 4991619"/>
              <a:gd name="connsiteX4948" fmla="*/ 2079546 w 6537372"/>
              <a:gd name="connsiteY4948" fmla="*/ 4747461 h 4991619"/>
              <a:gd name="connsiteX4949" fmla="*/ 2105631 w 6537372"/>
              <a:gd name="connsiteY4949" fmla="*/ 4727808 h 4991619"/>
              <a:gd name="connsiteX4950" fmla="*/ 2131003 w 6537372"/>
              <a:gd name="connsiteY4950" fmla="*/ 4707082 h 4991619"/>
              <a:gd name="connsiteX4951" fmla="*/ 2101879 w 6537372"/>
              <a:gd name="connsiteY4951" fmla="*/ 4724949 h 4991619"/>
              <a:gd name="connsiteX4952" fmla="*/ 2100986 w 6537372"/>
              <a:gd name="connsiteY4952" fmla="*/ 4723876 h 4991619"/>
              <a:gd name="connsiteX4953" fmla="*/ 2113136 w 6537372"/>
              <a:gd name="connsiteY4953" fmla="*/ 4713156 h 4991619"/>
              <a:gd name="connsiteX4954" fmla="*/ 2125642 w 6537372"/>
              <a:gd name="connsiteY4954" fmla="*/ 4701899 h 4991619"/>
              <a:gd name="connsiteX4955" fmla="*/ 2072577 w 6537372"/>
              <a:gd name="connsiteY4955" fmla="*/ 4732452 h 4991619"/>
              <a:gd name="connsiteX4956" fmla="*/ 2069718 w 6537372"/>
              <a:gd name="connsiteY4956" fmla="*/ 4730488 h 4991619"/>
              <a:gd name="connsiteX4957" fmla="*/ 2074899 w 6537372"/>
              <a:gd name="connsiteY4957" fmla="*/ 4725127 h 4991619"/>
              <a:gd name="connsiteX4958" fmla="*/ 2103667 w 6537372"/>
              <a:gd name="connsiteY4958" fmla="*/ 4703865 h 4991619"/>
              <a:gd name="connsiteX4959" fmla="*/ 2108670 w 6537372"/>
              <a:gd name="connsiteY4959" fmla="*/ 4699935 h 4991619"/>
              <a:gd name="connsiteX4960" fmla="*/ 2127429 w 6537372"/>
              <a:gd name="connsiteY4960" fmla="*/ 4687427 h 4991619"/>
              <a:gd name="connsiteX4961" fmla="*/ 2134398 w 6537372"/>
              <a:gd name="connsiteY4961" fmla="*/ 4689930 h 4991619"/>
              <a:gd name="connsiteX4962" fmla="*/ 2139401 w 6537372"/>
              <a:gd name="connsiteY4962" fmla="*/ 4681532 h 4991619"/>
              <a:gd name="connsiteX4963" fmla="*/ 2153158 w 6537372"/>
              <a:gd name="connsiteY4963" fmla="*/ 4662592 h 4991619"/>
              <a:gd name="connsiteX4964" fmla="*/ 2166022 w 6537372"/>
              <a:gd name="connsiteY4964" fmla="*/ 4659913 h 4991619"/>
              <a:gd name="connsiteX4965" fmla="*/ 2178528 w 6537372"/>
              <a:gd name="connsiteY4965" fmla="*/ 4636863 h 4991619"/>
              <a:gd name="connsiteX4966" fmla="*/ 2188534 w 6537372"/>
              <a:gd name="connsiteY4966" fmla="*/ 4630075 h 4991619"/>
              <a:gd name="connsiteX4967" fmla="*/ 2204793 w 6537372"/>
              <a:gd name="connsiteY4967" fmla="*/ 4618996 h 4991619"/>
              <a:gd name="connsiteX4968" fmla="*/ 2199434 w 6537372"/>
              <a:gd name="connsiteY4968" fmla="*/ 4612922 h 4991619"/>
              <a:gd name="connsiteX4969" fmla="*/ 2227307 w 6537372"/>
              <a:gd name="connsiteY4969" fmla="*/ 4593268 h 4991619"/>
              <a:gd name="connsiteX4970" fmla="*/ 2218730 w 6537372"/>
              <a:gd name="connsiteY4970" fmla="*/ 4585943 h 4991619"/>
              <a:gd name="connsiteX4971" fmla="*/ 2210869 w 6537372"/>
              <a:gd name="connsiteY4971" fmla="*/ 4598985 h 4991619"/>
              <a:gd name="connsiteX4972" fmla="*/ 2209440 w 6537372"/>
              <a:gd name="connsiteY4972" fmla="*/ 4590589 h 4991619"/>
              <a:gd name="connsiteX4973" fmla="*/ 2198539 w 6537372"/>
              <a:gd name="connsiteY4973" fmla="*/ 4597021 h 4991619"/>
              <a:gd name="connsiteX4974" fmla="*/ 2189070 w 6537372"/>
              <a:gd name="connsiteY4974" fmla="*/ 4600951 h 4991619"/>
              <a:gd name="connsiteX4975" fmla="*/ 2161556 w 6537372"/>
              <a:gd name="connsiteY4975" fmla="*/ 4616318 h 4991619"/>
              <a:gd name="connsiteX4976" fmla="*/ 2147977 w 6537372"/>
              <a:gd name="connsiteY4976" fmla="*/ 4622391 h 4991619"/>
              <a:gd name="connsiteX4977" fmla="*/ 2113136 w 6537372"/>
              <a:gd name="connsiteY4977" fmla="*/ 4630968 h 4991619"/>
              <a:gd name="connsiteX4978" fmla="*/ 2109026 w 6537372"/>
              <a:gd name="connsiteY4978" fmla="*/ 4631682 h 4991619"/>
              <a:gd name="connsiteX4979" fmla="*/ 2119390 w 6537372"/>
              <a:gd name="connsiteY4979" fmla="*/ 4621677 h 4991619"/>
              <a:gd name="connsiteX4980" fmla="*/ 2121712 w 6537372"/>
              <a:gd name="connsiteY4980" fmla="*/ 4617567 h 4991619"/>
              <a:gd name="connsiteX4981" fmla="*/ 2131896 w 6537372"/>
              <a:gd name="connsiteY4981" fmla="*/ 4601309 h 4991619"/>
              <a:gd name="connsiteX4982" fmla="*/ 2149941 w 6537372"/>
              <a:gd name="connsiteY4982" fmla="*/ 4590589 h 4991619"/>
              <a:gd name="connsiteX4983" fmla="*/ 2167093 w 6537372"/>
              <a:gd name="connsiteY4983" fmla="*/ 4574686 h 4991619"/>
              <a:gd name="connsiteX4984" fmla="*/ 2167630 w 6537372"/>
              <a:gd name="connsiteY4984" fmla="*/ 4573971 h 4991619"/>
              <a:gd name="connsiteX4985" fmla="*/ 2132432 w 6537372"/>
              <a:gd name="connsiteY4985" fmla="*/ 4583977 h 4991619"/>
              <a:gd name="connsiteX4986" fmla="*/ 2125822 w 6537372"/>
              <a:gd name="connsiteY4986" fmla="*/ 4589160 h 4991619"/>
              <a:gd name="connsiteX4987" fmla="*/ 2097413 w 6537372"/>
              <a:gd name="connsiteY4987" fmla="*/ 4610242 h 4991619"/>
              <a:gd name="connsiteX4988" fmla="*/ 2093125 w 6537372"/>
              <a:gd name="connsiteY4988" fmla="*/ 4621140 h 4991619"/>
              <a:gd name="connsiteX4989" fmla="*/ 2086871 w 6537372"/>
              <a:gd name="connsiteY4989" fmla="*/ 4623821 h 4991619"/>
              <a:gd name="connsiteX4990" fmla="*/ 2081153 w 6537372"/>
              <a:gd name="connsiteY4990" fmla="*/ 4617389 h 4991619"/>
              <a:gd name="connsiteX4991" fmla="*/ 2101343 w 6537372"/>
              <a:gd name="connsiteY4991" fmla="*/ 4599343 h 4991619"/>
              <a:gd name="connsiteX4992" fmla="*/ 2106525 w 6537372"/>
              <a:gd name="connsiteY4992" fmla="*/ 4596663 h 4991619"/>
              <a:gd name="connsiteX4993" fmla="*/ 2115280 w 6537372"/>
              <a:gd name="connsiteY4993" fmla="*/ 4588445 h 4991619"/>
              <a:gd name="connsiteX4994" fmla="*/ 2098842 w 6537372"/>
              <a:gd name="connsiteY4994" fmla="*/ 4593090 h 4991619"/>
              <a:gd name="connsiteX4995" fmla="*/ 2093303 w 6537372"/>
              <a:gd name="connsiteY4995" fmla="*/ 4598985 h 4991619"/>
              <a:gd name="connsiteX4996" fmla="*/ 2089908 w 6537372"/>
              <a:gd name="connsiteY4996" fmla="*/ 4595592 h 4991619"/>
              <a:gd name="connsiteX4997" fmla="*/ 2076509 w 6537372"/>
              <a:gd name="connsiteY4997" fmla="*/ 4592555 h 4991619"/>
              <a:gd name="connsiteX4998" fmla="*/ 2088837 w 6537372"/>
              <a:gd name="connsiteY4998" fmla="*/ 4585586 h 4991619"/>
              <a:gd name="connsiteX4999" fmla="*/ 2089551 w 6537372"/>
              <a:gd name="connsiteY4999" fmla="*/ 4584335 h 4991619"/>
              <a:gd name="connsiteX5000" fmla="*/ 2091695 w 6537372"/>
              <a:gd name="connsiteY5000" fmla="*/ 4584335 h 4991619"/>
              <a:gd name="connsiteX5001" fmla="*/ 2102772 w 6537372"/>
              <a:gd name="connsiteY5001" fmla="*/ 4577010 h 4991619"/>
              <a:gd name="connsiteX5002" fmla="*/ 2113672 w 6537372"/>
              <a:gd name="connsiteY5002" fmla="*/ 4577367 h 4991619"/>
              <a:gd name="connsiteX5003" fmla="*/ 2114387 w 6537372"/>
              <a:gd name="connsiteY5003" fmla="*/ 4576652 h 4991619"/>
              <a:gd name="connsiteX5004" fmla="*/ 2123856 w 6537372"/>
              <a:gd name="connsiteY5004" fmla="*/ 4559321 h 4991619"/>
              <a:gd name="connsiteX5005" fmla="*/ 2120104 w 6537372"/>
              <a:gd name="connsiteY5005" fmla="*/ 4557177 h 4991619"/>
              <a:gd name="connsiteX5006" fmla="*/ 2084190 w 6537372"/>
              <a:gd name="connsiteY5006" fmla="*/ 4582549 h 4991619"/>
              <a:gd name="connsiteX5007" fmla="*/ 2090444 w 6537372"/>
              <a:gd name="connsiteY5007" fmla="*/ 4572542 h 4991619"/>
              <a:gd name="connsiteX5008" fmla="*/ 2102594 w 6537372"/>
              <a:gd name="connsiteY5008" fmla="*/ 4556641 h 4991619"/>
              <a:gd name="connsiteX5009" fmla="*/ 2076151 w 6537372"/>
              <a:gd name="connsiteY5009" fmla="*/ 4565395 h 4991619"/>
              <a:gd name="connsiteX5010" fmla="*/ 2033448 w 6537372"/>
              <a:gd name="connsiteY5010" fmla="*/ 4576115 h 4991619"/>
              <a:gd name="connsiteX5011" fmla="*/ 2016117 w 6537372"/>
              <a:gd name="connsiteY5011" fmla="*/ 4581655 h 4991619"/>
              <a:gd name="connsiteX5012" fmla="*/ 1973773 w 6537372"/>
              <a:gd name="connsiteY5012" fmla="*/ 4591838 h 4991619"/>
              <a:gd name="connsiteX5013" fmla="*/ 1997179 w 6537372"/>
              <a:gd name="connsiteY5013" fmla="*/ 4579154 h 4991619"/>
              <a:gd name="connsiteX5014" fmla="*/ 2045598 w 6537372"/>
              <a:gd name="connsiteY5014" fmla="*/ 4562536 h 4991619"/>
              <a:gd name="connsiteX5015" fmla="*/ 2064716 w 6537372"/>
              <a:gd name="connsiteY5015" fmla="*/ 4556284 h 4991619"/>
              <a:gd name="connsiteX5016" fmla="*/ 2094732 w 6537372"/>
              <a:gd name="connsiteY5016" fmla="*/ 4548601 h 4991619"/>
              <a:gd name="connsiteX5017" fmla="*/ 2102416 w 6537372"/>
              <a:gd name="connsiteY5017" fmla="*/ 4543955 h 4991619"/>
              <a:gd name="connsiteX5018" fmla="*/ 2119031 w 6537372"/>
              <a:gd name="connsiteY5018" fmla="*/ 4536988 h 4991619"/>
              <a:gd name="connsiteX5019" fmla="*/ 2125642 w 6537372"/>
              <a:gd name="connsiteY5019" fmla="*/ 4532342 h 4991619"/>
              <a:gd name="connsiteX5020" fmla="*/ 2142260 w 6537372"/>
              <a:gd name="connsiteY5020" fmla="*/ 4517692 h 4991619"/>
              <a:gd name="connsiteX5021" fmla="*/ 2124749 w 6537372"/>
              <a:gd name="connsiteY5021" fmla="*/ 4522694 h 4991619"/>
              <a:gd name="connsiteX5022" fmla="*/ 2181567 w 6537372"/>
              <a:gd name="connsiteY5022" fmla="*/ 4479099 h 4991619"/>
              <a:gd name="connsiteX5023" fmla="*/ 2179958 w 6537372"/>
              <a:gd name="connsiteY5023" fmla="*/ 4476775 h 4991619"/>
              <a:gd name="connsiteX5024" fmla="*/ 2119031 w 6537372"/>
              <a:gd name="connsiteY5024" fmla="*/ 4517870 h 4991619"/>
              <a:gd name="connsiteX5025" fmla="*/ 2128322 w 6537372"/>
              <a:gd name="connsiteY5025" fmla="*/ 4499644 h 4991619"/>
              <a:gd name="connsiteX5026" fmla="*/ 2176028 w 6537372"/>
              <a:gd name="connsiteY5026" fmla="*/ 4462661 h 4991619"/>
              <a:gd name="connsiteX5027" fmla="*/ 2179601 w 6537372"/>
              <a:gd name="connsiteY5027" fmla="*/ 4454085 h 4991619"/>
              <a:gd name="connsiteX5028" fmla="*/ 2146726 w 6537372"/>
              <a:gd name="connsiteY5028" fmla="*/ 4476955 h 4991619"/>
              <a:gd name="connsiteX5029" fmla="*/ 2146904 w 6537372"/>
              <a:gd name="connsiteY5029" fmla="*/ 4464625 h 4991619"/>
              <a:gd name="connsiteX5030" fmla="*/ 2137971 w 6537372"/>
              <a:gd name="connsiteY5030" fmla="*/ 4478740 h 4991619"/>
              <a:gd name="connsiteX5031" fmla="*/ 2117960 w 6537372"/>
              <a:gd name="connsiteY5031" fmla="*/ 4478740 h 4991619"/>
              <a:gd name="connsiteX5032" fmla="*/ 2154229 w 6537372"/>
              <a:gd name="connsiteY5032" fmla="*/ 4449617 h 4991619"/>
              <a:gd name="connsiteX5033" fmla="*/ 2162805 w 6537372"/>
              <a:gd name="connsiteY5033" fmla="*/ 4460695 h 4991619"/>
              <a:gd name="connsiteX5034" fmla="*/ 2159947 w 6537372"/>
              <a:gd name="connsiteY5034" fmla="*/ 4446758 h 4991619"/>
              <a:gd name="connsiteX5035" fmla="*/ 2186212 w 6537372"/>
              <a:gd name="connsiteY5035" fmla="*/ 4427462 h 4991619"/>
              <a:gd name="connsiteX5036" fmla="*/ 2190678 w 6537372"/>
              <a:gd name="connsiteY5036" fmla="*/ 4424783 h 4991619"/>
              <a:gd name="connsiteX5037" fmla="*/ 2209618 w 6537372"/>
              <a:gd name="connsiteY5037" fmla="*/ 4408880 h 4991619"/>
              <a:gd name="connsiteX5038" fmla="*/ 2191929 w 6537372"/>
              <a:gd name="connsiteY5038" fmla="*/ 4416207 h 4991619"/>
              <a:gd name="connsiteX5039" fmla="*/ 2183175 w 6537372"/>
              <a:gd name="connsiteY5039" fmla="*/ 4421388 h 4991619"/>
              <a:gd name="connsiteX5040" fmla="*/ 2178350 w 6537372"/>
              <a:gd name="connsiteY5040" fmla="*/ 4424961 h 4991619"/>
              <a:gd name="connsiteX5041" fmla="*/ 2176742 w 6537372"/>
              <a:gd name="connsiteY5041" fmla="*/ 4426212 h 4991619"/>
              <a:gd name="connsiteX5042" fmla="*/ 2143867 w 6537372"/>
              <a:gd name="connsiteY5042" fmla="*/ 4450511 h 4991619"/>
              <a:gd name="connsiteX5043" fmla="*/ 2133503 w 6537372"/>
              <a:gd name="connsiteY5043" fmla="*/ 4456764 h 4991619"/>
              <a:gd name="connsiteX5044" fmla="*/ 2138686 w 6537372"/>
              <a:gd name="connsiteY5044" fmla="*/ 4445687 h 4991619"/>
              <a:gd name="connsiteX5045" fmla="*/ 2131359 w 6537372"/>
              <a:gd name="connsiteY5045" fmla="*/ 4448009 h 4991619"/>
              <a:gd name="connsiteX5046" fmla="*/ 2101523 w 6537372"/>
              <a:gd name="connsiteY5046" fmla="*/ 4460873 h 4991619"/>
              <a:gd name="connsiteX5047" fmla="*/ 2095091 w 6537372"/>
              <a:gd name="connsiteY5047" fmla="*/ 4463910 h 4991619"/>
              <a:gd name="connsiteX5048" fmla="*/ 2066860 w 6537372"/>
              <a:gd name="connsiteY5048" fmla="*/ 4476596 h 4991619"/>
              <a:gd name="connsiteX5049" fmla="*/ 2034877 w 6537372"/>
              <a:gd name="connsiteY5049" fmla="*/ 4490534 h 4991619"/>
              <a:gd name="connsiteX5050" fmla="*/ 2027911 w 6537372"/>
              <a:gd name="connsiteY5050" fmla="*/ 4492498 h 4991619"/>
              <a:gd name="connsiteX5051" fmla="*/ 1978239 w 6537372"/>
              <a:gd name="connsiteY5051" fmla="*/ 4510723 h 4991619"/>
              <a:gd name="connsiteX5052" fmla="*/ 1963767 w 6537372"/>
              <a:gd name="connsiteY5052" fmla="*/ 4511794 h 4991619"/>
              <a:gd name="connsiteX5053" fmla="*/ 1926067 w 6537372"/>
              <a:gd name="connsiteY5053" fmla="*/ 4503398 h 4991619"/>
              <a:gd name="connsiteX5054" fmla="*/ 1925531 w 6537372"/>
              <a:gd name="connsiteY5054" fmla="*/ 4501788 h 4991619"/>
              <a:gd name="connsiteX5055" fmla="*/ 1926960 w 6537372"/>
              <a:gd name="connsiteY5055" fmla="*/ 4498752 h 4991619"/>
              <a:gd name="connsiteX5056" fmla="*/ 1950903 w 6537372"/>
              <a:gd name="connsiteY5056" fmla="*/ 4485709 h 4991619"/>
              <a:gd name="connsiteX5057" fmla="*/ 1931607 w 6537372"/>
              <a:gd name="connsiteY5057" fmla="*/ 4491427 h 4991619"/>
              <a:gd name="connsiteX5058" fmla="*/ 1925353 w 6537372"/>
              <a:gd name="connsiteY5058" fmla="*/ 4495178 h 4991619"/>
              <a:gd name="connsiteX5059" fmla="*/ 1905878 w 6537372"/>
              <a:gd name="connsiteY5059" fmla="*/ 4503218 h 4991619"/>
              <a:gd name="connsiteX5060" fmla="*/ 1886760 w 6537372"/>
              <a:gd name="connsiteY5060" fmla="*/ 4510008 h 4991619"/>
              <a:gd name="connsiteX5061" fmla="*/ 1899624 w 6537372"/>
              <a:gd name="connsiteY5061" fmla="*/ 4496966 h 4991619"/>
              <a:gd name="connsiteX5062" fmla="*/ 1914991 w 6537372"/>
              <a:gd name="connsiteY5062" fmla="*/ 4482136 h 4991619"/>
              <a:gd name="connsiteX5063" fmla="*/ 1892299 w 6537372"/>
              <a:gd name="connsiteY5063" fmla="*/ 4483565 h 4991619"/>
              <a:gd name="connsiteX5064" fmla="*/ 1901768 w 6537372"/>
              <a:gd name="connsiteY5064" fmla="*/ 4475167 h 4991619"/>
              <a:gd name="connsiteX5065" fmla="*/ 1912132 w 6537372"/>
              <a:gd name="connsiteY5065" fmla="*/ 4457300 h 4991619"/>
              <a:gd name="connsiteX5066" fmla="*/ 1942505 w 6537372"/>
              <a:gd name="connsiteY5066" fmla="*/ 4440148 h 4991619"/>
              <a:gd name="connsiteX5067" fmla="*/ 1932858 w 6537372"/>
              <a:gd name="connsiteY5067" fmla="*/ 4439255 h 4991619"/>
              <a:gd name="connsiteX5068" fmla="*/ 1960730 w 6537372"/>
              <a:gd name="connsiteY5068" fmla="*/ 4414419 h 4991619"/>
              <a:gd name="connsiteX5069" fmla="*/ 1955013 w 6537372"/>
              <a:gd name="connsiteY5069" fmla="*/ 4411919 h 4991619"/>
              <a:gd name="connsiteX5070" fmla="*/ 1948044 w 6537372"/>
              <a:gd name="connsiteY5070" fmla="*/ 4417992 h 4991619"/>
              <a:gd name="connsiteX5071" fmla="*/ 1926960 w 6537372"/>
              <a:gd name="connsiteY5071" fmla="*/ 4431571 h 4991619"/>
              <a:gd name="connsiteX5072" fmla="*/ 1946437 w 6537372"/>
              <a:gd name="connsiteY5072" fmla="*/ 4414241 h 4991619"/>
              <a:gd name="connsiteX5073" fmla="*/ 1941969 w 6537372"/>
              <a:gd name="connsiteY5073" fmla="*/ 4414419 h 4991619"/>
              <a:gd name="connsiteX5074" fmla="*/ 1941969 w 6537372"/>
              <a:gd name="connsiteY5074" fmla="*/ 4407094 h 4991619"/>
              <a:gd name="connsiteX5075" fmla="*/ 1933036 w 6537372"/>
              <a:gd name="connsiteY5075" fmla="*/ 4415312 h 4991619"/>
              <a:gd name="connsiteX5076" fmla="*/ 1917491 w 6537372"/>
              <a:gd name="connsiteY5076" fmla="*/ 4427283 h 4991619"/>
              <a:gd name="connsiteX5077" fmla="*/ 1894800 w 6537372"/>
              <a:gd name="connsiteY5077" fmla="*/ 4442650 h 4991619"/>
              <a:gd name="connsiteX5078" fmla="*/ 1885689 w 6537372"/>
              <a:gd name="connsiteY5078" fmla="*/ 4442650 h 4991619"/>
              <a:gd name="connsiteX5079" fmla="*/ 1901412 w 6537372"/>
              <a:gd name="connsiteY5079" fmla="*/ 4431571 h 4991619"/>
              <a:gd name="connsiteX5080" fmla="*/ 1918742 w 6537372"/>
              <a:gd name="connsiteY5080" fmla="*/ 4417456 h 4991619"/>
              <a:gd name="connsiteX5081" fmla="*/ 1926246 w 6537372"/>
              <a:gd name="connsiteY5081" fmla="*/ 4412453 h 4991619"/>
              <a:gd name="connsiteX5082" fmla="*/ 1940005 w 6537372"/>
              <a:gd name="connsiteY5082" fmla="*/ 4399233 h 4991619"/>
              <a:gd name="connsiteX5083" fmla="*/ 1934644 w 6537372"/>
              <a:gd name="connsiteY5083" fmla="*/ 4392442 h 4991619"/>
              <a:gd name="connsiteX5084" fmla="*/ 1936431 w 6537372"/>
              <a:gd name="connsiteY5084" fmla="*/ 4378507 h 4991619"/>
              <a:gd name="connsiteX5085" fmla="*/ 1940361 w 6537372"/>
              <a:gd name="connsiteY5085" fmla="*/ 4373146 h 4991619"/>
              <a:gd name="connsiteX5086" fmla="*/ 1946615 w 6537372"/>
              <a:gd name="connsiteY5086" fmla="*/ 4379043 h 4991619"/>
              <a:gd name="connsiteX5087" fmla="*/ 1960550 w 6537372"/>
              <a:gd name="connsiteY5087" fmla="*/ 4377434 h 4991619"/>
              <a:gd name="connsiteX5088" fmla="*/ 1953047 w 6537372"/>
              <a:gd name="connsiteY5088" fmla="*/ 4389583 h 4991619"/>
              <a:gd name="connsiteX5089" fmla="*/ 1957692 w 6537372"/>
              <a:gd name="connsiteY5089" fmla="*/ 4391193 h 4991619"/>
              <a:gd name="connsiteX5090" fmla="*/ 1969663 w 6537372"/>
              <a:gd name="connsiteY5090" fmla="*/ 4379758 h 4991619"/>
              <a:gd name="connsiteX5091" fmla="*/ 1966448 w 6537372"/>
              <a:gd name="connsiteY5091" fmla="*/ 4369752 h 4991619"/>
              <a:gd name="connsiteX5092" fmla="*/ 1971271 w 6537372"/>
              <a:gd name="connsiteY5092" fmla="*/ 4369752 h 4991619"/>
              <a:gd name="connsiteX5093" fmla="*/ 1974488 w 6537372"/>
              <a:gd name="connsiteY5093" fmla="*/ 4366535 h 4991619"/>
              <a:gd name="connsiteX5094" fmla="*/ 1966448 w 6537372"/>
              <a:gd name="connsiteY5094" fmla="*/ 4364035 h 4991619"/>
              <a:gd name="connsiteX5095" fmla="*/ 1957157 w 6537372"/>
              <a:gd name="connsiteY5095" fmla="*/ 4367787 h 4991619"/>
              <a:gd name="connsiteX5096" fmla="*/ 1959836 w 6537372"/>
              <a:gd name="connsiteY5096" fmla="*/ 4337412 h 4991619"/>
              <a:gd name="connsiteX5097" fmla="*/ 1958765 w 6537372"/>
              <a:gd name="connsiteY5097" fmla="*/ 4337770 h 4991619"/>
              <a:gd name="connsiteX5098" fmla="*/ 1951260 w 6537372"/>
              <a:gd name="connsiteY5098" fmla="*/ 4347061 h 4991619"/>
              <a:gd name="connsiteX5099" fmla="*/ 1949115 w 6537372"/>
              <a:gd name="connsiteY5099" fmla="*/ 4344202 h 4991619"/>
              <a:gd name="connsiteX5100" fmla="*/ 1950725 w 6537372"/>
              <a:gd name="connsiteY5100" fmla="*/ 4333660 h 4991619"/>
              <a:gd name="connsiteX5101" fmla="*/ 1943756 w 6537372"/>
              <a:gd name="connsiteY5101" fmla="*/ 4332767 h 4991619"/>
              <a:gd name="connsiteX5102" fmla="*/ 1928211 w 6537372"/>
              <a:gd name="connsiteY5102" fmla="*/ 4321332 h 4991619"/>
              <a:gd name="connsiteX5103" fmla="*/ 1979490 w 6537372"/>
              <a:gd name="connsiteY5103" fmla="*/ 4294353 h 4991619"/>
              <a:gd name="connsiteX5104" fmla="*/ 1967697 w 6537372"/>
              <a:gd name="connsiteY5104" fmla="*/ 4290779 h 4991619"/>
              <a:gd name="connsiteX5105" fmla="*/ 1962875 w 6537372"/>
              <a:gd name="connsiteY5105" fmla="*/ 4286135 h 4991619"/>
              <a:gd name="connsiteX5106" fmla="*/ 1949830 w 6537372"/>
              <a:gd name="connsiteY5106" fmla="*/ 4272912 h 4991619"/>
              <a:gd name="connsiteX5107" fmla="*/ 1942683 w 6537372"/>
              <a:gd name="connsiteY5107" fmla="*/ 4271305 h 4991619"/>
              <a:gd name="connsiteX5108" fmla="*/ 1930714 w 6537372"/>
              <a:gd name="connsiteY5108" fmla="*/ 4258618 h 4991619"/>
              <a:gd name="connsiteX5109" fmla="*/ 1927319 w 6537372"/>
              <a:gd name="connsiteY5109" fmla="*/ 4242181 h 4991619"/>
              <a:gd name="connsiteX5110" fmla="*/ 1906235 w 6537372"/>
              <a:gd name="connsiteY5110" fmla="*/ 4243254 h 4991619"/>
              <a:gd name="connsiteX5111" fmla="*/ 1906593 w 6537372"/>
              <a:gd name="connsiteY5111" fmla="*/ 4229138 h 4991619"/>
              <a:gd name="connsiteX5112" fmla="*/ 1892836 w 6537372"/>
              <a:gd name="connsiteY5112" fmla="*/ 4221633 h 4991619"/>
              <a:gd name="connsiteX5113" fmla="*/ 1874432 w 6537372"/>
              <a:gd name="connsiteY5113" fmla="*/ 4215023 h 4991619"/>
              <a:gd name="connsiteX5114" fmla="*/ 1869429 w 6537372"/>
              <a:gd name="connsiteY5114" fmla="*/ 4211271 h 4991619"/>
              <a:gd name="connsiteX5115" fmla="*/ 1851026 w 6537372"/>
              <a:gd name="connsiteY5115" fmla="*/ 4199658 h 4991619"/>
              <a:gd name="connsiteX5116" fmla="*/ 1844594 w 6537372"/>
              <a:gd name="connsiteY5116" fmla="*/ 4198229 h 4991619"/>
              <a:gd name="connsiteX5117" fmla="*/ 1838340 w 6537372"/>
              <a:gd name="connsiteY5117" fmla="*/ 4199122 h 4991619"/>
              <a:gd name="connsiteX5118" fmla="*/ 1803857 w 6537372"/>
              <a:gd name="connsiteY5118" fmla="*/ 4218060 h 4991619"/>
              <a:gd name="connsiteX5119" fmla="*/ 1801891 w 6537372"/>
              <a:gd name="connsiteY5119" fmla="*/ 4220562 h 4991619"/>
              <a:gd name="connsiteX5120" fmla="*/ 1792422 w 6537372"/>
              <a:gd name="connsiteY5120" fmla="*/ 4226458 h 4991619"/>
              <a:gd name="connsiteX5121" fmla="*/ 1785275 w 6537372"/>
              <a:gd name="connsiteY5121" fmla="*/ 4236642 h 4991619"/>
              <a:gd name="connsiteX5122" fmla="*/ 1787956 w 6537372"/>
              <a:gd name="connsiteY5122" fmla="*/ 4242539 h 4991619"/>
              <a:gd name="connsiteX5123" fmla="*/ 1787241 w 6537372"/>
              <a:gd name="connsiteY5123" fmla="*/ 4248613 h 4991619"/>
              <a:gd name="connsiteX5124" fmla="*/ 1766157 w 6537372"/>
              <a:gd name="connsiteY5124" fmla="*/ 4268446 h 4991619"/>
              <a:gd name="connsiteX5125" fmla="*/ 1760439 w 6537372"/>
              <a:gd name="connsiteY5125" fmla="*/ 4276129 h 4991619"/>
              <a:gd name="connsiteX5126" fmla="*/ 1740787 w 6537372"/>
              <a:gd name="connsiteY5126" fmla="*/ 4283276 h 4991619"/>
              <a:gd name="connsiteX5127" fmla="*/ 1732925 w 6537372"/>
              <a:gd name="connsiteY5127" fmla="*/ 4277915 h 4991619"/>
              <a:gd name="connsiteX5128" fmla="*/ 1728101 w 6537372"/>
              <a:gd name="connsiteY5128" fmla="*/ 4269339 h 4991619"/>
              <a:gd name="connsiteX5129" fmla="*/ 1730245 w 6537372"/>
              <a:gd name="connsiteY5129" fmla="*/ 4257904 h 4991619"/>
              <a:gd name="connsiteX5130" fmla="*/ 1732032 w 6537372"/>
              <a:gd name="connsiteY5130" fmla="*/ 4249149 h 4991619"/>
              <a:gd name="connsiteX5131" fmla="*/ 1725957 w 6537372"/>
              <a:gd name="connsiteY5131" fmla="*/ 4237536 h 4991619"/>
              <a:gd name="connsiteX5132" fmla="*/ 1717559 w 6537372"/>
              <a:gd name="connsiteY5132" fmla="*/ 4228065 h 4991619"/>
              <a:gd name="connsiteX5133" fmla="*/ 1701836 w 6537372"/>
              <a:gd name="connsiteY5133" fmla="*/ 4228424 h 4991619"/>
              <a:gd name="connsiteX5134" fmla="*/ 1683254 w 6537372"/>
              <a:gd name="connsiteY5134" fmla="*/ 4227172 h 4991619"/>
              <a:gd name="connsiteX5135" fmla="*/ 1656811 w 6537372"/>
              <a:gd name="connsiteY5135" fmla="*/ 4216630 h 4991619"/>
              <a:gd name="connsiteX5136" fmla="*/ 1650915 w 6537372"/>
              <a:gd name="connsiteY5136" fmla="*/ 4219133 h 4991619"/>
              <a:gd name="connsiteX5137" fmla="*/ 1639480 w 6537372"/>
              <a:gd name="connsiteY5137" fmla="*/ 4217345 h 4991619"/>
              <a:gd name="connsiteX5138" fmla="*/ 1630904 w 6537372"/>
              <a:gd name="connsiteY5138" fmla="*/ 4215381 h 4991619"/>
              <a:gd name="connsiteX5139" fmla="*/ 1624830 w 6537372"/>
              <a:gd name="connsiteY5139" fmla="*/ 4217703 h 4991619"/>
              <a:gd name="connsiteX5140" fmla="*/ 1618754 w 6537372"/>
              <a:gd name="connsiteY5140" fmla="*/ 4217345 h 4991619"/>
              <a:gd name="connsiteX5141" fmla="*/ 1605534 w 6537372"/>
              <a:gd name="connsiteY5141" fmla="*/ 4208054 h 4991619"/>
              <a:gd name="connsiteX5142" fmla="*/ 1594099 w 6537372"/>
              <a:gd name="connsiteY5142" fmla="*/ 4204661 h 4991619"/>
              <a:gd name="connsiteX5143" fmla="*/ 1584450 w 6537372"/>
              <a:gd name="connsiteY5143" fmla="*/ 4204481 h 4991619"/>
              <a:gd name="connsiteX5144" fmla="*/ 1570156 w 6537372"/>
              <a:gd name="connsiteY5144" fmla="*/ 4200373 h 4991619"/>
              <a:gd name="connsiteX5145" fmla="*/ 1556221 w 6537372"/>
              <a:gd name="connsiteY5145" fmla="*/ 4187508 h 4991619"/>
              <a:gd name="connsiteX5146" fmla="*/ 1550323 w 6537372"/>
              <a:gd name="connsiteY5146" fmla="*/ 4180003 h 4991619"/>
              <a:gd name="connsiteX5147" fmla="*/ 1534244 w 6537372"/>
              <a:gd name="connsiteY5147" fmla="*/ 4169105 h 4991619"/>
              <a:gd name="connsiteX5148" fmla="*/ 1568012 w 6537372"/>
              <a:gd name="connsiteY5148" fmla="*/ 4118363 h 4991619"/>
              <a:gd name="connsiteX5149" fmla="*/ 1554255 w 6537372"/>
              <a:gd name="connsiteY5149" fmla="*/ 4104784 h 4991619"/>
              <a:gd name="connsiteX5150" fmla="*/ 1543713 w 6537372"/>
              <a:gd name="connsiteY5150" fmla="*/ 4096922 h 4991619"/>
              <a:gd name="connsiteX5151" fmla="*/ 1523345 w 6537372"/>
              <a:gd name="connsiteY5151" fmla="*/ 4108357 h 4991619"/>
              <a:gd name="connsiteX5152" fmla="*/ 1511196 w 6537372"/>
              <a:gd name="connsiteY5152" fmla="*/ 4114431 h 4991619"/>
              <a:gd name="connsiteX5153" fmla="*/ 1498331 w 6537372"/>
              <a:gd name="connsiteY5153" fmla="*/ 4116933 h 4991619"/>
              <a:gd name="connsiteX5154" fmla="*/ 1485467 w 6537372"/>
              <a:gd name="connsiteY5154" fmla="*/ 4119970 h 4991619"/>
              <a:gd name="connsiteX5155" fmla="*/ 1474210 w 6537372"/>
              <a:gd name="connsiteY5155" fmla="*/ 4121936 h 4991619"/>
              <a:gd name="connsiteX5156" fmla="*/ 1461883 w 6537372"/>
              <a:gd name="connsiteY5156" fmla="*/ 4119792 h 4991619"/>
              <a:gd name="connsiteX5157" fmla="*/ 1453126 w 6537372"/>
              <a:gd name="connsiteY5157" fmla="*/ 4112467 h 4991619"/>
              <a:gd name="connsiteX5158" fmla="*/ 1445980 w 6537372"/>
              <a:gd name="connsiteY5158" fmla="*/ 4106391 h 4991619"/>
              <a:gd name="connsiteX5159" fmla="*/ 1429542 w 6537372"/>
              <a:gd name="connsiteY5159" fmla="*/ 4114789 h 4991619"/>
              <a:gd name="connsiteX5160" fmla="*/ 1416678 w 6537372"/>
              <a:gd name="connsiteY5160" fmla="*/ 4115860 h 4991619"/>
              <a:gd name="connsiteX5161" fmla="*/ 1405957 w 6537372"/>
              <a:gd name="connsiteY5161" fmla="*/ 4127653 h 4991619"/>
              <a:gd name="connsiteX5162" fmla="*/ 1379694 w 6537372"/>
              <a:gd name="connsiteY5162" fmla="*/ 4141232 h 4991619"/>
              <a:gd name="connsiteX5163" fmla="*/ 1367901 w 6537372"/>
              <a:gd name="connsiteY5163" fmla="*/ 4146950 h 4991619"/>
              <a:gd name="connsiteX5164" fmla="*/ 1338777 w 6537372"/>
              <a:gd name="connsiteY5164" fmla="*/ 4167139 h 4991619"/>
              <a:gd name="connsiteX5165" fmla="*/ 1330738 w 6537372"/>
              <a:gd name="connsiteY5165" fmla="*/ 4172320 h 4991619"/>
              <a:gd name="connsiteX5166" fmla="*/ 1263557 w 6537372"/>
              <a:gd name="connsiteY5166" fmla="*/ 4206805 h 4991619"/>
              <a:gd name="connsiteX5167" fmla="*/ 1254267 w 6537372"/>
              <a:gd name="connsiteY5167" fmla="*/ 4208413 h 4991619"/>
              <a:gd name="connsiteX5168" fmla="*/ 1241224 w 6537372"/>
              <a:gd name="connsiteY5168" fmla="*/ 4215559 h 4991619"/>
              <a:gd name="connsiteX5169" fmla="*/ 1233719 w 6537372"/>
              <a:gd name="connsiteY5169" fmla="*/ 4220919 h 4991619"/>
              <a:gd name="connsiteX5170" fmla="*/ 1224072 w 6537372"/>
              <a:gd name="connsiteY5170" fmla="*/ 4221277 h 4991619"/>
              <a:gd name="connsiteX5171" fmla="*/ 1168327 w 6537372"/>
              <a:gd name="connsiteY5171" fmla="*/ 4249149 h 4991619"/>
              <a:gd name="connsiteX5172" fmla="*/ 1130448 w 6537372"/>
              <a:gd name="connsiteY5172" fmla="*/ 4231819 h 4991619"/>
              <a:gd name="connsiteX5173" fmla="*/ 1096144 w 6537372"/>
              <a:gd name="connsiteY5173" fmla="*/ 4255582 h 4991619"/>
              <a:gd name="connsiteX5174" fmla="*/ 1055407 w 6537372"/>
              <a:gd name="connsiteY5174" fmla="*/ 4277022 h 4991619"/>
              <a:gd name="connsiteX5175" fmla="*/ 1034503 w 6537372"/>
              <a:gd name="connsiteY5175" fmla="*/ 4286669 h 4991619"/>
              <a:gd name="connsiteX5176" fmla="*/ 1012348 w 6537372"/>
              <a:gd name="connsiteY5176" fmla="*/ 4290243 h 4991619"/>
              <a:gd name="connsiteX5177" fmla="*/ 990549 w 6537372"/>
              <a:gd name="connsiteY5177" fmla="*/ 4294889 h 4991619"/>
              <a:gd name="connsiteX5178" fmla="*/ 971431 w 6537372"/>
              <a:gd name="connsiteY5178" fmla="*/ 4297570 h 4991619"/>
              <a:gd name="connsiteX5179" fmla="*/ 950527 w 6537372"/>
              <a:gd name="connsiteY5179" fmla="*/ 4293460 h 4991619"/>
              <a:gd name="connsiteX5180" fmla="*/ 936055 w 6537372"/>
              <a:gd name="connsiteY5180" fmla="*/ 4280774 h 4991619"/>
              <a:gd name="connsiteX5181" fmla="*/ 924084 w 6537372"/>
              <a:gd name="connsiteY5181" fmla="*/ 4270053 h 4991619"/>
              <a:gd name="connsiteX5182" fmla="*/ 903180 w 6537372"/>
              <a:gd name="connsiteY5182" fmla="*/ 4255938 h 4991619"/>
              <a:gd name="connsiteX5183" fmla="*/ 884598 w 6537372"/>
              <a:gd name="connsiteY5183" fmla="*/ 4249686 h 4991619"/>
              <a:gd name="connsiteX5184" fmla="*/ 871019 w 6537372"/>
              <a:gd name="connsiteY5184" fmla="*/ 4241288 h 4991619"/>
              <a:gd name="connsiteX5185" fmla="*/ 845647 w 6537372"/>
              <a:gd name="connsiteY5185" fmla="*/ 4247362 h 4991619"/>
              <a:gd name="connsiteX5186" fmla="*/ 838858 w 6537372"/>
              <a:gd name="connsiteY5186" fmla="*/ 4254330 h 4991619"/>
              <a:gd name="connsiteX5187" fmla="*/ 819025 w 6537372"/>
              <a:gd name="connsiteY5187" fmla="*/ 4265765 h 4991619"/>
              <a:gd name="connsiteX5188" fmla="*/ 814559 w 6537372"/>
              <a:gd name="connsiteY5188" fmla="*/ 4270232 h 4991619"/>
              <a:gd name="connsiteX5189" fmla="*/ 802588 w 6537372"/>
              <a:gd name="connsiteY5189" fmla="*/ 4280774 h 4991619"/>
              <a:gd name="connsiteX5190" fmla="*/ 785257 w 6537372"/>
              <a:gd name="connsiteY5190" fmla="*/ 4295067 h 4991619"/>
              <a:gd name="connsiteX5191" fmla="*/ 726117 w 6537372"/>
              <a:gd name="connsiteY5191" fmla="*/ 4364213 h 4991619"/>
              <a:gd name="connsiteX5192" fmla="*/ 718077 w 6537372"/>
              <a:gd name="connsiteY5192" fmla="*/ 4369572 h 4991619"/>
              <a:gd name="connsiteX5193" fmla="*/ 680555 w 6537372"/>
              <a:gd name="connsiteY5193" fmla="*/ 4394230 h 4991619"/>
              <a:gd name="connsiteX5194" fmla="*/ 674123 w 6537372"/>
              <a:gd name="connsiteY5194" fmla="*/ 4394230 h 4991619"/>
              <a:gd name="connsiteX5195" fmla="*/ 658044 w 6537372"/>
              <a:gd name="connsiteY5195" fmla="*/ 4391908 h 4991619"/>
              <a:gd name="connsiteX5196" fmla="*/ 649290 w 6537372"/>
              <a:gd name="connsiteY5196" fmla="*/ 4388869 h 4991619"/>
              <a:gd name="connsiteX5197" fmla="*/ 631242 w 6537372"/>
              <a:gd name="connsiteY5197" fmla="*/ 4375290 h 4991619"/>
              <a:gd name="connsiteX5198" fmla="*/ 615341 w 6537372"/>
              <a:gd name="connsiteY5198" fmla="*/ 4364213 h 4991619"/>
              <a:gd name="connsiteX5199" fmla="*/ 605694 w 6537372"/>
              <a:gd name="connsiteY5199" fmla="*/ 4347061 h 4991619"/>
              <a:gd name="connsiteX5200" fmla="*/ 592650 w 6537372"/>
              <a:gd name="connsiteY5200" fmla="*/ 4332945 h 4991619"/>
              <a:gd name="connsiteX5201" fmla="*/ 587290 w 6537372"/>
              <a:gd name="connsiteY5201" fmla="*/ 4324906 h 4991619"/>
              <a:gd name="connsiteX5202" fmla="*/ 573711 w 6537372"/>
              <a:gd name="connsiteY5202" fmla="*/ 4298641 h 4991619"/>
              <a:gd name="connsiteX5203" fmla="*/ 564421 w 6537372"/>
              <a:gd name="connsiteY5203" fmla="*/ 4289886 h 4991619"/>
              <a:gd name="connsiteX5204" fmla="*/ 562633 w 6537372"/>
              <a:gd name="connsiteY5204" fmla="*/ 4281488 h 4991619"/>
              <a:gd name="connsiteX5205" fmla="*/ 544409 w 6537372"/>
              <a:gd name="connsiteY5205" fmla="*/ 4254867 h 4991619"/>
              <a:gd name="connsiteX5206" fmla="*/ 529043 w 6537372"/>
              <a:gd name="connsiteY5206" fmla="*/ 4238786 h 4991619"/>
              <a:gd name="connsiteX5207" fmla="*/ 504924 w 6537372"/>
              <a:gd name="connsiteY5207" fmla="*/ 4208769 h 4991619"/>
              <a:gd name="connsiteX5208" fmla="*/ 496168 w 6537372"/>
              <a:gd name="connsiteY5208" fmla="*/ 4199478 h 4991619"/>
              <a:gd name="connsiteX5209" fmla="*/ 491701 w 6537372"/>
              <a:gd name="connsiteY5209" fmla="*/ 4195012 h 4991619"/>
              <a:gd name="connsiteX5210" fmla="*/ 456325 w 6537372"/>
              <a:gd name="connsiteY5210" fmla="*/ 4034208 h 4991619"/>
              <a:gd name="connsiteX5211" fmla="*/ 432741 w 6537372"/>
              <a:gd name="connsiteY5211" fmla="*/ 4012946 h 4991619"/>
              <a:gd name="connsiteX5212" fmla="*/ 469010 w 6537372"/>
              <a:gd name="connsiteY5212" fmla="*/ 3943622 h 4991619"/>
              <a:gd name="connsiteX5213" fmla="*/ 461863 w 6537372"/>
              <a:gd name="connsiteY5213" fmla="*/ 3937370 h 4991619"/>
              <a:gd name="connsiteX5214" fmla="*/ 455431 w 6537372"/>
              <a:gd name="connsiteY5214" fmla="*/ 3925935 h 4991619"/>
              <a:gd name="connsiteX5215" fmla="*/ 448820 w 6537372"/>
              <a:gd name="connsiteY5215" fmla="*/ 3919145 h 4991619"/>
              <a:gd name="connsiteX5216" fmla="*/ 423807 w 6537372"/>
              <a:gd name="connsiteY5216" fmla="*/ 3904136 h 4991619"/>
              <a:gd name="connsiteX5217" fmla="*/ 393790 w 6537372"/>
              <a:gd name="connsiteY5217" fmla="*/ 3885376 h 4991619"/>
              <a:gd name="connsiteX5218" fmla="*/ 388787 w 6537372"/>
              <a:gd name="connsiteY5218" fmla="*/ 3881445 h 4991619"/>
              <a:gd name="connsiteX5219" fmla="*/ 366990 w 6537372"/>
              <a:gd name="connsiteY5219" fmla="*/ 3862507 h 4991619"/>
              <a:gd name="connsiteX5220" fmla="*/ 349658 w 6537372"/>
              <a:gd name="connsiteY5220" fmla="*/ 3848213 h 4991619"/>
              <a:gd name="connsiteX5221" fmla="*/ 333578 w 6537372"/>
              <a:gd name="connsiteY5221" fmla="*/ 3832490 h 4991619"/>
              <a:gd name="connsiteX5222" fmla="*/ 331791 w 6537372"/>
              <a:gd name="connsiteY5222" fmla="*/ 3829809 h 4991619"/>
              <a:gd name="connsiteX5223" fmla="*/ 309279 w 6537372"/>
              <a:gd name="connsiteY5223" fmla="*/ 3811764 h 4991619"/>
              <a:gd name="connsiteX5224" fmla="*/ 287124 w 6537372"/>
              <a:gd name="connsiteY5224" fmla="*/ 3793182 h 4991619"/>
              <a:gd name="connsiteX5225" fmla="*/ 281763 w 6537372"/>
              <a:gd name="connsiteY5225" fmla="*/ 3782284 h 4991619"/>
              <a:gd name="connsiteX5226" fmla="*/ 280514 w 6537372"/>
              <a:gd name="connsiteY5226" fmla="*/ 3772813 h 4991619"/>
              <a:gd name="connsiteX5227" fmla="*/ 269972 w 6537372"/>
              <a:gd name="connsiteY5227" fmla="*/ 3745835 h 4991619"/>
              <a:gd name="connsiteX5228" fmla="*/ 277475 w 6537372"/>
              <a:gd name="connsiteY5228" fmla="*/ 3720821 h 4991619"/>
              <a:gd name="connsiteX5229" fmla="*/ 276582 w 6537372"/>
              <a:gd name="connsiteY5229" fmla="*/ 3705098 h 4991619"/>
              <a:gd name="connsiteX5230" fmla="*/ 275867 w 6537372"/>
              <a:gd name="connsiteY5230" fmla="*/ 3679548 h 4991619"/>
              <a:gd name="connsiteX5231" fmla="*/ 290161 w 6537372"/>
              <a:gd name="connsiteY5231" fmla="*/ 3635774 h 4991619"/>
              <a:gd name="connsiteX5232" fmla="*/ 294271 w 6537372"/>
              <a:gd name="connsiteY5232" fmla="*/ 3623266 h 4991619"/>
              <a:gd name="connsiteX5233" fmla="*/ 291949 w 6537372"/>
              <a:gd name="connsiteY5233" fmla="*/ 3607722 h 4991619"/>
              <a:gd name="connsiteX5234" fmla="*/ 291949 w 6537372"/>
              <a:gd name="connsiteY5234" fmla="*/ 3598253 h 4991619"/>
              <a:gd name="connsiteX5235" fmla="*/ 294627 w 6537372"/>
              <a:gd name="connsiteY5235" fmla="*/ 3592357 h 4991619"/>
              <a:gd name="connsiteX5236" fmla="*/ 307492 w 6537372"/>
              <a:gd name="connsiteY5236" fmla="*/ 3569843 h 4991619"/>
              <a:gd name="connsiteX5237" fmla="*/ 312853 w 6537372"/>
              <a:gd name="connsiteY5237" fmla="*/ 3566270 h 4991619"/>
              <a:gd name="connsiteX5238" fmla="*/ 325539 w 6537372"/>
              <a:gd name="connsiteY5238" fmla="*/ 3551620 h 4991619"/>
              <a:gd name="connsiteX5239" fmla="*/ 326253 w 6537372"/>
              <a:gd name="connsiteY5239" fmla="*/ 3545544 h 4991619"/>
              <a:gd name="connsiteX5240" fmla="*/ 320356 w 6537372"/>
              <a:gd name="connsiteY5240" fmla="*/ 3517137 h 4991619"/>
              <a:gd name="connsiteX5241" fmla="*/ 321429 w 6537372"/>
              <a:gd name="connsiteY5241" fmla="*/ 3511061 h 4991619"/>
              <a:gd name="connsiteX5242" fmla="*/ 329290 w 6537372"/>
              <a:gd name="connsiteY5242" fmla="*/ 3500699 h 4991619"/>
              <a:gd name="connsiteX5243" fmla="*/ 340725 w 6537372"/>
              <a:gd name="connsiteY5243" fmla="*/ 3485155 h 4991619"/>
              <a:gd name="connsiteX5244" fmla="*/ 346799 w 6537372"/>
              <a:gd name="connsiteY5244" fmla="*/ 3473720 h 4991619"/>
              <a:gd name="connsiteX5245" fmla="*/ 354661 w 6537372"/>
              <a:gd name="connsiteY5245" fmla="*/ 3463714 h 4991619"/>
              <a:gd name="connsiteX5246" fmla="*/ 361093 w 6537372"/>
              <a:gd name="connsiteY5246" fmla="*/ 3456746 h 4991619"/>
              <a:gd name="connsiteX5247" fmla="*/ 382713 w 6537372"/>
              <a:gd name="connsiteY5247" fmla="*/ 3433698 h 4991619"/>
              <a:gd name="connsiteX5248" fmla="*/ 420591 w 6537372"/>
              <a:gd name="connsiteY5248" fmla="*/ 3414043 h 4991619"/>
              <a:gd name="connsiteX5249" fmla="*/ 427202 w 6537372"/>
              <a:gd name="connsiteY5249" fmla="*/ 3406896 h 4991619"/>
              <a:gd name="connsiteX5250" fmla="*/ 446676 w 6537372"/>
              <a:gd name="connsiteY5250" fmla="*/ 3396534 h 4991619"/>
              <a:gd name="connsiteX5251" fmla="*/ 457755 w 6537372"/>
              <a:gd name="connsiteY5251" fmla="*/ 3394568 h 4991619"/>
              <a:gd name="connsiteX5252" fmla="*/ 450608 w 6537372"/>
              <a:gd name="connsiteY5252" fmla="*/ 3392782 h 4991619"/>
              <a:gd name="connsiteX5253" fmla="*/ 479552 w 6537372"/>
              <a:gd name="connsiteY5253" fmla="*/ 3374557 h 4991619"/>
              <a:gd name="connsiteX5254" fmla="*/ 474907 w 6537372"/>
              <a:gd name="connsiteY5254" fmla="*/ 3371520 h 4991619"/>
              <a:gd name="connsiteX5255" fmla="*/ 467760 w 6537372"/>
              <a:gd name="connsiteY5255" fmla="*/ 3375987 h 4991619"/>
              <a:gd name="connsiteX5256" fmla="*/ 446676 w 6537372"/>
              <a:gd name="connsiteY5256" fmla="*/ 3385099 h 4991619"/>
              <a:gd name="connsiteX5257" fmla="*/ 466866 w 6537372"/>
              <a:gd name="connsiteY5257" fmla="*/ 3372413 h 4991619"/>
              <a:gd name="connsiteX5258" fmla="*/ 462758 w 6537372"/>
              <a:gd name="connsiteY5258" fmla="*/ 3371877 h 4991619"/>
              <a:gd name="connsiteX5259" fmla="*/ 463829 w 6537372"/>
              <a:gd name="connsiteY5259" fmla="*/ 3365266 h 4991619"/>
              <a:gd name="connsiteX5260" fmla="*/ 454538 w 6537372"/>
              <a:gd name="connsiteY5260" fmla="*/ 3371342 h 4991619"/>
              <a:gd name="connsiteX5261" fmla="*/ 438637 w 6537372"/>
              <a:gd name="connsiteY5261" fmla="*/ 3379738 h 4991619"/>
              <a:gd name="connsiteX5262" fmla="*/ 415767 w 6537372"/>
              <a:gd name="connsiteY5262" fmla="*/ 3390280 h 4991619"/>
              <a:gd name="connsiteX5263" fmla="*/ 407547 w 6537372"/>
              <a:gd name="connsiteY5263" fmla="*/ 3389029 h 4991619"/>
              <a:gd name="connsiteX5264" fmla="*/ 423450 w 6537372"/>
              <a:gd name="connsiteY5264" fmla="*/ 3381348 h 4991619"/>
              <a:gd name="connsiteX5265" fmla="*/ 441137 w 6537372"/>
              <a:gd name="connsiteY5265" fmla="*/ 3371162 h 4991619"/>
              <a:gd name="connsiteX5266" fmla="*/ 448642 w 6537372"/>
              <a:gd name="connsiteY5266" fmla="*/ 3367769 h 4991619"/>
              <a:gd name="connsiteX5267" fmla="*/ 463114 w 6537372"/>
              <a:gd name="connsiteY5267" fmla="*/ 3357941 h 4991619"/>
              <a:gd name="connsiteX5268" fmla="*/ 459184 w 6537372"/>
              <a:gd name="connsiteY5268" fmla="*/ 3350973 h 4991619"/>
              <a:gd name="connsiteX5269" fmla="*/ 462936 w 6537372"/>
              <a:gd name="connsiteY5269" fmla="*/ 3338645 h 4991619"/>
              <a:gd name="connsiteX5270" fmla="*/ 467224 w 6537372"/>
              <a:gd name="connsiteY5270" fmla="*/ 3334535 h 4991619"/>
              <a:gd name="connsiteX5271" fmla="*/ 471868 w 6537372"/>
              <a:gd name="connsiteY5271" fmla="*/ 3340789 h 4991619"/>
              <a:gd name="connsiteX5272" fmla="*/ 484554 w 6537372"/>
              <a:gd name="connsiteY5272" fmla="*/ 3341504 h 4991619"/>
              <a:gd name="connsiteX5273" fmla="*/ 475978 w 6537372"/>
              <a:gd name="connsiteY5273" fmla="*/ 3351331 h 4991619"/>
              <a:gd name="connsiteX5274" fmla="*/ 479910 w 6537372"/>
              <a:gd name="connsiteY5274" fmla="*/ 3353475 h 4991619"/>
              <a:gd name="connsiteX5275" fmla="*/ 492416 w 6537372"/>
              <a:gd name="connsiteY5275" fmla="*/ 3344899 h 4991619"/>
              <a:gd name="connsiteX5276" fmla="*/ 490987 w 6537372"/>
              <a:gd name="connsiteY5276" fmla="*/ 3335428 h 4991619"/>
              <a:gd name="connsiteX5277" fmla="*/ 495453 w 6537372"/>
              <a:gd name="connsiteY5277" fmla="*/ 3336143 h 4991619"/>
              <a:gd name="connsiteX5278" fmla="*/ 498848 w 6537372"/>
              <a:gd name="connsiteY5278" fmla="*/ 3333820 h 4991619"/>
              <a:gd name="connsiteX5279" fmla="*/ 492060 w 6537372"/>
              <a:gd name="connsiteY5279" fmla="*/ 3330247 h 4991619"/>
              <a:gd name="connsiteX5280" fmla="*/ 483125 w 6537372"/>
              <a:gd name="connsiteY5280" fmla="*/ 3332391 h 4991619"/>
              <a:gd name="connsiteX5281" fmla="*/ 490094 w 6537372"/>
              <a:gd name="connsiteY5281" fmla="*/ 3305411 h 4991619"/>
              <a:gd name="connsiteX5282" fmla="*/ 489021 w 6537372"/>
              <a:gd name="connsiteY5282" fmla="*/ 3305411 h 4991619"/>
              <a:gd name="connsiteX5283" fmla="*/ 480803 w 6537372"/>
              <a:gd name="connsiteY5283" fmla="*/ 3312738 h 4991619"/>
              <a:gd name="connsiteX5284" fmla="*/ 479195 w 6537372"/>
              <a:gd name="connsiteY5284" fmla="*/ 3309879 h 4991619"/>
              <a:gd name="connsiteX5285" fmla="*/ 482232 w 6537372"/>
              <a:gd name="connsiteY5285" fmla="*/ 3300589 h 4991619"/>
              <a:gd name="connsiteX5286" fmla="*/ 476156 w 6537372"/>
              <a:gd name="connsiteY5286" fmla="*/ 3298801 h 4991619"/>
              <a:gd name="connsiteX5287" fmla="*/ 463829 w 6537372"/>
              <a:gd name="connsiteY5287" fmla="*/ 3286115 h 4991619"/>
              <a:gd name="connsiteX5288" fmla="*/ 464902 w 6537372"/>
              <a:gd name="connsiteY5288" fmla="*/ 3280397 h 4991619"/>
              <a:gd name="connsiteX5289" fmla="*/ 454896 w 6537372"/>
              <a:gd name="connsiteY5289" fmla="*/ 3275395 h 4991619"/>
              <a:gd name="connsiteX5290" fmla="*/ 401473 w 6537372"/>
              <a:gd name="connsiteY5290" fmla="*/ 3277360 h 4991619"/>
              <a:gd name="connsiteX5291" fmla="*/ 391824 w 6537372"/>
              <a:gd name="connsiteY5291" fmla="*/ 3263425 h 4991619"/>
              <a:gd name="connsiteX5292" fmla="*/ 385572 w 6537372"/>
              <a:gd name="connsiteY5292" fmla="*/ 3260923 h 4991619"/>
              <a:gd name="connsiteX5293" fmla="*/ 376638 w 6537372"/>
              <a:gd name="connsiteY5293" fmla="*/ 3247702 h 4991619"/>
              <a:gd name="connsiteX5294" fmla="*/ 375923 w 6537372"/>
              <a:gd name="connsiteY5294" fmla="*/ 3232336 h 4991619"/>
              <a:gd name="connsiteX5295" fmla="*/ 356626 w 6537372"/>
              <a:gd name="connsiteY5295" fmla="*/ 3230191 h 4991619"/>
              <a:gd name="connsiteX5296" fmla="*/ 359843 w 6537372"/>
              <a:gd name="connsiteY5296" fmla="*/ 3214112 h 4991619"/>
              <a:gd name="connsiteX5297" fmla="*/ 350372 w 6537372"/>
              <a:gd name="connsiteY5297" fmla="*/ 3197494 h 4991619"/>
              <a:gd name="connsiteX5298" fmla="*/ 350016 w 6537372"/>
              <a:gd name="connsiteY5298" fmla="*/ 3186059 h 4991619"/>
              <a:gd name="connsiteX5299" fmla="*/ 355912 w 6537372"/>
              <a:gd name="connsiteY5299" fmla="*/ 3180878 h 4991619"/>
              <a:gd name="connsiteX5300" fmla="*/ 342691 w 6537372"/>
              <a:gd name="connsiteY5300" fmla="*/ 3173375 h 4991619"/>
              <a:gd name="connsiteX5301" fmla="*/ 332149 w 6537372"/>
              <a:gd name="connsiteY5301" fmla="*/ 3171231 h 4991619"/>
              <a:gd name="connsiteX5302" fmla="*/ 344835 w 6537372"/>
              <a:gd name="connsiteY5302" fmla="*/ 3157116 h 4991619"/>
              <a:gd name="connsiteX5303" fmla="*/ 347872 w 6537372"/>
              <a:gd name="connsiteY5303" fmla="*/ 3153184 h 4991619"/>
              <a:gd name="connsiteX5304" fmla="*/ 351087 w 6537372"/>
              <a:gd name="connsiteY5304" fmla="*/ 3135317 h 4991619"/>
              <a:gd name="connsiteX5305" fmla="*/ 350909 w 6537372"/>
              <a:gd name="connsiteY5305" fmla="*/ 3135317 h 4991619"/>
              <a:gd name="connsiteX5306" fmla="*/ 351087 w 6537372"/>
              <a:gd name="connsiteY5306" fmla="*/ 3134961 h 4991619"/>
              <a:gd name="connsiteX5307" fmla="*/ 351087 w 6537372"/>
              <a:gd name="connsiteY5307" fmla="*/ 3135139 h 4991619"/>
              <a:gd name="connsiteX5308" fmla="*/ 360915 w 6537372"/>
              <a:gd name="connsiteY5308" fmla="*/ 3117808 h 4991619"/>
              <a:gd name="connsiteX5309" fmla="*/ 373779 w 6537372"/>
              <a:gd name="connsiteY5309" fmla="*/ 3115842 h 4991619"/>
              <a:gd name="connsiteX5310" fmla="*/ 392361 w 6537372"/>
              <a:gd name="connsiteY5310" fmla="*/ 3108159 h 4991619"/>
              <a:gd name="connsiteX5311" fmla="*/ 393253 w 6537372"/>
              <a:gd name="connsiteY5311" fmla="*/ 3104051 h 4991619"/>
              <a:gd name="connsiteX5312" fmla="*/ 390753 w 6537372"/>
              <a:gd name="connsiteY5312" fmla="*/ 3105122 h 4991619"/>
              <a:gd name="connsiteX5313" fmla="*/ 382891 w 6537372"/>
              <a:gd name="connsiteY5313" fmla="*/ 3107981 h 4991619"/>
              <a:gd name="connsiteX5314" fmla="*/ 377174 w 6537372"/>
              <a:gd name="connsiteY5314" fmla="*/ 3106552 h 4991619"/>
              <a:gd name="connsiteX5315" fmla="*/ 378425 w 6537372"/>
              <a:gd name="connsiteY5315" fmla="*/ 3098868 h 4991619"/>
              <a:gd name="connsiteX5316" fmla="*/ 387180 w 6537372"/>
              <a:gd name="connsiteY5316" fmla="*/ 3094224 h 4991619"/>
              <a:gd name="connsiteX5317" fmla="*/ 405939 w 6537372"/>
              <a:gd name="connsiteY5317" fmla="*/ 3084575 h 4991619"/>
              <a:gd name="connsiteX5318" fmla="*/ 408262 w 6537372"/>
              <a:gd name="connsiteY5318" fmla="*/ 3071890 h 4991619"/>
              <a:gd name="connsiteX5319" fmla="*/ 424879 w 6537372"/>
              <a:gd name="connsiteY5319" fmla="*/ 3064564 h 4991619"/>
              <a:gd name="connsiteX5320" fmla="*/ 427380 w 6537372"/>
              <a:gd name="connsiteY5320" fmla="*/ 3071890 h 4991619"/>
              <a:gd name="connsiteX5321" fmla="*/ 437207 w 6537372"/>
              <a:gd name="connsiteY5321" fmla="*/ 3065815 h 4991619"/>
              <a:gd name="connsiteX5322" fmla="*/ 469546 w 6537372"/>
              <a:gd name="connsiteY5322" fmla="*/ 3044018 h 4991619"/>
              <a:gd name="connsiteX5323" fmla="*/ 493489 w 6537372"/>
              <a:gd name="connsiteY5323" fmla="*/ 3045267 h 4991619"/>
              <a:gd name="connsiteX5324" fmla="*/ 518503 w 6537372"/>
              <a:gd name="connsiteY5324" fmla="*/ 2994883 h 4991619"/>
              <a:gd name="connsiteX5325" fmla="*/ 516389 w 6537372"/>
              <a:gd name="connsiteY5325" fmla="*/ 2995363 h 4991619"/>
              <a:gd name="connsiteX5326" fmla="*/ 520289 w 6537372"/>
              <a:gd name="connsiteY5326" fmla="*/ 2992561 h 4991619"/>
              <a:gd name="connsiteX5327" fmla="*/ 520825 w 6537372"/>
              <a:gd name="connsiteY5327" fmla="*/ 2991666 h 4991619"/>
              <a:gd name="connsiteX5328" fmla="*/ 527614 w 6537372"/>
              <a:gd name="connsiteY5328" fmla="*/ 2979338 h 4991619"/>
              <a:gd name="connsiteX5329" fmla="*/ 529401 w 6537372"/>
              <a:gd name="connsiteY5329" fmla="*/ 2971299 h 4991619"/>
              <a:gd name="connsiteX5330" fmla="*/ 526542 w 6537372"/>
              <a:gd name="connsiteY5330" fmla="*/ 2971655 h 4991619"/>
              <a:gd name="connsiteX5331" fmla="*/ 518323 w 6537372"/>
              <a:gd name="connsiteY5331" fmla="*/ 2985056 h 4991619"/>
              <a:gd name="connsiteX5332" fmla="*/ 516715 w 6537372"/>
              <a:gd name="connsiteY5332" fmla="*/ 2993095 h 4991619"/>
              <a:gd name="connsiteX5333" fmla="*/ 515192 w 6537372"/>
              <a:gd name="connsiteY5333" fmla="*/ 2995635 h 4991619"/>
              <a:gd name="connsiteX5334" fmla="*/ 514571 w 6537372"/>
              <a:gd name="connsiteY5334" fmla="*/ 2995776 h 4991619"/>
              <a:gd name="connsiteX5335" fmla="*/ 499741 w 6537372"/>
              <a:gd name="connsiteY5335" fmla="*/ 3018468 h 4991619"/>
              <a:gd name="connsiteX5336" fmla="*/ 491879 w 6537372"/>
              <a:gd name="connsiteY5336" fmla="*/ 3014179 h 4991619"/>
              <a:gd name="connsiteX5337" fmla="*/ 482054 w 6537372"/>
              <a:gd name="connsiteY5337" fmla="*/ 3030081 h 4991619"/>
              <a:gd name="connsiteX5338" fmla="*/ 479910 w 6537372"/>
              <a:gd name="connsiteY5338" fmla="*/ 3027758 h 4991619"/>
              <a:gd name="connsiteX5339" fmla="*/ 475978 w 6537372"/>
              <a:gd name="connsiteY5339" fmla="*/ 3032939 h 4991619"/>
              <a:gd name="connsiteX5340" fmla="*/ 471868 w 6537372"/>
              <a:gd name="connsiteY5340" fmla="*/ 3024363 h 4991619"/>
              <a:gd name="connsiteX5341" fmla="*/ 491345 w 6537372"/>
              <a:gd name="connsiteY5341" fmla="*/ 2981126 h 4991619"/>
              <a:gd name="connsiteX5342" fmla="*/ 494382 w 6537372"/>
              <a:gd name="connsiteY5342" fmla="*/ 2991131 h 4991619"/>
              <a:gd name="connsiteX5343" fmla="*/ 501529 w 6537372"/>
              <a:gd name="connsiteY5343" fmla="*/ 2976123 h 4991619"/>
              <a:gd name="connsiteX5344" fmla="*/ 518503 w 6537372"/>
              <a:gd name="connsiteY5344" fmla="*/ 2943426 h 4991619"/>
              <a:gd name="connsiteX5345" fmla="*/ 517252 w 6537372"/>
              <a:gd name="connsiteY5345" fmla="*/ 2942353 h 4991619"/>
              <a:gd name="connsiteX5346" fmla="*/ 521361 w 6537372"/>
              <a:gd name="connsiteY5346" fmla="*/ 2938423 h 4991619"/>
              <a:gd name="connsiteX5347" fmla="*/ 526899 w 6537372"/>
              <a:gd name="connsiteY5347" fmla="*/ 2927881 h 4991619"/>
              <a:gd name="connsiteX5348" fmla="*/ 529043 w 6537372"/>
              <a:gd name="connsiteY5348" fmla="*/ 2923415 h 4991619"/>
              <a:gd name="connsiteX5349" fmla="*/ 522254 w 6537372"/>
              <a:gd name="connsiteY5349" fmla="*/ 2921093 h 4991619"/>
              <a:gd name="connsiteX5350" fmla="*/ 513500 w 6537372"/>
              <a:gd name="connsiteY5350" fmla="*/ 2914302 h 4991619"/>
              <a:gd name="connsiteX5351" fmla="*/ 514929 w 6537372"/>
              <a:gd name="connsiteY5351" fmla="*/ 2913409 h 4991619"/>
              <a:gd name="connsiteX5352" fmla="*/ 514571 w 6537372"/>
              <a:gd name="connsiteY5352" fmla="*/ 2912873 h 4991619"/>
              <a:gd name="connsiteX5353" fmla="*/ 512964 w 6537372"/>
              <a:gd name="connsiteY5353" fmla="*/ 2914660 h 4991619"/>
              <a:gd name="connsiteX5354" fmla="*/ 513678 w 6537372"/>
              <a:gd name="connsiteY5354" fmla="*/ 2911622 h 4991619"/>
              <a:gd name="connsiteX5355" fmla="*/ 512785 w 6537372"/>
              <a:gd name="connsiteY5355" fmla="*/ 2910372 h 4991619"/>
              <a:gd name="connsiteX5356" fmla="*/ 514035 w 6537372"/>
              <a:gd name="connsiteY5356" fmla="*/ 2909836 h 4991619"/>
              <a:gd name="connsiteX5357" fmla="*/ 515644 w 6537372"/>
              <a:gd name="connsiteY5357" fmla="*/ 2901616 h 4991619"/>
              <a:gd name="connsiteX5358" fmla="*/ 500636 w 6537372"/>
              <a:gd name="connsiteY5358" fmla="*/ 2906799 h 4991619"/>
              <a:gd name="connsiteX5359" fmla="*/ 503851 w 6537372"/>
              <a:gd name="connsiteY5359" fmla="*/ 2899830 h 4991619"/>
              <a:gd name="connsiteX5360" fmla="*/ 502600 w 6537372"/>
              <a:gd name="connsiteY5360" fmla="*/ 2899830 h 4991619"/>
              <a:gd name="connsiteX5361" fmla="*/ 503673 w 6537372"/>
              <a:gd name="connsiteY5361" fmla="*/ 2894828 h 4991619"/>
              <a:gd name="connsiteX5362" fmla="*/ 508854 w 6537372"/>
              <a:gd name="connsiteY5362" fmla="*/ 2894828 h 4991619"/>
              <a:gd name="connsiteX5363" fmla="*/ 508854 w 6537372"/>
              <a:gd name="connsiteY5363" fmla="*/ 2896435 h 4991619"/>
              <a:gd name="connsiteX5364" fmla="*/ 509927 w 6537372"/>
              <a:gd name="connsiteY5364" fmla="*/ 2895720 h 4991619"/>
              <a:gd name="connsiteX5365" fmla="*/ 511891 w 6537372"/>
              <a:gd name="connsiteY5365" fmla="*/ 2886251 h 4991619"/>
              <a:gd name="connsiteX5366" fmla="*/ 497241 w 6537372"/>
              <a:gd name="connsiteY5366" fmla="*/ 2893220 h 4991619"/>
              <a:gd name="connsiteX5367" fmla="*/ 511534 w 6537372"/>
              <a:gd name="connsiteY5367" fmla="*/ 2881605 h 4991619"/>
              <a:gd name="connsiteX5368" fmla="*/ 508675 w 6537372"/>
              <a:gd name="connsiteY5368" fmla="*/ 2879641 h 4991619"/>
              <a:gd name="connsiteX5369" fmla="*/ 507602 w 6537372"/>
              <a:gd name="connsiteY5369" fmla="*/ 2876782 h 4991619"/>
              <a:gd name="connsiteX5370" fmla="*/ 513500 w 6537372"/>
              <a:gd name="connsiteY5370" fmla="*/ 2877139 h 4991619"/>
              <a:gd name="connsiteX5371" fmla="*/ 514393 w 6537372"/>
              <a:gd name="connsiteY5371" fmla="*/ 2879641 h 4991619"/>
              <a:gd name="connsiteX5372" fmla="*/ 513500 w 6537372"/>
              <a:gd name="connsiteY5372" fmla="*/ 2880356 h 4991619"/>
              <a:gd name="connsiteX5373" fmla="*/ 520289 w 6537372"/>
              <a:gd name="connsiteY5373" fmla="*/ 2877675 h 4991619"/>
              <a:gd name="connsiteX5374" fmla="*/ 524935 w 6537372"/>
              <a:gd name="connsiteY5374" fmla="*/ 2876246 h 4991619"/>
              <a:gd name="connsiteX5375" fmla="*/ 524935 w 6537372"/>
              <a:gd name="connsiteY5375" fmla="*/ 2868206 h 4991619"/>
              <a:gd name="connsiteX5376" fmla="*/ 528686 w 6537372"/>
              <a:gd name="connsiteY5376" fmla="*/ 2865347 h 4991619"/>
              <a:gd name="connsiteX5377" fmla="*/ 527972 w 6537372"/>
              <a:gd name="connsiteY5377" fmla="*/ 2861952 h 4991619"/>
              <a:gd name="connsiteX5378" fmla="*/ 521896 w 6537372"/>
              <a:gd name="connsiteY5378" fmla="*/ 2861952 h 4991619"/>
              <a:gd name="connsiteX5379" fmla="*/ 526721 w 6537372"/>
              <a:gd name="connsiteY5379" fmla="*/ 2850517 h 4991619"/>
              <a:gd name="connsiteX5380" fmla="*/ 526721 w 6537372"/>
              <a:gd name="connsiteY5380" fmla="*/ 2846229 h 4991619"/>
              <a:gd name="connsiteX5381" fmla="*/ 523684 w 6537372"/>
              <a:gd name="connsiteY5381" fmla="*/ 2850339 h 4991619"/>
              <a:gd name="connsiteX5382" fmla="*/ 520289 w 6537372"/>
              <a:gd name="connsiteY5382" fmla="*/ 2848551 h 4991619"/>
              <a:gd name="connsiteX5383" fmla="*/ 520110 w 6537372"/>
              <a:gd name="connsiteY5383" fmla="*/ 2848910 h 4991619"/>
              <a:gd name="connsiteX5384" fmla="*/ 508317 w 6537372"/>
              <a:gd name="connsiteY5384" fmla="*/ 2868026 h 4991619"/>
              <a:gd name="connsiteX5385" fmla="*/ 504566 w 6537372"/>
              <a:gd name="connsiteY5385" fmla="*/ 2862130 h 4991619"/>
              <a:gd name="connsiteX5386" fmla="*/ 509747 w 6537372"/>
              <a:gd name="connsiteY5386" fmla="*/ 2849266 h 4991619"/>
              <a:gd name="connsiteX5387" fmla="*/ 508139 w 6537372"/>
              <a:gd name="connsiteY5387" fmla="*/ 2848551 h 4991619"/>
              <a:gd name="connsiteX5388" fmla="*/ 501707 w 6537372"/>
              <a:gd name="connsiteY5388" fmla="*/ 2854627 h 4991619"/>
              <a:gd name="connsiteX5389" fmla="*/ 502600 w 6537372"/>
              <a:gd name="connsiteY5389" fmla="*/ 2851410 h 4991619"/>
              <a:gd name="connsiteX5390" fmla="*/ 501885 w 6537372"/>
              <a:gd name="connsiteY5390" fmla="*/ 2852125 h 4991619"/>
              <a:gd name="connsiteX5391" fmla="*/ 496704 w 6537372"/>
              <a:gd name="connsiteY5391" fmla="*/ 2856235 h 4991619"/>
              <a:gd name="connsiteX5392" fmla="*/ 495989 w 6537372"/>
              <a:gd name="connsiteY5392" fmla="*/ 2859272 h 4991619"/>
              <a:gd name="connsiteX5393" fmla="*/ 494560 w 6537372"/>
              <a:gd name="connsiteY5393" fmla="*/ 2869277 h 4991619"/>
              <a:gd name="connsiteX5394" fmla="*/ 482769 w 6537372"/>
              <a:gd name="connsiteY5394" fmla="*/ 2871780 h 4991619"/>
              <a:gd name="connsiteX5395" fmla="*/ 479730 w 6537372"/>
              <a:gd name="connsiteY5395" fmla="*/ 2854447 h 4991619"/>
              <a:gd name="connsiteX5396" fmla="*/ 477586 w 6537372"/>
              <a:gd name="connsiteY5396" fmla="*/ 2855876 h 4991619"/>
              <a:gd name="connsiteX5397" fmla="*/ 468475 w 6537372"/>
              <a:gd name="connsiteY5397" fmla="*/ 2863918 h 4991619"/>
              <a:gd name="connsiteX5398" fmla="*/ 471868 w 6537372"/>
              <a:gd name="connsiteY5398" fmla="*/ 2861774 h 4991619"/>
              <a:gd name="connsiteX5399" fmla="*/ 471154 w 6537372"/>
              <a:gd name="connsiteY5399" fmla="*/ 2874280 h 4991619"/>
              <a:gd name="connsiteX5400" fmla="*/ 465795 w 6537372"/>
              <a:gd name="connsiteY5400" fmla="*/ 2886073 h 4991619"/>
              <a:gd name="connsiteX5401" fmla="*/ 476693 w 6537372"/>
              <a:gd name="connsiteY5401" fmla="*/ 2884464 h 4991619"/>
              <a:gd name="connsiteX5402" fmla="*/ 465973 w 6537372"/>
              <a:gd name="connsiteY5402" fmla="*/ 2892684 h 4991619"/>
              <a:gd name="connsiteX5403" fmla="*/ 458648 w 6537372"/>
              <a:gd name="connsiteY5403" fmla="*/ 2901974 h 4991619"/>
              <a:gd name="connsiteX5404" fmla="*/ 459004 w 6537372"/>
              <a:gd name="connsiteY5404" fmla="*/ 2908228 h 4991619"/>
              <a:gd name="connsiteX5405" fmla="*/ 456325 w 6537372"/>
              <a:gd name="connsiteY5405" fmla="*/ 2910907 h 4991619"/>
              <a:gd name="connsiteX5406" fmla="*/ 460614 w 6537372"/>
              <a:gd name="connsiteY5406" fmla="*/ 2912695 h 4991619"/>
              <a:gd name="connsiteX5407" fmla="*/ 461685 w 6537372"/>
              <a:gd name="connsiteY5407" fmla="*/ 2912336 h 4991619"/>
              <a:gd name="connsiteX5408" fmla="*/ 460792 w 6537372"/>
              <a:gd name="connsiteY5408" fmla="*/ 2912873 h 4991619"/>
              <a:gd name="connsiteX5409" fmla="*/ 461328 w 6537372"/>
              <a:gd name="connsiteY5409" fmla="*/ 2913051 h 4991619"/>
              <a:gd name="connsiteX5410" fmla="*/ 461328 w 6537372"/>
              <a:gd name="connsiteY5410" fmla="*/ 2918412 h 4991619"/>
              <a:gd name="connsiteX5411" fmla="*/ 470975 w 6537372"/>
              <a:gd name="connsiteY5411" fmla="*/ 2914124 h 4991619"/>
              <a:gd name="connsiteX5412" fmla="*/ 462043 w 6537372"/>
              <a:gd name="connsiteY5412" fmla="*/ 2930203 h 4991619"/>
              <a:gd name="connsiteX5413" fmla="*/ 462578 w 6537372"/>
              <a:gd name="connsiteY5413" fmla="*/ 2939138 h 4991619"/>
              <a:gd name="connsiteX5414" fmla="*/ 457755 w 6537372"/>
              <a:gd name="connsiteY5414" fmla="*/ 2942889 h 4991619"/>
              <a:gd name="connsiteX5415" fmla="*/ 463650 w 6537372"/>
              <a:gd name="connsiteY5415" fmla="*/ 2943248 h 4991619"/>
              <a:gd name="connsiteX5416" fmla="*/ 455431 w 6537372"/>
              <a:gd name="connsiteY5416" fmla="*/ 2951287 h 4991619"/>
              <a:gd name="connsiteX5417" fmla="*/ 449535 w 6537372"/>
              <a:gd name="connsiteY5417" fmla="*/ 2948607 h 4991619"/>
              <a:gd name="connsiteX5418" fmla="*/ 436849 w 6537372"/>
              <a:gd name="connsiteY5418" fmla="*/ 2950929 h 4991619"/>
              <a:gd name="connsiteX5419" fmla="*/ 414874 w 6537372"/>
              <a:gd name="connsiteY5419" fmla="*/ 2971835 h 4991619"/>
              <a:gd name="connsiteX5420" fmla="*/ 407905 w 6537372"/>
              <a:gd name="connsiteY5420" fmla="*/ 2960042 h 4991619"/>
              <a:gd name="connsiteX5421" fmla="*/ 407547 w 6537372"/>
              <a:gd name="connsiteY5421" fmla="*/ 2959864 h 4991619"/>
              <a:gd name="connsiteX5422" fmla="*/ 396292 w 6537372"/>
              <a:gd name="connsiteY5422" fmla="*/ 2989522 h 4991619"/>
              <a:gd name="connsiteX5423" fmla="*/ 392004 w 6537372"/>
              <a:gd name="connsiteY5423" fmla="*/ 2980768 h 4991619"/>
              <a:gd name="connsiteX5424" fmla="*/ 394505 w 6537372"/>
              <a:gd name="connsiteY5424" fmla="*/ 2973264 h 4991619"/>
              <a:gd name="connsiteX5425" fmla="*/ 393790 w 6537372"/>
              <a:gd name="connsiteY5425" fmla="*/ 2973979 h 4991619"/>
              <a:gd name="connsiteX5426" fmla="*/ 388965 w 6537372"/>
              <a:gd name="connsiteY5426" fmla="*/ 2982197 h 4991619"/>
              <a:gd name="connsiteX5427" fmla="*/ 381640 w 6537372"/>
              <a:gd name="connsiteY5427" fmla="*/ 2988987 h 4991619"/>
              <a:gd name="connsiteX5428" fmla="*/ 380033 w 6537372"/>
              <a:gd name="connsiteY5428" fmla="*/ 2986663 h 4991619"/>
              <a:gd name="connsiteX5429" fmla="*/ 378425 w 6537372"/>
              <a:gd name="connsiteY5429" fmla="*/ 2994347 h 4991619"/>
              <a:gd name="connsiteX5430" fmla="*/ 403795 w 6537372"/>
              <a:gd name="connsiteY5430" fmla="*/ 2986307 h 4991619"/>
              <a:gd name="connsiteX5431" fmla="*/ 451857 w 6537372"/>
              <a:gd name="connsiteY5431" fmla="*/ 2967189 h 4991619"/>
              <a:gd name="connsiteX5432" fmla="*/ 456325 w 6537372"/>
              <a:gd name="connsiteY5432" fmla="*/ 2967010 h 4991619"/>
              <a:gd name="connsiteX5433" fmla="*/ 472405 w 6537372"/>
              <a:gd name="connsiteY5433" fmla="*/ 2964330 h 4991619"/>
              <a:gd name="connsiteX5434" fmla="*/ 474549 w 6537372"/>
              <a:gd name="connsiteY5434" fmla="*/ 2953253 h 4991619"/>
              <a:gd name="connsiteX5435" fmla="*/ 477229 w 6537372"/>
              <a:gd name="connsiteY5435" fmla="*/ 2969691 h 4991619"/>
              <a:gd name="connsiteX5436" fmla="*/ 487591 w 6537372"/>
              <a:gd name="connsiteY5436" fmla="*/ 2964866 h 4991619"/>
              <a:gd name="connsiteX5437" fmla="*/ 477051 w 6537372"/>
              <a:gd name="connsiteY5437" fmla="*/ 2972906 h 4991619"/>
              <a:gd name="connsiteX5438" fmla="*/ 476693 w 6537372"/>
              <a:gd name="connsiteY5438" fmla="*/ 2973084 h 4991619"/>
              <a:gd name="connsiteX5439" fmla="*/ 476693 w 6537372"/>
              <a:gd name="connsiteY5439" fmla="*/ 2972906 h 4991619"/>
              <a:gd name="connsiteX5440" fmla="*/ 468653 w 6537372"/>
              <a:gd name="connsiteY5440" fmla="*/ 2973799 h 4991619"/>
              <a:gd name="connsiteX5441" fmla="*/ 462936 w 6537372"/>
              <a:gd name="connsiteY5441" fmla="*/ 2977372 h 4991619"/>
              <a:gd name="connsiteX5442" fmla="*/ 450250 w 6537372"/>
              <a:gd name="connsiteY5442" fmla="*/ 2982375 h 4991619"/>
              <a:gd name="connsiteX5443" fmla="*/ 448642 w 6537372"/>
              <a:gd name="connsiteY5443" fmla="*/ 2983985 h 4991619"/>
              <a:gd name="connsiteX5444" fmla="*/ 448642 w 6537372"/>
              <a:gd name="connsiteY5444" fmla="*/ 2985414 h 4991619"/>
              <a:gd name="connsiteX5445" fmla="*/ 456682 w 6537372"/>
              <a:gd name="connsiteY5445" fmla="*/ 2987022 h 4991619"/>
              <a:gd name="connsiteX5446" fmla="*/ 458826 w 6537372"/>
              <a:gd name="connsiteY5446" fmla="*/ 2991666 h 4991619"/>
              <a:gd name="connsiteX5447" fmla="*/ 438458 w 6537372"/>
              <a:gd name="connsiteY5447" fmla="*/ 3027758 h 4991619"/>
              <a:gd name="connsiteX5448" fmla="*/ 443281 w 6537372"/>
              <a:gd name="connsiteY5448" fmla="*/ 3029010 h 4991619"/>
              <a:gd name="connsiteX5449" fmla="*/ 443103 w 6537372"/>
              <a:gd name="connsiteY5449" fmla="*/ 3030795 h 4991619"/>
              <a:gd name="connsiteX5450" fmla="*/ 436493 w 6537372"/>
              <a:gd name="connsiteY5450" fmla="*/ 3030081 h 4991619"/>
              <a:gd name="connsiteX5451" fmla="*/ 436671 w 6537372"/>
              <a:gd name="connsiteY5451" fmla="*/ 3028829 h 4991619"/>
              <a:gd name="connsiteX5452" fmla="*/ 432561 w 6537372"/>
              <a:gd name="connsiteY5452" fmla="*/ 3028295 h 4991619"/>
              <a:gd name="connsiteX5453" fmla="*/ 445247 w 6537372"/>
              <a:gd name="connsiteY5453" fmla="*/ 2987558 h 4991619"/>
              <a:gd name="connsiteX5454" fmla="*/ 415767 w 6537372"/>
              <a:gd name="connsiteY5454" fmla="*/ 2997383 h 4991619"/>
              <a:gd name="connsiteX5455" fmla="*/ 399866 w 6537372"/>
              <a:gd name="connsiteY5455" fmla="*/ 3007747 h 4991619"/>
              <a:gd name="connsiteX5456" fmla="*/ 396649 w 6537372"/>
              <a:gd name="connsiteY5456" fmla="*/ 3009177 h 4991619"/>
              <a:gd name="connsiteX5457" fmla="*/ 377530 w 6537372"/>
              <a:gd name="connsiteY5457" fmla="*/ 3014536 h 4991619"/>
              <a:gd name="connsiteX5458" fmla="*/ 377889 w 6537372"/>
              <a:gd name="connsiteY5458" fmla="*/ 3019182 h 4991619"/>
              <a:gd name="connsiteX5459" fmla="*/ 379318 w 6537372"/>
              <a:gd name="connsiteY5459" fmla="*/ 3017753 h 4991619"/>
              <a:gd name="connsiteX5460" fmla="*/ 378603 w 6537372"/>
              <a:gd name="connsiteY5460" fmla="*/ 3024185 h 4991619"/>
              <a:gd name="connsiteX5461" fmla="*/ 378603 w 6537372"/>
              <a:gd name="connsiteY5461" fmla="*/ 3025078 h 4991619"/>
              <a:gd name="connsiteX5462" fmla="*/ 378425 w 6537372"/>
              <a:gd name="connsiteY5462" fmla="*/ 3025078 h 4991619"/>
              <a:gd name="connsiteX5463" fmla="*/ 377530 w 6537372"/>
              <a:gd name="connsiteY5463" fmla="*/ 3032583 h 4991619"/>
              <a:gd name="connsiteX5464" fmla="*/ 367168 w 6537372"/>
              <a:gd name="connsiteY5464" fmla="*/ 3032583 h 4991619"/>
              <a:gd name="connsiteX5465" fmla="*/ 373422 w 6537372"/>
              <a:gd name="connsiteY5465" fmla="*/ 3022577 h 4991619"/>
              <a:gd name="connsiteX5466" fmla="*/ 365739 w 6537372"/>
              <a:gd name="connsiteY5466" fmla="*/ 3019004 h 4991619"/>
              <a:gd name="connsiteX5467" fmla="*/ 354841 w 6537372"/>
              <a:gd name="connsiteY5467" fmla="*/ 3025614 h 4991619"/>
              <a:gd name="connsiteX5468" fmla="*/ 341618 w 6537372"/>
              <a:gd name="connsiteY5468" fmla="*/ 3038300 h 4991619"/>
              <a:gd name="connsiteX5469" fmla="*/ 333042 w 6537372"/>
              <a:gd name="connsiteY5469" fmla="*/ 3039550 h 4991619"/>
              <a:gd name="connsiteX5470" fmla="*/ 325717 w 6537372"/>
              <a:gd name="connsiteY5470" fmla="*/ 3045267 h 4991619"/>
              <a:gd name="connsiteX5471" fmla="*/ 321965 w 6537372"/>
              <a:gd name="connsiteY5471" fmla="*/ 3052594 h 4991619"/>
              <a:gd name="connsiteX5472" fmla="*/ 318926 w 6537372"/>
              <a:gd name="connsiteY5472" fmla="*/ 3058490 h 4991619"/>
              <a:gd name="connsiteX5473" fmla="*/ 312853 w 6537372"/>
              <a:gd name="connsiteY5473" fmla="*/ 3071354 h 4991619"/>
              <a:gd name="connsiteX5474" fmla="*/ 308386 w 6537372"/>
              <a:gd name="connsiteY5474" fmla="*/ 3081896 h 4991619"/>
              <a:gd name="connsiteX5475" fmla="*/ 310887 w 6537372"/>
              <a:gd name="connsiteY5475" fmla="*/ 3086004 h 4991619"/>
              <a:gd name="connsiteX5476" fmla="*/ 306420 w 6537372"/>
              <a:gd name="connsiteY5476" fmla="*/ 3087077 h 4991619"/>
              <a:gd name="connsiteX5477" fmla="*/ 301954 w 6537372"/>
              <a:gd name="connsiteY5477" fmla="*/ 3099048 h 4991619"/>
              <a:gd name="connsiteX5478" fmla="*/ 302847 w 6537372"/>
              <a:gd name="connsiteY5478" fmla="*/ 3086184 h 4991619"/>
              <a:gd name="connsiteX5479" fmla="*/ 298381 w 6537372"/>
              <a:gd name="connsiteY5479" fmla="*/ 3090114 h 4991619"/>
              <a:gd name="connsiteX5480" fmla="*/ 290519 w 6537372"/>
              <a:gd name="connsiteY5480" fmla="*/ 3085289 h 4991619"/>
              <a:gd name="connsiteX5481" fmla="*/ 265325 w 6537372"/>
              <a:gd name="connsiteY5481" fmla="*/ 3094580 h 4991619"/>
              <a:gd name="connsiteX5482" fmla="*/ 250317 w 6537372"/>
              <a:gd name="connsiteY5482" fmla="*/ 3095475 h 4991619"/>
              <a:gd name="connsiteX5483" fmla="*/ 248531 w 6537372"/>
              <a:gd name="connsiteY5483" fmla="*/ 3108696 h 4991619"/>
              <a:gd name="connsiteX5484" fmla="*/ 241741 w 6537372"/>
              <a:gd name="connsiteY5484" fmla="*/ 3111198 h 4991619"/>
              <a:gd name="connsiteX5485" fmla="*/ 245136 w 6537372"/>
              <a:gd name="connsiteY5485" fmla="*/ 3104944 h 4991619"/>
              <a:gd name="connsiteX5486" fmla="*/ 243170 w 6537372"/>
              <a:gd name="connsiteY5486" fmla="*/ 3104051 h 4991619"/>
              <a:gd name="connsiteX5487" fmla="*/ 214048 w 6537372"/>
              <a:gd name="connsiteY5487" fmla="*/ 3114591 h 4991619"/>
              <a:gd name="connsiteX5488" fmla="*/ 209938 w 6537372"/>
              <a:gd name="connsiteY5488" fmla="*/ 3118523 h 4991619"/>
              <a:gd name="connsiteX5489" fmla="*/ 196001 w 6537372"/>
              <a:gd name="connsiteY5489" fmla="*/ 3131924 h 4991619"/>
              <a:gd name="connsiteX5490" fmla="*/ 190106 w 6537372"/>
              <a:gd name="connsiteY5490" fmla="*/ 3120131 h 4991619"/>
              <a:gd name="connsiteX5491" fmla="*/ 167950 w 6537372"/>
              <a:gd name="connsiteY5491" fmla="*/ 3131744 h 4991619"/>
              <a:gd name="connsiteX5492" fmla="*/ 158303 w 6537372"/>
              <a:gd name="connsiteY5492" fmla="*/ 3133353 h 4991619"/>
              <a:gd name="connsiteX5493" fmla="*/ 164555 w 6537372"/>
              <a:gd name="connsiteY5493" fmla="*/ 3124240 h 4991619"/>
              <a:gd name="connsiteX5494" fmla="*/ 157230 w 6537372"/>
              <a:gd name="connsiteY5494" fmla="*/ 3119774 h 4991619"/>
              <a:gd name="connsiteX5495" fmla="*/ 169738 w 6537372"/>
              <a:gd name="connsiteY5495" fmla="*/ 3111913 h 4991619"/>
              <a:gd name="connsiteX5496" fmla="*/ 152049 w 6537372"/>
              <a:gd name="connsiteY5496" fmla="*/ 3118523 h 4991619"/>
              <a:gd name="connsiteX5497" fmla="*/ 138112 w 6537372"/>
              <a:gd name="connsiteY5497" fmla="*/ 3125670 h 4991619"/>
              <a:gd name="connsiteX5498" fmla="*/ 134719 w 6537372"/>
              <a:gd name="connsiteY5498" fmla="*/ 3124777 h 4991619"/>
              <a:gd name="connsiteX5499" fmla="*/ 120603 w 6537372"/>
              <a:gd name="connsiteY5499" fmla="*/ 3119774 h 4991619"/>
              <a:gd name="connsiteX5500" fmla="*/ 120067 w 6537372"/>
              <a:gd name="connsiteY5500" fmla="*/ 3103336 h 4991619"/>
              <a:gd name="connsiteX5501" fmla="*/ 120067 w 6537372"/>
              <a:gd name="connsiteY5501" fmla="*/ 3090650 h 4991619"/>
              <a:gd name="connsiteX5502" fmla="*/ 113813 w 6537372"/>
              <a:gd name="connsiteY5502" fmla="*/ 3086004 h 4991619"/>
              <a:gd name="connsiteX5503" fmla="*/ 114886 w 6537372"/>
              <a:gd name="connsiteY5503" fmla="*/ 3099763 h 4991619"/>
              <a:gd name="connsiteX5504" fmla="*/ 112742 w 6537372"/>
              <a:gd name="connsiteY5504" fmla="*/ 3100298 h 4991619"/>
              <a:gd name="connsiteX5505" fmla="*/ 109705 w 6537372"/>
              <a:gd name="connsiteY5505" fmla="*/ 3092973 h 4991619"/>
              <a:gd name="connsiteX5506" fmla="*/ 97375 w 6537372"/>
              <a:gd name="connsiteY5506" fmla="*/ 3100656 h 4991619"/>
              <a:gd name="connsiteX5507" fmla="*/ 102378 w 6537372"/>
              <a:gd name="connsiteY5507" fmla="*/ 3115306 h 4991619"/>
              <a:gd name="connsiteX5508" fmla="*/ 119530 w 6537372"/>
              <a:gd name="connsiteY5508" fmla="*/ 3123348 h 4991619"/>
              <a:gd name="connsiteX5509" fmla="*/ 70576 w 6537372"/>
              <a:gd name="connsiteY5509" fmla="*/ 3151935 h 4991619"/>
              <a:gd name="connsiteX5510" fmla="*/ 77544 w 6537372"/>
              <a:gd name="connsiteY5510" fmla="*/ 3132817 h 4991619"/>
              <a:gd name="connsiteX5511" fmla="*/ 81296 w 6537372"/>
              <a:gd name="connsiteY5511" fmla="*/ 3140320 h 4991619"/>
              <a:gd name="connsiteX5512" fmla="*/ 87013 w 6537372"/>
              <a:gd name="connsiteY5512" fmla="*/ 3127636 h 4991619"/>
              <a:gd name="connsiteX5513" fmla="*/ 95231 w 6537372"/>
              <a:gd name="connsiteY5513" fmla="*/ 3122453 h 4991619"/>
              <a:gd name="connsiteX5514" fmla="*/ 90408 w 6537372"/>
              <a:gd name="connsiteY5514" fmla="*/ 3114413 h 4991619"/>
              <a:gd name="connsiteX5515" fmla="*/ 90765 w 6537372"/>
              <a:gd name="connsiteY5515" fmla="*/ 3104586 h 4991619"/>
              <a:gd name="connsiteX5516" fmla="*/ 70576 w 6537372"/>
              <a:gd name="connsiteY5516" fmla="*/ 3110840 h 4991619"/>
              <a:gd name="connsiteX5517" fmla="*/ 69861 w 6537372"/>
              <a:gd name="connsiteY5517" fmla="*/ 3098690 h 4991619"/>
              <a:gd name="connsiteX5518" fmla="*/ 43418 w 6537372"/>
              <a:gd name="connsiteY5518" fmla="*/ 3112091 h 4991619"/>
              <a:gd name="connsiteX5519" fmla="*/ 16260 w 6537372"/>
              <a:gd name="connsiteY5519" fmla="*/ 3126384 h 4991619"/>
              <a:gd name="connsiteX5520" fmla="*/ 20904 w 6537372"/>
              <a:gd name="connsiteY5520" fmla="*/ 3118165 h 4991619"/>
              <a:gd name="connsiteX5521" fmla="*/ 62892 w 6537372"/>
              <a:gd name="connsiteY5521" fmla="*/ 3090829 h 4991619"/>
              <a:gd name="connsiteX5522" fmla="*/ 64322 w 6537372"/>
              <a:gd name="connsiteY5522" fmla="*/ 3087792 h 4991619"/>
              <a:gd name="connsiteX5523" fmla="*/ 47528 w 6537372"/>
              <a:gd name="connsiteY5523" fmla="*/ 3089043 h 4991619"/>
              <a:gd name="connsiteX5524" fmla="*/ 46813 w 6537372"/>
              <a:gd name="connsiteY5524" fmla="*/ 3087613 h 4991619"/>
              <a:gd name="connsiteX5525" fmla="*/ 72898 w 6537372"/>
              <a:gd name="connsiteY5525" fmla="*/ 3073676 h 4991619"/>
              <a:gd name="connsiteX5526" fmla="*/ 75578 w 6537372"/>
              <a:gd name="connsiteY5526" fmla="*/ 3083860 h 4991619"/>
              <a:gd name="connsiteX5527" fmla="*/ 84333 w 6537372"/>
              <a:gd name="connsiteY5527" fmla="*/ 3083860 h 4991619"/>
              <a:gd name="connsiteX5528" fmla="*/ 80581 w 6537372"/>
              <a:gd name="connsiteY5528" fmla="*/ 3076357 h 4991619"/>
              <a:gd name="connsiteX5529" fmla="*/ 95768 w 6537372"/>
              <a:gd name="connsiteY5529" fmla="*/ 3057239 h 4991619"/>
              <a:gd name="connsiteX5530" fmla="*/ 74685 w 6537372"/>
              <a:gd name="connsiteY5530" fmla="*/ 3064744 h 4991619"/>
              <a:gd name="connsiteX5531" fmla="*/ 55924 w 6537372"/>
              <a:gd name="connsiteY5531" fmla="*/ 3074034 h 4991619"/>
              <a:gd name="connsiteX5532" fmla="*/ 59141 w 6537372"/>
              <a:gd name="connsiteY5532" fmla="*/ 3068673 h 4991619"/>
              <a:gd name="connsiteX5533" fmla="*/ 71112 w 6537372"/>
              <a:gd name="connsiteY5533" fmla="*/ 3056882 h 4991619"/>
              <a:gd name="connsiteX5534" fmla="*/ 82367 w 6537372"/>
              <a:gd name="connsiteY5534" fmla="*/ 3050985 h 4991619"/>
              <a:gd name="connsiteX5535" fmla="*/ 87013 w 6537372"/>
              <a:gd name="connsiteY5535" fmla="*/ 3050092 h 4991619"/>
              <a:gd name="connsiteX5536" fmla="*/ 107559 w 6537372"/>
              <a:gd name="connsiteY5536" fmla="*/ 3051879 h 4991619"/>
              <a:gd name="connsiteX5537" fmla="*/ 114528 w 6537372"/>
              <a:gd name="connsiteY5537" fmla="*/ 3050985 h 4991619"/>
              <a:gd name="connsiteX5538" fmla="*/ 109883 w 6537372"/>
              <a:gd name="connsiteY5538" fmla="*/ 3046162 h 4991619"/>
              <a:gd name="connsiteX5539" fmla="*/ 110954 w 6537372"/>
              <a:gd name="connsiteY5539" fmla="*/ 3034012 h 4991619"/>
              <a:gd name="connsiteX5540" fmla="*/ 126857 w 6537372"/>
              <a:gd name="connsiteY5540" fmla="*/ 3023648 h 4991619"/>
              <a:gd name="connsiteX5541" fmla="*/ 139900 w 6537372"/>
              <a:gd name="connsiteY5541" fmla="*/ 3018109 h 4991619"/>
              <a:gd name="connsiteX5542" fmla="*/ 150798 w 6537372"/>
              <a:gd name="connsiteY5542" fmla="*/ 3009533 h 4991619"/>
              <a:gd name="connsiteX5543" fmla="*/ 157589 w 6537372"/>
              <a:gd name="connsiteY5543" fmla="*/ 3000242 h 4991619"/>
              <a:gd name="connsiteX5544" fmla="*/ 155979 w 6537372"/>
              <a:gd name="connsiteY5544" fmla="*/ 2998278 h 4991619"/>
              <a:gd name="connsiteX5545" fmla="*/ 114886 w 6537372"/>
              <a:gd name="connsiteY5545" fmla="*/ 3020612 h 4991619"/>
              <a:gd name="connsiteX5546" fmla="*/ 110239 w 6537372"/>
              <a:gd name="connsiteY5546" fmla="*/ 3015609 h 4991619"/>
              <a:gd name="connsiteX5547" fmla="*/ 101307 w 6537372"/>
              <a:gd name="connsiteY5547" fmla="*/ 3024007 h 4991619"/>
              <a:gd name="connsiteX5548" fmla="*/ 91301 w 6537372"/>
              <a:gd name="connsiteY5548" fmla="*/ 3017575 h 4991619"/>
              <a:gd name="connsiteX5549" fmla="*/ 123104 w 6537372"/>
              <a:gd name="connsiteY5549" fmla="*/ 2993275 h 4991619"/>
              <a:gd name="connsiteX5550" fmla="*/ 168129 w 6537372"/>
              <a:gd name="connsiteY5550" fmla="*/ 2960756 h 4991619"/>
              <a:gd name="connsiteX5551" fmla="*/ 215478 w 6537372"/>
              <a:gd name="connsiteY5551" fmla="*/ 2945748 h 4991619"/>
              <a:gd name="connsiteX5552" fmla="*/ 227627 w 6537372"/>
              <a:gd name="connsiteY5552" fmla="*/ 2939853 h 4991619"/>
              <a:gd name="connsiteX5553" fmla="*/ 264432 w 6537372"/>
              <a:gd name="connsiteY5553" fmla="*/ 2910014 h 4991619"/>
              <a:gd name="connsiteX5554" fmla="*/ 286946 w 6537372"/>
              <a:gd name="connsiteY5554" fmla="*/ 2898937 h 4991619"/>
              <a:gd name="connsiteX5555" fmla="*/ 283729 w 6537372"/>
              <a:gd name="connsiteY5555" fmla="*/ 2892505 h 4991619"/>
              <a:gd name="connsiteX5556" fmla="*/ 280514 w 6537372"/>
              <a:gd name="connsiteY5556" fmla="*/ 2895364 h 4991619"/>
              <a:gd name="connsiteX5557" fmla="*/ 271223 w 6537372"/>
              <a:gd name="connsiteY5557" fmla="*/ 2900901 h 4991619"/>
              <a:gd name="connsiteX5558" fmla="*/ 238882 w 6537372"/>
              <a:gd name="connsiteY5558" fmla="*/ 2913588 h 4991619"/>
              <a:gd name="connsiteX5559" fmla="*/ 229057 w 6537372"/>
              <a:gd name="connsiteY5559" fmla="*/ 2935921 h 4991619"/>
              <a:gd name="connsiteX5560" fmla="*/ 229057 w 6537372"/>
              <a:gd name="connsiteY5560" fmla="*/ 2916268 h 4991619"/>
              <a:gd name="connsiteX5561" fmla="*/ 227806 w 6537372"/>
              <a:gd name="connsiteY5561" fmla="*/ 2916268 h 4991619"/>
              <a:gd name="connsiteX5562" fmla="*/ 230842 w 6537372"/>
              <a:gd name="connsiteY5562" fmla="*/ 2910372 h 4991619"/>
              <a:gd name="connsiteX5563" fmla="*/ 237633 w 6537372"/>
              <a:gd name="connsiteY5563" fmla="*/ 2901974 h 4991619"/>
              <a:gd name="connsiteX5564" fmla="*/ 238348 w 6537372"/>
              <a:gd name="connsiteY5564" fmla="*/ 2905548 h 4991619"/>
              <a:gd name="connsiteX5565" fmla="*/ 244958 w 6537372"/>
              <a:gd name="connsiteY5565" fmla="*/ 2899116 h 4991619"/>
              <a:gd name="connsiteX5566" fmla="*/ 243170 w 6537372"/>
              <a:gd name="connsiteY5566" fmla="*/ 2894113 h 4991619"/>
              <a:gd name="connsiteX5567" fmla="*/ 243170 w 6537372"/>
              <a:gd name="connsiteY5567" fmla="*/ 2896257 h 4991619"/>
              <a:gd name="connsiteX5568" fmla="*/ 238167 w 6537372"/>
              <a:gd name="connsiteY5568" fmla="*/ 2900723 h 4991619"/>
              <a:gd name="connsiteX5569" fmla="*/ 237275 w 6537372"/>
              <a:gd name="connsiteY5569" fmla="*/ 2893935 h 4991619"/>
              <a:gd name="connsiteX5570" fmla="*/ 241563 w 6537372"/>
              <a:gd name="connsiteY5570" fmla="*/ 2889467 h 4991619"/>
              <a:gd name="connsiteX5571" fmla="*/ 241026 w 6537372"/>
              <a:gd name="connsiteY5571" fmla="*/ 2887859 h 4991619"/>
              <a:gd name="connsiteX5572" fmla="*/ 234238 w 6537372"/>
              <a:gd name="connsiteY5572" fmla="*/ 2888217 h 4991619"/>
              <a:gd name="connsiteX5573" fmla="*/ 249246 w 6537372"/>
              <a:gd name="connsiteY5573" fmla="*/ 2878032 h 4991619"/>
              <a:gd name="connsiteX5574" fmla="*/ 242099 w 6537372"/>
              <a:gd name="connsiteY5574" fmla="*/ 2870350 h 4991619"/>
              <a:gd name="connsiteX5575" fmla="*/ 240670 w 6537372"/>
              <a:gd name="connsiteY5575" fmla="*/ 2864453 h 4991619"/>
              <a:gd name="connsiteX5576" fmla="*/ 242814 w 6537372"/>
              <a:gd name="connsiteY5576" fmla="*/ 2848195 h 4991619"/>
              <a:gd name="connsiteX5577" fmla="*/ 227627 w 6537372"/>
              <a:gd name="connsiteY5577" fmla="*/ 2853018 h 4991619"/>
              <a:gd name="connsiteX5578" fmla="*/ 202433 w 6537372"/>
              <a:gd name="connsiteY5578" fmla="*/ 2868921 h 4991619"/>
              <a:gd name="connsiteX5579" fmla="*/ 185639 w 6537372"/>
              <a:gd name="connsiteY5579" fmla="*/ 2885893 h 4991619"/>
              <a:gd name="connsiteX5580" fmla="*/ 175634 w 6537372"/>
              <a:gd name="connsiteY5580" fmla="*/ 2892684 h 4991619"/>
              <a:gd name="connsiteX5581" fmla="*/ 117386 w 6537372"/>
              <a:gd name="connsiteY5581" fmla="*/ 2911087 h 4991619"/>
              <a:gd name="connsiteX5582" fmla="*/ 78615 w 6537372"/>
              <a:gd name="connsiteY5582" fmla="*/ 2910551 h 4991619"/>
              <a:gd name="connsiteX5583" fmla="*/ 63785 w 6537372"/>
              <a:gd name="connsiteY5583" fmla="*/ 2891791 h 4991619"/>
              <a:gd name="connsiteX5584" fmla="*/ 50921 w 6537372"/>
              <a:gd name="connsiteY5584" fmla="*/ 2877675 h 4991619"/>
              <a:gd name="connsiteX5585" fmla="*/ 43774 w 6537372"/>
              <a:gd name="connsiteY5585" fmla="*/ 2864989 h 4991619"/>
              <a:gd name="connsiteX5586" fmla="*/ 31805 w 6537372"/>
              <a:gd name="connsiteY5586" fmla="*/ 2831399 h 4991619"/>
              <a:gd name="connsiteX5587" fmla="*/ 4288 w 6537372"/>
              <a:gd name="connsiteY5587" fmla="*/ 2780120 h 4991619"/>
              <a:gd name="connsiteX5588" fmla="*/ 0 w 6537372"/>
              <a:gd name="connsiteY5588" fmla="*/ 2768685 h 4991619"/>
              <a:gd name="connsiteX5589" fmla="*/ 15723 w 6537372"/>
              <a:gd name="connsiteY5589" fmla="*/ 2748318 h 4991619"/>
              <a:gd name="connsiteX5590" fmla="*/ 3037 w 6537372"/>
              <a:gd name="connsiteY5590" fmla="*/ 2740098 h 4991619"/>
              <a:gd name="connsiteX5591" fmla="*/ 7862 w 6537372"/>
              <a:gd name="connsiteY5591" fmla="*/ 2714906 h 4991619"/>
              <a:gd name="connsiteX5592" fmla="*/ 21262 w 6537372"/>
              <a:gd name="connsiteY5592" fmla="*/ 2681316 h 4991619"/>
              <a:gd name="connsiteX5593" fmla="*/ 25372 w 6537372"/>
              <a:gd name="connsiteY5593" fmla="*/ 2672562 h 4991619"/>
              <a:gd name="connsiteX5594" fmla="*/ 57353 w 6537372"/>
              <a:gd name="connsiteY5594" fmla="*/ 2627178 h 4991619"/>
              <a:gd name="connsiteX5595" fmla="*/ 70932 w 6537372"/>
              <a:gd name="connsiteY5595" fmla="*/ 2607167 h 4991619"/>
              <a:gd name="connsiteX5596" fmla="*/ 112027 w 6537372"/>
              <a:gd name="connsiteY5596" fmla="*/ 2547134 h 4991619"/>
              <a:gd name="connsiteX5597" fmla="*/ 135612 w 6537372"/>
              <a:gd name="connsiteY5597" fmla="*/ 2513366 h 4991619"/>
              <a:gd name="connsiteX5598" fmla="*/ 236916 w 6537372"/>
              <a:gd name="connsiteY5598" fmla="*/ 2436180 h 4991619"/>
              <a:gd name="connsiteX5599" fmla="*/ 294986 w 6537372"/>
              <a:gd name="connsiteY5599" fmla="*/ 2355599 h 4991619"/>
              <a:gd name="connsiteX5600" fmla="*/ 319107 w 6537372"/>
              <a:gd name="connsiteY5600" fmla="*/ 2325405 h 4991619"/>
              <a:gd name="connsiteX5601" fmla="*/ 335008 w 6537372"/>
              <a:gd name="connsiteY5601" fmla="*/ 2304142 h 4991619"/>
              <a:gd name="connsiteX5602" fmla="*/ 342869 w 6537372"/>
              <a:gd name="connsiteY5602" fmla="*/ 2292173 h 4991619"/>
              <a:gd name="connsiteX5603" fmla="*/ 375745 w 6537372"/>
              <a:gd name="connsiteY5603" fmla="*/ 2254473 h 4991619"/>
              <a:gd name="connsiteX5604" fmla="*/ 393790 w 6537372"/>
              <a:gd name="connsiteY5604" fmla="*/ 2232139 h 4991619"/>
              <a:gd name="connsiteX5605" fmla="*/ 405583 w 6537372"/>
              <a:gd name="connsiteY5605" fmla="*/ 2208555 h 4991619"/>
              <a:gd name="connsiteX5606" fmla="*/ 430239 w 6537372"/>
              <a:gd name="connsiteY5606" fmla="*/ 2180502 h 4991619"/>
              <a:gd name="connsiteX5607" fmla="*/ 438815 w 6537372"/>
              <a:gd name="connsiteY5607" fmla="*/ 2172821 h 4991619"/>
              <a:gd name="connsiteX5608" fmla="*/ 447391 w 6537372"/>
              <a:gd name="connsiteY5608" fmla="*/ 2165494 h 4991619"/>
              <a:gd name="connsiteX5609" fmla="*/ 470439 w 6537372"/>
              <a:gd name="connsiteY5609" fmla="*/ 2149415 h 4991619"/>
              <a:gd name="connsiteX5610" fmla="*/ 478122 w 6537372"/>
              <a:gd name="connsiteY5610" fmla="*/ 2139946 h 4991619"/>
              <a:gd name="connsiteX5611" fmla="*/ 489021 w 6537372"/>
              <a:gd name="connsiteY5611" fmla="*/ 2116717 h 4991619"/>
              <a:gd name="connsiteX5612" fmla="*/ 492952 w 6537372"/>
              <a:gd name="connsiteY5612" fmla="*/ 2104746 h 4991619"/>
              <a:gd name="connsiteX5613" fmla="*/ 509212 w 6537372"/>
              <a:gd name="connsiteY5613" fmla="*/ 2109571 h 4991619"/>
              <a:gd name="connsiteX5614" fmla="*/ 513500 w 6537372"/>
              <a:gd name="connsiteY5614" fmla="*/ 2106712 h 4991619"/>
              <a:gd name="connsiteX5615" fmla="*/ 533867 w 6537372"/>
              <a:gd name="connsiteY5615" fmla="*/ 2082771 h 4991619"/>
              <a:gd name="connsiteX5616" fmla="*/ 564242 w 6537372"/>
              <a:gd name="connsiteY5616" fmla="*/ 2048108 h 4991619"/>
              <a:gd name="connsiteX5617" fmla="*/ 569065 w 6537372"/>
              <a:gd name="connsiteY5617" fmla="*/ 2025417 h 4991619"/>
              <a:gd name="connsiteX5618" fmla="*/ 589791 w 6537372"/>
              <a:gd name="connsiteY5618" fmla="*/ 2018984 h 4991619"/>
              <a:gd name="connsiteX5619" fmla="*/ 606409 w 6537372"/>
              <a:gd name="connsiteY5619" fmla="*/ 2005049 h 4991619"/>
              <a:gd name="connsiteX5620" fmla="*/ 621417 w 6537372"/>
              <a:gd name="connsiteY5620" fmla="*/ 1992721 h 4991619"/>
              <a:gd name="connsiteX5621" fmla="*/ 630528 w 6537372"/>
              <a:gd name="connsiteY5621" fmla="*/ 1984860 h 4991619"/>
              <a:gd name="connsiteX5622" fmla="*/ 922654 w 6537372"/>
              <a:gd name="connsiteY5622" fmla="*/ 1633056 h 4991619"/>
              <a:gd name="connsiteX5623" fmla="*/ 765603 w 6537372"/>
              <a:gd name="connsiteY5623" fmla="*/ 1738829 h 4991619"/>
              <a:gd name="connsiteX5624" fmla="*/ 541192 w 6537372"/>
              <a:gd name="connsiteY5624" fmla="*/ 1938225 h 4991619"/>
              <a:gd name="connsiteX5625" fmla="*/ 430060 w 6537372"/>
              <a:gd name="connsiteY5625" fmla="*/ 2042749 h 4991619"/>
              <a:gd name="connsiteX5626" fmla="*/ 419877 w 6537372"/>
              <a:gd name="connsiteY5626" fmla="*/ 2067226 h 4991619"/>
              <a:gd name="connsiteX5627" fmla="*/ 362880 w 6537372"/>
              <a:gd name="connsiteY5627" fmla="*/ 2142804 h 4991619"/>
              <a:gd name="connsiteX5628" fmla="*/ 323215 w 6537372"/>
              <a:gd name="connsiteY5628" fmla="*/ 2178002 h 4991619"/>
              <a:gd name="connsiteX5629" fmla="*/ 259608 w 6537372"/>
              <a:gd name="connsiteY5629" fmla="*/ 2204982 h 4991619"/>
              <a:gd name="connsiteX5630" fmla="*/ 212083 w 6537372"/>
              <a:gd name="connsiteY5630" fmla="*/ 2196405 h 4991619"/>
              <a:gd name="connsiteX5631" fmla="*/ 172060 w 6537372"/>
              <a:gd name="connsiteY5631" fmla="*/ 2162457 h 4991619"/>
              <a:gd name="connsiteX5632" fmla="*/ 146866 w 6537372"/>
              <a:gd name="connsiteY5632" fmla="*/ 2134406 h 4991619"/>
              <a:gd name="connsiteX5633" fmla="*/ 133109 w 6537372"/>
              <a:gd name="connsiteY5633" fmla="*/ 2122435 h 4991619"/>
              <a:gd name="connsiteX5634" fmla="*/ 142937 w 6537372"/>
              <a:gd name="connsiteY5634" fmla="*/ 2106890 h 4991619"/>
              <a:gd name="connsiteX5635" fmla="*/ 129001 w 6537372"/>
              <a:gd name="connsiteY5635" fmla="*/ 2070978 h 4991619"/>
              <a:gd name="connsiteX5636" fmla="*/ 127572 w 6537372"/>
              <a:gd name="connsiteY5636" fmla="*/ 2059187 h 4991619"/>
              <a:gd name="connsiteX5637" fmla="*/ 128106 w 6537372"/>
              <a:gd name="connsiteY5637" fmla="*/ 2023631 h 4991619"/>
              <a:gd name="connsiteX5638" fmla="*/ 128106 w 6537372"/>
              <a:gd name="connsiteY5638" fmla="*/ 1990041 h 4991619"/>
              <a:gd name="connsiteX5639" fmla="*/ 126321 w 6537372"/>
              <a:gd name="connsiteY5639" fmla="*/ 1965205 h 4991619"/>
              <a:gd name="connsiteX5640" fmla="*/ 371635 w 6537372"/>
              <a:gd name="connsiteY5640" fmla="*/ 1652711 h 4991619"/>
              <a:gd name="connsiteX5641" fmla="*/ 383248 w 6537372"/>
              <a:gd name="connsiteY5641" fmla="*/ 1634666 h 4991619"/>
              <a:gd name="connsiteX5642" fmla="*/ 431668 w 6537372"/>
              <a:gd name="connsiteY5642" fmla="*/ 1592499 h 4991619"/>
              <a:gd name="connsiteX5643" fmla="*/ 446855 w 6537372"/>
              <a:gd name="connsiteY5643" fmla="*/ 1578026 h 4991619"/>
              <a:gd name="connsiteX5644" fmla="*/ 463472 w 6537372"/>
              <a:gd name="connsiteY5644" fmla="*/ 1557836 h 4991619"/>
              <a:gd name="connsiteX5645" fmla="*/ 472048 w 6537372"/>
              <a:gd name="connsiteY5645" fmla="*/ 1549797 h 4991619"/>
              <a:gd name="connsiteX5646" fmla="*/ 512249 w 6537372"/>
              <a:gd name="connsiteY5646" fmla="*/ 1508882 h 4991619"/>
              <a:gd name="connsiteX5647" fmla="*/ 525291 w 6537372"/>
              <a:gd name="connsiteY5647" fmla="*/ 1497981 h 4991619"/>
              <a:gd name="connsiteX5648" fmla="*/ 586576 w 6537372"/>
              <a:gd name="connsiteY5648" fmla="*/ 1439558 h 4991619"/>
              <a:gd name="connsiteX5649" fmla="*/ 593544 w 6537372"/>
              <a:gd name="connsiteY5649" fmla="*/ 1432767 h 4991619"/>
              <a:gd name="connsiteX5650" fmla="*/ 654827 w 6537372"/>
              <a:gd name="connsiteY5650" fmla="*/ 1385598 h 4991619"/>
              <a:gd name="connsiteX5651" fmla="*/ 703247 w 6537372"/>
              <a:gd name="connsiteY5651" fmla="*/ 1342181 h 4991619"/>
              <a:gd name="connsiteX5652" fmla="*/ 735051 w 6537372"/>
              <a:gd name="connsiteY5652" fmla="*/ 1321992 h 4991619"/>
              <a:gd name="connsiteX5653" fmla="*/ 728797 w 6537372"/>
              <a:gd name="connsiteY5653" fmla="*/ 1339144 h 4991619"/>
              <a:gd name="connsiteX5654" fmla="*/ 732549 w 6537372"/>
              <a:gd name="connsiteY5654" fmla="*/ 1340217 h 4991619"/>
              <a:gd name="connsiteX5655" fmla="*/ 792582 w 6537372"/>
              <a:gd name="connsiteY5655" fmla="*/ 1291260 h 4991619"/>
              <a:gd name="connsiteX5656" fmla="*/ 810093 w 6537372"/>
              <a:gd name="connsiteY5656" fmla="*/ 1275895 h 4991619"/>
              <a:gd name="connsiteX5657" fmla="*/ 810093 w 6537372"/>
              <a:gd name="connsiteY5657" fmla="*/ 1272500 h 4991619"/>
              <a:gd name="connsiteX5658" fmla="*/ 809020 w 6537372"/>
              <a:gd name="connsiteY5658" fmla="*/ 1261422 h 4991619"/>
              <a:gd name="connsiteX5659" fmla="*/ 819384 w 6537372"/>
              <a:gd name="connsiteY5659" fmla="*/ 1257492 h 4991619"/>
              <a:gd name="connsiteX5660" fmla="*/ 841181 w 6537372"/>
              <a:gd name="connsiteY5660" fmla="*/ 1252489 h 4991619"/>
              <a:gd name="connsiteX5661" fmla="*/ 897462 w 6537372"/>
              <a:gd name="connsiteY5661" fmla="*/ 1210679 h 4991619"/>
              <a:gd name="connsiteX5662" fmla="*/ 912292 w 6537372"/>
              <a:gd name="connsiteY5662" fmla="*/ 1198352 h 4991619"/>
              <a:gd name="connsiteX5663" fmla="*/ 941773 w 6537372"/>
              <a:gd name="connsiteY5663" fmla="*/ 1177804 h 4991619"/>
              <a:gd name="connsiteX5664" fmla="*/ 949634 w 6537372"/>
              <a:gd name="connsiteY5664" fmla="*/ 1172267 h 4991619"/>
              <a:gd name="connsiteX5665" fmla="*/ 1003592 w 6537372"/>
              <a:gd name="connsiteY5665" fmla="*/ 1107231 h 4991619"/>
              <a:gd name="connsiteX5666" fmla="*/ 1063090 w 6537372"/>
              <a:gd name="connsiteY5666" fmla="*/ 1066494 h 4991619"/>
              <a:gd name="connsiteX5667" fmla="*/ 1081314 w 6537372"/>
              <a:gd name="connsiteY5667" fmla="*/ 1050949 h 4991619"/>
              <a:gd name="connsiteX5668" fmla="*/ 1106864 w 6537372"/>
              <a:gd name="connsiteY5668" fmla="*/ 1033082 h 4991619"/>
              <a:gd name="connsiteX5669" fmla="*/ 1166004 w 6537372"/>
              <a:gd name="connsiteY5669" fmla="*/ 1000563 h 4991619"/>
              <a:gd name="connsiteX5670" fmla="*/ 1215137 w 6537372"/>
              <a:gd name="connsiteY5670" fmla="*/ 969475 h 4991619"/>
              <a:gd name="connsiteX5671" fmla="*/ 1289464 w 6537372"/>
              <a:gd name="connsiteY5671" fmla="*/ 908727 h 4991619"/>
              <a:gd name="connsiteX5672" fmla="*/ 1358432 w 6537372"/>
              <a:gd name="connsiteY5672" fmla="*/ 867990 h 4991619"/>
              <a:gd name="connsiteX5673" fmla="*/ 1378980 w 6537372"/>
              <a:gd name="connsiteY5673" fmla="*/ 855126 h 4991619"/>
              <a:gd name="connsiteX5674" fmla="*/ 1482608 w 6537372"/>
              <a:gd name="connsiteY5674" fmla="*/ 792412 h 4991619"/>
              <a:gd name="connsiteX5675" fmla="*/ 1498866 w 6537372"/>
              <a:gd name="connsiteY5675" fmla="*/ 782050 h 4991619"/>
              <a:gd name="connsiteX5676" fmla="*/ 1541925 w 6537372"/>
              <a:gd name="connsiteY5676" fmla="*/ 756678 h 4991619"/>
              <a:gd name="connsiteX5677" fmla="*/ 1583020 w 6537372"/>
              <a:gd name="connsiteY5677" fmla="*/ 736131 h 4991619"/>
              <a:gd name="connsiteX5678" fmla="*/ 1775628 w 6537372"/>
              <a:gd name="connsiteY5678" fmla="*/ 673597 h 4991619"/>
              <a:gd name="connsiteX5679" fmla="*/ 1839949 w 6537372"/>
              <a:gd name="connsiteY5679" fmla="*/ 645546 h 4991619"/>
              <a:gd name="connsiteX5680" fmla="*/ 1906949 w 6537372"/>
              <a:gd name="connsiteY5680" fmla="*/ 611598 h 4991619"/>
              <a:gd name="connsiteX5681" fmla="*/ 1998609 w 6537372"/>
              <a:gd name="connsiteY5681" fmla="*/ 581225 h 4991619"/>
              <a:gd name="connsiteX5682" fmla="*/ 2007899 w 6537372"/>
              <a:gd name="connsiteY5682" fmla="*/ 579081 h 4991619"/>
              <a:gd name="connsiteX5683" fmla="*/ 2043097 w 6537372"/>
              <a:gd name="connsiteY5683" fmla="*/ 559070 h 4991619"/>
              <a:gd name="connsiteX5684" fmla="*/ 2105096 w 6537372"/>
              <a:gd name="connsiteY5684" fmla="*/ 532090 h 4991619"/>
              <a:gd name="connsiteX5685" fmla="*/ 2121534 w 6537372"/>
              <a:gd name="connsiteY5685" fmla="*/ 527802 h 4991619"/>
              <a:gd name="connsiteX5686" fmla="*/ 2175670 w 6537372"/>
              <a:gd name="connsiteY5686" fmla="*/ 508147 h 4991619"/>
              <a:gd name="connsiteX5687" fmla="*/ 2184426 w 6537372"/>
              <a:gd name="connsiteY5687" fmla="*/ 503859 h 4991619"/>
              <a:gd name="connsiteX5688" fmla="*/ 2257502 w 6537372"/>
              <a:gd name="connsiteY5688" fmla="*/ 487602 h 4991619"/>
              <a:gd name="connsiteX5689" fmla="*/ 2328255 w 6537372"/>
              <a:gd name="connsiteY5689" fmla="*/ 471520 h 4991619"/>
              <a:gd name="connsiteX5690" fmla="*/ 2361487 w 6537372"/>
              <a:gd name="connsiteY5690" fmla="*/ 465266 h 4991619"/>
              <a:gd name="connsiteX5691" fmla="*/ 2377924 w 6537372"/>
              <a:gd name="connsiteY5691" fmla="*/ 461337 h 4991619"/>
              <a:gd name="connsiteX5692" fmla="*/ 2441175 w 6537372"/>
              <a:gd name="connsiteY5692" fmla="*/ 459014 h 4991619"/>
              <a:gd name="connsiteX5693" fmla="*/ 2459042 w 6537372"/>
              <a:gd name="connsiteY5693" fmla="*/ 454726 h 4991619"/>
              <a:gd name="connsiteX5694" fmla="*/ 2482090 w 6537372"/>
              <a:gd name="connsiteY5694" fmla="*/ 464017 h 4991619"/>
              <a:gd name="connsiteX5695" fmla="*/ 2482090 w 6537372"/>
              <a:gd name="connsiteY5695" fmla="*/ 465266 h 4991619"/>
              <a:gd name="connsiteX5696" fmla="*/ 2541767 w 6537372"/>
              <a:gd name="connsiteY5696" fmla="*/ 435786 h 4991619"/>
              <a:gd name="connsiteX5697" fmla="*/ 2649147 w 6537372"/>
              <a:gd name="connsiteY5697" fmla="*/ 387010 h 4991619"/>
              <a:gd name="connsiteX5698" fmla="*/ 2671302 w 6537372"/>
              <a:gd name="connsiteY5698" fmla="*/ 380756 h 4991619"/>
              <a:gd name="connsiteX5699" fmla="*/ 2679878 w 6537372"/>
              <a:gd name="connsiteY5699" fmla="*/ 386651 h 4991619"/>
              <a:gd name="connsiteX5700" fmla="*/ 2640213 w 6537372"/>
              <a:gd name="connsiteY5700" fmla="*/ 406662 h 4991619"/>
              <a:gd name="connsiteX5701" fmla="*/ 2600371 w 6537372"/>
              <a:gd name="connsiteY5701" fmla="*/ 427747 h 4991619"/>
              <a:gd name="connsiteX5702" fmla="*/ 2561063 w 6537372"/>
              <a:gd name="connsiteY5702" fmla="*/ 449187 h 4991619"/>
              <a:gd name="connsiteX5703" fmla="*/ 2575177 w 6537372"/>
              <a:gd name="connsiteY5703" fmla="*/ 449902 h 4991619"/>
              <a:gd name="connsiteX5704" fmla="*/ 2634673 w 6537372"/>
              <a:gd name="connsiteY5704" fmla="*/ 419885 h 4991619"/>
              <a:gd name="connsiteX5705" fmla="*/ 2734550 w 6537372"/>
              <a:gd name="connsiteY5705" fmla="*/ 383973 h 4991619"/>
              <a:gd name="connsiteX5706" fmla="*/ 2748844 w 6537372"/>
              <a:gd name="connsiteY5706" fmla="*/ 382543 h 4991619"/>
              <a:gd name="connsiteX5707" fmla="*/ 2762245 w 6537372"/>
              <a:gd name="connsiteY5707" fmla="*/ 389690 h 4991619"/>
              <a:gd name="connsiteX5708" fmla="*/ 2773324 w 6537372"/>
              <a:gd name="connsiteY5708" fmla="*/ 401660 h 4991619"/>
              <a:gd name="connsiteX5709" fmla="*/ 2771714 w 6537372"/>
              <a:gd name="connsiteY5709" fmla="*/ 416133 h 4991619"/>
              <a:gd name="connsiteX5710" fmla="*/ 2801730 w 6537372"/>
              <a:gd name="connsiteY5710" fmla="*/ 404518 h 4991619"/>
              <a:gd name="connsiteX5711" fmla="*/ 2718293 w 6537372"/>
              <a:gd name="connsiteY5711" fmla="*/ 459014 h 4991619"/>
              <a:gd name="connsiteX5712" fmla="*/ 2729191 w 6537372"/>
              <a:gd name="connsiteY5712" fmla="*/ 470449 h 4991619"/>
              <a:gd name="connsiteX5713" fmla="*/ 2734372 w 6537372"/>
              <a:gd name="connsiteY5713" fmla="*/ 472057 h 4991619"/>
              <a:gd name="connsiteX5714" fmla="*/ 2751883 w 6537372"/>
              <a:gd name="connsiteY5714" fmla="*/ 467591 h 4991619"/>
              <a:gd name="connsiteX5715" fmla="*/ 2841753 w 6537372"/>
              <a:gd name="connsiteY5715" fmla="*/ 443469 h 4991619"/>
              <a:gd name="connsiteX5716" fmla="*/ 2878023 w 6537372"/>
              <a:gd name="connsiteY5716" fmla="*/ 438289 h 4991619"/>
              <a:gd name="connsiteX5717" fmla="*/ 2891960 w 6537372"/>
              <a:gd name="connsiteY5717" fmla="*/ 443111 h 4991619"/>
              <a:gd name="connsiteX5718" fmla="*/ 2875164 w 6537372"/>
              <a:gd name="connsiteY5718" fmla="*/ 449365 h 4991619"/>
              <a:gd name="connsiteX5719" fmla="*/ 2726333 w 6537372"/>
              <a:gd name="connsiteY5719" fmla="*/ 488316 h 4991619"/>
              <a:gd name="connsiteX5720" fmla="*/ 2724009 w 6537372"/>
              <a:gd name="connsiteY5720" fmla="*/ 490102 h 4991619"/>
              <a:gd name="connsiteX5721" fmla="*/ 2728118 w 6537372"/>
              <a:gd name="connsiteY5721" fmla="*/ 495105 h 4991619"/>
              <a:gd name="connsiteX5722" fmla="*/ 2698102 w 6537372"/>
              <a:gd name="connsiteY5722" fmla="*/ 503503 h 4991619"/>
              <a:gd name="connsiteX5723" fmla="*/ 2706500 w 6537372"/>
              <a:gd name="connsiteY5723" fmla="*/ 507254 h 4991619"/>
              <a:gd name="connsiteX5724" fmla="*/ 2635032 w 6537372"/>
              <a:gd name="connsiteY5724" fmla="*/ 532983 h 4991619"/>
              <a:gd name="connsiteX5725" fmla="*/ 2676127 w 6537372"/>
              <a:gd name="connsiteY5725" fmla="*/ 509398 h 4991619"/>
              <a:gd name="connsiteX5726" fmla="*/ 2666299 w 6537372"/>
              <a:gd name="connsiteY5726" fmla="*/ 512615 h 4991619"/>
              <a:gd name="connsiteX5727" fmla="*/ 2627707 w 6537372"/>
              <a:gd name="connsiteY5727" fmla="*/ 529231 h 4991619"/>
              <a:gd name="connsiteX5728" fmla="*/ 2596439 w 6537372"/>
              <a:gd name="connsiteY5728" fmla="*/ 546025 h 4991619"/>
              <a:gd name="connsiteX5729" fmla="*/ 2600727 w 6537372"/>
              <a:gd name="connsiteY5729" fmla="*/ 565858 h 4991619"/>
              <a:gd name="connsiteX5730" fmla="*/ 2690062 w 6537372"/>
              <a:gd name="connsiteY5730" fmla="*/ 526014 h 4991619"/>
              <a:gd name="connsiteX5731" fmla="*/ 2702926 w 6537372"/>
              <a:gd name="connsiteY5731" fmla="*/ 520119 h 4991619"/>
              <a:gd name="connsiteX5732" fmla="*/ 2752418 w 6537372"/>
              <a:gd name="connsiteY5732" fmla="*/ 500286 h 4991619"/>
              <a:gd name="connsiteX5733" fmla="*/ 2804770 w 6537372"/>
              <a:gd name="connsiteY5733" fmla="*/ 487602 h 4991619"/>
              <a:gd name="connsiteX5734" fmla="*/ 2839609 w 6537372"/>
              <a:gd name="connsiteY5734" fmla="*/ 476523 h 4991619"/>
              <a:gd name="connsiteX5735" fmla="*/ 2876772 w 6537372"/>
              <a:gd name="connsiteY5735" fmla="*/ 469376 h 4991619"/>
              <a:gd name="connsiteX5736" fmla="*/ 2876238 w 6537372"/>
              <a:gd name="connsiteY5736" fmla="*/ 479740 h 4991619"/>
              <a:gd name="connsiteX5737" fmla="*/ 2890888 w 6537372"/>
              <a:gd name="connsiteY5737" fmla="*/ 483670 h 4991619"/>
              <a:gd name="connsiteX5738" fmla="*/ 2911435 w 6537372"/>
              <a:gd name="connsiteY5738" fmla="*/ 477952 h 4991619"/>
              <a:gd name="connsiteX5739" fmla="*/ 2928409 w 6537372"/>
              <a:gd name="connsiteY5739" fmla="*/ 485457 h 4991619"/>
              <a:gd name="connsiteX5740" fmla="*/ 2919297 w 6537372"/>
              <a:gd name="connsiteY5740" fmla="*/ 493854 h 4991619"/>
              <a:gd name="connsiteX5741" fmla="*/ 2827281 w 6537372"/>
              <a:gd name="connsiteY5741" fmla="*/ 534771 h 4991619"/>
              <a:gd name="connsiteX5742" fmla="*/ 2803340 w 6537372"/>
              <a:gd name="connsiteY5742" fmla="*/ 548528 h 4991619"/>
              <a:gd name="connsiteX5743" fmla="*/ 2795477 w 6537372"/>
              <a:gd name="connsiteY5743" fmla="*/ 551743 h 4991619"/>
              <a:gd name="connsiteX5744" fmla="*/ 2809414 w 6537372"/>
              <a:gd name="connsiteY5744" fmla="*/ 551743 h 4991619"/>
              <a:gd name="connsiteX5745" fmla="*/ 2819598 w 6537372"/>
              <a:gd name="connsiteY5745" fmla="*/ 550314 h 4991619"/>
              <a:gd name="connsiteX5746" fmla="*/ 2829247 w 6537372"/>
              <a:gd name="connsiteY5746" fmla="*/ 564607 h 4991619"/>
              <a:gd name="connsiteX5747" fmla="*/ 2824713 w 6537372"/>
              <a:gd name="connsiteY5747" fmla="*/ 570709 h 4991619"/>
              <a:gd name="connsiteX5748" fmla="*/ 2824422 w 6537372"/>
              <a:gd name="connsiteY5748" fmla="*/ 564607 h 4991619"/>
              <a:gd name="connsiteX5749" fmla="*/ 2823128 w 6537372"/>
              <a:gd name="connsiteY5749" fmla="*/ 568695 h 4991619"/>
              <a:gd name="connsiteX5750" fmla="*/ 2824528 w 6537372"/>
              <a:gd name="connsiteY5750" fmla="*/ 571592 h 4991619"/>
              <a:gd name="connsiteX5751" fmla="*/ 2824066 w 6537372"/>
              <a:gd name="connsiteY5751" fmla="*/ 575149 h 4991619"/>
              <a:gd name="connsiteX5752" fmla="*/ 2831569 w 6537372"/>
              <a:gd name="connsiteY5752" fmla="*/ 571934 h 4991619"/>
              <a:gd name="connsiteX5753" fmla="*/ 2835321 w 6537372"/>
              <a:gd name="connsiteY5753" fmla="*/ 564607 h 4991619"/>
              <a:gd name="connsiteX5754" fmla="*/ 2846577 w 6537372"/>
              <a:gd name="connsiteY5754" fmla="*/ 563178 h 4991619"/>
              <a:gd name="connsiteX5755" fmla="*/ 2855154 w 6537372"/>
              <a:gd name="connsiteY5755" fmla="*/ 560856 h 4991619"/>
              <a:gd name="connsiteX5756" fmla="*/ 2879274 w 6537372"/>
              <a:gd name="connsiteY5756" fmla="*/ 553172 h 4991619"/>
              <a:gd name="connsiteX5757" fmla="*/ 2965036 w 6537372"/>
              <a:gd name="connsiteY5757" fmla="*/ 519048 h 4991619"/>
              <a:gd name="connsiteX5758" fmla="*/ 2981474 w 6537372"/>
              <a:gd name="connsiteY5758" fmla="*/ 509220 h 4991619"/>
              <a:gd name="connsiteX5759" fmla="*/ 3018459 w 6537372"/>
              <a:gd name="connsiteY5759" fmla="*/ 483848 h 4991619"/>
              <a:gd name="connsiteX5760" fmla="*/ 3034717 w 6537372"/>
              <a:gd name="connsiteY5760" fmla="*/ 480989 h 4991619"/>
              <a:gd name="connsiteX5761" fmla="*/ 3038470 w 6537372"/>
              <a:gd name="connsiteY5761" fmla="*/ 484385 h 4991619"/>
              <a:gd name="connsiteX5762" fmla="*/ 3037397 w 6537372"/>
              <a:gd name="connsiteY5762" fmla="*/ 489566 h 4991619"/>
              <a:gd name="connsiteX5763" fmla="*/ 3022033 w 6537372"/>
              <a:gd name="connsiteY5763" fmla="*/ 504218 h 4991619"/>
              <a:gd name="connsiteX5764" fmla="*/ 3034180 w 6537372"/>
              <a:gd name="connsiteY5764" fmla="*/ 506898 h 4991619"/>
              <a:gd name="connsiteX5765" fmla="*/ 3101897 w 6537372"/>
              <a:gd name="connsiteY5765" fmla="*/ 492068 h 4991619"/>
              <a:gd name="connsiteX5766" fmla="*/ 3039185 w 6537372"/>
              <a:gd name="connsiteY5766" fmla="*/ 513508 h 4991619"/>
              <a:gd name="connsiteX5767" fmla="*/ 3013098 w 6537372"/>
              <a:gd name="connsiteY5767" fmla="*/ 524229 h 4991619"/>
              <a:gd name="connsiteX5768" fmla="*/ 2985048 w 6537372"/>
              <a:gd name="connsiteY5768" fmla="*/ 536735 h 4991619"/>
              <a:gd name="connsiteX5769" fmla="*/ 2966108 w 6537372"/>
              <a:gd name="connsiteY5769" fmla="*/ 548884 h 4991619"/>
              <a:gd name="connsiteX5770" fmla="*/ 2977722 w 6537372"/>
              <a:gd name="connsiteY5770" fmla="*/ 550135 h 4991619"/>
              <a:gd name="connsiteX5771" fmla="*/ 3022033 w 6537372"/>
              <a:gd name="connsiteY5771" fmla="*/ 547991 h 4991619"/>
              <a:gd name="connsiteX5772" fmla="*/ 3059016 w 6537372"/>
              <a:gd name="connsiteY5772" fmla="*/ 534591 h 4991619"/>
              <a:gd name="connsiteX5773" fmla="*/ 3164074 w 6537372"/>
              <a:gd name="connsiteY5773" fmla="*/ 502073 h 4991619"/>
              <a:gd name="connsiteX5774" fmla="*/ 3187124 w 6537372"/>
              <a:gd name="connsiteY5774" fmla="*/ 498322 h 4991619"/>
              <a:gd name="connsiteX5775" fmla="*/ 3184085 w 6537372"/>
              <a:gd name="connsiteY5775" fmla="*/ 504218 h 4991619"/>
              <a:gd name="connsiteX5776" fmla="*/ 3117800 w 6537372"/>
              <a:gd name="connsiteY5776" fmla="*/ 541023 h 4991619"/>
              <a:gd name="connsiteX5777" fmla="*/ 3070273 w 6537372"/>
              <a:gd name="connsiteY5777" fmla="*/ 558890 h 4991619"/>
              <a:gd name="connsiteX5778" fmla="*/ 2955031 w 6537372"/>
              <a:gd name="connsiteY5778" fmla="*/ 596233 h 4991619"/>
              <a:gd name="connsiteX5779" fmla="*/ 2873199 w 6537372"/>
              <a:gd name="connsiteY5779" fmla="*/ 628572 h 4991619"/>
              <a:gd name="connsiteX5780" fmla="*/ 2874986 w 6537372"/>
              <a:gd name="connsiteY5780" fmla="*/ 635361 h 4991619"/>
              <a:gd name="connsiteX5781" fmla="*/ 2874986 w 6537372"/>
              <a:gd name="connsiteY5781" fmla="*/ 635719 h 4991619"/>
              <a:gd name="connsiteX5782" fmla="*/ 2891602 w 6537372"/>
              <a:gd name="connsiteY5782" fmla="*/ 636075 h 4991619"/>
              <a:gd name="connsiteX5783" fmla="*/ 2894819 w 6537372"/>
              <a:gd name="connsiteY5783" fmla="*/ 638756 h 4991619"/>
              <a:gd name="connsiteX5784" fmla="*/ 2885348 w 6537372"/>
              <a:gd name="connsiteY5784" fmla="*/ 654301 h 4991619"/>
              <a:gd name="connsiteX5785" fmla="*/ 2870340 w 6537372"/>
              <a:gd name="connsiteY5785" fmla="*/ 646796 h 4991619"/>
              <a:gd name="connsiteX5786" fmla="*/ 2866607 w 6537372"/>
              <a:gd name="connsiteY5786" fmla="*/ 648588 h 4991619"/>
              <a:gd name="connsiteX5787" fmla="*/ 2867125 w 6537372"/>
              <a:gd name="connsiteY5787" fmla="*/ 646617 h 4991619"/>
              <a:gd name="connsiteX5788" fmla="*/ 2864444 w 6537372"/>
              <a:gd name="connsiteY5788" fmla="*/ 647154 h 4991619"/>
              <a:gd name="connsiteX5789" fmla="*/ 2865738 w 6537372"/>
              <a:gd name="connsiteY5789" fmla="*/ 649455 h 4991619"/>
              <a:gd name="connsiteX5790" fmla="*/ 2863193 w 6537372"/>
              <a:gd name="connsiteY5790" fmla="*/ 659125 h 4991619"/>
              <a:gd name="connsiteX5791" fmla="*/ 2847292 w 6537372"/>
              <a:gd name="connsiteY5791" fmla="*/ 664663 h 4991619"/>
              <a:gd name="connsiteX5792" fmla="*/ 2840324 w 6537372"/>
              <a:gd name="connsiteY5792" fmla="*/ 665914 h 4991619"/>
              <a:gd name="connsiteX5793" fmla="*/ 2841933 w 6537372"/>
              <a:gd name="connsiteY5793" fmla="*/ 646081 h 4991619"/>
              <a:gd name="connsiteX5794" fmla="*/ 2816382 w 6537372"/>
              <a:gd name="connsiteY5794" fmla="*/ 662340 h 4991619"/>
              <a:gd name="connsiteX5795" fmla="*/ 2828354 w 6537372"/>
              <a:gd name="connsiteY5795" fmla="*/ 655552 h 4991619"/>
              <a:gd name="connsiteX5796" fmla="*/ 2811380 w 6537372"/>
              <a:gd name="connsiteY5796" fmla="*/ 670380 h 4991619"/>
              <a:gd name="connsiteX5797" fmla="*/ 2787617 w 6537372"/>
              <a:gd name="connsiteY5797" fmla="*/ 698074 h 4991619"/>
              <a:gd name="connsiteX5798" fmla="*/ 2835679 w 6537372"/>
              <a:gd name="connsiteY5798" fmla="*/ 682351 h 4991619"/>
              <a:gd name="connsiteX5799" fmla="*/ 2828174 w 6537372"/>
              <a:gd name="connsiteY5799" fmla="*/ 690035 h 4991619"/>
              <a:gd name="connsiteX5800" fmla="*/ 2781363 w 6537372"/>
              <a:gd name="connsiteY5800" fmla="*/ 709331 h 4991619"/>
              <a:gd name="connsiteX5801" fmla="*/ 2763138 w 6537372"/>
              <a:gd name="connsiteY5801" fmla="*/ 717907 h 4991619"/>
              <a:gd name="connsiteX5802" fmla="*/ 2770284 w 6537372"/>
              <a:gd name="connsiteY5802" fmla="*/ 727020 h 4991619"/>
              <a:gd name="connsiteX5803" fmla="*/ 2770106 w 6537372"/>
              <a:gd name="connsiteY5803" fmla="*/ 727376 h 4991619"/>
              <a:gd name="connsiteX5804" fmla="*/ 2783329 w 6537372"/>
              <a:gd name="connsiteY5804" fmla="*/ 723447 h 4991619"/>
              <a:gd name="connsiteX5805" fmla="*/ 2790118 w 6537372"/>
              <a:gd name="connsiteY5805" fmla="*/ 718622 h 4991619"/>
              <a:gd name="connsiteX5806" fmla="*/ 2827281 w 6537372"/>
              <a:gd name="connsiteY5806" fmla="*/ 711653 h 4991619"/>
              <a:gd name="connsiteX5807" fmla="*/ 3063662 w 6537372"/>
              <a:gd name="connsiteY5807" fmla="*/ 648761 h 4991619"/>
              <a:gd name="connsiteX5808" fmla="*/ 3078492 w 6537372"/>
              <a:gd name="connsiteY5808" fmla="*/ 646439 h 4991619"/>
              <a:gd name="connsiteX5809" fmla="*/ 3079742 w 6537372"/>
              <a:gd name="connsiteY5809" fmla="*/ 644117 h 4991619"/>
              <a:gd name="connsiteX5810" fmla="*/ 3084566 w 6537372"/>
              <a:gd name="connsiteY5810" fmla="*/ 640007 h 4991619"/>
              <a:gd name="connsiteX5811" fmla="*/ 3105114 w 6537372"/>
              <a:gd name="connsiteY5811" fmla="*/ 630894 h 4991619"/>
              <a:gd name="connsiteX5812" fmla="*/ 3107258 w 6537372"/>
              <a:gd name="connsiteY5812" fmla="*/ 626965 h 4991619"/>
              <a:gd name="connsiteX5813" fmla="*/ 3114583 w 6537372"/>
              <a:gd name="connsiteY5813" fmla="*/ 623033 h 4991619"/>
              <a:gd name="connsiteX5814" fmla="*/ 3122088 w 6537372"/>
              <a:gd name="connsiteY5814" fmla="*/ 619281 h 4991619"/>
              <a:gd name="connsiteX5815" fmla="*/ 3125840 w 6537372"/>
              <a:gd name="connsiteY5815" fmla="*/ 613742 h 4991619"/>
              <a:gd name="connsiteX5816" fmla="*/ 3141563 w 6537372"/>
              <a:gd name="connsiteY5816" fmla="*/ 603915 h 4991619"/>
              <a:gd name="connsiteX5817" fmla="*/ 3152283 w 6537372"/>
              <a:gd name="connsiteY5817" fmla="*/ 601056 h 4991619"/>
              <a:gd name="connsiteX5818" fmla="*/ 3161216 w 6537372"/>
              <a:gd name="connsiteY5818" fmla="*/ 599807 h 4991619"/>
              <a:gd name="connsiteX5819" fmla="*/ 3169077 w 6537372"/>
              <a:gd name="connsiteY5819" fmla="*/ 593194 h 4991619"/>
              <a:gd name="connsiteX5820" fmla="*/ 3170328 w 6537372"/>
              <a:gd name="connsiteY5820" fmla="*/ 588906 h 4991619"/>
              <a:gd name="connsiteX5821" fmla="*/ 3177117 w 6537372"/>
              <a:gd name="connsiteY5821" fmla="*/ 584440 h 4991619"/>
              <a:gd name="connsiteX5822" fmla="*/ 3184800 w 6537372"/>
              <a:gd name="connsiteY5822" fmla="*/ 581225 h 4991619"/>
              <a:gd name="connsiteX5823" fmla="*/ 3192305 w 6537372"/>
              <a:gd name="connsiteY5823" fmla="*/ 572827 h 4991619"/>
              <a:gd name="connsiteX5824" fmla="*/ 3251446 w 6537372"/>
              <a:gd name="connsiteY5824" fmla="*/ 536735 h 4991619"/>
              <a:gd name="connsiteX5825" fmla="*/ 3264310 w 6537372"/>
              <a:gd name="connsiteY5825" fmla="*/ 534234 h 4991619"/>
              <a:gd name="connsiteX5826" fmla="*/ 3275208 w 6537372"/>
              <a:gd name="connsiteY5826" fmla="*/ 532446 h 4991619"/>
              <a:gd name="connsiteX5827" fmla="*/ 3297005 w 6537372"/>
              <a:gd name="connsiteY5827" fmla="*/ 519226 h 4991619"/>
              <a:gd name="connsiteX5828" fmla="*/ 3305581 w 6537372"/>
              <a:gd name="connsiteY5828" fmla="*/ 516724 h 4991619"/>
              <a:gd name="connsiteX5829" fmla="*/ 3324343 w 6537372"/>
              <a:gd name="connsiteY5829" fmla="*/ 504932 h 4991619"/>
              <a:gd name="connsiteX5830" fmla="*/ 3327558 w 6537372"/>
              <a:gd name="connsiteY5830" fmla="*/ 502610 h 4991619"/>
              <a:gd name="connsiteX5831" fmla="*/ 3334168 w 6537372"/>
              <a:gd name="connsiteY5831" fmla="*/ 501180 h 4991619"/>
              <a:gd name="connsiteX5832" fmla="*/ 3377586 w 6537372"/>
              <a:gd name="connsiteY5832" fmla="*/ 474916 h 4991619"/>
              <a:gd name="connsiteX5833" fmla="*/ 3415108 w 6537372"/>
              <a:gd name="connsiteY5833" fmla="*/ 452224 h 4991619"/>
              <a:gd name="connsiteX5834" fmla="*/ 3421718 w 6537372"/>
              <a:gd name="connsiteY5834" fmla="*/ 450973 h 4991619"/>
              <a:gd name="connsiteX5835" fmla="*/ 3425113 w 6537372"/>
              <a:gd name="connsiteY5835" fmla="*/ 448829 h 4991619"/>
              <a:gd name="connsiteX5836" fmla="*/ 3429580 w 6537372"/>
              <a:gd name="connsiteY5836" fmla="*/ 444006 h 4991619"/>
              <a:gd name="connsiteX5837" fmla="*/ 3444410 w 6537372"/>
              <a:gd name="connsiteY5837" fmla="*/ 439003 h 4991619"/>
              <a:gd name="connsiteX5838" fmla="*/ 3470138 w 6537372"/>
              <a:gd name="connsiteY5838" fmla="*/ 423458 h 4991619"/>
              <a:gd name="connsiteX5839" fmla="*/ 3480856 w 6537372"/>
              <a:gd name="connsiteY5839" fmla="*/ 420422 h 4991619"/>
              <a:gd name="connsiteX5840" fmla="*/ 3489969 w 6537372"/>
              <a:gd name="connsiteY5840" fmla="*/ 414346 h 4991619"/>
              <a:gd name="connsiteX5841" fmla="*/ 3502655 w 6537372"/>
              <a:gd name="connsiteY5841" fmla="*/ 406484 h 4991619"/>
              <a:gd name="connsiteX5842" fmla="*/ 3512482 w 6537372"/>
              <a:gd name="connsiteY5842" fmla="*/ 401481 h 4991619"/>
              <a:gd name="connsiteX5843" fmla="*/ 3521952 w 6537372"/>
              <a:gd name="connsiteY5843" fmla="*/ 391834 h 4991619"/>
              <a:gd name="connsiteX5844" fmla="*/ 3531601 w 6537372"/>
              <a:gd name="connsiteY5844" fmla="*/ 385402 h 4991619"/>
              <a:gd name="connsiteX5845" fmla="*/ 3557329 w 6537372"/>
              <a:gd name="connsiteY5845" fmla="*/ 382363 h 4991619"/>
              <a:gd name="connsiteX5846" fmla="*/ 3559830 w 6537372"/>
              <a:gd name="connsiteY5846" fmla="*/ 385580 h 4991619"/>
              <a:gd name="connsiteX5847" fmla="*/ 3558578 w 6537372"/>
              <a:gd name="connsiteY5847" fmla="*/ 389510 h 4991619"/>
              <a:gd name="connsiteX5848" fmla="*/ 3552861 w 6537372"/>
              <a:gd name="connsiteY5848" fmla="*/ 393442 h 4991619"/>
              <a:gd name="connsiteX5849" fmla="*/ 3537318 w 6537372"/>
              <a:gd name="connsiteY5849" fmla="*/ 403447 h 4991619"/>
              <a:gd name="connsiteX5850" fmla="*/ 3536245 w 6537372"/>
              <a:gd name="connsiteY5850" fmla="*/ 405413 h 4991619"/>
              <a:gd name="connsiteX5851" fmla="*/ 3539104 w 6537372"/>
              <a:gd name="connsiteY5851" fmla="*/ 407735 h 4991619"/>
              <a:gd name="connsiteX5852" fmla="*/ 3547858 w 6537372"/>
              <a:gd name="connsiteY5852" fmla="*/ 407021 h 4991619"/>
              <a:gd name="connsiteX5853" fmla="*/ 3569657 w 6537372"/>
              <a:gd name="connsiteY5853" fmla="*/ 393978 h 4991619"/>
              <a:gd name="connsiteX5854" fmla="*/ 3576268 w 6537372"/>
              <a:gd name="connsiteY5854" fmla="*/ 392727 h 4991619"/>
              <a:gd name="connsiteX5855" fmla="*/ 3587346 w 6537372"/>
              <a:gd name="connsiteY5855" fmla="*/ 385759 h 4991619"/>
              <a:gd name="connsiteX5856" fmla="*/ 3591812 w 6537372"/>
              <a:gd name="connsiteY5856" fmla="*/ 380756 h 4991619"/>
              <a:gd name="connsiteX5857" fmla="*/ 3598066 w 6537372"/>
              <a:gd name="connsiteY5857" fmla="*/ 378434 h 4991619"/>
              <a:gd name="connsiteX5858" fmla="*/ 3624688 w 6537372"/>
              <a:gd name="connsiteY5858" fmla="*/ 383436 h 4991619"/>
              <a:gd name="connsiteX5859" fmla="*/ 3632012 w 6537372"/>
              <a:gd name="connsiteY5859" fmla="*/ 379326 h 4991619"/>
              <a:gd name="connsiteX5860" fmla="*/ 3634871 w 6537372"/>
              <a:gd name="connsiteY5860" fmla="*/ 376468 h 4991619"/>
              <a:gd name="connsiteX5861" fmla="*/ 3643626 w 6537372"/>
              <a:gd name="connsiteY5861" fmla="*/ 374145 h 4991619"/>
              <a:gd name="connsiteX5862" fmla="*/ 3659527 w 6537372"/>
              <a:gd name="connsiteY5862" fmla="*/ 364676 h 4991619"/>
              <a:gd name="connsiteX5863" fmla="*/ 3676323 w 6537372"/>
              <a:gd name="connsiteY5863" fmla="*/ 358422 h 4991619"/>
              <a:gd name="connsiteX5864" fmla="*/ 3678467 w 6537372"/>
              <a:gd name="connsiteY5864" fmla="*/ 358064 h 4991619"/>
              <a:gd name="connsiteX5865" fmla="*/ 3694368 w 6537372"/>
              <a:gd name="connsiteY5865" fmla="*/ 345380 h 4991619"/>
              <a:gd name="connsiteX5866" fmla="*/ 3698122 w 6537372"/>
              <a:gd name="connsiteY5866" fmla="*/ 343771 h 4991619"/>
              <a:gd name="connsiteX5867" fmla="*/ 3704554 w 6537372"/>
              <a:gd name="connsiteY5867" fmla="*/ 341985 h 4991619"/>
              <a:gd name="connsiteX5868" fmla="*/ 3726529 w 6537372"/>
              <a:gd name="connsiteY5868" fmla="*/ 329121 h 4991619"/>
              <a:gd name="connsiteX5869" fmla="*/ 3732604 w 6537372"/>
              <a:gd name="connsiteY5869" fmla="*/ 326262 h 4991619"/>
              <a:gd name="connsiteX5870" fmla="*/ 3755474 w 6537372"/>
              <a:gd name="connsiteY5870" fmla="*/ 316613 h 4991619"/>
              <a:gd name="connsiteX5871" fmla="*/ 3762085 w 6537372"/>
              <a:gd name="connsiteY5871" fmla="*/ 315183 h 4991619"/>
              <a:gd name="connsiteX5872" fmla="*/ 3780844 w 6537372"/>
              <a:gd name="connsiteY5872" fmla="*/ 303392 h 4991619"/>
              <a:gd name="connsiteX5873" fmla="*/ 3789957 w 6537372"/>
              <a:gd name="connsiteY5873" fmla="*/ 298211 h 4991619"/>
              <a:gd name="connsiteX5874" fmla="*/ 3793174 w 6537372"/>
              <a:gd name="connsiteY5874" fmla="*/ 295887 h 4991619"/>
              <a:gd name="connsiteX5875" fmla="*/ 3805680 w 6537372"/>
              <a:gd name="connsiteY5875" fmla="*/ 286418 h 4991619"/>
              <a:gd name="connsiteX5876" fmla="*/ 3826584 w 6537372"/>
              <a:gd name="connsiteY5876" fmla="*/ 278200 h 4991619"/>
              <a:gd name="connsiteX5877" fmla="*/ 3832838 w 6537372"/>
              <a:gd name="connsiteY5877" fmla="*/ 275698 h 4991619"/>
              <a:gd name="connsiteX5878" fmla="*/ 3845524 w 6537372"/>
              <a:gd name="connsiteY5878" fmla="*/ 271231 h 4991619"/>
              <a:gd name="connsiteX5879" fmla="*/ 3892872 w 6537372"/>
              <a:gd name="connsiteY5879" fmla="*/ 242466 h 4991619"/>
              <a:gd name="connsiteX5880" fmla="*/ 3905558 w 6537372"/>
              <a:gd name="connsiteY5880" fmla="*/ 238178 h 4991619"/>
              <a:gd name="connsiteX5881" fmla="*/ 3911812 w 6537372"/>
              <a:gd name="connsiteY5881" fmla="*/ 235675 h 4991619"/>
              <a:gd name="connsiteX5882" fmla="*/ 3945580 w 6537372"/>
              <a:gd name="connsiteY5882" fmla="*/ 215664 h 4991619"/>
              <a:gd name="connsiteX5883" fmla="*/ 3951834 w 6537372"/>
              <a:gd name="connsiteY5883" fmla="*/ 213164 h 4991619"/>
              <a:gd name="connsiteX5884" fmla="*/ 3958444 w 6537372"/>
              <a:gd name="connsiteY5884" fmla="*/ 208876 h 4991619"/>
              <a:gd name="connsiteX5885" fmla="*/ 3961839 w 6537372"/>
              <a:gd name="connsiteY5885" fmla="*/ 206195 h 4991619"/>
              <a:gd name="connsiteX5886" fmla="*/ 3976667 w 6537372"/>
              <a:gd name="connsiteY5886" fmla="*/ 201549 h 4991619"/>
              <a:gd name="connsiteX5887" fmla="*/ 4004362 w 6537372"/>
              <a:gd name="connsiteY5887" fmla="*/ 184933 h 4991619"/>
              <a:gd name="connsiteX5888" fmla="*/ 4010794 w 6537372"/>
              <a:gd name="connsiteY5888" fmla="*/ 183325 h 4991619"/>
              <a:gd name="connsiteX5889" fmla="*/ 4028304 w 6537372"/>
              <a:gd name="connsiteY5889" fmla="*/ 181181 h 4991619"/>
              <a:gd name="connsiteX5890" fmla="*/ 4041169 w 6537372"/>
              <a:gd name="connsiteY5890" fmla="*/ 177608 h 4991619"/>
              <a:gd name="connsiteX5891" fmla="*/ 4059036 w 6537372"/>
              <a:gd name="connsiteY5891" fmla="*/ 166888 h 4991619"/>
              <a:gd name="connsiteX5892" fmla="*/ 4065646 w 6537372"/>
              <a:gd name="connsiteY5892" fmla="*/ 165458 h 4991619"/>
              <a:gd name="connsiteX5893" fmla="*/ 4072078 w 6537372"/>
              <a:gd name="connsiteY5893" fmla="*/ 163671 h 4991619"/>
              <a:gd name="connsiteX5894" fmla="*/ 4086194 w 6537372"/>
              <a:gd name="connsiteY5894" fmla="*/ 155631 h 4991619"/>
              <a:gd name="connsiteX5895" fmla="*/ 4096914 w 6537372"/>
              <a:gd name="connsiteY5895" fmla="*/ 152416 h 4991619"/>
              <a:gd name="connsiteX5896" fmla="*/ 4101202 w 6537372"/>
              <a:gd name="connsiteY5896" fmla="*/ 151165 h 4991619"/>
              <a:gd name="connsiteX5897" fmla="*/ 4115138 w 6537372"/>
              <a:gd name="connsiteY5897" fmla="*/ 143125 h 4991619"/>
              <a:gd name="connsiteX5898" fmla="*/ 4119426 w 6537372"/>
              <a:gd name="connsiteY5898" fmla="*/ 141874 h 4991619"/>
              <a:gd name="connsiteX5899" fmla="*/ 4130146 w 6537372"/>
              <a:gd name="connsiteY5899" fmla="*/ 138657 h 4991619"/>
              <a:gd name="connsiteX5900" fmla="*/ 4152301 w 6537372"/>
              <a:gd name="connsiteY5900" fmla="*/ 126329 h 4991619"/>
              <a:gd name="connsiteX5901" fmla="*/ 4173027 w 6537372"/>
              <a:gd name="connsiteY5901" fmla="*/ 117575 h 4991619"/>
              <a:gd name="connsiteX5902" fmla="*/ 4186964 w 6537372"/>
              <a:gd name="connsiteY5902" fmla="*/ 109535 h 4991619"/>
              <a:gd name="connsiteX5903" fmla="*/ 4191252 w 6537372"/>
              <a:gd name="connsiteY5903" fmla="*/ 108284 h 4991619"/>
              <a:gd name="connsiteX5904" fmla="*/ 4200006 w 6537372"/>
              <a:gd name="connsiteY5904" fmla="*/ 106140 h 4991619"/>
              <a:gd name="connsiteX5905" fmla="*/ 4211978 w 6537372"/>
              <a:gd name="connsiteY5905" fmla="*/ 99171 h 4991619"/>
              <a:gd name="connsiteX5906" fmla="*/ 4220732 w 6537372"/>
              <a:gd name="connsiteY5906" fmla="*/ 98100 h 4991619"/>
              <a:gd name="connsiteX5907" fmla="*/ 4233774 w 6537372"/>
              <a:gd name="connsiteY5907" fmla="*/ 96312 h 4991619"/>
              <a:gd name="connsiteX5908" fmla="*/ 4250748 w 6537372"/>
              <a:gd name="connsiteY5908" fmla="*/ 90239 h 4991619"/>
              <a:gd name="connsiteX5909" fmla="*/ 4254858 w 6537372"/>
              <a:gd name="connsiteY5909" fmla="*/ 88095 h 4991619"/>
              <a:gd name="connsiteX5910" fmla="*/ 4275762 w 6537372"/>
              <a:gd name="connsiteY5910" fmla="*/ 79697 h 4991619"/>
              <a:gd name="connsiteX5911" fmla="*/ 4285946 w 6537372"/>
              <a:gd name="connsiteY5911" fmla="*/ 74516 h 4991619"/>
              <a:gd name="connsiteX5912" fmla="*/ 4311853 w 6537372"/>
              <a:gd name="connsiteY5912" fmla="*/ 68798 h 4991619"/>
              <a:gd name="connsiteX5913" fmla="*/ 4316322 w 6537372"/>
              <a:gd name="connsiteY5913" fmla="*/ 69155 h 4991619"/>
              <a:gd name="connsiteX5914" fmla="*/ 4325968 w 6537372"/>
              <a:gd name="connsiteY5914" fmla="*/ 64152 h 4991619"/>
              <a:gd name="connsiteX5915" fmla="*/ 4335260 w 6537372"/>
              <a:gd name="connsiteY5915" fmla="*/ 54324 h 4991619"/>
              <a:gd name="connsiteX5916" fmla="*/ 4378855 w 6537372"/>
              <a:gd name="connsiteY5916" fmla="*/ 28240 h 4991619"/>
              <a:gd name="connsiteX5917" fmla="*/ 4387610 w 6537372"/>
              <a:gd name="connsiteY5917" fmla="*/ 25917 h 4991619"/>
              <a:gd name="connsiteX5918" fmla="*/ 4389934 w 6537372"/>
              <a:gd name="connsiteY5918" fmla="*/ 25917 h 4991619"/>
              <a:gd name="connsiteX5919" fmla="*/ 4402262 w 6537372"/>
              <a:gd name="connsiteY5919" fmla="*/ 19485 h 4991619"/>
              <a:gd name="connsiteX5920" fmla="*/ 4415304 w 6537372"/>
              <a:gd name="connsiteY5920" fmla="*/ 16090 h 4991619"/>
              <a:gd name="connsiteX5921" fmla="*/ 4417270 w 6537372"/>
              <a:gd name="connsiteY5921" fmla="*/ 15017 h 4991619"/>
              <a:gd name="connsiteX5922" fmla="*/ 4427990 w 6537372"/>
              <a:gd name="connsiteY5922" fmla="*/ 11802 h 4991619"/>
              <a:gd name="connsiteX5923" fmla="*/ 4441390 w 6537372"/>
              <a:gd name="connsiteY5923" fmla="*/ 10372 h 4991619"/>
              <a:gd name="connsiteX5924" fmla="*/ 4452111 w 6537372"/>
              <a:gd name="connsiteY5924" fmla="*/ 7336 h 4991619"/>
              <a:gd name="connsiteX5925" fmla="*/ 4463366 w 6537372"/>
              <a:gd name="connsiteY5925" fmla="*/ 6441 h 4991619"/>
              <a:gd name="connsiteX5926" fmla="*/ 4476410 w 6537372"/>
              <a:gd name="connsiteY5926" fmla="*/ 2689 h 4991619"/>
              <a:gd name="connsiteX5927" fmla="*/ 4489809 w 6537372"/>
              <a:gd name="connsiteY5927" fmla="*/ 1618 h 4991619"/>
              <a:gd name="connsiteX5928" fmla="*/ 4503210 w 6537372"/>
              <a:gd name="connsiteY5928" fmla="*/ 9 h 4991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</a:cxnLst>
            <a:rect l="l" t="t" r="r" b="b"/>
            <a:pathLst>
              <a:path w="6537372" h="4991619">
                <a:moveTo>
                  <a:pt x="3214282" y="4943998"/>
                </a:moveTo>
                <a:cubicBezTo>
                  <a:pt x="3212851" y="4945428"/>
                  <a:pt x="3211243" y="4946679"/>
                  <a:pt x="3207492" y="4950074"/>
                </a:cubicBezTo>
                <a:lnTo>
                  <a:pt x="3207492" y="4950252"/>
                </a:lnTo>
                <a:cubicBezTo>
                  <a:pt x="3212138" y="4948286"/>
                  <a:pt x="3214102" y="4947393"/>
                  <a:pt x="3216068" y="4946501"/>
                </a:cubicBezTo>
                <a:cubicBezTo>
                  <a:pt x="3215353" y="4945606"/>
                  <a:pt x="3214817" y="4944893"/>
                  <a:pt x="3214282" y="4943998"/>
                </a:cubicBezTo>
                <a:close/>
                <a:moveTo>
                  <a:pt x="3180959" y="4929124"/>
                </a:moveTo>
                <a:cubicBezTo>
                  <a:pt x="3178726" y="4929660"/>
                  <a:pt x="3177207" y="4931938"/>
                  <a:pt x="3176760" y="4936851"/>
                </a:cubicBezTo>
                <a:cubicBezTo>
                  <a:pt x="3180870" y="4935066"/>
                  <a:pt x="3185158" y="4933456"/>
                  <a:pt x="3189446" y="4931849"/>
                </a:cubicBezTo>
                <a:cubicBezTo>
                  <a:pt x="3186141" y="4929794"/>
                  <a:pt x="3183193" y="4928588"/>
                  <a:pt x="3180959" y="4929124"/>
                </a:cubicBezTo>
                <a:close/>
                <a:moveTo>
                  <a:pt x="3221607" y="4904334"/>
                </a:moveTo>
                <a:cubicBezTo>
                  <a:pt x="3214334" y="4902421"/>
                  <a:pt x="3208617" y="4905531"/>
                  <a:pt x="3204455" y="4913625"/>
                </a:cubicBezTo>
                <a:cubicBezTo>
                  <a:pt x="3210708" y="4910230"/>
                  <a:pt x="3215353" y="4907728"/>
                  <a:pt x="3221607" y="4904334"/>
                </a:cubicBezTo>
                <a:close/>
                <a:moveTo>
                  <a:pt x="3246977" y="4895222"/>
                </a:moveTo>
                <a:cubicBezTo>
                  <a:pt x="3246799" y="4897544"/>
                  <a:pt x="3246443" y="4899151"/>
                  <a:pt x="3246263" y="4900761"/>
                </a:cubicBezTo>
                <a:cubicBezTo>
                  <a:pt x="3247872" y="4900761"/>
                  <a:pt x="3250731" y="4900761"/>
                  <a:pt x="3250731" y="4900761"/>
                </a:cubicBezTo>
                <a:lnTo>
                  <a:pt x="3250551" y="4900581"/>
                </a:lnTo>
                <a:cubicBezTo>
                  <a:pt x="3251624" y="4899688"/>
                  <a:pt x="3251446" y="4897722"/>
                  <a:pt x="3251802" y="4896115"/>
                </a:cubicBezTo>
                <a:cubicBezTo>
                  <a:pt x="3250372" y="4895936"/>
                  <a:pt x="3248943" y="4895578"/>
                  <a:pt x="3246977" y="4895222"/>
                </a:cubicBezTo>
                <a:close/>
                <a:moveTo>
                  <a:pt x="3023282" y="4885572"/>
                </a:moveTo>
                <a:cubicBezTo>
                  <a:pt x="3020782" y="4891112"/>
                  <a:pt x="3018638" y="4896295"/>
                  <a:pt x="3016313" y="4901295"/>
                </a:cubicBezTo>
                <a:cubicBezTo>
                  <a:pt x="3019352" y="4899332"/>
                  <a:pt x="3022567" y="4897366"/>
                  <a:pt x="3025784" y="4895400"/>
                </a:cubicBezTo>
                <a:cubicBezTo>
                  <a:pt x="3026499" y="4896115"/>
                  <a:pt x="3027036" y="4896651"/>
                  <a:pt x="3027748" y="4897366"/>
                </a:cubicBezTo>
                <a:cubicBezTo>
                  <a:pt x="3025962" y="4900046"/>
                  <a:pt x="3023996" y="4902905"/>
                  <a:pt x="3022033" y="4905584"/>
                </a:cubicBezTo>
                <a:lnTo>
                  <a:pt x="3023898" y="4906942"/>
                </a:lnTo>
                <a:lnTo>
                  <a:pt x="3023818" y="4907013"/>
                </a:lnTo>
                <a:lnTo>
                  <a:pt x="3023996" y="4907013"/>
                </a:lnTo>
                <a:lnTo>
                  <a:pt x="3023898" y="4906942"/>
                </a:lnTo>
                <a:lnTo>
                  <a:pt x="3041329" y="4891470"/>
                </a:lnTo>
                <a:cubicBezTo>
                  <a:pt x="3041149" y="4891112"/>
                  <a:pt x="3040792" y="4890575"/>
                  <a:pt x="3040614" y="4890041"/>
                </a:cubicBezTo>
                <a:cubicBezTo>
                  <a:pt x="3037041" y="4890934"/>
                  <a:pt x="3033288" y="4891826"/>
                  <a:pt x="3029536" y="4892719"/>
                </a:cubicBezTo>
                <a:cubicBezTo>
                  <a:pt x="3027214" y="4889861"/>
                  <a:pt x="3025070" y="4887538"/>
                  <a:pt x="3023282" y="4885572"/>
                </a:cubicBezTo>
                <a:close/>
                <a:moveTo>
                  <a:pt x="3973989" y="4881106"/>
                </a:moveTo>
                <a:cubicBezTo>
                  <a:pt x="3968806" y="4885572"/>
                  <a:pt x="3967020" y="4889682"/>
                  <a:pt x="3968091" y="4894507"/>
                </a:cubicBezTo>
                <a:cubicBezTo>
                  <a:pt x="3968806" y="4890219"/>
                  <a:pt x="3974704" y="4887717"/>
                  <a:pt x="3973989" y="4881106"/>
                </a:cubicBezTo>
                <a:close/>
                <a:moveTo>
                  <a:pt x="4037774" y="4878069"/>
                </a:moveTo>
                <a:cubicBezTo>
                  <a:pt x="4037952" y="4878247"/>
                  <a:pt x="4037952" y="4878428"/>
                  <a:pt x="4037952" y="4878428"/>
                </a:cubicBezTo>
                <a:cubicBezTo>
                  <a:pt x="4037774" y="4878606"/>
                  <a:pt x="4037415" y="4878606"/>
                  <a:pt x="4037415" y="4878606"/>
                </a:cubicBezTo>
                <a:close/>
                <a:moveTo>
                  <a:pt x="3330775" y="4870744"/>
                </a:moveTo>
                <a:cubicBezTo>
                  <a:pt x="3323270" y="4875389"/>
                  <a:pt x="3315945" y="4880213"/>
                  <a:pt x="3308440" y="4885038"/>
                </a:cubicBezTo>
                <a:cubicBezTo>
                  <a:pt x="3319697" y="4886109"/>
                  <a:pt x="3325772" y="4879320"/>
                  <a:pt x="3332204" y="4872888"/>
                </a:cubicBezTo>
                <a:cubicBezTo>
                  <a:pt x="3331846" y="4872174"/>
                  <a:pt x="3331310" y="4871459"/>
                  <a:pt x="3330775" y="4870744"/>
                </a:cubicBezTo>
                <a:close/>
                <a:moveTo>
                  <a:pt x="2999341" y="4863417"/>
                </a:moveTo>
                <a:cubicBezTo>
                  <a:pt x="2996482" y="4865027"/>
                  <a:pt x="2993624" y="4866813"/>
                  <a:pt x="2990765" y="4868600"/>
                </a:cubicBezTo>
                <a:cubicBezTo>
                  <a:pt x="2991121" y="4869135"/>
                  <a:pt x="2991658" y="4870208"/>
                  <a:pt x="2991658" y="4870208"/>
                </a:cubicBezTo>
                <a:cubicBezTo>
                  <a:pt x="2994516" y="4869135"/>
                  <a:pt x="2997554" y="4867886"/>
                  <a:pt x="3000412" y="4866813"/>
                </a:cubicBezTo>
                <a:cubicBezTo>
                  <a:pt x="3000056" y="4865741"/>
                  <a:pt x="2999698" y="4864490"/>
                  <a:pt x="2999341" y="4863417"/>
                </a:cubicBezTo>
                <a:close/>
                <a:moveTo>
                  <a:pt x="3006488" y="4859666"/>
                </a:moveTo>
                <a:cubicBezTo>
                  <a:pt x="3005595" y="4860202"/>
                  <a:pt x="3004880" y="4860561"/>
                  <a:pt x="3004166" y="4861095"/>
                </a:cubicBezTo>
                <a:cubicBezTo>
                  <a:pt x="3005595" y="4863061"/>
                  <a:pt x="3006844" y="4864847"/>
                  <a:pt x="3008274" y="4866813"/>
                </a:cubicBezTo>
                <a:cubicBezTo>
                  <a:pt x="3008988" y="4866456"/>
                  <a:pt x="3009525" y="4865920"/>
                  <a:pt x="3010240" y="4865561"/>
                </a:cubicBezTo>
                <a:cubicBezTo>
                  <a:pt x="3008988" y="4863597"/>
                  <a:pt x="3007739" y="4861632"/>
                  <a:pt x="3006488" y="4859666"/>
                </a:cubicBezTo>
                <a:close/>
                <a:moveTo>
                  <a:pt x="3379552" y="4843406"/>
                </a:moveTo>
                <a:cubicBezTo>
                  <a:pt x="3369546" y="4848946"/>
                  <a:pt x="3359540" y="4854307"/>
                  <a:pt x="3349892" y="4860202"/>
                </a:cubicBezTo>
                <a:cubicBezTo>
                  <a:pt x="3345784" y="4862883"/>
                  <a:pt x="3342388" y="4866813"/>
                  <a:pt x="3337920" y="4870744"/>
                </a:cubicBezTo>
                <a:cubicBezTo>
                  <a:pt x="3349355" y="4866098"/>
                  <a:pt x="3359540" y="4861810"/>
                  <a:pt x="3369724" y="4857700"/>
                </a:cubicBezTo>
                <a:lnTo>
                  <a:pt x="3369546" y="4857522"/>
                </a:lnTo>
                <a:cubicBezTo>
                  <a:pt x="3374012" y="4853412"/>
                  <a:pt x="3378837" y="4849124"/>
                  <a:pt x="3384196" y="4844301"/>
                </a:cubicBezTo>
                <a:cubicBezTo>
                  <a:pt x="3381874" y="4843765"/>
                  <a:pt x="3380444" y="4843050"/>
                  <a:pt x="3379552" y="4843406"/>
                </a:cubicBezTo>
                <a:close/>
                <a:moveTo>
                  <a:pt x="2263041" y="4834652"/>
                </a:moveTo>
                <a:cubicBezTo>
                  <a:pt x="2260897" y="4835725"/>
                  <a:pt x="2258931" y="4836796"/>
                  <a:pt x="2256965" y="4837869"/>
                </a:cubicBezTo>
                <a:cubicBezTo>
                  <a:pt x="2257502" y="4838762"/>
                  <a:pt x="2258753" y="4840548"/>
                  <a:pt x="2258753" y="4840548"/>
                </a:cubicBezTo>
                <a:cubicBezTo>
                  <a:pt x="2260538" y="4838940"/>
                  <a:pt x="2262146" y="4837511"/>
                  <a:pt x="2263934" y="4835903"/>
                </a:cubicBezTo>
                <a:cubicBezTo>
                  <a:pt x="2263575" y="4835545"/>
                  <a:pt x="2263397" y="4835010"/>
                  <a:pt x="2263041" y="4834652"/>
                </a:cubicBezTo>
                <a:close/>
                <a:moveTo>
                  <a:pt x="3415822" y="4819644"/>
                </a:moveTo>
                <a:cubicBezTo>
                  <a:pt x="3407424" y="4825719"/>
                  <a:pt x="3398670" y="4832151"/>
                  <a:pt x="3389736" y="4838584"/>
                </a:cubicBezTo>
                <a:cubicBezTo>
                  <a:pt x="3410105" y="4834652"/>
                  <a:pt x="3416715" y="4828756"/>
                  <a:pt x="3415822" y="4819644"/>
                </a:cubicBezTo>
                <a:close/>
                <a:moveTo>
                  <a:pt x="3436726" y="4810531"/>
                </a:moveTo>
                <a:cubicBezTo>
                  <a:pt x="3435119" y="4811782"/>
                  <a:pt x="3433689" y="4813211"/>
                  <a:pt x="3432080" y="4814641"/>
                </a:cubicBezTo>
                <a:cubicBezTo>
                  <a:pt x="3432975" y="4815355"/>
                  <a:pt x="3434582" y="4816607"/>
                  <a:pt x="3434582" y="4816607"/>
                </a:cubicBezTo>
                <a:cubicBezTo>
                  <a:pt x="3435833" y="4814999"/>
                  <a:pt x="3437083" y="4813570"/>
                  <a:pt x="3438334" y="4811960"/>
                </a:cubicBezTo>
                <a:cubicBezTo>
                  <a:pt x="3437797" y="4811426"/>
                  <a:pt x="3437263" y="4811067"/>
                  <a:pt x="3436726" y="4810531"/>
                </a:cubicBezTo>
                <a:close/>
                <a:moveTo>
                  <a:pt x="4073686" y="4808209"/>
                </a:moveTo>
                <a:cubicBezTo>
                  <a:pt x="4073150" y="4808923"/>
                  <a:pt x="4072078" y="4809460"/>
                  <a:pt x="4071720" y="4810353"/>
                </a:cubicBezTo>
                <a:cubicBezTo>
                  <a:pt x="4071186" y="4811246"/>
                  <a:pt x="4071186" y="4812319"/>
                  <a:pt x="4071186" y="4813211"/>
                </a:cubicBezTo>
                <a:cubicBezTo>
                  <a:pt x="4072435" y="4811782"/>
                  <a:pt x="4073508" y="4810353"/>
                  <a:pt x="4074579" y="4808923"/>
                </a:cubicBezTo>
                <a:lnTo>
                  <a:pt x="4074400" y="4808745"/>
                </a:lnTo>
                <a:cubicBezTo>
                  <a:pt x="4074222" y="4808567"/>
                  <a:pt x="4073864" y="4808387"/>
                  <a:pt x="4073686" y="4808209"/>
                </a:cubicBezTo>
                <a:close/>
                <a:moveTo>
                  <a:pt x="3451020" y="4801062"/>
                </a:moveTo>
                <a:cubicBezTo>
                  <a:pt x="3448698" y="4802491"/>
                  <a:pt x="3447088" y="4802850"/>
                  <a:pt x="3446195" y="4803921"/>
                </a:cubicBezTo>
                <a:cubicBezTo>
                  <a:pt x="3445839" y="4804457"/>
                  <a:pt x="3446732" y="4806065"/>
                  <a:pt x="3447088" y="4807138"/>
                </a:cubicBezTo>
                <a:cubicBezTo>
                  <a:pt x="3448161" y="4806779"/>
                  <a:pt x="3450484" y="4805886"/>
                  <a:pt x="3450484" y="4805886"/>
                </a:cubicBezTo>
                <a:lnTo>
                  <a:pt x="3450484" y="4805708"/>
                </a:lnTo>
                <a:cubicBezTo>
                  <a:pt x="3451020" y="4805172"/>
                  <a:pt x="3450842" y="4803564"/>
                  <a:pt x="3451020" y="4801062"/>
                </a:cubicBezTo>
                <a:close/>
                <a:moveTo>
                  <a:pt x="3923603" y="4784268"/>
                </a:moveTo>
                <a:cubicBezTo>
                  <a:pt x="3918422" y="4788734"/>
                  <a:pt x="3916634" y="4792844"/>
                  <a:pt x="3917707" y="4797667"/>
                </a:cubicBezTo>
                <a:cubicBezTo>
                  <a:pt x="3918422" y="4793379"/>
                  <a:pt x="3924318" y="4790878"/>
                  <a:pt x="3923603" y="4784268"/>
                </a:cubicBezTo>
                <a:close/>
                <a:moveTo>
                  <a:pt x="3423862" y="4778729"/>
                </a:moveTo>
                <a:cubicBezTo>
                  <a:pt x="3424040" y="4781587"/>
                  <a:pt x="3423326" y="4784446"/>
                  <a:pt x="3424218" y="4784982"/>
                </a:cubicBezTo>
                <a:lnTo>
                  <a:pt x="3429581" y="4785155"/>
                </a:lnTo>
                <a:lnTo>
                  <a:pt x="3429580" y="4785161"/>
                </a:lnTo>
                <a:lnTo>
                  <a:pt x="3429758" y="4785161"/>
                </a:lnTo>
                <a:lnTo>
                  <a:pt x="3429581" y="4785155"/>
                </a:lnTo>
                <a:lnTo>
                  <a:pt x="3430294" y="4779800"/>
                </a:lnTo>
                <a:cubicBezTo>
                  <a:pt x="3429580" y="4778729"/>
                  <a:pt x="3426899" y="4779087"/>
                  <a:pt x="3423862" y="4778729"/>
                </a:cubicBezTo>
                <a:close/>
                <a:moveTo>
                  <a:pt x="3478892" y="4777836"/>
                </a:moveTo>
                <a:cubicBezTo>
                  <a:pt x="3482822" y="4783910"/>
                  <a:pt x="3486932" y="4783910"/>
                  <a:pt x="3491220" y="4777836"/>
                </a:cubicBezTo>
                <a:cubicBezTo>
                  <a:pt x="3486754" y="4777836"/>
                  <a:pt x="3483180" y="4777836"/>
                  <a:pt x="3478892" y="4777836"/>
                </a:cubicBezTo>
                <a:close/>
                <a:moveTo>
                  <a:pt x="3451376" y="4767830"/>
                </a:moveTo>
                <a:cubicBezTo>
                  <a:pt x="3445659" y="4770867"/>
                  <a:pt x="3440122" y="4773904"/>
                  <a:pt x="3434404" y="4776941"/>
                </a:cubicBezTo>
                <a:lnTo>
                  <a:pt x="3434582" y="4776941"/>
                </a:lnTo>
                <a:cubicBezTo>
                  <a:pt x="3443158" y="4779265"/>
                  <a:pt x="3447625" y="4773726"/>
                  <a:pt x="3452986" y="4769974"/>
                </a:cubicBezTo>
                <a:cubicBezTo>
                  <a:pt x="3452449" y="4769259"/>
                  <a:pt x="3451913" y="4768545"/>
                  <a:pt x="3451376" y="4767830"/>
                </a:cubicBezTo>
                <a:close/>
                <a:moveTo>
                  <a:pt x="3532850" y="4751927"/>
                </a:moveTo>
                <a:cubicBezTo>
                  <a:pt x="3529276" y="4754429"/>
                  <a:pt x="3526240" y="4756395"/>
                  <a:pt x="3523381" y="4758359"/>
                </a:cubicBezTo>
                <a:cubicBezTo>
                  <a:pt x="3527669" y="4758539"/>
                  <a:pt x="3532672" y="4759789"/>
                  <a:pt x="3532850" y="4751927"/>
                </a:cubicBezTo>
                <a:close/>
                <a:moveTo>
                  <a:pt x="4032234" y="4751571"/>
                </a:moveTo>
                <a:cubicBezTo>
                  <a:pt x="4024909" y="4757110"/>
                  <a:pt x="4018834" y="4764257"/>
                  <a:pt x="4016690" y="4773189"/>
                </a:cubicBezTo>
                <a:cubicBezTo>
                  <a:pt x="4016155" y="4775692"/>
                  <a:pt x="4015260" y="4778192"/>
                  <a:pt x="4014367" y="4780514"/>
                </a:cubicBezTo>
                <a:cubicBezTo>
                  <a:pt x="4015797" y="4778550"/>
                  <a:pt x="4017226" y="4776584"/>
                  <a:pt x="4018656" y="4774619"/>
                </a:cubicBezTo>
                <a:cubicBezTo>
                  <a:pt x="4019370" y="4775155"/>
                  <a:pt x="4019906" y="4775692"/>
                  <a:pt x="4020621" y="4776048"/>
                </a:cubicBezTo>
                <a:cubicBezTo>
                  <a:pt x="4018477" y="4778907"/>
                  <a:pt x="4016511" y="4781944"/>
                  <a:pt x="4014367" y="4784802"/>
                </a:cubicBezTo>
                <a:cubicBezTo>
                  <a:pt x="4014011" y="4784446"/>
                  <a:pt x="4013474" y="4784268"/>
                  <a:pt x="4013116" y="4783910"/>
                </a:cubicBezTo>
                <a:cubicBezTo>
                  <a:pt x="4012045" y="4786054"/>
                  <a:pt x="4010794" y="4788376"/>
                  <a:pt x="4009364" y="4790520"/>
                </a:cubicBezTo>
                <a:cubicBezTo>
                  <a:pt x="4007579" y="4793379"/>
                  <a:pt x="4004362" y="4796237"/>
                  <a:pt x="4006864" y="4800347"/>
                </a:cubicBezTo>
                <a:cubicBezTo>
                  <a:pt x="4007935" y="4800169"/>
                  <a:pt x="4009543" y="4800525"/>
                  <a:pt x="4009901" y="4799991"/>
                </a:cubicBezTo>
                <a:cubicBezTo>
                  <a:pt x="4018834" y="4788019"/>
                  <a:pt x="4027768" y="4776048"/>
                  <a:pt x="4036344" y="4763898"/>
                </a:cubicBezTo>
                <a:lnTo>
                  <a:pt x="4036166" y="4764077"/>
                </a:lnTo>
                <a:cubicBezTo>
                  <a:pt x="4038488" y="4760683"/>
                  <a:pt x="4039918" y="4756752"/>
                  <a:pt x="4041525" y="4753358"/>
                </a:cubicBezTo>
                <a:cubicBezTo>
                  <a:pt x="4038310" y="4749605"/>
                  <a:pt x="4034915" y="4749605"/>
                  <a:pt x="4032234" y="4751571"/>
                </a:cubicBezTo>
                <a:close/>
                <a:moveTo>
                  <a:pt x="4056177" y="4731201"/>
                </a:moveTo>
                <a:lnTo>
                  <a:pt x="4055462" y="4731738"/>
                </a:lnTo>
                <a:cubicBezTo>
                  <a:pt x="4055282" y="4731916"/>
                  <a:pt x="4055282" y="4731916"/>
                  <a:pt x="4055282" y="4731916"/>
                </a:cubicBezTo>
                <a:cubicBezTo>
                  <a:pt x="4055282" y="4731916"/>
                  <a:pt x="4056177" y="4732274"/>
                  <a:pt x="4056177" y="4732274"/>
                </a:cubicBezTo>
                <a:close/>
                <a:moveTo>
                  <a:pt x="4079403" y="4722269"/>
                </a:moveTo>
                <a:lnTo>
                  <a:pt x="4079403" y="4723340"/>
                </a:lnTo>
                <a:lnTo>
                  <a:pt x="4080654" y="4722447"/>
                </a:lnTo>
                <a:cubicBezTo>
                  <a:pt x="4080654" y="4722447"/>
                  <a:pt x="4079403" y="4722269"/>
                  <a:pt x="4079403" y="4722269"/>
                </a:cubicBezTo>
                <a:close/>
                <a:moveTo>
                  <a:pt x="4063858" y="4722090"/>
                </a:moveTo>
                <a:lnTo>
                  <a:pt x="4063725" y="4722356"/>
                </a:lnTo>
                <a:lnTo>
                  <a:pt x="4060465" y="4725127"/>
                </a:lnTo>
                <a:cubicBezTo>
                  <a:pt x="4060465" y="4725486"/>
                  <a:pt x="4060822" y="4725486"/>
                  <a:pt x="4060822" y="4725486"/>
                </a:cubicBezTo>
                <a:cubicBezTo>
                  <a:pt x="4061180" y="4725664"/>
                  <a:pt x="4061894" y="4725486"/>
                  <a:pt x="4062251" y="4725306"/>
                </a:cubicBezTo>
                <a:lnTo>
                  <a:pt x="4063725" y="4722356"/>
                </a:lnTo>
                <a:lnTo>
                  <a:pt x="4064038" y="4722090"/>
                </a:lnTo>
                <a:close/>
                <a:moveTo>
                  <a:pt x="3716703" y="4716729"/>
                </a:moveTo>
                <a:cubicBezTo>
                  <a:pt x="3715808" y="4720481"/>
                  <a:pt x="3715094" y="4723698"/>
                  <a:pt x="3714201" y="4727271"/>
                </a:cubicBezTo>
                <a:cubicBezTo>
                  <a:pt x="3714559" y="4727271"/>
                  <a:pt x="3715988" y="4727628"/>
                  <a:pt x="3715988" y="4727628"/>
                </a:cubicBezTo>
                <a:cubicBezTo>
                  <a:pt x="3717952" y="4726913"/>
                  <a:pt x="3719740" y="4726198"/>
                  <a:pt x="3721706" y="4725486"/>
                </a:cubicBezTo>
                <a:cubicBezTo>
                  <a:pt x="3720096" y="4722625"/>
                  <a:pt x="3718667" y="4719410"/>
                  <a:pt x="3716703" y="4716729"/>
                </a:cubicBezTo>
                <a:close/>
                <a:moveTo>
                  <a:pt x="4170704" y="4709761"/>
                </a:moveTo>
                <a:cubicBezTo>
                  <a:pt x="4165524" y="4708153"/>
                  <a:pt x="4161414" y="4710656"/>
                  <a:pt x="4157482" y="4713334"/>
                </a:cubicBezTo>
                <a:cubicBezTo>
                  <a:pt x="4149086" y="4719232"/>
                  <a:pt x="4143546" y="4727986"/>
                  <a:pt x="4138544" y="4742636"/>
                </a:cubicBezTo>
                <a:cubicBezTo>
                  <a:pt x="4144798" y="4741029"/>
                  <a:pt x="4150335" y="4738885"/>
                  <a:pt x="4149620" y="4730488"/>
                </a:cubicBezTo>
                <a:cubicBezTo>
                  <a:pt x="4149442" y="4729057"/>
                  <a:pt x="4151586" y="4727093"/>
                  <a:pt x="4153194" y="4726198"/>
                </a:cubicBezTo>
                <a:lnTo>
                  <a:pt x="4153374" y="4726198"/>
                </a:lnTo>
                <a:cubicBezTo>
                  <a:pt x="4159091" y="4722625"/>
                  <a:pt x="4167131" y="4715300"/>
                  <a:pt x="4170704" y="4709761"/>
                </a:cubicBezTo>
                <a:close/>
                <a:moveTo>
                  <a:pt x="3709913" y="4708512"/>
                </a:moveTo>
                <a:cubicBezTo>
                  <a:pt x="3708662" y="4709583"/>
                  <a:pt x="3707412" y="4710834"/>
                  <a:pt x="3705983" y="4712085"/>
                </a:cubicBezTo>
                <a:lnTo>
                  <a:pt x="3705983" y="4712263"/>
                </a:lnTo>
                <a:cubicBezTo>
                  <a:pt x="3709020" y="4712978"/>
                  <a:pt x="3711700" y="4713514"/>
                  <a:pt x="3714559" y="4714049"/>
                </a:cubicBezTo>
                <a:cubicBezTo>
                  <a:pt x="3713308" y="4712800"/>
                  <a:pt x="3712057" y="4711548"/>
                  <a:pt x="3710449" y="4710656"/>
                </a:cubicBezTo>
                <a:cubicBezTo>
                  <a:pt x="3710271" y="4709941"/>
                  <a:pt x="3709913" y="4709226"/>
                  <a:pt x="3709913" y="4708512"/>
                </a:cubicBezTo>
                <a:close/>
                <a:moveTo>
                  <a:pt x="2581609" y="4707082"/>
                </a:moveTo>
                <a:cubicBezTo>
                  <a:pt x="2580001" y="4708331"/>
                  <a:pt x="2578394" y="4709583"/>
                  <a:pt x="2576786" y="4710834"/>
                </a:cubicBezTo>
                <a:cubicBezTo>
                  <a:pt x="2577142" y="4711190"/>
                  <a:pt x="2577501" y="4711727"/>
                  <a:pt x="2577501" y="4711727"/>
                </a:cubicBezTo>
                <a:cubicBezTo>
                  <a:pt x="2579108" y="4710475"/>
                  <a:pt x="2580716" y="4709404"/>
                  <a:pt x="2582323" y="4708153"/>
                </a:cubicBezTo>
                <a:cubicBezTo>
                  <a:pt x="2582145" y="4707797"/>
                  <a:pt x="2581789" y="4707439"/>
                  <a:pt x="2581609" y="4707082"/>
                </a:cubicBezTo>
                <a:close/>
                <a:moveTo>
                  <a:pt x="3541784" y="4706009"/>
                </a:moveTo>
                <a:cubicBezTo>
                  <a:pt x="3526954" y="4715658"/>
                  <a:pt x="3515341" y="4724949"/>
                  <a:pt x="3504084" y="4734775"/>
                </a:cubicBezTo>
                <a:cubicBezTo>
                  <a:pt x="3504621" y="4735669"/>
                  <a:pt x="3505336" y="4736741"/>
                  <a:pt x="3505872" y="4737633"/>
                </a:cubicBezTo>
                <a:cubicBezTo>
                  <a:pt x="3507658" y="4737099"/>
                  <a:pt x="3509802" y="4736741"/>
                  <a:pt x="3511410" y="4735669"/>
                </a:cubicBezTo>
                <a:cubicBezTo>
                  <a:pt x="3521059" y="4728701"/>
                  <a:pt x="3530886" y="4721732"/>
                  <a:pt x="3540355" y="4714407"/>
                </a:cubicBezTo>
                <a:cubicBezTo>
                  <a:pt x="3541426" y="4713514"/>
                  <a:pt x="3541070" y="4710834"/>
                  <a:pt x="3541784" y="4706009"/>
                </a:cubicBezTo>
                <a:close/>
                <a:moveTo>
                  <a:pt x="3598244" y="4705653"/>
                </a:moveTo>
                <a:cubicBezTo>
                  <a:pt x="3596815" y="4705831"/>
                  <a:pt x="3595208" y="4706009"/>
                  <a:pt x="3593778" y="4706187"/>
                </a:cubicBezTo>
                <a:cubicBezTo>
                  <a:pt x="3593956" y="4707082"/>
                  <a:pt x="3594134" y="4707797"/>
                  <a:pt x="3594313" y="4708690"/>
                </a:cubicBezTo>
                <a:cubicBezTo>
                  <a:pt x="3595208" y="4708512"/>
                  <a:pt x="3596278" y="4708153"/>
                  <a:pt x="3597171" y="4707975"/>
                </a:cubicBezTo>
                <a:cubicBezTo>
                  <a:pt x="3597530" y="4707260"/>
                  <a:pt x="3597886" y="4706367"/>
                  <a:pt x="3598244" y="4705653"/>
                </a:cubicBezTo>
                <a:close/>
                <a:moveTo>
                  <a:pt x="2881775" y="4701185"/>
                </a:moveTo>
                <a:cubicBezTo>
                  <a:pt x="2880346" y="4702972"/>
                  <a:pt x="2878738" y="4704938"/>
                  <a:pt x="2877309" y="4706902"/>
                </a:cubicBezTo>
                <a:cubicBezTo>
                  <a:pt x="2877845" y="4707260"/>
                  <a:pt x="2878916" y="4708153"/>
                  <a:pt x="2878916" y="4708153"/>
                </a:cubicBezTo>
                <a:lnTo>
                  <a:pt x="2878916" y="4708331"/>
                </a:lnTo>
                <a:cubicBezTo>
                  <a:pt x="2880526" y="4706546"/>
                  <a:pt x="2882133" y="4704580"/>
                  <a:pt x="2883741" y="4702794"/>
                </a:cubicBezTo>
                <a:cubicBezTo>
                  <a:pt x="2883026" y="4702258"/>
                  <a:pt x="2882490" y="4701721"/>
                  <a:pt x="2881775" y="4701185"/>
                </a:cubicBezTo>
                <a:close/>
                <a:moveTo>
                  <a:pt x="2183889" y="4692789"/>
                </a:moveTo>
                <a:cubicBezTo>
                  <a:pt x="2178350" y="4696182"/>
                  <a:pt x="2167808" y="4691894"/>
                  <a:pt x="2166022" y="4702436"/>
                </a:cubicBezTo>
                <a:cubicBezTo>
                  <a:pt x="2176384" y="4706902"/>
                  <a:pt x="2179065" y="4697791"/>
                  <a:pt x="2183889" y="4692789"/>
                </a:cubicBezTo>
                <a:close/>
                <a:moveTo>
                  <a:pt x="3502119" y="4688500"/>
                </a:moveTo>
                <a:cubicBezTo>
                  <a:pt x="3499440" y="4693323"/>
                  <a:pt x="3496938" y="4697433"/>
                  <a:pt x="3493901" y="4702794"/>
                </a:cubicBezTo>
                <a:cubicBezTo>
                  <a:pt x="3502299" y="4702614"/>
                  <a:pt x="3504799" y="4696362"/>
                  <a:pt x="3509087" y="4692608"/>
                </a:cubicBezTo>
                <a:cubicBezTo>
                  <a:pt x="3507122" y="4691359"/>
                  <a:pt x="3504978" y="4690108"/>
                  <a:pt x="3502299" y="4688500"/>
                </a:cubicBezTo>
                <a:close/>
                <a:moveTo>
                  <a:pt x="3550717" y="4686891"/>
                </a:moveTo>
                <a:cubicBezTo>
                  <a:pt x="3547680" y="4687249"/>
                  <a:pt x="3544643" y="4687964"/>
                  <a:pt x="3542141" y="4689572"/>
                </a:cubicBezTo>
                <a:cubicBezTo>
                  <a:pt x="3532135" y="4695825"/>
                  <a:pt x="3522844" y="4703687"/>
                  <a:pt x="3512304" y="4708690"/>
                </a:cubicBezTo>
                <a:cubicBezTo>
                  <a:pt x="3504443" y="4712441"/>
                  <a:pt x="3498724" y="4717444"/>
                  <a:pt x="3493186" y="4723520"/>
                </a:cubicBezTo>
                <a:cubicBezTo>
                  <a:pt x="3499440" y="4727986"/>
                  <a:pt x="3499975" y="4728343"/>
                  <a:pt x="3502119" y="4726735"/>
                </a:cubicBezTo>
                <a:cubicBezTo>
                  <a:pt x="3508731" y="4721554"/>
                  <a:pt x="3514983" y="4716015"/>
                  <a:pt x="3521415" y="4710656"/>
                </a:cubicBezTo>
                <a:cubicBezTo>
                  <a:pt x="3530350" y="4703329"/>
                  <a:pt x="3537496" y="4693145"/>
                  <a:pt x="3551075" y="4693681"/>
                </a:cubicBezTo>
                <a:cubicBezTo>
                  <a:pt x="3551968" y="4693681"/>
                  <a:pt x="3553934" y="4691359"/>
                  <a:pt x="3553934" y="4690108"/>
                </a:cubicBezTo>
                <a:cubicBezTo>
                  <a:pt x="3553934" y="4688857"/>
                  <a:pt x="3551790" y="4686891"/>
                  <a:pt x="3550717" y="4686891"/>
                </a:cubicBezTo>
                <a:close/>
                <a:moveTo>
                  <a:pt x="3511477" y="4685619"/>
                </a:moveTo>
                <a:cubicBezTo>
                  <a:pt x="3510338" y="4686445"/>
                  <a:pt x="3509980" y="4688499"/>
                  <a:pt x="3509266" y="4692608"/>
                </a:cubicBezTo>
                <a:cubicBezTo>
                  <a:pt x="3512124" y="4690644"/>
                  <a:pt x="3514805" y="4688500"/>
                  <a:pt x="3518378" y="4685998"/>
                </a:cubicBezTo>
                <a:cubicBezTo>
                  <a:pt x="3514536" y="4685195"/>
                  <a:pt x="3512616" y="4684793"/>
                  <a:pt x="3511477" y="4685619"/>
                </a:cubicBezTo>
                <a:close/>
                <a:moveTo>
                  <a:pt x="4181424" y="4683676"/>
                </a:moveTo>
                <a:cubicBezTo>
                  <a:pt x="4180710" y="4685642"/>
                  <a:pt x="4179817" y="4687786"/>
                  <a:pt x="4178922" y="4689752"/>
                </a:cubicBezTo>
                <a:lnTo>
                  <a:pt x="4180205" y="4690231"/>
                </a:lnTo>
                <a:lnTo>
                  <a:pt x="4180174" y="4690286"/>
                </a:lnTo>
                <a:lnTo>
                  <a:pt x="4180352" y="4690286"/>
                </a:lnTo>
                <a:lnTo>
                  <a:pt x="4180205" y="4690231"/>
                </a:lnTo>
                <a:lnTo>
                  <a:pt x="4183390" y="4684569"/>
                </a:lnTo>
                <a:cubicBezTo>
                  <a:pt x="4182676" y="4684391"/>
                  <a:pt x="4182139" y="4684032"/>
                  <a:pt x="4181424" y="4683676"/>
                </a:cubicBezTo>
                <a:close/>
                <a:moveTo>
                  <a:pt x="2217121" y="4683139"/>
                </a:moveTo>
                <a:cubicBezTo>
                  <a:pt x="2213906" y="4685283"/>
                  <a:pt x="2210511" y="4687606"/>
                  <a:pt x="2207296" y="4689930"/>
                </a:cubicBezTo>
                <a:cubicBezTo>
                  <a:pt x="2208010" y="4690644"/>
                  <a:pt x="2209440" y="4692252"/>
                  <a:pt x="2209440" y="4692252"/>
                </a:cubicBezTo>
                <a:cubicBezTo>
                  <a:pt x="2212298" y="4689572"/>
                  <a:pt x="2215335" y="4687071"/>
                  <a:pt x="2218194" y="4684391"/>
                </a:cubicBezTo>
                <a:cubicBezTo>
                  <a:pt x="2217836" y="4684032"/>
                  <a:pt x="2217479" y="4683498"/>
                  <a:pt x="2217121" y="4683139"/>
                </a:cubicBezTo>
                <a:close/>
                <a:moveTo>
                  <a:pt x="3580734" y="4667595"/>
                </a:moveTo>
                <a:cubicBezTo>
                  <a:pt x="3578770" y="4670275"/>
                  <a:pt x="3575553" y="4673312"/>
                  <a:pt x="3576089" y="4675636"/>
                </a:cubicBezTo>
                <a:cubicBezTo>
                  <a:pt x="3577340" y="4680995"/>
                  <a:pt x="3574660" y="4682425"/>
                  <a:pt x="3571086" y="4684747"/>
                </a:cubicBezTo>
                <a:cubicBezTo>
                  <a:pt x="3563581" y="4689752"/>
                  <a:pt x="3556434" y="4695111"/>
                  <a:pt x="3549110" y="4700470"/>
                </a:cubicBezTo>
                <a:cubicBezTo>
                  <a:pt x="3549468" y="4701543"/>
                  <a:pt x="3549824" y="4702614"/>
                  <a:pt x="3550182" y="4703687"/>
                </a:cubicBezTo>
                <a:cubicBezTo>
                  <a:pt x="3552146" y="4703509"/>
                  <a:pt x="3554290" y="4703687"/>
                  <a:pt x="3555900" y="4702972"/>
                </a:cubicBezTo>
                <a:cubicBezTo>
                  <a:pt x="3558044" y="4701899"/>
                  <a:pt x="3560188" y="4698506"/>
                  <a:pt x="3561796" y="4698684"/>
                </a:cubicBezTo>
                <a:cubicBezTo>
                  <a:pt x="3573945" y="4700470"/>
                  <a:pt x="3580377" y="4690644"/>
                  <a:pt x="3588775" y="4685283"/>
                </a:cubicBezTo>
                <a:lnTo>
                  <a:pt x="3588595" y="4685462"/>
                </a:lnTo>
                <a:cubicBezTo>
                  <a:pt x="3589310" y="4684927"/>
                  <a:pt x="3589846" y="4684569"/>
                  <a:pt x="3590561" y="4684032"/>
                </a:cubicBezTo>
                <a:cubicBezTo>
                  <a:pt x="3590024" y="4683139"/>
                  <a:pt x="3589668" y="4682425"/>
                  <a:pt x="3589132" y="4681710"/>
                </a:cubicBezTo>
                <a:cubicBezTo>
                  <a:pt x="3587702" y="4679388"/>
                  <a:pt x="3585916" y="4677066"/>
                  <a:pt x="3584307" y="4674563"/>
                </a:cubicBezTo>
                <a:cubicBezTo>
                  <a:pt x="3582878" y="4674921"/>
                  <a:pt x="3581448" y="4675636"/>
                  <a:pt x="3580019" y="4676171"/>
                </a:cubicBezTo>
                <a:cubicBezTo>
                  <a:pt x="3580914" y="4674207"/>
                  <a:pt x="3581626" y="4672597"/>
                  <a:pt x="3582343" y="4671348"/>
                </a:cubicBezTo>
                <a:cubicBezTo>
                  <a:pt x="3581626" y="4670275"/>
                  <a:pt x="3581092" y="4668846"/>
                  <a:pt x="3580734" y="4667595"/>
                </a:cubicBezTo>
                <a:close/>
                <a:moveTo>
                  <a:pt x="4343479" y="4665094"/>
                </a:moveTo>
                <a:cubicBezTo>
                  <a:pt x="4342764" y="4666165"/>
                  <a:pt x="4342228" y="4667060"/>
                  <a:pt x="4341692" y="4667953"/>
                </a:cubicBezTo>
                <a:cubicBezTo>
                  <a:pt x="4342050" y="4667775"/>
                  <a:pt x="4342764" y="4667416"/>
                  <a:pt x="4342764" y="4667416"/>
                </a:cubicBezTo>
                <a:cubicBezTo>
                  <a:pt x="4342942" y="4666702"/>
                  <a:pt x="4343299" y="4665809"/>
                  <a:pt x="4343479" y="4665094"/>
                </a:cubicBezTo>
                <a:close/>
                <a:moveTo>
                  <a:pt x="3982028" y="4654730"/>
                </a:moveTo>
                <a:cubicBezTo>
                  <a:pt x="3975596" y="4659555"/>
                  <a:pt x="3970235" y="4665631"/>
                  <a:pt x="3967556" y="4672956"/>
                </a:cubicBezTo>
                <a:cubicBezTo>
                  <a:pt x="3967735" y="4673134"/>
                  <a:pt x="3967735" y="4673134"/>
                  <a:pt x="3967735" y="4673134"/>
                </a:cubicBezTo>
                <a:cubicBezTo>
                  <a:pt x="3967556" y="4673312"/>
                  <a:pt x="3967376" y="4673492"/>
                  <a:pt x="3967376" y="4673492"/>
                </a:cubicBezTo>
                <a:cubicBezTo>
                  <a:pt x="3967020" y="4674563"/>
                  <a:pt x="3966662" y="4675456"/>
                  <a:pt x="3966484" y="4676351"/>
                </a:cubicBezTo>
                <a:cubicBezTo>
                  <a:pt x="3964876" y="4682783"/>
                  <a:pt x="3962374" y="4688320"/>
                  <a:pt x="3958980" y="4693681"/>
                </a:cubicBezTo>
                <a:cubicBezTo>
                  <a:pt x="3957193" y="4696540"/>
                  <a:pt x="3953978" y="4699399"/>
                  <a:pt x="3956478" y="4703509"/>
                </a:cubicBezTo>
                <a:cubicBezTo>
                  <a:pt x="3957551" y="4703329"/>
                  <a:pt x="3959158" y="4703687"/>
                  <a:pt x="3959515" y="4703150"/>
                </a:cubicBezTo>
                <a:cubicBezTo>
                  <a:pt x="3962374" y="4699221"/>
                  <a:pt x="3965232" y="4695467"/>
                  <a:pt x="3968091" y="4691537"/>
                </a:cubicBezTo>
                <a:cubicBezTo>
                  <a:pt x="3966127" y="4692608"/>
                  <a:pt x="3964340" y="4693681"/>
                  <a:pt x="3962374" y="4694754"/>
                </a:cubicBezTo>
                <a:cubicBezTo>
                  <a:pt x="3963983" y="4691001"/>
                  <a:pt x="3966662" y="4690108"/>
                  <a:pt x="3969520" y="4689572"/>
                </a:cubicBezTo>
                <a:cubicBezTo>
                  <a:pt x="3974882" y="4682068"/>
                  <a:pt x="3980421" y="4674563"/>
                  <a:pt x="3985780" y="4667060"/>
                </a:cubicBezTo>
                <a:lnTo>
                  <a:pt x="3985958" y="4667238"/>
                </a:lnTo>
                <a:cubicBezTo>
                  <a:pt x="3988282" y="4663843"/>
                  <a:pt x="3989712" y="4659913"/>
                  <a:pt x="3991319" y="4656518"/>
                </a:cubicBezTo>
                <a:cubicBezTo>
                  <a:pt x="3988102" y="4652766"/>
                  <a:pt x="3984709" y="4652766"/>
                  <a:pt x="3982028" y="4654730"/>
                </a:cubicBezTo>
                <a:close/>
                <a:moveTo>
                  <a:pt x="3559293" y="4653301"/>
                </a:moveTo>
                <a:cubicBezTo>
                  <a:pt x="3557329" y="4664023"/>
                  <a:pt x="3540355" y="4662950"/>
                  <a:pt x="3542321" y="4678851"/>
                </a:cubicBezTo>
                <a:cubicBezTo>
                  <a:pt x="3549646" y="4674921"/>
                  <a:pt x="3555900" y="4671526"/>
                  <a:pt x="3562867" y="4667953"/>
                </a:cubicBezTo>
                <a:cubicBezTo>
                  <a:pt x="3562688" y="4663665"/>
                  <a:pt x="3562510" y="4659020"/>
                  <a:pt x="3562332" y="4654374"/>
                </a:cubicBezTo>
                <a:cubicBezTo>
                  <a:pt x="3561259" y="4654018"/>
                  <a:pt x="3560366" y="4653659"/>
                  <a:pt x="3559293" y="4653301"/>
                </a:cubicBezTo>
                <a:close/>
                <a:moveTo>
                  <a:pt x="2645037" y="4649371"/>
                </a:moveTo>
                <a:cubicBezTo>
                  <a:pt x="2640213" y="4651872"/>
                  <a:pt x="2635390" y="4654374"/>
                  <a:pt x="2630565" y="4656874"/>
                </a:cubicBezTo>
                <a:cubicBezTo>
                  <a:pt x="2629136" y="4654552"/>
                  <a:pt x="2628243" y="4652945"/>
                  <a:pt x="2626992" y="4650801"/>
                </a:cubicBezTo>
                <a:cubicBezTo>
                  <a:pt x="2623060" y="4653301"/>
                  <a:pt x="2618952" y="4654730"/>
                  <a:pt x="2619845" y="4660628"/>
                </a:cubicBezTo>
                <a:cubicBezTo>
                  <a:pt x="2620023" y="4662235"/>
                  <a:pt x="2618772" y="4665094"/>
                  <a:pt x="2617343" y="4665987"/>
                </a:cubicBezTo>
                <a:cubicBezTo>
                  <a:pt x="2608588" y="4671348"/>
                  <a:pt x="2599476" y="4676351"/>
                  <a:pt x="2590543" y="4681532"/>
                </a:cubicBezTo>
                <a:cubicBezTo>
                  <a:pt x="2583038" y="4685820"/>
                  <a:pt x="2575357" y="4690108"/>
                  <a:pt x="2568030" y="4694754"/>
                </a:cubicBezTo>
                <a:cubicBezTo>
                  <a:pt x="2563922" y="4697255"/>
                  <a:pt x="2562671" y="4700470"/>
                  <a:pt x="2568744" y="4705295"/>
                </a:cubicBezTo>
                <a:cubicBezTo>
                  <a:pt x="2572498" y="4701899"/>
                  <a:pt x="2575891" y="4698862"/>
                  <a:pt x="2579465" y="4695825"/>
                </a:cubicBezTo>
                <a:cubicBezTo>
                  <a:pt x="2581072" y="4694574"/>
                  <a:pt x="2583218" y="4692252"/>
                  <a:pt x="2584648" y="4692608"/>
                </a:cubicBezTo>
                <a:cubicBezTo>
                  <a:pt x="2590365" y="4693681"/>
                  <a:pt x="2594295" y="4690464"/>
                  <a:pt x="2598405" y="4687606"/>
                </a:cubicBezTo>
                <a:cubicBezTo>
                  <a:pt x="2612340" y="4677600"/>
                  <a:pt x="2626099" y="4667595"/>
                  <a:pt x="2639856" y="4657411"/>
                </a:cubicBezTo>
                <a:lnTo>
                  <a:pt x="2640213" y="4657769"/>
                </a:lnTo>
                <a:cubicBezTo>
                  <a:pt x="2642715" y="4655981"/>
                  <a:pt x="2644501" y="4653301"/>
                  <a:pt x="2646645" y="4651157"/>
                </a:cubicBezTo>
                <a:cubicBezTo>
                  <a:pt x="2646110" y="4650622"/>
                  <a:pt x="2645574" y="4649908"/>
                  <a:pt x="2645037" y="4649371"/>
                </a:cubicBezTo>
                <a:close/>
                <a:moveTo>
                  <a:pt x="3575016" y="4645976"/>
                </a:moveTo>
                <a:cubicBezTo>
                  <a:pt x="3571801" y="4646512"/>
                  <a:pt x="3573409" y="4652052"/>
                  <a:pt x="3570728" y="4652766"/>
                </a:cubicBezTo>
                <a:cubicBezTo>
                  <a:pt x="3571086" y="4653123"/>
                  <a:pt x="3571264" y="4653659"/>
                  <a:pt x="3571801" y="4654730"/>
                </a:cubicBezTo>
                <a:cubicBezTo>
                  <a:pt x="3573409" y="4653301"/>
                  <a:pt x="3575016" y="4651872"/>
                  <a:pt x="3576804" y="4650264"/>
                </a:cubicBezTo>
                <a:cubicBezTo>
                  <a:pt x="3576089" y="4649013"/>
                  <a:pt x="3575553" y="4647405"/>
                  <a:pt x="3575016" y="4645976"/>
                </a:cubicBezTo>
                <a:close/>
                <a:moveTo>
                  <a:pt x="3991676" y="4644905"/>
                </a:moveTo>
                <a:lnTo>
                  <a:pt x="3991676" y="4645798"/>
                </a:lnTo>
                <a:lnTo>
                  <a:pt x="3992570" y="4645261"/>
                </a:lnTo>
                <a:cubicBezTo>
                  <a:pt x="3992570" y="4645261"/>
                  <a:pt x="3991676" y="4644905"/>
                  <a:pt x="3991676" y="4644905"/>
                </a:cubicBezTo>
                <a:close/>
                <a:moveTo>
                  <a:pt x="4005255" y="4635256"/>
                </a:moveTo>
                <a:lnTo>
                  <a:pt x="4005255" y="4635614"/>
                </a:lnTo>
                <a:cubicBezTo>
                  <a:pt x="4005255" y="4635614"/>
                  <a:pt x="4005791" y="4635614"/>
                  <a:pt x="4005791" y="4635614"/>
                </a:cubicBezTo>
                <a:lnTo>
                  <a:pt x="4005791" y="4635256"/>
                </a:lnTo>
                <a:cubicBezTo>
                  <a:pt x="4005613" y="4635256"/>
                  <a:pt x="4005255" y="4635256"/>
                  <a:pt x="4005255" y="4635256"/>
                </a:cubicBezTo>
                <a:close/>
                <a:moveTo>
                  <a:pt x="3899304" y="4635256"/>
                </a:moveTo>
                <a:lnTo>
                  <a:pt x="3899304" y="4635792"/>
                </a:lnTo>
                <a:cubicBezTo>
                  <a:pt x="3899482" y="4635614"/>
                  <a:pt x="3899662" y="4635434"/>
                  <a:pt x="3899840" y="4635256"/>
                </a:cubicBezTo>
                <a:cubicBezTo>
                  <a:pt x="3899840" y="4635256"/>
                  <a:pt x="3899304" y="4635256"/>
                  <a:pt x="3899304" y="4635256"/>
                </a:cubicBezTo>
                <a:close/>
                <a:moveTo>
                  <a:pt x="4432814" y="4617925"/>
                </a:moveTo>
                <a:cubicBezTo>
                  <a:pt x="4408157" y="4631504"/>
                  <a:pt x="4383858" y="4640080"/>
                  <a:pt x="4359917" y="4657769"/>
                </a:cubicBezTo>
                <a:cubicBezTo>
                  <a:pt x="4384930" y="4650622"/>
                  <a:pt x="4420843" y="4630968"/>
                  <a:pt x="4432814" y="4617925"/>
                </a:cubicBezTo>
                <a:close/>
                <a:moveTo>
                  <a:pt x="3656848" y="4614352"/>
                </a:moveTo>
                <a:cubicBezTo>
                  <a:pt x="3656312" y="4614708"/>
                  <a:pt x="3655597" y="4615245"/>
                  <a:pt x="3655597" y="4615245"/>
                </a:cubicBezTo>
                <a:cubicBezTo>
                  <a:pt x="3656490" y="4615423"/>
                  <a:pt x="3657385" y="4615781"/>
                  <a:pt x="3658100" y="4615781"/>
                </a:cubicBezTo>
                <a:cubicBezTo>
                  <a:pt x="3657741" y="4615245"/>
                  <a:pt x="3657204" y="4614888"/>
                  <a:pt x="3656848" y="4614352"/>
                </a:cubicBezTo>
                <a:close/>
                <a:moveTo>
                  <a:pt x="4442462" y="4613459"/>
                </a:moveTo>
                <a:lnTo>
                  <a:pt x="4441390" y="4613993"/>
                </a:lnTo>
                <a:cubicBezTo>
                  <a:pt x="4441390" y="4613993"/>
                  <a:pt x="4442462" y="4614352"/>
                  <a:pt x="4442462" y="4614352"/>
                </a:cubicBezTo>
                <a:close/>
                <a:moveTo>
                  <a:pt x="3670605" y="4605419"/>
                </a:moveTo>
                <a:cubicBezTo>
                  <a:pt x="3669176" y="4606132"/>
                  <a:pt x="3667568" y="4607027"/>
                  <a:pt x="3665961" y="4607741"/>
                </a:cubicBezTo>
                <a:lnTo>
                  <a:pt x="3666821" y="4609461"/>
                </a:lnTo>
                <a:lnTo>
                  <a:pt x="3666676" y="4609527"/>
                </a:lnTo>
                <a:lnTo>
                  <a:pt x="3666854" y="4609527"/>
                </a:lnTo>
                <a:lnTo>
                  <a:pt x="3666821" y="4609461"/>
                </a:lnTo>
                <a:lnTo>
                  <a:pt x="3671320" y="4607383"/>
                </a:lnTo>
                <a:cubicBezTo>
                  <a:pt x="3671498" y="4607383"/>
                  <a:pt x="3670962" y="4606132"/>
                  <a:pt x="3670605" y="4605419"/>
                </a:cubicBezTo>
                <a:close/>
                <a:moveTo>
                  <a:pt x="3670249" y="4578618"/>
                </a:moveTo>
                <a:cubicBezTo>
                  <a:pt x="3669891" y="4579154"/>
                  <a:pt x="3669534" y="4579869"/>
                  <a:pt x="3669176" y="4580584"/>
                </a:cubicBezTo>
                <a:lnTo>
                  <a:pt x="3670524" y="4581762"/>
                </a:lnTo>
                <a:lnTo>
                  <a:pt x="3670427" y="4581833"/>
                </a:lnTo>
                <a:lnTo>
                  <a:pt x="3670605" y="4581833"/>
                </a:lnTo>
                <a:lnTo>
                  <a:pt x="3670524" y="4581762"/>
                </a:lnTo>
                <a:lnTo>
                  <a:pt x="3673108" y="4579869"/>
                </a:lnTo>
                <a:cubicBezTo>
                  <a:pt x="3672213" y="4579511"/>
                  <a:pt x="3671142" y="4579154"/>
                  <a:pt x="3670249" y="4578618"/>
                </a:cubicBezTo>
                <a:close/>
                <a:moveTo>
                  <a:pt x="2047742" y="4565395"/>
                </a:moveTo>
                <a:lnTo>
                  <a:pt x="2047742" y="4566468"/>
                </a:lnTo>
                <a:lnTo>
                  <a:pt x="2048815" y="4565753"/>
                </a:lnTo>
                <a:cubicBezTo>
                  <a:pt x="2048815" y="4565753"/>
                  <a:pt x="2047742" y="4565395"/>
                  <a:pt x="2047742" y="4565395"/>
                </a:cubicBezTo>
                <a:close/>
                <a:moveTo>
                  <a:pt x="3821047" y="4565217"/>
                </a:moveTo>
                <a:cubicBezTo>
                  <a:pt x="3820688" y="4565932"/>
                  <a:pt x="3819974" y="4567361"/>
                  <a:pt x="3819974" y="4567361"/>
                </a:cubicBezTo>
                <a:lnTo>
                  <a:pt x="3820152" y="4567361"/>
                </a:lnTo>
                <a:cubicBezTo>
                  <a:pt x="3821047" y="4567005"/>
                  <a:pt x="3821940" y="4566646"/>
                  <a:pt x="3822832" y="4566110"/>
                </a:cubicBezTo>
                <a:cubicBezTo>
                  <a:pt x="3822118" y="4565932"/>
                  <a:pt x="3821582" y="4565575"/>
                  <a:pt x="3821047" y="4565217"/>
                </a:cubicBezTo>
                <a:close/>
                <a:moveTo>
                  <a:pt x="2155658" y="4565039"/>
                </a:moveTo>
                <a:cubicBezTo>
                  <a:pt x="2154229" y="4566290"/>
                  <a:pt x="2152800" y="4567361"/>
                  <a:pt x="2151370" y="4568612"/>
                </a:cubicBezTo>
                <a:cubicBezTo>
                  <a:pt x="2152800" y="4567897"/>
                  <a:pt x="2154229" y="4566824"/>
                  <a:pt x="2155302" y="4565395"/>
                </a:cubicBezTo>
                <a:cubicBezTo>
                  <a:pt x="2155480" y="4565217"/>
                  <a:pt x="2155658" y="4565039"/>
                  <a:pt x="2155658" y="4565039"/>
                </a:cubicBezTo>
                <a:close/>
                <a:moveTo>
                  <a:pt x="3815508" y="4558070"/>
                </a:moveTo>
                <a:cubicBezTo>
                  <a:pt x="3815508" y="4558428"/>
                  <a:pt x="3815508" y="4559321"/>
                  <a:pt x="3815508" y="4559321"/>
                </a:cubicBezTo>
                <a:cubicBezTo>
                  <a:pt x="3815686" y="4559143"/>
                  <a:pt x="3815864" y="4558963"/>
                  <a:pt x="3815864" y="4558963"/>
                </a:cubicBezTo>
                <a:cubicBezTo>
                  <a:pt x="3815686" y="4558607"/>
                  <a:pt x="3815508" y="4558428"/>
                  <a:pt x="3815508" y="4558070"/>
                </a:cubicBezTo>
                <a:close/>
                <a:moveTo>
                  <a:pt x="3744754" y="4551996"/>
                </a:moveTo>
                <a:cubicBezTo>
                  <a:pt x="3742610" y="4553604"/>
                  <a:pt x="3740108" y="4555211"/>
                  <a:pt x="3736534" y="4557534"/>
                </a:cubicBezTo>
                <a:cubicBezTo>
                  <a:pt x="3736714" y="4557177"/>
                  <a:pt x="3737071" y="4556819"/>
                  <a:pt x="3737249" y="4556463"/>
                </a:cubicBezTo>
                <a:cubicBezTo>
                  <a:pt x="3719204" y="4569505"/>
                  <a:pt x="3699551" y="4580047"/>
                  <a:pt x="3683113" y="4595055"/>
                </a:cubicBezTo>
                <a:cubicBezTo>
                  <a:pt x="3681326" y="4596663"/>
                  <a:pt x="3679718" y="4598451"/>
                  <a:pt x="3675966" y="4602024"/>
                </a:cubicBezTo>
                <a:cubicBezTo>
                  <a:pt x="3682755" y="4599880"/>
                  <a:pt x="3687221" y="4599522"/>
                  <a:pt x="3688829" y="4603095"/>
                </a:cubicBezTo>
                <a:cubicBezTo>
                  <a:pt x="3694548" y="4597199"/>
                  <a:pt x="3701158" y="4592375"/>
                  <a:pt x="3709020" y="4589338"/>
                </a:cubicBezTo>
                <a:cubicBezTo>
                  <a:pt x="3707412" y="4593982"/>
                  <a:pt x="3705625" y="4598807"/>
                  <a:pt x="3704017" y="4603273"/>
                </a:cubicBezTo>
                <a:cubicBezTo>
                  <a:pt x="3706518" y="4605776"/>
                  <a:pt x="3708305" y="4604703"/>
                  <a:pt x="3709735" y="4603095"/>
                </a:cubicBezTo>
                <a:cubicBezTo>
                  <a:pt x="3712415" y="4599880"/>
                  <a:pt x="3715094" y="4596841"/>
                  <a:pt x="3717596" y="4593626"/>
                </a:cubicBezTo>
                <a:cubicBezTo>
                  <a:pt x="3717774" y="4592911"/>
                  <a:pt x="3717774" y="4592197"/>
                  <a:pt x="3717774" y="4591304"/>
                </a:cubicBezTo>
                <a:cubicBezTo>
                  <a:pt x="3718847" y="4590767"/>
                  <a:pt x="3719740" y="4590409"/>
                  <a:pt x="3720633" y="4590053"/>
                </a:cubicBezTo>
                <a:cubicBezTo>
                  <a:pt x="3720633" y="4589874"/>
                  <a:pt x="3720991" y="4589516"/>
                  <a:pt x="3720991" y="4589516"/>
                </a:cubicBezTo>
                <a:cubicBezTo>
                  <a:pt x="3722955" y="4587194"/>
                  <a:pt x="3725636" y="4585406"/>
                  <a:pt x="3727958" y="4583262"/>
                </a:cubicBezTo>
                <a:cubicBezTo>
                  <a:pt x="3730102" y="4581298"/>
                  <a:pt x="3732961" y="4580940"/>
                  <a:pt x="3735820" y="4580047"/>
                </a:cubicBezTo>
                <a:cubicBezTo>
                  <a:pt x="3738144" y="4577903"/>
                  <a:pt x="3740288" y="4576115"/>
                  <a:pt x="3742430" y="4575937"/>
                </a:cubicBezTo>
                <a:cubicBezTo>
                  <a:pt x="3742788" y="4575401"/>
                  <a:pt x="3743146" y="4574866"/>
                  <a:pt x="3743503" y="4574151"/>
                </a:cubicBezTo>
                <a:cubicBezTo>
                  <a:pt x="3746005" y="4568969"/>
                  <a:pt x="3752972" y="4565932"/>
                  <a:pt x="3757082" y="4561287"/>
                </a:cubicBezTo>
                <a:lnTo>
                  <a:pt x="3757260" y="4561465"/>
                </a:lnTo>
                <a:cubicBezTo>
                  <a:pt x="3758511" y="4560214"/>
                  <a:pt x="3759404" y="4558963"/>
                  <a:pt x="3760477" y="4557534"/>
                </a:cubicBezTo>
                <a:cubicBezTo>
                  <a:pt x="3759404" y="4558248"/>
                  <a:pt x="3758155" y="4558963"/>
                  <a:pt x="3757082" y="4559678"/>
                </a:cubicBezTo>
                <a:cubicBezTo>
                  <a:pt x="3753687" y="4557177"/>
                  <a:pt x="3750472" y="4554855"/>
                  <a:pt x="3746362" y="4551996"/>
                </a:cubicBezTo>
                <a:cubicBezTo>
                  <a:pt x="3745825" y="4551996"/>
                  <a:pt x="3745290" y="4551996"/>
                  <a:pt x="3744754" y="4551996"/>
                </a:cubicBezTo>
                <a:close/>
                <a:moveTo>
                  <a:pt x="3904843" y="4550387"/>
                </a:moveTo>
                <a:cubicBezTo>
                  <a:pt x="3903414" y="4550923"/>
                  <a:pt x="3901984" y="4551460"/>
                  <a:pt x="3900555" y="4551996"/>
                </a:cubicBezTo>
                <a:cubicBezTo>
                  <a:pt x="3897518" y="4553426"/>
                  <a:pt x="3894122" y="4554497"/>
                  <a:pt x="3891086" y="4555926"/>
                </a:cubicBezTo>
                <a:cubicBezTo>
                  <a:pt x="3890906" y="4556104"/>
                  <a:pt x="3890906" y="4556104"/>
                  <a:pt x="3890906" y="4556104"/>
                </a:cubicBezTo>
                <a:cubicBezTo>
                  <a:pt x="3890549" y="4557355"/>
                  <a:pt x="3890371" y="4558785"/>
                  <a:pt x="3890371" y="4560036"/>
                </a:cubicBezTo>
                <a:cubicBezTo>
                  <a:pt x="3890371" y="4561107"/>
                  <a:pt x="3891798" y="4562716"/>
                  <a:pt x="3893050" y="4563431"/>
                </a:cubicBezTo>
                <a:cubicBezTo>
                  <a:pt x="3894301" y="4562716"/>
                  <a:pt x="3896088" y="4562180"/>
                  <a:pt x="3898589" y="4561287"/>
                </a:cubicBezTo>
                <a:cubicBezTo>
                  <a:pt x="3898052" y="4562180"/>
                  <a:pt x="3897518" y="4563073"/>
                  <a:pt x="3897160" y="4563966"/>
                </a:cubicBezTo>
                <a:lnTo>
                  <a:pt x="3897160" y="4564146"/>
                </a:lnTo>
                <a:cubicBezTo>
                  <a:pt x="3903233" y="4564146"/>
                  <a:pt x="3909131" y="4561822"/>
                  <a:pt x="3915920" y="4556819"/>
                </a:cubicBezTo>
                <a:cubicBezTo>
                  <a:pt x="3911990" y="4554318"/>
                  <a:pt x="3908416" y="4551638"/>
                  <a:pt x="3904843" y="4550387"/>
                </a:cubicBezTo>
                <a:close/>
                <a:moveTo>
                  <a:pt x="3817115" y="4541096"/>
                </a:moveTo>
                <a:cubicBezTo>
                  <a:pt x="3815508" y="4542169"/>
                  <a:pt x="3814078" y="4543240"/>
                  <a:pt x="3812471" y="4544313"/>
                </a:cubicBezTo>
                <a:cubicBezTo>
                  <a:pt x="3813005" y="4545206"/>
                  <a:pt x="3813720" y="4546099"/>
                  <a:pt x="3814256" y="4546993"/>
                </a:cubicBezTo>
                <a:cubicBezTo>
                  <a:pt x="3814971" y="4546457"/>
                  <a:pt x="3816579" y="4545564"/>
                  <a:pt x="3816579" y="4545564"/>
                </a:cubicBezTo>
                <a:cubicBezTo>
                  <a:pt x="3816937" y="4543955"/>
                  <a:pt x="3817115" y="4542525"/>
                  <a:pt x="3817115" y="4541096"/>
                </a:cubicBezTo>
                <a:close/>
                <a:moveTo>
                  <a:pt x="1971629" y="4503218"/>
                </a:moveTo>
                <a:lnTo>
                  <a:pt x="1971092" y="4504291"/>
                </a:lnTo>
                <a:lnTo>
                  <a:pt x="1971092" y="4504469"/>
                </a:lnTo>
                <a:lnTo>
                  <a:pt x="1972344" y="4504113"/>
                </a:lnTo>
                <a:close/>
                <a:moveTo>
                  <a:pt x="2497991" y="4499288"/>
                </a:moveTo>
                <a:cubicBezTo>
                  <a:pt x="2496027" y="4500539"/>
                  <a:pt x="2493883" y="4501610"/>
                  <a:pt x="2491917" y="4502861"/>
                </a:cubicBezTo>
                <a:cubicBezTo>
                  <a:pt x="2492274" y="4503576"/>
                  <a:pt x="2492988" y="4504827"/>
                  <a:pt x="2492988" y="4504827"/>
                </a:cubicBezTo>
                <a:cubicBezTo>
                  <a:pt x="2495132" y="4503754"/>
                  <a:pt x="2497098" y="4502503"/>
                  <a:pt x="2499242" y="4501432"/>
                </a:cubicBezTo>
                <a:cubicBezTo>
                  <a:pt x="2498706" y="4500717"/>
                  <a:pt x="2498349" y="4500003"/>
                  <a:pt x="2497991" y="4499288"/>
                </a:cubicBezTo>
                <a:close/>
                <a:moveTo>
                  <a:pt x="1961087" y="4476240"/>
                </a:moveTo>
                <a:cubicBezTo>
                  <a:pt x="1954833" y="4477133"/>
                  <a:pt x="1950367" y="4478204"/>
                  <a:pt x="1953404" y="4484636"/>
                </a:cubicBezTo>
                <a:cubicBezTo>
                  <a:pt x="1954833" y="4484280"/>
                  <a:pt x="1956799" y="4484280"/>
                  <a:pt x="1957335" y="4483387"/>
                </a:cubicBezTo>
                <a:lnTo>
                  <a:pt x="1957513" y="4483207"/>
                </a:lnTo>
                <a:cubicBezTo>
                  <a:pt x="1958585" y="4481421"/>
                  <a:pt x="1960016" y="4479813"/>
                  <a:pt x="1961445" y="4478204"/>
                </a:cubicBezTo>
                <a:cubicBezTo>
                  <a:pt x="1961265" y="4477489"/>
                  <a:pt x="1961087" y="4476955"/>
                  <a:pt x="1961087" y="4476240"/>
                </a:cubicBezTo>
                <a:close/>
                <a:moveTo>
                  <a:pt x="2216162" y="4411382"/>
                </a:moveTo>
                <a:cubicBezTo>
                  <a:pt x="2213325" y="4413035"/>
                  <a:pt x="2210869" y="4415939"/>
                  <a:pt x="2208010" y="4416921"/>
                </a:cubicBezTo>
                <a:lnTo>
                  <a:pt x="2208010" y="4416741"/>
                </a:lnTo>
                <a:cubicBezTo>
                  <a:pt x="2203722" y="4418171"/>
                  <a:pt x="2201042" y="4421566"/>
                  <a:pt x="2204437" y="4427642"/>
                </a:cubicBezTo>
                <a:cubicBezTo>
                  <a:pt x="2211584" y="4422995"/>
                  <a:pt x="2218550" y="4418529"/>
                  <a:pt x="2226592" y="4413348"/>
                </a:cubicBezTo>
                <a:cubicBezTo>
                  <a:pt x="2222214" y="4409327"/>
                  <a:pt x="2218998" y="4409729"/>
                  <a:pt x="2216162" y="4411382"/>
                </a:cubicBezTo>
                <a:close/>
                <a:moveTo>
                  <a:pt x="2244459" y="4396730"/>
                </a:moveTo>
                <a:cubicBezTo>
                  <a:pt x="2241779" y="4398874"/>
                  <a:pt x="2239098" y="4401018"/>
                  <a:pt x="2236417" y="4403162"/>
                </a:cubicBezTo>
                <a:cubicBezTo>
                  <a:pt x="2236776" y="4403877"/>
                  <a:pt x="2237312" y="4404414"/>
                  <a:pt x="2237669" y="4404950"/>
                </a:cubicBezTo>
                <a:cubicBezTo>
                  <a:pt x="2239098" y="4403877"/>
                  <a:pt x="2240706" y="4402806"/>
                  <a:pt x="2242135" y="4401555"/>
                </a:cubicBezTo>
                <a:cubicBezTo>
                  <a:pt x="2243386" y="4400484"/>
                  <a:pt x="2244459" y="4399054"/>
                  <a:pt x="2245530" y="4397803"/>
                </a:cubicBezTo>
                <a:cubicBezTo>
                  <a:pt x="2245174" y="4397445"/>
                  <a:pt x="2244815" y="4397089"/>
                  <a:pt x="2244459" y="4396730"/>
                </a:cubicBezTo>
                <a:close/>
                <a:moveTo>
                  <a:pt x="2304671" y="4368858"/>
                </a:moveTo>
                <a:cubicBezTo>
                  <a:pt x="2303598" y="4368858"/>
                  <a:pt x="2302526" y="4369216"/>
                  <a:pt x="2301632" y="4369394"/>
                </a:cubicBezTo>
                <a:cubicBezTo>
                  <a:pt x="2293592" y="4372968"/>
                  <a:pt x="2285552" y="4376541"/>
                  <a:pt x="2277513" y="4380114"/>
                </a:cubicBezTo>
                <a:cubicBezTo>
                  <a:pt x="2277691" y="4380114"/>
                  <a:pt x="2278049" y="4380114"/>
                  <a:pt x="2278405" y="4380114"/>
                </a:cubicBezTo>
                <a:cubicBezTo>
                  <a:pt x="2275369" y="4385295"/>
                  <a:pt x="2271080" y="4384939"/>
                  <a:pt x="2266792" y="4384581"/>
                </a:cubicBezTo>
                <a:cubicBezTo>
                  <a:pt x="2265363" y="4385295"/>
                  <a:pt x="2263755" y="4385832"/>
                  <a:pt x="2262326" y="4386547"/>
                </a:cubicBezTo>
                <a:cubicBezTo>
                  <a:pt x="2263934" y="4391549"/>
                  <a:pt x="2261253" y="4394766"/>
                  <a:pt x="2257680" y="4397445"/>
                </a:cubicBezTo>
                <a:cubicBezTo>
                  <a:pt x="2251784" y="4401733"/>
                  <a:pt x="2245352" y="4405665"/>
                  <a:pt x="2239276" y="4410131"/>
                </a:cubicBezTo>
                <a:cubicBezTo>
                  <a:pt x="2219623" y="4424425"/>
                  <a:pt x="2198898" y="4437467"/>
                  <a:pt x="2180672" y="4453727"/>
                </a:cubicBezTo>
                <a:cubicBezTo>
                  <a:pt x="2186748" y="4451404"/>
                  <a:pt x="2193002" y="4449797"/>
                  <a:pt x="2198361" y="4446758"/>
                </a:cubicBezTo>
                <a:cubicBezTo>
                  <a:pt x="2209260" y="4440684"/>
                  <a:pt x="2217121" y="4429606"/>
                  <a:pt x="2230522" y="4427283"/>
                </a:cubicBezTo>
                <a:cubicBezTo>
                  <a:pt x="2231595" y="4427105"/>
                  <a:pt x="2232488" y="4425676"/>
                  <a:pt x="2233381" y="4424783"/>
                </a:cubicBezTo>
                <a:cubicBezTo>
                  <a:pt x="2237490" y="4420851"/>
                  <a:pt x="2241242" y="4416563"/>
                  <a:pt x="2245708" y="4413168"/>
                </a:cubicBezTo>
                <a:cubicBezTo>
                  <a:pt x="2261075" y="4401555"/>
                  <a:pt x="2276976" y="4390478"/>
                  <a:pt x="2292521" y="4379043"/>
                </a:cubicBezTo>
                <a:lnTo>
                  <a:pt x="2292521" y="4379578"/>
                </a:lnTo>
                <a:cubicBezTo>
                  <a:pt x="2296987" y="4376363"/>
                  <a:pt x="2300739" y="4372431"/>
                  <a:pt x="2304671" y="4368858"/>
                </a:cubicBezTo>
                <a:close/>
                <a:moveTo>
                  <a:pt x="2463152" y="4358137"/>
                </a:moveTo>
                <a:cubicBezTo>
                  <a:pt x="2462435" y="4358318"/>
                  <a:pt x="2460649" y="4358674"/>
                  <a:pt x="2460649" y="4358674"/>
                </a:cubicBezTo>
                <a:lnTo>
                  <a:pt x="2460471" y="4358852"/>
                </a:lnTo>
                <a:cubicBezTo>
                  <a:pt x="2461008" y="4360281"/>
                  <a:pt x="2461542" y="4361711"/>
                  <a:pt x="2463330" y="4366179"/>
                </a:cubicBezTo>
                <a:cubicBezTo>
                  <a:pt x="2463152" y="4361354"/>
                  <a:pt x="2463152" y="4359747"/>
                  <a:pt x="2463152" y="4358137"/>
                </a:cubicBezTo>
                <a:close/>
                <a:moveTo>
                  <a:pt x="2359701" y="4345631"/>
                </a:moveTo>
                <a:cubicBezTo>
                  <a:pt x="2357379" y="4346524"/>
                  <a:pt x="2355233" y="4347417"/>
                  <a:pt x="2353091" y="4348312"/>
                </a:cubicBezTo>
                <a:cubicBezTo>
                  <a:pt x="2352376" y="4348668"/>
                  <a:pt x="2351481" y="4349027"/>
                  <a:pt x="2350588" y="4349383"/>
                </a:cubicBezTo>
                <a:cubicBezTo>
                  <a:pt x="2349337" y="4350276"/>
                  <a:pt x="2348088" y="4351171"/>
                  <a:pt x="2346837" y="4352064"/>
                </a:cubicBezTo>
                <a:lnTo>
                  <a:pt x="2348658" y="4354715"/>
                </a:lnTo>
                <a:lnTo>
                  <a:pt x="2348622" y="4354744"/>
                </a:lnTo>
                <a:lnTo>
                  <a:pt x="2348801" y="4354922"/>
                </a:lnTo>
                <a:lnTo>
                  <a:pt x="2348658" y="4354715"/>
                </a:lnTo>
                <a:close/>
                <a:moveTo>
                  <a:pt x="1941612" y="4242181"/>
                </a:moveTo>
                <a:cubicBezTo>
                  <a:pt x="1941612" y="4244503"/>
                  <a:pt x="1941254" y="4246827"/>
                  <a:pt x="1941612" y="4248971"/>
                </a:cubicBezTo>
                <a:cubicBezTo>
                  <a:pt x="1942149" y="4252186"/>
                  <a:pt x="1944293" y="4254330"/>
                  <a:pt x="1947686" y="4253438"/>
                </a:cubicBezTo>
                <a:lnTo>
                  <a:pt x="1947866" y="4253438"/>
                </a:lnTo>
                <a:cubicBezTo>
                  <a:pt x="1949474" y="4253079"/>
                  <a:pt x="1950725" y="4250935"/>
                  <a:pt x="1952689" y="4249149"/>
                </a:cubicBezTo>
                <a:cubicBezTo>
                  <a:pt x="1948223" y="4246291"/>
                  <a:pt x="1944827" y="4244147"/>
                  <a:pt x="1941612" y="4242181"/>
                </a:cubicBezTo>
                <a:close/>
                <a:moveTo>
                  <a:pt x="1940361" y="4240751"/>
                </a:moveTo>
                <a:cubicBezTo>
                  <a:pt x="1940717" y="4240930"/>
                  <a:pt x="1940898" y="4241288"/>
                  <a:pt x="1941254" y="4241644"/>
                </a:cubicBezTo>
                <a:cubicBezTo>
                  <a:pt x="1941434" y="4241466"/>
                  <a:pt x="1941612" y="4241110"/>
                  <a:pt x="1941790" y="4240930"/>
                </a:cubicBezTo>
                <a:cubicBezTo>
                  <a:pt x="1941434" y="4240751"/>
                  <a:pt x="1940361" y="4240751"/>
                  <a:pt x="1940361" y="4240751"/>
                </a:cubicBezTo>
                <a:close/>
                <a:moveTo>
                  <a:pt x="2210154" y="4173930"/>
                </a:moveTo>
                <a:cubicBezTo>
                  <a:pt x="2208545" y="4175179"/>
                  <a:pt x="2206937" y="4176252"/>
                  <a:pt x="2205330" y="4177503"/>
                </a:cubicBezTo>
                <a:cubicBezTo>
                  <a:pt x="2205508" y="4177681"/>
                  <a:pt x="2206044" y="4178396"/>
                  <a:pt x="2206044" y="4178396"/>
                </a:cubicBezTo>
                <a:cubicBezTo>
                  <a:pt x="2207652" y="4177145"/>
                  <a:pt x="2209260" y="4176074"/>
                  <a:pt x="2210869" y="4174822"/>
                </a:cubicBezTo>
                <a:cubicBezTo>
                  <a:pt x="2210689" y="4174644"/>
                  <a:pt x="2210333" y="4174286"/>
                  <a:pt x="2210154" y="4173930"/>
                </a:cubicBezTo>
                <a:close/>
                <a:moveTo>
                  <a:pt x="2007363" y="4168927"/>
                </a:moveTo>
                <a:cubicBezTo>
                  <a:pt x="2004504" y="4168032"/>
                  <a:pt x="2000573" y="4170356"/>
                  <a:pt x="1999323" y="4173035"/>
                </a:cubicBezTo>
                <a:cubicBezTo>
                  <a:pt x="1998609" y="4174464"/>
                  <a:pt x="1998072" y="4175893"/>
                  <a:pt x="1997536" y="4177323"/>
                </a:cubicBezTo>
                <a:lnTo>
                  <a:pt x="1997714" y="4177503"/>
                </a:lnTo>
                <a:cubicBezTo>
                  <a:pt x="2001467" y="4174464"/>
                  <a:pt x="2004861" y="4171605"/>
                  <a:pt x="2008078" y="4169105"/>
                </a:cubicBezTo>
                <a:cubicBezTo>
                  <a:pt x="2007899" y="4168927"/>
                  <a:pt x="2007541" y="4168927"/>
                  <a:pt x="2007363" y="4168927"/>
                </a:cubicBezTo>
                <a:close/>
                <a:moveTo>
                  <a:pt x="2189785" y="4151594"/>
                </a:moveTo>
                <a:cubicBezTo>
                  <a:pt x="2189070" y="4151774"/>
                  <a:pt x="2188356" y="4152131"/>
                  <a:pt x="2187463" y="4152309"/>
                </a:cubicBezTo>
                <a:cubicBezTo>
                  <a:pt x="2187641" y="4153204"/>
                  <a:pt x="2187819" y="4154097"/>
                  <a:pt x="2187999" y="4154990"/>
                </a:cubicBezTo>
                <a:cubicBezTo>
                  <a:pt x="2188892" y="4154633"/>
                  <a:pt x="2189963" y="4154097"/>
                  <a:pt x="2191036" y="4153738"/>
                </a:cubicBezTo>
                <a:lnTo>
                  <a:pt x="2191214" y="4153738"/>
                </a:lnTo>
                <a:cubicBezTo>
                  <a:pt x="2191393" y="4153560"/>
                  <a:pt x="2191393" y="4153560"/>
                  <a:pt x="2191393" y="4153560"/>
                </a:cubicBezTo>
                <a:cubicBezTo>
                  <a:pt x="2190858" y="4152845"/>
                  <a:pt x="2190321" y="4152309"/>
                  <a:pt x="2189785" y="4151594"/>
                </a:cubicBezTo>
                <a:close/>
                <a:moveTo>
                  <a:pt x="2210511" y="4145520"/>
                </a:moveTo>
                <a:cubicBezTo>
                  <a:pt x="2209618" y="4146235"/>
                  <a:pt x="2208725" y="4146772"/>
                  <a:pt x="2207830" y="4147306"/>
                </a:cubicBezTo>
                <a:cubicBezTo>
                  <a:pt x="2208545" y="4147128"/>
                  <a:pt x="2209440" y="4146772"/>
                  <a:pt x="2210154" y="4146413"/>
                </a:cubicBezTo>
                <a:cubicBezTo>
                  <a:pt x="2210333" y="4146057"/>
                  <a:pt x="2210511" y="4145520"/>
                  <a:pt x="2210511" y="4145520"/>
                </a:cubicBezTo>
                <a:close/>
                <a:moveTo>
                  <a:pt x="2207652" y="4130869"/>
                </a:moveTo>
                <a:cubicBezTo>
                  <a:pt x="2205330" y="4132120"/>
                  <a:pt x="2203364" y="4133193"/>
                  <a:pt x="2201578" y="4134086"/>
                </a:cubicBezTo>
                <a:cubicBezTo>
                  <a:pt x="2201042" y="4135337"/>
                  <a:pt x="2200149" y="4136586"/>
                  <a:pt x="2198719" y="4137659"/>
                </a:cubicBezTo>
                <a:lnTo>
                  <a:pt x="2198067" y="4137496"/>
                </a:lnTo>
                <a:lnTo>
                  <a:pt x="2197468" y="4137122"/>
                </a:lnTo>
                <a:lnTo>
                  <a:pt x="2197290" y="4137301"/>
                </a:lnTo>
                <a:lnTo>
                  <a:pt x="2198067" y="4137496"/>
                </a:lnTo>
                <a:lnTo>
                  <a:pt x="2202627" y="4140339"/>
                </a:lnTo>
                <a:cubicBezTo>
                  <a:pt x="2203990" y="4139981"/>
                  <a:pt x="2205062" y="4138552"/>
                  <a:pt x="2206044" y="4137122"/>
                </a:cubicBezTo>
                <a:cubicBezTo>
                  <a:pt x="2206937" y="4135871"/>
                  <a:pt x="2206759" y="4134086"/>
                  <a:pt x="2207652" y="4130869"/>
                </a:cubicBezTo>
                <a:close/>
                <a:moveTo>
                  <a:pt x="2209260" y="4104784"/>
                </a:moveTo>
                <a:cubicBezTo>
                  <a:pt x="2188534" y="4118541"/>
                  <a:pt x="2169237" y="4134264"/>
                  <a:pt x="2149226" y="4151060"/>
                </a:cubicBezTo>
                <a:cubicBezTo>
                  <a:pt x="2149226" y="4151238"/>
                  <a:pt x="2149226" y="4151594"/>
                  <a:pt x="2149226" y="4151774"/>
                </a:cubicBezTo>
                <a:cubicBezTo>
                  <a:pt x="2154766" y="4151416"/>
                  <a:pt x="2154409" y="4154811"/>
                  <a:pt x="2154766" y="4157670"/>
                </a:cubicBezTo>
                <a:cubicBezTo>
                  <a:pt x="2155124" y="4157492"/>
                  <a:pt x="2155302" y="4157492"/>
                  <a:pt x="2155480" y="4157492"/>
                </a:cubicBezTo>
                <a:cubicBezTo>
                  <a:pt x="2155839" y="4158385"/>
                  <a:pt x="2156017" y="4159456"/>
                  <a:pt x="2156195" y="4160707"/>
                </a:cubicBezTo>
                <a:cubicBezTo>
                  <a:pt x="2156731" y="4161065"/>
                  <a:pt x="2157268" y="4161600"/>
                  <a:pt x="2158339" y="4161600"/>
                </a:cubicBezTo>
                <a:cubicBezTo>
                  <a:pt x="2164056" y="4161422"/>
                  <a:pt x="2167988" y="4156419"/>
                  <a:pt x="2172096" y="4151953"/>
                </a:cubicBezTo>
                <a:cubicBezTo>
                  <a:pt x="2175491" y="4148379"/>
                  <a:pt x="2179423" y="4146235"/>
                  <a:pt x="2184246" y="4146772"/>
                </a:cubicBezTo>
                <a:cubicBezTo>
                  <a:pt x="2190143" y="4144984"/>
                  <a:pt x="2190143" y="4138730"/>
                  <a:pt x="2193002" y="4134442"/>
                </a:cubicBezTo>
                <a:lnTo>
                  <a:pt x="2192822" y="4134442"/>
                </a:lnTo>
                <a:cubicBezTo>
                  <a:pt x="2193537" y="4133193"/>
                  <a:pt x="2194431" y="4131942"/>
                  <a:pt x="2195324" y="4130690"/>
                </a:cubicBezTo>
                <a:cubicBezTo>
                  <a:pt x="2196217" y="4128010"/>
                  <a:pt x="2197290" y="4125331"/>
                  <a:pt x="2198183" y="4122651"/>
                </a:cubicBezTo>
                <a:cubicBezTo>
                  <a:pt x="2198539" y="4123187"/>
                  <a:pt x="2198898" y="4123722"/>
                  <a:pt x="2199254" y="4124258"/>
                </a:cubicBezTo>
                <a:cubicBezTo>
                  <a:pt x="2200683" y="4121399"/>
                  <a:pt x="2201756" y="4118541"/>
                  <a:pt x="2201756" y="4115146"/>
                </a:cubicBezTo>
                <a:cubicBezTo>
                  <a:pt x="2207116" y="4113716"/>
                  <a:pt x="2207296" y="4109072"/>
                  <a:pt x="2209260" y="4104784"/>
                </a:cubicBezTo>
                <a:close/>
                <a:moveTo>
                  <a:pt x="2292343" y="4053148"/>
                </a:moveTo>
                <a:lnTo>
                  <a:pt x="2292417" y="4053272"/>
                </a:lnTo>
                <a:lnTo>
                  <a:pt x="2278584" y="4069586"/>
                </a:lnTo>
                <a:cubicBezTo>
                  <a:pt x="2282515" y="4064225"/>
                  <a:pt x="2292343" y="4064225"/>
                  <a:pt x="2292877" y="4054041"/>
                </a:cubicBezTo>
                <a:lnTo>
                  <a:pt x="2292417" y="4053272"/>
                </a:lnTo>
                <a:lnTo>
                  <a:pt x="2292521" y="4053148"/>
                </a:lnTo>
                <a:close/>
                <a:moveTo>
                  <a:pt x="2265520" y="4036911"/>
                </a:moveTo>
                <a:cubicBezTo>
                  <a:pt x="2264559" y="4037827"/>
                  <a:pt x="2264202" y="4039480"/>
                  <a:pt x="2263934" y="4040999"/>
                </a:cubicBezTo>
                <a:cubicBezTo>
                  <a:pt x="2266256" y="4039748"/>
                  <a:pt x="2268400" y="4038496"/>
                  <a:pt x="2270722" y="4037245"/>
                </a:cubicBezTo>
                <a:cubicBezTo>
                  <a:pt x="2268043" y="4035816"/>
                  <a:pt x="2266480" y="4035995"/>
                  <a:pt x="2265520" y="4036911"/>
                </a:cubicBezTo>
                <a:close/>
                <a:moveTo>
                  <a:pt x="2318606" y="4005443"/>
                </a:moveTo>
                <a:cubicBezTo>
                  <a:pt x="2312710" y="4006514"/>
                  <a:pt x="2307707" y="4009553"/>
                  <a:pt x="2303956" y="4014197"/>
                </a:cubicBezTo>
                <a:lnTo>
                  <a:pt x="2303956" y="4014375"/>
                </a:lnTo>
                <a:cubicBezTo>
                  <a:pt x="2306993" y="4012768"/>
                  <a:pt x="2310030" y="4011339"/>
                  <a:pt x="2313067" y="4009731"/>
                </a:cubicBezTo>
                <a:cubicBezTo>
                  <a:pt x="2315213" y="4008480"/>
                  <a:pt x="2316998" y="4007050"/>
                  <a:pt x="2318606" y="4005443"/>
                </a:cubicBezTo>
                <a:close/>
                <a:moveTo>
                  <a:pt x="2680771" y="3958452"/>
                </a:moveTo>
                <a:cubicBezTo>
                  <a:pt x="2679878" y="3958810"/>
                  <a:pt x="2678986" y="3958989"/>
                  <a:pt x="2678091" y="3959167"/>
                </a:cubicBezTo>
                <a:cubicBezTo>
                  <a:pt x="2678805" y="3959703"/>
                  <a:pt x="2680235" y="3960418"/>
                  <a:pt x="2680235" y="3960418"/>
                </a:cubicBezTo>
                <a:lnTo>
                  <a:pt x="2680235" y="3960240"/>
                </a:lnTo>
                <a:cubicBezTo>
                  <a:pt x="2680593" y="3960060"/>
                  <a:pt x="2680771" y="3959881"/>
                  <a:pt x="2681130" y="3959881"/>
                </a:cubicBezTo>
                <a:cubicBezTo>
                  <a:pt x="2681130" y="3959881"/>
                  <a:pt x="2680771" y="3958989"/>
                  <a:pt x="2680771" y="3958452"/>
                </a:cubicBezTo>
                <a:close/>
                <a:moveTo>
                  <a:pt x="2702926" y="3949161"/>
                </a:moveTo>
                <a:cubicBezTo>
                  <a:pt x="2702570" y="3950949"/>
                  <a:pt x="2702212" y="3952913"/>
                  <a:pt x="2701675" y="3954879"/>
                </a:cubicBezTo>
                <a:cubicBezTo>
                  <a:pt x="2703105" y="3953271"/>
                  <a:pt x="2704534" y="3951664"/>
                  <a:pt x="2705963" y="3950234"/>
                </a:cubicBezTo>
                <a:lnTo>
                  <a:pt x="2705785" y="3950234"/>
                </a:lnTo>
                <a:cubicBezTo>
                  <a:pt x="2705785" y="3949876"/>
                  <a:pt x="2703999" y="3949519"/>
                  <a:pt x="2702926" y="3949161"/>
                </a:cubicBezTo>
                <a:close/>
                <a:moveTo>
                  <a:pt x="2705963" y="3933082"/>
                </a:moveTo>
                <a:cubicBezTo>
                  <a:pt x="2705070" y="3933796"/>
                  <a:pt x="2703463" y="3935404"/>
                  <a:pt x="2703463" y="3935404"/>
                </a:cubicBezTo>
                <a:cubicBezTo>
                  <a:pt x="2704356" y="3934868"/>
                  <a:pt x="2705429" y="3934153"/>
                  <a:pt x="2706322" y="3933616"/>
                </a:cubicBezTo>
                <a:cubicBezTo>
                  <a:pt x="2706142" y="3933438"/>
                  <a:pt x="2705963" y="3933082"/>
                  <a:pt x="2705963" y="3933082"/>
                </a:cubicBezTo>
                <a:close/>
                <a:moveTo>
                  <a:pt x="5786956" y="3857682"/>
                </a:moveTo>
                <a:lnTo>
                  <a:pt x="5786956" y="3858755"/>
                </a:lnTo>
                <a:lnTo>
                  <a:pt x="5788208" y="3858218"/>
                </a:lnTo>
                <a:close/>
                <a:moveTo>
                  <a:pt x="5386022" y="3854287"/>
                </a:moveTo>
                <a:cubicBezTo>
                  <a:pt x="5382804" y="3853752"/>
                  <a:pt x="5379410" y="3855001"/>
                  <a:pt x="5372621" y="3856074"/>
                </a:cubicBezTo>
                <a:cubicBezTo>
                  <a:pt x="5377802" y="3857145"/>
                  <a:pt x="5379231" y="3857326"/>
                  <a:pt x="5380660" y="3857682"/>
                </a:cubicBezTo>
                <a:cubicBezTo>
                  <a:pt x="5380302" y="3858397"/>
                  <a:pt x="5380124" y="3859648"/>
                  <a:pt x="5380124" y="3859648"/>
                </a:cubicBezTo>
                <a:lnTo>
                  <a:pt x="5380124" y="3859826"/>
                </a:lnTo>
                <a:cubicBezTo>
                  <a:pt x="5383698" y="3858755"/>
                  <a:pt x="5387271" y="3857682"/>
                  <a:pt x="5390844" y="3856611"/>
                </a:cubicBezTo>
                <a:cubicBezTo>
                  <a:pt x="5389593" y="3855182"/>
                  <a:pt x="5387808" y="3854467"/>
                  <a:pt x="5386022" y="3854287"/>
                </a:cubicBezTo>
                <a:close/>
                <a:moveTo>
                  <a:pt x="5409070" y="3828024"/>
                </a:moveTo>
                <a:cubicBezTo>
                  <a:pt x="5403530" y="3829988"/>
                  <a:pt x="5398170" y="3832132"/>
                  <a:pt x="5392810" y="3834456"/>
                </a:cubicBezTo>
                <a:cubicBezTo>
                  <a:pt x="5392096" y="3834812"/>
                  <a:pt x="5391559" y="3835885"/>
                  <a:pt x="5391202" y="3836420"/>
                </a:cubicBezTo>
                <a:cubicBezTo>
                  <a:pt x="5391381" y="3839278"/>
                  <a:pt x="5391559" y="3841959"/>
                  <a:pt x="5391559" y="3847140"/>
                </a:cubicBezTo>
                <a:cubicBezTo>
                  <a:pt x="5395490" y="3844818"/>
                  <a:pt x="5399779" y="3843567"/>
                  <a:pt x="5400135" y="3841781"/>
                </a:cubicBezTo>
                <a:cubicBezTo>
                  <a:pt x="5400850" y="3837134"/>
                  <a:pt x="5402816" y="3834990"/>
                  <a:pt x="5407282" y="3834990"/>
                </a:cubicBezTo>
                <a:cubicBezTo>
                  <a:pt x="5408355" y="3834990"/>
                  <a:pt x="5409604" y="3835170"/>
                  <a:pt x="5410319" y="3834634"/>
                </a:cubicBezTo>
                <a:cubicBezTo>
                  <a:pt x="5411034" y="3833919"/>
                  <a:pt x="5412643" y="3832490"/>
                  <a:pt x="5412643" y="3832490"/>
                </a:cubicBezTo>
                <a:cubicBezTo>
                  <a:pt x="5410499" y="3832490"/>
                  <a:pt x="5408175" y="3832132"/>
                  <a:pt x="5405674" y="3831597"/>
                </a:cubicBezTo>
                <a:cubicBezTo>
                  <a:pt x="5408533" y="3830168"/>
                  <a:pt x="5410856" y="3828916"/>
                  <a:pt x="5412821" y="3828024"/>
                </a:cubicBezTo>
                <a:cubicBezTo>
                  <a:pt x="5411748" y="3827487"/>
                  <a:pt x="5410319" y="3827487"/>
                  <a:pt x="5409070" y="3828024"/>
                </a:cubicBezTo>
                <a:close/>
                <a:moveTo>
                  <a:pt x="5577912" y="3804796"/>
                </a:moveTo>
                <a:lnTo>
                  <a:pt x="5577912" y="3805868"/>
                </a:lnTo>
                <a:lnTo>
                  <a:pt x="5579164" y="3805154"/>
                </a:lnTo>
                <a:cubicBezTo>
                  <a:pt x="5579164" y="3805154"/>
                  <a:pt x="5577912" y="3804796"/>
                  <a:pt x="5577912" y="3804796"/>
                </a:cubicBezTo>
                <a:close/>
                <a:moveTo>
                  <a:pt x="5778916" y="3793361"/>
                </a:moveTo>
                <a:cubicBezTo>
                  <a:pt x="5778202" y="3793539"/>
                  <a:pt x="5777666" y="3793719"/>
                  <a:pt x="5776950" y="3793719"/>
                </a:cubicBezTo>
                <a:cubicBezTo>
                  <a:pt x="5774986" y="3793897"/>
                  <a:pt x="5773736" y="3794612"/>
                  <a:pt x="5773199" y="3795863"/>
                </a:cubicBezTo>
                <a:lnTo>
                  <a:pt x="5773377" y="3795863"/>
                </a:lnTo>
                <a:cubicBezTo>
                  <a:pt x="5775165" y="3794968"/>
                  <a:pt x="5777130" y="3794253"/>
                  <a:pt x="5778916" y="3793361"/>
                </a:cubicBezTo>
                <a:close/>
                <a:moveTo>
                  <a:pt x="5751402" y="3792468"/>
                </a:moveTo>
                <a:cubicBezTo>
                  <a:pt x="5750686" y="3792646"/>
                  <a:pt x="5749973" y="3793004"/>
                  <a:pt x="5749258" y="3793182"/>
                </a:cubicBezTo>
                <a:cubicBezTo>
                  <a:pt x="5749258" y="3793182"/>
                  <a:pt x="5748900" y="3793182"/>
                  <a:pt x="5748900" y="3793182"/>
                </a:cubicBezTo>
                <a:cubicBezTo>
                  <a:pt x="5748722" y="3795505"/>
                  <a:pt x="5748544" y="3797292"/>
                  <a:pt x="5748900" y="3798900"/>
                </a:cubicBezTo>
                <a:lnTo>
                  <a:pt x="5748900" y="3799078"/>
                </a:lnTo>
                <a:cubicBezTo>
                  <a:pt x="5749614" y="3801937"/>
                  <a:pt x="5751580" y="3803724"/>
                  <a:pt x="5754796" y="3800151"/>
                </a:cubicBezTo>
                <a:cubicBezTo>
                  <a:pt x="5753724" y="3797827"/>
                  <a:pt x="5752832" y="3795505"/>
                  <a:pt x="5751402" y="3792468"/>
                </a:cubicBezTo>
                <a:close/>
                <a:moveTo>
                  <a:pt x="5812150" y="3773350"/>
                </a:moveTo>
                <a:cubicBezTo>
                  <a:pt x="5807682" y="3774779"/>
                  <a:pt x="5803038" y="3776208"/>
                  <a:pt x="5798391" y="3777638"/>
                </a:cubicBezTo>
                <a:cubicBezTo>
                  <a:pt x="5798750" y="3777816"/>
                  <a:pt x="5799286" y="3778352"/>
                  <a:pt x="5799286" y="3778352"/>
                </a:cubicBezTo>
                <a:cubicBezTo>
                  <a:pt x="5804823" y="3782640"/>
                  <a:pt x="5808040" y="3780675"/>
                  <a:pt x="5812150" y="3773350"/>
                </a:cubicBezTo>
                <a:close/>
                <a:moveTo>
                  <a:pt x="5614003" y="3771205"/>
                </a:moveTo>
                <a:cubicBezTo>
                  <a:pt x="5611324" y="3771205"/>
                  <a:pt x="5608822" y="3771564"/>
                  <a:pt x="5606322" y="3771920"/>
                </a:cubicBezTo>
                <a:lnTo>
                  <a:pt x="5606322" y="3772098"/>
                </a:lnTo>
                <a:cubicBezTo>
                  <a:pt x="5606678" y="3772457"/>
                  <a:pt x="5607036" y="3772813"/>
                  <a:pt x="5607393" y="3773171"/>
                </a:cubicBezTo>
                <a:cubicBezTo>
                  <a:pt x="5609537" y="3772457"/>
                  <a:pt x="5611859" y="3771742"/>
                  <a:pt x="5614003" y="3771205"/>
                </a:cubicBezTo>
                <a:close/>
                <a:moveTo>
                  <a:pt x="5841986" y="3764237"/>
                </a:moveTo>
                <a:cubicBezTo>
                  <a:pt x="5838414" y="3765310"/>
                  <a:pt x="5834840" y="3766561"/>
                  <a:pt x="5831266" y="3767632"/>
                </a:cubicBezTo>
                <a:cubicBezTo>
                  <a:pt x="5831266" y="3767990"/>
                  <a:pt x="5831266" y="3768525"/>
                  <a:pt x="5831266" y="3769240"/>
                </a:cubicBezTo>
                <a:cubicBezTo>
                  <a:pt x="5831446" y="3770849"/>
                  <a:pt x="5827515" y="3770849"/>
                  <a:pt x="5828766" y="3772993"/>
                </a:cubicBezTo>
                <a:cubicBezTo>
                  <a:pt x="5835376" y="3771384"/>
                  <a:pt x="5841272" y="3769776"/>
                  <a:pt x="5847348" y="3768347"/>
                </a:cubicBezTo>
                <a:lnTo>
                  <a:pt x="5847170" y="3768169"/>
                </a:lnTo>
                <a:cubicBezTo>
                  <a:pt x="5847170" y="3767632"/>
                  <a:pt x="5847170" y="3766917"/>
                  <a:pt x="5847170" y="3766381"/>
                </a:cubicBezTo>
                <a:cubicBezTo>
                  <a:pt x="5846455" y="3766381"/>
                  <a:pt x="5845918" y="3766381"/>
                  <a:pt x="5845562" y="3766025"/>
                </a:cubicBezTo>
                <a:cubicBezTo>
                  <a:pt x="5845204" y="3765666"/>
                  <a:pt x="5844846" y="3765132"/>
                  <a:pt x="5844489" y="3764595"/>
                </a:cubicBezTo>
                <a:cubicBezTo>
                  <a:pt x="5843596" y="3764417"/>
                  <a:pt x="5842882" y="3764237"/>
                  <a:pt x="5841986" y="3764237"/>
                </a:cubicBezTo>
                <a:close/>
                <a:moveTo>
                  <a:pt x="5683508" y="3764059"/>
                </a:moveTo>
                <a:cubicBezTo>
                  <a:pt x="5682792" y="3764237"/>
                  <a:pt x="5681898" y="3764237"/>
                  <a:pt x="5681184" y="3764237"/>
                </a:cubicBezTo>
                <a:cubicBezTo>
                  <a:pt x="5672072" y="3764952"/>
                  <a:pt x="5663852" y="3771920"/>
                  <a:pt x="5654028" y="3768347"/>
                </a:cubicBezTo>
                <a:cubicBezTo>
                  <a:pt x="5637410" y="3771564"/>
                  <a:pt x="5620616" y="3774957"/>
                  <a:pt x="5603998" y="3777996"/>
                </a:cubicBezTo>
                <a:cubicBezTo>
                  <a:pt x="5603283" y="3778174"/>
                  <a:pt x="5602568" y="3776923"/>
                  <a:pt x="5600960" y="3775494"/>
                </a:cubicBezTo>
                <a:cubicBezTo>
                  <a:pt x="5602390" y="3774957"/>
                  <a:pt x="5603642" y="3774422"/>
                  <a:pt x="5604892" y="3773886"/>
                </a:cubicBezTo>
                <a:cubicBezTo>
                  <a:pt x="5604892" y="3773528"/>
                  <a:pt x="5604892" y="3773350"/>
                  <a:pt x="5604892" y="3772993"/>
                </a:cubicBezTo>
                <a:cubicBezTo>
                  <a:pt x="5605070" y="3772635"/>
                  <a:pt x="5605249" y="3772278"/>
                  <a:pt x="5605427" y="3772098"/>
                </a:cubicBezTo>
                <a:cubicBezTo>
                  <a:pt x="5592384" y="3774064"/>
                  <a:pt x="5579878" y="3778889"/>
                  <a:pt x="5566478" y="3779425"/>
                </a:cubicBezTo>
                <a:cubicBezTo>
                  <a:pt x="5567370" y="3781033"/>
                  <a:pt x="5568086" y="3782462"/>
                  <a:pt x="5568978" y="3784248"/>
                </a:cubicBezTo>
                <a:cubicBezTo>
                  <a:pt x="5562726" y="3785321"/>
                  <a:pt x="5556650" y="3786572"/>
                  <a:pt x="5550576" y="3787643"/>
                </a:cubicBezTo>
                <a:cubicBezTo>
                  <a:pt x="5544679" y="3788716"/>
                  <a:pt x="5538962" y="3789609"/>
                  <a:pt x="5533244" y="3790680"/>
                </a:cubicBezTo>
                <a:cubicBezTo>
                  <a:pt x="5526812" y="3791753"/>
                  <a:pt x="5520560" y="3793004"/>
                  <a:pt x="5514306" y="3794253"/>
                </a:cubicBezTo>
                <a:cubicBezTo>
                  <a:pt x="5508052" y="3795505"/>
                  <a:pt x="5501798" y="3797112"/>
                  <a:pt x="5495546" y="3798542"/>
                </a:cubicBezTo>
                <a:cubicBezTo>
                  <a:pt x="5489828" y="3799971"/>
                  <a:pt x="5483931" y="3800686"/>
                  <a:pt x="5478572" y="3803010"/>
                </a:cubicBezTo>
                <a:cubicBezTo>
                  <a:pt x="5473211" y="3805332"/>
                  <a:pt x="5465530" y="3802295"/>
                  <a:pt x="5461242" y="3810157"/>
                </a:cubicBezTo>
                <a:cubicBezTo>
                  <a:pt x="5463742" y="3810513"/>
                  <a:pt x="5465171" y="3811049"/>
                  <a:pt x="5466422" y="3810871"/>
                </a:cubicBezTo>
                <a:cubicBezTo>
                  <a:pt x="5493044" y="3805510"/>
                  <a:pt x="5519665" y="3799971"/>
                  <a:pt x="5546288" y="3794253"/>
                </a:cubicBezTo>
                <a:cubicBezTo>
                  <a:pt x="5555221" y="3792468"/>
                  <a:pt x="5563976" y="3790145"/>
                  <a:pt x="5572910" y="3788358"/>
                </a:cubicBezTo>
                <a:cubicBezTo>
                  <a:pt x="5574696" y="3788001"/>
                  <a:pt x="5576484" y="3789073"/>
                  <a:pt x="5580772" y="3789965"/>
                </a:cubicBezTo>
                <a:cubicBezTo>
                  <a:pt x="5577018" y="3792468"/>
                  <a:pt x="5575590" y="3794075"/>
                  <a:pt x="5573803" y="3794434"/>
                </a:cubicBezTo>
                <a:cubicBezTo>
                  <a:pt x="5564156" y="3796934"/>
                  <a:pt x="5554148" y="3799256"/>
                  <a:pt x="5544322" y="3801400"/>
                </a:cubicBezTo>
                <a:cubicBezTo>
                  <a:pt x="5533959" y="3803724"/>
                  <a:pt x="5523238" y="3804974"/>
                  <a:pt x="5513055" y="3807654"/>
                </a:cubicBezTo>
                <a:cubicBezTo>
                  <a:pt x="5492329" y="3813193"/>
                  <a:pt x="5471604" y="3817660"/>
                  <a:pt x="5450163" y="3819447"/>
                </a:cubicBezTo>
                <a:cubicBezTo>
                  <a:pt x="5441765" y="3820162"/>
                  <a:pt x="5433369" y="3822484"/>
                  <a:pt x="5425149" y="3824450"/>
                </a:cubicBezTo>
                <a:cubicBezTo>
                  <a:pt x="5424971" y="3824628"/>
                  <a:pt x="5424612" y="3824628"/>
                  <a:pt x="5424434" y="3824628"/>
                </a:cubicBezTo>
                <a:cubicBezTo>
                  <a:pt x="5424256" y="3824985"/>
                  <a:pt x="5423898" y="3825343"/>
                  <a:pt x="5423898" y="3825699"/>
                </a:cubicBezTo>
                <a:cubicBezTo>
                  <a:pt x="5423364" y="3826772"/>
                  <a:pt x="5422827" y="3827844"/>
                  <a:pt x="5421934" y="3828738"/>
                </a:cubicBezTo>
                <a:cubicBezTo>
                  <a:pt x="5422112" y="3829273"/>
                  <a:pt x="5422468" y="3829809"/>
                  <a:pt x="5422827" y="3830524"/>
                </a:cubicBezTo>
                <a:cubicBezTo>
                  <a:pt x="5426578" y="3830702"/>
                  <a:pt x="5430510" y="3831061"/>
                  <a:pt x="5434262" y="3831061"/>
                </a:cubicBezTo>
                <a:cubicBezTo>
                  <a:pt x="5434262" y="3831597"/>
                  <a:pt x="5434262" y="3832132"/>
                  <a:pt x="5434262" y="3832668"/>
                </a:cubicBezTo>
                <a:cubicBezTo>
                  <a:pt x="5427115" y="3834990"/>
                  <a:pt x="5420146" y="3837134"/>
                  <a:pt x="5413000" y="3839278"/>
                </a:cubicBezTo>
                <a:cubicBezTo>
                  <a:pt x="5426222" y="3836778"/>
                  <a:pt x="5439442" y="3834276"/>
                  <a:pt x="5452487" y="3831597"/>
                </a:cubicBezTo>
                <a:cubicBezTo>
                  <a:pt x="5458739" y="3828916"/>
                  <a:pt x="5465171" y="3826414"/>
                  <a:pt x="5472496" y="3827309"/>
                </a:cubicBezTo>
                <a:cubicBezTo>
                  <a:pt x="5472676" y="3827309"/>
                  <a:pt x="5473032" y="3827309"/>
                  <a:pt x="5473211" y="3827309"/>
                </a:cubicBezTo>
                <a:cubicBezTo>
                  <a:pt x="5473569" y="3827129"/>
                  <a:pt x="5473926" y="3827129"/>
                  <a:pt x="5474284" y="3827129"/>
                </a:cubicBezTo>
                <a:cubicBezTo>
                  <a:pt x="5490722" y="3815874"/>
                  <a:pt x="5512340" y="3820697"/>
                  <a:pt x="5529136" y="3810157"/>
                </a:cubicBezTo>
                <a:cubicBezTo>
                  <a:pt x="5533244" y="3807654"/>
                  <a:pt x="5538962" y="3805868"/>
                  <a:pt x="5544322" y="3808547"/>
                </a:cubicBezTo>
                <a:cubicBezTo>
                  <a:pt x="5544144" y="3810871"/>
                  <a:pt x="5543430" y="3812479"/>
                  <a:pt x="5542178" y="3813550"/>
                </a:cubicBezTo>
                <a:cubicBezTo>
                  <a:pt x="5544144" y="3813372"/>
                  <a:pt x="5546288" y="3813193"/>
                  <a:pt x="5548252" y="3813015"/>
                </a:cubicBezTo>
                <a:cubicBezTo>
                  <a:pt x="5552362" y="3812479"/>
                  <a:pt x="5556472" y="3812121"/>
                  <a:pt x="5560582" y="3811764"/>
                </a:cubicBezTo>
                <a:cubicBezTo>
                  <a:pt x="5562546" y="3810691"/>
                  <a:pt x="5564512" y="3809442"/>
                  <a:pt x="5566300" y="3807832"/>
                </a:cubicBezTo>
                <a:cubicBezTo>
                  <a:pt x="5564870" y="3806225"/>
                  <a:pt x="5563441" y="3804617"/>
                  <a:pt x="5562012" y="3802830"/>
                </a:cubicBezTo>
                <a:cubicBezTo>
                  <a:pt x="5562368" y="3802115"/>
                  <a:pt x="5562546" y="3800686"/>
                  <a:pt x="5563261" y="3800329"/>
                </a:cubicBezTo>
                <a:cubicBezTo>
                  <a:pt x="5571480" y="3796219"/>
                  <a:pt x="5581486" y="3795326"/>
                  <a:pt x="5586489" y="3785677"/>
                </a:cubicBezTo>
                <a:cubicBezTo>
                  <a:pt x="5587560" y="3783533"/>
                  <a:pt x="5591492" y="3782462"/>
                  <a:pt x="5594172" y="3781748"/>
                </a:cubicBezTo>
                <a:cubicBezTo>
                  <a:pt x="5599890" y="3780140"/>
                  <a:pt x="5605607" y="3778531"/>
                  <a:pt x="5611324" y="3777816"/>
                </a:cubicBezTo>
                <a:cubicBezTo>
                  <a:pt x="5627940" y="3775494"/>
                  <a:pt x="5644200" y="3770849"/>
                  <a:pt x="5661172" y="3769776"/>
                </a:cubicBezTo>
                <a:lnTo>
                  <a:pt x="5660816" y="3769776"/>
                </a:lnTo>
                <a:cubicBezTo>
                  <a:pt x="5668499" y="3769420"/>
                  <a:pt x="5676360" y="3767096"/>
                  <a:pt x="5683508" y="3764059"/>
                </a:cubicBezTo>
                <a:close/>
                <a:moveTo>
                  <a:pt x="5871378" y="3760955"/>
                </a:moveTo>
                <a:cubicBezTo>
                  <a:pt x="5868832" y="3762228"/>
                  <a:pt x="5866643" y="3764149"/>
                  <a:pt x="5864142" y="3764417"/>
                </a:cubicBezTo>
                <a:cubicBezTo>
                  <a:pt x="5869324" y="3764773"/>
                  <a:pt x="5874506" y="3766739"/>
                  <a:pt x="5880758" y="3761378"/>
                </a:cubicBezTo>
                <a:cubicBezTo>
                  <a:pt x="5876828" y="3759056"/>
                  <a:pt x="5873925" y="3759681"/>
                  <a:pt x="5871378" y="3760955"/>
                </a:cubicBezTo>
                <a:close/>
                <a:moveTo>
                  <a:pt x="5960804" y="3758878"/>
                </a:moveTo>
                <a:cubicBezTo>
                  <a:pt x="5961160" y="3759414"/>
                  <a:pt x="5961518" y="3760663"/>
                  <a:pt x="5961518" y="3760663"/>
                </a:cubicBezTo>
                <a:lnTo>
                  <a:pt x="5961518" y="3760844"/>
                </a:lnTo>
                <a:cubicBezTo>
                  <a:pt x="5962768" y="3761022"/>
                  <a:pt x="5964198" y="3760663"/>
                  <a:pt x="5965626" y="3760663"/>
                </a:cubicBezTo>
                <a:cubicBezTo>
                  <a:pt x="5965270" y="3759771"/>
                  <a:pt x="5965090" y="3758878"/>
                  <a:pt x="5965090" y="3758878"/>
                </a:cubicBezTo>
                <a:cubicBezTo>
                  <a:pt x="5963662" y="3758878"/>
                  <a:pt x="5962234" y="3758878"/>
                  <a:pt x="5960804" y="3758878"/>
                </a:cubicBezTo>
                <a:close/>
                <a:moveTo>
                  <a:pt x="5726744" y="3745121"/>
                </a:moveTo>
                <a:cubicBezTo>
                  <a:pt x="5723350" y="3745477"/>
                  <a:pt x="5720134" y="3745835"/>
                  <a:pt x="5716739" y="3746192"/>
                </a:cubicBezTo>
                <a:cubicBezTo>
                  <a:pt x="5708163" y="3747085"/>
                  <a:pt x="5700124" y="3749050"/>
                  <a:pt x="5692440" y="3753875"/>
                </a:cubicBezTo>
                <a:cubicBezTo>
                  <a:pt x="5694942" y="3753517"/>
                  <a:pt x="5697264" y="3753338"/>
                  <a:pt x="5699587" y="3752982"/>
                </a:cubicBezTo>
                <a:cubicBezTo>
                  <a:pt x="5702626" y="3752446"/>
                  <a:pt x="5705482" y="3752087"/>
                  <a:pt x="5708522" y="3751553"/>
                </a:cubicBezTo>
                <a:cubicBezTo>
                  <a:pt x="5714058" y="3748872"/>
                  <a:pt x="5719776" y="3746728"/>
                  <a:pt x="5726030" y="3745299"/>
                </a:cubicBezTo>
                <a:cubicBezTo>
                  <a:pt x="5726388" y="3745121"/>
                  <a:pt x="5726566" y="3745121"/>
                  <a:pt x="5726744" y="3745121"/>
                </a:cubicBezTo>
                <a:close/>
                <a:moveTo>
                  <a:pt x="5949904" y="3742796"/>
                </a:moveTo>
                <a:cubicBezTo>
                  <a:pt x="5947403" y="3743155"/>
                  <a:pt x="5946866" y="3743155"/>
                  <a:pt x="5946510" y="3743155"/>
                </a:cubicBezTo>
                <a:lnTo>
                  <a:pt x="5946510" y="3743646"/>
                </a:lnTo>
                <a:lnTo>
                  <a:pt x="5946330" y="3743691"/>
                </a:lnTo>
                <a:lnTo>
                  <a:pt x="5946510" y="3743691"/>
                </a:lnTo>
                <a:lnTo>
                  <a:pt x="5946510" y="3743646"/>
                </a:lnTo>
                <a:close/>
                <a:moveTo>
                  <a:pt x="6037095" y="3735830"/>
                </a:moveTo>
                <a:cubicBezTo>
                  <a:pt x="6036024" y="3736186"/>
                  <a:pt x="6034772" y="3736544"/>
                  <a:pt x="6033702" y="3736723"/>
                </a:cubicBezTo>
                <a:cubicBezTo>
                  <a:pt x="6034950" y="3736544"/>
                  <a:pt x="6036024" y="3736186"/>
                  <a:pt x="6037275" y="3736186"/>
                </a:cubicBezTo>
                <a:cubicBezTo>
                  <a:pt x="6037275" y="3736008"/>
                  <a:pt x="6037275" y="3735830"/>
                  <a:pt x="6037275" y="3735830"/>
                </a:cubicBezTo>
                <a:close/>
                <a:moveTo>
                  <a:pt x="5941149" y="3735293"/>
                </a:moveTo>
                <a:cubicBezTo>
                  <a:pt x="5934539" y="3736364"/>
                  <a:pt x="5927748" y="3737079"/>
                  <a:pt x="5921316" y="3738688"/>
                </a:cubicBezTo>
                <a:cubicBezTo>
                  <a:pt x="5918816" y="3739403"/>
                  <a:pt x="5916492" y="3740118"/>
                  <a:pt x="5914170" y="3740832"/>
                </a:cubicBezTo>
                <a:cubicBezTo>
                  <a:pt x="5912026" y="3741547"/>
                  <a:pt x="5910062" y="3742440"/>
                  <a:pt x="5908096" y="3743511"/>
                </a:cubicBezTo>
                <a:cubicBezTo>
                  <a:pt x="5919172" y="3740832"/>
                  <a:pt x="5930251" y="3737974"/>
                  <a:pt x="5941149" y="3735293"/>
                </a:cubicBezTo>
                <a:close/>
                <a:moveTo>
                  <a:pt x="5786420" y="3735293"/>
                </a:moveTo>
                <a:cubicBezTo>
                  <a:pt x="5779990" y="3734757"/>
                  <a:pt x="5775343" y="3734400"/>
                  <a:pt x="5770877" y="3735471"/>
                </a:cubicBezTo>
                <a:cubicBezTo>
                  <a:pt x="5763194" y="3737259"/>
                  <a:pt x="5755510" y="3738508"/>
                  <a:pt x="5747829" y="3741189"/>
                </a:cubicBezTo>
                <a:cubicBezTo>
                  <a:pt x="5743362" y="3742796"/>
                  <a:pt x="5738716" y="3743691"/>
                  <a:pt x="5733892" y="3744406"/>
                </a:cubicBezTo>
                <a:cubicBezTo>
                  <a:pt x="5734428" y="3745299"/>
                  <a:pt x="5734250" y="3746550"/>
                  <a:pt x="5733177" y="3747979"/>
                </a:cubicBezTo>
                <a:cubicBezTo>
                  <a:pt x="5743004" y="3746550"/>
                  <a:pt x="5752652" y="3745121"/>
                  <a:pt x="5762479" y="3743511"/>
                </a:cubicBezTo>
                <a:cubicBezTo>
                  <a:pt x="5763908" y="3743155"/>
                  <a:pt x="5765160" y="3742976"/>
                  <a:pt x="5766588" y="3742796"/>
                </a:cubicBezTo>
                <a:cubicBezTo>
                  <a:pt x="5771055" y="3741547"/>
                  <a:pt x="5775522" y="3740296"/>
                  <a:pt x="5779990" y="3739045"/>
                </a:cubicBezTo>
                <a:lnTo>
                  <a:pt x="5779810" y="3739223"/>
                </a:lnTo>
                <a:cubicBezTo>
                  <a:pt x="5781954" y="3738152"/>
                  <a:pt x="5784278" y="3736901"/>
                  <a:pt x="5786420" y="3735293"/>
                </a:cubicBezTo>
                <a:close/>
                <a:moveTo>
                  <a:pt x="6042456" y="3734757"/>
                </a:moveTo>
                <a:cubicBezTo>
                  <a:pt x="6041026" y="3735293"/>
                  <a:pt x="6039776" y="3735650"/>
                  <a:pt x="6038346" y="3736186"/>
                </a:cubicBezTo>
                <a:cubicBezTo>
                  <a:pt x="6039776" y="3736364"/>
                  <a:pt x="6041204" y="3736544"/>
                  <a:pt x="6042456" y="3736544"/>
                </a:cubicBezTo>
                <a:close/>
                <a:moveTo>
                  <a:pt x="6019764" y="3733686"/>
                </a:moveTo>
                <a:cubicBezTo>
                  <a:pt x="6019408" y="3733864"/>
                  <a:pt x="6019228" y="3733864"/>
                  <a:pt x="6018872" y="3733864"/>
                </a:cubicBezTo>
                <a:cubicBezTo>
                  <a:pt x="6018156" y="3734220"/>
                  <a:pt x="6017264" y="3734579"/>
                  <a:pt x="6016728" y="3735115"/>
                </a:cubicBezTo>
                <a:lnTo>
                  <a:pt x="6013175" y="3738845"/>
                </a:lnTo>
                <a:lnTo>
                  <a:pt x="6012976" y="3738867"/>
                </a:lnTo>
                <a:lnTo>
                  <a:pt x="6013154" y="3738867"/>
                </a:lnTo>
                <a:lnTo>
                  <a:pt x="6013175" y="3738845"/>
                </a:lnTo>
                <a:lnTo>
                  <a:pt x="6024410" y="3737615"/>
                </a:lnTo>
                <a:cubicBezTo>
                  <a:pt x="6022981" y="3736186"/>
                  <a:pt x="6021372" y="3734935"/>
                  <a:pt x="6019764" y="3733686"/>
                </a:cubicBezTo>
                <a:close/>
                <a:moveTo>
                  <a:pt x="6193254" y="3718141"/>
                </a:moveTo>
                <a:cubicBezTo>
                  <a:pt x="6192896" y="3718319"/>
                  <a:pt x="6192361" y="3718497"/>
                  <a:pt x="6192361" y="3718856"/>
                </a:cubicBezTo>
                <a:cubicBezTo>
                  <a:pt x="6192180" y="3719034"/>
                  <a:pt x="6192717" y="3719392"/>
                  <a:pt x="6192896" y="3719748"/>
                </a:cubicBezTo>
                <a:cubicBezTo>
                  <a:pt x="6193254" y="3719570"/>
                  <a:pt x="6193790" y="3719392"/>
                  <a:pt x="6193790" y="3719034"/>
                </a:cubicBezTo>
                <a:cubicBezTo>
                  <a:pt x="6193790" y="3718856"/>
                  <a:pt x="6193254" y="3718141"/>
                  <a:pt x="6193254" y="3718141"/>
                </a:cubicBezTo>
                <a:close/>
                <a:moveTo>
                  <a:pt x="6206118" y="3717783"/>
                </a:moveTo>
                <a:cubicBezTo>
                  <a:pt x="6205404" y="3717783"/>
                  <a:pt x="6204688" y="3718856"/>
                  <a:pt x="6203974" y="3719392"/>
                </a:cubicBezTo>
                <a:cubicBezTo>
                  <a:pt x="6205225" y="3720107"/>
                  <a:pt x="6206474" y="3720821"/>
                  <a:pt x="6207906" y="3721178"/>
                </a:cubicBezTo>
                <a:cubicBezTo>
                  <a:pt x="6208440" y="3721356"/>
                  <a:pt x="6209333" y="3720107"/>
                  <a:pt x="6210406" y="3719034"/>
                </a:cubicBezTo>
                <a:cubicBezTo>
                  <a:pt x="6208798" y="3718497"/>
                  <a:pt x="6207369" y="3717783"/>
                  <a:pt x="6206118" y="3717783"/>
                </a:cubicBezTo>
                <a:close/>
                <a:moveTo>
                  <a:pt x="6228988" y="3714746"/>
                </a:moveTo>
                <a:lnTo>
                  <a:pt x="6226853" y="3717438"/>
                </a:lnTo>
                <a:lnTo>
                  <a:pt x="6226486" y="3717248"/>
                </a:lnTo>
                <a:cubicBezTo>
                  <a:pt x="6226486" y="3717248"/>
                  <a:pt x="6226486" y="3717248"/>
                  <a:pt x="6226486" y="3717426"/>
                </a:cubicBezTo>
                <a:lnTo>
                  <a:pt x="6222704" y="3716921"/>
                </a:lnTo>
                <a:lnTo>
                  <a:pt x="6222734" y="3716711"/>
                </a:lnTo>
                <a:lnTo>
                  <a:pt x="6222734" y="3716890"/>
                </a:lnTo>
                <a:cubicBezTo>
                  <a:pt x="6224700" y="3715997"/>
                  <a:pt x="6226844" y="3715460"/>
                  <a:pt x="6228988" y="3714746"/>
                </a:cubicBezTo>
                <a:close/>
                <a:moveTo>
                  <a:pt x="6026631" y="3713164"/>
                </a:moveTo>
                <a:lnTo>
                  <a:pt x="6032272" y="3713853"/>
                </a:lnTo>
                <a:lnTo>
                  <a:pt x="6032450" y="3713853"/>
                </a:lnTo>
                <a:lnTo>
                  <a:pt x="6032153" y="3716725"/>
                </a:lnTo>
                <a:lnTo>
                  <a:pt x="6032092" y="3716711"/>
                </a:lnTo>
                <a:cubicBezTo>
                  <a:pt x="6031736" y="3716711"/>
                  <a:pt x="6031199" y="3716533"/>
                  <a:pt x="6030842" y="3716533"/>
                </a:cubicBezTo>
                <a:close/>
                <a:moveTo>
                  <a:pt x="6013154" y="3696342"/>
                </a:moveTo>
                <a:cubicBezTo>
                  <a:pt x="6006544" y="3696879"/>
                  <a:pt x="6000112" y="3697415"/>
                  <a:pt x="5993501" y="3697952"/>
                </a:cubicBezTo>
                <a:cubicBezTo>
                  <a:pt x="5986710" y="3699737"/>
                  <a:pt x="5979920" y="3701525"/>
                  <a:pt x="5972239" y="3700988"/>
                </a:cubicBezTo>
                <a:cubicBezTo>
                  <a:pt x="5972595" y="3700452"/>
                  <a:pt x="5973132" y="3700096"/>
                  <a:pt x="5973668" y="3699559"/>
                </a:cubicBezTo>
                <a:cubicBezTo>
                  <a:pt x="5969380" y="3699916"/>
                  <a:pt x="5965270" y="3700274"/>
                  <a:pt x="5960982" y="3700630"/>
                </a:cubicBezTo>
                <a:cubicBezTo>
                  <a:pt x="5955801" y="3701167"/>
                  <a:pt x="5950618" y="3700096"/>
                  <a:pt x="5945616" y="3701167"/>
                </a:cubicBezTo>
                <a:cubicBezTo>
                  <a:pt x="5940971" y="3702240"/>
                  <a:pt x="5936861" y="3705277"/>
                  <a:pt x="5932395" y="3706884"/>
                </a:cubicBezTo>
                <a:cubicBezTo>
                  <a:pt x="5929000" y="3708135"/>
                  <a:pt x="5925248" y="3708492"/>
                  <a:pt x="5921496" y="3709028"/>
                </a:cubicBezTo>
                <a:cubicBezTo>
                  <a:pt x="5912562" y="3710279"/>
                  <a:pt x="5903450" y="3711350"/>
                  <a:pt x="5894516" y="3712602"/>
                </a:cubicBezTo>
                <a:cubicBezTo>
                  <a:pt x="5894158" y="3713675"/>
                  <a:pt x="5893802" y="3714746"/>
                  <a:pt x="5893444" y="3715819"/>
                </a:cubicBezTo>
                <a:cubicBezTo>
                  <a:pt x="5905237" y="3719392"/>
                  <a:pt x="5914170" y="3712960"/>
                  <a:pt x="5923460" y="3709206"/>
                </a:cubicBezTo>
                <a:cubicBezTo>
                  <a:pt x="5926141" y="3713675"/>
                  <a:pt x="5922926" y="3715104"/>
                  <a:pt x="5920424" y="3715819"/>
                </a:cubicBezTo>
                <a:cubicBezTo>
                  <a:pt x="5909167" y="3718856"/>
                  <a:pt x="5897732" y="3721536"/>
                  <a:pt x="5886477" y="3724751"/>
                </a:cubicBezTo>
                <a:cubicBezTo>
                  <a:pt x="5879686" y="3726717"/>
                  <a:pt x="5873254" y="3729398"/>
                  <a:pt x="5866822" y="3732613"/>
                </a:cubicBezTo>
                <a:cubicBezTo>
                  <a:pt x="5873254" y="3732613"/>
                  <a:pt x="5879508" y="3731183"/>
                  <a:pt x="5885582" y="3729398"/>
                </a:cubicBezTo>
                <a:cubicBezTo>
                  <a:pt x="5899698" y="3725466"/>
                  <a:pt x="5913813" y="3721536"/>
                  <a:pt x="5927928" y="3717604"/>
                </a:cubicBezTo>
                <a:cubicBezTo>
                  <a:pt x="5939720" y="3714389"/>
                  <a:pt x="5951870" y="3712065"/>
                  <a:pt x="5963304" y="3707242"/>
                </a:cubicBezTo>
                <a:cubicBezTo>
                  <a:pt x="5971344" y="3703847"/>
                  <a:pt x="5980456" y="3703133"/>
                  <a:pt x="5989033" y="3701345"/>
                </a:cubicBezTo>
                <a:lnTo>
                  <a:pt x="5989211" y="3701525"/>
                </a:lnTo>
                <a:cubicBezTo>
                  <a:pt x="5997252" y="3699737"/>
                  <a:pt x="6005114" y="3698130"/>
                  <a:pt x="6013154" y="3696342"/>
                </a:cubicBezTo>
                <a:close/>
                <a:moveTo>
                  <a:pt x="5882009" y="3692769"/>
                </a:moveTo>
                <a:cubicBezTo>
                  <a:pt x="5881474" y="3693127"/>
                  <a:pt x="5880758" y="3693663"/>
                  <a:pt x="5880223" y="3694198"/>
                </a:cubicBezTo>
                <a:cubicBezTo>
                  <a:pt x="5880758" y="3694378"/>
                  <a:pt x="5881296" y="3694378"/>
                  <a:pt x="5881652" y="3694378"/>
                </a:cubicBezTo>
                <a:cubicBezTo>
                  <a:pt x="5882367" y="3694020"/>
                  <a:pt x="5883438" y="3692949"/>
                  <a:pt x="5883438" y="3692949"/>
                </a:cubicBezTo>
                <a:lnTo>
                  <a:pt x="5883438" y="3692769"/>
                </a:lnTo>
                <a:cubicBezTo>
                  <a:pt x="5882904" y="3692769"/>
                  <a:pt x="5882546" y="3692769"/>
                  <a:pt x="5882009" y="3692769"/>
                </a:cubicBezTo>
                <a:close/>
                <a:moveTo>
                  <a:pt x="5698694" y="3690625"/>
                </a:moveTo>
                <a:cubicBezTo>
                  <a:pt x="5698336" y="3696164"/>
                  <a:pt x="5697801" y="3699201"/>
                  <a:pt x="5698336" y="3702060"/>
                </a:cubicBezTo>
                <a:cubicBezTo>
                  <a:pt x="5699050" y="3704918"/>
                  <a:pt x="5701016" y="3706706"/>
                  <a:pt x="5704233" y="3703133"/>
                </a:cubicBezTo>
                <a:lnTo>
                  <a:pt x="5704053" y="3702954"/>
                </a:lnTo>
                <a:cubicBezTo>
                  <a:pt x="5702626" y="3699737"/>
                  <a:pt x="5701194" y="3696522"/>
                  <a:pt x="5698694" y="3690625"/>
                </a:cubicBezTo>
                <a:close/>
                <a:moveTo>
                  <a:pt x="5954906" y="3686337"/>
                </a:moveTo>
                <a:cubicBezTo>
                  <a:pt x="5953657" y="3686517"/>
                  <a:pt x="5952584" y="3686517"/>
                  <a:pt x="5951333" y="3686517"/>
                </a:cubicBezTo>
                <a:cubicBezTo>
                  <a:pt x="5950618" y="3686873"/>
                  <a:pt x="5950084" y="3687410"/>
                  <a:pt x="5949547" y="3687946"/>
                </a:cubicBezTo>
                <a:cubicBezTo>
                  <a:pt x="5952226" y="3689017"/>
                  <a:pt x="5953657" y="3689195"/>
                  <a:pt x="5955621" y="3688661"/>
                </a:cubicBezTo>
                <a:lnTo>
                  <a:pt x="5955443" y="3688481"/>
                </a:lnTo>
                <a:cubicBezTo>
                  <a:pt x="5955264" y="3687766"/>
                  <a:pt x="5955086" y="3687051"/>
                  <a:pt x="5954906" y="3686337"/>
                </a:cubicBezTo>
                <a:close/>
                <a:moveTo>
                  <a:pt x="5796247" y="3683658"/>
                </a:moveTo>
                <a:cubicBezTo>
                  <a:pt x="5795890" y="3683658"/>
                  <a:pt x="5795354" y="3684014"/>
                  <a:pt x="5794818" y="3684014"/>
                </a:cubicBezTo>
                <a:cubicBezTo>
                  <a:pt x="5795354" y="3684373"/>
                  <a:pt x="5795712" y="3684907"/>
                  <a:pt x="5796247" y="3685265"/>
                </a:cubicBezTo>
                <a:cubicBezTo>
                  <a:pt x="5796427" y="3685265"/>
                  <a:pt x="5796964" y="3684729"/>
                  <a:pt x="5797320" y="3684373"/>
                </a:cubicBezTo>
                <a:cubicBezTo>
                  <a:pt x="5796964" y="3684193"/>
                  <a:pt x="5796247" y="3683658"/>
                  <a:pt x="5796247" y="3683658"/>
                </a:cubicBezTo>
                <a:close/>
                <a:moveTo>
                  <a:pt x="6020837" y="3678119"/>
                </a:moveTo>
                <a:lnTo>
                  <a:pt x="6019764" y="3679012"/>
                </a:lnTo>
                <a:lnTo>
                  <a:pt x="6019764" y="3679190"/>
                </a:lnTo>
                <a:lnTo>
                  <a:pt x="6021194" y="3679190"/>
                </a:lnTo>
                <a:close/>
                <a:moveTo>
                  <a:pt x="6145370" y="3676868"/>
                </a:moveTo>
                <a:cubicBezTo>
                  <a:pt x="6145370" y="3677046"/>
                  <a:pt x="6145370" y="3677760"/>
                  <a:pt x="6145370" y="3677760"/>
                </a:cubicBezTo>
                <a:cubicBezTo>
                  <a:pt x="6145548" y="3677760"/>
                  <a:pt x="6146084" y="3677760"/>
                  <a:pt x="6146441" y="3677760"/>
                </a:cubicBezTo>
                <a:cubicBezTo>
                  <a:pt x="6146441" y="3677582"/>
                  <a:pt x="6146441" y="3676868"/>
                  <a:pt x="6146441" y="3676868"/>
                </a:cubicBezTo>
                <a:cubicBezTo>
                  <a:pt x="6146084" y="3676868"/>
                  <a:pt x="6145726" y="3676868"/>
                  <a:pt x="6145370" y="3676868"/>
                </a:cubicBezTo>
                <a:close/>
                <a:moveTo>
                  <a:pt x="5825549" y="3676689"/>
                </a:moveTo>
                <a:lnTo>
                  <a:pt x="5825522" y="3676764"/>
                </a:lnTo>
                <a:lnTo>
                  <a:pt x="5811970" y="3679370"/>
                </a:lnTo>
                <a:cubicBezTo>
                  <a:pt x="5811970" y="3679904"/>
                  <a:pt x="5811970" y="3680263"/>
                  <a:pt x="5811970" y="3680619"/>
                </a:cubicBezTo>
                <a:cubicBezTo>
                  <a:pt x="5816080" y="3680441"/>
                  <a:pt x="5820190" y="3680441"/>
                  <a:pt x="5824300" y="3680085"/>
                </a:cubicBezTo>
                <a:lnTo>
                  <a:pt x="5825522" y="3676764"/>
                </a:lnTo>
                <a:lnTo>
                  <a:pt x="5825908" y="3676689"/>
                </a:lnTo>
                <a:close/>
                <a:moveTo>
                  <a:pt x="6131613" y="3675438"/>
                </a:moveTo>
                <a:cubicBezTo>
                  <a:pt x="6131613" y="3675438"/>
                  <a:pt x="6131254" y="3676511"/>
                  <a:pt x="6131254" y="3676511"/>
                </a:cubicBezTo>
                <a:lnTo>
                  <a:pt x="6132148" y="3676511"/>
                </a:lnTo>
                <a:close/>
                <a:moveTo>
                  <a:pt x="5758369" y="3674902"/>
                </a:moveTo>
                <a:cubicBezTo>
                  <a:pt x="5754618" y="3676868"/>
                  <a:pt x="5750866" y="3678475"/>
                  <a:pt x="5746934" y="3679904"/>
                </a:cubicBezTo>
                <a:cubicBezTo>
                  <a:pt x="5747648" y="3680441"/>
                  <a:pt x="5748185" y="3680799"/>
                  <a:pt x="5748900" y="3681334"/>
                </a:cubicBezTo>
                <a:cubicBezTo>
                  <a:pt x="5754439" y="3685802"/>
                  <a:pt x="5757654" y="3683658"/>
                  <a:pt x="5761942" y="3676153"/>
                </a:cubicBezTo>
                <a:lnTo>
                  <a:pt x="5761764" y="3675975"/>
                </a:lnTo>
                <a:cubicBezTo>
                  <a:pt x="5760693" y="3675616"/>
                  <a:pt x="5759442" y="3675438"/>
                  <a:pt x="5758369" y="3674902"/>
                </a:cubicBezTo>
                <a:close/>
                <a:moveTo>
                  <a:pt x="5770698" y="3670614"/>
                </a:moveTo>
                <a:cubicBezTo>
                  <a:pt x="5770340" y="3670794"/>
                  <a:pt x="5769984" y="3670972"/>
                  <a:pt x="5769626" y="3671150"/>
                </a:cubicBezTo>
                <a:cubicBezTo>
                  <a:pt x="5769984" y="3671328"/>
                  <a:pt x="5771055" y="3671508"/>
                  <a:pt x="5771055" y="3671508"/>
                </a:cubicBezTo>
                <a:lnTo>
                  <a:pt x="5771233" y="3671508"/>
                </a:lnTo>
                <a:cubicBezTo>
                  <a:pt x="5771055" y="3671150"/>
                  <a:pt x="5770698" y="3670972"/>
                  <a:pt x="5770698" y="3670614"/>
                </a:cubicBezTo>
                <a:close/>
                <a:moveTo>
                  <a:pt x="6116246" y="3670257"/>
                </a:moveTo>
                <a:cubicBezTo>
                  <a:pt x="6112851" y="3670972"/>
                  <a:pt x="6109458" y="3671687"/>
                  <a:pt x="6106062" y="3672401"/>
                </a:cubicBezTo>
                <a:cubicBezTo>
                  <a:pt x="6109278" y="3672401"/>
                  <a:pt x="6112494" y="3672401"/>
                  <a:pt x="6115710" y="3672401"/>
                </a:cubicBezTo>
                <a:lnTo>
                  <a:pt x="6115710" y="3672579"/>
                </a:lnTo>
                <a:cubicBezTo>
                  <a:pt x="6116424" y="3672579"/>
                  <a:pt x="6116961" y="3671328"/>
                  <a:pt x="6117498" y="3670794"/>
                </a:cubicBezTo>
                <a:cubicBezTo>
                  <a:pt x="6117139" y="3670614"/>
                  <a:pt x="6116604" y="3670435"/>
                  <a:pt x="6116246" y="3670257"/>
                </a:cubicBezTo>
                <a:close/>
                <a:moveTo>
                  <a:pt x="5785885" y="3666325"/>
                </a:moveTo>
                <a:cubicBezTo>
                  <a:pt x="5784812" y="3666684"/>
                  <a:pt x="5783920" y="3666862"/>
                  <a:pt x="5782848" y="3667040"/>
                </a:cubicBezTo>
                <a:cubicBezTo>
                  <a:pt x="5781419" y="3667935"/>
                  <a:pt x="5780704" y="3669542"/>
                  <a:pt x="5780882" y="3672043"/>
                </a:cubicBezTo>
                <a:lnTo>
                  <a:pt x="5778524" y="3675580"/>
                </a:lnTo>
                <a:lnTo>
                  <a:pt x="5778380" y="3675616"/>
                </a:lnTo>
                <a:lnTo>
                  <a:pt x="5778380" y="3675796"/>
                </a:lnTo>
                <a:lnTo>
                  <a:pt x="5778524" y="3675580"/>
                </a:lnTo>
                <a:lnTo>
                  <a:pt x="5796964" y="3670972"/>
                </a:lnTo>
                <a:cubicBezTo>
                  <a:pt x="5796964" y="3669899"/>
                  <a:pt x="5796964" y="3668828"/>
                  <a:pt x="5796964" y="3667755"/>
                </a:cubicBezTo>
                <a:cubicBezTo>
                  <a:pt x="5793388" y="3667220"/>
                  <a:pt x="5789995" y="3666506"/>
                  <a:pt x="5786420" y="3666325"/>
                </a:cubicBezTo>
                <a:cubicBezTo>
                  <a:pt x="5786242" y="3666325"/>
                  <a:pt x="5785885" y="3666325"/>
                  <a:pt x="5785885" y="3666325"/>
                </a:cubicBezTo>
                <a:close/>
                <a:moveTo>
                  <a:pt x="5820837" y="3663758"/>
                </a:moveTo>
                <a:cubicBezTo>
                  <a:pt x="5818403" y="3664986"/>
                  <a:pt x="5816259" y="3666773"/>
                  <a:pt x="5813758" y="3667040"/>
                </a:cubicBezTo>
                <a:lnTo>
                  <a:pt x="5819518" y="3667739"/>
                </a:lnTo>
                <a:lnTo>
                  <a:pt x="5819475" y="3667755"/>
                </a:lnTo>
                <a:lnTo>
                  <a:pt x="5819654" y="3667755"/>
                </a:lnTo>
                <a:lnTo>
                  <a:pt x="5819518" y="3667739"/>
                </a:lnTo>
                <a:lnTo>
                  <a:pt x="5829659" y="3663825"/>
                </a:lnTo>
                <a:cubicBezTo>
                  <a:pt x="5825997" y="3661859"/>
                  <a:pt x="5823272" y="3662529"/>
                  <a:pt x="5820837" y="3663758"/>
                </a:cubicBezTo>
                <a:close/>
                <a:moveTo>
                  <a:pt x="5910418" y="3661859"/>
                </a:moveTo>
                <a:lnTo>
                  <a:pt x="5910418" y="3662037"/>
                </a:lnTo>
                <a:cubicBezTo>
                  <a:pt x="5910776" y="3662574"/>
                  <a:pt x="5910776" y="3663825"/>
                  <a:pt x="5911132" y="3663825"/>
                </a:cubicBezTo>
                <a:cubicBezTo>
                  <a:pt x="5911311" y="3663825"/>
                  <a:pt x="5911669" y="3663825"/>
                  <a:pt x="5911669" y="3663825"/>
                </a:cubicBezTo>
                <a:cubicBezTo>
                  <a:pt x="5912206" y="3662932"/>
                  <a:pt x="5912740" y="3662217"/>
                  <a:pt x="5913455" y="3661859"/>
                </a:cubicBezTo>
                <a:cubicBezTo>
                  <a:pt x="5912384" y="3661859"/>
                  <a:pt x="5911489" y="3661859"/>
                  <a:pt x="5910418" y="3661859"/>
                </a:cubicBezTo>
                <a:close/>
                <a:moveTo>
                  <a:pt x="5985103" y="3660430"/>
                </a:moveTo>
                <a:cubicBezTo>
                  <a:pt x="5982957" y="3662574"/>
                  <a:pt x="5980815" y="3664540"/>
                  <a:pt x="5978491" y="3667040"/>
                </a:cubicBezTo>
                <a:cubicBezTo>
                  <a:pt x="5980100" y="3666862"/>
                  <a:pt x="5981530" y="3666684"/>
                  <a:pt x="5983138" y="3666506"/>
                </a:cubicBezTo>
                <a:cubicBezTo>
                  <a:pt x="5981350" y="3667040"/>
                  <a:pt x="5979386" y="3667577"/>
                  <a:pt x="5977598" y="3668113"/>
                </a:cubicBezTo>
                <a:cubicBezTo>
                  <a:pt x="5976168" y="3669542"/>
                  <a:pt x="5974740" y="3670972"/>
                  <a:pt x="5973132" y="3672579"/>
                </a:cubicBezTo>
                <a:cubicBezTo>
                  <a:pt x="5977062" y="3672938"/>
                  <a:pt x="5980456" y="3673116"/>
                  <a:pt x="5983674" y="3673116"/>
                </a:cubicBezTo>
                <a:cubicBezTo>
                  <a:pt x="5983852" y="3673116"/>
                  <a:pt x="5984030" y="3673116"/>
                  <a:pt x="5984030" y="3673116"/>
                </a:cubicBezTo>
                <a:cubicBezTo>
                  <a:pt x="5984745" y="3672938"/>
                  <a:pt x="5985460" y="3673116"/>
                  <a:pt x="5986174" y="3673116"/>
                </a:cubicBezTo>
                <a:cubicBezTo>
                  <a:pt x="5988854" y="3673116"/>
                  <a:pt x="5991535" y="3673116"/>
                  <a:pt x="5994036" y="3673116"/>
                </a:cubicBezTo>
                <a:cubicBezTo>
                  <a:pt x="6000646" y="3672938"/>
                  <a:pt x="6007258" y="3672758"/>
                  <a:pt x="6013868" y="3672758"/>
                </a:cubicBezTo>
                <a:cubicBezTo>
                  <a:pt x="6016906" y="3671328"/>
                  <a:pt x="6020122" y="3670794"/>
                  <a:pt x="6023874" y="3671865"/>
                </a:cubicBezTo>
                <a:lnTo>
                  <a:pt x="6024052" y="3672043"/>
                </a:lnTo>
                <a:lnTo>
                  <a:pt x="6024361" y="3672092"/>
                </a:lnTo>
                <a:lnTo>
                  <a:pt x="6023874" y="3672579"/>
                </a:lnTo>
                <a:cubicBezTo>
                  <a:pt x="6025126" y="3672579"/>
                  <a:pt x="6026196" y="3672579"/>
                  <a:pt x="6027448" y="3672579"/>
                </a:cubicBezTo>
                <a:lnTo>
                  <a:pt x="6024361" y="3672092"/>
                </a:lnTo>
                <a:lnTo>
                  <a:pt x="6024410" y="3672043"/>
                </a:lnTo>
                <a:cubicBezTo>
                  <a:pt x="6024410" y="3672043"/>
                  <a:pt x="6024232" y="3672043"/>
                  <a:pt x="6024052" y="3672043"/>
                </a:cubicBezTo>
                <a:cubicBezTo>
                  <a:pt x="6029948" y="3669721"/>
                  <a:pt x="6036024" y="3667577"/>
                  <a:pt x="6041920" y="3665433"/>
                </a:cubicBezTo>
                <a:cubicBezTo>
                  <a:pt x="6036916" y="3665433"/>
                  <a:pt x="6031914" y="3666147"/>
                  <a:pt x="6027089" y="3667935"/>
                </a:cubicBezTo>
                <a:cubicBezTo>
                  <a:pt x="6026554" y="3668113"/>
                  <a:pt x="6026018" y="3667935"/>
                  <a:pt x="6025482" y="3667755"/>
                </a:cubicBezTo>
                <a:cubicBezTo>
                  <a:pt x="6012618" y="3662037"/>
                  <a:pt x="5998324" y="3664003"/>
                  <a:pt x="5985103" y="3660430"/>
                </a:cubicBezTo>
                <a:close/>
                <a:moveTo>
                  <a:pt x="6109458" y="3658644"/>
                </a:moveTo>
                <a:cubicBezTo>
                  <a:pt x="6101238" y="3660073"/>
                  <a:pt x="6093198" y="3661681"/>
                  <a:pt x="6085158" y="3663289"/>
                </a:cubicBezTo>
                <a:cubicBezTo>
                  <a:pt x="6085515" y="3663289"/>
                  <a:pt x="6085873" y="3663647"/>
                  <a:pt x="6086230" y="3663647"/>
                </a:cubicBezTo>
                <a:cubicBezTo>
                  <a:pt x="6081048" y="3665791"/>
                  <a:pt x="6076760" y="3666147"/>
                  <a:pt x="6072650" y="3665611"/>
                </a:cubicBezTo>
                <a:cubicBezTo>
                  <a:pt x="6071580" y="3665791"/>
                  <a:pt x="6070685" y="3665969"/>
                  <a:pt x="6069614" y="3666147"/>
                </a:cubicBezTo>
                <a:cubicBezTo>
                  <a:pt x="6068721" y="3666325"/>
                  <a:pt x="6068006" y="3667577"/>
                  <a:pt x="6065504" y="3669899"/>
                </a:cubicBezTo>
                <a:lnTo>
                  <a:pt x="6065504" y="3670257"/>
                </a:lnTo>
                <a:cubicBezTo>
                  <a:pt x="6085515" y="3666325"/>
                  <a:pt x="6103560" y="3662932"/>
                  <a:pt x="6121608" y="3659537"/>
                </a:cubicBezTo>
                <a:cubicBezTo>
                  <a:pt x="6117676" y="3658822"/>
                  <a:pt x="6113568" y="3658822"/>
                  <a:pt x="6109458" y="3658644"/>
                </a:cubicBezTo>
                <a:close/>
                <a:moveTo>
                  <a:pt x="5618293" y="3656142"/>
                </a:moveTo>
                <a:cubicBezTo>
                  <a:pt x="5616684" y="3656678"/>
                  <a:pt x="5614898" y="3657215"/>
                  <a:pt x="5613290" y="3657749"/>
                </a:cubicBezTo>
                <a:cubicBezTo>
                  <a:pt x="5614898" y="3657215"/>
                  <a:pt x="5616684" y="3656678"/>
                  <a:pt x="5618293" y="3656320"/>
                </a:cubicBezTo>
                <a:close/>
                <a:moveTo>
                  <a:pt x="5999753" y="3652212"/>
                </a:moveTo>
                <a:cubicBezTo>
                  <a:pt x="5994928" y="3652390"/>
                  <a:pt x="5990284" y="3652568"/>
                  <a:pt x="5985638" y="3652747"/>
                </a:cubicBezTo>
                <a:cubicBezTo>
                  <a:pt x="5979564" y="3654356"/>
                  <a:pt x="5973488" y="3654891"/>
                  <a:pt x="5967414" y="3653461"/>
                </a:cubicBezTo>
                <a:cubicBezTo>
                  <a:pt x="5964378" y="3653641"/>
                  <a:pt x="5961518" y="3653819"/>
                  <a:pt x="5958480" y="3653819"/>
                </a:cubicBezTo>
                <a:cubicBezTo>
                  <a:pt x="5954014" y="3655785"/>
                  <a:pt x="5948654" y="3655964"/>
                  <a:pt x="5943652" y="3656678"/>
                </a:cubicBezTo>
                <a:cubicBezTo>
                  <a:pt x="5948654" y="3659359"/>
                  <a:pt x="5955086" y="3656142"/>
                  <a:pt x="5960982" y="3660073"/>
                </a:cubicBezTo>
                <a:cubicBezTo>
                  <a:pt x="5959194" y="3661323"/>
                  <a:pt x="5958124" y="3662932"/>
                  <a:pt x="5956872" y="3662932"/>
                </a:cubicBezTo>
                <a:cubicBezTo>
                  <a:pt x="5947223" y="3663647"/>
                  <a:pt x="5937398" y="3664362"/>
                  <a:pt x="5927748" y="3664896"/>
                </a:cubicBezTo>
                <a:cubicBezTo>
                  <a:pt x="5921853" y="3666684"/>
                  <a:pt x="5915957" y="3668650"/>
                  <a:pt x="5910062" y="3670079"/>
                </a:cubicBezTo>
                <a:cubicBezTo>
                  <a:pt x="5902378" y="3672043"/>
                  <a:pt x="5894338" y="3672938"/>
                  <a:pt x="5886834" y="3675260"/>
                </a:cubicBezTo>
                <a:cubicBezTo>
                  <a:pt x="5879150" y="3677582"/>
                  <a:pt x="5872004" y="3680263"/>
                  <a:pt x="5863607" y="3680263"/>
                </a:cubicBezTo>
                <a:cubicBezTo>
                  <a:pt x="5856638" y="3680263"/>
                  <a:pt x="5849492" y="3683836"/>
                  <a:pt x="5842702" y="3686517"/>
                </a:cubicBezTo>
                <a:cubicBezTo>
                  <a:pt x="5836269" y="3689195"/>
                  <a:pt x="5829837" y="3690983"/>
                  <a:pt x="5822870" y="3692234"/>
                </a:cubicBezTo>
                <a:cubicBezTo>
                  <a:pt x="5814114" y="3693663"/>
                  <a:pt x="5805538" y="3695093"/>
                  <a:pt x="5796964" y="3697237"/>
                </a:cubicBezTo>
                <a:cubicBezTo>
                  <a:pt x="5796247" y="3697952"/>
                  <a:pt x="5795532" y="3698666"/>
                  <a:pt x="5794818" y="3699381"/>
                </a:cubicBezTo>
                <a:cubicBezTo>
                  <a:pt x="5794283" y="3698844"/>
                  <a:pt x="5793925" y="3698486"/>
                  <a:pt x="5793568" y="3698130"/>
                </a:cubicBezTo>
                <a:cubicBezTo>
                  <a:pt x="5789280" y="3699381"/>
                  <a:pt x="5784992" y="3700630"/>
                  <a:pt x="5780882" y="3702240"/>
                </a:cubicBezTo>
                <a:cubicBezTo>
                  <a:pt x="5775165" y="3704562"/>
                  <a:pt x="5768374" y="3704204"/>
                  <a:pt x="5761942" y="3704562"/>
                </a:cubicBezTo>
                <a:cubicBezTo>
                  <a:pt x="5760335" y="3704562"/>
                  <a:pt x="5758549" y="3702596"/>
                  <a:pt x="5756940" y="3701345"/>
                </a:cubicBezTo>
                <a:cubicBezTo>
                  <a:pt x="5760693" y="3698308"/>
                  <a:pt x="5764801" y="3696700"/>
                  <a:pt x="5769804" y="3696342"/>
                </a:cubicBezTo>
                <a:cubicBezTo>
                  <a:pt x="5773199" y="3696164"/>
                  <a:pt x="5776594" y="3694020"/>
                  <a:pt x="5779631" y="3692054"/>
                </a:cubicBezTo>
                <a:cubicBezTo>
                  <a:pt x="5780882" y="3691339"/>
                  <a:pt x="5780882" y="3688481"/>
                  <a:pt x="5781775" y="3685087"/>
                </a:cubicBezTo>
                <a:cubicBezTo>
                  <a:pt x="5773736" y="3687051"/>
                  <a:pt x="5766767" y="3687766"/>
                  <a:pt x="5760693" y="3690625"/>
                </a:cubicBezTo>
                <a:cubicBezTo>
                  <a:pt x="5751758" y="3694913"/>
                  <a:pt x="5742826" y="3697593"/>
                  <a:pt x="5732998" y="3696522"/>
                </a:cubicBezTo>
                <a:cubicBezTo>
                  <a:pt x="5731033" y="3696342"/>
                  <a:pt x="5728889" y="3696700"/>
                  <a:pt x="5726744" y="3697057"/>
                </a:cubicBezTo>
                <a:cubicBezTo>
                  <a:pt x="5722278" y="3697771"/>
                  <a:pt x="5721564" y="3700452"/>
                  <a:pt x="5724244" y="3707062"/>
                </a:cubicBezTo>
                <a:cubicBezTo>
                  <a:pt x="5714595" y="3710279"/>
                  <a:pt x="5705126" y="3713316"/>
                  <a:pt x="5692618" y="3717248"/>
                </a:cubicBezTo>
                <a:cubicBezTo>
                  <a:pt x="5696372" y="3716711"/>
                  <a:pt x="5697264" y="3716533"/>
                  <a:pt x="5697979" y="3716533"/>
                </a:cubicBezTo>
                <a:cubicBezTo>
                  <a:pt x="5700124" y="3716533"/>
                  <a:pt x="5702268" y="3716175"/>
                  <a:pt x="5704233" y="3716711"/>
                </a:cubicBezTo>
                <a:cubicBezTo>
                  <a:pt x="5704590" y="3716890"/>
                  <a:pt x="5704948" y="3717068"/>
                  <a:pt x="5705304" y="3717248"/>
                </a:cubicBezTo>
                <a:cubicBezTo>
                  <a:pt x="5706912" y="3717426"/>
                  <a:pt x="5708878" y="3718141"/>
                  <a:pt x="5712273" y="3719392"/>
                </a:cubicBezTo>
                <a:cubicBezTo>
                  <a:pt x="5709592" y="3721178"/>
                  <a:pt x="5707270" y="3722785"/>
                  <a:pt x="5704948" y="3724036"/>
                </a:cubicBezTo>
                <a:cubicBezTo>
                  <a:pt x="5704768" y="3724215"/>
                  <a:pt x="5704412" y="3724573"/>
                  <a:pt x="5704053" y="3724573"/>
                </a:cubicBezTo>
                <a:cubicBezTo>
                  <a:pt x="5697801" y="3728146"/>
                  <a:pt x="5692440" y="3729932"/>
                  <a:pt x="5686722" y="3731005"/>
                </a:cubicBezTo>
                <a:cubicBezTo>
                  <a:pt x="5679039" y="3732434"/>
                  <a:pt x="5671536" y="3733686"/>
                  <a:pt x="5664031" y="3735115"/>
                </a:cubicBezTo>
                <a:cubicBezTo>
                  <a:pt x="5659028" y="3740474"/>
                  <a:pt x="5652596" y="3742082"/>
                  <a:pt x="5646522" y="3744226"/>
                </a:cubicBezTo>
                <a:cubicBezTo>
                  <a:pt x="5636516" y="3747799"/>
                  <a:pt x="5625974" y="3749943"/>
                  <a:pt x="5615791" y="3752982"/>
                </a:cubicBezTo>
                <a:cubicBezTo>
                  <a:pt x="5615612" y="3752982"/>
                  <a:pt x="5615612" y="3752982"/>
                  <a:pt x="5615612" y="3752982"/>
                </a:cubicBezTo>
                <a:cubicBezTo>
                  <a:pt x="5615969" y="3753338"/>
                  <a:pt x="5616506" y="3754590"/>
                  <a:pt x="5617220" y="3755841"/>
                </a:cubicBezTo>
                <a:cubicBezTo>
                  <a:pt x="5615254" y="3756375"/>
                  <a:pt x="5613468" y="3757090"/>
                  <a:pt x="5611681" y="3757270"/>
                </a:cubicBezTo>
                <a:cubicBezTo>
                  <a:pt x="5611144" y="3757448"/>
                  <a:pt x="5610610" y="3755841"/>
                  <a:pt x="5610074" y="3754946"/>
                </a:cubicBezTo>
                <a:cubicBezTo>
                  <a:pt x="5610788" y="3754590"/>
                  <a:pt x="5611503" y="3754231"/>
                  <a:pt x="5612218" y="3753875"/>
                </a:cubicBezTo>
                <a:cubicBezTo>
                  <a:pt x="5597031" y="3758519"/>
                  <a:pt x="5581842" y="3763344"/>
                  <a:pt x="5566656" y="3767990"/>
                </a:cubicBezTo>
                <a:cubicBezTo>
                  <a:pt x="5560046" y="3769954"/>
                  <a:pt x="5553256" y="3771742"/>
                  <a:pt x="5546466" y="3773171"/>
                </a:cubicBezTo>
                <a:cubicBezTo>
                  <a:pt x="5544501" y="3773528"/>
                  <a:pt x="5542357" y="3773708"/>
                  <a:pt x="5540391" y="3774242"/>
                </a:cubicBezTo>
                <a:cubicBezTo>
                  <a:pt x="5541284" y="3774779"/>
                  <a:pt x="5541822" y="3775315"/>
                  <a:pt x="5542357" y="3775315"/>
                </a:cubicBezTo>
                <a:cubicBezTo>
                  <a:pt x="5565048" y="3771564"/>
                  <a:pt x="5587740" y="3767990"/>
                  <a:pt x="5610252" y="3763702"/>
                </a:cubicBezTo>
                <a:cubicBezTo>
                  <a:pt x="5623116" y="3761200"/>
                  <a:pt x="5635802" y="3758341"/>
                  <a:pt x="5649024" y="3758699"/>
                </a:cubicBezTo>
                <a:cubicBezTo>
                  <a:pt x="5649202" y="3758341"/>
                  <a:pt x="5649381" y="3758163"/>
                  <a:pt x="5649381" y="3757985"/>
                </a:cubicBezTo>
                <a:cubicBezTo>
                  <a:pt x="5649381" y="3758163"/>
                  <a:pt x="5649381" y="3758519"/>
                  <a:pt x="5649381" y="3758699"/>
                </a:cubicBezTo>
                <a:cubicBezTo>
                  <a:pt x="5649918" y="3758699"/>
                  <a:pt x="5650452" y="3758699"/>
                  <a:pt x="5650988" y="3758699"/>
                </a:cubicBezTo>
                <a:cubicBezTo>
                  <a:pt x="5652954" y="3758699"/>
                  <a:pt x="5655276" y="3758163"/>
                  <a:pt x="5657064" y="3757270"/>
                </a:cubicBezTo>
                <a:cubicBezTo>
                  <a:pt x="5658850" y="3756375"/>
                  <a:pt x="5660816" y="3755661"/>
                  <a:pt x="5662782" y="3754946"/>
                </a:cubicBezTo>
                <a:cubicBezTo>
                  <a:pt x="5660638" y="3752267"/>
                  <a:pt x="5662067" y="3750480"/>
                  <a:pt x="5663674" y="3749765"/>
                </a:cubicBezTo>
                <a:cubicBezTo>
                  <a:pt x="5666892" y="3748514"/>
                  <a:pt x="5670285" y="3748157"/>
                  <a:pt x="5673502" y="3747265"/>
                </a:cubicBezTo>
                <a:cubicBezTo>
                  <a:pt x="5673680" y="3747979"/>
                  <a:pt x="5674036" y="3748514"/>
                  <a:pt x="5674216" y="3749229"/>
                </a:cubicBezTo>
                <a:cubicBezTo>
                  <a:pt x="5671358" y="3750838"/>
                  <a:pt x="5668319" y="3752624"/>
                  <a:pt x="5665460" y="3754231"/>
                </a:cubicBezTo>
                <a:cubicBezTo>
                  <a:pt x="5675646" y="3751016"/>
                  <a:pt x="5686186" y="3749587"/>
                  <a:pt x="5696906" y="3748336"/>
                </a:cubicBezTo>
                <a:cubicBezTo>
                  <a:pt x="5701552" y="3747799"/>
                  <a:pt x="5707628" y="3746370"/>
                  <a:pt x="5709770" y="3743155"/>
                </a:cubicBezTo>
                <a:cubicBezTo>
                  <a:pt x="5712810" y="3738867"/>
                  <a:pt x="5716024" y="3736901"/>
                  <a:pt x="5720492" y="3734757"/>
                </a:cubicBezTo>
                <a:cubicBezTo>
                  <a:pt x="5725316" y="3732434"/>
                  <a:pt x="5729425" y="3730112"/>
                  <a:pt x="5734964" y="3731005"/>
                </a:cubicBezTo>
                <a:cubicBezTo>
                  <a:pt x="5737286" y="3731362"/>
                  <a:pt x="5740502" y="3730469"/>
                  <a:pt x="5742468" y="3729039"/>
                </a:cubicBezTo>
                <a:cubicBezTo>
                  <a:pt x="5748364" y="3724573"/>
                  <a:pt x="5755332" y="3724573"/>
                  <a:pt x="5762122" y="3723322"/>
                </a:cubicBezTo>
                <a:cubicBezTo>
                  <a:pt x="5771055" y="3721536"/>
                  <a:pt x="5779810" y="3719034"/>
                  <a:pt x="5788922" y="3716711"/>
                </a:cubicBezTo>
                <a:cubicBezTo>
                  <a:pt x="5776416" y="3715639"/>
                  <a:pt x="5764444" y="3719212"/>
                  <a:pt x="5752474" y="3721000"/>
                </a:cubicBezTo>
                <a:cubicBezTo>
                  <a:pt x="5743182" y="3722251"/>
                  <a:pt x="5743004" y="3722429"/>
                  <a:pt x="5731748" y="3716890"/>
                </a:cubicBezTo>
                <a:cubicBezTo>
                  <a:pt x="5729067" y="3717604"/>
                  <a:pt x="5726208" y="3718319"/>
                  <a:pt x="5723172" y="3718319"/>
                </a:cubicBezTo>
                <a:cubicBezTo>
                  <a:pt x="5720671" y="3718319"/>
                  <a:pt x="5718346" y="3717604"/>
                  <a:pt x="5714595" y="3717068"/>
                </a:cubicBezTo>
                <a:cubicBezTo>
                  <a:pt x="5716202" y="3714746"/>
                  <a:pt x="5716739" y="3713138"/>
                  <a:pt x="5717812" y="3712602"/>
                </a:cubicBezTo>
                <a:cubicBezTo>
                  <a:pt x="5725137" y="3708850"/>
                  <a:pt x="5734784" y="3710101"/>
                  <a:pt x="5740502" y="3702418"/>
                </a:cubicBezTo>
                <a:cubicBezTo>
                  <a:pt x="5741216" y="3701525"/>
                  <a:pt x="5743540" y="3701881"/>
                  <a:pt x="5745148" y="3701881"/>
                </a:cubicBezTo>
                <a:cubicBezTo>
                  <a:pt x="5748722" y="3701881"/>
                  <a:pt x="5752295" y="3701881"/>
                  <a:pt x="5756046" y="3701881"/>
                </a:cubicBezTo>
                <a:cubicBezTo>
                  <a:pt x="5751937" y="3705633"/>
                  <a:pt x="5747829" y="3709028"/>
                  <a:pt x="5743362" y="3711709"/>
                </a:cubicBezTo>
                <a:cubicBezTo>
                  <a:pt x="5748544" y="3710458"/>
                  <a:pt x="5753546" y="3709386"/>
                  <a:pt x="5758549" y="3708313"/>
                </a:cubicBezTo>
                <a:cubicBezTo>
                  <a:pt x="5759978" y="3707957"/>
                  <a:pt x="5762122" y="3707957"/>
                  <a:pt x="5763194" y="3708850"/>
                </a:cubicBezTo>
                <a:cubicBezTo>
                  <a:pt x="5769984" y="3713675"/>
                  <a:pt x="5776416" y="3711350"/>
                  <a:pt x="5782668" y="3707957"/>
                </a:cubicBezTo>
                <a:cubicBezTo>
                  <a:pt x="5790530" y="3703669"/>
                  <a:pt x="5799286" y="3704384"/>
                  <a:pt x="5807682" y="3703489"/>
                </a:cubicBezTo>
                <a:cubicBezTo>
                  <a:pt x="5811436" y="3703133"/>
                  <a:pt x="5815187" y="3703669"/>
                  <a:pt x="5818760" y="3702774"/>
                </a:cubicBezTo>
                <a:cubicBezTo>
                  <a:pt x="5832698" y="3699201"/>
                  <a:pt x="5846455" y="3695093"/>
                  <a:pt x="5860212" y="3697415"/>
                </a:cubicBezTo>
                <a:lnTo>
                  <a:pt x="5860034" y="3697237"/>
                </a:lnTo>
                <a:cubicBezTo>
                  <a:pt x="5863964" y="3693663"/>
                  <a:pt x="5860212" y="3691876"/>
                  <a:pt x="5859854" y="3689554"/>
                </a:cubicBezTo>
                <a:cubicBezTo>
                  <a:pt x="5860568" y="3689017"/>
                  <a:pt x="5861283" y="3687946"/>
                  <a:pt x="5861998" y="3687946"/>
                </a:cubicBezTo>
                <a:cubicBezTo>
                  <a:pt x="5876650" y="3688124"/>
                  <a:pt x="5890585" y="3686695"/>
                  <a:pt x="5904166" y="3680263"/>
                </a:cubicBezTo>
                <a:cubicBezTo>
                  <a:pt x="5910240" y="3677404"/>
                  <a:pt x="5917564" y="3676868"/>
                  <a:pt x="5924355" y="3676153"/>
                </a:cubicBezTo>
                <a:cubicBezTo>
                  <a:pt x="5937576" y="3674723"/>
                  <a:pt x="5950798" y="3674009"/>
                  <a:pt x="5964556" y="3672938"/>
                </a:cubicBezTo>
                <a:cubicBezTo>
                  <a:pt x="5964556" y="3672223"/>
                  <a:pt x="5964734" y="3671687"/>
                  <a:pt x="5964912" y="3671150"/>
                </a:cubicBezTo>
                <a:cubicBezTo>
                  <a:pt x="5953657" y="3673294"/>
                  <a:pt x="5942222" y="3674367"/>
                  <a:pt x="5930607" y="3673116"/>
                </a:cubicBezTo>
                <a:cubicBezTo>
                  <a:pt x="5942937" y="3671508"/>
                  <a:pt x="5955086" y="3670079"/>
                  <a:pt x="5967236" y="3668470"/>
                </a:cubicBezTo>
                <a:cubicBezTo>
                  <a:pt x="5968666" y="3667398"/>
                  <a:pt x="5970451" y="3666506"/>
                  <a:pt x="5971702" y="3665076"/>
                </a:cubicBezTo>
                <a:cubicBezTo>
                  <a:pt x="5970810" y="3664896"/>
                  <a:pt x="5969736" y="3664718"/>
                  <a:pt x="5968844" y="3664718"/>
                </a:cubicBezTo>
                <a:cubicBezTo>
                  <a:pt x="5970810" y="3662752"/>
                  <a:pt x="5971880" y="3661503"/>
                  <a:pt x="5973132" y="3660788"/>
                </a:cubicBezTo>
                <a:cubicBezTo>
                  <a:pt x="5973132" y="3660608"/>
                  <a:pt x="5973132" y="3660252"/>
                  <a:pt x="5973132" y="3660073"/>
                </a:cubicBezTo>
                <a:cubicBezTo>
                  <a:pt x="5973132" y="3659537"/>
                  <a:pt x="5976527" y="3657571"/>
                  <a:pt x="5978491" y="3657571"/>
                </a:cubicBezTo>
                <a:cubicBezTo>
                  <a:pt x="5979920" y="3657215"/>
                  <a:pt x="5981172" y="3657215"/>
                  <a:pt x="5982422" y="3657215"/>
                </a:cubicBezTo>
                <a:cubicBezTo>
                  <a:pt x="5982422" y="3656856"/>
                  <a:pt x="5982779" y="3656678"/>
                  <a:pt x="5982779" y="3656678"/>
                </a:cubicBezTo>
                <a:cubicBezTo>
                  <a:pt x="5983316" y="3656678"/>
                  <a:pt x="5983852" y="3657035"/>
                  <a:pt x="5984388" y="3657035"/>
                </a:cubicBezTo>
                <a:cubicBezTo>
                  <a:pt x="5989748" y="3656678"/>
                  <a:pt x="5995287" y="3656500"/>
                  <a:pt x="6000646" y="3656142"/>
                </a:cubicBezTo>
                <a:cubicBezTo>
                  <a:pt x="6000468" y="3654891"/>
                  <a:pt x="6000112" y="3653641"/>
                  <a:pt x="5999753" y="3652212"/>
                </a:cubicBezTo>
                <a:close/>
                <a:moveTo>
                  <a:pt x="5712094" y="3652032"/>
                </a:moveTo>
                <a:cubicBezTo>
                  <a:pt x="5711380" y="3652212"/>
                  <a:pt x="5710485" y="3652212"/>
                  <a:pt x="5709770" y="3652212"/>
                </a:cubicBezTo>
                <a:cubicBezTo>
                  <a:pt x="5707448" y="3653998"/>
                  <a:pt x="5705126" y="3655427"/>
                  <a:pt x="5702626" y="3656856"/>
                </a:cubicBezTo>
                <a:lnTo>
                  <a:pt x="5702446" y="3657035"/>
                </a:lnTo>
                <a:cubicBezTo>
                  <a:pt x="5706019" y="3656500"/>
                  <a:pt x="5709414" y="3655785"/>
                  <a:pt x="5712810" y="3655249"/>
                </a:cubicBezTo>
                <a:cubicBezTo>
                  <a:pt x="5712630" y="3654176"/>
                  <a:pt x="5712451" y="3653105"/>
                  <a:pt x="5712094" y="3652032"/>
                </a:cubicBezTo>
                <a:close/>
                <a:moveTo>
                  <a:pt x="6088552" y="3651854"/>
                </a:moveTo>
                <a:cubicBezTo>
                  <a:pt x="6088018" y="3652212"/>
                  <a:pt x="6087481" y="3653105"/>
                  <a:pt x="6086944" y="3653641"/>
                </a:cubicBezTo>
                <a:cubicBezTo>
                  <a:pt x="6087481" y="3653641"/>
                  <a:pt x="6088018" y="3653641"/>
                  <a:pt x="6088552" y="3653641"/>
                </a:cubicBezTo>
                <a:lnTo>
                  <a:pt x="6090014" y="3652016"/>
                </a:lnTo>
                <a:lnTo>
                  <a:pt x="6090160" y="3652032"/>
                </a:lnTo>
                <a:lnTo>
                  <a:pt x="6090160" y="3651854"/>
                </a:lnTo>
                <a:lnTo>
                  <a:pt x="6090014" y="3652016"/>
                </a:lnTo>
                <a:close/>
                <a:moveTo>
                  <a:pt x="5635980" y="3651854"/>
                </a:moveTo>
                <a:lnTo>
                  <a:pt x="5635980" y="3652094"/>
                </a:lnTo>
                <a:lnTo>
                  <a:pt x="5635624" y="3652568"/>
                </a:lnTo>
                <a:cubicBezTo>
                  <a:pt x="5635624" y="3652568"/>
                  <a:pt x="5635980" y="3652568"/>
                  <a:pt x="5635980" y="3652568"/>
                </a:cubicBezTo>
                <a:lnTo>
                  <a:pt x="5635980" y="3652094"/>
                </a:lnTo>
                <a:lnTo>
                  <a:pt x="5636160" y="3651854"/>
                </a:lnTo>
                <a:close/>
                <a:moveTo>
                  <a:pt x="6018692" y="3651676"/>
                </a:moveTo>
                <a:cubicBezTo>
                  <a:pt x="6013555" y="3652078"/>
                  <a:pt x="6008150" y="3653551"/>
                  <a:pt x="6001360" y="3656142"/>
                </a:cubicBezTo>
                <a:cubicBezTo>
                  <a:pt x="6012081" y="3655605"/>
                  <a:pt x="6022981" y="3657393"/>
                  <a:pt x="6034416" y="3653641"/>
                </a:cubicBezTo>
                <a:cubicBezTo>
                  <a:pt x="6028699" y="3651944"/>
                  <a:pt x="6023830" y="3651274"/>
                  <a:pt x="6018692" y="3651676"/>
                </a:cubicBezTo>
                <a:close/>
                <a:moveTo>
                  <a:pt x="6058535" y="3651675"/>
                </a:moveTo>
                <a:cubicBezTo>
                  <a:pt x="6058716" y="3652212"/>
                  <a:pt x="6058894" y="3653283"/>
                  <a:pt x="6058894" y="3653283"/>
                </a:cubicBezTo>
                <a:cubicBezTo>
                  <a:pt x="6059250" y="3652927"/>
                  <a:pt x="6059428" y="3652568"/>
                  <a:pt x="6059786" y="3652212"/>
                </a:cubicBezTo>
                <a:cubicBezTo>
                  <a:pt x="6059428" y="3652032"/>
                  <a:pt x="6058894" y="3651854"/>
                  <a:pt x="6058535" y="3651675"/>
                </a:cubicBezTo>
                <a:close/>
                <a:moveTo>
                  <a:pt x="5654206" y="3651497"/>
                </a:moveTo>
                <a:cubicBezTo>
                  <a:pt x="5649918" y="3652747"/>
                  <a:pt x="5645808" y="3654534"/>
                  <a:pt x="5641876" y="3657035"/>
                </a:cubicBezTo>
                <a:cubicBezTo>
                  <a:pt x="5644378" y="3656678"/>
                  <a:pt x="5646700" y="3656500"/>
                  <a:pt x="5649024" y="3656142"/>
                </a:cubicBezTo>
                <a:cubicBezTo>
                  <a:pt x="5651346" y="3655785"/>
                  <a:pt x="5653669" y="3655427"/>
                  <a:pt x="5655991" y="3655071"/>
                </a:cubicBezTo>
                <a:cubicBezTo>
                  <a:pt x="5656170" y="3654891"/>
                  <a:pt x="5656170" y="3654534"/>
                  <a:pt x="5656170" y="3654534"/>
                </a:cubicBezTo>
                <a:cubicBezTo>
                  <a:pt x="5655276" y="3653641"/>
                  <a:pt x="5654740" y="3652568"/>
                  <a:pt x="5654206" y="3651497"/>
                </a:cubicBezTo>
                <a:close/>
                <a:moveTo>
                  <a:pt x="5691726" y="3645780"/>
                </a:moveTo>
                <a:lnTo>
                  <a:pt x="5691548" y="3646029"/>
                </a:lnTo>
                <a:lnTo>
                  <a:pt x="5690118" y="3646314"/>
                </a:lnTo>
                <a:cubicBezTo>
                  <a:pt x="5690296" y="3646494"/>
                  <a:pt x="5690654" y="3646851"/>
                  <a:pt x="5690832" y="3647029"/>
                </a:cubicBezTo>
                <a:lnTo>
                  <a:pt x="5691548" y="3646029"/>
                </a:lnTo>
                <a:lnTo>
                  <a:pt x="5691904" y="3645958"/>
                </a:lnTo>
                <a:close/>
                <a:moveTo>
                  <a:pt x="5899520" y="3645422"/>
                </a:moveTo>
                <a:cubicBezTo>
                  <a:pt x="5897017" y="3645780"/>
                  <a:pt x="5896482" y="3645780"/>
                  <a:pt x="5896124" y="3645780"/>
                </a:cubicBezTo>
                <a:cubicBezTo>
                  <a:pt x="5896124" y="3645780"/>
                  <a:pt x="5896124" y="3646136"/>
                  <a:pt x="5896124" y="3646314"/>
                </a:cubicBezTo>
                <a:cubicBezTo>
                  <a:pt x="5896661" y="3646136"/>
                  <a:pt x="5897197" y="3646136"/>
                  <a:pt x="5899698" y="3645422"/>
                </a:cubicBezTo>
                <a:close/>
                <a:moveTo>
                  <a:pt x="5649738" y="3644707"/>
                </a:moveTo>
                <a:cubicBezTo>
                  <a:pt x="5647774" y="3646851"/>
                  <a:pt x="5645808" y="3648995"/>
                  <a:pt x="5643664" y="3651497"/>
                </a:cubicBezTo>
                <a:cubicBezTo>
                  <a:pt x="5644556" y="3651317"/>
                  <a:pt x="5645449" y="3651139"/>
                  <a:pt x="5646344" y="3651139"/>
                </a:cubicBezTo>
                <a:cubicBezTo>
                  <a:pt x="5648666" y="3650961"/>
                  <a:pt x="5651166" y="3650424"/>
                  <a:pt x="5653491" y="3649710"/>
                </a:cubicBezTo>
                <a:cubicBezTo>
                  <a:pt x="5653310" y="3649353"/>
                  <a:pt x="5653132" y="3649173"/>
                  <a:pt x="5653132" y="3648817"/>
                </a:cubicBezTo>
                <a:cubicBezTo>
                  <a:pt x="5652596" y="3647387"/>
                  <a:pt x="5651346" y="3646136"/>
                  <a:pt x="5649738" y="3644707"/>
                </a:cubicBezTo>
                <a:close/>
                <a:moveTo>
                  <a:pt x="6080870" y="3641670"/>
                </a:moveTo>
                <a:cubicBezTo>
                  <a:pt x="6077295" y="3644707"/>
                  <a:pt x="6073724" y="3647924"/>
                  <a:pt x="6069436" y="3651675"/>
                </a:cubicBezTo>
                <a:lnTo>
                  <a:pt x="6069614" y="3651675"/>
                </a:lnTo>
                <a:cubicBezTo>
                  <a:pt x="6079441" y="3649353"/>
                  <a:pt x="6089266" y="3647209"/>
                  <a:pt x="6099094" y="3644885"/>
                </a:cubicBezTo>
                <a:cubicBezTo>
                  <a:pt x="6096235" y="3644529"/>
                  <a:pt x="6093376" y="3643814"/>
                  <a:pt x="6090518" y="3643099"/>
                </a:cubicBezTo>
                <a:cubicBezTo>
                  <a:pt x="6087302" y="3642206"/>
                  <a:pt x="6084086" y="3641670"/>
                  <a:pt x="6080870" y="3641670"/>
                </a:cubicBezTo>
                <a:close/>
                <a:moveTo>
                  <a:pt x="5960804" y="3638453"/>
                </a:moveTo>
                <a:lnTo>
                  <a:pt x="5960833" y="3638480"/>
                </a:lnTo>
                <a:lnTo>
                  <a:pt x="5935076" y="3640597"/>
                </a:lnTo>
                <a:cubicBezTo>
                  <a:pt x="5931858" y="3640777"/>
                  <a:pt x="5928822" y="3641492"/>
                  <a:pt x="5922211" y="3642563"/>
                </a:cubicBezTo>
                <a:cubicBezTo>
                  <a:pt x="5934180" y="3643456"/>
                  <a:pt x="5945259" y="3643277"/>
                  <a:pt x="5955801" y="3642563"/>
                </a:cubicBezTo>
                <a:cubicBezTo>
                  <a:pt x="5957945" y="3642026"/>
                  <a:pt x="5960446" y="3641492"/>
                  <a:pt x="5963304" y="3640777"/>
                </a:cubicBezTo>
                <a:lnTo>
                  <a:pt x="5960833" y="3638480"/>
                </a:lnTo>
                <a:lnTo>
                  <a:pt x="5961160" y="3638453"/>
                </a:lnTo>
                <a:close/>
                <a:moveTo>
                  <a:pt x="5736036" y="3638275"/>
                </a:moveTo>
                <a:cubicBezTo>
                  <a:pt x="5729604" y="3637738"/>
                  <a:pt x="5724959" y="3637382"/>
                  <a:pt x="5720492" y="3638453"/>
                </a:cubicBezTo>
                <a:cubicBezTo>
                  <a:pt x="5716202" y="3639526"/>
                  <a:pt x="5711914" y="3640241"/>
                  <a:pt x="5707628" y="3641312"/>
                </a:cubicBezTo>
                <a:cubicBezTo>
                  <a:pt x="5708522" y="3643099"/>
                  <a:pt x="5709414" y="3644885"/>
                  <a:pt x="5710307" y="3646851"/>
                </a:cubicBezTo>
                <a:cubicBezTo>
                  <a:pt x="5710844" y="3646673"/>
                  <a:pt x="5712094" y="3646494"/>
                  <a:pt x="5712094" y="3646494"/>
                </a:cubicBezTo>
                <a:lnTo>
                  <a:pt x="5712094" y="3646673"/>
                </a:lnTo>
                <a:cubicBezTo>
                  <a:pt x="5719776" y="3645422"/>
                  <a:pt x="5727638" y="3644529"/>
                  <a:pt x="5736036" y="3638275"/>
                </a:cubicBezTo>
                <a:close/>
                <a:moveTo>
                  <a:pt x="5992070" y="3637918"/>
                </a:moveTo>
                <a:cubicBezTo>
                  <a:pt x="5991535" y="3638096"/>
                  <a:pt x="5990462" y="3638453"/>
                  <a:pt x="5990462" y="3638453"/>
                </a:cubicBezTo>
                <a:lnTo>
                  <a:pt x="5990284" y="3638633"/>
                </a:lnTo>
                <a:cubicBezTo>
                  <a:pt x="5990820" y="3638811"/>
                  <a:pt x="5991177" y="3638989"/>
                  <a:pt x="5991714" y="3638989"/>
                </a:cubicBezTo>
                <a:cubicBezTo>
                  <a:pt x="5991892" y="3638989"/>
                  <a:pt x="5992070" y="3638989"/>
                  <a:pt x="5992070" y="3638989"/>
                </a:cubicBezTo>
                <a:cubicBezTo>
                  <a:pt x="5992070" y="3638633"/>
                  <a:pt x="5992070" y="3638275"/>
                  <a:pt x="5992070" y="3637918"/>
                </a:cubicBezTo>
                <a:close/>
                <a:moveTo>
                  <a:pt x="5890765" y="3637918"/>
                </a:moveTo>
                <a:lnTo>
                  <a:pt x="5889392" y="3638293"/>
                </a:lnTo>
                <a:lnTo>
                  <a:pt x="5880758" y="3639526"/>
                </a:lnTo>
                <a:cubicBezTo>
                  <a:pt x="5882724" y="3639348"/>
                  <a:pt x="5884868" y="3638989"/>
                  <a:pt x="5886834" y="3638989"/>
                </a:cubicBezTo>
                <a:lnTo>
                  <a:pt x="5889392" y="3638293"/>
                </a:lnTo>
                <a:lnTo>
                  <a:pt x="5890765" y="3638096"/>
                </a:lnTo>
                <a:close/>
                <a:moveTo>
                  <a:pt x="6174314" y="3637738"/>
                </a:moveTo>
                <a:cubicBezTo>
                  <a:pt x="6173779" y="3637738"/>
                  <a:pt x="6173242" y="3638096"/>
                  <a:pt x="6172706" y="3638096"/>
                </a:cubicBezTo>
                <a:cubicBezTo>
                  <a:pt x="6173421" y="3638453"/>
                  <a:pt x="6173958" y="3638989"/>
                  <a:pt x="6174494" y="3638989"/>
                </a:cubicBezTo>
                <a:cubicBezTo>
                  <a:pt x="6174850" y="3638989"/>
                  <a:pt x="6175386" y="3638453"/>
                  <a:pt x="6175743" y="3638275"/>
                </a:cubicBezTo>
                <a:cubicBezTo>
                  <a:pt x="6175386" y="3638096"/>
                  <a:pt x="6174314" y="3637738"/>
                  <a:pt x="6174314" y="3637738"/>
                </a:cubicBezTo>
                <a:close/>
                <a:moveTo>
                  <a:pt x="5980456" y="3637560"/>
                </a:moveTo>
                <a:cubicBezTo>
                  <a:pt x="5979920" y="3637918"/>
                  <a:pt x="5979920" y="3638989"/>
                  <a:pt x="5979564" y="3639526"/>
                </a:cubicBezTo>
                <a:cubicBezTo>
                  <a:pt x="5980100" y="3639526"/>
                  <a:pt x="5980635" y="3639704"/>
                  <a:pt x="5980993" y="3639526"/>
                </a:cubicBezTo>
                <a:cubicBezTo>
                  <a:pt x="5981708" y="3638989"/>
                  <a:pt x="5983316" y="3637918"/>
                  <a:pt x="5983316" y="3637918"/>
                </a:cubicBezTo>
                <a:lnTo>
                  <a:pt x="5983316" y="3637738"/>
                </a:lnTo>
                <a:cubicBezTo>
                  <a:pt x="5982422" y="3637560"/>
                  <a:pt x="5981350" y="3637560"/>
                  <a:pt x="5980456" y="3637560"/>
                </a:cubicBezTo>
                <a:close/>
                <a:moveTo>
                  <a:pt x="6188072" y="3634523"/>
                </a:moveTo>
                <a:lnTo>
                  <a:pt x="6187892" y="3634701"/>
                </a:lnTo>
                <a:lnTo>
                  <a:pt x="6188027" y="3634701"/>
                </a:lnTo>
                <a:lnTo>
                  <a:pt x="6187714" y="3635952"/>
                </a:lnTo>
                <a:cubicBezTo>
                  <a:pt x="6188608" y="3636131"/>
                  <a:pt x="6189502" y="3636131"/>
                  <a:pt x="6190573" y="3636131"/>
                </a:cubicBezTo>
                <a:cubicBezTo>
                  <a:pt x="6190752" y="3636131"/>
                  <a:pt x="6190752" y="3635238"/>
                  <a:pt x="6190752" y="3634701"/>
                </a:cubicBezTo>
                <a:lnTo>
                  <a:pt x="6188027" y="3634701"/>
                </a:lnTo>
                <a:close/>
                <a:moveTo>
                  <a:pt x="5980456" y="3634523"/>
                </a:moveTo>
                <a:cubicBezTo>
                  <a:pt x="5981172" y="3634701"/>
                  <a:pt x="5982244" y="3635238"/>
                  <a:pt x="5982244" y="3635238"/>
                </a:cubicBezTo>
                <a:cubicBezTo>
                  <a:pt x="5982779" y="3635060"/>
                  <a:pt x="5983316" y="3634879"/>
                  <a:pt x="5983852" y="3634879"/>
                </a:cubicBezTo>
                <a:cubicBezTo>
                  <a:pt x="5982957" y="3634345"/>
                  <a:pt x="5981708" y="3634523"/>
                  <a:pt x="5980456" y="3634523"/>
                </a:cubicBezTo>
                <a:close/>
                <a:moveTo>
                  <a:pt x="6152873" y="3632201"/>
                </a:moveTo>
                <a:cubicBezTo>
                  <a:pt x="6153588" y="3632916"/>
                  <a:pt x="6154482" y="3633450"/>
                  <a:pt x="6155198" y="3634165"/>
                </a:cubicBezTo>
                <a:cubicBezTo>
                  <a:pt x="6157876" y="3633808"/>
                  <a:pt x="6160734" y="3633630"/>
                  <a:pt x="6163594" y="3633272"/>
                </a:cubicBezTo>
                <a:lnTo>
                  <a:pt x="6163594" y="3633094"/>
                </a:lnTo>
                <a:cubicBezTo>
                  <a:pt x="6160200" y="3632557"/>
                  <a:pt x="6156626" y="3632201"/>
                  <a:pt x="6152873" y="3632201"/>
                </a:cubicBezTo>
                <a:close/>
                <a:moveTo>
                  <a:pt x="6156626" y="3623981"/>
                </a:moveTo>
                <a:cubicBezTo>
                  <a:pt x="6156805" y="3624159"/>
                  <a:pt x="6157162" y="3624159"/>
                  <a:pt x="6157342" y="3624159"/>
                </a:cubicBezTo>
                <a:cubicBezTo>
                  <a:pt x="6157520" y="3624339"/>
                  <a:pt x="6157876" y="3623981"/>
                  <a:pt x="6157876" y="3623981"/>
                </a:cubicBezTo>
                <a:cubicBezTo>
                  <a:pt x="6157520" y="3623981"/>
                  <a:pt x="6156983" y="3623981"/>
                  <a:pt x="6156626" y="3623981"/>
                </a:cubicBezTo>
                <a:close/>
                <a:moveTo>
                  <a:pt x="5848419" y="3623803"/>
                </a:moveTo>
                <a:cubicBezTo>
                  <a:pt x="5843774" y="3625589"/>
                  <a:pt x="5838772" y="3626125"/>
                  <a:pt x="5833769" y="3627198"/>
                </a:cubicBezTo>
                <a:cubicBezTo>
                  <a:pt x="5840916" y="3629342"/>
                  <a:pt x="5847884" y="3629520"/>
                  <a:pt x="5855209" y="3627913"/>
                </a:cubicBezTo>
                <a:cubicBezTo>
                  <a:pt x="5855924" y="3627733"/>
                  <a:pt x="5856638" y="3627733"/>
                  <a:pt x="5857354" y="3627913"/>
                </a:cubicBezTo>
                <a:cubicBezTo>
                  <a:pt x="5858961" y="3627733"/>
                  <a:pt x="5860568" y="3627376"/>
                  <a:pt x="5862178" y="3627198"/>
                </a:cubicBezTo>
                <a:cubicBezTo>
                  <a:pt x="5864500" y="3626840"/>
                  <a:pt x="5867000" y="3626483"/>
                  <a:pt x="5869503" y="3626125"/>
                </a:cubicBezTo>
                <a:cubicBezTo>
                  <a:pt x="5868610" y="3625769"/>
                  <a:pt x="5867715" y="3625232"/>
                  <a:pt x="5866822" y="3624874"/>
                </a:cubicBezTo>
                <a:cubicBezTo>
                  <a:pt x="5860748" y="3622195"/>
                  <a:pt x="5854851" y="3621481"/>
                  <a:pt x="5848419" y="3623803"/>
                </a:cubicBezTo>
                <a:close/>
                <a:moveTo>
                  <a:pt x="5887906" y="3617907"/>
                </a:moveTo>
                <a:cubicBezTo>
                  <a:pt x="5884333" y="3618622"/>
                  <a:pt x="5880938" y="3619156"/>
                  <a:pt x="5877364" y="3619871"/>
                </a:cubicBezTo>
                <a:cubicBezTo>
                  <a:pt x="5878794" y="3621301"/>
                  <a:pt x="5880223" y="3622552"/>
                  <a:pt x="5881296" y="3624339"/>
                </a:cubicBezTo>
                <a:lnTo>
                  <a:pt x="5881116" y="3623981"/>
                </a:lnTo>
                <a:cubicBezTo>
                  <a:pt x="5884868" y="3623445"/>
                  <a:pt x="5888441" y="3622910"/>
                  <a:pt x="5892194" y="3622373"/>
                </a:cubicBezTo>
                <a:cubicBezTo>
                  <a:pt x="5890585" y="3621301"/>
                  <a:pt x="5889156" y="3619693"/>
                  <a:pt x="5887548" y="3618442"/>
                </a:cubicBezTo>
                <a:cubicBezTo>
                  <a:pt x="5887726" y="3618264"/>
                  <a:pt x="5887906" y="3618085"/>
                  <a:pt x="5887906" y="3617907"/>
                </a:cubicBezTo>
                <a:close/>
                <a:moveTo>
                  <a:pt x="5969267" y="3615293"/>
                </a:moveTo>
                <a:cubicBezTo>
                  <a:pt x="5965135" y="3615584"/>
                  <a:pt x="5961070" y="3616924"/>
                  <a:pt x="5957050" y="3620051"/>
                </a:cubicBezTo>
                <a:cubicBezTo>
                  <a:pt x="5953299" y="3622910"/>
                  <a:pt x="5947403" y="3623266"/>
                  <a:pt x="5941328" y="3625054"/>
                </a:cubicBezTo>
                <a:cubicBezTo>
                  <a:pt x="5949904" y="3625054"/>
                  <a:pt x="5957230" y="3625589"/>
                  <a:pt x="5964556" y="3625054"/>
                </a:cubicBezTo>
                <a:cubicBezTo>
                  <a:pt x="5970273" y="3624696"/>
                  <a:pt x="5975990" y="3623625"/>
                  <a:pt x="5981530" y="3622015"/>
                </a:cubicBezTo>
                <a:lnTo>
                  <a:pt x="5981350" y="3622015"/>
                </a:lnTo>
                <a:cubicBezTo>
                  <a:pt x="5983674" y="3621301"/>
                  <a:pt x="5983138" y="3618800"/>
                  <a:pt x="5981886" y="3616834"/>
                </a:cubicBezTo>
                <a:cubicBezTo>
                  <a:pt x="5977598" y="3615762"/>
                  <a:pt x="5973399" y="3615003"/>
                  <a:pt x="5969267" y="3615293"/>
                </a:cubicBezTo>
                <a:close/>
                <a:moveTo>
                  <a:pt x="5867180" y="3612010"/>
                </a:moveTo>
                <a:cubicBezTo>
                  <a:pt x="5854316" y="3613619"/>
                  <a:pt x="5841630" y="3615405"/>
                  <a:pt x="5828766" y="3617193"/>
                </a:cubicBezTo>
                <a:lnTo>
                  <a:pt x="5827692" y="3617907"/>
                </a:lnTo>
                <a:lnTo>
                  <a:pt x="5826978" y="3617907"/>
                </a:lnTo>
                <a:lnTo>
                  <a:pt x="5827156" y="3618264"/>
                </a:lnTo>
                <a:lnTo>
                  <a:pt x="5827692" y="3617907"/>
                </a:lnTo>
                <a:lnTo>
                  <a:pt x="5839128" y="3617907"/>
                </a:lnTo>
                <a:cubicBezTo>
                  <a:pt x="5839664" y="3617907"/>
                  <a:pt x="5840379" y="3617907"/>
                  <a:pt x="5840916" y="3617907"/>
                </a:cubicBezTo>
                <a:cubicBezTo>
                  <a:pt x="5841272" y="3617907"/>
                  <a:pt x="5841630" y="3617907"/>
                  <a:pt x="5841986" y="3617907"/>
                </a:cubicBezTo>
                <a:cubicBezTo>
                  <a:pt x="5848599" y="3617549"/>
                  <a:pt x="5855388" y="3617012"/>
                  <a:pt x="5862178" y="3616298"/>
                </a:cubicBezTo>
                <a:cubicBezTo>
                  <a:pt x="5862712" y="3614868"/>
                  <a:pt x="5864142" y="3613797"/>
                  <a:pt x="5865930" y="3612724"/>
                </a:cubicBezTo>
                <a:cubicBezTo>
                  <a:pt x="5866466" y="3612368"/>
                  <a:pt x="5866822" y="3612190"/>
                  <a:pt x="5867180" y="3612010"/>
                </a:cubicBezTo>
                <a:close/>
                <a:moveTo>
                  <a:pt x="5960446" y="3598789"/>
                </a:moveTo>
                <a:cubicBezTo>
                  <a:pt x="5958660" y="3598967"/>
                  <a:pt x="5957050" y="3599145"/>
                  <a:pt x="5955443" y="3599145"/>
                </a:cubicBezTo>
                <a:cubicBezTo>
                  <a:pt x="5957050" y="3599145"/>
                  <a:pt x="5958660" y="3599145"/>
                  <a:pt x="5960268" y="3599145"/>
                </a:cubicBezTo>
                <a:cubicBezTo>
                  <a:pt x="5960268" y="3598967"/>
                  <a:pt x="5960268" y="3598967"/>
                  <a:pt x="5960268" y="3598967"/>
                </a:cubicBezTo>
                <a:close/>
                <a:moveTo>
                  <a:pt x="5994394" y="3595930"/>
                </a:moveTo>
                <a:lnTo>
                  <a:pt x="5993967" y="3596108"/>
                </a:lnTo>
                <a:lnTo>
                  <a:pt x="5992250" y="3596108"/>
                </a:lnTo>
                <a:cubicBezTo>
                  <a:pt x="5991714" y="3596108"/>
                  <a:pt x="5991177" y="3596108"/>
                  <a:pt x="5990640" y="3596108"/>
                </a:cubicBezTo>
                <a:cubicBezTo>
                  <a:pt x="5990284" y="3596287"/>
                  <a:pt x="5990106" y="3596287"/>
                  <a:pt x="5989926" y="3596287"/>
                </a:cubicBezTo>
                <a:cubicBezTo>
                  <a:pt x="5990106" y="3596645"/>
                  <a:pt x="5990106" y="3597181"/>
                  <a:pt x="5990106" y="3597716"/>
                </a:cubicBezTo>
                <a:lnTo>
                  <a:pt x="5993967" y="3596108"/>
                </a:lnTo>
                <a:lnTo>
                  <a:pt x="5994572" y="3596108"/>
                </a:lnTo>
                <a:close/>
                <a:moveTo>
                  <a:pt x="6036916" y="3592179"/>
                </a:moveTo>
                <a:cubicBezTo>
                  <a:pt x="6032987" y="3592357"/>
                  <a:pt x="6029055" y="3592535"/>
                  <a:pt x="6025482" y="3593428"/>
                </a:cubicBezTo>
                <a:cubicBezTo>
                  <a:pt x="6022445" y="3595037"/>
                  <a:pt x="6019942" y="3596287"/>
                  <a:pt x="6017798" y="3597181"/>
                </a:cubicBezTo>
                <a:cubicBezTo>
                  <a:pt x="6016549" y="3598253"/>
                  <a:pt x="6015298" y="3599504"/>
                  <a:pt x="6014225" y="3600933"/>
                </a:cubicBezTo>
                <a:cubicBezTo>
                  <a:pt x="6007258" y="3601111"/>
                  <a:pt x="6000112" y="3602184"/>
                  <a:pt x="5994750" y="3596287"/>
                </a:cubicBezTo>
                <a:cubicBezTo>
                  <a:pt x="5990106" y="3603614"/>
                  <a:pt x="5983674" y="3607187"/>
                  <a:pt x="5974740" y="3605936"/>
                </a:cubicBezTo>
                <a:cubicBezTo>
                  <a:pt x="5972595" y="3605758"/>
                  <a:pt x="5970273" y="3605758"/>
                  <a:pt x="5968307" y="3606292"/>
                </a:cubicBezTo>
                <a:cubicBezTo>
                  <a:pt x="5953657" y="3609866"/>
                  <a:pt x="5939005" y="3608258"/>
                  <a:pt x="5924534" y="3606292"/>
                </a:cubicBezTo>
                <a:cubicBezTo>
                  <a:pt x="5924175" y="3606651"/>
                  <a:pt x="5923818" y="3607007"/>
                  <a:pt x="5923460" y="3607543"/>
                </a:cubicBezTo>
                <a:cubicBezTo>
                  <a:pt x="5920424" y="3611475"/>
                  <a:pt x="5913098" y="3612010"/>
                  <a:pt x="5907738" y="3613976"/>
                </a:cubicBezTo>
                <a:cubicBezTo>
                  <a:pt x="5907559" y="3613976"/>
                  <a:pt x="5907381" y="3613976"/>
                  <a:pt x="5907381" y="3613976"/>
                </a:cubicBezTo>
                <a:cubicBezTo>
                  <a:pt x="5908632" y="3615227"/>
                  <a:pt x="5910240" y="3616656"/>
                  <a:pt x="5911848" y="3618085"/>
                </a:cubicBezTo>
                <a:cubicBezTo>
                  <a:pt x="5913635" y="3618085"/>
                  <a:pt x="5915779" y="3618085"/>
                  <a:pt x="5918101" y="3618085"/>
                </a:cubicBezTo>
                <a:cubicBezTo>
                  <a:pt x="5922390" y="3617193"/>
                  <a:pt x="5926856" y="3616120"/>
                  <a:pt x="5931322" y="3614868"/>
                </a:cubicBezTo>
                <a:cubicBezTo>
                  <a:pt x="5944544" y="3611117"/>
                  <a:pt x="5958660" y="3610580"/>
                  <a:pt x="5972239" y="3608616"/>
                </a:cubicBezTo>
                <a:cubicBezTo>
                  <a:pt x="5978312" y="3607722"/>
                  <a:pt x="5980635" y="3611475"/>
                  <a:pt x="5982064" y="3616478"/>
                </a:cubicBezTo>
                <a:cubicBezTo>
                  <a:pt x="5982422" y="3616656"/>
                  <a:pt x="5982957" y="3616656"/>
                  <a:pt x="5983316" y="3616656"/>
                </a:cubicBezTo>
                <a:cubicBezTo>
                  <a:pt x="5986532" y="3617907"/>
                  <a:pt x="5989570" y="3618978"/>
                  <a:pt x="5992606" y="3619693"/>
                </a:cubicBezTo>
                <a:cubicBezTo>
                  <a:pt x="6005292" y="3604863"/>
                  <a:pt x="6020300" y="3605578"/>
                  <a:pt x="6038346" y="3610939"/>
                </a:cubicBezTo>
                <a:cubicBezTo>
                  <a:pt x="6036558" y="3612904"/>
                  <a:pt x="6034594" y="3614154"/>
                  <a:pt x="6032628" y="3615227"/>
                </a:cubicBezTo>
                <a:lnTo>
                  <a:pt x="6033165" y="3614868"/>
                </a:lnTo>
                <a:cubicBezTo>
                  <a:pt x="6048710" y="3616120"/>
                  <a:pt x="6064074" y="3614868"/>
                  <a:pt x="6079441" y="3613976"/>
                </a:cubicBezTo>
                <a:cubicBezTo>
                  <a:pt x="6082120" y="3612546"/>
                  <a:pt x="6084978" y="3610402"/>
                  <a:pt x="6088732" y="3608436"/>
                </a:cubicBezTo>
                <a:cubicBezTo>
                  <a:pt x="6076760" y="3598431"/>
                  <a:pt x="6066755" y="3610760"/>
                  <a:pt x="6057106" y="3607722"/>
                </a:cubicBezTo>
                <a:cubicBezTo>
                  <a:pt x="6059608" y="3603077"/>
                  <a:pt x="6061216" y="3600397"/>
                  <a:pt x="6063182" y="3598431"/>
                </a:cubicBezTo>
                <a:cubicBezTo>
                  <a:pt x="6061216" y="3598967"/>
                  <a:pt x="6059608" y="3599504"/>
                  <a:pt x="6058000" y="3599682"/>
                </a:cubicBezTo>
                <a:cubicBezTo>
                  <a:pt x="6054962" y="3600218"/>
                  <a:pt x="6052818" y="3598967"/>
                  <a:pt x="6051388" y="3596287"/>
                </a:cubicBezTo>
                <a:cubicBezTo>
                  <a:pt x="6050674" y="3594857"/>
                  <a:pt x="6049959" y="3593608"/>
                  <a:pt x="6049066" y="3592357"/>
                </a:cubicBezTo>
                <a:cubicBezTo>
                  <a:pt x="6045671" y="3593072"/>
                  <a:pt x="6042100" y="3592535"/>
                  <a:pt x="6038704" y="3592179"/>
                </a:cubicBezTo>
                <a:cubicBezTo>
                  <a:pt x="6038168" y="3592179"/>
                  <a:pt x="6037453" y="3592179"/>
                  <a:pt x="6036916" y="3592179"/>
                </a:cubicBezTo>
                <a:close/>
                <a:moveTo>
                  <a:pt x="5695657" y="3585210"/>
                </a:moveTo>
                <a:lnTo>
                  <a:pt x="5695835" y="3585210"/>
                </a:lnTo>
                <a:cubicBezTo>
                  <a:pt x="5695835" y="3585388"/>
                  <a:pt x="5695835" y="3585388"/>
                  <a:pt x="5695835" y="3585388"/>
                </a:cubicBezTo>
                <a:cubicBezTo>
                  <a:pt x="5695657" y="3585210"/>
                  <a:pt x="5695657" y="3585210"/>
                  <a:pt x="5695657" y="3585210"/>
                </a:cubicBezTo>
                <a:close/>
                <a:moveTo>
                  <a:pt x="5695554" y="3585193"/>
                </a:moveTo>
                <a:lnTo>
                  <a:pt x="5695657" y="3585210"/>
                </a:lnTo>
                <a:lnTo>
                  <a:pt x="5695477" y="3585210"/>
                </a:lnTo>
                <a:close/>
                <a:moveTo>
                  <a:pt x="6083549" y="3584852"/>
                </a:moveTo>
                <a:cubicBezTo>
                  <a:pt x="6079441" y="3585747"/>
                  <a:pt x="6075510" y="3586281"/>
                  <a:pt x="6071400" y="3586639"/>
                </a:cubicBezTo>
                <a:cubicBezTo>
                  <a:pt x="6065148" y="3587176"/>
                  <a:pt x="6061930" y="3590213"/>
                  <a:pt x="6059072" y="3595394"/>
                </a:cubicBezTo>
                <a:cubicBezTo>
                  <a:pt x="6060680" y="3596287"/>
                  <a:pt x="6061930" y="3597181"/>
                  <a:pt x="6063718" y="3598253"/>
                </a:cubicBezTo>
                <a:cubicBezTo>
                  <a:pt x="6066933" y="3595572"/>
                  <a:pt x="6071222" y="3594679"/>
                  <a:pt x="6081048" y="3592179"/>
                </a:cubicBezTo>
                <a:cubicBezTo>
                  <a:pt x="6091232" y="3589676"/>
                  <a:pt x="6099094" y="3592179"/>
                  <a:pt x="6106240" y="3600040"/>
                </a:cubicBezTo>
                <a:cubicBezTo>
                  <a:pt x="6110529" y="3597538"/>
                  <a:pt x="6114817" y="3594679"/>
                  <a:pt x="6118927" y="3592179"/>
                </a:cubicBezTo>
                <a:cubicBezTo>
                  <a:pt x="6114995" y="3591284"/>
                  <a:pt x="6111066" y="3590391"/>
                  <a:pt x="6107492" y="3588962"/>
                </a:cubicBezTo>
                <a:cubicBezTo>
                  <a:pt x="6105704" y="3588247"/>
                  <a:pt x="6103918" y="3587711"/>
                  <a:pt x="6102131" y="3587176"/>
                </a:cubicBezTo>
                <a:cubicBezTo>
                  <a:pt x="6099808" y="3587176"/>
                  <a:pt x="6097664" y="3587176"/>
                  <a:pt x="6095520" y="3587176"/>
                </a:cubicBezTo>
                <a:cubicBezTo>
                  <a:pt x="6096235" y="3586818"/>
                  <a:pt x="6097664" y="3586103"/>
                  <a:pt x="6097664" y="3586103"/>
                </a:cubicBezTo>
                <a:lnTo>
                  <a:pt x="6098023" y="3586103"/>
                </a:lnTo>
                <a:cubicBezTo>
                  <a:pt x="6093198" y="3585210"/>
                  <a:pt x="6088374" y="3584852"/>
                  <a:pt x="6083549" y="3584852"/>
                </a:cubicBezTo>
                <a:close/>
                <a:moveTo>
                  <a:pt x="5736572" y="3569309"/>
                </a:moveTo>
                <a:cubicBezTo>
                  <a:pt x="5734250" y="3569843"/>
                  <a:pt x="5732106" y="3570380"/>
                  <a:pt x="5729782" y="3570738"/>
                </a:cubicBezTo>
                <a:lnTo>
                  <a:pt x="5729782" y="3570916"/>
                </a:lnTo>
                <a:cubicBezTo>
                  <a:pt x="5729247" y="3570916"/>
                  <a:pt x="5728532" y="3571273"/>
                  <a:pt x="5727818" y="3571273"/>
                </a:cubicBezTo>
                <a:cubicBezTo>
                  <a:pt x="5730496" y="3570738"/>
                  <a:pt x="5733355" y="3570380"/>
                  <a:pt x="5736036" y="3570024"/>
                </a:cubicBezTo>
                <a:cubicBezTo>
                  <a:pt x="5736214" y="3569665"/>
                  <a:pt x="5736572" y="3569487"/>
                  <a:pt x="5736572" y="3569309"/>
                </a:cubicBezTo>
                <a:close/>
                <a:moveTo>
                  <a:pt x="6049602" y="3564126"/>
                </a:moveTo>
                <a:lnTo>
                  <a:pt x="6050496" y="3565735"/>
                </a:lnTo>
                <a:cubicBezTo>
                  <a:pt x="6050496" y="3565735"/>
                  <a:pt x="6051210" y="3564126"/>
                  <a:pt x="6051210" y="3564126"/>
                </a:cubicBezTo>
                <a:close/>
                <a:moveTo>
                  <a:pt x="5934717" y="3563233"/>
                </a:moveTo>
                <a:cubicBezTo>
                  <a:pt x="5934359" y="3563591"/>
                  <a:pt x="5934002" y="3563948"/>
                  <a:pt x="5933646" y="3564306"/>
                </a:cubicBezTo>
                <a:cubicBezTo>
                  <a:pt x="5934717" y="3564126"/>
                  <a:pt x="5935610" y="3563948"/>
                  <a:pt x="5936683" y="3563770"/>
                </a:cubicBezTo>
                <a:cubicBezTo>
                  <a:pt x="5935968" y="3563591"/>
                  <a:pt x="5935432" y="3563233"/>
                  <a:pt x="5934717" y="3563233"/>
                </a:cubicBezTo>
                <a:close/>
                <a:moveTo>
                  <a:pt x="5981530" y="3555550"/>
                </a:moveTo>
                <a:lnTo>
                  <a:pt x="5953089" y="3558767"/>
                </a:lnTo>
                <a:lnTo>
                  <a:pt x="5951513" y="3558767"/>
                </a:lnTo>
                <a:lnTo>
                  <a:pt x="5951513" y="3558945"/>
                </a:lnTo>
                <a:lnTo>
                  <a:pt x="5953089" y="3558767"/>
                </a:lnTo>
                <a:lnTo>
                  <a:pt x="5962948" y="3558767"/>
                </a:lnTo>
                <a:cubicBezTo>
                  <a:pt x="5969200" y="3557694"/>
                  <a:pt x="5975276" y="3556623"/>
                  <a:pt x="5981530" y="3555550"/>
                </a:cubicBezTo>
                <a:close/>
                <a:moveTo>
                  <a:pt x="6123036" y="3551798"/>
                </a:moveTo>
                <a:lnTo>
                  <a:pt x="6123036" y="3553406"/>
                </a:lnTo>
                <a:lnTo>
                  <a:pt x="6125537" y="3552691"/>
                </a:lnTo>
                <a:lnTo>
                  <a:pt x="6123215" y="3551798"/>
                </a:lnTo>
                <a:close/>
                <a:moveTo>
                  <a:pt x="5916136" y="3549298"/>
                </a:moveTo>
                <a:cubicBezTo>
                  <a:pt x="5915599" y="3549832"/>
                  <a:pt x="5915242" y="3550369"/>
                  <a:pt x="5914706" y="3551084"/>
                </a:cubicBezTo>
                <a:cubicBezTo>
                  <a:pt x="5915420" y="3551442"/>
                  <a:pt x="5916136" y="3551620"/>
                  <a:pt x="5916850" y="3551976"/>
                </a:cubicBezTo>
                <a:cubicBezTo>
                  <a:pt x="5917030" y="3551262"/>
                  <a:pt x="5917208" y="3549654"/>
                  <a:pt x="5917208" y="3549654"/>
                </a:cubicBezTo>
                <a:cubicBezTo>
                  <a:pt x="5917208" y="3549654"/>
                  <a:pt x="5916136" y="3549298"/>
                  <a:pt x="5916136" y="3549298"/>
                </a:cubicBezTo>
                <a:close/>
                <a:moveTo>
                  <a:pt x="5892372" y="3548583"/>
                </a:moveTo>
                <a:cubicBezTo>
                  <a:pt x="5888084" y="3549298"/>
                  <a:pt x="5883796" y="3549832"/>
                  <a:pt x="5879508" y="3550369"/>
                </a:cubicBezTo>
                <a:cubicBezTo>
                  <a:pt x="5861820" y="3552513"/>
                  <a:pt x="5843416" y="3553406"/>
                  <a:pt x="5826622" y="3562162"/>
                </a:cubicBezTo>
                <a:cubicBezTo>
                  <a:pt x="5824300" y="3563411"/>
                  <a:pt x="5821082" y="3563233"/>
                  <a:pt x="5818224" y="3563233"/>
                </a:cubicBezTo>
                <a:cubicBezTo>
                  <a:pt x="5814830" y="3563411"/>
                  <a:pt x="5811792" y="3557694"/>
                  <a:pt x="5813936" y="3554301"/>
                </a:cubicBezTo>
                <a:cubicBezTo>
                  <a:pt x="5814472" y="3553406"/>
                  <a:pt x="5815187" y="3552335"/>
                  <a:pt x="5815902" y="3551262"/>
                </a:cubicBezTo>
                <a:cubicBezTo>
                  <a:pt x="5815187" y="3551262"/>
                  <a:pt x="5814650" y="3551262"/>
                  <a:pt x="5813936" y="3551262"/>
                </a:cubicBezTo>
                <a:cubicBezTo>
                  <a:pt x="5804467" y="3551442"/>
                  <a:pt x="5794998" y="3554479"/>
                  <a:pt x="5785707" y="3556623"/>
                </a:cubicBezTo>
                <a:cubicBezTo>
                  <a:pt x="5777309" y="3558589"/>
                  <a:pt x="5769269" y="3560911"/>
                  <a:pt x="5761050" y="3563055"/>
                </a:cubicBezTo>
                <a:cubicBezTo>
                  <a:pt x="5761050" y="3563055"/>
                  <a:pt x="5761408" y="3563055"/>
                  <a:pt x="5761408" y="3563055"/>
                </a:cubicBezTo>
                <a:cubicBezTo>
                  <a:pt x="5756583" y="3570558"/>
                  <a:pt x="5755688" y="3571809"/>
                  <a:pt x="5743182" y="3572524"/>
                </a:cubicBezTo>
                <a:cubicBezTo>
                  <a:pt x="5738537" y="3574579"/>
                  <a:pt x="5733043" y="3576455"/>
                  <a:pt x="5725494" y="3578465"/>
                </a:cubicBezTo>
                <a:lnTo>
                  <a:pt x="5695554" y="3585193"/>
                </a:lnTo>
                <a:lnTo>
                  <a:pt x="5691369" y="3584495"/>
                </a:lnTo>
                <a:cubicBezTo>
                  <a:pt x="5683864" y="3586639"/>
                  <a:pt x="5676180" y="3588069"/>
                  <a:pt x="5668499" y="3589320"/>
                </a:cubicBezTo>
                <a:cubicBezTo>
                  <a:pt x="5666175" y="3590035"/>
                  <a:pt x="5663852" y="3590749"/>
                  <a:pt x="5661350" y="3591464"/>
                </a:cubicBezTo>
                <a:cubicBezTo>
                  <a:pt x="5663852" y="3592713"/>
                  <a:pt x="5665460" y="3593428"/>
                  <a:pt x="5667784" y="3594679"/>
                </a:cubicBezTo>
                <a:cubicBezTo>
                  <a:pt x="5664746" y="3597538"/>
                  <a:pt x="5662067" y="3599860"/>
                  <a:pt x="5659208" y="3602362"/>
                </a:cubicBezTo>
                <a:cubicBezTo>
                  <a:pt x="5661350" y="3606472"/>
                  <a:pt x="5664746" y="3603614"/>
                  <a:pt x="5667784" y="3604148"/>
                </a:cubicBezTo>
                <a:cubicBezTo>
                  <a:pt x="5667248" y="3604685"/>
                  <a:pt x="5666892" y="3605758"/>
                  <a:pt x="5666353" y="3605758"/>
                </a:cubicBezTo>
                <a:cubicBezTo>
                  <a:pt x="5657064" y="3608436"/>
                  <a:pt x="5647952" y="3611831"/>
                  <a:pt x="5638660" y="3613797"/>
                </a:cubicBezTo>
                <a:cubicBezTo>
                  <a:pt x="5630262" y="3615583"/>
                  <a:pt x="5622223" y="3618264"/>
                  <a:pt x="5614184" y="3621122"/>
                </a:cubicBezTo>
                <a:cubicBezTo>
                  <a:pt x="5624904" y="3626662"/>
                  <a:pt x="5635802" y="3623803"/>
                  <a:pt x="5646700" y="3621122"/>
                </a:cubicBezTo>
                <a:cubicBezTo>
                  <a:pt x="5654028" y="3619337"/>
                  <a:pt x="5654028" y="3619156"/>
                  <a:pt x="5661530" y="3622015"/>
                </a:cubicBezTo>
                <a:cubicBezTo>
                  <a:pt x="5651525" y="3628984"/>
                  <a:pt x="5644200" y="3632201"/>
                  <a:pt x="5636160" y="3633630"/>
                </a:cubicBezTo>
                <a:cubicBezTo>
                  <a:pt x="5622580" y="3636131"/>
                  <a:pt x="5608822" y="3638453"/>
                  <a:pt x="5595244" y="3641133"/>
                </a:cubicBezTo>
                <a:lnTo>
                  <a:pt x="5594707" y="3640597"/>
                </a:lnTo>
                <a:cubicBezTo>
                  <a:pt x="5591670" y="3641312"/>
                  <a:pt x="5588633" y="3642026"/>
                  <a:pt x="5585596" y="3642921"/>
                </a:cubicBezTo>
                <a:cubicBezTo>
                  <a:pt x="5585774" y="3643277"/>
                  <a:pt x="5585952" y="3643636"/>
                  <a:pt x="5586130" y="3643992"/>
                </a:cubicBezTo>
                <a:cubicBezTo>
                  <a:pt x="5586667" y="3645065"/>
                  <a:pt x="5587204" y="3645780"/>
                  <a:pt x="5587918" y="3646314"/>
                </a:cubicBezTo>
                <a:cubicBezTo>
                  <a:pt x="5592206" y="3645422"/>
                  <a:pt x="5597924" y="3644885"/>
                  <a:pt x="5605786" y="3643992"/>
                </a:cubicBezTo>
                <a:cubicBezTo>
                  <a:pt x="5606678" y="3645958"/>
                  <a:pt x="5607750" y="3648280"/>
                  <a:pt x="5608822" y="3650602"/>
                </a:cubicBezTo>
                <a:cubicBezTo>
                  <a:pt x="5613647" y="3651317"/>
                  <a:pt x="5618293" y="3650246"/>
                  <a:pt x="5622938" y="3647924"/>
                </a:cubicBezTo>
                <a:cubicBezTo>
                  <a:pt x="5627226" y="3645958"/>
                  <a:pt x="5631336" y="3644529"/>
                  <a:pt x="5635624" y="3647209"/>
                </a:cubicBezTo>
                <a:cubicBezTo>
                  <a:pt x="5635624" y="3646314"/>
                  <a:pt x="5635624" y="3645600"/>
                  <a:pt x="5635624" y="3644885"/>
                </a:cubicBezTo>
                <a:cubicBezTo>
                  <a:pt x="5631692" y="3644707"/>
                  <a:pt x="5627582" y="3644350"/>
                  <a:pt x="5623294" y="3644170"/>
                </a:cubicBezTo>
                <a:cubicBezTo>
                  <a:pt x="5624367" y="3641848"/>
                  <a:pt x="5624904" y="3638633"/>
                  <a:pt x="5625974" y="3638453"/>
                </a:cubicBezTo>
                <a:cubicBezTo>
                  <a:pt x="5633300" y="3636667"/>
                  <a:pt x="5640626" y="3634879"/>
                  <a:pt x="5647952" y="3633094"/>
                </a:cubicBezTo>
                <a:cubicBezTo>
                  <a:pt x="5645630" y="3633630"/>
                  <a:pt x="5643484" y="3634165"/>
                  <a:pt x="5641161" y="3634701"/>
                </a:cubicBezTo>
                <a:cubicBezTo>
                  <a:pt x="5640804" y="3634879"/>
                  <a:pt x="5640268" y="3634345"/>
                  <a:pt x="5639732" y="3634345"/>
                </a:cubicBezTo>
                <a:cubicBezTo>
                  <a:pt x="5652240" y="3628627"/>
                  <a:pt x="5656350" y="3627733"/>
                  <a:pt x="5666533" y="3627913"/>
                </a:cubicBezTo>
                <a:cubicBezTo>
                  <a:pt x="5666353" y="3628091"/>
                  <a:pt x="5666175" y="3628447"/>
                  <a:pt x="5665997" y="3628627"/>
                </a:cubicBezTo>
                <a:cubicBezTo>
                  <a:pt x="5673502" y="3626840"/>
                  <a:pt x="5681184" y="3624874"/>
                  <a:pt x="5688688" y="3623088"/>
                </a:cubicBezTo>
                <a:cubicBezTo>
                  <a:pt x="5686544" y="3622373"/>
                  <a:pt x="5683864" y="3621122"/>
                  <a:pt x="5679754" y="3618978"/>
                </a:cubicBezTo>
                <a:cubicBezTo>
                  <a:pt x="5688866" y="3614154"/>
                  <a:pt x="5698516" y="3612904"/>
                  <a:pt x="5707628" y="3610760"/>
                </a:cubicBezTo>
                <a:cubicBezTo>
                  <a:pt x="5709056" y="3610402"/>
                  <a:pt x="5711200" y="3610402"/>
                  <a:pt x="5712273" y="3611295"/>
                </a:cubicBezTo>
                <a:cubicBezTo>
                  <a:pt x="5719062" y="3616120"/>
                  <a:pt x="5725496" y="3613797"/>
                  <a:pt x="5731748" y="3610402"/>
                </a:cubicBezTo>
                <a:cubicBezTo>
                  <a:pt x="5739609" y="3606114"/>
                  <a:pt x="5748364" y="3606829"/>
                  <a:pt x="5756762" y="3605936"/>
                </a:cubicBezTo>
                <a:cubicBezTo>
                  <a:pt x="5757834" y="3605936"/>
                  <a:pt x="5758906" y="3605936"/>
                  <a:pt x="5759978" y="3605936"/>
                </a:cubicBezTo>
                <a:cubicBezTo>
                  <a:pt x="5761764" y="3605578"/>
                  <a:pt x="5763552" y="3605043"/>
                  <a:pt x="5765338" y="3604685"/>
                </a:cubicBezTo>
                <a:cubicBezTo>
                  <a:pt x="5780346" y="3601111"/>
                  <a:pt x="5795176" y="3597538"/>
                  <a:pt x="5810006" y="3593964"/>
                </a:cubicBezTo>
                <a:cubicBezTo>
                  <a:pt x="5809648" y="3593250"/>
                  <a:pt x="5809290" y="3592713"/>
                  <a:pt x="5809290" y="3592179"/>
                </a:cubicBezTo>
                <a:cubicBezTo>
                  <a:pt x="5810006" y="3591642"/>
                  <a:pt x="5810721" y="3590569"/>
                  <a:pt x="5811436" y="3590569"/>
                </a:cubicBezTo>
                <a:cubicBezTo>
                  <a:pt x="5816616" y="3590569"/>
                  <a:pt x="5821619" y="3590569"/>
                  <a:pt x="5826444" y="3590035"/>
                </a:cubicBezTo>
                <a:cubicBezTo>
                  <a:pt x="5834484" y="3588247"/>
                  <a:pt x="5842345" y="3586281"/>
                  <a:pt x="5850206" y="3584495"/>
                </a:cubicBezTo>
                <a:cubicBezTo>
                  <a:pt x="5851458" y="3583959"/>
                  <a:pt x="5852528" y="3583422"/>
                  <a:pt x="5853780" y="3582888"/>
                </a:cubicBezTo>
                <a:cubicBezTo>
                  <a:pt x="5859854" y="3580029"/>
                  <a:pt x="5867180" y="3579493"/>
                  <a:pt x="5873969" y="3578778"/>
                </a:cubicBezTo>
                <a:cubicBezTo>
                  <a:pt x="5879150" y="3578241"/>
                  <a:pt x="5884333" y="3577705"/>
                  <a:pt x="5889514" y="3577349"/>
                </a:cubicBezTo>
                <a:cubicBezTo>
                  <a:pt x="5896661" y="3573597"/>
                  <a:pt x="5903271" y="3570380"/>
                  <a:pt x="5910240" y="3568951"/>
                </a:cubicBezTo>
                <a:cubicBezTo>
                  <a:pt x="5914350" y="3568058"/>
                  <a:pt x="5918280" y="3567343"/>
                  <a:pt x="5922211" y="3566450"/>
                </a:cubicBezTo>
                <a:cubicBezTo>
                  <a:pt x="5922746" y="3565555"/>
                  <a:pt x="5923104" y="3564306"/>
                  <a:pt x="5922746" y="3562697"/>
                </a:cubicBezTo>
                <a:cubicBezTo>
                  <a:pt x="5922746" y="3562162"/>
                  <a:pt x="5926141" y="3560196"/>
                  <a:pt x="5928107" y="3560196"/>
                </a:cubicBezTo>
                <a:cubicBezTo>
                  <a:pt x="5935432" y="3559482"/>
                  <a:pt x="5942937" y="3559303"/>
                  <a:pt x="5950262" y="3558945"/>
                </a:cubicBezTo>
                <a:cubicBezTo>
                  <a:pt x="5949726" y="3556623"/>
                  <a:pt x="5949010" y="3554301"/>
                  <a:pt x="5948296" y="3551262"/>
                </a:cubicBezTo>
                <a:cubicBezTo>
                  <a:pt x="5945081" y="3552335"/>
                  <a:pt x="5943115" y="3552871"/>
                  <a:pt x="5941328" y="3553586"/>
                </a:cubicBezTo>
                <a:cubicBezTo>
                  <a:pt x="5930607" y="3557874"/>
                  <a:pt x="5919887" y="3558945"/>
                  <a:pt x="5908988" y="3553586"/>
                </a:cubicBezTo>
                <a:cubicBezTo>
                  <a:pt x="5906666" y="3552513"/>
                  <a:pt x="5903986" y="3551442"/>
                  <a:pt x="5901486" y="3551084"/>
                </a:cubicBezTo>
                <a:cubicBezTo>
                  <a:pt x="5897197" y="3550547"/>
                  <a:pt x="5894873" y="3553049"/>
                  <a:pt x="5892909" y="3559838"/>
                </a:cubicBezTo>
                <a:cubicBezTo>
                  <a:pt x="5897912" y="3562518"/>
                  <a:pt x="5904344" y="3559303"/>
                  <a:pt x="5910240" y="3563233"/>
                </a:cubicBezTo>
                <a:cubicBezTo>
                  <a:pt x="5908452" y="3564484"/>
                  <a:pt x="5907381" y="3566092"/>
                  <a:pt x="5906130" y="3566092"/>
                </a:cubicBezTo>
                <a:cubicBezTo>
                  <a:pt x="5891836" y="3567165"/>
                  <a:pt x="5877542" y="3568058"/>
                  <a:pt x="5863249" y="3568772"/>
                </a:cubicBezTo>
                <a:cubicBezTo>
                  <a:pt x="5862712" y="3568772"/>
                  <a:pt x="5861998" y="3567343"/>
                  <a:pt x="5861105" y="3566450"/>
                </a:cubicBezTo>
                <a:cubicBezTo>
                  <a:pt x="5863607" y="3561804"/>
                  <a:pt x="5867715" y="3565199"/>
                  <a:pt x="5870932" y="3564484"/>
                </a:cubicBezTo>
                <a:cubicBezTo>
                  <a:pt x="5874506" y="3563770"/>
                  <a:pt x="5878257" y="3563411"/>
                  <a:pt x="5881296" y="3562877"/>
                </a:cubicBezTo>
                <a:cubicBezTo>
                  <a:pt x="5884333" y="3558589"/>
                  <a:pt x="5887370" y="3555193"/>
                  <a:pt x="5889692" y="3551262"/>
                </a:cubicBezTo>
                <a:cubicBezTo>
                  <a:pt x="5890407" y="3550012"/>
                  <a:pt x="5891300" y="3549118"/>
                  <a:pt x="5892372" y="3548583"/>
                </a:cubicBezTo>
                <a:close/>
                <a:moveTo>
                  <a:pt x="5978671" y="3544473"/>
                </a:moveTo>
                <a:cubicBezTo>
                  <a:pt x="5978134" y="3545010"/>
                  <a:pt x="5977242" y="3546439"/>
                  <a:pt x="5977242" y="3546439"/>
                </a:cubicBezTo>
                <a:cubicBezTo>
                  <a:pt x="5978134" y="3546795"/>
                  <a:pt x="5978849" y="3547154"/>
                  <a:pt x="5979742" y="3547332"/>
                </a:cubicBezTo>
                <a:cubicBezTo>
                  <a:pt x="5979742" y="3547332"/>
                  <a:pt x="5980278" y="3546439"/>
                  <a:pt x="5980278" y="3546259"/>
                </a:cubicBezTo>
                <a:cubicBezTo>
                  <a:pt x="5979920" y="3545724"/>
                  <a:pt x="5979206" y="3545010"/>
                  <a:pt x="5978671" y="3544473"/>
                </a:cubicBezTo>
                <a:close/>
                <a:moveTo>
                  <a:pt x="6016214" y="3543088"/>
                </a:moveTo>
                <a:cubicBezTo>
                  <a:pt x="6014986" y="3543043"/>
                  <a:pt x="6013690" y="3543579"/>
                  <a:pt x="6012261" y="3545366"/>
                </a:cubicBezTo>
                <a:cubicBezTo>
                  <a:pt x="6015120" y="3544830"/>
                  <a:pt x="6017442" y="3544651"/>
                  <a:pt x="6019764" y="3544295"/>
                </a:cubicBezTo>
                <a:cubicBezTo>
                  <a:pt x="6018603" y="3543759"/>
                  <a:pt x="6017442" y="3543133"/>
                  <a:pt x="6016214" y="3543088"/>
                </a:cubicBezTo>
                <a:close/>
                <a:moveTo>
                  <a:pt x="5784098" y="3540185"/>
                </a:moveTo>
                <a:cubicBezTo>
                  <a:pt x="5780524" y="3541256"/>
                  <a:pt x="5777130" y="3542329"/>
                  <a:pt x="5773556" y="3543400"/>
                </a:cubicBezTo>
                <a:cubicBezTo>
                  <a:pt x="5775343" y="3543400"/>
                  <a:pt x="5776772" y="3543400"/>
                  <a:pt x="5778380" y="3543400"/>
                </a:cubicBezTo>
                <a:cubicBezTo>
                  <a:pt x="5780882" y="3543400"/>
                  <a:pt x="5783026" y="3542686"/>
                  <a:pt x="5784098" y="3540363"/>
                </a:cubicBezTo>
                <a:close/>
                <a:moveTo>
                  <a:pt x="5932573" y="3539827"/>
                </a:moveTo>
                <a:cubicBezTo>
                  <a:pt x="5931680" y="3540007"/>
                  <a:pt x="5930966" y="3540363"/>
                  <a:pt x="5930072" y="3540542"/>
                </a:cubicBezTo>
                <a:cubicBezTo>
                  <a:pt x="5929892" y="3541078"/>
                  <a:pt x="5929714" y="3541614"/>
                  <a:pt x="5929536" y="3542151"/>
                </a:cubicBezTo>
                <a:cubicBezTo>
                  <a:pt x="5930072" y="3542151"/>
                  <a:pt x="5930607" y="3542329"/>
                  <a:pt x="5930966" y="3542151"/>
                </a:cubicBezTo>
                <a:cubicBezTo>
                  <a:pt x="5932036" y="3541436"/>
                  <a:pt x="5933110" y="3540542"/>
                  <a:pt x="5934180" y="3539827"/>
                </a:cubicBezTo>
                <a:cubicBezTo>
                  <a:pt x="5933646" y="3539827"/>
                  <a:pt x="5933110" y="3539827"/>
                  <a:pt x="5932573" y="3539827"/>
                </a:cubicBezTo>
                <a:close/>
                <a:moveTo>
                  <a:pt x="6063538" y="3538397"/>
                </a:moveTo>
                <a:cubicBezTo>
                  <a:pt x="6055856" y="3540542"/>
                  <a:pt x="6047637" y="3540185"/>
                  <a:pt x="6039776" y="3541256"/>
                </a:cubicBezTo>
                <a:cubicBezTo>
                  <a:pt x="6036738" y="3541793"/>
                  <a:pt x="6033880" y="3543400"/>
                  <a:pt x="6030842" y="3544473"/>
                </a:cubicBezTo>
                <a:cubicBezTo>
                  <a:pt x="6028698" y="3546259"/>
                  <a:pt x="6026733" y="3548047"/>
                  <a:pt x="6024589" y="3549832"/>
                </a:cubicBezTo>
                <a:cubicBezTo>
                  <a:pt x="6034416" y="3549654"/>
                  <a:pt x="6044242" y="3550369"/>
                  <a:pt x="6054069" y="3548403"/>
                </a:cubicBezTo>
                <a:cubicBezTo>
                  <a:pt x="6054606" y="3548047"/>
                  <a:pt x="6055142" y="3547688"/>
                  <a:pt x="6055498" y="3547332"/>
                </a:cubicBezTo>
                <a:cubicBezTo>
                  <a:pt x="6056750" y="3547332"/>
                  <a:pt x="6057820" y="3547332"/>
                  <a:pt x="6058894" y="3547332"/>
                </a:cubicBezTo>
                <a:cubicBezTo>
                  <a:pt x="6059966" y="3547154"/>
                  <a:pt x="6060860" y="3546795"/>
                  <a:pt x="6061930" y="3546439"/>
                </a:cubicBezTo>
                <a:cubicBezTo>
                  <a:pt x="6066577" y="3544830"/>
                  <a:pt x="6071758" y="3543580"/>
                  <a:pt x="6076582" y="3541971"/>
                </a:cubicBezTo>
                <a:cubicBezTo>
                  <a:pt x="6077117" y="3541436"/>
                  <a:pt x="6077834" y="3541256"/>
                  <a:pt x="6078368" y="3540900"/>
                </a:cubicBezTo>
                <a:cubicBezTo>
                  <a:pt x="6073724" y="3538041"/>
                  <a:pt x="6069436" y="3536968"/>
                  <a:pt x="6063718" y="3538578"/>
                </a:cubicBezTo>
                <a:close/>
                <a:moveTo>
                  <a:pt x="5967414" y="3530001"/>
                </a:moveTo>
                <a:cubicBezTo>
                  <a:pt x="5962412" y="3529465"/>
                  <a:pt x="5956872" y="3531431"/>
                  <a:pt x="5952048" y="3533216"/>
                </a:cubicBezTo>
                <a:cubicBezTo>
                  <a:pt x="5946152" y="3535539"/>
                  <a:pt x="5940256" y="3537505"/>
                  <a:pt x="5934359" y="3539292"/>
                </a:cubicBezTo>
                <a:cubicBezTo>
                  <a:pt x="5934539" y="3539470"/>
                  <a:pt x="5934717" y="3539470"/>
                  <a:pt x="5934717" y="3539470"/>
                </a:cubicBezTo>
                <a:cubicBezTo>
                  <a:pt x="5937040" y="3540007"/>
                  <a:pt x="5939542" y="3540542"/>
                  <a:pt x="5941864" y="3541256"/>
                </a:cubicBezTo>
                <a:cubicBezTo>
                  <a:pt x="5944366" y="3542151"/>
                  <a:pt x="5946688" y="3543580"/>
                  <a:pt x="5949189" y="3543937"/>
                </a:cubicBezTo>
                <a:lnTo>
                  <a:pt x="5949189" y="3543580"/>
                </a:lnTo>
                <a:cubicBezTo>
                  <a:pt x="5953477" y="3544115"/>
                  <a:pt x="5954550" y="3541078"/>
                  <a:pt x="5954550" y="3536612"/>
                </a:cubicBezTo>
                <a:cubicBezTo>
                  <a:pt x="5956158" y="3536612"/>
                  <a:pt x="5957767" y="3536612"/>
                  <a:pt x="5959374" y="3536612"/>
                </a:cubicBezTo>
                <a:cubicBezTo>
                  <a:pt x="5959553" y="3535897"/>
                  <a:pt x="5960089" y="3535182"/>
                  <a:pt x="5960624" y="3534646"/>
                </a:cubicBezTo>
                <a:cubicBezTo>
                  <a:pt x="5962590" y="3532860"/>
                  <a:pt x="5964912" y="3531251"/>
                  <a:pt x="5967414" y="3530001"/>
                </a:cubicBezTo>
                <a:close/>
                <a:moveTo>
                  <a:pt x="6002612" y="3529465"/>
                </a:moveTo>
                <a:cubicBezTo>
                  <a:pt x="5993858" y="3531072"/>
                  <a:pt x="5985103" y="3532145"/>
                  <a:pt x="5976168" y="3531609"/>
                </a:cubicBezTo>
                <a:cubicBezTo>
                  <a:pt x="5977420" y="3532680"/>
                  <a:pt x="5978491" y="3534468"/>
                  <a:pt x="5979742" y="3536612"/>
                </a:cubicBezTo>
                <a:cubicBezTo>
                  <a:pt x="5999753" y="3536075"/>
                  <a:pt x="6019586" y="3535719"/>
                  <a:pt x="6039597" y="3535182"/>
                </a:cubicBezTo>
                <a:cubicBezTo>
                  <a:pt x="6032987" y="3531431"/>
                  <a:pt x="6026196" y="3531965"/>
                  <a:pt x="6019408" y="3531431"/>
                </a:cubicBezTo>
                <a:cubicBezTo>
                  <a:pt x="6014047" y="3531072"/>
                  <a:pt x="6008151" y="3532680"/>
                  <a:pt x="6002970" y="3529465"/>
                </a:cubicBezTo>
                <a:close/>
                <a:moveTo>
                  <a:pt x="6103382" y="3527321"/>
                </a:moveTo>
                <a:cubicBezTo>
                  <a:pt x="6099630" y="3527499"/>
                  <a:pt x="6095879" y="3527677"/>
                  <a:pt x="6092126" y="3527857"/>
                </a:cubicBezTo>
                <a:cubicBezTo>
                  <a:pt x="6090876" y="3527857"/>
                  <a:pt x="6089803" y="3529287"/>
                  <a:pt x="6087837" y="3530536"/>
                </a:cubicBezTo>
                <a:cubicBezTo>
                  <a:pt x="6089803" y="3531609"/>
                  <a:pt x="6091232" y="3532680"/>
                  <a:pt x="6092484" y="3532680"/>
                </a:cubicBezTo>
                <a:cubicBezTo>
                  <a:pt x="6092840" y="3532680"/>
                  <a:pt x="6093198" y="3532680"/>
                  <a:pt x="6093554" y="3532680"/>
                </a:cubicBezTo>
                <a:cubicBezTo>
                  <a:pt x="6096772" y="3530358"/>
                  <a:pt x="6100167" y="3528572"/>
                  <a:pt x="6103382" y="3527321"/>
                </a:cubicBezTo>
                <a:close/>
                <a:moveTo>
                  <a:pt x="6225236" y="3519101"/>
                </a:moveTo>
                <a:cubicBezTo>
                  <a:pt x="6225414" y="3519638"/>
                  <a:pt x="6225592" y="3520174"/>
                  <a:pt x="6225592" y="3520530"/>
                </a:cubicBezTo>
                <a:cubicBezTo>
                  <a:pt x="6227200" y="3520174"/>
                  <a:pt x="6228810" y="3519816"/>
                  <a:pt x="6230596" y="3519459"/>
                </a:cubicBezTo>
                <a:cubicBezTo>
                  <a:pt x="6228810" y="3519281"/>
                  <a:pt x="6227022" y="3519101"/>
                  <a:pt x="6225236" y="3519101"/>
                </a:cubicBezTo>
                <a:close/>
                <a:moveTo>
                  <a:pt x="5810899" y="3517493"/>
                </a:moveTo>
                <a:cubicBezTo>
                  <a:pt x="5810362" y="3517672"/>
                  <a:pt x="5809648" y="3517672"/>
                  <a:pt x="5809648" y="3517672"/>
                </a:cubicBezTo>
                <a:lnTo>
                  <a:pt x="5809470" y="3517852"/>
                </a:lnTo>
                <a:cubicBezTo>
                  <a:pt x="5807682" y="3518386"/>
                  <a:pt x="5805896" y="3519101"/>
                  <a:pt x="5804286" y="3519816"/>
                </a:cubicBezTo>
                <a:cubicBezTo>
                  <a:pt x="5806432" y="3519459"/>
                  <a:pt x="5808755" y="3519281"/>
                  <a:pt x="5810899" y="3518923"/>
                </a:cubicBezTo>
                <a:cubicBezTo>
                  <a:pt x="5810899" y="3518386"/>
                  <a:pt x="5810899" y="3518030"/>
                  <a:pt x="5810899" y="3517493"/>
                </a:cubicBezTo>
                <a:close/>
                <a:moveTo>
                  <a:pt x="6033522" y="3514635"/>
                </a:moveTo>
                <a:cubicBezTo>
                  <a:pt x="6032628" y="3514813"/>
                  <a:pt x="6030842" y="3515171"/>
                  <a:pt x="6030842" y="3515171"/>
                </a:cubicBezTo>
                <a:lnTo>
                  <a:pt x="6031021" y="3515349"/>
                </a:lnTo>
                <a:cubicBezTo>
                  <a:pt x="6032092" y="3516064"/>
                  <a:pt x="6032987" y="3516957"/>
                  <a:pt x="6034058" y="3517137"/>
                </a:cubicBezTo>
                <a:cubicBezTo>
                  <a:pt x="6034594" y="3517137"/>
                  <a:pt x="6035309" y="3516064"/>
                  <a:pt x="6036024" y="3515528"/>
                </a:cubicBezTo>
                <a:cubicBezTo>
                  <a:pt x="6035131" y="3515171"/>
                  <a:pt x="6034236" y="3514993"/>
                  <a:pt x="6033522" y="3514635"/>
                </a:cubicBezTo>
                <a:close/>
                <a:moveTo>
                  <a:pt x="5989033" y="3504988"/>
                </a:moveTo>
                <a:cubicBezTo>
                  <a:pt x="5986710" y="3505702"/>
                  <a:pt x="5984030" y="3506773"/>
                  <a:pt x="5981886" y="3506417"/>
                </a:cubicBezTo>
                <a:cubicBezTo>
                  <a:pt x="5958838" y="3501949"/>
                  <a:pt x="5937040" y="3510883"/>
                  <a:pt x="5914884" y="3516422"/>
                </a:cubicBezTo>
                <a:cubicBezTo>
                  <a:pt x="5901306" y="3519816"/>
                  <a:pt x="5887726" y="3522496"/>
                  <a:pt x="5874148" y="3525177"/>
                </a:cubicBezTo>
                <a:cubicBezTo>
                  <a:pt x="5874148" y="3525355"/>
                  <a:pt x="5874148" y="3525533"/>
                  <a:pt x="5874148" y="3525533"/>
                </a:cubicBezTo>
                <a:cubicBezTo>
                  <a:pt x="5874328" y="3525891"/>
                  <a:pt x="5873076" y="3527499"/>
                  <a:pt x="5872362" y="3527677"/>
                </a:cubicBezTo>
                <a:cubicBezTo>
                  <a:pt x="5865930" y="3529287"/>
                  <a:pt x="5859498" y="3530001"/>
                  <a:pt x="5853065" y="3529287"/>
                </a:cubicBezTo>
                <a:cubicBezTo>
                  <a:pt x="5849492" y="3530180"/>
                  <a:pt x="5845382" y="3531251"/>
                  <a:pt x="5841986" y="3530180"/>
                </a:cubicBezTo>
                <a:cubicBezTo>
                  <a:pt x="5838414" y="3529107"/>
                  <a:pt x="5834840" y="3528392"/>
                  <a:pt x="5831446" y="3528392"/>
                </a:cubicBezTo>
                <a:cubicBezTo>
                  <a:pt x="5831981" y="3529465"/>
                  <a:pt x="5832340" y="3530536"/>
                  <a:pt x="5832340" y="3531965"/>
                </a:cubicBezTo>
                <a:cubicBezTo>
                  <a:pt x="5827336" y="3533038"/>
                  <a:pt x="5823405" y="3531072"/>
                  <a:pt x="5819654" y="3529287"/>
                </a:cubicBezTo>
                <a:cubicBezTo>
                  <a:pt x="5815902" y="3530001"/>
                  <a:pt x="5812328" y="3531072"/>
                  <a:pt x="5808755" y="3532145"/>
                </a:cubicBezTo>
                <a:cubicBezTo>
                  <a:pt x="5809112" y="3532860"/>
                  <a:pt x="5809648" y="3533753"/>
                  <a:pt x="5809648" y="3535182"/>
                </a:cubicBezTo>
                <a:lnTo>
                  <a:pt x="5809648" y="3535539"/>
                </a:lnTo>
                <a:cubicBezTo>
                  <a:pt x="5805896" y="3536433"/>
                  <a:pt x="5801608" y="3536612"/>
                  <a:pt x="5798213" y="3538578"/>
                </a:cubicBezTo>
                <a:cubicBezTo>
                  <a:pt x="5794998" y="3540363"/>
                  <a:pt x="5792854" y="3543937"/>
                  <a:pt x="5790888" y="3546259"/>
                </a:cubicBezTo>
                <a:cubicBezTo>
                  <a:pt x="5806611" y="3544830"/>
                  <a:pt x="5822870" y="3543400"/>
                  <a:pt x="5839308" y="3542151"/>
                </a:cubicBezTo>
                <a:cubicBezTo>
                  <a:pt x="5840021" y="3541971"/>
                  <a:pt x="5840916" y="3542329"/>
                  <a:pt x="5842345" y="3542686"/>
                </a:cubicBezTo>
                <a:cubicBezTo>
                  <a:pt x="5847884" y="3541078"/>
                  <a:pt x="5853422" y="3538756"/>
                  <a:pt x="5858782" y="3535539"/>
                </a:cubicBezTo>
                <a:cubicBezTo>
                  <a:pt x="5860390" y="3534646"/>
                  <a:pt x="5862712" y="3535004"/>
                  <a:pt x="5864500" y="3535182"/>
                </a:cubicBezTo>
                <a:cubicBezTo>
                  <a:pt x="5881830" y="3536968"/>
                  <a:pt x="5898268" y="3531609"/>
                  <a:pt x="5915064" y="3527499"/>
                </a:cubicBezTo>
                <a:cubicBezTo>
                  <a:pt x="5929000" y="3524104"/>
                  <a:pt x="5943294" y="3522674"/>
                  <a:pt x="5957408" y="3521067"/>
                </a:cubicBezTo>
                <a:cubicBezTo>
                  <a:pt x="5969736" y="3519459"/>
                  <a:pt x="5980993" y="3516242"/>
                  <a:pt x="5989033" y="3504988"/>
                </a:cubicBezTo>
                <a:close/>
                <a:moveTo>
                  <a:pt x="5904700" y="3500163"/>
                </a:moveTo>
                <a:cubicBezTo>
                  <a:pt x="5899876" y="3500699"/>
                  <a:pt x="5895232" y="3501414"/>
                  <a:pt x="5890585" y="3501949"/>
                </a:cubicBezTo>
                <a:cubicBezTo>
                  <a:pt x="5891836" y="3502307"/>
                  <a:pt x="5893266" y="3502663"/>
                  <a:pt x="5894695" y="3502663"/>
                </a:cubicBezTo>
                <a:cubicBezTo>
                  <a:pt x="5895232" y="3502663"/>
                  <a:pt x="5895768" y="3502663"/>
                  <a:pt x="5896124" y="3502663"/>
                </a:cubicBezTo>
                <a:cubicBezTo>
                  <a:pt x="5898983" y="3501771"/>
                  <a:pt x="5901842" y="3501056"/>
                  <a:pt x="5904700" y="3500163"/>
                </a:cubicBezTo>
                <a:close/>
                <a:moveTo>
                  <a:pt x="6001004" y="3499270"/>
                </a:moveTo>
                <a:lnTo>
                  <a:pt x="5996361" y="3501680"/>
                </a:lnTo>
                <a:lnTo>
                  <a:pt x="5991535" y="3503736"/>
                </a:lnTo>
                <a:lnTo>
                  <a:pt x="5991714" y="3504093"/>
                </a:lnTo>
                <a:lnTo>
                  <a:pt x="5996361" y="3501680"/>
                </a:lnTo>
                <a:lnTo>
                  <a:pt x="6001182" y="3499626"/>
                </a:lnTo>
                <a:cubicBezTo>
                  <a:pt x="6001004" y="3499626"/>
                  <a:pt x="6001004" y="3499270"/>
                  <a:pt x="6001004" y="3499270"/>
                </a:cubicBezTo>
                <a:close/>
                <a:moveTo>
                  <a:pt x="5913276" y="3492658"/>
                </a:moveTo>
                <a:cubicBezTo>
                  <a:pt x="5909703" y="3493553"/>
                  <a:pt x="5906130" y="3494445"/>
                  <a:pt x="5902556" y="3495697"/>
                </a:cubicBezTo>
                <a:lnTo>
                  <a:pt x="5902378" y="3495697"/>
                </a:lnTo>
                <a:cubicBezTo>
                  <a:pt x="5904166" y="3496768"/>
                  <a:pt x="5905774" y="3498019"/>
                  <a:pt x="5907381" y="3499448"/>
                </a:cubicBezTo>
                <a:cubicBezTo>
                  <a:pt x="5909882" y="3497841"/>
                  <a:pt x="5911669" y="3495160"/>
                  <a:pt x="5913276" y="3492658"/>
                </a:cubicBezTo>
                <a:close/>
                <a:moveTo>
                  <a:pt x="6026554" y="3459963"/>
                </a:moveTo>
                <a:cubicBezTo>
                  <a:pt x="6009044" y="3464251"/>
                  <a:pt x="5990462" y="3461392"/>
                  <a:pt x="5974024" y="3471754"/>
                </a:cubicBezTo>
                <a:cubicBezTo>
                  <a:pt x="5971166" y="3473720"/>
                  <a:pt x="5966522" y="3473361"/>
                  <a:pt x="5962948" y="3473005"/>
                </a:cubicBezTo>
                <a:cubicBezTo>
                  <a:pt x="5939005" y="3470325"/>
                  <a:pt x="5916136" y="3475864"/>
                  <a:pt x="5892194" y="3483189"/>
                </a:cubicBezTo>
                <a:cubicBezTo>
                  <a:pt x="5887370" y="3486226"/>
                  <a:pt x="5882367" y="3488728"/>
                  <a:pt x="5877364" y="3491050"/>
                </a:cubicBezTo>
                <a:cubicBezTo>
                  <a:pt x="5890765" y="3490694"/>
                  <a:pt x="5904166" y="3488728"/>
                  <a:pt x="5917564" y="3486940"/>
                </a:cubicBezTo>
                <a:cubicBezTo>
                  <a:pt x="5917743" y="3486762"/>
                  <a:pt x="5918101" y="3486584"/>
                  <a:pt x="5918101" y="3486584"/>
                </a:cubicBezTo>
                <a:cubicBezTo>
                  <a:pt x="5923997" y="3482474"/>
                  <a:pt x="5932395" y="3482118"/>
                  <a:pt x="5939900" y="3480867"/>
                </a:cubicBezTo>
                <a:cubicBezTo>
                  <a:pt x="5958660" y="3477650"/>
                  <a:pt x="5977242" y="3476220"/>
                  <a:pt x="5996358" y="3477115"/>
                </a:cubicBezTo>
                <a:cubicBezTo>
                  <a:pt x="5996538" y="3477115"/>
                  <a:pt x="5996894" y="3477115"/>
                  <a:pt x="5997072" y="3477115"/>
                </a:cubicBezTo>
                <a:cubicBezTo>
                  <a:pt x="5997788" y="3476935"/>
                  <a:pt x="5998502" y="3476757"/>
                  <a:pt x="5999216" y="3476757"/>
                </a:cubicBezTo>
                <a:cubicBezTo>
                  <a:pt x="6012976" y="3475505"/>
                  <a:pt x="6026733" y="3474256"/>
                  <a:pt x="6040490" y="3473361"/>
                </a:cubicBezTo>
                <a:cubicBezTo>
                  <a:pt x="6040848" y="3473361"/>
                  <a:pt x="6041383" y="3473361"/>
                  <a:pt x="6041741" y="3473361"/>
                </a:cubicBezTo>
                <a:cubicBezTo>
                  <a:pt x="6048888" y="3471397"/>
                  <a:pt x="6056035" y="3468895"/>
                  <a:pt x="6063004" y="3465322"/>
                </a:cubicBezTo>
                <a:cubicBezTo>
                  <a:pt x="6063718" y="3464785"/>
                  <a:pt x="6064789" y="3464429"/>
                  <a:pt x="6065682" y="3464071"/>
                </a:cubicBezTo>
                <a:cubicBezTo>
                  <a:pt x="6052998" y="3461570"/>
                  <a:pt x="6039954" y="3462107"/>
                  <a:pt x="6027270" y="3459963"/>
                </a:cubicBezTo>
                <a:cubicBezTo>
                  <a:pt x="6026911" y="3460141"/>
                  <a:pt x="6026018" y="3460319"/>
                  <a:pt x="6026018" y="3460319"/>
                </a:cubicBezTo>
                <a:close/>
                <a:moveTo>
                  <a:pt x="5944366" y="3453709"/>
                </a:moveTo>
                <a:cubicBezTo>
                  <a:pt x="5938290" y="3451743"/>
                  <a:pt x="5932932" y="3454960"/>
                  <a:pt x="5927570" y="3457460"/>
                </a:cubicBezTo>
                <a:cubicBezTo>
                  <a:pt x="5930251" y="3457460"/>
                  <a:pt x="5932752" y="3456031"/>
                  <a:pt x="5935254" y="3456031"/>
                </a:cubicBezTo>
                <a:cubicBezTo>
                  <a:pt x="5938112" y="3455853"/>
                  <a:pt x="5941149" y="3456567"/>
                  <a:pt x="5944008" y="3456924"/>
                </a:cubicBezTo>
                <a:cubicBezTo>
                  <a:pt x="5944186" y="3455853"/>
                  <a:pt x="5944366" y="3454780"/>
                  <a:pt x="5944366" y="3453709"/>
                </a:cubicBezTo>
                <a:close/>
                <a:moveTo>
                  <a:pt x="5947760" y="3436198"/>
                </a:moveTo>
                <a:cubicBezTo>
                  <a:pt x="5940793" y="3437986"/>
                  <a:pt x="5934002" y="3439593"/>
                  <a:pt x="5927214" y="3441381"/>
                </a:cubicBezTo>
                <a:cubicBezTo>
                  <a:pt x="5922211" y="3444418"/>
                  <a:pt x="5916314" y="3443881"/>
                  <a:pt x="5911669" y="3445669"/>
                </a:cubicBezTo>
                <a:lnTo>
                  <a:pt x="5911848" y="3445489"/>
                </a:lnTo>
                <a:cubicBezTo>
                  <a:pt x="5911489" y="3445311"/>
                  <a:pt x="5911489" y="3445311"/>
                  <a:pt x="5911489" y="3445311"/>
                </a:cubicBezTo>
                <a:cubicBezTo>
                  <a:pt x="5903986" y="3447276"/>
                  <a:pt x="5896482" y="3449062"/>
                  <a:pt x="5888978" y="3451028"/>
                </a:cubicBezTo>
                <a:cubicBezTo>
                  <a:pt x="5893444" y="3451028"/>
                  <a:pt x="5897732" y="3451028"/>
                  <a:pt x="5902200" y="3451028"/>
                </a:cubicBezTo>
                <a:cubicBezTo>
                  <a:pt x="5910062" y="3449421"/>
                  <a:pt x="5917923" y="3447455"/>
                  <a:pt x="5926319" y="3448528"/>
                </a:cubicBezTo>
                <a:cubicBezTo>
                  <a:pt x="5927034" y="3448706"/>
                  <a:pt x="5927748" y="3448528"/>
                  <a:pt x="5928463" y="3448348"/>
                </a:cubicBezTo>
                <a:cubicBezTo>
                  <a:pt x="5928643" y="3445847"/>
                  <a:pt x="5930788" y="3445489"/>
                  <a:pt x="5932395" y="3445132"/>
                </a:cubicBezTo>
                <a:cubicBezTo>
                  <a:pt x="5942042" y="3442988"/>
                  <a:pt x="5951692" y="3441023"/>
                  <a:pt x="5961338" y="3438879"/>
                </a:cubicBezTo>
                <a:cubicBezTo>
                  <a:pt x="5961160" y="3438342"/>
                  <a:pt x="5960982" y="3437986"/>
                  <a:pt x="5960982" y="3437627"/>
                </a:cubicBezTo>
                <a:cubicBezTo>
                  <a:pt x="5959553" y="3437093"/>
                  <a:pt x="5957945" y="3436556"/>
                  <a:pt x="5956516" y="3436198"/>
                </a:cubicBezTo>
                <a:cubicBezTo>
                  <a:pt x="5953836" y="3437271"/>
                  <a:pt x="5950976" y="3436913"/>
                  <a:pt x="5947760" y="3436198"/>
                </a:cubicBezTo>
                <a:close/>
                <a:moveTo>
                  <a:pt x="6270976" y="3411721"/>
                </a:moveTo>
                <a:lnTo>
                  <a:pt x="6270976" y="3413508"/>
                </a:lnTo>
                <a:lnTo>
                  <a:pt x="6272584" y="3412613"/>
                </a:lnTo>
                <a:close/>
                <a:moveTo>
                  <a:pt x="6000112" y="3367589"/>
                </a:moveTo>
                <a:cubicBezTo>
                  <a:pt x="5998860" y="3367947"/>
                  <a:pt x="5997609" y="3367947"/>
                  <a:pt x="5996538" y="3368125"/>
                </a:cubicBezTo>
                <a:cubicBezTo>
                  <a:pt x="5996716" y="3369376"/>
                  <a:pt x="5997072" y="3370627"/>
                  <a:pt x="5997072" y="3371877"/>
                </a:cubicBezTo>
                <a:cubicBezTo>
                  <a:pt x="5997788" y="3371520"/>
                  <a:pt x="5998324" y="3370984"/>
                  <a:pt x="5998860" y="3370984"/>
                </a:cubicBezTo>
                <a:cubicBezTo>
                  <a:pt x="5999216" y="3369733"/>
                  <a:pt x="5999575" y="3368483"/>
                  <a:pt x="6000112" y="3367589"/>
                </a:cubicBezTo>
                <a:close/>
                <a:moveTo>
                  <a:pt x="6040134" y="3359371"/>
                </a:moveTo>
                <a:lnTo>
                  <a:pt x="6039777" y="3359549"/>
                </a:lnTo>
                <a:lnTo>
                  <a:pt x="6039060" y="3359549"/>
                </a:lnTo>
                <a:cubicBezTo>
                  <a:pt x="6039239" y="3359727"/>
                  <a:pt x="6039419" y="3359727"/>
                  <a:pt x="6039419" y="3359727"/>
                </a:cubicBezTo>
                <a:lnTo>
                  <a:pt x="6039777" y="3359549"/>
                </a:lnTo>
                <a:lnTo>
                  <a:pt x="6040134" y="3359549"/>
                </a:lnTo>
                <a:close/>
                <a:moveTo>
                  <a:pt x="6164130" y="3334535"/>
                </a:moveTo>
                <a:cubicBezTo>
                  <a:pt x="6163416" y="3334713"/>
                  <a:pt x="6162700" y="3335071"/>
                  <a:pt x="6161986" y="3335250"/>
                </a:cubicBezTo>
                <a:cubicBezTo>
                  <a:pt x="6163594" y="3335071"/>
                  <a:pt x="6165381" y="3335071"/>
                  <a:pt x="6166988" y="3335071"/>
                </a:cubicBezTo>
                <a:cubicBezTo>
                  <a:pt x="6166988" y="3334893"/>
                  <a:pt x="6166988" y="3334713"/>
                  <a:pt x="6166988" y="3334535"/>
                </a:cubicBezTo>
                <a:cubicBezTo>
                  <a:pt x="6166096" y="3334535"/>
                  <a:pt x="6165023" y="3334535"/>
                  <a:pt x="6164130" y="3334535"/>
                </a:cubicBezTo>
                <a:close/>
                <a:moveTo>
                  <a:pt x="6109992" y="3332927"/>
                </a:moveTo>
                <a:cubicBezTo>
                  <a:pt x="6109278" y="3333106"/>
                  <a:pt x="6107848" y="3333464"/>
                  <a:pt x="6107848" y="3333464"/>
                </a:cubicBezTo>
                <a:lnTo>
                  <a:pt x="6107848" y="3333284"/>
                </a:lnTo>
                <a:cubicBezTo>
                  <a:pt x="6106599" y="3333642"/>
                  <a:pt x="6105170" y="3333820"/>
                  <a:pt x="6103918" y="3333999"/>
                </a:cubicBezTo>
                <a:cubicBezTo>
                  <a:pt x="6108743" y="3336857"/>
                  <a:pt x="6113388" y="3334893"/>
                  <a:pt x="6118212" y="3333642"/>
                </a:cubicBezTo>
                <a:cubicBezTo>
                  <a:pt x="6115532" y="3333464"/>
                  <a:pt x="6112851" y="3333106"/>
                  <a:pt x="6109992" y="3332927"/>
                </a:cubicBezTo>
                <a:close/>
                <a:moveTo>
                  <a:pt x="580144" y="3244485"/>
                </a:moveTo>
                <a:cubicBezTo>
                  <a:pt x="578356" y="3245378"/>
                  <a:pt x="576748" y="3246093"/>
                  <a:pt x="575141" y="3246987"/>
                </a:cubicBezTo>
                <a:cubicBezTo>
                  <a:pt x="575319" y="3247166"/>
                  <a:pt x="575677" y="3247880"/>
                  <a:pt x="575677" y="3247880"/>
                </a:cubicBezTo>
                <a:cubicBezTo>
                  <a:pt x="577463" y="3246987"/>
                  <a:pt x="579071" y="3246273"/>
                  <a:pt x="580680" y="3245378"/>
                </a:cubicBezTo>
                <a:cubicBezTo>
                  <a:pt x="580500" y="3245200"/>
                  <a:pt x="580144" y="3244843"/>
                  <a:pt x="580144" y="3244485"/>
                </a:cubicBezTo>
                <a:close/>
                <a:moveTo>
                  <a:pt x="387716" y="3235731"/>
                </a:moveTo>
                <a:cubicBezTo>
                  <a:pt x="387358" y="3237697"/>
                  <a:pt x="386821" y="3239841"/>
                  <a:pt x="386821" y="3241805"/>
                </a:cubicBezTo>
                <a:cubicBezTo>
                  <a:pt x="386821" y="3244843"/>
                  <a:pt x="388429" y="3247166"/>
                  <a:pt x="391646" y="3246807"/>
                </a:cubicBezTo>
                <a:cubicBezTo>
                  <a:pt x="393253" y="3246629"/>
                  <a:pt x="394683" y="3245022"/>
                  <a:pt x="396649" y="3243592"/>
                </a:cubicBezTo>
                <a:cubicBezTo>
                  <a:pt x="393075" y="3240375"/>
                  <a:pt x="390395" y="3238053"/>
                  <a:pt x="387716" y="3235731"/>
                </a:cubicBezTo>
                <a:close/>
                <a:moveTo>
                  <a:pt x="564957" y="3221259"/>
                </a:moveTo>
                <a:cubicBezTo>
                  <a:pt x="564242" y="3221437"/>
                  <a:pt x="563528" y="3221615"/>
                  <a:pt x="562813" y="3221615"/>
                </a:cubicBezTo>
                <a:cubicBezTo>
                  <a:pt x="562813" y="3222508"/>
                  <a:pt x="562813" y="3223223"/>
                  <a:pt x="562813" y="3224118"/>
                </a:cubicBezTo>
                <a:cubicBezTo>
                  <a:pt x="563884" y="3223759"/>
                  <a:pt x="564777" y="3223581"/>
                  <a:pt x="565850" y="3223403"/>
                </a:cubicBezTo>
                <a:cubicBezTo>
                  <a:pt x="566028" y="3223223"/>
                  <a:pt x="566028" y="3223223"/>
                  <a:pt x="566028" y="3223223"/>
                </a:cubicBezTo>
                <a:cubicBezTo>
                  <a:pt x="565672" y="3222688"/>
                  <a:pt x="565313" y="3221974"/>
                  <a:pt x="564957" y="3221259"/>
                </a:cubicBezTo>
                <a:close/>
                <a:moveTo>
                  <a:pt x="584432" y="3218935"/>
                </a:moveTo>
                <a:cubicBezTo>
                  <a:pt x="583539" y="3219471"/>
                  <a:pt x="582644" y="3219830"/>
                  <a:pt x="581751" y="3220186"/>
                </a:cubicBezTo>
                <a:cubicBezTo>
                  <a:pt x="582644" y="3220008"/>
                  <a:pt x="584073" y="3219649"/>
                  <a:pt x="584073" y="3219649"/>
                </a:cubicBezTo>
                <a:cubicBezTo>
                  <a:pt x="584252" y="3219471"/>
                  <a:pt x="584432" y="3219115"/>
                  <a:pt x="584432" y="3218935"/>
                </a:cubicBezTo>
                <a:close/>
                <a:moveTo>
                  <a:pt x="584252" y="3205356"/>
                </a:moveTo>
                <a:cubicBezTo>
                  <a:pt x="581929" y="3206071"/>
                  <a:pt x="580144" y="3206785"/>
                  <a:pt x="578356" y="3207322"/>
                </a:cubicBezTo>
                <a:cubicBezTo>
                  <a:pt x="577641" y="3208395"/>
                  <a:pt x="576570" y="3209288"/>
                  <a:pt x="575141" y="3210002"/>
                </a:cubicBezTo>
                <a:cubicBezTo>
                  <a:pt x="574604" y="3209824"/>
                  <a:pt x="573890" y="3209466"/>
                  <a:pt x="573890" y="3209466"/>
                </a:cubicBezTo>
                <a:cubicBezTo>
                  <a:pt x="576927" y="3215361"/>
                  <a:pt x="579607" y="3213039"/>
                  <a:pt x="581751" y="3210717"/>
                </a:cubicBezTo>
                <a:cubicBezTo>
                  <a:pt x="582824" y="3209824"/>
                  <a:pt x="583002" y="3208215"/>
                  <a:pt x="584252" y="3205356"/>
                </a:cubicBezTo>
                <a:close/>
                <a:moveTo>
                  <a:pt x="589791" y="3181771"/>
                </a:moveTo>
                <a:cubicBezTo>
                  <a:pt x="569065" y="3191242"/>
                  <a:pt x="549234" y="3202319"/>
                  <a:pt x="528686" y="3214647"/>
                </a:cubicBezTo>
                <a:cubicBezTo>
                  <a:pt x="528508" y="3214827"/>
                  <a:pt x="528508" y="3215183"/>
                  <a:pt x="528508" y="3215361"/>
                </a:cubicBezTo>
                <a:cubicBezTo>
                  <a:pt x="533689" y="3215720"/>
                  <a:pt x="532616" y="3218757"/>
                  <a:pt x="532616" y="3221437"/>
                </a:cubicBezTo>
                <a:cubicBezTo>
                  <a:pt x="532796" y="3221437"/>
                  <a:pt x="532975" y="3221437"/>
                  <a:pt x="533153" y="3221437"/>
                </a:cubicBezTo>
                <a:cubicBezTo>
                  <a:pt x="533153" y="3222330"/>
                  <a:pt x="533153" y="3223403"/>
                  <a:pt x="533153" y="3224474"/>
                </a:cubicBezTo>
                <a:cubicBezTo>
                  <a:pt x="533511" y="3224832"/>
                  <a:pt x="534046" y="3225367"/>
                  <a:pt x="534940" y="3225547"/>
                </a:cubicBezTo>
                <a:cubicBezTo>
                  <a:pt x="540300" y="3226262"/>
                  <a:pt x="544409" y="3222330"/>
                  <a:pt x="548876" y="3218935"/>
                </a:cubicBezTo>
                <a:cubicBezTo>
                  <a:pt x="552627" y="3216076"/>
                  <a:pt x="556559" y="3214827"/>
                  <a:pt x="560669" y="3216076"/>
                </a:cubicBezTo>
                <a:cubicBezTo>
                  <a:pt x="566386" y="3215361"/>
                  <a:pt x="567279" y="3209824"/>
                  <a:pt x="570494" y="3206251"/>
                </a:cubicBezTo>
                <a:cubicBezTo>
                  <a:pt x="571389" y="3205178"/>
                  <a:pt x="572460" y="3204285"/>
                  <a:pt x="573353" y="3203212"/>
                </a:cubicBezTo>
                <a:cubicBezTo>
                  <a:pt x="574426" y="3200890"/>
                  <a:pt x="575855" y="3198745"/>
                  <a:pt x="577107" y="3196423"/>
                </a:cubicBezTo>
                <a:cubicBezTo>
                  <a:pt x="577285" y="3196960"/>
                  <a:pt x="577641" y="3197494"/>
                  <a:pt x="577821" y="3198031"/>
                </a:cubicBezTo>
                <a:cubicBezTo>
                  <a:pt x="579429" y="3195709"/>
                  <a:pt x="580680" y="3193206"/>
                  <a:pt x="581393" y="3190169"/>
                </a:cubicBezTo>
                <a:lnTo>
                  <a:pt x="581573" y="3189991"/>
                </a:lnTo>
                <a:cubicBezTo>
                  <a:pt x="586576" y="3189633"/>
                  <a:pt x="587469" y="3185345"/>
                  <a:pt x="589791" y="3181771"/>
                </a:cubicBezTo>
                <a:close/>
                <a:moveTo>
                  <a:pt x="427558" y="3178378"/>
                </a:moveTo>
                <a:cubicBezTo>
                  <a:pt x="427024" y="3179093"/>
                  <a:pt x="425772" y="3180700"/>
                  <a:pt x="425772" y="3180700"/>
                </a:cubicBezTo>
                <a:cubicBezTo>
                  <a:pt x="426843" y="3180522"/>
                  <a:pt x="427738" y="3179986"/>
                  <a:pt x="428987" y="3179627"/>
                </a:cubicBezTo>
                <a:cubicBezTo>
                  <a:pt x="428453" y="3179093"/>
                  <a:pt x="428095" y="3178734"/>
                  <a:pt x="427558" y="3178378"/>
                </a:cubicBezTo>
                <a:close/>
                <a:moveTo>
                  <a:pt x="411120" y="3176234"/>
                </a:moveTo>
                <a:cubicBezTo>
                  <a:pt x="402903" y="3179627"/>
                  <a:pt x="396112" y="3185167"/>
                  <a:pt x="394148" y="3194636"/>
                </a:cubicBezTo>
                <a:cubicBezTo>
                  <a:pt x="400222" y="3192672"/>
                  <a:pt x="406832" y="3192313"/>
                  <a:pt x="411479" y="3186596"/>
                </a:cubicBezTo>
                <a:cubicBezTo>
                  <a:pt x="413264" y="3184452"/>
                  <a:pt x="416838" y="3183915"/>
                  <a:pt x="419877" y="3182844"/>
                </a:cubicBezTo>
                <a:lnTo>
                  <a:pt x="419877" y="3183022"/>
                </a:lnTo>
                <a:cubicBezTo>
                  <a:pt x="419697" y="3179093"/>
                  <a:pt x="423092" y="3178734"/>
                  <a:pt x="426487" y="3177483"/>
                </a:cubicBezTo>
                <a:cubicBezTo>
                  <a:pt x="420948" y="3173553"/>
                  <a:pt x="415589" y="3174446"/>
                  <a:pt x="411120" y="3176234"/>
                </a:cubicBezTo>
                <a:close/>
                <a:moveTo>
                  <a:pt x="409691" y="3169265"/>
                </a:moveTo>
                <a:cubicBezTo>
                  <a:pt x="409335" y="3169444"/>
                  <a:pt x="408798" y="3170336"/>
                  <a:pt x="408798" y="3170336"/>
                </a:cubicBezTo>
                <a:cubicBezTo>
                  <a:pt x="409513" y="3169980"/>
                  <a:pt x="410228" y="3169622"/>
                  <a:pt x="410942" y="3169265"/>
                </a:cubicBezTo>
                <a:cubicBezTo>
                  <a:pt x="410586" y="3169265"/>
                  <a:pt x="410049" y="3169087"/>
                  <a:pt x="409691" y="3169265"/>
                </a:cubicBezTo>
                <a:close/>
                <a:moveTo>
                  <a:pt x="349658" y="3162297"/>
                </a:moveTo>
                <a:cubicBezTo>
                  <a:pt x="349480" y="3162655"/>
                  <a:pt x="349301" y="3163190"/>
                  <a:pt x="349301" y="3163548"/>
                </a:cubicBezTo>
                <a:cubicBezTo>
                  <a:pt x="349658" y="3163904"/>
                  <a:pt x="350372" y="3164441"/>
                  <a:pt x="350372" y="3164441"/>
                </a:cubicBezTo>
                <a:cubicBezTo>
                  <a:pt x="350731" y="3164441"/>
                  <a:pt x="351087" y="3163904"/>
                  <a:pt x="351445" y="3163548"/>
                </a:cubicBezTo>
                <a:cubicBezTo>
                  <a:pt x="350731" y="3163190"/>
                  <a:pt x="350194" y="3162655"/>
                  <a:pt x="349658" y="3162297"/>
                </a:cubicBezTo>
                <a:close/>
                <a:moveTo>
                  <a:pt x="482054" y="3148540"/>
                </a:moveTo>
                <a:cubicBezTo>
                  <a:pt x="481518" y="3148540"/>
                  <a:pt x="480803" y="3150147"/>
                  <a:pt x="480088" y="3150862"/>
                </a:cubicBezTo>
                <a:cubicBezTo>
                  <a:pt x="480803" y="3151398"/>
                  <a:pt x="482232" y="3152291"/>
                  <a:pt x="482232" y="3152291"/>
                </a:cubicBezTo>
                <a:cubicBezTo>
                  <a:pt x="484018" y="3151755"/>
                  <a:pt x="485627" y="3150862"/>
                  <a:pt x="487235" y="3149969"/>
                </a:cubicBezTo>
                <a:cubicBezTo>
                  <a:pt x="485627" y="3149432"/>
                  <a:pt x="483840" y="3148718"/>
                  <a:pt x="482054" y="3148540"/>
                </a:cubicBezTo>
                <a:close/>
                <a:moveTo>
                  <a:pt x="535655" y="3145503"/>
                </a:moveTo>
                <a:cubicBezTo>
                  <a:pt x="532796" y="3147288"/>
                  <a:pt x="529758" y="3148896"/>
                  <a:pt x="526899" y="3150684"/>
                </a:cubicBezTo>
                <a:cubicBezTo>
                  <a:pt x="530116" y="3149432"/>
                  <a:pt x="533153" y="3148361"/>
                  <a:pt x="536370" y="3147288"/>
                </a:cubicBezTo>
                <a:cubicBezTo>
                  <a:pt x="536190" y="3146752"/>
                  <a:pt x="535833" y="3146037"/>
                  <a:pt x="535655" y="3145503"/>
                </a:cubicBezTo>
                <a:close/>
                <a:moveTo>
                  <a:pt x="525291" y="3128528"/>
                </a:moveTo>
                <a:cubicBezTo>
                  <a:pt x="524398" y="3129243"/>
                  <a:pt x="523325" y="3129780"/>
                  <a:pt x="522254" y="3130314"/>
                </a:cubicBezTo>
                <a:cubicBezTo>
                  <a:pt x="522254" y="3129958"/>
                  <a:pt x="522254" y="3129600"/>
                  <a:pt x="522254" y="3129243"/>
                </a:cubicBezTo>
                <a:cubicBezTo>
                  <a:pt x="516893" y="3131387"/>
                  <a:pt x="511356" y="3133531"/>
                  <a:pt x="505817" y="3135317"/>
                </a:cubicBezTo>
                <a:cubicBezTo>
                  <a:pt x="499741" y="3137283"/>
                  <a:pt x="493489" y="3140142"/>
                  <a:pt x="490272" y="3146574"/>
                </a:cubicBezTo>
                <a:cubicBezTo>
                  <a:pt x="490272" y="3146574"/>
                  <a:pt x="490630" y="3146574"/>
                  <a:pt x="490630" y="3146574"/>
                </a:cubicBezTo>
                <a:cubicBezTo>
                  <a:pt x="490450" y="3146574"/>
                  <a:pt x="490272" y="3146932"/>
                  <a:pt x="490094" y="3146932"/>
                </a:cubicBezTo>
                <a:cubicBezTo>
                  <a:pt x="490094" y="3146932"/>
                  <a:pt x="490094" y="3146574"/>
                  <a:pt x="490094" y="3146574"/>
                </a:cubicBezTo>
                <a:cubicBezTo>
                  <a:pt x="489557" y="3147647"/>
                  <a:pt x="488843" y="3148718"/>
                  <a:pt x="488306" y="3149791"/>
                </a:cubicBezTo>
                <a:cubicBezTo>
                  <a:pt x="494382" y="3152469"/>
                  <a:pt x="500099" y="3154435"/>
                  <a:pt x="505638" y="3148181"/>
                </a:cubicBezTo>
                <a:cubicBezTo>
                  <a:pt x="506710" y="3146752"/>
                  <a:pt x="509927" y="3147647"/>
                  <a:pt x="511712" y="3146752"/>
                </a:cubicBezTo>
                <a:cubicBezTo>
                  <a:pt x="512071" y="3146574"/>
                  <a:pt x="512785" y="3146037"/>
                  <a:pt x="512785" y="3146037"/>
                </a:cubicBezTo>
                <a:lnTo>
                  <a:pt x="513142" y="3146217"/>
                </a:lnTo>
                <a:cubicBezTo>
                  <a:pt x="515822" y="3141571"/>
                  <a:pt x="520289" y="3134961"/>
                  <a:pt x="525291" y="3128528"/>
                </a:cubicBezTo>
                <a:close/>
                <a:moveTo>
                  <a:pt x="482947" y="3126384"/>
                </a:moveTo>
                <a:lnTo>
                  <a:pt x="482935" y="3126392"/>
                </a:lnTo>
                <a:lnTo>
                  <a:pt x="481874" y="3126741"/>
                </a:lnTo>
                <a:close/>
                <a:moveTo>
                  <a:pt x="200468" y="3122633"/>
                </a:moveTo>
                <a:cubicBezTo>
                  <a:pt x="199575" y="3124062"/>
                  <a:pt x="199040" y="3124955"/>
                  <a:pt x="198504" y="3125848"/>
                </a:cubicBezTo>
                <a:cubicBezTo>
                  <a:pt x="199575" y="3126384"/>
                  <a:pt x="200648" y="3127456"/>
                  <a:pt x="201899" y="3127456"/>
                </a:cubicBezTo>
                <a:lnTo>
                  <a:pt x="202077" y="3127456"/>
                </a:lnTo>
                <a:cubicBezTo>
                  <a:pt x="202613" y="3127456"/>
                  <a:pt x="203328" y="3126026"/>
                  <a:pt x="204043" y="3125133"/>
                </a:cubicBezTo>
                <a:cubicBezTo>
                  <a:pt x="202970" y="3124419"/>
                  <a:pt x="201899" y="3123704"/>
                  <a:pt x="200468" y="3122633"/>
                </a:cubicBezTo>
                <a:close/>
                <a:moveTo>
                  <a:pt x="540658" y="3120131"/>
                </a:moveTo>
                <a:cubicBezTo>
                  <a:pt x="538334" y="3121382"/>
                  <a:pt x="536012" y="3122633"/>
                  <a:pt x="533689" y="3123704"/>
                </a:cubicBezTo>
                <a:cubicBezTo>
                  <a:pt x="532082" y="3126921"/>
                  <a:pt x="530294" y="3130314"/>
                  <a:pt x="528686" y="3133531"/>
                </a:cubicBezTo>
                <a:cubicBezTo>
                  <a:pt x="531545" y="3131924"/>
                  <a:pt x="534582" y="3130494"/>
                  <a:pt x="537441" y="3128885"/>
                </a:cubicBezTo>
                <a:cubicBezTo>
                  <a:pt x="538514" y="3130673"/>
                  <a:pt x="540300" y="3132817"/>
                  <a:pt x="537441" y="3134068"/>
                </a:cubicBezTo>
                <a:cubicBezTo>
                  <a:pt x="533689" y="3135853"/>
                  <a:pt x="529938" y="3137461"/>
                  <a:pt x="526006" y="3138890"/>
                </a:cubicBezTo>
                <a:cubicBezTo>
                  <a:pt x="525828" y="3139071"/>
                  <a:pt x="525650" y="3139427"/>
                  <a:pt x="525650" y="3139605"/>
                </a:cubicBezTo>
                <a:cubicBezTo>
                  <a:pt x="524398" y="3142286"/>
                  <a:pt x="522254" y="3143715"/>
                  <a:pt x="520110" y="3144966"/>
                </a:cubicBezTo>
                <a:cubicBezTo>
                  <a:pt x="520825" y="3145503"/>
                  <a:pt x="521361" y="3146217"/>
                  <a:pt x="522076" y="3146932"/>
                </a:cubicBezTo>
                <a:cubicBezTo>
                  <a:pt x="524220" y="3145503"/>
                  <a:pt x="526364" y="3144251"/>
                  <a:pt x="528508" y="3142822"/>
                </a:cubicBezTo>
                <a:cubicBezTo>
                  <a:pt x="529043" y="3143537"/>
                  <a:pt x="529401" y="3144073"/>
                  <a:pt x="529938" y="3144788"/>
                </a:cubicBezTo>
                <a:cubicBezTo>
                  <a:pt x="527972" y="3146217"/>
                  <a:pt x="526184" y="3147647"/>
                  <a:pt x="524220" y="3149076"/>
                </a:cubicBezTo>
                <a:lnTo>
                  <a:pt x="523862" y="3149076"/>
                </a:lnTo>
                <a:cubicBezTo>
                  <a:pt x="524398" y="3149611"/>
                  <a:pt x="525113" y="3150325"/>
                  <a:pt x="525650" y="3150862"/>
                </a:cubicBezTo>
                <a:cubicBezTo>
                  <a:pt x="527794" y="3146217"/>
                  <a:pt x="531367" y="3143537"/>
                  <a:pt x="536012" y="3141215"/>
                </a:cubicBezTo>
                <a:cubicBezTo>
                  <a:pt x="546910" y="3135853"/>
                  <a:pt x="557452" y="3129958"/>
                  <a:pt x="568172" y="3124419"/>
                </a:cubicBezTo>
                <a:cubicBezTo>
                  <a:pt x="566565" y="3123167"/>
                  <a:pt x="564421" y="3122453"/>
                  <a:pt x="562098" y="3121203"/>
                </a:cubicBezTo>
                <a:cubicBezTo>
                  <a:pt x="560311" y="3124062"/>
                  <a:pt x="558525" y="3126563"/>
                  <a:pt x="556559" y="3129600"/>
                </a:cubicBezTo>
                <a:cubicBezTo>
                  <a:pt x="554057" y="3127456"/>
                  <a:pt x="552093" y="3125670"/>
                  <a:pt x="549590" y="3123526"/>
                </a:cubicBezTo>
                <a:cubicBezTo>
                  <a:pt x="547983" y="3126384"/>
                  <a:pt x="546554" y="3128707"/>
                  <a:pt x="545302" y="3131029"/>
                </a:cubicBezTo>
                <a:cubicBezTo>
                  <a:pt x="543517" y="3129780"/>
                  <a:pt x="541729" y="3128528"/>
                  <a:pt x="539943" y="3127277"/>
                </a:cubicBezTo>
                <a:cubicBezTo>
                  <a:pt x="539229" y="3127636"/>
                  <a:pt x="538692" y="3127992"/>
                  <a:pt x="537977" y="3128350"/>
                </a:cubicBezTo>
                <a:cubicBezTo>
                  <a:pt x="538514" y="3127814"/>
                  <a:pt x="538870" y="3127277"/>
                  <a:pt x="539229" y="3126741"/>
                </a:cubicBezTo>
                <a:cubicBezTo>
                  <a:pt x="539407" y="3124419"/>
                  <a:pt x="539943" y="3122096"/>
                  <a:pt x="540658" y="3120131"/>
                </a:cubicBezTo>
                <a:close/>
                <a:moveTo>
                  <a:pt x="526542" y="3114591"/>
                </a:moveTo>
                <a:lnTo>
                  <a:pt x="526513" y="3114680"/>
                </a:lnTo>
                <a:lnTo>
                  <a:pt x="525469" y="3115128"/>
                </a:lnTo>
                <a:cubicBezTo>
                  <a:pt x="522791" y="3117808"/>
                  <a:pt x="520289" y="3120489"/>
                  <a:pt x="517966" y="3122989"/>
                </a:cubicBezTo>
                <a:cubicBezTo>
                  <a:pt x="520110" y="3122275"/>
                  <a:pt x="522433" y="3121382"/>
                  <a:pt x="524577" y="3120489"/>
                </a:cubicBezTo>
                <a:lnTo>
                  <a:pt x="526513" y="3114680"/>
                </a:lnTo>
                <a:lnTo>
                  <a:pt x="526721" y="3114591"/>
                </a:lnTo>
                <a:close/>
                <a:moveTo>
                  <a:pt x="526721" y="3113877"/>
                </a:moveTo>
                <a:cubicBezTo>
                  <a:pt x="526542" y="3114057"/>
                  <a:pt x="526542" y="3114057"/>
                  <a:pt x="526542" y="3114057"/>
                </a:cubicBezTo>
                <a:lnTo>
                  <a:pt x="526721" y="3114235"/>
                </a:lnTo>
                <a:close/>
                <a:moveTo>
                  <a:pt x="585503" y="3109410"/>
                </a:moveTo>
                <a:lnTo>
                  <a:pt x="585325" y="3109588"/>
                </a:lnTo>
                <a:cubicBezTo>
                  <a:pt x="584968" y="3109769"/>
                  <a:pt x="584432" y="3109947"/>
                  <a:pt x="583895" y="3110125"/>
                </a:cubicBezTo>
                <a:cubicBezTo>
                  <a:pt x="581751" y="3110840"/>
                  <a:pt x="579785" y="3111733"/>
                  <a:pt x="577641" y="3112447"/>
                </a:cubicBezTo>
                <a:cubicBezTo>
                  <a:pt x="579965" y="3113698"/>
                  <a:pt x="581393" y="3114413"/>
                  <a:pt x="583539" y="3115664"/>
                </a:cubicBezTo>
                <a:cubicBezTo>
                  <a:pt x="584252" y="3113342"/>
                  <a:pt x="584968" y="3111376"/>
                  <a:pt x="585503" y="3109410"/>
                </a:cubicBezTo>
                <a:close/>
                <a:moveTo>
                  <a:pt x="395756" y="3104766"/>
                </a:moveTo>
                <a:cubicBezTo>
                  <a:pt x="396112" y="3106015"/>
                  <a:pt x="395934" y="3107266"/>
                  <a:pt x="395756" y="3108159"/>
                </a:cubicBezTo>
                <a:cubicBezTo>
                  <a:pt x="397007" y="3107625"/>
                  <a:pt x="398436" y="3107088"/>
                  <a:pt x="400044" y="3106373"/>
                </a:cubicBezTo>
                <a:cubicBezTo>
                  <a:pt x="398436" y="3105122"/>
                  <a:pt x="397007" y="3104766"/>
                  <a:pt x="395756" y="3104766"/>
                </a:cubicBezTo>
                <a:close/>
                <a:moveTo>
                  <a:pt x="555308" y="3097439"/>
                </a:moveTo>
                <a:cubicBezTo>
                  <a:pt x="551735" y="3099405"/>
                  <a:pt x="548339" y="3101549"/>
                  <a:pt x="544766" y="3103515"/>
                </a:cubicBezTo>
                <a:cubicBezTo>
                  <a:pt x="543517" y="3105837"/>
                  <a:pt x="542265" y="3107981"/>
                  <a:pt x="540836" y="3110125"/>
                </a:cubicBezTo>
                <a:lnTo>
                  <a:pt x="541192" y="3110125"/>
                </a:lnTo>
                <a:cubicBezTo>
                  <a:pt x="540836" y="3110303"/>
                  <a:pt x="540658" y="3110661"/>
                  <a:pt x="540300" y="3110840"/>
                </a:cubicBezTo>
                <a:cubicBezTo>
                  <a:pt x="540478" y="3110661"/>
                  <a:pt x="540658" y="3110303"/>
                  <a:pt x="540658" y="3110125"/>
                </a:cubicBezTo>
                <a:cubicBezTo>
                  <a:pt x="538514" y="3110125"/>
                  <a:pt x="536548" y="3110125"/>
                  <a:pt x="534760" y="3110125"/>
                </a:cubicBezTo>
                <a:cubicBezTo>
                  <a:pt x="533331" y="3111733"/>
                  <a:pt x="532438" y="3113877"/>
                  <a:pt x="532082" y="3116557"/>
                </a:cubicBezTo>
                <a:cubicBezTo>
                  <a:pt x="532082" y="3117094"/>
                  <a:pt x="531902" y="3117630"/>
                  <a:pt x="531902" y="3117986"/>
                </a:cubicBezTo>
                <a:cubicBezTo>
                  <a:pt x="532616" y="3117630"/>
                  <a:pt x="533511" y="3117450"/>
                  <a:pt x="534226" y="3117094"/>
                </a:cubicBezTo>
                <a:cubicBezTo>
                  <a:pt x="536548" y="3114591"/>
                  <a:pt x="538514" y="3112627"/>
                  <a:pt x="540300" y="3111018"/>
                </a:cubicBezTo>
                <a:cubicBezTo>
                  <a:pt x="539407" y="3112627"/>
                  <a:pt x="538692" y="3114235"/>
                  <a:pt x="537799" y="3115842"/>
                </a:cubicBezTo>
                <a:cubicBezTo>
                  <a:pt x="537977" y="3115842"/>
                  <a:pt x="538156" y="3115842"/>
                  <a:pt x="538156" y="3115842"/>
                </a:cubicBezTo>
                <a:cubicBezTo>
                  <a:pt x="540121" y="3115128"/>
                  <a:pt x="541907" y="3114771"/>
                  <a:pt x="543695" y="3114235"/>
                </a:cubicBezTo>
                <a:cubicBezTo>
                  <a:pt x="546554" y="3109947"/>
                  <a:pt x="550842" y="3106730"/>
                  <a:pt x="557274" y="3104944"/>
                </a:cubicBezTo>
                <a:cubicBezTo>
                  <a:pt x="556559" y="3107625"/>
                  <a:pt x="556023" y="3109588"/>
                  <a:pt x="555486" y="3111554"/>
                </a:cubicBezTo>
                <a:cubicBezTo>
                  <a:pt x="556737" y="3111198"/>
                  <a:pt x="558167" y="3110840"/>
                  <a:pt x="559596" y="3110483"/>
                </a:cubicBezTo>
                <a:cubicBezTo>
                  <a:pt x="563169" y="3107088"/>
                  <a:pt x="566565" y="3103693"/>
                  <a:pt x="569423" y="3099583"/>
                </a:cubicBezTo>
                <a:cubicBezTo>
                  <a:pt x="564957" y="3098512"/>
                  <a:pt x="560489" y="3097975"/>
                  <a:pt x="556201" y="3097439"/>
                </a:cubicBezTo>
                <a:cubicBezTo>
                  <a:pt x="555844" y="3097439"/>
                  <a:pt x="555666" y="3097439"/>
                  <a:pt x="555308" y="3097439"/>
                </a:cubicBezTo>
                <a:close/>
                <a:moveTo>
                  <a:pt x="83262" y="3093331"/>
                </a:moveTo>
                <a:cubicBezTo>
                  <a:pt x="80759" y="3095295"/>
                  <a:pt x="78079" y="3096904"/>
                  <a:pt x="75935" y="3099227"/>
                </a:cubicBezTo>
                <a:cubicBezTo>
                  <a:pt x="75400" y="3099763"/>
                  <a:pt x="75935" y="3102442"/>
                  <a:pt x="76829" y="3103156"/>
                </a:cubicBezTo>
                <a:lnTo>
                  <a:pt x="80704" y="3103156"/>
                </a:lnTo>
                <a:lnTo>
                  <a:pt x="80581" y="3103336"/>
                </a:lnTo>
                <a:lnTo>
                  <a:pt x="80759" y="3103156"/>
                </a:lnTo>
                <a:lnTo>
                  <a:pt x="80704" y="3103156"/>
                </a:lnTo>
                <a:lnTo>
                  <a:pt x="85584" y="3096010"/>
                </a:lnTo>
                <a:cubicBezTo>
                  <a:pt x="84869" y="3095117"/>
                  <a:pt x="83976" y="3094224"/>
                  <a:pt x="83262" y="3093331"/>
                </a:cubicBezTo>
                <a:close/>
                <a:moveTo>
                  <a:pt x="148476" y="3092616"/>
                </a:moveTo>
                <a:cubicBezTo>
                  <a:pt x="147581" y="3092973"/>
                  <a:pt x="147403" y="3094938"/>
                  <a:pt x="146510" y="3097439"/>
                </a:cubicBezTo>
                <a:cubicBezTo>
                  <a:pt x="149191" y="3097261"/>
                  <a:pt x="150798" y="3097261"/>
                  <a:pt x="151871" y="3096724"/>
                </a:cubicBezTo>
                <a:lnTo>
                  <a:pt x="151871" y="3096546"/>
                </a:lnTo>
                <a:cubicBezTo>
                  <a:pt x="152406" y="3096190"/>
                  <a:pt x="152764" y="3093865"/>
                  <a:pt x="152406" y="3093687"/>
                </a:cubicBezTo>
                <a:cubicBezTo>
                  <a:pt x="151156" y="3092973"/>
                  <a:pt x="149547" y="3092258"/>
                  <a:pt x="148476" y="3092616"/>
                </a:cubicBezTo>
                <a:close/>
                <a:moveTo>
                  <a:pt x="6419808" y="3085111"/>
                </a:moveTo>
                <a:lnTo>
                  <a:pt x="6419841" y="3085178"/>
                </a:lnTo>
                <a:lnTo>
                  <a:pt x="6417664" y="3086184"/>
                </a:lnTo>
                <a:cubicBezTo>
                  <a:pt x="6418020" y="3087077"/>
                  <a:pt x="6418200" y="3087970"/>
                  <a:pt x="6419450" y="3091721"/>
                </a:cubicBezTo>
                <a:cubicBezTo>
                  <a:pt x="6420164" y="3089043"/>
                  <a:pt x="6420700" y="3087970"/>
                  <a:pt x="6420700" y="3086899"/>
                </a:cubicBezTo>
                <a:lnTo>
                  <a:pt x="6419841" y="3085178"/>
                </a:lnTo>
                <a:lnTo>
                  <a:pt x="6419986" y="3085111"/>
                </a:lnTo>
                <a:close/>
                <a:moveTo>
                  <a:pt x="423807" y="3082967"/>
                </a:moveTo>
                <a:cubicBezTo>
                  <a:pt x="422199" y="3083325"/>
                  <a:pt x="420591" y="3083504"/>
                  <a:pt x="419162" y="3084040"/>
                </a:cubicBezTo>
                <a:cubicBezTo>
                  <a:pt x="417733" y="3084575"/>
                  <a:pt x="416303" y="3085469"/>
                  <a:pt x="414874" y="3086184"/>
                </a:cubicBezTo>
                <a:cubicBezTo>
                  <a:pt x="415230" y="3086540"/>
                  <a:pt x="415589" y="3087077"/>
                  <a:pt x="415945" y="3087433"/>
                </a:cubicBezTo>
                <a:cubicBezTo>
                  <a:pt x="417374" y="3086899"/>
                  <a:pt x="418982" y="3086362"/>
                  <a:pt x="420411" y="3085469"/>
                </a:cubicBezTo>
                <a:cubicBezTo>
                  <a:pt x="421662" y="3084755"/>
                  <a:pt x="422734" y="3083860"/>
                  <a:pt x="423807" y="3082967"/>
                </a:cubicBezTo>
                <a:close/>
                <a:moveTo>
                  <a:pt x="586398" y="3081716"/>
                </a:moveTo>
                <a:cubicBezTo>
                  <a:pt x="581929" y="3083504"/>
                  <a:pt x="578356" y="3085111"/>
                  <a:pt x="574604" y="3086719"/>
                </a:cubicBezTo>
                <a:lnTo>
                  <a:pt x="574783" y="3086719"/>
                </a:lnTo>
                <a:cubicBezTo>
                  <a:pt x="581573" y="3086540"/>
                  <a:pt x="583359" y="3086540"/>
                  <a:pt x="586398" y="3084040"/>
                </a:cubicBezTo>
                <a:cubicBezTo>
                  <a:pt x="586398" y="3083325"/>
                  <a:pt x="586398" y="3082431"/>
                  <a:pt x="586398" y="3081716"/>
                </a:cubicBezTo>
                <a:close/>
                <a:moveTo>
                  <a:pt x="302669" y="3081001"/>
                </a:moveTo>
                <a:cubicBezTo>
                  <a:pt x="301596" y="3082074"/>
                  <a:pt x="300345" y="3083325"/>
                  <a:pt x="299274" y="3084396"/>
                </a:cubicBezTo>
                <a:cubicBezTo>
                  <a:pt x="300167" y="3084755"/>
                  <a:pt x="301059" y="3084755"/>
                  <a:pt x="302132" y="3084755"/>
                </a:cubicBezTo>
                <a:lnTo>
                  <a:pt x="302132" y="3084575"/>
                </a:lnTo>
                <a:cubicBezTo>
                  <a:pt x="302311" y="3083504"/>
                  <a:pt x="302489" y="3082252"/>
                  <a:pt x="302669" y="3081001"/>
                </a:cubicBezTo>
                <a:close/>
                <a:moveTo>
                  <a:pt x="87013" y="3078857"/>
                </a:moveTo>
                <a:cubicBezTo>
                  <a:pt x="86835" y="3081359"/>
                  <a:pt x="86477" y="3082789"/>
                  <a:pt x="86477" y="3084218"/>
                </a:cubicBezTo>
                <a:cubicBezTo>
                  <a:pt x="88264" y="3084218"/>
                  <a:pt x="90228" y="3084755"/>
                  <a:pt x="91838" y="3084218"/>
                </a:cubicBezTo>
                <a:cubicBezTo>
                  <a:pt x="92731" y="3084040"/>
                  <a:pt x="93267" y="3080823"/>
                  <a:pt x="92731" y="3080467"/>
                </a:cubicBezTo>
                <a:cubicBezTo>
                  <a:pt x="91301" y="3079572"/>
                  <a:pt x="89514" y="3079572"/>
                  <a:pt x="87013" y="3078857"/>
                </a:cubicBezTo>
                <a:close/>
                <a:moveTo>
                  <a:pt x="116852" y="3075998"/>
                </a:moveTo>
                <a:cubicBezTo>
                  <a:pt x="116493" y="3079752"/>
                  <a:pt x="116315" y="3083325"/>
                  <a:pt x="115957" y="3086719"/>
                </a:cubicBezTo>
                <a:cubicBezTo>
                  <a:pt x="116852" y="3086899"/>
                  <a:pt x="117923" y="3086899"/>
                  <a:pt x="118816" y="3086899"/>
                </a:cubicBezTo>
                <a:cubicBezTo>
                  <a:pt x="122509" y="3081770"/>
                  <a:pt x="121854" y="3078142"/>
                  <a:pt x="116852" y="3075998"/>
                </a:cubicBezTo>
                <a:close/>
                <a:moveTo>
                  <a:pt x="446676" y="3070996"/>
                </a:moveTo>
                <a:cubicBezTo>
                  <a:pt x="446676" y="3070996"/>
                  <a:pt x="445962" y="3071532"/>
                  <a:pt x="445962" y="3071532"/>
                </a:cubicBezTo>
                <a:lnTo>
                  <a:pt x="447213" y="3071532"/>
                </a:lnTo>
                <a:close/>
                <a:moveTo>
                  <a:pt x="130431" y="3067959"/>
                </a:moveTo>
                <a:lnTo>
                  <a:pt x="130536" y="3068035"/>
                </a:lnTo>
                <a:lnTo>
                  <a:pt x="125962" y="3072783"/>
                </a:lnTo>
                <a:cubicBezTo>
                  <a:pt x="126857" y="3073676"/>
                  <a:pt x="127750" y="3074391"/>
                  <a:pt x="128643" y="3075284"/>
                </a:cubicBezTo>
                <a:cubicBezTo>
                  <a:pt x="129894" y="3073320"/>
                  <a:pt x="131145" y="3071354"/>
                  <a:pt x="132395" y="3069388"/>
                </a:cubicBezTo>
                <a:lnTo>
                  <a:pt x="130536" y="3068035"/>
                </a:lnTo>
                <a:lnTo>
                  <a:pt x="130609" y="3067959"/>
                </a:lnTo>
                <a:close/>
                <a:moveTo>
                  <a:pt x="486877" y="3066173"/>
                </a:moveTo>
                <a:cubicBezTo>
                  <a:pt x="485091" y="3066708"/>
                  <a:pt x="483303" y="3067244"/>
                  <a:pt x="481518" y="3067602"/>
                </a:cubicBezTo>
                <a:lnTo>
                  <a:pt x="481339" y="3067422"/>
                </a:lnTo>
                <a:cubicBezTo>
                  <a:pt x="481159" y="3068317"/>
                  <a:pt x="481159" y="3068852"/>
                  <a:pt x="481159" y="3069210"/>
                </a:cubicBezTo>
                <a:cubicBezTo>
                  <a:pt x="481518" y="3069388"/>
                  <a:pt x="482054" y="3069388"/>
                  <a:pt x="482589" y="3069388"/>
                </a:cubicBezTo>
                <a:cubicBezTo>
                  <a:pt x="484018" y="3069388"/>
                  <a:pt x="484913" y="3069566"/>
                  <a:pt x="485627" y="3069925"/>
                </a:cubicBezTo>
                <a:cubicBezTo>
                  <a:pt x="486162" y="3068673"/>
                  <a:pt x="486520" y="3067422"/>
                  <a:pt x="486877" y="3066173"/>
                </a:cubicBezTo>
                <a:close/>
                <a:moveTo>
                  <a:pt x="581215" y="3061705"/>
                </a:moveTo>
                <a:cubicBezTo>
                  <a:pt x="579965" y="3061885"/>
                  <a:pt x="578536" y="3062600"/>
                  <a:pt x="578536" y="3062600"/>
                </a:cubicBezTo>
                <a:lnTo>
                  <a:pt x="578536" y="3062956"/>
                </a:lnTo>
                <a:cubicBezTo>
                  <a:pt x="573890" y="3067781"/>
                  <a:pt x="569423" y="3072783"/>
                  <a:pt x="564957" y="3077608"/>
                </a:cubicBezTo>
                <a:cubicBezTo>
                  <a:pt x="564599" y="3077964"/>
                  <a:pt x="564242" y="3078501"/>
                  <a:pt x="563884" y="3078857"/>
                </a:cubicBezTo>
                <a:cubicBezTo>
                  <a:pt x="563706" y="3078857"/>
                  <a:pt x="563528" y="3078857"/>
                  <a:pt x="563528" y="3078857"/>
                </a:cubicBezTo>
                <a:cubicBezTo>
                  <a:pt x="562277" y="3080287"/>
                  <a:pt x="560847" y="3081716"/>
                  <a:pt x="559418" y="3083145"/>
                </a:cubicBezTo>
                <a:cubicBezTo>
                  <a:pt x="557988" y="3084755"/>
                  <a:pt x="556559" y="3086362"/>
                  <a:pt x="555130" y="3088148"/>
                </a:cubicBezTo>
                <a:cubicBezTo>
                  <a:pt x="557452" y="3087255"/>
                  <a:pt x="559596" y="3086362"/>
                  <a:pt x="561918" y="3085469"/>
                </a:cubicBezTo>
                <a:cubicBezTo>
                  <a:pt x="564242" y="3084218"/>
                  <a:pt x="566565" y="3082967"/>
                  <a:pt x="568709" y="3081538"/>
                </a:cubicBezTo>
                <a:cubicBezTo>
                  <a:pt x="574783" y="3077250"/>
                  <a:pt x="578892" y="3070281"/>
                  <a:pt x="581215" y="3061705"/>
                </a:cubicBezTo>
                <a:close/>
                <a:moveTo>
                  <a:pt x="6397005" y="3060611"/>
                </a:moveTo>
                <a:cubicBezTo>
                  <a:pt x="6389791" y="3061214"/>
                  <a:pt x="6382018" y="3062956"/>
                  <a:pt x="6376390" y="3065636"/>
                </a:cubicBezTo>
                <a:cubicBezTo>
                  <a:pt x="6379964" y="3072247"/>
                  <a:pt x="6384430" y="3066888"/>
                  <a:pt x="6388362" y="3067422"/>
                </a:cubicBezTo>
                <a:cubicBezTo>
                  <a:pt x="6393006" y="3068137"/>
                  <a:pt x="6397831" y="3067781"/>
                  <a:pt x="6402477" y="3067422"/>
                </a:cubicBezTo>
                <a:cubicBezTo>
                  <a:pt x="6406585" y="3067244"/>
                  <a:pt x="6411232" y="3068495"/>
                  <a:pt x="6414090" y="3062600"/>
                </a:cubicBezTo>
                <a:lnTo>
                  <a:pt x="6414268" y="3062419"/>
                </a:lnTo>
                <a:cubicBezTo>
                  <a:pt x="6410874" y="3060544"/>
                  <a:pt x="6404219" y="3060008"/>
                  <a:pt x="6397005" y="3060611"/>
                </a:cubicBezTo>
                <a:close/>
                <a:moveTo>
                  <a:pt x="503136" y="3058490"/>
                </a:moveTo>
                <a:cubicBezTo>
                  <a:pt x="501529" y="3061527"/>
                  <a:pt x="499563" y="3064207"/>
                  <a:pt x="498492" y="3067422"/>
                </a:cubicBezTo>
                <a:cubicBezTo>
                  <a:pt x="494918" y="3079037"/>
                  <a:pt x="487771" y="3088685"/>
                  <a:pt x="482232" y="3099048"/>
                </a:cubicBezTo>
                <a:cubicBezTo>
                  <a:pt x="482947" y="3099048"/>
                  <a:pt x="483840" y="3099048"/>
                  <a:pt x="484733" y="3099048"/>
                </a:cubicBezTo>
                <a:cubicBezTo>
                  <a:pt x="491879" y="3099583"/>
                  <a:pt x="499026" y="3099941"/>
                  <a:pt x="506173" y="3100478"/>
                </a:cubicBezTo>
                <a:cubicBezTo>
                  <a:pt x="500456" y="3107088"/>
                  <a:pt x="498670" y="3108517"/>
                  <a:pt x="493489" y="3107625"/>
                </a:cubicBezTo>
                <a:cubicBezTo>
                  <a:pt x="487591" y="3106552"/>
                  <a:pt x="482232" y="3104944"/>
                  <a:pt x="476335" y="3108159"/>
                </a:cubicBezTo>
                <a:cubicBezTo>
                  <a:pt x="474907" y="3108874"/>
                  <a:pt x="469724" y="3109054"/>
                  <a:pt x="467939" y="3104408"/>
                </a:cubicBezTo>
                <a:cubicBezTo>
                  <a:pt x="470083" y="3102800"/>
                  <a:pt x="472405" y="3101549"/>
                  <a:pt x="474727" y="3100656"/>
                </a:cubicBezTo>
                <a:cubicBezTo>
                  <a:pt x="474549" y="3099583"/>
                  <a:pt x="474727" y="3098512"/>
                  <a:pt x="474727" y="3097619"/>
                </a:cubicBezTo>
                <a:cubicBezTo>
                  <a:pt x="475442" y="3093687"/>
                  <a:pt x="476335" y="3089399"/>
                  <a:pt x="478301" y="3086004"/>
                </a:cubicBezTo>
                <a:cubicBezTo>
                  <a:pt x="480088" y="3082789"/>
                  <a:pt x="481696" y="3079394"/>
                  <a:pt x="483125" y="3075998"/>
                </a:cubicBezTo>
                <a:cubicBezTo>
                  <a:pt x="482769" y="3076179"/>
                  <a:pt x="482589" y="3076179"/>
                  <a:pt x="482232" y="3076179"/>
                </a:cubicBezTo>
                <a:cubicBezTo>
                  <a:pt x="464187" y="3082431"/>
                  <a:pt x="447391" y="3091721"/>
                  <a:pt x="431668" y="3102442"/>
                </a:cubicBezTo>
                <a:cubicBezTo>
                  <a:pt x="428273" y="3104766"/>
                  <a:pt x="426309" y="3109410"/>
                  <a:pt x="423450" y="3112805"/>
                </a:cubicBezTo>
                <a:cubicBezTo>
                  <a:pt x="421484" y="3115128"/>
                  <a:pt x="419697" y="3115306"/>
                  <a:pt x="417553" y="3113342"/>
                </a:cubicBezTo>
                <a:cubicBezTo>
                  <a:pt x="416660" y="3114950"/>
                  <a:pt x="415945" y="3116557"/>
                  <a:pt x="415052" y="3118165"/>
                </a:cubicBezTo>
                <a:cubicBezTo>
                  <a:pt x="415230" y="3115664"/>
                  <a:pt x="415589" y="3113342"/>
                  <a:pt x="415589" y="3111018"/>
                </a:cubicBezTo>
                <a:cubicBezTo>
                  <a:pt x="415409" y="3110840"/>
                  <a:pt x="415230" y="3110661"/>
                  <a:pt x="415052" y="3110303"/>
                </a:cubicBezTo>
                <a:cubicBezTo>
                  <a:pt x="414516" y="3109410"/>
                  <a:pt x="413623" y="3108874"/>
                  <a:pt x="412193" y="3107803"/>
                </a:cubicBezTo>
                <a:cubicBezTo>
                  <a:pt x="408798" y="3112091"/>
                  <a:pt x="405403" y="3116379"/>
                  <a:pt x="401473" y="3121203"/>
                </a:cubicBezTo>
                <a:cubicBezTo>
                  <a:pt x="407012" y="3123526"/>
                  <a:pt x="412015" y="3125492"/>
                  <a:pt x="417018" y="3127456"/>
                </a:cubicBezTo>
                <a:cubicBezTo>
                  <a:pt x="417911" y="3131744"/>
                  <a:pt x="414694" y="3132280"/>
                  <a:pt x="412372" y="3133531"/>
                </a:cubicBezTo>
                <a:cubicBezTo>
                  <a:pt x="408976" y="3135497"/>
                  <a:pt x="405403" y="3137283"/>
                  <a:pt x="401473" y="3139249"/>
                </a:cubicBezTo>
                <a:cubicBezTo>
                  <a:pt x="403081" y="3144251"/>
                  <a:pt x="404688" y="3149076"/>
                  <a:pt x="406476" y="3154793"/>
                </a:cubicBezTo>
                <a:cubicBezTo>
                  <a:pt x="396470" y="3156043"/>
                  <a:pt x="389324" y="3162475"/>
                  <a:pt x="381999" y="3168551"/>
                </a:cubicBezTo>
                <a:cubicBezTo>
                  <a:pt x="380389" y="3172302"/>
                  <a:pt x="384499" y="3177305"/>
                  <a:pt x="380033" y="3180878"/>
                </a:cubicBezTo>
                <a:cubicBezTo>
                  <a:pt x="379674" y="3181237"/>
                  <a:pt x="379496" y="3181951"/>
                  <a:pt x="379140" y="3182308"/>
                </a:cubicBezTo>
                <a:cubicBezTo>
                  <a:pt x="369132" y="3195350"/>
                  <a:pt x="366454" y="3209288"/>
                  <a:pt x="373601" y="3224832"/>
                </a:cubicBezTo>
                <a:cubicBezTo>
                  <a:pt x="375745" y="3224832"/>
                  <a:pt x="377889" y="3224832"/>
                  <a:pt x="380211" y="3224832"/>
                </a:cubicBezTo>
                <a:cubicBezTo>
                  <a:pt x="382533" y="3228226"/>
                  <a:pt x="385035" y="3231621"/>
                  <a:pt x="387358" y="3235194"/>
                </a:cubicBezTo>
                <a:cubicBezTo>
                  <a:pt x="390575" y="3232514"/>
                  <a:pt x="393790" y="3229835"/>
                  <a:pt x="397007" y="3227155"/>
                </a:cubicBezTo>
                <a:cubicBezTo>
                  <a:pt x="392361" y="3220722"/>
                  <a:pt x="391824" y="3217864"/>
                  <a:pt x="395219" y="3215183"/>
                </a:cubicBezTo>
                <a:cubicBezTo>
                  <a:pt x="398256" y="3212861"/>
                  <a:pt x="402188" y="3211432"/>
                  <a:pt x="405225" y="3209109"/>
                </a:cubicBezTo>
                <a:cubicBezTo>
                  <a:pt x="407191" y="3207500"/>
                  <a:pt x="408620" y="3204999"/>
                  <a:pt x="410942" y="3202141"/>
                </a:cubicBezTo>
                <a:cubicBezTo>
                  <a:pt x="404510" y="3199282"/>
                  <a:pt x="399329" y="3197138"/>
                  <a:pt x="393968" y="3194816"/>
                </a:cubicBezTo>
                <a:cubicBezTo>
                  <a:pt x="389204" y="3196245"/>
                  <a:pt x="384975" y="3194279"/>
                  <a:pt x="381284" y="3188918"/>
                </a:cubicBezTo>
                <a:cubicBezTo>
                  <a:pt x="391109" y="3172839"/>
                  <a:pt x="405225" y="3163190"/>
                  <a:pt x="423985" y="3160511"/>
                </a:cubicBezTo>
                <a:cubicBezTo>
                  <a:pt x="443818" y="3157652"/>
                  <a:pt x="460614" y="3147825"/>
                  <a:pt x="477229" y="3137819"/>
                </a:cubicBezTo>
                <a:cubicBezTo>
                  <a:pt x="476871" y="3135675"/>
                  <a:pt x="476515" y="3133531"/>
                  <a:pt x="476156" y="3130851"/>
                </a:cubicBezTo>
                <a:lnTo>
                  <a:pt x="482935" y="3126392"/>
                </a:lnTo>
                <a:lnTo>
                  <a:pt x="507424" y="3118345"/>
                </a:lnTo>
                <a:cubicBezTo>
                  <a:pt x="508854" y="3120845"/>
                  <a:pt x="509747" y="3122811"/>
                  <a:pt x="511176" y="3125492"/>
                </a:cubicBezTo>
                <a:cubicBezTo>
                  <a:pt x="512071" y="3124955"/>
                  <a:pt x="513142" y="3124597"/>
                  <a:pt x="514215" y="3124240"/>
                </a:cubicBezTo>
                <a:cubicBezTo>
                  <a:pt x="515108" y="3119059"/>
                  <a:pt x="517430" y="3114591"/>
                  <a:pt x="519932" y="3110303"/>
                </a:cubicBezTo>
                <a:cubicBezTo>
                  <a:pt x="519396" y="3110483"/>
                  <a:pt x="518681" y="3110840"/>
                  <a:pt x="518144" y="3111018"/>
                </a:cubicBezTo>
                <a:cubicBezTo>
                  <a:pt x="516359" y="3111554"/>
                  <a:pt x="514035" y="3111376"/>
                  <a:pt x="510105" y="3111554"/>
                </a:cubicBezTo>
                <a:cubicBezTo>
                  <a:pt x="515286" y="3104586"/>
                  <a:pt x="521003" y="3101549"/>
                  <a:pt x="527257" y="3099048"/>
                </a:cubicBezTo>
                <a:cubicBezTo>
                  <a:pt x="527614" y="3098512"/>
                  <a:pt x="527972" y="3097797"/>
                  <a:pt x="528328" y="3097261"/>
                </a:cubicBezTo>
                <a:cubicBezTo>
                  <a:pt x="533153" y="3089221"/>
                  <a:pt x="538156" y="3081359"/>
                  <a:pt x="542802" y="3073320"/>
                </a:cubicBezTo>
                <a:cubicBezTo>
                  <a:pt x="544051" y="3071354"/>
                  <a:pt x="544051" y="3068495"/>
                  <a:pt x="544409" y="3065993"/>
                </a:cubicBezTo>
                <a:cubicBezTo>
                  <a:pt x="541907" y="3069388"/>
                  <a:pt x="539585" y="3072783"/>
                  <a:pt x="537263" y="3076357"/>
                </a:cubicBezTo>
                <a:cubicBezTo>
                  <a:pt x="534226" y="3081181"/>
                  <a:pt x="531009" y="3085289"/>
                  <a:pt x="526184" y="3088863"/>
                </a:cubicBezTo>
                <a:cubicBezTo>
                  <a:pt x="524398" y="3090114"/>
                  <a:pt x="522969" y="3091721"/>
                  <a:pt x="521540" y="3093509"/>
                </a:cubicBezTo>
                <a:cubicBezTo>
                  <a:pt x="521361" y="3093865"/>
                  <a:pt x="521181" y="3094224"/>
                  <a:pt x="521003" y="3094224"/>
                </a:cubicBezTo>
                <a:cubicBezTo>
                  <a:pt x="518323" y="3097797"/>
                  <a:pt x="516000" y="3102085"/>
                  <a:pt x="513320" y="3105837"/>
                </a:cubicBezTo>
                <a:cubicBezTo>
                  <a:pt x="511176" y="3101907"/>
                  <a:pt x="512964" y="3098154"/>
                  <a:pt x="514571" y="3094580"/>
                </a:cubicBezTo>
                <a:cubicBezTo>
                  <a:pt x="518144" y="3087255"/>
                  <a:pt x="522076" y="3079930"/>
                  <a:pt x="524755" y="3071890"/>
                </a:cubicBezTo>
                <a:cubicBezTo>
                  <a:pt x="520110" y="3077608"/>
                  <a:pt x="515464" y="3083325"/>
                  <a:pt x="510461" y="3089577"/>
                </a:cubicBezTo>
                <a:cubicBezTo>
                  <a:pt x="507068" y="3088328"/>
                  <a:pt x="504029" y="3087255"/>
                  <a:pt x="501350" y="3086184"/>
                </a:cubicBezTo>
                <a:cubicBezTo>
                  <a:pt x="499026" y="3079930"/>
                  <a:pt x="501350" y="3074927"/>
                  <a:pt x="502780" y="3069925"/>
                </a:cubicBezTo>
                <a:cubicBezTo>
                  <a:pt x="504029" y="3066173"/>
                  <a:pt x="505280" y="3062241"/>
                  <a:pt x="503136" y="3058490"/>
                </a:cubicBezTo>
                <a:close/>
                <a:moveTo>
                  <a:pt x="504387" y="3056882"/>
                </a:moveTo>
                <a:cubicBezTo>
                  <a:pt x="504387" y="3056882"/>
                  <a:pt x="504029" y="3057417"/>
                  <a:pt x="503851" y="3057597"/>
                </a:cubicBezTo>
                <a:cubicBezTo>
                  <a:pt x="503851" y="3057597"/>
                  <a:pt x="504209" y="3057239"/>
                  <a:pt x="504387" y="3057060"/>
                </a:cubicBezTo>
                <a:close/>
                <a:moveTo>
                  <a:pt x="555666" y="3051699"/>
                </a:moveTo>
                <a:cubicBezTo>
                  <a:pt x="554057" y="3052058"/>
                  <a:pt x="552449" y="3052236"/>
                  <a:pt x="550663" y="3052414"/>
                </a:cubicBezTo>
                <a:cubicBezTo>
                  <a:pt x="549769" y="3054023"/>
                  <a:pt x="548876" y="3055631"/>
                  <a:pt x="547983" y="3057239"/>
                </a:cubicBezTo>
                <a:lnTo>
                  <a:pt x="545734" y="3064679"/>
                </a:lnTo>
                <a:lnTo>
                  <a:pt x="545661" y="3064744"/>
                </a:lnTo>
                <a:lnTo>
                  <a:pt x="545661" y="3064922"/>
                </a:lnTo>
                <a:lnTo>
                  <a:pt x="545734" y="3064679"/>
                </a:lnTo>
                <a:lnTo>
                  <a:pt x="550305" y="3060634"/>
                </a:lnTo>
                <a:cubicBezTo>
                  <a:pt x="552093" y="3057775"/>
                  <a:pt x="553879" y="3054738"/>
                  <a:pt x="555666" y="3051699"/>
                </a:cubicBezTo>
                <a:close/>
                <a:moveTo>
                  <a:pt x="507961" y="3051521"/>
                </a:moveTo>
                <a:cubicBezTo>
                  <a:pt x="507602" y="3052058"/>
                  <a:pt x="507424" y="3052594"/>
                  <a:pt x="507068" y="3053129"/>
                </a:cubicBezTo>
                <a:cubicBezTo>
                  <a:pt x="507424" y="3052594"/>
                  <a:pt x="507783" y="3052058"/>
                  <a:pt x="508139" y="3051521"/>
                </a:cubicBezTo>
                <a:close/>
                <a:moveTo>
                  <a:pt x="6392114" y="3048306"/>
                </a:moveTo>
                <a:cubicBezTo>
                  <a:pt x="6391398" y="3049377"/>
                  <a:pt x="6390506" y="3050270"/>
                  <a:pt x="6390328" y="3051521"/>
                </a:cubicBezTo>
                <a:cubicBezTo>
                  <a:pt x="6390148" y="3052414"/>
                  <a:pt x="6390862" y="3053665"/>
                  <a:pt x="6391577" y="3055453"/>
                </a:cubicBezTo>
                <a:cubicBezTo>
                  <a:pt x="6393006" y="3052594"/>
                  <a:pt x="6393721" y="3051699"/>
                  <a:pt x="6393721" y="3050806"/>
                </a:cubicBezTo>
                <a:cubicBezTo>
                  <a:pt x="6393721" y="3049913"/>
                  <a:pt x="6392114" y="3048306"/>
                  <a:pt x="6392114" y="3048306"/>
                </a:cubicBezTo>
                <a:close/>
                <a:moveTo>
                  <a:pt x="254963" y="3046696"/>
                </a:moveTo>
                <a:cubicBezTo>
                  <a:pt x="251926" y="3047769"/>
                  <a:pt x="248709" y="3049021"/>
                  <a:pt x="245494" y="3050092"/>
                </a:cubicBezTo>
                <a:cubicBezTo>
                  <a:pt x="246029" y="3051165"/>
                  <a:pt x="246387" y="3052414"/>
                  <a:pt x="246924" y="3053487"/>
                </a:cubicBezTo>
                <a:cubicBezTo>
                  <a:pt x="249961" y="3051879"/>
                  <a:pt x="252819" y="3050450"/>
                  <a:pt x="255856" y="3048841"/>
                </a:cubicBezTo>
                <a:cubicBezTo>
                  <a:pt x="255500" y="3048126"/>
                  <a:pt x="255320" y="3047411"/>
                  <a:pt x="254963" y="3046696"/>
                </a:cubicBezTo>
                <a:close/>
                <a:moveTo>
                  <a:pt x="225840" y="3045804"/>
                </a:moveTo>
                <a:cubicBezTo>
                  <a:pt x="216549" y="3044196"/>
                  <a:pt x="209580" y="3048126"/>
                  <a:pt x="203328" y="3055809"/>
                </a:cubicBezTo>
                <a:cubicBezTo>
                  <a:pt x="206721" y="3056702"/>
                  <a:pt x="209760" y="3056882"/>
                  <a:pt x="212261" y="3057953"/>
                </a:cubicBezTo>
                <a:cubicBezTo>
                  <a:pt x="216907" y="3059919"/>
                  <a:pt x="228520" y="3056167"/>
                  <a:pt x="229950" y="3051521"/>
                </a:cubicBezTo>
                <a:cubicBezTo>
                  <a:pt x="231021" y="3048306"/>
                  <a:pt x="229413" y="3046340"/>
                  <a:pt x="225840" y="3045804"/>
                </a:cubicBezTo>
                <a:close/>
                <a:moveTo>
                  <a:pt x="6189322" y="3044733"/>
                </a:moveTo>
                <a:cubicBezTo>
                  <a:pt x="6187536" y="3046162"/>
                  <a:pt x="6185570" y="3047411"/>
                  <a:pt x="6183604" y="3048662"/>
                </a:cubicBezTo>
                <a:cubicBezTo>
                  <a:pt x="6186464" y="3048841"/>
                  <a:pt x="6189144" y="3049021"/>
                  <a:pt x="6192002" y="3049021"/>
                </a:cubicBezTo>
                <a:cubicBezTo>
                  <a:pt x="6191824" y="3047411"/>
                  <a:pt x="6190752" y="3045982"/>
                  <a:pt x="6189502" y="3044733"/>
                </a:cubicBezTo>
                <a:close/>
                <a:moveTo>
                  <a:pt x="6407480" y="3042052"/>
                </a:moveTo>
                <a:cubicBezTo>
                  <a:pt x="6405336" y="3042588"/>
                  <a:pt x="6403192" y="3042945"/>
                  <a:pt x="6401048" y="3043303"/>
                </a:cubicBezTo>
                <a:cubicBezTo>
                  <a:pt x="6401226" y="3044196"/>
                  <a:pt x="6401404" y="3044911"/>
                  <a:pt x="6401404" y="3045804"/>
                </a:cubicBezTo>
                <a:cubicBezTo>
                  <a:pt x="6403726" y="3045625"/>
                  <a:pt x="6405870" y="3045447"/>
                  <a:pt x="6408014" y="3045267"/>
                </a:cubicBezTo>
                <a:cubicBezTo>
                  <a:pt x="6407836" y="3044196"/>
                  <a:pt x="6407658" y="3043123"/>
                  <a:pt x="6407658" y="3042052"/>
                </a:cubicBezTo>
                <a:close/>
                <a:moveTo>
                  <a:pt x="240492" y="3041516"/>
                </a:moveTo>
                <a:cubicBezTo>
                  <a:pt x="239240" y="3042588"/>
                  <a:pt x="237989" y="3043481"/>
                  <a:pt x="236738" y="3044552"/>
                </a:cubicBezTo>
                <a:cubicBezTo>
                  <a:pt x="237275" y="3045267"/>
                  <a:pt x="238348" y="3046877"/>
                  <a:pt x="238348" y="3046877"/>
                </a:cubicBezTo>
                <a:lnTo>
                  <a:pt x="238348" y="3047055"/>
                </a:lnTo>
                <a:cubicBezTo>
                  <a:pt x="239597" y="3045982"/>
                  <a:pt x="241026" y="3045089"/>
                  <a:pt x="242099" y="3043838"/>
                </a:cubicBezTo>
                <a:cubicBezTo>
                  <a:pt x="242277" y="3043660"/>
                  <a:pt x="241026" y="3042230"/>
                  <a:pt x="240492" y="3041516"/>
                </a:cubicBezTo>
                <a:close/>
                <a:moveTo>
                  <a:pt x="310842" y="3038969"/>
                </a:moveTo>
                <a:cubicBezTo>
                  <a:pt x="309725" y="3039729"/>
                  <a:pt x="309189" y="3041784"/>
                  <a:pt x="308206" y="3045625"/>
                </a:cubicBezTo>
                <a:cubicBezTo>
                  <a:pt x="310887" y="3044196"/>
                  <a:pt x="313389" y="3043123"/>
                  <a:pt x="316068" y="3041874"/>
                </a:cubicBezTo>
                <a:cubicBezTo>
                  <a:pt x="316426" y="3041337"/>
                  <a:pt x="316604" y="3040623"/>
                  <a:pt x="316961" y="3040086"/>
                </a:cubicBezTo>
                <a:cubicBezTo>
                  <a:pt x="313656" y="3038746"/>
                  <a:pt x="311958" y="3038210"/>
                  <a:pt x="310842" y="3038969"/>
                </a:cubicBezTo>
                <a:close/>
                <a:moveTo>
                  <a:pt x="6292594" y="3038120"/>
                </a:moveTo>
                <a:cubicBezTo>
                  <a:pt x="6291344" y="3039550"/>
                  <a:pt x="6290092" y="3040801"/>
                  <a:pt x="6288843" y="3042230"/>
                </a:cubicBezTo>
                <a:cubicBezTo>
                  <a:pt x="6289378" y="3042945"/>
                  <a:pt x="6290450" y="3044374"/>
                  <a:pt x="6290450" y="3044374"/>
                </a:cubicBezTo>
                <a:lnTo>
                  <a:pt x="6290450" y="3044196"/>
                </a:lnTo>
                <a:cubicBezTo>
                  <a:pt x="6291522" y="3042767"/>
                  <a:pt x="6292772" y="3041159"/>
                  <a:pt x="6293846" y="3039550"/>
                </a:cubicBezTo>
                <a:cubicBezTo>
                  <a:pt x="6293488" y="3039193"/>
                  <a:pt x="6292951" y="3038657"/>
                  <a:pt x="6292594" y="3038120"/>
                </a:cubicBezTo>
                <a:close/>
                <a:moveTo>
                  <a:pt x="564957" y="3036156"/>
                </a:moveTo>
                <a:cubicBezTo>
                  <a:pt x="564421" y="3036513"/>
                  <a:pt x="563706" y="3036691"/>
                  <a:pt x="563169" y="3037049"/>
                </a:cubicBezTo>
                <a:cubicBezTo>
                  <a:pt x="561384" y="3037942"/>
                  <a:pt x="559596" y="3038835"/>
                  <a:pt x="557810" y="3039730"/>
                </a:cubicBezTo>
                <a:lnTo>
                  <a:pt x="557810" y="3039550"/>
                </a:lnTo>
                <a:cubicBezTo>
                  <a:pt x="557096" y="3040979"/>
                  <a:pt x="556381" y="3042230"/>
                  <a:pt x="555666" y="3043481"/>
                </a:cubicBezTo>
                <a:cubicBezTo>
                  <a:pt x="558167" y="3042408"/>
                  <a:pt x="560489" y="3041159"/>
                  <a:pt x="562813" y="3039908"/>
                </a:cubicBezTo>
                <a:cubicBezTo>
                  <a:pt x="563528" y="3038657"/>
                  <a:pt x="564242" y="3037406"/>
                  <a:pt x="564957" y="3036156"/>
                </a:cubicBezTo>
                <a:close/>
                <a:moveTo>
                  <a:pt x="246565" y="3032939"/>
                </a:moveTo>
                <a:cubicBezTo>
                  <a:pt x="245673" y="3033476"/>
                  <a:pt x="244065" y="3034727"/>
                  <a:pt x="244065" y="3034727"/>
                </a:cubicBezTo>
                <a:cubicBezTo>
                  <a:pt x="243885" y="3035262"/>
                  <a:pt x="244600" y="3036691"/>
                  <a:pt x="245314" y="3037227"/>
                </a:cubicBezTo>
                <a:cubicBezTo>
                  <a:pt x="246209" y="3037942"/>
                  <a:pt x="247280" y="3038300"/>
                  <a:pt x="248353" y="3038835"/>
                </a:cubicBezTo>
                <a:cubicBezTo>
                  <a:pt x="248353" y="3037764"/>
                  <a:pt x="248531" y="3036691"/>
                  <a:pt x="248353" y="3035620"/>
                </a:cubicBezTo>
                <a:cubicBezTo>
                  <a:pt x="247995" y="3034727"/>
                  <a:pt x="247102" y="3033832"/>
                  <a:pt x="246565" y="3032939"/>
                </a:cubicBezTo>
                <a:close/>
                <a:moveTo>
                  <a:pt x="278190" y="3030439"/>
                </a:moveTo>
                <a:cubicBezTo>
                  <a:pt x="277655" y="3031154"/>
                  <a:pt x="277297" y="3031688"/>
                  <a:pt x="276940" y="3032403"/>
                </a:cubicBezTo>
                <a:cubicBezTo>
                  <a:pt x="278904" y="3033654"/>
                  <a:pt x="281048" y="3035083"/>
                  <a:pt x="283014" y="3036335"/>
                </a:cubicBezTo>
                <a:cubicBezTo>
                  <a:pt x="283372" y="3035620"/>
                  <a:pt x="283907" y="3034727"/>
                  <a:pt x="284265" y="3034012"/>
                </a:cubicBezTo>
                <a:cubicBezTo>
                  <a:pt x="282300" y="3032761"/>
                  <a:pt x="280155" y="3031688"/>
                  <a:pt x="278190" y="3030439"/>
                </a:cubicBezTo>
                <a:close/>
                <a:moveTo>
                  <a:pt x="522969" y="3030259"/>
                </a:moveTo>
                <a:cubicBezTo>
                  <a:pt x="520110" y="3031688"/>
                  <a:pt x="517252" y="3032761"/>
                  <a:pt x="514749" y="3034369"/>
                </a:cubicBezTo>
                <a:lnTo>
                  <a:pt x="514929" y="3034369"/>
                </a:lnTo>
                <a:cubicBezTo>
                  <a:pt x="514571" y="3034905"/>
                  <a:pt x="514393" y="3035442"/>
                  <a:pt x="514035" y="3035976"/>
                </a:cubicBezTo>
                <a:cubicBezTo>
                  <a:pt x="514929" y="3037049"/>
                  <a:pt x="515822" y="3038300"/>
                  <a:pt x="516893" y="3038657"/>
                </a:cubicBezTo>
                <a:cubicBezTo>
                  <a:pt x="517073" y="3038657"/>
                  <a:pt x="517252" y="3038657"/>
                  <a:pt x="517430" y="3038657"/>
                </a:cubicBezTo>
                <a:cubicBezTo>
                  <a:pt x="519396" y="3035798"/>
                  <a:pt x="521181" y="3033118"/>
                  <a:pt x="522969" y="3030259"/>
                </a:cubicBezTo>
                <a:close/>
                <a:moveTo>
                  <a:pt x="334471" y="3029010"/>
                </a:moveTo>
                <a:cubicBezTo>
                  <a:pt x="334293" y="3029188"/>
                  <a:pt x="334115" y="3029544"/>
                  <a:pt x="334115" y="3029544"/>
                </a:cubicBezTo>
                <a:lnTo>
                  <a:pt x="334115" y="3029724"/>
                </a:lnTo>
                <a:cubicBezTo>
                  <a:pt x="334293" y="3029544"/>
                  <a:pt x="334649" y="3029366"/>
                  <a:pt x="334649" y="3029366"/>
                </a:cubicBezTo>
                <a:cubicBezTo>
                  <a:pt x="334471" y="3029188"/>
                  <a:pt x="334471" y="3029010"/>
                  <a:pt x="334471" y="3029010"/>
                </a:cubicBezTo>
                <a:close/>
                <a:moveTo>
                  <a:pt x="271223" y="3021863"/>
                </a:moveTo>
                <a:cubicBezTo>
                  <a:pt x="263361" y="3027937"/>
                  <a:pt x="255856" y="3033476"/>
                  <a:pt x="248353" y="3039015"/>
                </a:cubicBezTo>
                <a:cubicBezTo>
                  <a:pt x="248888" y="3039550"/>
                  <a:pt x="249782" y="3040623"/>
                  <a:pt x="249782" y="3040623"/>
                </a:cubicBezTo>
                <a:cubicBezTo>
                  <a:pt x="258179" y="3040979"/>
                  <a:pt x="269257" y="3031688"/>
                  <a:pt x="271223" y="3021863"/>
                </a:cubicBezTo>
                <a:close/>
                <a:moveTo>
                  <a:pt x="292842" y="3019539"/>
                </a:moveTo>
                <a:cubicBezTo>
                  <a:pt x="291054" y="3020968"/>
                  <a:pt x="289446" y="3022577"/>
                  <a:pt x="287661" y="3024007"/>
                </a:cubicBezTo>
                <a:cubicBezTo>
                  <a:pt x="288375" y="3024900"/>
                  <a:pt x="289805" y="3026329"/>
                  <a:pt x="289805" y="3026329"/>
                </a:cubicBezTo>
                <a:cubicBezTo>
                  <a:pt x="291949" y="3025436"/>
                  <a:pt x="293734" y="3024185"/>
                  <a:pt x="295522" y="3022934"/>
                </a:cubicBezTo>
                <a:cubicBezTo>
                  <a:pt x="294627" y="3021863"/>
                  <a:pt x="293734" y="3020612"/>
                  <a:pt x="292842" y="3019539"/>
                </a:cubicBezTo>
                <a:close/>
                <a:moveTo>
                  <a:pt x="306777" y="3018824"/>
                </a:moveTo>
                <a:cubicBezTo>
                  <a:pt x="304098" y="3021504"/>
                  <a:pt x="301240" y="3024007"/>
                  <a:pt x="298381" y="3026685"/>
                </a:cubicBezTo>
                <a:cubicBezTo>
                  <a:pt x="305348" y="3028295"/>
                  <a:pt x="309279" y="3027044"/>
                  <a:pt x="306777" y="3018824"/>
                </a:cubicBezTo>
                <a:close/>
                <a:moveTo>
                  <a:pt x="238882" y="3016860"/>
                </a:moveTo>
                <a:cubicBezTo>
                  <a:pt x="234416" y="3017753"/>
                  <a:pt x="230486" y="3018289"/>
                  <a:pt x="229591" y="3024900"/>
                </a:cubicBezTo>
                <a:cubicBezTo>
                  <a:pt x="235547" y="3024311"/>
                  <a:pt x="238646" y="3021630"/>
                  <a:pt x="238882" y="3016860"/>
                </a:cubicBezTo>
                <a:close/>
                <a:moveTo>
                  <a:pt x="215478" y="3012214"/>
                </a:moveTo>
                <a:cubicBezTo>
                  <a:pt x="211368" y="3011857"/>
                  <a:pt x="208331" y="3012750"/>
                  <a:pt x="208866" y="3019360"/>
                </a:cubicBezTo>
                <a:cubicBezTo>
                  <a:pt x="211010" y="3017931"/>
                  <a:pt x="213334" y="3016680"/>
                  <a:pt x="215478" y="3015072"/>
                </a:cubicBezTo>
                <a:cubicBezTo>
                  <a:pt x="215834" y="3014894"/>
                  <a:pt x="215478" y="3013643"/>
                  <a:pt x="215478" y="3012214"/>
                </a:cubicBezTo>
                <a:close/>
                <a:moveTo>
                  <a:pt x="6290092" y="3010962"/>
                </a:moveTo>
                <a:cubicBezTo>
                  <a:pt x="6288484" y="3011321"/>
                  <a:pt x="6286697" y="3011499"/>
                  <a:pt x="6284911" y="3011857"/>
                </a:cubicBezTo>
                <a:cubicBezTo>
                  <a:pt x="6284911" y="3012392"/>
                  <a:pt x="6284911" y="3013106"/>
                  <a:pt x="6284911" y="3013821"/>
                </a:cubicBezTo>
                <a:cubicBezTo>
                  <a:pt x="6286697" y="3013821"/>
                  <a:pt x="6288484" y="3013821"/>
                  <a:pt x="6290272" y="3013821"/>
                </a:cubicBezTo>
                <a:cubicBezTo>
                  <a:pt x="6290092" y="3012750"/>
                  <a:pt x="6290092" y="3011857"/>
                  <a:pt x="6290092" y="3010962"/>
                </a:cubicBezTo>
                <a:close/>
                <a:moveTo>
                  <a:pt x="6374068" y="3010070"/>
                </a:moveTo>
                <a:cubicBezTo>
                  <a:pt x="6371746" y="3010784"/>
                  <a:pt x="6369422" y="3011321"/>
                  <a:pt x="6367100" y="3011857"/>
                </a:cubicBezTo>
                <a:cubicBezTo>
                  <a:pt x="6367458" y="3012928"/>
                  <a:pt x="6367636" y="3014001"/>
                  <a:pt x="6367992" y="3014894"/>
                </a:cubicBezTo>
                <a:cubicBezTo>
                  <a:pt x="6370136" y="3014001"/>
                  <a:pt x="6372280" y="3012928"/>
                  <a:pt x="6374424" y="3012035"/>
                </a:cubicBezTo>
                <a:lnTo>
                  <a:pt x="6374424" y="3011857"/>
                </a:lnTo>
                <a:cubicBezTo>
                  <a:pt x="6374246" y="3011142"/>
                  <a:pt x="6374068" y="3010606"/>
                  <a:pt x="6374068" y="3010070"/>
                </a:cubicBezTo>
                <a:close/>
                <a:moveTo>
                  <a:pt x="322143" y="3005603"/>
                </a:moveTo>
                <a:cubicBezTo>
                  <a:pt x="319999" y="3006674"/>
                  <a:pt x="318212" y="3008104"/>
                  <a:pt x="316248" y="3009355"/>
                </a:cubicBezTo>
                <a:cubicBezTo>
                  <a:pt x="315890" y="3022756"/>
                  <a:pt x="315890" y="3022934"/>
                  <a:pt x="323751" y="3025436"/>
                </a:cubicBezTo>
                <a:lnTo>
                  <a:pt x="323751" y="3025614"/>
                </a:lnTo>
                <a:cubicBezTo>
                  <a:pt x="326073" y="3019719"/>
                  <a:pt x="328397" y="3013821"/>
                  <a:pt x="330541" y="3007925"/>
                </a:cubicBezTo>
                <a:cubicBezTo>
                  <a:pt x="330541" y="3007747"/>
                  <a:pt x="330541" y="3007569"/>
                  <a:pt x="330541" y="3007569"/>
                </a:cubicBezTo>
                <a:cubicBezTo>
                  <a:pt x="328932" y="3003816"/>
                  <a:pt x="325359" y="3004174"/>
                  <a:pt x="322143" y="3005603"/>
                </a:cubicBezTo>
                <a:close/>
                <a:moveTo>
                  <a:pt x="6247392" y="3002030"/>
                </a:moveTo>
                <a:cubicBezTo>
                  <a:pt x="6243818" y="3009891"/>
                  <a:pt x="6233632" y="2999708"/>
                  <a:pt x="6230774" y="3012392"/>
                </a:cubicBezTo>
                <a:cubicBezTo>
                  <a:pt x="6238098" y="3012035"/>
                  <a:pt x="6243640" y="3010070"/>
                  <a:pt x="6247392" y="3002030"/>
                </a:cubicBezTo>
                <a:close/>
                <a:moveTo>
                  <a:pt x="329290" y="3001672"/>
                </a:moveTo>
                <a:lnTo>
                  <a:pt x="331891" y="3004272"/>
                </a:lnTo>
                <a:lnTo>
                  <a:pt x="331791" y="3004530"/>
                </a:lnTo>
                <a:lnTo>
                  <a:pt x="331971" y="3004352"/>
                </a:lnTo>
                <a:lnTo>
                  <a:pt x="331891" y="3004272"/>
                </a:lnTo>
                <a:lnTo>
                  <a:pt x="332686" y="3002208"/>
                </a:lnTo>
                <a:cubicBezTo>
                  <a:pt x="331613" y="3002030"/>
                  <a:pt x="330541" y="3001672"/>
                  <a:pt x="329290" y="3001672"/>
                </a:cubicBezTo>
                <a:close/>
                <a:moveTo>
                  <a:pt x="6304922" y="3000957"/>
                </a:moveTo>
                <a:cubicBezTo>
                  <a:pt x="6300456" y="3001672"/>
                  <a:pt x="6296168" y="3003281"/>
                  <a:pt x="6291700" y="3004530"/>
                </a:cubicBezTo>
                <a:cubicBezTo>
                  <a:pt x="6291880" y="3005960"/>
                  <a:pt x="6291880" y="3007389"/>
                  <a:pt x="6291880" y="3008818"/>
                </a:cubicBezTo>
                <a:cubicBezTo>
                  <a:pt x="6296346" y="3008818"/>
                  <a:pt x="6300812" y="3008998"/>
                  <a:pt x="6305280" y="3008462"/>
                </a:cubicBezTo>
                <a:cubicBezTo>
                  <a:pt x="6306352" y="3008284"/>
                  <a:pt x="6307244" y="3005425"/>
                  <a:pt x="6308318" y="3003816"/>
                </a:cubicBezTo>
                <a:cubicBezTo>
                  <a:pt x="6307244" y="3002745"/>
                  <a:pt x="6305995" y="3000779"/>
                  <a:pt x="6304922" y="3000957"/>
                </a:cubicBezTo>
                <a:close/>
                <a:moveTo>
                  <a:pt x="239240" y="3000064"/>
                </a:moveTo>
                <a:cubicBezTo>
                  <a:pt x="234952" y="3002208"/>
                  <a:pt x="230486" y="3004530"/>
                  <a:pt x="226198" y="3006674"/>
                </a:cubicBezTo>
                <a:cubicBezTo>
                  <a:pt x="226913" y="3007747"/>
                  <a:pt x="227447" y="3008640"/>
                  <a:pt x="228162" y="3009713"/>
                </a:cubicBezTo>
                <a:cubicBezTo>
                  <a:pt x="232094" y="3007211"/>
                  <a:pt x="236202" y="3004530"/>
                  <a:pt x="240312" y="3002030"/>
                </a:cubicBezTo>
                <a:cubicBezTo>
                  <a:pt x="239955" y="3001315"/>
                  <a:pt x="239597" y="3000779"/>
                  <a:pt x="239240" y="3000064"/>
                </a:cubicBezTo>
                <a:close/>
                <a:moveTo>
                  <a:pt x="6372102" y="2997920"/>
                </a:moveTo>
                <a:cubicBezTo>
                  <a:pt x="6364778" y="2998098"/>
                  <a:pt x="6359416" y="2998278"/>
                  <a:pt x="6352984" y="2998278"/>
                </a:cubicBezTo>
                <a:cubicBezTo>
                  <a:pt x="6355128" y="3000242"/>
                  <a:pt x="6356201" y="3001315"/>
                  <a:pt x="6357094" y="3002030"/>
                </a:cubicBezTo>
                <a:cubicBezTo>
                  <a:pt x="6352270" y="3010070"/>
                  <a:pt x="6346732" y="3013821"/>
                  <a:pt x="6339049" y="3008998"/>
                </a:cubicBezTo>
                <a:cubicBezTo>
                  <a:pt x="6337976" y="3008462"/>
                  <a:pt x="6336546" y="3008818"/>
                  <a:pt x="6335297" y="3008818"/>
                </a:cubicBezTo>
                <a:lnTo>
                  <a:pt x="6335117" y="3008462"/>
                </a:lnTo>
                <a:cubicBezTo>
                  <a:pt x="6331724" y="3008818"/>
                  <a:pt x="6331009" y="3011321"/>
                  <a:pt x="6331724" y="3015431"/>
                </a:cubicBezTo>
                <a:cubicBezTo>
                  <a:pt x="6338690" y="3017575"/>
                  <a:pt x="6345481" y="3018109"/>
                  <a:pt x="6351913" y="3013287"/>
                </a:cubicBezTo>
                <a:cubicBezTo>
                  <a:pt x="6358165" y="3008640"/>
                  <a:pt x="6364241" y="3003996"/>
                  <a:pt x="6372102" y="2997920"/>
                </a:cubicBezTo>
                <a:close/>
                <a:moveTo>
                  <a:pt x="6386218" y="2995598"/>
                </a:moveTo>
                <a:cubicBezTo>
                  <a:pt x="6381752" y="2995598"/>
                  <a:pt x="6379249" y="2995239"/>
                  <a:pt x="6380678" y="3001852"/>
                </a:cubicBezTo>
                <a:cubicBezTo>
                  <a:pt x="6382644" y="2999708"/>
                  <a:pt x="6383896" y="2998278"/>
                  <a:pt x="6386218" y="2995598"/>
                </a:cubicBezTo>
                <a:close/>
                <a:moveTo>
                  <a:pt x="356448" y="2995598"/>
                </a:moveTo>
                <a:cubicBezTo>
                  <a:pt x="352695" y="2997920"/>
                  <a:pt x="349838" y="3000422"/>
                  <a:pt x="347157" y="3001852"/>
                </a:cubicBezTo>
                <a:cubicBezTo>
                  <a:pt x="345728" y="3004889"/>
                  <a:pt x="344477" y="3007925"/>
                  <a:pt x="343047" y="3010962"/>
                </a:cubicBezTo>
                <a:cubicBezTo>
                  <a:pt x="348587" y="3009891"/>
                  <a:pt x="353768" y="3008998"/>
                  <a:pt x="358770" y="3007747"/>
                </a:cubicBezTo>
                <a:cubicBezTo>
                  <a:pt x="360736" y="3007211"/>
                  <a:pt x="362344" y="3006496"/>
                  <a:pt x="363595" y="3005603"/>
                </a:cubicBezTo>
                <a:cubicBezTo>
                  <a:pt x="364666" y="3002923"/>
                  <a:pt x="365561" y="3000422"/>
                  <a:pt x="366454" y="2997742"/>
                </a:cubicBezTo>
                <a:cubicBezTo>
                  <a:pt x="366276" y="2997383"/>
                  <a:pt x="366276" y="2997027"/>
                  <a:pt x="366276" y="2996669"/>
                </a:cubicBezTo>
                <a:cubicBezTo>
                  <a:pt x="362166" y="2996312"/>
                  <a:pt x="358770" y="2995776"/>
                  <a:pt x="356448" y="2995598"/>
                </a:cubicBezTo>
                <a:close/>
                <a:moveTo>
                  <a:pt x="222625" y="2995598"/>
                </a:moveTo>
                <a:cubicBezTo>
                  <a:pt x="220659" y="2996669"/>
                  <a:pt x="218871" y="2997564"/>
                  <a:pt x="216907" y="2998456"/>
                </a:cubicBezTo>
                <a:cubicBezTo>
                  <a:pt x="217442" y="2999349"/>
                  <a:pt x="217978" y="3000242"/>
                  <a:pt x="218515" y="3001137"/>
                </a:cubicBezTo>
                <a:cubicBezTo>
                  <a:pt x="220300" y="2999886"/>
                  <a:pt x="221910" y="2998635"/>
                  <a:pt x="223696" y="2997383"/>
                </a:cubicBezTo>
                <a:cubicBezTo>
                  <a:pt x="223339" y="2996849"/>
                  <a:pt x="222981" y="2996134"/>
                  <a:pt x="222625" y="2995598"/>
                </a:cubicBezTo>
                <a:close/>
                <a:moveTo>
                  <a:pt x="516389" y="2995363"/>
                </a:moveTo>
                <a:lnTo>
                  <a:pt x="514571" y="2996669"/>
                </a:lnTo>
                <a:lnTo>
                  <a:pt x="515192" y="2995635"/>
                </a:lnTo>
                <a:close/>
                <a:moveTo>
                  <a:pt x="139900" y="2993990"/>
                </a:moveTo>
                <a:cubicBezTo>
                  <a:pt x="137397" y="2995239"/>
                  <a:pt x="134897" y="2996491"/>
                  <a:pt x="130251" y="2998635"/>
                </a:cubicBezTo>
                <a:cubicBezTo>
                  <a:pt x="139900" y="2998635"/>
                  <a:pt x="141866" y="2997564"/>
                  <a:pt x="139900" y="2993990"/>
                </a:cubicBezTo>
                <a:close/>
                <a:moveTo>
                  <a:pt x="6254538" y="2989344"/>
                </a:moveTo>
                <a:cubicBezTo>
                  <a:pt x="6250963" y="2989166"/>
                  <a:pt x="6247211" y="2989344"/>
                  <a:pt x="6243460" y="2990058"/>
                </a:cubicBezTo>
                <a:cubicBezTo>
                  <a:pt x="6238815" y="2990773"/>
                  <a:pt x="6233990" y="2994168"/>
                  <a:pt x="6229524" y="2993275"/>
                </a:cubicBezTo>
                <a:lnTo>
                  <a:pt x="6229702" y="2992739"/>
                </a:lnTo>
                <a:cubicBezTo>
                  <a:pt x="6222734" y="2991488"/>
                  <a:pt x="6215765" y="2991310"/>
                  <a:pt x="6208976" y="2992024"/>
                </a:cubicBezTo>
                <a:cubicBezTo>
                  <a:pt x="6209155" y="2993454"/>
                  <a:pt x="6209513" y="2994705"/>
                  <a:pt x="6209513" y="2996134"/>
                </a:cubicBezTo>
                <a:cubicBezTo>
                  <a:pt x="6211657" y="2995776"/>
                  <a:pt x="6213621" y="2995239"/>
                  <a:pt x="6217016" y="2994347"/>
                </a:cubicBezTo>
                <a:cubicBezTo>
                  <a:pt x="6214872" y="2995419"/>
                  <a:pt x="6213265" y="2996134"/>
                  <a:pt x="6212014" y="2996669"/>
                </a:cubicBezTo>
                <a:cubicBezTo>
                  <a:pt x="6216124" y="2996849"/>
                  <a:pt x="6220054" y="2997027"/>
                  <a:pt x="6223985" y="2997027"/>
                </a:cubicBezTo>
                <a:cubicBezTo>
                  <a:pt x="6226666" y="2997205"/>
                  <a:pt x="6229524" y="2995954"/>
                  <a:pt x="6232203" y="2995954"/>
                </a:cubicBezTo>
                <a:cubicBezTo>
                  <a:pt x="6249714" y="2996134"/>
                  <a:pt x="6267222" y="2996312"/>
                  <a:pt x="6284733" y="2996312"/>
                </a:cubicBezTo>
                <a:cubicBezTo>
                  <a:pt x="6286340" y="2996491"/>
                  <a:pt x="6288128" y="2994883"/>
                  <a:pt x="6289914" y="2993990"/>
                </a:cubicBezTo>
                <a:cubicBezTo>
                  <a:pt x="6285090" y="2992024"/>
                  <a:pt x="6280802" y="2991131"/>
                  <a:pt x="6276335" y="2990773"/>
                </a:cubicBezTo>
                <a:cubicBezTo>
                  <a:pt x="6269010" y="2990237"/>
                  <a:pt x="6261863" y="2989702"/>
                  <a:pt x="6254538" y="2989344"/>
                </a:cubicBezTo>
                <a:close/>
                <a:moveTo>
                  <a:pt x="550127" y="2980231"/>
                </a:moveTo>
                <a:cubicBezTo>
                  <a:pt x="548339" y="2981304"/>
                  <a:pt x="546554" y="2982375"/>
                  <a:pt x="544766" y="2983448"/>
                </a:cubicBezTo>
                <a:cubicBezTo>
                  <a:pt x="536012" y="2996134"/>
                  <a:pt x="528150" y="3009355"/>
                  <a:pt x="520825" y="3022934"/>
                </a:cubicBezTo>
                <a:cubicBezTo>
                  <a:pt x="522611" y="3022934"/>
                  <a:pt x="524755" y="3022934"/>
                  <a:pt x="527257" y="3022934"/>
                </a:cubicBezTo>
                <a:cubicBezTo>
                  <a:pt x="534760" y="3009891"/>
                  <a:pt x="541551" y="2996669"/>
                  <a:pt x="548698" y="2983448"/>
                </a:cubicBezTo>
                <a:cubicBezTo>
                  <a:pt x="549234" y="2982375"/>
                  <a:pt x="549590" y="2981304"/>
                  <a:pt x="550127" y="2980231"/>
                </a:cubicBezTo>
                <a:close/>
                <a:moveTo>
                  <a:pt x="373422" y="2979516"/>
                </a:moveTo>
                <a:cubicBezTo>
                  <a:pt x="372171" y="2980411"/>
                  <a:pt x="370920" y="2981482"/>
                  <a:pt x="369849" y="2982197"/>
                </a:cubicBezTo>
                <a:cubicBezTo>
                  <a:pt x="367525" y="2983626"/>
                  <a:pt x="367168" y="2987558"/>
                  <a:pt x="368420" y="2992202"/>
                </a:cubicBezTo>
                <a:cubicBezTo>
                  <a:pt x="370027" y="2987914"/>
                  <a:pt x="371635" y="2983805"/>
                  <a:pt x="373422" y="2979516"/>
                </a:cubicBezTo>
                <a:close/>
                <a:moveTo>
                  <a:pt x="6235062" y="2979338"/>
                </a:moveTo>
                <a:lnTo>
                  <a:pt x="6235242" y="2979516"/>
                </a:lnTo>
                <a:cubicBezTo>
                  <a:pt x="6234347" y="2980589"/>
                  <a:pt x="6233632" y="2981482"/>
                  <a:pt x="6232383" y="2983270"/>
                </a:cubicBezTo>
                <a:cubicBezTo>
                  <a:pt x="6235420" y="2984163"/>
                  <a:pt x="6238098" y="2985592"/>
                  <a:pt x="6240779" y="2985592"/>
                </a:cubicBezTo>
                <a:cubicBezTo>
                  <a:pt x="6251500" y="2985234"/>
                  <a:pt x="6262400" y="2988273"/>
                  <a:pt x="6272940" y="2983985"/>
                </a:cubicBezTo>
                <a:cubicBezTo>
                  <a:pt x="6273832" y="2983626"/>
                  <a:pt x="6274906" y="2983270"/>
                  <a:pt x="6275620" y="2983626"/>
                </a:cubicBezTo>
                <a:cubicBezTo>
                  <a:pt x="6283840" y="2988807"/>
                  <a:pt x="6292772" y="2986485"/>
                  <a:pt x="6300634" y="2984341"/>
                </a:cubicBezTo>
                <a:cubicBezTo>
                  <a:pt x="6302778" y="2983626"/>
                  <a:pt x="6304922" y="2983448"/>
                  <a:pt x="6306888" y="2983448"/>
                </a:cubicBezTo>
                <a:cubicBezTo>
                  <a:pt x="6288306" y="2983090"/>
                  <a:pt x="6269724" y="2982197"/>
                  <a:pt x="6251321" y="2980231"/>
                </a:cubicBezTo>
                <a:cubicBezTo>
                  <a:pt x="6245782" y="2979696"/>
                  <a:pt x="6240422" y="2979338"/>
                  <a:pt x="6235062" y="2979338"/>
                </a:cubicBezTo>
                <a:close/>
                <a:moveTo>
                  <a:pt x="383070" y="2978624"/>
                </a:moveTo>
                <a:cubicBezTo>
                  <a:pt x="382177" y="2980589"/>
                  <a:pt x="381284" y="2982555"/>
                  <a:pt x="380569" y="2984699"/>
                </a:cubicBezTo>
                <a:cubicBezTo>
                  <a:pt x="381818" y="2982733"/>
                  <a:pt x="383248" y="2980768"/>
                  <a:pt x="383248" y="2978624"/>
                </a:cubicBezTo>
                <a:cubicBezTo>
                  <a:pt x="383070" y="2978624"/>
                  <a:pt x="383070" y="2978624"/>
                  <a:pt x="383070" y="2978624"/>
                </a:cubicBezTo>
                <a:close/>
                <a:moveTo>
                  <a:pt x="341082" y="2967903"/>
                </a:moveTo>
                <a:cubicBezTo>
                  <a:pt x="332864" y="2964688"/>
                  <a:pt x="331076" y="2969691"/>
                  <a:pt x="329647" y="2975050"/>
                </a:cubicBezTo>
                <a:cubicBezTo>
                  <a:pt x="333220" y="2972906"/>
                  <a:pt x="336794" y="2970584"/>
                  <a:pt x="341082" y="2967903"/>
                </a:cubicBezTo>
                <a:close/>
                <a:moveTo>
                  <a:pt x="397541" y="2965045"/>
                </a:moveTo>
                <a:cubicBezTo>
                  <a:pt x="396827" y="2965223"/>
                  <a:pt x="396292" y="2965581"/>
                  <a:pt x="395578" y="2965581"/>
                </a:cubicBezTo>
                <a:cubicBezTo>
                  <a:pt x="395934" y="2965937"/>
                  <a:pt x="396827" y="2966832"/>
                  <a:pt x="396827" y="2966832"/>
                </a:cubicBezTo>
                <a:lnTo>
                  <a:pt x="396827" y="2967010"/>
                </a:lnTo>
                <a:cubicBezTo>
                  <a:pt x="397007" y="2966296"/>
                  <a:pt x="397363" y="2965759"/>
                  <a:pt x="397541" y="2965045"/>
                </a:cubicBezTo>
                <a:close/>
                <a:moveTo>
                  <a:pt x="239597" y="2961649"/>
                </a:moveTo>
                <a:cubicBezTo>
                  <a:pt x="234774" y="2963079"/>
                  <a:pt x="229235" y="2959864"/>
                  <a:pt x="225125" y="2965223"/>
                </a:cubicBezTo>
                <a:cubicBezTo>
                  <a:pt x="223339" y="2967547"/>
                  <a:pt x="220659" y="2969154"/>
                  <a:pt x="217978" y="2970940"/>
                </a:cubicBezTo>
                <a:cubicBezTo>
                  <a:pt x="219229" y="2971299"/>
                  <a:pt x="220300" y="2971835"/>
                  <a:pt x="221373" y="2972370"/>
                </a:cubicBezTo>
                <a:lnTo>
                  <a:pt x="219277" y="2976401"/>
                </a:lnTo>
                <a:lnTo>
                  <a:pt x="218426" y="2976578"/>
                </a:lnTo>
                <a:lnTo>
                  <a:pt x="216907" y="2975943"/>
                </a:lnTo>
                <a:cubicBezTo>
                  <a:pt x="217085" y="2974335"/>
                  <a:pt x="217442" y="2972728"/>
                  <a:pt x="217622" y="2971120"/>
                </a:cubicBezTo>
                <a:cubicBezTo>
                  <a:pt x="216549" y="2971655"/>
                  <a:pt x="215656" y="2972370"/>
                  <a:pt x="214763" y="2973084"/>
                </a:cubicBezTo>
                <a:cubicBezTo>
                  <a:pt x="213334" y="2974335"/>
                  <a:pt x="212083" y="2976123"/>
                  <a:pt x="210295" y="2978267"/>
                </a:cubicBezTo>
                <a:lnTo>
                  <a:pt x="218426" y="2976578"/>
                </a:lnTo>
                <a:lnTo>
                  <a:pt x="219049" y="2976838"/>
                </a:lnTo>
                <a:lnTo>
                  <a:pt x="219277" y="2976401"/>
                </a:lnTo>
                <a:lnTo>
                  <a:pt x="224054" y="2975408"/>
                </a:lnTo>
                <a:cubicBezTo>
                  <a:pt x="231557" y="2970940"/>
                  <a:pt x="234774" y="2971477"/>
                  <a:pt x="239955" y="2977372"/>
                </a:cubicBezTo>
                <a:lnTo>
                  <a:pt x="239955" y="2977552"/>
                </a:lnTo>
                <a:cubicBezTo>
                  <a:pt x="245673" y="2974335"/>
                  <a:pt x="251390" y="2971299"/>
                  <a:pt x="258359" y="2967725"/>
                </a:cubicBezTo>
                <a:cubicBezTo>
                  <a:pt x="255856" y="2965581"/>
                  <a:pt x="255142" y="2964508"/>
                  <a:pt x="254785" y="2964508"/>
                </a:cubicBezTo>
                <a:cubicBezTo>
                  <a:pt x="251390" y="2965403"/>
                  <a:pt x="248173" y="2966652"/>
                  <a:pt x="244958" y="2967367"/>
                </a:cubicBezTo>
                <a:cubicBezTo>
                  <a:pt x="239597" y="2968618"/>
                  <a:pt x="240492" y="2961293"/>
                  <a:pt x="239597" y="2961649"/>
                </a:cubicBezTo>
                <a:close/>
                <a:moveTo>
                  <a:pt x="351087" y="2957005"/>
                </a:moveTo>
                <a:cubicBezTo>
                  <a:pt x="348228" y="2958434"/>
                  <a:pt x="345370" y="2959864"/>
                  <a:pt x="342511" y="2961293"/>
                </a:cubicBezTo>
                <a:cubicBezTo>
                  <a:pt x="344477" y="2962544"/>
                  <a:pt x="346084" y="2963437"/>
                  <a:pt x="347514" y="2963793"/>
                </a:cubicBezTo>
                <a:cubicBezTo>
                  <a:pt x="348587" y="2961471"/>
                  <a:pt x="349838" y="2959327"/>
                  <a:pt x="351087" y="2957005"/>
                </a:cubicBezTo>
                <a:close/>
                <a:moveTo>
                  <a:pt x="429346" y="2948607"/>
                </a:moveTo>
                <a:cubicBezTo>
                  <a:pt x="426665" y="2949858"/>
                  <a:pt x="424163" y="2951287"/>
                  <a:pt x="421484" y="2952717"/>
                </a:cubicBezTo>
                <a:cubicBezTo>
                  <a:pt x="421841" y="2953610"/>
                  <a:pt x="422555" y="2955039"/>
                  <a:pt x="422555" y="2955039"/>
                </a:cubicBezTo>
                <a:lnTo>
                  <a:pt x="422734" y="2955039"/>
                </a:lnTo>
                <a:cubicBezTo>
                  <a:pt x="425414" y="2953788"/>
                  <a:pt x="428095" y="2952539"/>
                  <a:pt x="430775" y="2951287"/>
                </a:cubicBezTo>
                <a:cubicBezTo>
                  <a:pt x="430239" y="2950395"/>
                  <a:pt x="429882" y="2949500"/>
                  <a:pt x="429346" y="2948607"/>
                </a:cubicBezTo>
                <a:close/>
                <a:moveTo>
                  <a:pt x="235489" y="2948251"/>
                </a:moveTo>
                <a:cubicBezTo>
                  <a:pt x="233879" y="2949322"/>
                  <a:pt x="232272" y="2950214"/>
                  <a:pt x="230664" y="2951287"/>
                </a:cubicBezTo>
                <a:cubicBezTo>
                  <a:pt x="231021" y="2951824"/>
                  <a:pt x="231201" y="2952180"/>
                  <a:pt x="231557" y="2952717"/>
                </a:cubicBezTo>
                <a:cubicBezTo>
                  <a:pt x="233165" y="2951644"/>
                  <a:pt x="234774" y="2950751"/>
                  <a:pt x="236382" y="2949680"/>
                </a:cubicBezTo>
                <a:cubicBezTo>
                  <a:pt x="236023" y="2949143"/>
                  <a:pt x="235489" y="2948251"/>
                  <a:pt x="235489" y="2948251"/>
                </a:cubicBezTo>
                <a:close/>
                <a:moveTo>
                  <a:pt x="440959" y="2945033"/>
                </a:moveTo>
                <a:lnTo>
                  <a:pt x="437144" y="2947522"/>
                </a:lnTo>
                <a:lnTo>
                  <a:pt x="436671" y="2947536"/>
                </a:lnTo>
                <a:lnTo>
                  <a:pt x="436849" y="2947714"/>
                </a:lnTo>
                <a:lnTo>
                  <a:pt x="437144" y="2947522"/>
                </a:lnTo>
                <a:lnTo>
                  <a:pt x="442747" y="2947356"/>
                </a:lnTo>
                <a:cubicBezTo>
                  <a:pt x="442210" y="2946641"/>
                  <a:pt x="441495" y="2945926"/>
                  <a:pt x="440959" y="2945033"/>
                </a:cubicBezTo>
                <a:close/>
                <a:moveTo>
                  <a:pt x="588005" y="2944855"/>
                </a:moveTo>
                <a:cubicBezTo>
                  <a:pt x="588005" y="2944855"/>
                  <a:pt x="587290" y="2945570"/>
                  <a:pt x="587290" y="2945570"/>
                </a:cubicBezTo>
                <a:lnTo>
                  <a:pt x="588361" y="2945570"/>
                </a:lnTo>
                <a:close/>
                <a:moveTo>
                  <a:pt x="448284" y="2940567"/>
                </a:moveTo>
                <a:cubicBezTo>
                  <a:pt x="445605" y="2942175"/>
                  <a:pt x="443818" y="2943426"/>
                  <a:pt x="441674" y="2944677"/>
                </a:cubicBezTo>
                <a:cubicBezTo>
                  <a:pt x="443281" y="2944855"/>
                  <a:pt x="444710" y="2945033"/>
                  <a:pt x="446140" y="2945033"/>
                </a:cubicBezTo>
                <a:cubicBezTo>
                  <a:pt x="446855" y="2943962"/>
                  <a:pt x="447569" y="2942353"/>
                  <a:pt x="448284" y="2940567"/>
                </a:cubicBezTo>
                <a:close/>
                <a:moveTo>
                  <a:pt x="269972" y="2939853"/>
                </a:moveTo>
                <a:cubicBezTo>
                  <a:pt x="265684" y="2945570"/>
                  <a:pt x="261574" y="2951287"/>
                  <a:pt x="256929" y="2957541"/>
                </a:cubicBezTo>
                <a:cubicBezTo>
                  <a:pt x="263181" y="2959327"/>
                  <a:pt x="267828" y="2960756"/>
                  <a:pt x="272472" y="2962008"/>
                </a:cubicBezTo>
                <a:lnTo>
                  <a:pt x="272472" y="2961829"/>
                </a:lnTo>
                <a:cubicBezTo>
                  <a:pt x="264076" y="2954324"/>
                  <a:pt x="273723" y="2947536"/>
                  <a:pt x="273187" y="2941104"/>
                </a:cubicBezTo>
                <a:cubicBezTo>
                  <a:pt x="272116" y="2940745"/>
                  <a:pt x="271043" y="2940209"/>
                  <a:pt x="269972" y="2939853"/>
                </a:cubicBezTo>
                <a:close/>
                <a:moveTo>
                  <a:pt x="263540" y="2936816"/>
                </a:moveTo>
                <a:cubicBezTo>
                  <a:pt x="262110" y="2938065"/>
                  <a:pt x="260859" y="2939494"/>
                  <a:pt x="259430" y="2940745"/>
                </a:cubicBezTo>
                <a:cubicBezTo>
                  <a:pt x="260144" y="2941460"/>
                  <a:pt x="261037" y="2941997"/>
                  <a:pt x="261752" y="2942711"/>
                </a:cubicBezTo>
                <a:cubicBezTo>
                  <a:pt x="262825" y="2941282"/>
                  <a:pt x="264076" y="2939674"/>
                  <a:pt x="265147" y="2938245"/>
                </a:cubicBezTo>
                <a:cubicBezTo>
                  <a:pt x="264611" y="2937708"/>
                  <a:pt x="263540" y="2936816"/>
                  <a:pt x="263540" y="2936816"/>
                </a:cubicBezTo>
                <a:close/>
                <a:moveTo>
                  <a:pt x="368598" y="2935921"/>
                </a:moveTo>
                <a:cubicBezTo>
                  <a:pt x="368776" y="2936994"/>
                  <a:pt x="369132" y="2937887"/>
                  <a:pt x="369491" y="2938780"/>
                </a:cubicBezTo>
                <a:cubicBezTo>
                  <a:pt x="369669" y="2937887"/>
                  <a:pt x="370205" y="2936279"/>
                  <a:pt x="370205" y="2936279"/>
                </a:cubicBezTo>
                <a:cubicBezTo>
                  <a:pt x="369669" y="2936279"/>
                  <a:pt x="369132" y="2935921"/>
                  <a:pt x="368598" y="2935921"/>
                </a:cubicBezTo>
                <a:close/>
                <a:moveTo>
                  <a:pt x="292483" y="2934850"/>
                </a:moveTo>
                <a:cubicBezTo>
                  <a:pt x="284802" y="2943248"/>
                  <a:pt x="276226" y="2948070"/>
                  <a:pt x="277297" y="2959327"/>
                </a:cubicBezTo>
                <a:lnTo>
                  <a:pt x="277475" y="2959327"/>
                </a:lnTo>
                <a:cubicBezTo>
                  <a:pt x="283192" y="2957361"/>
                  <a:pt x="288195" y="2955397"/>
                  <a:pt x="292483" y="2953968"/>
                </a:cubicBezTo>
                <a:cubicBezTo>
                  <a:pt x="292483" y="2947714"/>
                  <a:pt x="292483" y="2942711"/>
                  <a:pt x="292483" y="2934850"/>
                </a:cubicBezTo>
                <a:close/>
                <a:moveTo>
                  <a:pt x="363059" y="2934313"/>
                </a:moveTo>
                <a:cubicBezTo>
                  <a:pt x="362702" y="2937530"/>
                  <a:pt x="362522" y="2939316"/>
                  <a:pt x="362344" y="2941282"/>
                </a:cubicBezTo>
                <a:cubicBezTo>
                  <a:pt x="363951" y="2939316"/>
                  <a:pt x="365739" y="2937530"/>
                  <a:pt x="367705" y="2935564"/>
                </a:cubicBezTo>
                <a:lnTo>
                  <a:pt x="367883" y="2935564"/>
                </a:lnTo>
                <a:cubicBezTo>
                  <a:pt x="366454" y="2935206"/>
                  <a:pt x="364846" y="2934672"/>
                  <a:pt x="363059" y="2934313"/>
                </a:cubicBezTo>
                <a:close/>
                <a:moveTo>
                  <a:pt x="394505" y="2932706"/>
                </a:moveTo>
                <a:cubicBezTo>
                  <a:pt x="388251" y="2936101"/>
                  <a:pt x="383070" y="2941638"/>
                  <a:pt x="376816" y="2944677"/>
                </a:cubicBezTo>
                <a:cubicBezTo>
                  <a:pt x="375030" y="2947536"/>
                  <a:pt x="372886" y="2950395"/>
                  <a:pt x="369849" y="2953073"/>
                </a:cubicBezTo>
                <a:cubicBezTo>
                  <a:pt x="372886" y="2951466"/>
                  <a:pt x="375923" y="2950214"/>
                  <a:pt x="379140" y="2949322"/>
                </a:cubicBezTo>
                <a:cubicBezTo>
                  <a:pt x="382533" y="2948429"/>
                  <a:pt x="385572" y="2946999"/>
                  <a:pt x="388429" y="2945212"/>
                </a:cubicBezTo>
                <a:lnTo>
                  <a:pt x="388609" y="2945033"/>
                </a:lnTo>
                <a:cubicBezTo>
                  <a:pt x="390575" y="2940924"/>
                  <a:pt x="392539" y="2936816"/>
                  <a:pt x="394505" y="2932706"/>
                </a:cubicBezTo>
                <a:close/>
                <a:moveTo>
                  <a:pt x="270686" y="2931991"/>
                </a:moveTo>
                <a:cubicBezTo>
                  <a:pt x="270686" y="2931991"/>
                  <a:pt x="269613" y="2934313"/>
                  <a:pt x="269972" y="2934672"/>
                </a:cubicBezTo>
                <a:lnTo>
                  <a:pt x="274645" y="2937786"/>
                </a:lnTo>
                <a:lnTo>
                  <a:pt x="274616" y="2937887"/>
                </a:lnTo>
                <a:lnTo>
                  <a:pt x="274796" y="2937887"/>
                </a:lnTo>
                <a:lnTo>
                  <a:pt x="274645" y="2937786"/>
                </a:lnTo>
                <a:lnTo>
                  <a:pt x="275867" y="2933420"/>
                </a:lnTo>
                <a:cubicBezTo>
                  <a:pt x="274082" y="2932884"/>
                  <a:pt x="272472" y="2932347"/>
                  <a:pt x="270686" y="2931991"/>
                </a:cubicBezTo>
                <a:close/>
                <a:moveTo>
                  <a:pt x="404154" y="2930025"/>
                </a:moveTo>
                <a:cubicBezTo>
                  <a:pt x="403259" y="2932169"/>
                  <a:pt x="402544" y="2934313"/>
                  <a:pt x="402010" y="2936457"/>
                </a:cubicBezTo>
                <a:cubicBezTo>
                  <a:pt x="404154" y="2934850"/>
                  <a:pt x="405403" y="2932169"/>
                  <a:pt x="407191" y="2930025"/>
                </a:cubicBezTo>
                <a:cubicBezTo>
                  <a:pt x="406118" y="2930025"/>
                  <a:pt x="405047" y="2930025"/>
                  <a:pt x="404154" y="2930025"/>
                </a:cubicBezTo>
                <a:close/>
                <a:moveTo>
                  <a:pt x="424699" y="2918590"/>
                </a:moveTo>
                <a:cubicBezTo>
                  <a:pt x="421484" y="2921093"/>
                  <a:pt x="418267" y="2923771"/>
                  <a:pt x="414516" y="2926630"/>
                </a:cubicBezTo>
                <a:cubicBezTo>
                  <a:pt x="423092" y="2930203"/>
                  <a:pt x="424699" y="2925381"/>
                  <a:pt x="424699" y="2918590"/>
                </a:cubicBezTo>
                <a:close/>
                <a:moveTo>
                  <a:pt x="6323504" y="2916446"/>
                </a:moveTo>
                <a:cubicBezTo>
                  <a:pt x="6322790" y="2916624"/>
                  <a:pt x="6321182" y="2916983"/>
                  <a:pt x="6321182" y="2916983"/>
                </a:cubicBezTo>
                <a:lnTo>
                  <a:pt x="6321182" y="2917161"/>
                </a:lnTo>
                <a:cubicBezTo>
                  <a:pt x="6321004" y="2917519"/>
                  <a:pt x="6320824" y="2918768"/>
                  <a:pt x="6320824" y="2918768"/>
                </a:cubicBezTo>
                <a:cubicBezTo>
                  <a:pt x="6321360" y="2919127"/>
                  <a:pt x="6322253" y="2919305"/>
                  <a:pt x="6322968" y="2919483"/>
                </a:cubicBezTo>
                <a:cubicBezTo>
                  <a:pt x="6323148" y="2918412"/>
                  <a:pt x="6323504" y="2917519"/>
                  <a:pt x="6323504" y="2916446"/>
                </a:cubicBezTo>
                <a:close/>
                <a:moveTo>
                  <a:pt x="528865" y="2915375"/>
                </a:moveTo>
                <a:cubicBezTo>
                  <a:pt x="529938" y="2916805"/>
                  <a:pt x="530652" y="2918054"/>
                  <a:pt x="531367" y="2918949"/>
                </a:cubicBezTo>
                <a:cubicBezTo>
                  <a:pt x="531545" y="2918234"/>
                  <a:pt x="532260" y="2916983"/>
                  <a:pt x="532260" y="2916983"/>
                </a:cubicBezTo>
                <a:cubicBezTo>
                  <a:pt x="531187" y="2916446"/>
                  <a:pt x="530116" y="2915910"/>
                  <a:pt x="528865" y="2915375"/>
                </a:cubicBezTo>
                <a:close/>
                <a:moveTo>
                  <a:pt x="6085515" y="2911265"/>
                </a:moveTo>
                <a:cubicBezTo>
                  <a:pt x="6085336" y="2911443"/>
                  <a:pt x="6085158" y="2911622"/>
                  <a:pt x="6085158" y="2911622"/>
                </a:cubicBezTo>
                <a:cubicBezTo>
                  <a:pt x="6085158" y="2911622"/>
                  <a:pt x="6085515" y="2911622"/>
                  <a:pt x="6085515" y="2911622"/>
                </a:cubicBezTo>
                <a:cubicBezTo>
                  <a:pt x="6085515" y="2911443"/>
                  <a:pt x="6085515" y="2911265"/>
                  <a:pt x="6085515" y="2911265"/>
                </a:cubicBezTo>
                <a:close/>
                <a:moveTo>
                  <a:pt x="452930" y="2905370"/>
                </a:moveTo>
                <a:cubicBezTo>
                  <a:pt x="452572" y="2905548"/>
                  <a:pt x="452216" y="2905726"/>
                  <a:pt x="451857" y="2905726"/>
                </a:cubicBezTo>
                <a:cubicBezTo>
                  <a:pt x="452037" y="2906084"/>
                  <a:pt x="452037" y="2906619"/>
                  <a:pt x="452037" y="2906619"/>
                </a:cubicBezTo>
                <a:lnTo>
                  <a:pt x="452216" y="2906619"/>
                </a:lnTo>
                <a:cubicBezTo>
                  <a:pt x="452394" y="2906262"/>
                  <a:pt x="452752" y="2905726"/>
                  <a:pt x="452930" y="2905370"/>
                </a:cubicBezTo>
                <a:close/>
                <a:moveTo>
                  <a:pt x="518144" y="2904475"/>
                </a:moveTo>
                <a:cubicBezTo>
                  <a:pt x="518144" y="2906441"/>
                  <a:pt x="517788" y="2908228"/>
                  <a:pt x="517073" y="2909836"/>
                </a:cubicBezTo>
                <a:cubicBezTo>
                  <a:pt x="518859" y="2909121"/>
                  <a:pt x="520647" y="2908407"/>
                  <a:pt x="522254" y="2907692"/>
                </a:cubicBezTo>
                <a:cubicBezTo>
                  <a:pt x="520467" y="2909299"/>
                  <a:pt x="517788" y="2910729"/>
                  <a:pt x="517430" y="2913051"/>
                </a:cubicBezTo>
                <a:lnTo>
                  <a:pt x="517608" y="2913231"/>
                </a:lnTo>
                <a:cubicBezTo>
                  <a:pt x="519396" y="2911980"/>
                  <a:pt x="521361" y="2910907"/>
                  <a:pt x="523325" y="2909658"/>
                </a:cubicBezTo>
                <a:cubicBezTo>
                  <a:pt x="523147" y="2908943"/>
                  <a:pt x="522791" y="2908407"/>
                  <a:pt x="522791" y="2907514"/>
                </a:cubicBezTo>
                <a:cubicBezTo>
                  <a:pt x="522611" y="2907692"/>
                  <a:pt x="522254" y="2907692"/>
                  <a:pt x="522254" y="2907692"/>
                </a:cubicBezTo>
                <a:cubicBezTo>
                  <a:pt x="522433" y="2907514"/>
                  <a:pt x="522611" y="2907334"/>
                  <a:pt x="522611" y="2907334"/>
                </a:cubicBezTo>
                <a:cubicBezTo>
                  <a:pt x="521181" y="2906084"/>
                  <a:pt x="519574" y="2905190"/>
                  <a:pt x="518144" y="2904475"/>
                </a:cubicBezTo>
                <a:close/>
                <a:moveTo>
                  <a:pt x="6139116" y="2904297"/>
                </a:moveTo>
                <a:cubicBezTo>
                  <a:pt x="6135186" y="2906262"/>
                  <a:pt x="6136972" y="2908943"/>
                  <a:pt x="6136972" y="2911443"/>
                </a:cubicBezTo>
                <a:cubicBezTo>
                  <a:pt x="6138760" y="2909299"/>
                  <a:pt x="6141260" y="2907334"/>
                  <a:pt x="6139116" y="2904297"/>
                </a:cubicBezTo>
                <a:close/>
                <a:moveTo>
                  <a:pt x="369491" y="2901260"/>
                </a:moveTo>
                <a:cubicBezTo>
                  <a:pt x="368598" y="2902153"/>
                  <a:pt x="367525" y="2903045"/>
                  <a:pt x="366632" y="2903940"/>
                </a:cubicBezTo>
                <a:cubicBezTo>
                  <a:pt x="362880" y="2907334"/>
                  <a:pt x="359663" y="2911443"/>
                  <a:pt x="356270" y="2915195"/>
                </a:cubicBezTo>
                <a:cubicBezTo>
                  <a:pt x="349123" y="2912873"/>
                  <a:pt x="354482" y="2908407"/>
                  <a:pt x="354661" y="2904833"/>
                </a:cubicBezTo>
                <a:cubicBezTo>
                  <a:pt x="353589" y="2904655"/>
                  <a:pt x="352695" y="2904475"/>
                  <a:pt x="351624" y="2904475"/>
                </a:cubicBezTo>
                <a:cubicBezTo>
                  <a:pt x="350731" y="2905726"/>
                  <a:pt x="349658" y="2906977"/>
                  <a:pt x="348765" y="2908228"/>
                </a:cubicBezTo>
                <a:lnTo>
                  <a:pt x="349838" y="2907692"/>
                </a:lnTo>
                <a:lnTo>
                  <a:pt x="349480" y="2909478"/>
                </a:lnTo>
                <a:lnTo>
                  <a:pt x="348409" y="2908585"/>
                </a:lnTo>
                <a:cubicBezTo>
                  <a:pt x="348228" y="2908585"/>
                  <a:pt x="348050" y="2908943"/>
                  <a:pt x="348050" y="2908943"/>
                </a:cubicBezTo>
                <a:cubicBezTo>
                  <a:pt x="343226" y="2915195"/>
                  <a:pt x="339118" y="2921093"/>
                  <a:pt x="331434" y="2924308"/>
                </a:cubicBezTo>
                <a:cubicBezTo>
                  <a:pt x="327146" y="2926095"/>
                  <a:pt x="323573" y="2929847"/>
                  <a:pt x="319641" y="2932884"/>
                </a:cubicBezTo>
                <a:cubicBezTo>
                  <a:pt x="311423" y="2934491"/>
                  <a:pt x="305884" y="2928596"/>
                  <a:pt x="301059" y="2924130"/>
                </a:cubicBezTo>
                <a:lnTo>
                  <a:pt x="299983" y="2923130"/>
                </a:lnTo>
                <a:lnTo>
                  <a:pt x="299988" y="2923057"/>
                </a:lnTo>
                <a:lnTo>
                  <a:pt x="299935" y="2923085"/>
                </a:lnTo>
                <a:lnTo>
                  <a:pt x="293556" y="2917161"/>
                </a:lnTo>
                <a:cubicBezTo>
                  <a:pt x="290519" y="2918949"/>
                  <a:pt x="287302" y="2920734"/>
                  <a:pt x="283907" y="2922700"/>
                </a:cubicBezTo>
                <a:cubicBezTo>
                  <a:pt x="286856" y="2927524"/>
                  <a:pt x="289581" y="2928104"/>
                  <a:pt x="292216" y="2927233"/>
                </a:cubicBezTo>
                <a:lnTo>
                  <a:pt x="299935" y="2923085"/>
                </a:lnTo>
                <a:lnTo>
                  <a:pt x="299983" y="2923130"/>
                </a:lnTo>
                <a:lnTo>
                  <a:pt x="298023" y="2947892"/>
                </a:lnTo>
                <a:cubicBezTo>
                  <a:pt x="312316" y="2941282"/>
                  <a:pt x="324109" y="2935921"/>
                  <a:pt x="338403" y="2929311"/>
                </a:cubicBezTo>
                <a:lnTo>
                  <a:pt x="338223" y="2929311"/>
                </a:lnTo>
                <a:cubicBezTo>
                  <a:pt x="342155" y="2931276"/>
                  <a:pt x="347157" y="2928059"/>
                  <a:pt x="353411" y="2924308"/>
                </a:cubicBezTo>
                <a:cubicBezTo>
                  <a:pt x="357519" y="2921807"/>
                  <a:pt x="361807" y="2919483"/>
                  <a:pt x="366095" y="2917161"/>
                </a:cubicBezTo>
                <a:cubicBezTo>
                  <a:pt x="367347" y="2911802"/>
                  <a:pt x="368420" y="2906441"/>
                  <a:pt x="369491" y="2901260"/>
                </a:cubicBezTo>
                <a:close/>
                <a:moveTo>
                  <a:pt x="544588" y="2894649"/>
                </a:moveTo>
                <a:cubicBezTo>
                  <a:pt x="543873" y="2895542"/>
                  <a:pt x="542980" y="2896435"/>
                  <a:pt x="542265" y="2897328"/>
                </a:cubicBezTo>
                <a:cubicBezTo>
                  <a:pt x="542622" y="2897328"/>
                  <a:pt x="542980" y="2897328"/>
                  <a:pt x="543337" y="2897328"/>
                </a:cubicBezTo>
                <a:cubicBezTo>
                  <a:pt x="543873" y="2896435"/>
                  <a:pt x="544766" y="2894828"/>
                  <a:pt x="544766" y="2894828"/>
                </a:cubicBezTo>
                <a:close/>
                <a:moveTo>
                  <a:pt x="448284" y="2890003"/>
                </a:moveTo>
                <a:cubicBezTo>
                  <a:pt x="448284" y="2891611"/>
                  <a:pt x="448284" y="2892684"/>
                  <a:pt x="448284" y="2893398"/>
                </a:cubicBezTo>
                <a:cubicBezTo>
                  <a:pt x="448464" y="2893755"/>
                  <a:pt x="448642" y="2894291"/>
                  <a:pt x="448642" y="2894649"/>
                </a:cubicBezTo>
                <a:cubicBezTo>
                  <a:pt x="449713" y="2895542"/>
                  <a:pt x="451143" y="2895899"/>
                  <a:pt x="452572" y="2896613"/>
                </a:cubicBezTo>
                <a:cubicBezTo>
                  <a:pt x="452752" y="2895542"/>
                  <a:pt x="453645" y="2894113"/>
                  <a:pt x="453287" y="2893755"/>
                </a:cubicBezTo>
                <a:cubicBezTo>
                  <a:pt x="452216" y="2892505"/>
                  <a:pt x="450786" y="2891791"/>
                  <a:pt x="448284" y="2890003"/>
                </a:cubicBezTo>
                <a:close/>
                <a:moveTo>
                  <a:pt x="448820" y="2883571"/>
                </a:moveTo>
                <a:cubicBezTo>
                  <a:pt x="447927" y="2884464"/>
                  <a:pt x="447035" y="2885359"/>
                  <a:pt x="446140" y="2886251"/>
                </a:cubicBezTo>
                <a:cubicBezTo>
                  <a:pt x="446140" y="2886430"/>
                  <a:pt x="446140" y="2886608"/>
                  <a:pt x="446140" y="2886608"/>
                </a:cubicBezTo>
                <a:cubicBezTo>
                  <a:pt x="447391" y="2886251"/>
                  <a:pt x="447927" y="2885359"/>
                  <a:pt x="448820" y="2883571"/>
                </a:cubicBezTo>
                <a:close/>
                <a:moveTo>
                  <a:pt x="6049781" y="2869455"/>
                </a:moveTo>
                <a:cubicBezTo>
                  <a:pt x="6050318" y="2869992"/>
                  <a:pt x="6050674" y="2870707"/>
                  <a:pt x="6051210" y="2871243"/>
                </a:cubicBezTo>
                <a:cubicBezTo>
                  <a:pt x="6054426" y="2872136"/>
                  <a:pt x="6058000" y="2872494"/>
                  <a:pt x="6061394" y="2872672"/>
                </a:cubicBezTo>
                <a:cubicBezTo>
                  <a:pt x="6063182" y="2872851"/>
                  <a:pt x="6064970" y="2872494"/>
                  <a:pt x="6066755" y="2871958"/>
                </a:cubicBezTo>
                <a:cubicBezTo>
                  <a:pt x="6066755" y="2871780"/>
                  <a:pt x="6066755" y="2871421"/>
                  <a:pt x="6066755" y="2871421"/>
                </a:cubicBezTo>
                <a:lnTo>
                  <a:pt x="6066933" y="2871421"/>
                </a:lnTo>
                <a:cubicBezTo>
                  <a:pt x="6061038" y="2868563"/>
                  <a:pt x="6055498" y="2868563"/>
                  <a:pt x="6049781" y="2869455"/>
                </a:cubicBezTo>
                <a:close/>
                <a:moveTo>
                  <a:pt x="530831" y="2864274"/>
                </a:moveTo>
                <a:cubicBezTo>
                  <a:pt x="530831" y="2864633"/>
                  <a:pt x="530831" y="2865167"/>
                  <a:pt x="530831" y="2865526"/>
                </a:cubicBezTo>
                <a:cubicBezTo>
                  <a:pt x="531367" y="2865167"/>
                  <a:pt x="531902" y="2864633"/>
                  <a:pt x="532438" y="2864274"/>
                </a:cubicBezTo>
                <a:cubicBezTo>
                  <a:pt x="531902" y="2864274"/>
                  <a:pt x="530831" y="2864274"/>
                  <a:pt x="530831" y="2864274"/>
                </a:cubicBezTo>
                <a:close/>
                <a:moveTo>
                  <a:pt x="365024" y="2854269"/>
                </a:moveTo>
                <a:cubicBezTo>
                  <a:pt x="364846" y="2854447"/>
                  <a:pt x="364666" y="2854627"/>
                  <a:pt x="364666" y="2854627"/>
                </a:cubicBezTo>
                <a:lnTo>
                  <a:pt x="365621" y="2854627"/>
                </a:lnTo>
                <a:lnTo>
                  <a:pt x="365917" y="2854805"/>
                </a:lnTo>
                <a:lnTo>
                  <a:pt x="365739" y="2854627"/>
                </a:lnTo>
                <a:lnTo>
                  <a:pt x="365621" y="2854627"/>
                </a:lnTo>
                <a:close/>
                <a:moveTo>
                  <a:pt x="543873" y="2853554"/>
                </a:moveTo>
                <a:cubicBezTo>
                  <a:pt x="543695" y="2853913"/>
                  <a:pt x="543517" y="2854447"/>
                  <a:pt x="543517" y="2854805"/>
                </a:cubicBezTo>
                <a:cubicBezTo>
                  <a:pt x="543695" y="2855162"/>
                  <a:pt x="544231" y="2855520"/>
                  <a:pt x="544588" y="2855520"/>
                </a:cubicBezTo>
                <a:cubicBezTo>
                  <a:pt x="544766" y="2854984"/>
                  <a:pt x="544946" y="2854627"/>
                  <a:pt x="544946" y="2854269"/>
                </a:cubicBezTo>
                <a:cubicBezTo>
                  <a:pt x="544766" y="2853913"/>
                  <a:pt x="543873" y="2853554"/>
                  <a:pt x="543873" y="2853554"/>
                </a:cubicBezTo>
                <a:close/>
                <a:moveTo>
                  <a:pt x="550842" y="2840868"/>
                </a:moveTo>
                <a:cubicBezTo>
                  <a:pt x="550663" y="2841048"/>
                  <a:pt x="550663" y="2841405"/>
                  <a:pt x="550663" y="2841583"/>
                </a:cubicBezTo>
                <a:cubicBezTo>
                  <a:pt x="550663" y="2841941"/>
                  <a:pt x="551020" y="2842298"/>
                  <a:pt x="551378" y="2842656"/>
                </a:cubicBezTo>
                <a:cubicBezTo>
                  <a:pt x="551913" y="2842298"/>
                  <a:pt x="552271" y="2842119"/>
                  <a:pt x="552627" y="2841763"/>
                </a:cubicBezTo>
                <a:cubicBezTo>
                  <a:pt x="552449" y="2841763"/>
                  <a:pt x="552271" y="2841405"/>
                  <a:pt x="552271" y="2841405"/>
                </a:cubicBezTo>
                <a:cubicBezTo>
                  <a:pt x="552093" y="2841583"/>
                  <a:pt x="551735" y="2841763"/>
                  <a:pt x="551556" y="2841763"/>
                </a:cubicBezTo>
                <a:cubicBezTo>
                  <a:pt x="551378" y="2841583"/>
                  <a:pt x="551020" y="2840868"/>
                  <a:pt x="551020" y="2840868"/>
                </a:cubicBezTo>
                <a:close/>
                <a:moveTo>
                  <a:pt x="357341" y="2836760"/>
                </a:moveTo>
                <a:lnTo>
                  <a:pt x="355258" y="2837106"/>
                </a:lnTo>
                <a:lnTo>
                  <a:pt x="355375" y="2836938"/>
                </a:lnTo>
                <a:lnTo>
                  <a:pt x="355197" y="2837117"/>
                </a:lnTo>
                <a:lnTo>
                  <a:pt x="355258" y="2837106"/>
                </a:lnTo>
                <a:lnTo>
                  <a:pt x="352517" y="2841048"/>
                </a:lnTo>
                <a:cubicBezTo>
                  <a:pt x="355555" y="2840868"/>
                  <a:pt x="358234" y="2840868"/>
                  <a:pt x="361093" y="2840868"/>
                </a:cubicBezTo>
                <a:cubicBezTo>
                  <a:pt x="360022" y="2839439"/>
                  <a:pt x="358592" y="2838009"/>
                  <a:pt x="357341" y="2836760"/>
                </a:cubicBezTo>
                <a:close/>
                <a:moveTo>
                  <a:pt x="380033" y="2833543"/>
                </a:moveTo>
                <a:cubicBezTo>
                  <a:pt x="377889" y="2834973"/>
                  <a:pt x="375566" y="2836402"/>
                  <a:pt x="373242" y="2837831"/>
                </a:cubicBezTo>
                <a:cubicBezTo>
                  <a:pt x="373601" y="2838546"/>
                  <a:pt x="374315" y="2839797"/>
                  <a:pt x="374315" y="2839797"/>
                </a:cubicBezTo>
                <a:lnTo>
                  <a:pt x="374137" y="2839975"/>
                </a:lnTo>
                <a:cubicBezTo>
                  <a:pt x="376638" y="2838904"/>
                  <a:pt x="378960" y="2837653"/>
                  <a:pt x="381462" y="2836580"/>
                </a:cubicBezTo>
                <a:cubicBezTo>
                  <a:pt x="381104" y="2835509"/>
                  <a:pt x="380569" y="2834616"/>
                  <a:pt x="380033" y="2833543"/>
                </a:cubicBezTo>
                <a:close/>
                <a:moveTo>
                  <a:pt x="5867715" y="2831043"/>
                </a:moveTo>
                <a:cubicBezTo>
                  <a:pt x="5865930" y="2832472"/>
                  <a:pt x="5864322" y="2833721"/>
                  <a:pt x="5862534" y="2835151"/>
                </a:cubicBezTo>
                <a:cubicBezTo>
                  <a:pt x="5862712" y="2835687"/>
                  <a:pt x="5862712" y="2836224"/>
                  <a:pt x="5862712" y="2836760"/>
                </a:cubicBezTo>
                <a:cubicBezTo>
                  <a:pt x="5869681" y="2835509"/>
                  <a:pt x="5876472" y="2834436"/>
                  <a:pt x="5883438" y="2833187"/>
                </a:cubicBezTo>
                <a:cubicBezTo>
                  <a:pt x="5878257" y="2832650"/>
                  <a:pt x="5872898" y="2830506"/>
                  <a:pt x="5867715" y="2831043"/>
                </a:cubicBezTo>
                <a:close/>
                <a:moveTo>
                  <a:pt x="524577" y="2829792"/>
                </a:moveTo>
                <a:cubicBezTo>
                  <a:pt x="524040" y="2830328"/>
                  <a:pt x="523684" y="2830684"/>
                  <a:pt x="523147" y="2831221"/>
                </a:cubicBezTo>
                <a:cubicBezTo>
                  <a:pt x="522969" y="2831399"/>
                  <a:pt x="522969" y="2831399"/>
                  <a:pt x="522969" y="2831399"/>
                </a:cubicBezTo>
                <a:cubicBezTo>
                  <a:pt x="521003" y="2833365"/>
                  <a:pt x="519037" y="2835331"/>
                  <a:pt x="517073" y="2837295"/>
                </a:cubicBezTo>
                <a:cubicBezTo>
                  <a:pt x="517252" y="2837295"/>
                  <a:pt x="517430" y="2837295"/>
                  <a:pt x="517430" y="2837295"/>
                </a:cubicBezTo>
                <a:cubicBezTo>
                  <a:pt x="519037" y="2835331"/>
                  <a:pt x="520825" y="2833365"/>
                  <a:pt x="522969" y="2831577"/>
                </a:cubicBezTo>
                <a:cubicBezTo>
                  <a:pt x="523325" y="2832828"/>
                  <a:pt x="523684" y="2833901"/>
                  <a:pt x="523684" y="2834973"/>
                </a:cubicBezTo>
                <a:cubicBezTo>
                  <a:pt x="525113" y="2834436"/>
                  <a:pt x="526721" y="2833901"/>
                  <a:pt x="528150" y="2833901"/>
                </a:cubicBezTo>
                <a:lnTo>
                  <a:pt x="528150" y="2833721"/>
                </a:lnTo>
                <a:cubicBezTo>
                  <a:pt x="528328" y="2833721"/>
                  <a:pt x="528508" y="2831936"/>
                  <a:pt x="528865" y="2830506"/>
                </a:cubicBezTo>
                <a:cubicBezTo>
                  <a:pt x="527435" y="2830148"/>
                  <a:pt x="526006" y="2829792"/>
                  <a:pt x="524755" y="2829792"/>
                </a:cubicBezTo>
                <a:cubicBezTo>
                  <a:pt x="524577" y="2829792"/>
                  <a:pt x="524577" y="2829792"/>
                  <a:pt x="524577" y="2829792"/>
                </a:cubicBezTo>
                <a:close/>
                <a:moveTo>
                  <a:pt x="5910596" y="2823538"/>
                </a:moveTo>
                <a:cubicBezTo>
                  <a:pt x="5905774" y="2825503"/>
                  <a:pt x="5901306" y="2827469"/>
                  <a:pt x="5896661" y="2829255"/>
                </a:cubicBezTo>
                <a:cubicBezTo>
                  <a:pt x="5896839" y="2830148"/>
                  <a:pt x="5897197" y="2830863"/>
                  <a:pt x="5897376" y="2831757"/>
                </a:cubicBezTo>
                <a:cubicBezTo>
                  <a:pt x="5908452" y="2832114"/>
                  <a:pt x="5910596" y="2830684"/>
                  <a:pt x="5910596" y="2823538"/>
                </a:cubicBezTo>
                <a:close/>
                <a:moveTo>
                  <a:pt x="5959909" y="2821215"/>
                </a:moveTo>
                <a:cubicBezTo>
                  <a:pt x="5956158" y="2823181"/>
                  <a:pt x="5951870" y="2821752"/>
                  <a:pt x="5949547" y="2827648"/>
                </a:cubicBezTo>
                <a:cubicBezTo>
                  <a:pt x="5952406" y="2827289"/>
                  <a:pt x="5955086" y="2826933"/>
                  <a:pt x="5957767" y="2826755"/>
                </a:cubicBezTo>
                <a:cubicBezTo>
                  <a:pt x="5958660" y="2825682"/>
                  <a:pt x="5959374" y="2823896"/>
                  <a:pt x="5959909" y="2821215"/>
                </a:cubicBezTo>
                <a:close/>
                <a:moveTo>
                  <a:pt x="6043170" y="2819071"/>
                </a:moveTo>
                <a:cubicBezTo>
                  <a:pt x="6043170" y="2820142"/>
                  <a:pt x="6043170" y="2821215"/>
                  <a:pt x="6042992" y="2821930"/>
                </a:cubicBezTo>
                <a:lnTo>
                  <a:pt x="6042189" y="2822149"/>
                </a:lnTo>
                <a:lnTo>
                  <a:pt x="6041561" y="2821752"/>
                </a:lnTo>
                <a:lnTo>
                  <a:pt x="6041207" y="2819151"/>
                </a:lnTo>
                <a:close/>
                <a:moveTo>
                  <a:pt x="427024" y="2814425"/>
                </a:moveTo>
                <a:cubicBezTo>
                  <a:pt x="420411" y="2821215"/>
                  <a:pt x="414694" y="2828540"/>
                  <a:pt x="409156" y="2836224"/>
                </a:cubicBezTo>
                <a:cubicBezTo>
                  <a:pt x="406832" y="2839439"/>
                  <a:pt x="403439" y="2844978"/>
                  <a:pt x="400758" y="2844978"/>
                </a:cubicBezTo>
                <a:cubicBezTo>
                  <a:pt x="396112" y="2845336"/>
                  <a:pt x="393433" y="2847122"/>
                  <a:pt x="391289" y="2849624"/>
                </a:cubicBezTo>
                <a:cubicBezTo>
                  <a:pt x="393433" y="2850159"/>
                  <a:pt x="395756" y="2850874"/>
                  <a:pt x="398078" y="2851410"/>
                </a:cubicBezTo>
                <a:cubicBezTo>
                  <a:pt x="400937" y="2846407"/>
                  <a:pt x="410586" y="2847837"/>
                  <a:pt x="412908" y="2839797"/>
                </a:cubicBezTo>
                <a:lnTo>
                  <a:pt x="413086" y="2839619"/>
                </a:lnTo>
                <a:cubicBezTo>
                  <a:pt x="414874" y="2840334"/>
                  <a:pt x="416660" y="2840868"/>
                  <a:pt x="417911" y="2841405"/>
                </a:cubicBezTo>
                <a:cubicBezTo>
                  <a:pt x="418089" y="2841226"/>
                  <a:pt x="418447" y="2841048"/>
                  <a:pt x="418447" y="2840868"/>
                </a:cubicBezTo>
                <a:cubicBezTo>
                  <a:pt x="422555" y="2834616"/>
                  <a:pt x="426309" y="2828899"/>
                  <a:pt x="430597" y="2822467"/>
                </a:cubicBezTo>
                <a:cubicBezTo>
                  <a:pt x="429702" y="2820322"/>
                  <a:pt x="428453" y="2817820"/>
                  <a:pt x="427024" y="2814425"/>
                </a:cubicBezTo>
                <a:close/>
                <a:moveTo>
                  <a:pt x="514393" y="2811746"/>
                </a:moveTo>
                <a:cubicBezTo>
                  <a:pt x="513320" y="2812461"/>
                  <a:pt x="512071" y="2813354"/>
                  <a:pt x="510819" y="2814247"/>
                </a:cubicBezTo>
                <a:cubicBezTo>
                  <a:pt x="510819" y="2813890"/>
                  <a:pt x="510819" y="2813710"/>
                  <a:pt x="510819" y="2813354"/>
                </a:cubicBezTo>
                <a:cubicBezTo>
                  <a:pt x="505102" y="2816569"/>
                  <a:pt x="500456" y="2821037"/>
                  <a:pt x="496526" y="2827289"/>
                </a:cubicBezTo>
                <a:lnTo>
                  <a:pt x="496526" y="2827469"/>
                </a:lnTo>
                <a:cubicBezTo>
                  <a:pt x="505817" y="2823896"/>
                  <a:pt x="506173" y="2823896"/>
                  <a:pt x="514393" y="2811746"/>
                </a:cubicBezTo>
                <a:close/>
                <a:moveTo>
                  <a:pt x="585503" y="2807100"/>
                </a:moveTo>
                <a:cubicBezTo>
                  <a:pt x="585146" y="2807100"/>
                  <a:pt x="584788" y="2807458"/>
                  <a:pt x="584432" y="2807636"/>
                </a:cubicBezTo>
                <a:cubicBezTo>
                  <a:pt x="584610" y="2807636"/>
                  <a:pt x="584968" y="2807636"/>
                  <a:pt x="585325" y="2807636"/>
                </a:cubicBezTo>
                <a:cubicBezTo>
                  <a:pt x="585503" y="2807636"/>
                  <a:pt x="585503" y="2807278"/>
                  <a:pt x="585503" y="2807278"/>
                </a:cubicBezTo>
                <a:close/>
                <a:moveTo>
                  <a:pt x="6009580" y="2803527"/>
                </a:moveTo>
                <a:cubicBezTo>
                  <a:pt x="6009222" y="2803885"/>
                  <a:pt x="6008688" y="2804063"/>
                  <a:pt x="6008330" y="2804419"/>
                </a:cubicBezTo>
                <a:cubicBezTo>
                  <a:pt x="6011546" y="2804241"/>
                  <a:pt x="6014762" y="2804063"/>
                  <a:pt x="6017978" y="2803885"/>
                </a:cubicBezTo>
                <a:cubicBezTo>
                  <a:pt x="6015298" y="2803527"/>
                  <a:pt x="6012439" y="2803527"/>
                  <a:pt x="6009580" y="2803527"/>
                </a:cubicBezTo>
                <a:close/>
                <a:moveTo>
                  <a:pt x="6061930" y="2800311"/>
                </a:moveTo>
                <a:cubicBezTo>
                  <a:pt x="6064252" y="2800846"/>
                  <a:pt x="6066396" y="2801382"/>
                  <a:pt x="6068721" y="2801741"/>
                </a:cubicBezTo>
                <a:cubicBezTo>
                  <a:pt x="6068362" y="2801382"/>
                  <a:pt x="6067648" y="2800846"/>
                  <a:pt x="6067648" y="2800846"/>
                </a:cubicBezTo>
                <a:cubicBezTo>
                  <a:pt x="6065682" y="2800668"/>
                  <a:pt x="6063896" y="2800311"/>
                  <a:pt x="6061930" y="2800311"/>
                </a:cubicBezTo>
                <a:close/>
                <a:moveTo>
                  <a:pt x="417018" y="2780835"/>
                </a:moveTo>
                <a:lnTo>
                  <a:pt x="417018" y="2781015"/>
                </a:lnTo>
                <a:cubicBezTo>
                  <a:pt x="417196" y="2781015"/>
                  <a:pt x="417196" y="2781015"/>
                  <a:pt x="417196" y="2781015"/>
                </a:cubicBezTo>
                <a:close/>
                <a:moveTo>
                  <a:pt x="443281" y="2780300"/>
                </a:moveTo>
                <a:cubicBezTo>
                  <a:pt x="442566" y="2780835"/>
                  <a:pt x="441674" y="2781371"/>
                  <a:pt x="440959" y="2781908"/>
                </a:cubicBezTo>
                <a:cubicBezTo>
                  <a:pt x="439888" y="2783159"/>
                  <a:pt x="438815" y="2784767"/>
                  <a:pt x="437922" y="2786196"/>
                </a:cubicBezTo>
                <a:lnTo>
                  <a:pt x="437922" y="2786374"/>
                </a:lnTo>
                <a:cubicBezTo>
                  <a:pt x="437744" y="2787089"/>
                  <a:pt x="437744" y="2787804"/>
                  <a:pt x="437922" y="2788518"/>
                </a:cubicBezTo>
                <a:cubicBezTo>
                  <a:pt x="441495" y="2788518"/>
                  <a:pt x="442210" y="2785303"/>
                  <a:pt x="443818" y="2783874"/>
                </a:cubicBezTo>
                <a:cubicBezTo>
                  <a:pt x="443996" y="2782801"/>
                  <a:pt x="443818" y="2781550"/>
                  <a:pt x="443281" y="2780300"/>
                </a:cubicBezTo>
                <a:close/>
                <a:moveTo>
                  <a:pt x="423628" y="2767614"/>
                </a:moveTo>
                <a:cubicBezTo>
                  <a:pt x="421306" y="2769222"/>
                  <a:pt x="419877" y="2771188"/>
                  <a:pt x="418982" y="2773153"/>
                </a:cubicBezTo>
                <a:cubicBezTo>
                  <a:pt x="420770" y="2774225"/>
                  <a:pt x="422199" y="2775117"/>
                  <a:pt x="423270" y="2775832"/>
                </a:cubicBezTo>
                <a:lnTo>
                  <a:pt x="423270" y="2775654"/>
                </a:lnTo>
                <a:cubicBezTo>
                  <a:pt x="423985" y="2773153"/>
                  <a:pt x="423628" y="2770295"/>
                  <a:pt x="423628" y="2767614"/>
                </a:cubicBezTo>
                <a:close/>
                <a:moveTo>
                  <a:pt x="425058" y="2765292"/>
                </a:moveTo>
                <a:cubicBezTo>
                  <a:pt x="424879" y="2765827"/>
                  <a:pt x="424521" y="2766363"/>
                  <a:pt x="424343" y="2766900"/>
                </a:cubicBezTo>
                <a:cubicBezTo>
                  <a:pt x="425414" y="2766363"/>
                  <a:pt x="426665" y="2765827"/>
                  <a:pt x="427738" y="2765470"/>
                </a:cubicBezTo>
                <a:cubicBezTo>
                  <a:pt x="426843" y="2765292"/>
                  <a:pt x="425951" y="2765292"/>
                  <a:pt x="425058" y="2765292"/>
                </a:cubicBezTo>
                <a:close/>
                <a:moveTo>
                  <a:pt x="476693" y="2760109"/>
                </a:moveTo>
                <a:cubicBezTo>
                  <a:pt x="476156" y="2762611"/>
                  <a:pt x="475442" y="2765292"/>
                  <a:pt x="474907" y="2767792"/>
                </a:cubicBezTo>
                <a:cubicBezTo>
                  <a:pt x="475264" y="2767078"/>
                  <a:pt x="476335" y="2765827"/>
                  <a:pt x="476335" y="2765827"/>
                </a:cubicBezTo>
                <a:lnTo>
                  <a:pt x="476335" y="2766007"/>
                </a:lnTo>
                <a:cubicBezTo>
                  <a:pt x="477586" y="2764397"/>
                  <a:pt x="478301" y="2762253"/>
                  <a:pt x="479015" y="2760109"/>
                </a:cubicBezTo>
                <a:cubicBezTo>
                  <a:pt x="478301" y="2760109"/>
                  <a:pt x="477408" y="2760109"/>
                  <a:pt x="476693" y="2760109"/>
                </a:cubicBezTo>
                <a:close/>
                <a:moveTo>
                  <a:pt x="470975" y="2760109"/>
                </a:moveTo>
                <a:cubicBezTo>
                  <a:pt x="468831" y="2760109"/>
                  <a:pt x="466687" y="2760289"/>
                  <a:pt x="464543" y="2760646"/>
                </a:cubicBezTo>
                <a:cubicBezTo>
                  <a:pt x="462578" y="2761004"/>
                  <a:pt x="461148" y="2761182"/>
                  <a:pt x="460077" y="2761360"/>
                </a:cubicBezTo>
                <a:cubicBezTo>
                  <a:pt x="458648" y="2763148"/>
                  <a:pt x="457755" y="2764756"/>
                  <a:pt x="457040" y="2766363"/>
                </a:cubicBezTo>
                <a:cubicBezTo>
                  <a:pt x="457218" y="2767614"/>
                  <a:pt x="457575" y="2769044"/>
                  <a:pt x="457933" y="2770829"/>
                </a:cubicBezTo>
                <a:cubicBezTo>
                  <a:pt x="457397" y="2771009"/>
                  <a:pt x="456860" y="2771188"/>
                  <a:pt x="456325" y="2771188"/>
                </a:cubicBezTo>
                <a:cubicBezTo>
                  <a:pt x="456504" y="2771724"/>
                  <a:pt x="456682" y="2772259"/>
                  <a:pt x="456682" y="2772795"/>
                </a:cubicBezTo>
                <a:cubicBezTo>
                  <a:pt x="457218" y="2772259"/>
                  <a:pt x="457575" y="2771724"/>
                  <a:pt x="458111" y="2771188"/>
                </a:cubicBezTo>
                <a:cubicBezTo>
                  <a:pt x="458111" y="2771009"/>
                  <a:pt x="458111" y="2771009"/>
                  <a:pt x="458111" y="2771009"/>
                </a:cubicBezTo>
                <a:cubicBezTo>
                  <a:pt x="458289" y="2771009"/>
                  <a:pt x="458468" y="2771009"/>
                  <a:pt x="458468" y="2771009"/>
                </a:cubicBezTo>
                <a:cubicBezTo>
                  <a:pt x="458468" y="2771009"/>
                  <a:pt x="458289" y="2771366"/>
                  <a:pt x="458289" y="2771366"/>
                </a:cubicBezTo>
                <a:cubicBezTo>
                  <a:pt x="459541" y="2771188"/>
                  <a:pt x="460792" y="2771009"/>
                  <a:pt x="462043" y="2771009"/>
                </a:cubicBezTo>
                <a:cubicBezTo>
                  <a:pt x="462758" y="2770115"/>
                  <a:pt x="463472" y="2769222"/>
                  <a:pt x="464187" y="2768329"/>
                </a:cubicBezTo>
                <a:cubicBezTo>
                  <a:pt x="466331" y="2765827"/>
                  <a:pt x="468295" y="2763148"/>
                  <a:pt x="470439" y="2760646"/>
                </a:cubicBezTo>
                <a:cubicBezTo>
                  <a:pt x="470619" y="2760646"/>
                  <a:pt x="470797" y="2760646"/>
                  <a:pt x="470975" y="2760646"/>
                </a:cubicBezTo>
                <a:cubicBezTo>
                  <a:pt x="470797" y="2760824"/>
                  <a:pt x="470619" y="2761004"/>
                  <a:pt x="470619" y="2761182"/>
                </a:cubicBezTo>
                <a:cubicBezTo>
                  <a:pt x="468653" y="2763504"/>
                  <a:pt x="466509" y="2766007"/>
                  <a:pt x="464543" y="2768507"/>
                </a:cubicBezTo>
                <a:cubicBezTo>
                  <a:pt x="463829" y="2769222"/>
                  <a:pt x="463292" y="2770115"/>
                  <a:pt x="462578" y="2770829"/>
                </a:cubicBezTo>
                <a:cubicBezTo>
                  <a:pt x="463472" y="2770651"/>
                  <a:pt x="465080" y="2770651"/>
                  <a:pt x="465080" y="2770651"/>
                </a:cubicBezTo>
                <a:lnTo>
                  <a:pt x="465080" y="2770829"/>
                </a:lnTo>
                <a:cubicBezTo>
                  <a:pt x="467046" y="2767256"/>
                  <a:pt x="469190" y="2763683"/>
                  <a:pt x="471690" y="2760467"/>
                </a:cubicBezTo>
                <a:cubicBezTo>
                  <a:pt x="471512" y="2760467"/>
                  <a:pt x="471154" y="2760467"/>
                  <a:pt x="470975" y="2760467"/>
                </a:cubicBezTo>
                <a:cubicBezTo>
                  <a:pt x="470975" y="2760289"/>
                  <a:pt x="470975" y="2760109"/>
                  <a:pt x="470975" y="2760109"/>
                </a:cubicBezTo>
                <a:close/>
                <a:moveTo>
                  <a:pt x="445605" y="2722589"/>
                </a:moveTo>
                <a:lnTo>
                  <a:pt x="445444" y="2722834"/>
                </a:lnTo>
                <a:lnTo>
                  <a:pt x="441674" y="2724375"/>
                </a:lnTo>
                <a:cubicBezTo>
                  <a:pt x="441317" y="2724912"/>
                  <a:pt x="440959" y="2725626"/>
                  <a:pt x="440601" y="2726341"/>
                </a:cubicBezTo>
                <a:cubicBezTo>
                  <a:pt x="439529" y="2728663"/>
                  <a:pt x="438278" y="2730807"/>
                  <a:pt x="436493" y="2732951"/>
                </a:cubicBezTo>
                <a:cubicBezTo>
                  <a:pt x="437564" y="2732417"/>
                  <a:pt x="438637" y="2732058"/>
                  <a:pt x="439708" y="2731522"/>
                </a:cubicBezTo>
                <a:lnTo>
                  <a:pt x="445444" y="2722834"/>
                </a:lnTo>
                <a:lnTo>
                  <a:pt x="445605" y="2722768"/>
                </a:lnTo>
                <a:close/>
                <a:moveTo>
                  <a:pt x="473298" y="2719731"/>
                </a:moveTo>
                <a:cubicBezTo>
                  <a:pt x="471154" y="2720087"/>
                  <a:pt x="469010" y="2720802"/>
                  <a:pt x="467046" y="2721696"/>
                </a:cubicBezTo>
                <a:cubicBezTo>
                  <a:pt x="461685" y="2724375"/>
                  <a:pt x="456325" y="2727234"/>
                  <a:pt x="450786" y="2729558"/>
                </a:cubicBezTo>
                <a:cubicBezTo>
                  <a:pt x="443281" y="2738134"/>
                  <a:pt x="436493" y="2747781"/>
                  <a:pt x="429168" y="2756894"/>
                </a:cubicBezTo>
                <a:cubicBezTo>
                  <a:pt x="428987" y="2757072"/>
                  <a:pt x="428809" y="2757431"/>
                  <a:pt x="428809" y="2757431"/>
                </a:cubicBezTo>
                <a:cubicBezTo>
                  <a:pt x="429702" y="2757431"/>
                  <a:pt x="430775" y="2757431"/>
                  <a:pt x="431668" y="2757431"/>
                </a:cubicBezTo>
                <a:cubicBezTo>
                  <a:pt x="430239" y="2758145"/>
                  <a:pt x="428987" y="2758860"/>
                  <a:pt x="427558" y="2759575"/>
                </a:cubicBezTo>
                <a:cubicBezTo>
                  <a:pt x="427558" y="2759394"/>
                  <a:pt x="427558" y="2759394"/>
                  <a:pt x="427558" y="2759394"/>
                </a:cubicBezTo>
                <a:cubicBezTo>
                  <a:pt x="427202" y="2759931"/>
                  <a:pt x="426843" y="2760646"/>
                  <a:pt x="426487" y="2761360"/>
                </a:cubicBezTo>
                <a:cubicBezTo>
                  <a:pt x="428095" y="2760824"/>
                  <a:pt x="429882" y="2760109"/>
                  <a:pt x="432026" y="2759394"/>
                </a:cubicBezTo>
                <a:cubicBezTo>
                  <a:pt x="432204" y="2758860"/>
                  <a:pt x="432383" y="2758145"/>
                  <a:pt x="432383" y="2757431"/>
                </a:cubicBezTo>
                <a:cubicBezTo>
                  <a:pt x="434170" y="2756358"/>
                  <a:pt x="436134" y="2755286"/>
                  <a:pt x="438278" y="2754035"/>
                </a:cubicBezTo>
                <a:cubicBezTo>
                  <a:pt x="438993" y="2755643"/>
                  <a:pt x="439529" y="2757072"/>
                  <a:pt x="440066" y="2758323"/>
                </a:cubicBezTo>
                <a:cubicBezTo>
                  <a:pt x="442030" y="2756536"/>
                  <a:pt x="443818" y="2754392"/>
                  <a:pt x="445425" y="2752428"/>
                </a:cubicBezTo>
                <a:cubicBezTo>
                  <a:pt x="444532" y="2750462"/>
                  <a:pt x="445783" y="2748496"/>
                  <a:pt x="447213" y="2746888"/>
                </a:cubicBezTo>
                <a:cubicBezTo>
                  <a:pt x="448642" y="2745281"/>
                  <a:pt x="450428" y="2744208"/>
                  <a:pt x="452394" y="2744208"/>
                </a:cubicBezTo>
                <a:cubicBezTo>
                  <a:pt x="455611" y="2740635"/>
                  <a:pt x="458648" y="2736883"/>
                  <a:pt x="461863" y="2733310"/>
                </a:cubicBezTo>
                <a:cubicBezTo>
                  <a:pt x="462758" y="2731165"/>
                  <a:pt x="464007" y="2729914"/>
                  <a:pt x="465616" y="2729200"/>
                </a:cubicBezTo>
                <a:lnTo>
                  <a:pt x="465258" y="2729200"/>
                </a:lnTo>
                <a:cubicBezTo>
                  <a:pt x="467939" y="2725985"/>
                  <a:pt x="470619" y="2722946"/>
                  <a:pt x="473298" y="2719731"/>
                </a:cubicBezTo>
                <a:close/>
                <a:moveTo>
                  <a:pt x="6158412" y="2707223"/>
                </a:moveTo>
                <a:lnTo>
                  <a:pt x="6158356" y="2707407"/>
                </a:lnTo>
                <a:lnTo>
                  <a:pt x="6154124" y="2707759"/>
                </a:lnTo>
                <a:cubicBezTo>
                  <a:pt x="6154304" y="2708652"/>
                  <a:pt x="6154482" y="2709547"/>
                  <a:pt x="6154482" y="2710440"/>
                </a:cubicBezTo>
                <a:cubicBezTo>
                  <a:pt x="6155375" y="2710886"/>
                  <a:pt x="6156357" y="2711645"/>
                  <a:pt x="6157117" y="2711511"/>
                </a:cubicBezTo>
                <a:lnTo>
                  <a:pt x="6158356" y="2707407"/>
                </a:lnTo>
                <a:lnTo>
                  <a:pt x="6158412" y="2707403"/>
                </a:lnTo>
                <a:close/>
                <a:moveTo>
                  <a:pt x="483483" y="2699183"/>
                </a:moveTo>
                <a:cubicBezTo>
                  <a:pt x="480803" y="2701864"/>
                  <a:pt x="478122" y="2704186"/>
                  <a:pt x="475442" y="2706688"/>
                </a:cubicBezTo>
                <a:cubicBezTo>
                  <a:pt x="474549" y="2707937"/>
                  <a:pt x="473120" y="2709010"/>
                  <a:pt x="471334" y="2710796"/>
                </a:cubicBezTo>
                <a:cubicBezTo>
                  <a:pt x="472227" y="2710976"/>
                  <a:pt x="473120" y="2711333"/>
                  <a:pt x="474012" y="2711869"/>
                </a:cubicBezTo>
                <a:lnTo>
                  <a:pt x="479174" y="2713470"/>
                </a:lnTo>
                <a:lnTo>
                  <a:pt x="479015" y="2713655"/>
                </a:lnTo>
                <a:lnTo>
                  <a:pt x="479195" y="2713477"/>
                </a:lnTo>
                <a:lnTo>
                  <a:pt x="479174" y="2713470"/>
                </a:lnTo>
                <a:lnTo>
                  <a:pt x="490630" y="2700076"/>
                </a:lnTo>
                <a:cubicBezTo>
                  <a:pt x="488486" y="2700791"/>
                  <a:pt x="486162" y="2700791"/>
                  <a:pt x="483483" y="2699183"/>
                </a:cubicBezTo>
                <a:close/>
                <a:moveTo>
                  <a:pt x="502780" y="2681852"/>
                </a:moveTo>
                <a:cubicBezTo>
                  <a:pt x="499741" y="2681494"/>
                  <a:pt x="497777" y="2684175"/>
                  <a:pt x="496526" y="2685782"/>
                </a:cubicBezTo>
                <a:cubicBezTo>
                  <a:pt x="495811" y="2686677"/>
                  <a:pt x="494918" y="2687570"/>
                  <a:pt x="494204" y="2688463"/>
                </a:cubicBezTo>
                <a:cubicBezTo>
                  <a:pt x="496348" y="2687392"/>
                  <a:pt x="498492" y="2686497"/>
                  <a:pt x="500636" y="2685782"/>
                </a:cubicBezTo>
                <a:cubicBezTo>
                  <a:pt x="501350" y="2684353"/>
                  <a:pt x="502065" y="2683104"/>
                  <a:pt x="502780" y="2681852"/>
                </a:cubicBezTo>
                <a:close/>
                <a:moveTo>
                  <a:pt x="476871" y="2677206"/>
                </a:moveTo>
                <a:lnTo>
                  <a:pt x="476693" y="2677386"/>
                </a:lnTo>
                <a:cubicBezTo>
                  <a:pt x="476515" y="2677386"/>
                  <a:pt x="476335" y="2677386"/>
                  <a:pt x="476335" y="2677386"/>
                </a:cubicBezTo>
                <a:cubicBezTo>
                  <a:pt x="476335" y="2677564"/>
                  <a:pt x="476335" y="2677743"/>
                  <a:pt x="476335" y="2677743"/>
                </a:cubicBezTo>
                <a:cubicBezTo>
                  <a:pt x="475085" y="2678457"/>
                  <a:pt x="473656" y="2679350"/>
                  <a:pt x="472405" y="2680065"/>
                </a:cubicBezTo>
                <a:cubicBezTo>
                  <a:pt x="471868" y="2680960"/>
                  <a:pt x="471512" y="2682209"/>
                  <a:pt x="471334" y="2683460"/>
                </a:cubicBezTo>
                <a:cubicBezTo>
                  <a:pt x="473120" y="2681316"/>
                  <a:pt x="475085" y="2679350"/>
                  <a:pt x="476871" y="2677206"/>
                </a:cubicBezTo>
                <a:close/>
                <a:moveTo>
                  <a:pt x="472048" y="2648619"/>
                </a:moveTo>
                <a:cubicBezTo>
                  <a:pt x="471868" y="2648799"/>
                  <a:pt x="471868" y="2648799"/>
                  <a:pt x="471868" y="2648799"/>
                </a:cubicBezTo>
                <a:cubicBezTo>
                  <a:pt x="467939" y="2655946"/>
                  <a:pt x="464187" y="2662912"/>
                  <a:pt x="460614" y="2670059"/>
                </a:cubicBezTo>
                <a:cubicBezTo>
                  <a:pt x="456860" y="2677386"/>
                  <a:pt x="451323" y="2682031"/>
                  <a:pt x="443281" y="2679172"/>
                </a:cubicBezTo>
                <a:cubicBezTo>
                  <a:pt x="430417" y="2674706"/>
                  <a:pt x="421306" y="2679708"/>
                  <a:pt x="413086" y="2688463"/>
                </a:cubicBezTo>
                <a:cubicBezTo>
                  <a:pt x="403439" y="2698827"/>
                  <a:pt x="393790" y="2709189"/>
                  <a:pt x="384143" y="2719731"/>
                </a:cubicBezTo>
                <a:cubicBezTo>
                  <a:pt x="377352" y="2734202"/>
                  <a:pt x="368240" y="2747781"/>
                  <a:pt x="371098" y="2764934"/>
                </a:cubicBezTo>
                <a:cubicBezTo>
                  <a:pt x="368061" y="2765292"/>
                  <a:pt x="366095" y="2765648"/>
                  <a:pt x="364310" y="2766007"/>
                </a:cubicBezTo>
                <a:lnTo>
                  <a:pt x="363773" y="2766541"/>
                </a:lnTo>
                <a:cubicBezTo>
                  <a:pt x="361451" y="2772081"/>
                  <a:pt x="359129" y="2777442"/>
                  <a:pt x="356626" y="2783337"/>
                </a:cubicBezTo>
                <a:cubicBezTo>
                  <a:pt x="357878" y="2784945"/>
                  <a:pt x="359307" y="2787089"/>
                  <a:pt x="361093" y="2789411"/>
                </a:cubicBezTo>
                <a:cubicBezTo>
                  <a:pt x="359843" y="2794057"/>
                  <a:pt x="358592" y="2798882"/>
                  <a:pt x="357163" y="2804599"/>
                </a:cubicBezTo>
                <a:cubicBezTo>
                  <a:pt x="360022" y="2807815"/>
                  <a:pt x="363059" y="2811566"/>
                  <a:pt x="366454" y="2815676"/>
                </a:cubicBezTo>
                <a:cubicBezTo>
                  <a:pt x="366454" y="2816749"/>
                  <a:pt x="366810" y="2818713"/>
                  <a:pt x="366095" y="2819964"/>
                </a:cubicBezTo>
                <a:cubicBezTo>
                  <a:pt x="365024" y="2821572"/>
                  <a:pt x="363951" y="2823359"/>
                  <a:pt x="362880" y="2824967"/>
                </a:cubicBezTo>
                <a:cubicBezTo>
                  <a:pt x="365739" y="2824252"/>
                  <a:pt x="368420" y="2823716"/>
                  <a:pt x="370562" y="2823716"/>
                </a:cubicBezTo>
                <a:cubicBezTo>
                  <a:pt x="372349" y="2823716"/>
                  <a:pt x="374137" y="2822645"/>
                  <a:pt x="375923" y="2821930"/>
                </a:cubicBezTo>
                <a:cubicBezTo>
                  <a:pt x="380389" y="2820322"/>
                  <a:pt x="384857" y="2818535"/>
                  <a:pt x="390038" y="2816749"/>
                </a:cubicBezTo>
                <a:cubicBezTo>
                  <a:pt x="388251" y="2825682"/>
                  <a:pt x="386821" y="2833543"/>
                  <a:pt x="384857" y="2841226"/>
                </a:cubicBezTo>
                <a:cubicBezTo>
                  <a:pt x="384677" y="2841941"/>
                  <a:pt x="382891" y="2842119"/>
                  <a:pt x="381640" y="2842834"/>
                </a:cubicBezTo>
                <a:cubicBezTo>
                  <a:pt x="381284" y="2843371"/>
                  <a:pt x="380926" y="2843727"/>
                  <a:pt x="380569" y="2844085"/>
                </a:cubicBezTo>
                <a:cubicBezTo>
                  <a:pt x="380389" y="2844800"/>
                  <a:pt x="380211" y="2845693"/>
                  <a:pt x="379855" y="2846766"/>
                </a:cubicBezTo>
                <a:cubicBezTo>
                  <a:pt x="382177" y="2847300"/>
                  <a:pt x="384321" y="2847837"/>
                  <a:pt x="386465" y="2848373"/>
                </a:cubicBezTo>
                <a:cubicBezTo>
                  <a:pt x="387894" y="2845871"/>
                  <a:pt x="389502" y="2843371"/>
                  <a:pt x="391109" y="2841048"/>
                </a:cubicBezTo>
                <a:cubicBezTo>
                  <a:pt x="395041" y="2835331"/>
                  <a:pt x="393612" y="2831221"/>
                  <a:pt x="390216" y="2827289"/>
                </a:cubicBezTo>
                <a:cubicBezTo>
                  <a:pt x="395756" y="2820322"/>
                  <a:pt x="401473" y="2813532"/>
                  <a:pt x="406832" y="2806385"/>
                </a:cubicBezTo>
                <a:cubicBezTo>
                  <a:pt x="412550" y="2798882"/>
                  <a:pt x="418626" y="2791377"/>
                  <a:pt x="416303" y="2781908"/>
                </a:cubicBezTo>
                <a:cubicBezTo>
                  <a:pt x="412908" y="2781015"/>
                  <a:pt x="411657" y="2783337"/>
                  <a:pt x="410586" y="2786018"/>
                </a:cubicBezTo>
                <a:cubicBezTo>
                  <a:pt x="405583" y="2788696"/>
                  <a:pt x="404332" y="2792270"/>
                  <a:pt x="406296" y="2796558"/>
                </a:cubicBezTo>
                <a:cubicBezTo>
                  <a:pt x="403081" y="2793879"/>
                  <a:pt x="399866" y="2791199"/>
                  <a:pt x="396470" y="2788340"/>
                </a:cubicBezTo>
                <a:cubicBezTo>
                  <a:pt x="401830" y="2775117"/>
                  <a:pt x="411479" y="2764934"/>
                  <a:pt x="420591" y="2755465"/>
                </a:cubicBezTo>
                <a:cubicBezTo>
                  <a:pt x="422199" y="2753857"/>
                  <a:pt x="423807" y="2752069"/>
                  <a:pt x="425414" y="2750284"/>
                </a:cubicBezTo>
                <a:cubicBezTo>
                  <a:pt x="425414" y="2749925"/>
                  <a:pt x="425414" y="2749389"/>
                  <a:pt x="425414" y="2749033"/>
                </a:cubicBezTo>
                <a:cubicBezTo>
                  <a:pt x="425594" y="2749211"/>
                  <a:pt x="425951" y="2749389"/>
                  <a:pt x="426309" y="2749389"/>
                </a:cubicBezTo>
                <a:cubicBezTo>
                  <a:pt x="430239" y="2744744"/>
                  <a:pt x="433990" y="2740098"/>
                  <a:pt x="437385" y="2735275"/>
                </a:cubicBezTo>
                <a:cubicBezTo>
                  <a:pt x="436671" y="2735275"/>
                  <a:pt x="435778" y="2735095"/>
                  <a:pt x="434885" y="2735095"/>
                </a:cubicBezTo>
                <a:cubicBezTo>
                  <a:pt x="432204" y="2737776"/>
                  <a:pt x="428987" y="2740098"/>
                  <a:pt x="424879" y="2741886"/>
                </a:cubicBezTo>
                <a:cubicBezTo>
                  <a:pt x="424343" y="2738669"/>
                  <a:pt x="424521" y="2735632"/>
                  <a:pt x="424879" y="2732951"/>
                </a:cubicBezTo>
                <a:cubicBezTo>
                  <a:pt x="421662" y="2735632"/>
                  <a:pt x="417018" y="2735454"/>
                  <a:pt x="412908" y="2736346"/>
                </a:cubicBezTo>
                <a:cubicBezTo>
                  <a:pt x="414694" y="2734024"/>
                  <a:pt x="416660" y="2732058"/>
                  <a:pt x="418982" y="2730273"/>
                </a:cubicBezTo>
                <a:cubicBezTo>
                  <a:pt x="413979" y="2728843"/>
                  <a:pt x="409335" y="2727592"/>
                  <a:pt x="404688" y="2726341"/>
                </a:cubicBezTo>
                <a:cubicBezTo>
                  <a:pt x="400400" y="2725090"/>
                  <a:pt x="398971" y="2719731"/>
                  <a:pt x="402544" y="2717228"/>
                </a:cubicBezTo>
                <a:cubicBezTo>
                  <a:pt x="406476" y="2714370"/>
                  <a:pt x="411120" y="2712406"/>
                  <a:pt x="415409" y="2710081"/>
                </a:cubicBezTo>
                <a:cubicBezTo>
                  <a:pt x="417018" y="2712225"/>
                  <a:pt x="418804" y="2714191"/>
                  <a:pt x="420411" y="2716335"/>
                </a:cubicBezTo>
                <a:cubicBezTo>
                  <a:pt x="420233" y="2715979"/>
                  <a:pt x="419877" y="2715442"/>
                  <a:pt x="419697" y="2714906"/>
                </a:cubicBezTo>
                <a:cubicBezTo>
                  <a:pt x="421484" y="2714013"/>
                  <a:pt x="423092" y="2713120"/>
                  <a:pt x="424879" y="2712225"/>
                </a:cubicBezTo>
                <a:cubicBezTo>
                  <a:pt x="425236" y="2712762"/>
                  <a:pt x="425414" y="2713477"/>
                  <a:pt x="425772" y="2714013"/>
                </a:cubicBezTo>
                <a:cubicBezTo>
                  <a:pt x="423985" y="2714728"/>
                  <a:pt x="422377" y="2715621"/>
                  <a:pt x="420591" y="2716335"/>
                </a:cubicBezTo>
                <a:cubicBezTo>
                  <a:pt x="421484" y="2717050"/>
                  <a:pt x="425594" y="2720623"/>
                  <a:pt x="428453" y="2723126"/>
                </a:cubicBezTo>
                <a:cubicBezTo>
                  <a:pt x="430060" y="2720087"/>
                  <a:pt x="432204" y="2717228"/>
                  <a:pt x="434349" y="2714728"/>
                </a:cubicBezTo>
                <a:cubicBezTo>
                  <a:pt x="435778" y="2713120"/>
                  <a:pt x="437029" y="2711154"/>
                  <a:pt x="438458" y="2709367"/>
                </a:cubicBezTo>
                <a:cubicBezTo>
                  <a:pt x="437564" y="2708832"/>
                  <a:pt x="436493" y="2708474"/>
                  <a:pt x="435600" y="2708117"/>
                </a:cubicBezTo>
                <a:cubicBezTo>
                  <a:pt x="439351" y="2701149"/>
                  <a:pt x="443461" y="2694717"/>
                  <a:pt x="453108" y="2696502"/>
                </a:cubicBezTo>
                <a:cubicBezTo>
                  <a:pt x="453645" y="2695610"/>
                  <a:pt x="454181" y="2694717"/>
                  <a:pt x="454538" y="2694002"/>
                </a:cubicBezTo>
                <a:cubicBezTo>
                  <a:pt x="456325" y="2690607"/>
                  <a:pt x="457575" y="2687033"/>
                  <a:pt x="458826" y="2683996"/>
                </a:cubicBezTo>
                <a:cubicBezTo>
                  <a:pt x="464365" y="2683282"/>
                  <a:pt x="465973" y="2686141"/>
                  <a:pt x="465258" y="2689714"/>
                </a:cubicBezTo>
                <a:cubicBezTo>
                  <a:pt x="464722" y="2692751"/>
                  <a:pt x="462578" y="2695610"/>
                  <a:pt x="460614" y="2698112"/>
                </a:cubicBezTo>
                <a:cubicBezTo>
                  <a:pt x="459897" y="2699183"/>
                  <a:pt x="459004" y="2700076"/>
                  <a:pt x="458289" y="2701149"/>
                </a:cubicBezTo>
                <a:lnTo>
                  <a:pt x="458203" y="2701494"/>
                </a:lnTo>
                <a:lnTo>
                  <a:pt x="457933" y="2701864"/>
                </a:lnTo>
                <a:lnTo>
                  <a:pt x="457933" y="2701952"/>
                </a:lnTo>
                <a:lnTo>
                  <a:pt x="457397" y="2702220"/>
                </a:lnTo>
                <a:cubicBezTo>
                  <a:pt x="455789" y="2704364"/>
                  <a:pt x="454001" y="2706330"/>
                  <a:pt x="452394" y="2708474"/>
                </a:cubicBezTo>
                <a:cubicBezTo>
                  <a:pt x="453108" y="2708474"/>
                  <a:pt x="453823" y="2708474"/>
                  <a:pt x="454538" y="2708474"/>
                </a:cubicBezTo>
                <a:cubicBezTo>
                  <a:pt x="455967" y="2706152"/>
                  <a:pt x="457218" y="2704008"/>
                  <a:pt x="458468" y="2701685"/>
                </a:cubicBezTo>
                <a:cubicBezTo>
                  <a:pt x="458468" y="2701685"/>
                  <a:pt x="457933" y="2702042"/>
                  <a:pt x="457933" y="2702042"/>
                </a:cubicBezTo>
                <a:lnTo>
                  <a:pt x="457933" y="2701952"/>
                </a:lnTo>
                <a:lnTo>
                  <a:pt x="458111" y="2701864"/>
                </a:lnTo>
                <a:lnTo>
                  <a:pt x="458203" y="2701494"/>
                </a:lnTo>
                <a:lnTo>
                  <a:pt x="470975" y="2683996"/>
                </a:lnTo>
                <a:cubicBezTo>
                  <a:pt x="471154" y="2683818"/>
                  <a:pt x="471154" y="2683638"/>
                  <a:pt x="471154" y="2683638"/>
                </a:cubicBezTo>
                <a:cubicBezTo>
                  <a:pt x="471154" y="2682745"/>
                  <a:pt x="471154" y="2681674"/>
                  <a:pt x="471154" y="2680779"/>
                </a:cubicBezTo>
                <a:cubicBezTo>
                  <a:pt x="470797" y="2680960"/>
                  <a:pt x="470439" y="2681138"/>
                  <a:pt x="470083" y="2681316"/>
                </a:cubicBezTo>
                <a:cubicBezTo>
                  <a:pt x="469904" y="2681316"/>
                  <a:pt x="469190" y="2680245"/>
                  <a:pt x="469190" y="2680245"/>
                </a:cubicBezTo>
                <a:cubicBezTo>
                  <a:pt x="469724" y="2679708"/>
                  <a:pt x="470439" y="2679350"/>
                  <a:pt x="470975" y="2678816"/>
                </a:cubicBezTo>
                <a:cubicBezTo>
                  <a:pt x="470975" y="2676671"/>
                  <a:pt x="471154" y="2674706"/>
                  <a:pt x="472048" y="2672918"/>
                </a:cubicBezTo>
                <a:cubicBezTo>
                  <a:pt x="475800" y="2665771"/>
                  <a:pt x="480981" y="2658983"/>
                  <a:pt x="485806" y="2652192"/>
                </a:cubicBezTo>
                <a:cubicBezTo>
                  <a:pt x="486162" y="2651658"/>
                  <a:pt x="486698" y="2651121"/>
                  <a:pt x="487057" y="2650585"/>
                </a:cubicBezTo>
                <a:cubicBezTo>
                  <a:pt x="483483" y="2650763"/>
                  <a:pt x="479015" y="2649870"/>
                  <a:pt x="472048" y="2648619"/>
                </a:cubicBezTo>
                <a:close/>
                <a:moveTo>
                  <a:pt x="534404" y="2627893"/>
                </a:moveTo>
                <a:cubicBezTo>
                  <a:pt x="529938" y="2632718"/>
                  <a:pt x="525291" y="2637720"/>
                  <a:pt x="520825" y="2642723"/>
                </a:cubicBezTo>
                <a:cubicBezTo>
                  <a:pt x="528807" y="2639508"/>
                  <a:pt x="533926" y="2634629"/>
                  <a:pt x="536190" y="2628073"/>
                </a:cubicBezTo>
                <a:cubicBezTo>
                  <a:pt x="535655" y="2628073"/>
                  <a:pt x="534404" y="2628073"/>
                  <a:pt x="534404" y="2628073"/>
                </a:cubicBezTo>
                <a:close/>
                <a:moveTo>
                  <a:pt x="550305" y="2578938"/>
                </a:moveTo>
                <a:cubicBezTo>
                  <a:pt x="550127" y="2579116"/>
                  <a:pt x="550127" y="2579295"/>
                  <a:pt x="550127" y="2579295"/>
                </a:cubicBezTo>
                <a:cubicBezTo>
                  <a:pt x="550305" y="2579116"/>
                  <a:pt x="550663" y="2578938"/>
                  <a:pt x="550663" y="2578938"/>
                </a:cubicBezTo>
                <a:cubicBezTo>
                  <a:pt x="550483" y="2578938"/>
                  <a:pt x="550483" y="2578938"/>
                  <a:pt x="550483" y="2578938"/>
                </a:cubicBezTo>
                <a:close/>
                <a:moveTo>
                  <a:pt x="1882294" y="2578760"/>
                </a:moveTo>
                <a:cubicBezTo>
                  <a:pt x="1881757" y="2578938"/>
                  <a:pt x="1880864" y="2579295"/>
                  <a:pt x="1880864" y="2579295"/>
                </a:cubicBezTo>
                <a:lnTo>
                  <a:pt x="1880864" y="2579116"/>
                </a:lnTo>
                <a:cubicBezTo>
                  <a:pt x="1879613" y="2580724"/>
                  <a:pt x="1878184" y="2582153"/>
                  <a:pt x="1876933" y="2583583"/>
                </a:cubicBezTo>
                <a:cubicBezTo>
                  <a:pt x="1878720" y="2581975"/>
                  <a:pt x="1880506" y="2580368"/>
                  <a:pt x="1882294" y="2578760"/>
                </a:cubicBezTo>
                <a:close/>
                <a:moveTo>
                  <a:pt x="1067913" y="2451010"/>
                </a:moveTo>
                <a:cubicBezTo>
                  <a:pt x="1067913" y="2451367"/>
                  <a:pt x="1067913" y="2451725"/>
                  <a:pt x="1067913" y="2452081"/>
                </a:cubicBezTo>
                <a:cubicBezTo>
                  <a:pt x="1068271" y="2451903"/>
                  <a:pt x="1069164" y="2451903"/>
                  <a:pt x="1069164" y="2451903"/>
                </a:cubicBezTo>
                <a:lnTo>
                  <a:pt x="1069342" y="2451903"/>
                </a:lnTo>
                <a:cubicBezTo>
                  <a:pt x="1068808" y="2451547"/>
                  <a:pt x="1068449" y="2451367"/>
                  <a:pt x="1067913" y="2451010"/>
                </a:cubicBezTo>
                <a:close/>
                <a:moveTo>
                  <a:pt x="1025569" y="2196225"/>
                </a:moveTo>
                <a:cubicBezTo>
                  <a:pt x="1020924" y="2199979"/>
                  <a:pt x="1015921" y="2203552"/>
                  <a:pt x="1011453" y="2207482"/>
                </a:cubicBezTo>
                <a:cubicBezTo>
                  <a:pt x="1014492" y="2205338"/>
                  <a:pt x="1017707" y="2203194"/>
                  <a:pt x="1020924" y="2201050"/>
                </a:cubicBezTo>
                <a:cubicBezTo>
                  <a:pt x="1020744" y="2201586"/>
                  <a:pt x="1020566" y="2202301"/>
                  <a:pt x="1020388" y="2202838"/>
                </a:cubicBezTo>
                <a:cubicBezTo>
                  <a:pt x="1022173" y="2200693"/>
                  <a:pt x="1023783" y="2198369"/>
                  <a:pt x="1025569" y="2196225"/>
                </a:cubicBezTo>
                <a:close/>
                <a:moveTo>
                  <a:pt x="6121249" y="1733470"/>
                </a:moveTo>
                <a:cubicBezTo>
                  <a:pt x="6121071" y="1733826"/>
                  <a:pt x="6120892" y="1734541"/>
                  <a:pt x="6120892" y="1734541"/>
                </a:cubicBezTo>
                <a:cubicBezTo>
                  <a:pt x="6121249" y="1734185"/>
                  <a:pt x="6121427" y="1733826"/>
                  <a:pt x="6121786" y="1733470"/>
                </a:cubicBezTo>
                <a:cubicBezTo>
                  <a:pt x="6121608" y="1733470"/>
                  <a:pt x="6121427" y="1733470"/>
                  <a:pt x="6121249" y="1733470"/>
                </a:cubicBezTo>
                <a:close/>
                <a:moveTo>
                  <a:pt x="6121071" y="1665575"/>
                </a:moveTo>
                <a:cubicBezTo>
                  <a:pt x="6113746" y="1667361"/>
                  <a:pt x="6106419" y="1668790"/>
                  <a:pt x="6099808" y="1671829"/>
                </a:cubicBezTo>
                <a:cubicBezTo>
                  <a:pt x="6102846" y="1674330"/>
                  <a:pt x="6105884" y="1677010"/>
                  <a:pt x="6108743" y="1679691"/>
                </a:cubicBezTo>
                <a:cubicBezTo>
                  <a:pt x="6111066" y="1679154"/>
                  <a:pt x="6113388" y="1678618"/>
                  <a:pt x="6115710" y="1677903"/>
                </a:cubicBezTo>
                <a:cubicBezTo>
                  <a:pt x="6124466" y="1675222"/>
                  <a:pt x="6124822" y="1675403"/>
                  <a:pt x="6121071" y="1665932"/>
                </a:cubicBezTo>
                <a:lnTo>
                  <a:pt x="6120892" y="1665932"/>
                </a:lnTo>
                <a:cubicBezTo>
                  <a:pt x="6120892" y="1665932"/>
                  <a:pt x="6121071" y="1665575"/>
                  <a:pt x="6121071" y="1665575"/>
                </a:cubicBezTo>
                <a:close/>
                <a:moveTo>
                  <a:pt x="6064789" y="1654677"/>
                </a:moveTo>
                <a:cubicBezTo>
                  <a:pt x="6064252" y="1655391"/>
                  <a:pt x="6063004" y="1656821"/>
                  <a:pt x="6063004" y="1656821"/>
                </a:cubicBezTo>
                <a:cubicBezTo>
                  <a:pt x="6064074" y="1657355"/>
                  <a:pt x="6065148" y="1657892"/>
                  <a:pt x="6066218" y="1658428"/>
                </a:cubicBezTo>
                <a:cubicBezTo>
                  <a:pt x="6065862" y="1657536"/>
                  <a:pt x="6065326" y="1656284"/>
                  <a:pt x="6064789" y="1654677"/>
                </a:cubicBezTo>
                <a:close/>
                <a:moveTo>
                  <a:pt x="6095342" y="1650389"/>
                </a:moveTo>
                <a:cubicBezTo>
                  <a:pt x="6094984" y="1650567"/>
                  <a:pt x="6094450" y="1650567"/>
                  <a:pt x="6094091" y="1650567"/>
                </a:cubicBezTo>
                <a:cubicBezTo>
                  <a:pt x="6093913" y="1650745"/>
                  <a:pt x="6093913" y="1651103"/>
                  <a:pt x="6093913" y="1651103"/>
                </a:cubicBezTo>
                <a:cubicBezTo>
                  <a:pt x="6094450" y="1650745"/>
                  <a:pt x="6094806" y="1650567"/>
                  <a:pt x="6095342" y="1650389"/>
                </a:cubicBezTo>
                <a:close/>
                <a:moveTo>
                  <a:pt x="6141618" y="1643598"/>
                </a:moveTo>
                <a:cubicBezTo>
                  <a:pt x="6135542" y="1643242"/>
                  <a:pt x="6136258" y="1649316"/>
                  <a:pt x="6133577" y="1650567"/>
                </a:cubicBezTo>
                <a:cubicBezTo>
                  <a:pt x="6132684" y="1650923"/>
                  <a:pt x="6131791" y="1651282"/>
                  <a:pt x="6130718" y="1651460"/>
                </a:cubicBezTo>
                <a:cubicBezTo>
                  <a:pt x="6130184" y="1652174"/>
                  <a:pt x="6129647" y="1653067"/>
                  <a:pt x="6128932" y="1653782"/>
                </a:cubicBezTo>
                <a:cubicBezTo>
                  <a:pt x="6125894" y="1657355"/>
                  <a:pt x="6123752" y="1661644"/>
                  <a:pt x="6121249" y="1665753"/>
                </a:cubicBezTo>
                <a:cubicBezTo>
                  <a:pt x="6121249" y="1665932"/>
                  <a:pt x="6121249" y="1665932"/>
                  <a:pt x="6121249" y="1665932"/>
                </a:cubicBezTo>
                <a:cubicBezTo>
                  <a:pt x="6132684" y="1662180"/>
                  <a:pt x="6137686" y="1653426"/>
                  <a:pt x="6141618" y="1643598"/>
                </a:cubicBezTo>
                <a:close/>
                <a:moveTo>
                  <a:pt x="6117139" y="1643062"/>
                </a:moveTo>
                <a:cubicBezTo>
                  <a:pt x="6113568" y="1640740"/>
                  <a:pt x="6112136" y="1642884"/>
                  <a:pt x="6110350" y="1644491"/>
                </a:cubicBezTo>
                <a:cubicBezTo>
                  <a:pt x="6110707" y="1644849"/>
                  <a:pt x="6111066" y="1645386"/>
                  <a:pt x="6111244" y="1645921"/>
                </a:cubicBezTo>
                <a:cubicBezTo>
                  <a:pt x="6107134" y="1648601"/>
                  <a:pt x="6103740" y="1651103"/>
                  <a:pt x="6100167" y="1653426"/>
                </a:cubicBezTo>
                <a:cubicBezTo>
                  <a:pt x="6093913" y="1657536"/>
                  <a:pt x="6087302" y="1661287"/>
                  <a:pt x="6081585" y="1665932"/>
                </a:cubicBezTo>
                <a:cubicBezTo>
                  <a:pt x="6080870" y="1666468"/>
                  <a:pt x="6080334" y="1667183"/>
                  <a:pt x="6079620" y="1667719"/>
                </a:cubicBezTo>
                <a:cubicBezTo>
                  <a:pt x="6080870" y="1668256"/>
                  <a:pt x="6082120" y="1668790"/>
                  <a:pt x="6083549" y="1668970"/>
                </a:cubicBezTo>
                <a:lnTo>
                  <a:pt x="6083371" y="1669327"/>
                </a:lnTo>
                <a:cubicBezTo>
                  <a:pt x="6087659" y="1663788"/>
                  <a:pt x="6094984" y="1661644"/>
                  <a:pt x="6100882" y="1657892"/>
                </a:cubicBezTo>
                <a:cubicBezTo>
                  <a:pt x="6102131" y="1660036"/>
                  <a:pt x="6103026" y="1661465"/>
                  <a:pt x="6103918" y="1662895"/>
                </a:cubicBezTo>
                <a:cubicBezTo>
                  <a:pt x="6106240" y="1662358"/>
                  <a:pt x="6108563" y="1661644"/>
                  <a:pt x="6111422" y="1660929"/>
                </a:cubicBezTo>
                <a:cubicBezTo>
                  <a:pt x="6112136" y="1657714"/>
                  <a:pt x="6112851" y="1654319"/>
                  <a:pt x="6113924" y="1651103"/>
                </a:cubicBezTo>
                <a:cubicBezTo>
                  <a:pt x="6114817" y="1648245"/>
                  <a:pt x="6116068" y="1645564"/>
                  <a:pt x="6117139" y="1643062"/>
                </a:cubicBezTo>
                <a:close/>
                <a:moveTo>
                  <a:pt x="6122500" y="1622158"/>
                </a:moveTo>
                <a:cubicBezTo>
                  <a:pt x="6122142" y="1622873"/>
                  <a:pt x="6121786" y="1624124"/>
                  <a:pt x="6121786" y="1624124"/>
                </a:cubicBezTo>
                <a:lnTo>
                  <a:pt x="6121786" y="1624302"/>
                </a:lnTo>
                <a:cubicBezTo>
                  <a:pt x="6125180" y="1624302"/>
                  <a:pt x="6126966" y="1623946"/>
                  <a:pt x="6128040" y="1622694"/>
                </a:cubicBezTo>
                <a:cubicBezTo>
                  <a:pt x="6126074" y="1622516"/>
                  <a:pt x="6124286" y="1622158"/>
                  <a:pt x="6122500" y="1622158"/>
                </a:cubicBezTo>
                <a:close/>
                <a:moveTo>
                  <a:pt x="6008151" y="1604649"/>
                </a:moveTo>
                <a:cubicBezTo>
                  <a:pt x="6007793" y="1605005"/>
                  <a:pt x="6007436" y="1605364"/>
                  <a:pt x="6007078" y="1605720"/>
                </a:cubicBezTo>
                <a:cubicBezTo>
                  <a:pt x="6007078" y="1605898"/>
                  <a:pt x="6007436" y="1606078"/>
                  <a:pt x="6007436" y="1606078"/>
                </a:cubicBezTo>
                <a:cubicBezTo>
                  <a:pt x="6007614" y="1605898"/>
                  <a:pt x="6007973" y="1605720"/>
                  <a:pt x="6008151" y="1605542"/>
                </a:cubicBezTo>
                <a:cubicBezTo>
                  <a:pt x="6008508" y="1605720"/>
                  <a:pt x="6009044" y="1606435"/>
                  <a:pt x="6009044" y="1606435"/>
                </a:cubicBezTo>
                <a:lnTo>
                  <a:pt x="6009222" y="1606435"/>
                </a:lnTo>
                <a:cubicBezTo>
                  <a:pt x="6009222" y="1606257"/>
                  <a:pt x="6009222" y="1605898"/>
                  <a:pt x="6009222" y="1605720"/>
                </a:cubicBezTo>
                <a:cubicBezTo>
                  <a:pt x="6009044" y="1605364"/>
                  <a:pt x="6008508" y="1605005"/>
                  <a:pt x="6008151" y="1604649"/>
                </a:cubicBezTo>
                <a:close/>
                <a:moveTo>
                  <a:pt x="6053890" y="1604469"/>
                </a:moveTo>
                <a:cubicBezTo>
                  <a:pt x="6046208" y="1600896"/>
                  <a:pt x="6041561" y="1608579"/>
                  <a:pt x="6035131" y="1609830"/>
                </a:cubicBezTo>
                <a:cubicBezTo>
                  <a:pt x="6034772" y="1610008"/>
                  <a:pt x="6034772" y="1611974"/>
                  <a:pt x="6034772" y="1613582"/>
                </a:cubicBezTo>
                <a:cubicBezTo>
                  <a:pt x="6043348" y="1614833"/>
                  <a:pt x="6049244" y="1610901"/>
                  <a:pt x="6053890" y="1604469"/>
                </a:cubicBezTo>
                <a:close/>
                <a:moveTo>
                  <a:pt x="6200400" y="1576955"/>
                </a:moveTo>
                <a:cubicBezTo>
                  <a:pt x="6197898" y="1578562"/>
                  <a:pt x="6195576" y="1580170"/>
                  <a:pt x="6193076" y="1581779"/>
                </a:cubicBezTo>
                <a:cubicBezTo>
                  <a:pt x="6193790" y="1582850"/>
                  <a:pt x="6194505" y="1583743"/>
                  <a:pt x="6195220" y="1584816"/>
                </a:cubicBezTo>
                <a:cubicBezTo>
                  <a:pt x="6197362" y="1582850"/>
                  <a:pt x="6199686" y="1580884"/>
                  <a:pt x="6201830" y="1578921"/>
                </a:cubicBezTo>
                <a:cubicBezTo>
                  <a:pt x="6201472" y="1578206"/>
                  <a:pt x="6200937" y="1577669"/>
                  <a:pt x="6200400" y="1576955"/>
                </a:cubicBezTo>
                <a:close/>
                <a:moveTo>
                  <a:pt x="6066577" y="1565520"/>
                </a:moveTo>
                <a:cubicBezTo>
                  <a:pt x="6056928" y="1570701"/>
                  <a:pt x="6047458" y="1576062"/>
                  <a:pt x="6037810" y="1581243"/>
                </a:cubicBezTo>
                <a:cubicBezTo>
                  <a:pt x="6037275" y="1583923"/>
                  <a:pt x="6035487" y="1586246"/>
                  <a:pt x="6033880" y="1588746"/>
                </a:cubicBezTo>
                <a:cubicBezTo>
                  <a:pt x="6033165" y="1589819"/>
                  <a:pt x="6033880" y="1592319"/>
                  <a:pt x="6034772" y="1593392"/>
                </a:cubicBezTo>
                <a:cubicBezTo>
                  <a:pt x="6035487" y="1591605"/>
                  <a:pt x="6036380" y="1589997"/>
                  <a:pt x="6037275" y="1588390"/>
                </a:cubicBezTo>
                <a:cubicBezTo>
                  <a:pt x="6039060" y="1588926"/>
                  <a:pt x="6041026" y="1589641"/>
                  <a:pt x="6042992" y="1590355"/>
                </a:cubicBezTo>
                <a:cubicBezTo>
                  <a:pt x="6044064" y="1588746"/>
                  <a:pt x="6044956" y="1586960"/>
                  <a:pt x="6046208" y="1584994"/>
                </a:cubicBezTo>
                <a:cubicBezTo>
                  <a:pt x="6048888" y="1586246"/>
                  <a:pt x="6051746" y="1586960"/>
                  <a:pt x="6054426" y="1587675"/>
                </a:cubicBezTo>
                <a:cubicBezTo>
                  <a:pt x="6056391" y="1585353"/>
                  <a:pt x="6058179" y="1582850"/>
                  <a:pt x="6060501" y="1579992"/>
                </a:cubicBezTo>
                <a:cubicBezTo>
                  <a:pt x="6060680" y="1584280"/>
                  <a:pt x="6059072" y="1586782"/>
                  <a:pt x="6056928" y="1588390"/>
                </a:cubicBezTo>
                <a:cubicBezTo>
                  <a:pt x="6059786" y="1589282"/>
                  <a:pt x="6062467" y="1590712"/>
                  <a:pt x="6064789" y="1593392"/>
                </a:cubicBezTo>
                <a:cubicBezTo>
                  <a:pt x="6061394" y="1596966"/>
                  <a:pt x="6058000" y="1600361"/>
                  <a:pt x="6054606" y="1603934"/>
                </a:cubicBezTo>
                <a:cubicBezTo>
                  <a:pt x="6059608" y="1603754"/>
                  <a:pt x="6064433" y="1603576"/>
                  <a:pt x="6069436" y="1603398"/>
                </a:cubicBezTo>
                <a:cubicBezTo>
                  <a:pt x="6059072" y="1608222"/>
                  <a:pt x="6049781" y="1614296"/>
                  <a:pt x="6044956" y="1625375"/>
                </a:cubicBezTo>
                <a:cubicBezTo>
                  <a:pt x="6047280" y="1628234"/>
                  <a:pt x="6049602" y="1630912"/>
                  <a:pt x="6051568" y="1633771"/>
                </a:cubicBezTo>
                <a:cubicBezTo>
                  <a:pt x="6053354" y="1631985"/>
                  <a:pt x="6055320" y="1630198"/>
                  <a:pt x="6057286" y="1628234"/>
                </a:cubicBezTo>
                <a:cubicBezTo>
                  <a:pt x="6058716" y="1633951"/>
                  <a:pt x="6057286" y="1636988"/>
                  <a:pt x="6054784" y="1638954"/>
                </a:cubicBezTo>
                <a:cubicBezTo>
                  <a:pt x="6055676" y="1640561"/>
                  <a:pt x="6056391" y="1641991"/>
                  <a:pt x="6057286" y="1643598"/>
                </a:cubicBezTo>
                <a:cubicBezTo>
                  <a:pt x="6060860" y="1641813"/>
                  <a:pt x="6063004" y="1640561"/>
                  <a:pt x="6065148" y="1636810"/>
                </a:cubicBezTo>
                <a:cubicBezTo>
                  <a:pt x="6067648" y="1632342"/>
                  <a:pt x="6072829" y="1629483"/>
                  <a:pt x="6077475" y="1625375"/>
                </a:cubicBezTo>
                <a:lnTo>
                  <a:pt x="6076939" y="1625375"/>
                </a:lnTo>
                <a:cubicBezTo>
                  <a:pt x="6074258" y="1624660"/>
                  <a:pt x="6071580" y="1623765"/>
                  <a:pt x="6068721" y="1623051"/>
                </a:cubicBezTo>
                <a:cubicBezTo>
                  <a:pt x="6072292" y="1617513"/>
                  <a:pt x="6075331" y="1612511"/>
                  <a:pt x="6079083" y="1606613"/>
                </a:cubicBezTo>
                <a:cubicBezTo>
                  <a:pt x="6085336" y="1608042"/>
                  <a:pt x="6088910" y="1605542"/>
                  <a:pt x="6091947" y="1601790"/>
                </a:cubicBezTo>
                <a:cubicBezTo>
                  <a:pt x="6091769" y="1601790"/>
                  <a:pt x="6091769" y="1601790"/>
                  <a:pt x="6091769" y="1601790"/>
                </a:cubicBezTo>
                <a:cubicBezTo>
                  <a:pt x="6084444" y="1600539"/>
                  <a:pt x="6077475" y="1600717"/>
                  <a:pt x="6070328" y="1602861"/>
                </a:cubicBezTo>
                <a:cubicBezTo>
                  <a:pt x="6071580" y="1597859"/>
                  <a:pt x="6072650" y="1592856"/>
                  <a:pt x="6073902" y="1586960"/>
                </a:cubicBezTo>
                <a:cubicBezTo>
                  <a:pt x="6071580" y="1585353"/>
                  <a:pt x="6068721" y="1584102"/>
                  <a:pt x="6067292" y="1581958"/>
                </a:cubicBezTo>
                <a:cubicBezTo>
                  <a:pt x="6065862" y="1579813"/>
                  <a:pt x="6064789" y="1575882"/>
                  <a:pt x="6065862" y="1574096"/>
                </a:cubicBezTo>
                <a:cubicBezTo>
                  <a:pt x="6067648" y="1570879"/>
                  <a:pt x="6067470" y="1568200"/>
                  <a:pt x="6066577" y="1565520"/>
                </a:cubicBezTo>
                <a:close/>
                <a:moveTo>
                  <a:pt x="6216302" y="1545687"/>
                </a:moveTo>
                <a:cubicBezTo>
                  <a:pt x="6207189" y="1545509"/>
                  <a:pt x="6203259" y="1549619"/>
                  <a:pt x="6201115" y="1557300"/>
                </a:cubicBezTo>
                <a:cubicBezTo>
                  <a:pt x="6203974" y="1558373"/>
                  <a:pt x="6206118" y="1559266"/>
                  <a:pt x="6208084" y="1559981"/>
                </a:cubicBezTo>
                <a:cubicBezTo>
                  <a:pt x="6210942" y="1554978"/>
                  <a:pt x="6213443" y="1550511"/>
                  <a:pt x="6216302" y="1545687"/>
                </a:cubicBezTo>
                <a:close/>
                <a:moveTo>
                  <a:pt x="6264900" y="1457066"/>
                </a:moveTo>
                <a:cubicBezTo>
                  <a:pt x="6237564" y="1472075"/>
                  <a:pt x="6210048" y="1487261"/>
                  <a:pt x="6182712" y="1502269"/>
                </a:cubicBezTo>
                <a:cubicBezTo>
                  <a:pt x="6176816" y="1506558"/>
                  <a:pt x="6170740" y="1510667"/>
                  <a:pt x="6164666" y="1514956"/>
                </a:cubicBezTo>
                <a:cubicBezTo>
                  <a:pt x="6154124" y="1522461"/>
                  <a:pt x="6143226" y="1529786"/>
                  <a:pt x="6132148" y="1536754"/>
                </a:cubicBezTo>
                <a:cubicBezTo>
                  <a:pt x="6129469" y="1538362"/>
                  <a:pt x="6125716" y="1539077"/>
                  <a:pt x="6122500" y="1538898"/>
                </a:cubicBezTo>
                <a:cubicBezTo>
                  <a:pt x="6119105" y="1538718"/>
                  <a:pt x="6117319" y="1538718"/>
                  <a:pt x="6115890" y="1538898"/>
                </a:cubicBezTo>
                <a:cubicBezTo>
                  <a:pt x="6115175" y="1539433"/>
                  <a:pt x="6114460" y="1539791"/>
                  <a:pt x="6113746" y="1540148"/>
                </a:cubicBezTo>
                <a:cubicBezTo>
                  <a:pt x="6112673" y="1541221"/>
                  <a:pt x="6112316" y="1543186"/>
                  <a:pt x="6111422" y="1547116"/>
                </a:cubicBezTo>
                <a:cubicBezTo>
                  <a:pt x="6111066" y="1549439"/>
                  <a:pt x="6109458" y="1551941"/>
                  <a:pt x="6107670" y="1553548"/>
                </a:cubicBezTo>
                <a:cubicBezTo>
                  <a:pt x="6106419" y="1554800"/>
                  <a:pt x="6105170" y="1556051"/>
                  <a:pt x="6103918" y="1557122"/>
                </a:cubicBezTo>
                <a:cubicBezTo>
                  <a:pt x="6108026" y="1557122"/>
                  <a:pt x="6112494" y="1557480"/>
                  <a:pt x="6115532" y="1561588"/>
                </a:cubicBezTo>
                <a:cubicBezTo>
                  <a:pt x="6111011" y="1564805"/>
                  <a:pt x="6105222" y="1565282"/>
                  <a:pt x="6098201" y="1563017"/>
                </a:cubicBezTo>
                <a:cubicBezTo>
                  <a:pt x="6098023" y="1562661"/>
                  <a:pt x="6098023" y="1562483"/>
                  <a:pt x="6098023" y="1562125"/>
                </a:cubicBezTo>
                <a:cubicBezTo>
                  <a:pt x="6096235" y="1563732"/>
                  <a:pt x="6094270" y="1565342"/>
                  <a:pt x="6092306" y="1567127"/>
                </a:cubicBezTo>
                <a:cubicBezTo>
                  <a:pt x="6091769" y="1561410"/>
                  <a:pt x="6090160" y="1557122"/>
                  <a:pt x="6091054" y="1553548"/>
                </a:cubicBezTo>
                <a:cubicBezTo>
                  <a:pt x="6091232" y="1553192"/>
                  <a:pt x="6091590" y="1552656"/>
                  <a:pt x="6091769" y="1552297"/>
                </a:cubicBezTo>
                <a:cubicBezTo>
                  <a:pt x="6087481" y="1554621"/>
                  <a:pt x="6083371" y="1556944"/>
                  <a:pt x="6079083" y="1559266"/>
                </a:cubicBezTo>
                <a:cubicBezTo>
                  <a:pt x="6081764" y="1573023"/>
                  <a:pt x="6088018" y="1583387"/>
                  <a:pt x="6097308" y="1592141"/>
                </a:cubicBezTo>
                <a:cubicBezTo>
                  <a:pt x="6097664" y="1592678"/>
                  <a:pt x="6098201" y="1593392"/>
                  <a:pt x="6098379" y="1594285"/>
                </a:cubicBezTo>
                <a:cubicBezTo>
                  <a:pt x="6099808" y="1592319"/>
                  <a:pt x="6101416" y="1590534"/>
                  <a:pt x="6103560" y="1589282"/>
                </a:cubicBezTo>
                <a:cubicBezTo>
                  <a:pt x="6107134" y="1590534"/>
                  <a:pt x="6111244" y="1591963"/>
                  <a:pt x="6116782" y="1593749"/>
                </a:cubicBezTo>
                <a:cubicBezTo>
                  <a:pt x="6117854" y="1592499"/>
                  <a:pt x="6119105" y="1591070"/>
                  <a:pt x="6120178" y="1589819"/>
                </a:cubicBezTo>
                <a:cubicBezTo>
                  <a:pt x="6118390" y="1589641"/>
                  <a:pt x="6116246" y="1589104"/>
                  <a:pt x="6113388" y="1588211"/>
                </a:cubicBezTo>
                <a:cubicBezTo>
                  <a:pt x="6114102" y="1583029"/>
                  <a:pt x="6119283" y="1582672"/>
                  <a:pt x="6122322" y="1580350"/>
                </a:cubicBezTo>
                <a:cubicBezTo>
                  <a:pt x="6122856" y="1579813"/>
                  <a:pt x="6125359" y="1581065"/>
                  <a:pt x="6126610" y="1582136"/>
                </a:cubicBezTo>
                <a:cubicBezTo>
                  <a:pt x="6128932" y="1579455"/>
                  <a:pt x="6131434" y="1576776"/>
                  <a:pt x="6133757" y="1573918"/>
                </a:cubicBezTo>
                <a:cubicBezTo>
                  <a:pt x="6134472" y="1574452"/>
                  <a:pt x="6135006" y="1574811"/>
                  <a:pt x="6135721" y="1575167"/>
                </a:cubicBezTo>
                <a:cubicBezTo>
                  <a:pt x="6135364" y="1576062"/>
                  <a:pt x="6135186" y="1576955"/>
                  <a:pt x="6134828" y="1577848"/>
                </a:cubicBezTo>
                <a:cubicBezTo>
                  <a:pt x="6134292" y="1578921"/>
                  <a:pt x="6133757" y="1579992"/>
                  <a:pt x="6132148" y="1583029"/>
                </a:cubicBezTo>
                <a:cubicBezTo>
                  <a:pt x="6140904" y="1579455"/>
                  <a:pt x="6148944" y="1576955"/>
                  <a:pt x="6148944" y="1567842"/>
                </a:cubicBezTo>
                <a:cubicBezTo>
                  <a:pt x="6148585" y="1554978"/>
                  <a:pt x="6158771" y="1550333"/>
                  <a:pt x="6165738" y="1543006"/>
                </a:cubicBezTo>
                <a:cubicBezTo>
                  <a:pt x="6166274" y="1542292"/>
                  <a:pt x="6167704" y="1542828"/>
                  <a:pt x="6168240" y="1542292"/>
                </a:cubicBezTo>
                <a:cubicBezTo>
                  <a:pt x="6178067" y="1530679"/>
                  <a:pt x="6187892" y="1519065"/>
                  <a:pt x="6197362" y="1507272"/>
                </a:cubicBezTo>
                <a:cubicBezTo>
                  <a:pt x="6200937" y="1502984"/>
                  <a:pt x="6203616" y="1497981"/>
                  <a:pt x="6206654" y="1493337"/>
                </a:cubicBezTo>
                <a:cubicBezTo>
                  <a:pt x="6214694" y="1494766"/>
                  <a:pt x="6209692" y="1500484"/>
                  <a:pt x="6210048" y="1504414"/>
                </a:cubicBezTo>
                <a:cubicBezTo>
                  <a:pt x="6215587" y="1504057"/>
                  <a:pt x="6220590" y="1503879"/>
                  <a:pt x="6225951" y="1503521"/>
                </a:cubicBezTo>
                <a:cubicBezTo>
                  <a:pt x="6229880" y="1493515"/>
                  <a:pt x="6240064" y="1490834"/>
                  <a:pt x="6247926" y="1485297"/>
                </a:cubicBezTo>
                <a:cubicBezTo>
                  <a:pt x="6249536" y="1484046"/>
                  <a:pt x="6254716" y="1487798"/>
                  <a:pt x="6261148" y="1490300"/>
                </a:cubicBezTo>
                <a:lnTo>
                  <a:pt x="6261685" y="1490300"/>
                </a:lnTo>
                <a:cubicBezTo>
                  <a:pt x="6267222" y="1485832"/>
                  <a:pt x="6275264" y="1479400"/>
                  <a:pt x="6283660" y="1472611"/>
                </a:cubicBezTo>
                <a:cubicBezTo>
                  <a:pt x="6275620" y="1463142"/>
                  <a:pt x="6271690" y="1472075"/>
                  <a:pt x="6266330" y="1474933"/>
                </a:cubicBezTo>
                <a:cubicBezTo>
                  <a:pt x="6265793" y="1469038"/>
                  <a:pt x="6265436" y="1463320"/>
                  <a:pt x="6264900" y="1457066"/>
                </a:cubicBezTo>
                <a:close/>
                <a:moveTo>
                  <a:pt x="6290628" y="1454386"/>
                </a:moveTo>
                <a:cubicBezTo>
                  <a:pt x="6290450" y="1455995"/>
                  <a:pt x="6290092" y="1457781"/>
                  <a:pt x="6290092" y="1459389"/>
                </a:cubicBezTo>
                <a:cubicBezTo>
                  <a:pt x="6291880" y="1459747"/>
                  <a:pt x="6293846" y="1460103"/>
                  <a:pt x="6295810" y="1460103"/>
                </a:cubicBezTo>
                <a:lnTo>
                  <a:pt x="6295990" y="1460103"/>
                </a:lnTo>
                <a:cubicBezTo>
                  <a:pt x="6296168" y="1460103"/>
                  <a:pt x="6296704" y="1457245"/>
                  <a:pt x="6296346" y="1457066"/>
                </a:cubicBezTo>
                <a:cubicBezTo>
                  <a:pt x="6294560" y="1455995"/>
                  <a:pt x="6292594" y="1455281"/>
                  <a:pt x="6290628" y="1454386"/>
                </a:cubicBezTo>
                <a:close/>
                <a:moveTo>
                  <a:pt x="6281338" y="1447419"/>
                </a:moveTo>
                <a:cubicBezTo>
                  <a:pt x="6277942" y="1449383"/>
                  <a:pt x="6274549" y="1451171"/>
                  <a:pt x="6271154" y="1453137"/>
                </a:cubicBezTo>
                <a:cubicBezTo>
                  <a:pt x="6271510" y="1455281"/>
                  <a:pt x="6271868" y="1457425"/>
                  <a:pt x="6272225" y="1460283"/>
                </a:cubicBezTo>
                <a:cubicBezTo>
                  <a:pt x="6275264" y="1455459"/>
                  <a:pt x="6278838" y="1451527"/>
                  <a:pt x="6281338" y="1447419"/>
                </a:cubicBezTo>
                <a:close/>
                <a:moveTo>
                  <a:pt x="6304030" y="1446704"/>
                </a:moveTo>
                <a:cubicBezTo>
                  <a:pt x="6303136" y="1448490"/>
                  <a:pt x="6302064" y="1450278"/>
                  <a:pt x="6301170" y="1452064"/>
                </a:cubicBezTo>
                <a:cubicBezTo>
                  <a:pt x="6301886" y="1452422"/>
                  <a:pt x="6303136" y="1453315"/>
                  <a:pt x="6303136" y="1453315"/>
                </a:cubicBezTo>
                <a:lnTo>
                  <a:pt x="6303136" y="1453493"/>
                </a:lnTo>
                <a:cubicBezTo>
                  <a:pt x="6304386" y="1451707"/>
                  <a:pt x="6305637" y="1450098"/>
                  <a:pt x="6306888" y="1448490"/>
                </a:cubicBezTo>
                <a:cubicBezTo>
                  <a:pt x="6305815" y="1447776"/>
                  <a:pt x="6304922" y="1447239"/>
                  <a:pt x="6304030" y="1446704"/>
                </a:cubicBezTo>
                <a:close/>
                <a:moveTo>
                  <a:pt x="6304030" y="1434911"/>
                </a:moveTo>
                <a:cubicBezTo>
                  <a:pt x="6300456" y="1436877"/>
                  <a:pt x="6296882" y="1438843"/>
                  <a:pt x="6293309" y="1440807"/>
                </a:cubicBezTo>
                <a:lnTo>
                  <a:pt x="6293309" y="1440629"/>
                </a:lnTo>
                <a:cubicBezTo>
                  <a:pt x="6292416" y="1443846"/>
                  <a:pt x="6291344" y="1447061"/>
                  <a:pt x="6292058" y="1449920"/>
                </a:cubicBezTo>
                <a:cubicBezTo>
                  <a:pt x="6293309" y="1450278"/>
                  <a:pt x="6294560" y="1450456"/>
                  <a:pt x="6295810" y="1450812"/>
                </a:cubicBezTo>
                <a:cubicBezTo>
                  <a:pt x="6298490" y="1445631"/>
                  <a:pt x="6301170" y="1440272"/>
                  <a:pt x="6304030" y="1434911"/>
                </a:cubicBezTo>
                <a:close/>
                <a:moveTo>
                  <a:pt x="6334760" y="1430801"/>
                </a:moveTo>
                <a:cubicBezTo>
                  <a:pt x="6333153" y="1432231"/>
                  <a:pt x="6331724" y="1433482"/>
                  <a:pt x="6330114" y="1434911"/>
                </a:cubicBezTo>
                <a:cubicBezTo>
                  <a:pt x="6330651" y="1435270"/>
                  <a:pt x="6331366" y="1436162"/>
                  <a:pt x="6331366" y="1436162"/>
                </a:cubicBezTo>
                <a:cubicBezTo>
                  <a:pt x="6332975" y="1434733"/>
                  <a:pt x="6334402" y="1433482"/>
                  <a:pt x="6336012" y="1432053"/>
                </a:cubicBezTo>
                <a:cubicBezTo>
                  <a:pt x="6335476" y="1431696"/>
                  <a:pt x="6335117" y="1431160"/>
                  <a:pt x="6334760" y="1430801"/>
                </a:cubicBezTo>
                <a:close/>
                <a:moveTo>
                  <a:pt x="6353342" y="1399535"/>
                </a:moveTo>
                <a:cubicBezTo>
                  <a:pt x="6350126" y="1399714"/>
                  <a:pt x="6348518" y="1399892"/>
                  <a:pt x="6346910" y="1400250"/>
                </a:cubicBezTo>
                <a:cubicBezTo>
                  <a:pt x="6342978" y="1408646"/>
                  <a:pt x="6336190" y="1416151"/>
                  <a:pt x="6326541" y="1422225"/>
                </a:cubicBezTo>
                <a:cubicBezTo>
                  <a:pt x="6331009" y="1421154"/>
                  <a:pt x="6336368" y="1422225"/>
                  <a:pt x="6339405" y="1416508"/>
                </a:cubicBezTo>
                <a:cubicBezTo>
                  <a:pt x="6341549" y="1412578"/>
                  <a:pt x="6346018" y="1409719"/>
                  <a:pt x="6349232" y="1406146"/>
                </a:cubicBezTo>
                <a:lnTo>
                  <a:pt x="6349410" y="1405968"/>
                </a:lnTo>
                <a:cubicBezTo>
                  <a:pt x="6350842" y="1404358"/>
                  <a:pt x="6351735" y="1402036"/>
                  <a:pt x="6353342" y="1399535"/>
                </a:cubicBezTo>
                <a:close/>
                <a:moveTo>
                  <a:pt x="6436246" y="1363443"/>
                </a:moveTo>
                <a:cubicBezTo>
                  <a:pt x="6425882" y="1365051"/>
                  <a:pt x="6423918" y="1366480"/>
                  <a:pt x="6426596" y="1370053"/>
                </a:cubicBezTo>
                <a:cubicBezTo>
                  <a:pt x="6429098" y="1368446"/>
                  <a:pt x="6431599" y="1366660"/>
                  <a:pt x="6436246" y="1363443"/>
                </a:cubicBezTo>
                <a:close/>
                <a:moveTo>
                  <a:pt x="6347982" y="1354867"/>
                </a:moveTo>
                <a:cubicBezTo>
                  <a:pt x="6347446" y="1355403"/>
                  <a:pt x="6346910" y="1355760"/>
                  <a:pt x="6346374" y="1356296"/>
                </a:cubicBezTo>
                <a:cubicBezTo>
                  <a:pt x="6346910" y="1357547"/>
                  <a:pt x="6347446" y="1358799"/>
                  <a:pt x="6347982" y="1360228"/>
                </a:cubicBezTo>
                <a:cubicBezTo>
                  <a:pt x="6348518" y="1358977"/>
                  <a:pt x="6348518" y="1357369"/>
                  <a:pt x="6347982" y="1354867"/>
                </a:cubicBezTo>
                <a:close/>
                <a:moveTo>
                  <a:pt x="5958124" y="1315023"/>
                </a:moveTo>
                <a:cubicBezTo>
                  <a:pt x="5956694" y="1315559"/>
                  <a:pt x="5955264" y="1316274"/>
                  <a:pt x="5953836" y="1316811"/>
                </a:cubicBezTo>
                <a:cubicBezTo>
                  <a:pt x="5952942" y="1317882"/>
                  <a:pt x="5952406" y="1318955"/>
                  <a:pt x="5951692" y="1320026"/>
                </a:cubicBezTo>
                <a:cubicBezTo>
                  <a:pt x="5953657" y="1319847"/>
                  <a:pt x="5955621" y="1319847"/>
                  <a:pt x="5957587" y="1319847"/>
                </a:cubicBezTo>
                <a:cubicBezTo>
                  <a:pt x="5957767" y="1318240"/>
                  <a:pt x="5958124" y="1316452"/>
                  <a:pt x="5958124" y="1315023"/>
                </a:cubicBezTo>
                <a:close/>
                <a:moveTo>
                  <a:pt x="5982244" y="1304483"/>
                </a:moveTo>
                <a:cubicBezTo>
                  <a:pt x="5980278" y="1305554"/>
                  <a:pt x="5978134" y="1306627"/>
                  <a:pt x="5975990" y="1307698"/>
                </a:cubicBezTo>
                <a:cubicBezTo>
                  <a:pt x="5974024" y="1308591"/>
                  <a:pt x="5972239" y="1309305"/>
                  <a:pt x="5970273" y="1310200"/>
                </a:cubicBezTo>
                <a:cubicBezTo>
                  <a:pt x="5968486" y="1314130"/>
                  <a:pt x="5965090" y="1317347"/>
                  <a:pt x="5960804" y="1320206"/>
                </a:cubicBezTo>
                <a:cubicBezTo>
                  <a:pt x="5964019" y="1320384"/>
                  <a:pt x="5967056" y="1320920"/>
                  <a:pt x="5970273" y="1321813"/>
                </a:cubicBezTo>
                <a:cubicBezTo>
                  <a:pt x="5970810" y="1321455"/>
                  <a:pt x="5971344" y="1321277"/>
                  <a:pt x="5971880" y="1320920"/>
                </a:cubicBezTo>
                <a:cubicBezTo>
                  <a:pt x="5973488" y="1319669"/>
                  <a:pt x="5975098" y="1318240"/>
                  <a:pt x="5976705" y="1316989"/>
                </a:cubicBezTo>
                <a:cubicBezTo>
                  <a:pt x="5980456" y="1313952"/>
                  <a:pt x="5982064" y="1310915"/>
                  <a:pt x="5982064" y="1305912"/>
                </a:cubicBezTo>
                <a:lnTo>
                  <a:pt x="5982244" y="1305912"/>
                </a:lnTo>
                <a:cubicBezTo>
                  <a:pt x="5982244" y="1305554"/>
                  <a:pt x="5982244" y="1305017"/>
                  <a:pt x="5982244" y="1304483"/>
                </a:cubicBezTo>
                <a:close/>
                <a:moveTo>
                  <a:pt x="5964556" y="1294834"/>
                </a:moveTo>
                <a:cubicBezTo>
                  <a:pt x="5963126" y="1296441"/>
                  <a:pt x="5961875" y="1298229"/>
                  <a:pt x="5960446" y="1299836"/>
                </a:cubicBezTo>
                <a:cubicBezTo>
                  <a:pt x="5960982" y="1300373"/>
                  <a:pt x="5961518" y="1300729"/>
                  <a:pt x="5962234" y="1301087"/>
                </a:cubicBezTo>
                <a:cubicBezTo>
                  <a:pt x="5963126" y="1298585"/>
                  <a:pt x="5963841" y="1296799"/>
                  <a:pt x="5964556" y="1294834"/>
                </a:cubicBezTo>
                <a:close/>
                <a:moveTo>
                  <a:pt x="6424810" y="1280362"/>
                </a:moveTo>
                <a:cubicBezTo>
                  <a:pt x="6423918" y="1282684"/>
                  <a:pt x="6422844" y="1285006"/>
                  <a:pt x="6421774" y="1287330"/>
                </a:cubicBezTo>
                <a:cubicBezTo>
                  <a:pt x="6422488" y="1287687"/>
                  <a:pt x="6424096" y="1288580"/>
                  <a:pt x="6424096" y="1288580"/>
                </a:cubicBezTo>
                <a:cubicBezTo>
                  <a:pt x="6425347" y="1286616"/>
                  <a:pt x="6426776" y="1284472"/>
                  <a:pt x="6428206" y="1282506"/>
                </a:cubicBezTo>
                <a:cubicBezTo>
                  <a:pt x="6427133" y="1281791"/>
                  <a:pt x="6425882" y="1281076"/>
                  <a:pt x="6424810" y="1280362"/>
                </a:cubicBezTo>
                <a:close/>
                <a:moveTo>
                  <a:pt x="6436602" y="1266068"/>
                </a:moveTo>
                <a:cubicBezTo>
                  <a:pt x="6435531" y="1266246"/>
                  <a:pt x="6434458" y="1266246"/>
                  <a:pt x="6433386" y="1266246"/>
                </a:cubicBezTo>
                <a:lnTo>
                  <a:pt x="6433565" y="1266246"/>
                </a:lnTo>
                <a:cubicBezTo>
                  <a:pt x="6430350" y="1272440"/>
                  <a:pt x="6431654" y="1276252"/>
                  <a:pt x="6437496" y="1277681"/>
                </a:cubicBezTo>
                <a:cubicBezTo>
                  <a:pt x="6437138" y="1273571"/>
                  <a:pt x="6436960" y="1269820"/>
                  <a:pt x="6436602" y="1266068"/>
                </a:cubicBezTo>
                <a:close/>
                <a:moveTo>
                  <a:pt x="6468584" y="1263566"/>
                </a:moveTo>
                <a:cubicBezTo>
                  <a:pt x="6466618" y="1263924"/>
                  <a:pt x="6464474" y="1263566"/>
                  <a:pt x="6462867" y="1264460"/>
                </a:cubicBezTo>
                <a:lnTo>
                  <a:pt x="6462694" y="1268594"/>
                </a:lnTo>
                <a:lnTo>
                  <a:pt x="6462510" y="1268569"/>
                </a:lnTo>
                <a:lnTo>
                  <a:pt x="6462688" y="1268749"/>
                </a:lnTo>
                <a:lnTo>
                  <a:pt x="6462694" y="1268594"/>
                </a:lnTo>
                <a:lnTo>
                  <a:pt x="6468942" y="1269463"/>
                </a:lnTo>
                <a:cubicBezTo>
                  <a:pt x="6468762" y="1266783"/>
                  <a:pt x="6468584" y="1265175"/>
                  <a:pt x="6468584" y="1263566"/>
                </a:cubicBezTo>
                <a:close/>
                <a:moveTo>
                  <a:pt x="6014427" y="1261199"/>
                </a:moveTo>
                <a:cubicBezTo>
                  <a:pt x="6011278" y="1261646"/>
                  <a:pt x="6008420" y="1263299"/>
                  <a:pt x="6006007" y="1267139"/>
                </a:cubicBezTo>
                <a:cubicBezTo>
                  <a:pt x="6004934" y="1268749"/>
                  <a:pt x="6001360" y="1268390"/>
                  <a:pt x="5999575" y="1269642"/>
                </a:cubicBezTo>
                <a:cubicBezTo>
                  <a:pt x="5997252" y="1271071"/>
                  <a:pt x="5995643" y="1273393"/>
                  <a:pt x="5993680" y="1275359"/>
                </a:cubicBezTo>
                <a:cubicBezTo>
                  <a:pt x="5991714" y="1273930"/>
                  <a:pt x="5989748" y="1272500"/>
                  <a:pt x="5987960" y="1271071"/>
                </a:cubicBezTo>
                <a:cubicBezTo>
                  <a:pt x="5985818" y="1272857"/>
                  <a:pt x="5983852" y="1274644"/>
                  <a:pt x="5981708" y="1276430"/>
                </a:cubicBezTo>
                <a:cubicBezTo>
                  <a:pt x="5981350" y="1276074"/>
                  <a:pt x="5980993" y="1275715"/>
                  <a:pt x="5980635" y="1275359"/>
                </a:cubicBezTo>
                <a:cubicBezTo>
                  <a:pt x="5975812" y="1281255"/>
                  <a:pt x="5970988" y="1287150"/>
                  <a:pt x="5966163" y="1292868"/>
                </a:cubicBezTo>
                <a:cubicBezTo>
                  <a:pt x="5968129" y="1293763"/>
                  <a:pt x="5969914" y="1294655"/>
                  <a:pt x="5971880" y="1295548"/>
                </a:cubicBezTo>
                <a:cubicBezTo>
                  <a:pt x="5972595" y="1295012"/>
                  <a:pt x="5973132" y="1294655"/>
                  <a:pt x="5973846" y="1294119"/>
                </a:cubicBezTo>
                <a:cubicBezTo>
                  <a:pt x="5973488" y="1294834"/>
                  <a:pt x="5973132" y="1295370"/>
                  <a:pt x="5972774" y="1296085"/>
                </a:cubicBezTo>
                <a:cubicBezTo>
                  <a:pt x="5972774" y="1298585"/>
                  <a:pt x="5972595" y="1301087"/>
                  <a:pt x="5972239" y="1303410"/>
                </a:cubicBezTo>
                <a:lnTo>
                  <a:pt x="5972774" y="1303768"/>
                </a:lnTo>
                <a:cubicBezTo>
                  <a:pt x="5977420" y="1300373"/>
                  <a:pt x="5982064" y="1296978"/>
                  <a:pt x="5986889" y="1293941"/>
                </a:cubicBezTo>
                <a:cubicBezTo>
                  <a:pt x="5988140" y="1292333"/>
                  <a:pt x="5989748" y="1290904"/>
                  <a:pt x="5991714" y="1289474"/>
                </a:cubicBezTo>
                <a:cubicBezTo>
                  <a:pt x="5991714" y="1289831"/>
                  <a:pt x="5991714" y="1290367"/>
                  <a:pt x="5991714" y="1290724"/>
                </a:cubicBezTo>
                <a:cubicBezTo>
                  <a:pt x="5997072" y="1287330"/>
                  <a:pt x="6002612" y="1284113"/>
                  <a:pt x="6008330" y="1281255"/>
                </a:cubicBezTo>
                <a:cubicBezTo>
                  <a:pt x="6014584" y="1278040"/>
                  <a:pt x="6020837" y="1273930"/>
                  <a:pt x="6023160" y="1266424"/>
                </a:cubicBezTo>
                <a:cubicBezTo>
                  <a:pt x="6022981" y="1266424"/>
                  <a:pt x="6022623" y="1266424"/>
                  <a:pt x="6022623" y="1266424"/>
                </a:cubicBezTo>
                <a:cubicBezTo>
                  <a:pt x="6022801" y="1266246"/>
                  <a:pt x="6022981" y="1266068"/>
                  <a:pt x="6023160" y="1265890"/>
                </a:cubicBezTo>
                <a:cubicBezTo>
                  <a:pt x="6023160" y="1265890"/>
                  <a:pt x="6023160" y="1266246"/>
                  <a:pt x="6023160" y="1266246"/>
                </a:cubicBezTo>
                <a:cubicBezTo>
                  <a:pt x="6023694" y="1264995"/>
                  <a:pt x="6024052" y="1263746"/>
                  <a:pt x="6024589" y="1262495"/>
                </a:cubicBezTo>
                <a:cubicBezTo>
                  <a:pt x="6021015" y="1261512"/>
                  <a:pt x="6017576" y="1260753"/>
                  <a:pt x="6014427" y="1261199"/>
                </a:cubicBezTo>
                <a:close/>
                <a:moveTo>
                  <a:pt x="6030662" y="1257848"/>
                </a:moveTo>
                <a:cubicBezTo>
                  <a:pt x="6028877" y="1258921"/>
                  <a:pt x="6027270" y="1259992"/>
                  <a:pt x="6025660" y="1261244"/>
                </a:cubicBezTo>
                <a:cubicBezTo>
                  <a:pt x="6027626" y="1261602"/>
                  <a:pt x="6029592" y="1261958"/>
                  <a:pt x="6031558" y="1261958"/>
                </a:cubicBezTo>
                <a:cubicBezTo>
                  <a:pt x="6032092" y="1261958"/>
                  <a:pt x="6032628" y="1260173"/>
                  <a:pt x="6033165" y="1259278"/>
                </a:cubicBezTo>
                <a:cubicBezTo>
                  <a:pt x="6032272" y="1258743"/>
                  <a:pt x="6030662" y="1258028"/>
                  <a:pt x="6030662" y="1258028"/>
                </a:cubicBezTo>
                <a:close/>
                <a:moveTo>
                  <a:pt x="6475911" y="1241591"/>
                </a:moveTo>
                <a:cubicBezTo>
                  <a:pt x="6475016" y="1240876"/>
                  <a:pt x="6472158" y="1241232"/>
                  <a:pt x="6471622" y="1242125"/>
                </a:cubicBezTo>
                <a:cubicBezTo>
                  <a:pt x="6469836" y="1244806"/>
                  <a:pt x="6468762" y="1247843"/>
                  <a:pt x="6467514" y="1250882"/>
                </a:cubicBezTo>
                <a:cubicBezTo>
                  <a:pt x="6468584" y="1251775"/>
                  <a:pt x="6469477" y="1252489"/>
                  <a:pt x="6470550" y="1253382"/>
                </a:cubicBezTo>
                <a:cubicBezTo>
                  <a:pt x="6472872" y="1250882"/>
                  <a:pt x="6475553" y="1248558"/>
                  <a:pt x="6477519" y="1245699"/>
                </a:cubicBezTo>
                <a:cubicBezTo>
                  <a:pt x="6478054" y="1244984"/>
                  <a:pt x="6476982" y="1242305"/>
                  <a:pt x="6475911" y="1241591"/>
                </a:cubicBezTo>
                <a:close/>
                <a:moveTo>
                  <a:pt x="6106777" y="1225868"/>
                </a:moveTo>
                <a:cubicBezTo>
                  <a:pt x="6106062" y="1226402"/>
                  <a:pt x="6105348" y="1226939"/>
                  <a:pt x="6104633" y="1227475"/>
                </a:cubicBezTo>
                <a:cubicBezTo>
                  <a:pt x="6105170" y="1227297"/>
                  <a:pt x="6105704" y="1227475"/>
                  <a:pt x="6106062" y="1227297"/>
                </a:cubicBezTo>
                <a:cubicBezTo>
                  <a:pt x="6106419" y="1227117"/>
                  <a:pt x="6106777" y="1226046"/>
                  <a:pt x="6106777" y="1226046"/>
                </a:cubicBezTo>
                <a:close/>
                <a:moveTo>
                  <a:pt x="6170026" y="1223009"/>
                </a:moveTo>
                <a:cubicBezTo>
                  <a:pt x="6169669" y="1223009"/>
                  <a:pt x="6169491" y="1223724"/>
                  <a:pt x="6169132" y="1224080"/>
                </a:cubicBezTo>
                <a:cubicBezTo>
                  <a:pt x="6169848" y="1224438"/>
                  <a:pt x="6170562" y="1224795"/>
                  <a:pt x="6171277" y="1225153"/>
                </a:cubicBezTo>
                <a:cubicBezTo>
                  <a:pt x="6171277" y="1224617"/>
                  <a:pt x="6171277" y="1224258"/>
                  <a:pt x="6171277" y="1223724"/>
                </a:cubicBezTo>
                <a:cubicBezTo>
                  <a:pt x="6170920" y="1223544"/>
                  <a:pt x="6170026" y="1223009"/>
                  <a:pt x="6170026" y="1223009"/>
                </a:cubicBezTo>
                <a:close/>
                <a:moveTo>
                  <a:pt x="6086588" y="1217826"/>
                </a:moveTo>
                <a:cubicBezTo>
                  <a:pt x="6085693" y="1218363"/>
                  <a:pt x="6084622" y="1218899"/>
                  <a:pt x="6083371" y="1219614"/>
                </a:cubicBezTo>
                <a:cubicBezTo>
                  <a:pt x="6083908" y="1219970"/>
                  <a:pt x="6084444" y="1220329"/>
                  <a:pt x="6084978" y="1220685"/>
                </a:cubicBezTo>
                <a:cubicBezTo>
                  <a:pt x="6085515" y="1219792"/>
                  <a:pt x="6086052" y="1218721"/>
                  <a:pt x="6086588" y="1217826"/>
                </a:cubicBezTo>
                <a:close/>
                <a:moveTo>
                  <a:pt x="6118390" y="1197459"/>
                </a:moveTo>
                <a:lnTo>
                  <a:pt x="6118318" y="1197668"/>
                </a:lnTo>
                <a:lnTo>
                  <a:pt x="6118212" y="1197637"/>
                </a:lnTo>
                <a:lnTo>
                  <a:pt x="6118076" y="1197602"/>
                </a:lnTo>
                <a:close/>
                <a:moveTo>
                  <a:pt x="6118212" y="1152970"/>
                </a:moveTo>
                <a:cubicBezTo>
                  <a:pt x="6115175" y="1156544"/>
                  <a:pt x="6112136" y="1159937"/>
                  <a:pt x="6109100" y="1163332"/>
                </a:cubicBezTo>
                <a:cubicBezTo>
                  <a:pt x="6115354" y="1169228"/>
                  <a:pt x="6116424" y="1172445"/>
                  <a:pt x="6113210" y="1175840"/>
                </a:cubicBezTo>
                <a:cubicBezTo>
                  <a:pt x="6110350" y="1179055"/>
                  <a:pt x="6106419" y="1181199"/>
                  <a:pt x="6103560" y="1184236"/>
                </a:cubicBezTo>
                <a:cubicBezTo>
                  <a:pt x="6101596" y="1186202"/>
                  <a:pt x="6100704" y="1189061"/>
                  <a:pt x="6098558" y="1192634"/>
                </a:cubicBezTo>
                <a:lnTo>
                  <a:pt x="6118076" y="1197602"/>
                </a:lnTo>
                <a:lnTo>
                  <a:pt x="6108921" y="1201791"/>
                </a:lnTo>
                <a:cubicBezTo>
                  <a:pt x="6105884" y="1203443"/>
                  <a:pt x="6103115" y="1205588"/>
                  <a:pt x="6101060" y="1209072"/>
                </a:cubicBezTo>
                <a:cubicBezTo>
                  <a:pt x="6099630" y="1211574"/>
                  <a:pt x="6095700" y="1212823"/>
                  <a:pt x="6092662" y="1214433"/>
                </a:cubicBezTo>
                <a:lnTo>
                  <a:pt x="6092484" y="1214433"/>
                </a:lnTo>
                <a:cubicBezTo>
                  <a:pt x="6093376" y="1218721"/>
                  <a:pt x="6089981" y="1219792"/>
                  <a:pt x="6086408" y="1221580"/>
                </a:cubicBezTo>
                <a:cubicBezTo>
                  <a:pt x="6093020" y="1224795"/>
                  <a:pt x="6098738" y="1222829"/>
                  <a:pt x="6103204" y="1220150"/>
                </a:cubicBezTo>
                <a:cubicBezTo>
                  <a:pt x="6107403" y="1217649"/>
                  <a:pt x="6111066" y="1214612"/>
                  <a:pt x="6113745" y="1210882"/>
                </a:cubicBezTo>
                <a:lnTo>
                  <a:pt x="6118318" y="1197668"/>
                </a:lnTo>
                <a:lnTo>
                  <a:pt x="6132862" y="1201925"/>
                </a:lnTo>
                <a:cubicBezTo>
                  <a:pt x="6125180" y="1220865"/>
                  <a:pt x="6111602" y="1233549"/>
                  <a:pt x="6091769" y="1239803"/>
                </a:cubicBezTo>
                <a:cubicBezTo>
                  <a:pt x="6070865" y="1246235"/>
                  <a:pt x="6054426" y="1259636"/>
                  <a:pt x="6038168" y="1273393"/>
                </a:cubicBezTo>
                <a:cubicBezTo>
                  <a:pt x="6039060" y="1275715"/>
                  <a:pt x="6039776" y="1277859"/>
                  <a:pt x="6040668" y="1280718"/>
                </a:cubicBezTo>
                <a:cubicBezTo>
                  <a:pt x="6038524" y="1282684"/>
                  <a:pt x="6036558" y="1285186"/>
                  <a:pt x="6034058" y="1286616"/>
                </a:cubicBezTo>
                <a:cubicBezTo>
                  <a:pt x="6025660" y="1291260"/>
                  <a:pt x="6016906" y="1295548"/>
                  <a:pt x="6007973" y="1300015"/>
                </a:cubicBezTo>
                <a:cubicBezTo>
                  <a:pt x="6006186" y="1297514"/>
                  <a:pt x="6004756" y="1295548"/>
                  <a:pt x="6002790" y="1292868"/>
                </a:cubicBezTo>
                <a:cubicBezTo>
                  <a:pt x="5998502" y="1295192"/>
                  <a:pt x="5994394" y="1297692"/>
                  <a:pt x="5990106" y="1300195"/>
                </a:cubicBezTo>
                <a:cubicBezTo>
                  <a:pt x="5989391" y="1302517"/>
                  <a:pt x="5988854" y="1304661"/>
                  <a:pt x="5988854" y="1306805"/>
                </a:cubicBezTo>
                <a:cubicBezTo>
                  <a:pt x="5989033" y="1306447"/>
                  <a:pt x="5989570" y="1306269"/>
                  <a:pt x="5990106" y="1305912"/>
                </a:cubicBezTo>
                <a:cubicBezTo>
                  <a:pt x="5990462" y="1306447"/>
                  <a:pt x="5990820" y="1307161"/>
                  <a:pt x="5990820" y="1307161"/>
                </a:cubicBezTo>
                <a:cubicBezTo>
                  <a:pt x="5990462" y="1307520"/>
                  <a:pt x="5989926" y="1307698"/>
                  <a:pt x="5989391" y="1308056"/>
                </a:cubicBezTo>
                <a:cubicBezTo>
                  <a:pt x="5989211" y="1307698"/>
                  <a:pt x="5988676" y="1307161"/>
                  <a:pt x="5988676" y="1306983"/>
                </a:cubicBezTo>
                <a:cubicBezTo>
                  <a:pt x="5988676" y="1308591"/>
                  <a:pt x="5989211" y="1310200"/>
                  <a:pt x="5989926" y="1311630"/>
                </a:cubicBezTo>
                <a:lnTo>
                  <a:pt x="5990106" y="1311808"/>
                </a:lnTo>
                <a:cubicBezTo>
                  <a:pt x="6010652" y="1301087"/>
                  <a:pt x="6031199" y="1290189"/>
                  <a:pt x="6051746" y="1279469"/>
                </a:cubicBezTo>
                <a:cubicBezTo>
                  <a:pt x="6078012" y="1265710"/>
                  <a:pt x="6101596" y="1272142"/>
                  <a:pt x="6117139" y="1287330"/>
                </a:cubicBezTo>
                <a:cubicBezTo>
                  <a:pt x="6118927" y="1284472"/>
                  <a:pt x="6120534" y="1281613"/>
                  <a:pt x="6122322" y="1278396"/>
                </a:cubicBezTo>
                <a:cubicBezTo>
                  <a:pt x="6115890" y="1276967"/>
                  <a:pt x="6110172" y="1275537"/>
                  <a:pt x="6104455" y="1274286"/>
                </a:cubicBezTo>
                <a:cubicBezTo>
                  <a:pt x="6102668" y="1269820"/>
                  <a:pt x="6106062" y="1268749"/>
                  <a:pt x="6108385" y="1266961"/>
                </a:cubicBezTo>
                <a:cubicBezTo>
                  <a:pt x="6111780" y="1264281"/>
                  <a:pt x="6115354" y="1261780"/>
                  <a:pt x="6119283" y="1258921"/>
                </a:cubicBezTo>
                <a:cubicBezTo>
                  <a:pt x="6116782" y="1253919"/>
                  <a:pt x="6114280" y="1248916"/>
                  <a:pt x="6111244" y="1243020"/>
                </a:cubicBezTo>
                <a:cubicBezTo>
                  <a:pt x="6121964" y="1239981"/>
                  <a:pt x="6128396" y="1231942"/>
                  <a:pt x="6135364" y="1224080"/>
                </a:cubicBezTo>
                <a:cubicBezTo>
                  <a:pt x="6136438" y="1219614"/>
                  <a:pt x="6131076" y="1214967"/>
                  <a:pt x="6135364" y="1210323"/>
                </a:cubicBezTo>
                <a:cubicBezTo>
                  <a:pt x="6135721" y="1209965"/>
                  <a:pt x="6135721" y="1209250"/>
                  <a:pt x="6136079" y="1208715"/>
                </a:cubicBezTo>
                <a:cubicBezTo>
                  <a:pt x="6144477" y="1192992"/>
                  <a:pt x="6145012" y="1177448"/>
                  <a:pt x="6134650" y="1161903"/>
                </a:cubicBezTo>
                <a:cubicBezTo>
                  <a:pt x="6132506" y="1162261"/>
                  <a:pt x="6130184" y="1162617"/>
                  <a:pt x="6127681" y="1162976"/>
                </a:cubicBezTo>
                <a:cubicBezTo>
                  <a:pt x="6124466" y="1159759"/>
                  <a:pt x="6121427" y="1156364"/>
                  <a:pt x="6118212" y="1152970"/>
                </a:cubicBezTo>
                <a:close/>
                <a:moveTo>
                  <a:pt x="6112136" y="1140641"/>
                </a:moveTo>
                <a:lnTo>
                  <a:pt x="6112136" y="1140821"/>
                </a:lnTo>
                <a:cubicBezTo>
                  <a:pt x="6110529" y="1141355"/>
                  <a:pt x="6109278" y="1143321"/>
                  <a:pt x="6107314" y="1145109"/>
                </a:cubicBezTo>
                <a:cubicBezTo>
                  <a:pt x="6111602" y="1147967"/>
                  <a:pt x="6114995" y="1149931"/>
                  <a:pt x="6118212" y="1152076"/>
                </a:cubicBezTo>
                <a:cubicBezTo>
                  <a:pt x="6118212" y="1149753"/>
                  <a:pt x="6118570" y="1147431"/>
                  <a:pt x="6118212" y="1145287"/>
                </a:cubicBezTo>
                <a:cubicBezTo>
                  <a:pt x="6117676" y="1141892"/>
                  <a:pt x="6115532" y="1139748"/>
                  <a:pt x="6112136" y="1140641"/>
                </a:cubicBezTo>
                <a:close/>
                <a:moveTo>
                  <a:pt x="1980920" y="1006102"/>
                </a:moveTo>
                <a:cubicBezTo>
                  <a:pt x="1980383" y="1006280"/>
                  <a:pt x="1979312" y="1006639"/>
                  <a:pt x="1979312" y="1006639"/>
                </a:cubicBezTo>
                <a:lnTo>
                  <a:pt x="1979132" y="1006639"/>
                </a:lnTo>
                <a:cubicBezTo>
                  <a:pt x="1979312" y="1006995"/>
                  <a:pt x="1979490" y="1007532"/>
                  <a:pt x="1979490" y="1008068"/>
                </a:cubicBezTo>
                <a:cubicBezTo>
                  <a:pt x="1980027" y="1007890"/>
                  <a:pt x="1980920" y="1007890"/>
                  <a:pt x="1981098" y="1007532"/>
                </a:cubicBezTo>
                <a:cubicBezTo>
                  <a:pt x="1981456" y="1007175"/>
                  <a:pt x="1980920" y="1006639"/>
                  <a:pt x="1980920" y="1006102"/>
                </a:cubicBezTo>
                <a:close/>
                <a:moveTo>
                  <a:pt x="6055676" y="930524"/>
                </a:moveTo>
                <a:cubicBezTo>
                  <a:pt x="6054069" y="930882"/>
                  <a:pt x="6052103" y="930882"/>
                  <a:pt x="6051568" y="931775"/>
                </a:cubicBezTo>
                <a:cubicBezTo>
                  <a:pt x="6050496" y="933563"/>
                  <a:pt x="6049066" y="935171"/>
                  <a:pt x="6047637" y="936778"/>
                </a:cubicBezTo>
                <a:cubicBezTo>
                  <a:pt x="6047815" y="937493"/>
                  <a:pt x="6047995" y="938029"/>
                  <a:pt x="6047995" y="938744"/>
                </a:cubicBezTo>
                <a:cubicBezTo>
                  <a:pt x="6054247" y="938029"/>
                  <a:pt x="6058716" y="937136"/>
                  <a:pt x="6055676" y="930524"/>
                </a:cubicBezTo>
                <a:close/>
                <a:moveTo>
                  <a:pt x="6037810" y="910513"/>
                </a:moveTo>
                <a:lnTo>
                  <a:pt x="6036558" y="910871"/>
                </a:lnTo>
                <a:lnTo>
                  <a:pt x="6037275" y="911764"/>
                </a:lnTo>
                <a:lnTo>
                  <a:pt x="6037990" y="910693"/>
                </a:lnTo>
                <a:close/>
                <a:moveTo>
                  <a:pt x="5516986" y="905869"/>
                </a:moveTo>
                <a:cubicBezTo>
                  <a:pt x="5514842" y="906940"/>
                  <a:pt x="5512876" y="908191"/>
                  <a:pt x="5510732" y="909264"/>
                </a:cubicBezTo>
                <a:cubicBezTo>
                  <a:pt x="5511269" y="909978"/>
                  <a:pt x="5511626" y="910693"/>
                  <a:pt x="5511984" y="911408"/>
                </a:cubicBezTo>
                <a:cubicBezTo>
                  <a:pt x="5513948" y="910157"/>
                  <a:pt x="5516092" y="909084"/>
                  <a:pt x="5518058" y="907834"/>
                </a:cubicBezTo>
                <a:cubicBezTo>
                  <a:pt x="5517701" y="907120"/>
                  <a:pt x="5516986" y="905869"/>
                  <a:pt x="5516986" y="905869"/>
                </a:cubicBezTo>
                <a:close/>
                <a:moveTo>
                  <a:pt x="5952764" y="885679"/>
                </a:moveTo>
                <a:cubicBezTo>
                  <a:pt x="5947403" y="886750"/>
                  <a:pt x="5945081" y="886929"/>
                  <a:pt x="5942757" y="887643"/>
                </a:cubicBezTo>
                <a:cubicBezTo>
                  <a:pt x="5933110" y="890682"/>
                  <a:pt x="5921674" y="891575"/>
                  <a:pt x="5921138" y="905690"/>
                </a:cubicBezTo>
                <a:cubicBezTo>
                  <a:pt x="5921138" y="906940"/>
                  <a:pt x="5918280" y="907834"/>
                  <a:pt x="5917208" y="909264"/>
                </a:cubicBezTo>
                <a:cubicBezTo>
                  <a:pt x="5911848" y="916052"/>
                  <a:pt x="5912206" y="918375"/>
                  <a:pt x="5919709" y="926772"/>
                </a:cubicBezTo>
                <a:cubicBezTo>
                  <a:pt x="5925426" y="922484"/>
                  <a:pt x="5931502" y="918555"/>
                  <a:pt x="5936861" y="913908"/>
                </a:cubicBezTo>
                <a:cubicBezTo>
                  <a:pt x="5942222" y="909084"/>
                  <a:pt x="5947223" y="903725"/>
                  <a:pt x="5951513" y="897829"/>
                </a:cubicBezTo>
                <a:cubicBezTo>
                  <a:pt x="5953299" y="895505"/>
                  <a:pt x="5952226" y="891397"/>
                  <a:pt x="5952764" y="885679"/>
                </a:cubicBezTo>
                <a:close/>
                <a:moveTo>
                  <a:pt x="5959374" y="864953"/>
                </a:moveTo>
                <a:cubicBezTo>
                  <a:pt x="5959016" y="864773"/>
                  <a:pt x="5958302" y="865310"/>
                  <a:pt x="5957408" y="865668"/>
                </a:cubicBezTo>
                <a:lnTo>
                  <a:pt x="5957408" y="865846"/>
                </a:lnTo>
                <a:cubicBezTo>
                  <a:pt x="5956872" y="867276"/>
                  <a:pt x="5955801" y="868883"/>
                  <a:pt x="5955801" y="870491"/>
                </a:cubicBezTo>
                <a:cubicBezTo>
                  <a:pt x="5955801" y="872100"/>
                  <a:pt x="5957050" y="873530"/>
                  <a:pt x="5957767" y="875137"/>
                </a:cubicBezTo>
                <a:cubicBezTo>
                  <a:pt x="5959016" y="874244"/>
                  <a:pt x="5960982" y="873530"/>
                  <a:pt x="5961518" y="872279"/>
                </a:cubicBezTo>
                <a:cubicBezTo>
                  <a:pt x="5962234" y="870671"/>
                  <a:pt x="5962234" y="868705"/>
                  <a:pt x="5961875" y="866917"/>
                </a:cubicBezTo>
                <a:cubicBezTo>
                  <a:pt x="5961697" y="866203"/>
                  <a:pt x="5960268" y="865488"/>
                  <a:pt x="5959374" y="864953"/>
                </a:cubicBezTo>
                <a:close/>
                <a:moveTo>
                  <a:pt x="5800357" y="804562"/>
                </a:moveTo>
                <a:cubicBezTo>
                  <a:pt x="5800357" y="804562"/>
                  <a:pt x="5800000" y="804562"/>
                  <a:pt x="5799820" y="804740"/>
                </a:cubicBezTo>
                <a:lnTo>
                  <a:pt x="5799128" y="805230"/>
                </a:lnTo>
                <a:lnTo>
                  <a:pt x="5789257" y="809833"/>
                </a:lnTo>
                <a:cubicBezTo>
                  <a:pt x="5786108" y="812022"/>
                  <a:pt x="5783651" y="814926"/>
                  <a:pt x="5782490" y="819214"/>
                </a:cubicBezTo>
                <a:cubicBezTo>
                  <a:pt x="5783204" y="819929"/>
                  <a:pt x="5783920" y="820463"/>
                  <a:pt x="5784634" y="821000"/>
                </a:cubicBezTo>
                <a:cubicBezTo>
                  <a:pt x="5787314" y="817248"/>
                  <a:pt x="5790173" y="813675"/>
                  <a:pt x="5792496" y="809923"/>
                </a:cubicBezTo>
                <a:lnTo>
                  <a:pt x="5799128" y="805230"/>
                </a:lnTo>
                <a:lnTo>
                  <a:pt x="5800178" y="804740"/>
                </a:lnTo>
                <a:close/>
                <a:moveTo>
                  <a:pt x="1828514" y="804026"/>
                </a:moveTo>
                <a:cubicBezTo>
                  <a:pt x="1828871" y="804562"/>
                  <a:pt x="1829229" y="805098"/>
                  <a:pt x="1829407" y="805455"/>
                </a:cubicBezTo>
                <a:cubicBezTo>
                  <a:pt x="1829944" y="805098"/>
                  <a:pt x="1831193" y="804384"/>
                  <a:pt x="1831193" y="804384"/>
                </a:cubicBezTo>
                <a:cubicBezTo>
                  <a:pt x="1830300" y="804206"/>
                  <a:pt x="1829407" y="804026"/>
                  <a:pt x="1828514" y="804026"/>
                </a:cubicBezTo>
                <a:close/>
                <a:moveTo>
                  <a:pt x="1709341" y="803847"/>
                </a:moveTo>
                <a:cubicBezTo>
                  <a:pt x="1708804" y="804206"/>
                  <a:pt x="1708090" y="804384"/>
                  <a:pt x="1707733" y="804740"/>
                </a:cubicBezTo>
                <a:cubicBezTo>
                  <a:pt x="1707553" y="804920"/>
                  <a:pt x="1708090" y="805635"/>
                  <a:pt x="1708268" y="806169"/>
                </a:cubicBezTo>
                <a:cubicBezTo>
                  <a:pt x="1708804" y="805813"/>
                  <a:pt x="1709519" y="805635"/>
                  <a:pt x="1709877" y="805277"/>
                </a:cubicBezTo>
                <a:cubicBezTo>
                  <a:pt x="1710055" y="805098"/>
                  <a:pt x="1709341" y="803847"/>
                  <a:pt x="1709341" y="803847"/>
                </a:cubicBezTo>
                <a:close/>
                <a:moveTo>
                  <a:pt x="1726671" y="789912"/>
                </a:moveTo>
                <a:lnTo>
                  <a:pt x="1726671" y="790090"/>
                </a:lnTo>
                <a:cubicBezTo>
                  <a:pt x="1726671" y="791876"/>
                  <a:pt x="1726671" y="793127"/>
                  <a:pt x="1726671" y="794378"/>
                </a:cubicBezTo>
                <a:cubicBezTo>
                  <a:pt x="1728101" y="794200"/>
                  <a:pt x="1729708" y="794378"/>
                  <a:pt x="1730781" y="793664"/>
                </a:cubicBezTo>
                <a:cubicBezTo>
                  <a:pt x="1731674" y="793127"/>
                  <a:pt x="1732032" y="791698"/>
                  <a:pt x="1732747" y="790627"/>
                </a:cubicBezTo>
                <a:cubicBezTo>
                  <a:pt x="1730603" y="790268"/>
                  <a:pt x="1728637" y="790090"/>
                  <a:pt x="1726671" y="789912"/>
                </a:cubicBezTo>
                <a:close/>
                <a:moveTo>
                  <a:pt x="5821619" y="782765"/>
                </a:moveTo>
                <a:cubicBezTo>
                  <a:pt x="5814472" y="782765"/>
                  <a:pt x="5808576" y="787053"/>
                  <a:pt x="5805360" y="793664"/>
                </a:cubicBezTo>
                <a:cubicBezTo>
                  <a:pt x="5806968" y="795449"/>
                  <a:pt x="5808218" y="796879"/>
                  <a:pt x="5810362" y="799381"/>
                </a:cubicBezTo>
                <a:cubicBezTo>
                  <a:pt x="5816438" y="795271"/>
                  <a:pt x="5820726" y="789732"/>
                  <a:pt x="5823048" y="782765"/>
                </a:cubicBezTo>
                <a:cubicBezTo>
                  <a:pt x="5822512" y="782765"/>
                  <a:pt x="5821619" y="782765"/>
                  <a:pt x="5821619" y="782765"/>
                </a:cubicBezTo>
                <a:close/>
                <a:moveTo>
                  <a:pt x="2637712" y="766506"/>
                </a:moveTo>
                <a:cubicBezTo>
                  <a:pt x="2635032" y="768472"/>
                  <a:pt x="2632173" y="770616"/>
                  <a:pt x="2629492" y="772580"/>
                </a:cubicBezTo>
                <a:cubicBezTo>
                  <a:pt x="2629492" y="773116"/>
                  <a:pt x="2629492" y="773652"/>
                  <a:pt x="2629492" y="774189"/>
                </a:cubicBezTo>
                <a:cubicBezTo>
                  <a:pt x="2633961" y="772580"/>
                  <a:pt x="2638249" y="770616"/>
                  <a:pt x="2642715" y="768828"/>
                </a:cubicBezTo>
                <a:cubicBezTo>
                  <a:pt x="2641106" y="767935"/>
                  <a:pt x="2639320" y="767220"/>
                  <a:pt x="2637712" y="766506"/>
                </a:cubicBezTo>
                <a:close/>
                <a:moveTo>
                  <a:pt x="2663619" y="761145"/>
                </a:moveTo>
                <a:cubicBezTo>
                  <a:pt x="2655757" y="758286"/>
                  <a:pt x="2650933" y="762754"/>
                  <a:pt x="2646288" y="767399"/>
                </a:cubicBezTo>
                <a:cubicBezTo>
                  <a:pt x="2647003" y="767399"/>
                  <a:pt x="2647896" y="767399"/>
                  <a:pt x="2648789" y="767399"/>
                </a:cubicBezTo>
                <a:cubicBezTo>
                  <a:pt x="2651113" y="770616"/>
                  <a:pt x="2647896" y="772223"/>
                  <a:pt x="2646288" y="773652"/>
                </a:cubicBezTo>
                <a:cubicBezTo>
                  <a:pt x="2645574" y="774367"/>
                  <a:pt x="2644144" y="775618"/>
                  <a:pt x="2644144" y="775618"/>
                </a:cubicBezTo>
                <a:cubicBezTo>
                  <a:pt x="2644144" y="775975"/>
                  <a:pt x="2643786" y="776333"/>
                  <a:pt x="2643786" y="776511"/>
                </a:cubicBezTo>
                <a:cubicBezTo>
                  <a:pt x="2651648" y="772580"/>
                  <a:pt x="2658973" y="767577"/>
                  <a:pt x="2664334" y="761325"/>
                </a:cubicBezTo>
                <a:cubicBezTo>
                  <a:pt x="2663977" y="761145"/>
                  <a:pt x="2663797" y="761145"/>
                  <a:pt x="2663619" y="761145"/>
                </a:cubicBezTo>
                <a:close/>
                <a:moveTo>
                  <a:pt x="1788849" y="759715"/>
                </a:moveTo>
                <a:cubicBezTo>
                  <a:pt x="1788312" y="759895"/>
                  <a:pt x="1788312" y="760788"/>
                  <a:pt x="1787956" y="761325"/>
                </a:cubicBezTo>
                <a:cubicBezTo>
                  <a:pt x="1788492" y="761503"/>
                  <a:pt x="1789207" y="761503"/>
                  <a:pt x="1789741" y="761503"/>
                </a:cubicBezTo>
                <a:cubicBezTo>
                  <a:pt x="1790100" y="760966"/>
                  <a:pt x="1790278" y="760430"/>
                  <a:pt x="1790636" y="759895"/>
                </a:cubicBezTo>
                <a:cubicBezTo>
                  <a:pt x="1790100" y="759895"/>
                  <a:pt x="1788849" y="759895"/>
                  <a:pt x="1788849" y="759895"/>
                </a:cubicBezTo>
                <a:close/>
                <a:moveTo>
                  <a:pt x="2494239" y="749532"/>
                </a:moveTo>
                <a:cubicBezTo>
                  <a:pt x="2476247" y="752270"/>
                  <a:pt x="2463990" y="757988"/>
                  <a:pt x="2457434" y="766684"/>
                </a:cubicBezTo>
                <a:cubicBezTo>
                  <a:pt x="2468869" y="761503"/>
                  <a:pt x="2479231" y="756500"/>
                  <a:pt x="2494239" y="749532"/>
                </a:cubicBezTo>
                <a:close/>
                <a:moveTo>
                  <a:pt x="2745451" y="728628"/>
                </a:moveTo>
                <a:cubicBezTo>
                  <a:pt x="2741341" y="731128"/>
                  <a:pt x="2737589" y="733987"/>
                  <a:pt x="2734016" y="737204"/>
                </a:cubicBezTo>
                <a:cubicBezTo>
                  <a:pt x="2737231" y="736667"/>
                  <a:pt x="2740448" y="735953"/>
                  <a:pt x="2743663" y="735060"/>
                </a:cubicBezTo>
                <a:cubicBezTo>
                  <a:pt x="2744914" y="734701"/>
                  <a:pt x="2745451" y="731664"/>
                  <a:pt x="2746880" y="728628"/>
                </a:cubicBezTo>
                <a:cubicBezTo>
                  <a:pt x="2746344" y="728628"/>
                  <a:pt x="2745986" y="728628"/>
                  <a:pt x="2745451" y="728628"/>
                </a:cubicBezTo>
                <a:close/>
                <a:moveTo>
                  <a:pt x="2727226" y="723625"/>
                </a:moveTo>
                <a:lnTo>
                  <a:pt x="2726353" y="726069"/>
                </a:lnTo>
                <a:lnTo>
                  <a:pt x="2726155" y="726125"/>
                </a:lnTo>
                <a:lnTo>
                  <a:pt x="2726333" y="726125"/>
                </a:lnTo>
                <a:lnTo>
                  <a:pt x="2726353" y="726069"/>
                </a:lnTo>
                <a:lnTo>
                  <a:pt x="2727404" y="725769"/>
                </a:lnTo>
                <a:cubicBezTo>
                  <a:pt x="2727226" y="725054"/>
                  <a:pt x="2727226" y="724339"/>
                  <a:pt x="2727226" y="723625"/>
                </a:cubicBezTo>
                <a:close/>
                <a:moveTo>
                  <a:pt x="2715434" y="719158"/>
                </a:moveTo>
                <a:cubicBezTo>
                  <a:pt x="2715254" y="719693"/>
                  <a:pt x="2714720" y="720766"/>
                  <a:pt x="2714720" y="720766"/>
                </a:cubicBezTo>
                <a:cubicBezTo>
                  <a:pt x="2715254" y="720944"/>
                  <a:pt x="2715791" y="721122"/>
                  <a:pt x="2716327" y="721122"/>
                </a:cubicBezTo>
                <a:cubicBezTo>
                  <a:pt x="2716864" y="720944"/>
                  <a:pt x="2717220" y="720229"/>
                  <a:pt x="2717757" y="719873"/>
                </a:cubicBezTo>
                <a:cubicBezTo>
                  <a:pt x="2717042" y="719693"/>
                  <a:pt x="2716149" y="719337"/>
                  <a:pt x="2715434" y="719158"/>
                </a:cubicBezTo>
                <a:close/>
                <a:moveTo>
                  <a:pt x="1864605" y="716120"/>
                </a:moveTo>
                <a:cubicBezTo>
                  <a:pt x="1863354" y="716656"/>
                  <a:pt x="1862283" y="717371"/>
                  <a:pt x="1861031" y="718086"/>
                </a:cubicBezTo>
                <a:cubicBezTo>
                  <a:pt x="1861746" y="718622"/>
                  <a:pt x="1862997" y="719873"/>
                  <a:pt x="1863175" y="719873"/>
                </a:cubicBezTo>
                <a:cubicBezTo>
                  <a:pt x="1864248" y="719158"/>
                  <a:pt x="1865141" y="718086"/>
                  <a:pt x="1866034" y="717193"/>
                </a:cubicBezTo>
                <a:cubicBezTo>
                  <a:pt x="1865498" y="716834"/>
                  <a:pt x="1864605" y="716120"/>
                  <a:pt x="1864605" y="716120"/>
                </a:cubicBezTo>
                <a:close/>
                <a:moveTo>
                  <a:pt x="2553558" y="713797"/>
                </a:moveTo>
                <a:cubicBezTo>
                  <a:pt x="2544267" y="718978"/>
                  <a:pt x="2535154" y="724339"/>
                  <a:pt x="2526044" y="729520"/>
                </a:cubicBezTo>
                <a:cubicBezTo>
                  <a:pt x="2526578" y="730772"/>
                  <a:pt x="2527293" y="732023"/>
                  <a:pt x="2527829" y="733272"/>
                </a:cubicBezTo>
                <a:cubicBezTo>
                  <a:pt x="2536764" y="727376"/>
                  <a:pt x="2545696" y="721481"/>
                  <a:pt x="2554631" y="715585"/>
                </a:cubicBezTo>
                <a:cubicBezTo>
                  <a:pt x="2554273" y="715049"/>
                  <a:pt x="2553916" y="714334"/>
                  <a:pt x="2553558" y="713797"/>
                </a:cubicBezTo>
                <a:close/>
                <a:moveTo>
                  <a:pt x="5442838" y="704865"/>
                </a:moveTo>
                <a:cubicBezTo>
                  <a:pt x="5439086" y="708258"/>
                  <a:pt x="5435691" y="711297"/>
                  <a:pt x="5432118" y="714334"/>
                </a:cubicBezTo>
                <a:cubicBezTo>
                  <a:pt x="5430510" y="715585"/>
                  <a:pt x="5428186" y="717907"/>
                  <a:pt x="5426756" y="717549"/>
                </a:cubicBezTo>
                <a:cubicBezTo>
                  <a:pt x="5421039" y="716300"/>
                  <a:pt x="5417110" y="719515"/>
                  <a:pt x="5413000" y="722374"/>
                </a:cubicBezTo>
                <a:cubicBezTo>
                  <a:pt x="5399064" y="732201"/>
                  <a:pt x="5385127" y="742206"/>
                  <a:pt x="5371370" y="752212"/>
                </a:cubicBezTo>
                <a:lnTo>
                  <a:pt x="5365022" y="758560"/>
                </a:lnTo>
                <a:lnTo>
                  <a:pt x="5364938" y="758466"/>
                </a:lnTo>
                <a:lnTo>
                  <a:pt x="5364938" y="758644"/>
                </a:lnTo>
                <a:lnTo>
                  <a:pt x="5365022" y="758560"/>
                </a:lnTo>
                <a:lnTo>
                  <a:pt x="5366545" y="760252"/>
                </a:lnTo>
                <a:cubicBezTo>
                  <a:pt x="5371370" y="757751"/>
                  <a:pt x="5376014" y="755249"/>
                  <a:pt x="5381019" y="752749"/>
                </a:cubicBezTo>
                <a:cubicBezTo>
                  <a:pt x="5382268" y="755071"/>
                  <a:pt x="5383161" y="756678"/>
                  <a:pt x="5384412" y="758822"/>
                </a:cubicBezTo>
                <a:cubicBezTo>
                  <a:pt x="5388344" y="756500"/>
                  <a:pt x="5392452" y="755071"/>
                  <a:pt x="5391559" y="749175"/>
                </a:cubicBezTo>
                <a:cubicBezTo>
                  <a:pt x="5391381" y="747566"/>
                  <a:pt x="5392632" y="744707"/>
                  <a:pt x="5394062" y="743814"/>
                </a:cubicBezTo>
                <a:cubicBezTo>
                  <a:pt x="5402994" y="738455"/>
                  <a:pt x="5412106" y="733630"/>
                  <a:pt x="5421039" y="728449"/>
                </a:cubicBezTo>
                <a:cubicBezTo>
                  <a:pt x="5428544" y="724161"/>
                  <a:pt x="5436048" y="719873"/>
                  <a:pt x="5443552" y="715405"/>
                </a:cubicBezTo>
                <a:cubicBezTo>
                  <a:pt x="5447662" y="712905"/>
                  <a:pt x="5448912" y="709688"/>
                  <a:pt x="5442838" y="704865"/>
                </a:cubicBezTo>
                <a:close/>
                <a:moveTo>
                  <a:pt x="5434082" y="698074"/>
                </a:moveTo>
                <a:cubicBezTo>
                  <a:pt x="5432474" y="699326"/>
                  <a:pt x="5430866" y="700577"/>
                  <a:pt x="5429259" y="701648"/>
                </a:cubicBezTo>
                <a:cubicBezTo>
                  <a:pt x="5429437" y="702006"/>
                  <a:pt x="5429796" y="702362"/>
                  <a:pt x="5429974" y="702721"/>
                </a:cubicBezTo>
                <a:cubicBezTo>
                  <a:pt x="5431581" y="701648"/>
                  <a:pt x="5433188" y="700397"/>
                  <a:pt x="5434798" y="699147"/>
                </a:cubicBezTo>
                <a:cubicBezTo>
                  <a:pt x="5434440" y="698789"/>
                  <a:pt x="5434082" y="698253"/>
                  <a:pt x="5434082" y="698253"/>
                </a:cubicBezTo>
                <a:close/>
                <a:moveTo>
                  <a:pt x="5826444" y="697896"/>
                </a:moveTo>
                <a:cubicBezTo>
                  <a:pt x="5825371" y="698611"/>
                  <a:pt x="5824300" y="699682"/>
                  <a:pt x="5823048" y="700755"/>
                </a:cubicBezTo>
                <a:lnTo>
                  <a:pt x="5822870" y="700755"/>
                </a:lnTo>
                <a:cubicBezTo>
                  <a:pt x="5822690" y="700933"/>
                  <a:pt x="5822690" y="701111"/>
                  <a:pt x="5822690" y="701111"/>
                </a:cubicBezTo>
                <a:cubicBezTo>
                  <a:pt x="5824300" y="701648"/>
                  <a:pt x="5825371" y="702541"/>
                  <a:pt x="5826086" y="702362"/>
                </a:cubicBezTo>
                <a:cubicBezTo>
                  <a:pt x="5826978" y="702184"/>
                  <a:pt x="5828230" y="700933"/>
                  <a:pt x="5828230" y="700040"/>
                </a:cubicBezTo>
                <a:cubicBezTo>
                  <a:pt x="5828408" y="699504"/>
                  <a:pt x="5826444" y="697896"/>
                  <a:pt x="5826444" y="697896"/>
                </a:cubicBezTo>
                <a:close/>
                <a:moveTo>
                  <a:pt x="5895410" y="693430"/>
                </a:moveTo>
                <a:cubicBezTo>
                  <a:pt x="5890765" y="696823"/>
                  <a:pt x="5886118" y="700218"/>
                  <a:pt x="5881830" y="704328"/>
                </a:cubicBezTo>
                <a:cubicBezTo>
                  <a:pt x="5882724" y="703970"/>
                  <a:pt x="5883618" y="703792"/>
                  <a:pt x="5884511" y="703435"/>
                </a:cubicBezTo>
                <a:cubicBezTo>
                  <a:pt x="5887192" y="701826"/>
                  <a:pt x="5889692" y="700397"/>
                  <a:pt x="5892194" y="698789"/>
                </a:cubicBezTo>
                <a:cubicBezTo>
                  <a:pt x="5893802" y="697182"/>
                  <a:pt x="5894873" y="695394"/>
                  <a:pt x="5895588" y="693430"/>
                </a:cubicBezTo>
                <a:close/>
                <a:moveTo>
                  <a:pt x="2600905" y="693072"/>
                </a:moveTo>
                <a:cubicBezTo>
                  <a:pt x="2600371" y="693786"/>
                  <a:pt x="2599119" y="695394"/>
                  <a:pt x="2599119" y="695394"/>
                </a:cubicBezTo>
                <a:cubicBezTo>
                  <a:pt x="2599656" y="695574"/>
                  <a:pt x="2600549" y="695930"/>
                  <a:pt x="2600549" y="695930"/>
                </a:cubicBezTo>
                <a:cubicBezTo>
                  <a:pt x="2601263" y="695216"/>
                  <a:pt x="2601800" y="694323"/>
                  <a:pt x="2602335" y="693608"/>
                </a:cubicBezTo>
                <a:cubicBezTo>
                  <a:pt x="2601800" y="693430"/>
                  <a:pt x="2601442" y="693072"/>
                  <a:pt x="2600905" y="693072"/>
                </a:cubicBezTo>
                <a:close/>
                <a:moveTo>
                  <a:pt x="2590721" y="688247"/>
                </a:moveTo>
                <a:cubicBezTo>
                  <a:pt x="2592151" y="688247"/>
                  <a:pt x="2593044" y="688247"/>
                  <a:pt x="2594117" y="688247"/>
                </a:cubicBezTo>
                <a:lnTo>
                  <a:pt x="2594117" y="688397"/>
                </a:lnTo>
                <a:lnTo>
                  <a:pt x="2593938" y="688605"/>
                </a:lnTo>
                <a:cubicBezTo>
                  <a:pt x="2593044" y="688605"/>
                  <a:pt x="2591973" y="688247"/>
                  <a:pt x="2590721" y="688247"/>
                </a:cubicBezTo>
                <a:close/>
                <a:moveTo>
                  <a:pt x="2596082" y="686103"/>
                </a:moveTo>
                <a:cubicBezTo>
                  <a:pt x="2594295" y="686640"/>
                  <a:pt x="2592509" y="687354"/>
                  <a:pt x="2590721" y="688247"/>
                </a:cubicBezTo>
                <a:cubicBezTo>
                  <a:pt x="2585719" y="690749"/>
                  <a:pt x="2581252" y="694679"/>
                  <a:pt x="2577321" y="700397"/>
                </a:cubicBezTo>
                <a:cubicBezTo>
                  <a:pt x="2580894" y="701648"/>
                  <a:pt x="2584289" y="703792"/>
                  <a:pt x="2586792" y="703792"/>
                </a:cubicBezTo>
                <a:cubicBezTo>
                  <a:pt x="2588756" y="700755"/>
                  <a:pt x="2590185" y="697538"/>
                  <a:pt x="2591080" y="693786"/>
                </a:cubicBezTo>
                <a:cubicBezTo>
                  <a:pt x="2591436" y="692001"/>
                  <a:pt x="2592865" y="690391"/>
                  <a:pt x="2593938" y="688784"/>
                </a:cubicBezTo>
                <a:lnTo>
                  <a:pt x="2593938" y="688605"/>
                </a:lnTo>
                <a:lnTo>
                  <a:pt x="2594117" y="688784"/>
                </a:lnTo>
                <a:lnTo>
                  <a:pt x="2594117" y="688397"/>
                </a:lnTo>
                <a:close/>
                <a:moveTo>
                  <a:pt x="5892729" y="681100"/>
                </a:moveTo>
                <a:cubicBezTo>
                  <a:pt x="5891480" y="682173"/>
                  <a:pt x="5890407" y="683424"/>
                  <a:pt x="5889514" y="684854"/>
                </a:cubicBezTo>
                <a:cubicBezTo>
                  <a:pt x="5891480" y="683959"/>
                  <a:pt x="5893266" y="682888"/>
                  <a:pt x="5895053" y="681995"/>
                </a:cubicBezTo>
                <a:cubicBezTo>
                  <a:pt x="5894338" y="681637"/>
                  <a:pt x="5893622" y="681280"/>
                  <a:pt x="5892729" y="681100"/>
                </a:cubicBezTo>
                <a:close/>
                <a:moveTo>
                  <a:pt x="5872718" y="653408"/>
                </a:moveTo>
                <a:lnTo>
                  <a:pt x="5872797" y="653526"/>
                </a:lnTo>
                <a:lnTo>
                  <a:pt x="5871825" y="654657"/>
                </a:lnTo>
                <a:cubicBezTo>
                  <a:pt x="5871825" y="654837"/>
                  <a:pt x="5871825" y="654837"/>
                  <a:pt x="5871825" y="654837"/>
                </a:cubicBezTo>
                <a:cubicBezTo>
                  <a:pt x="5872362" y="654479"/>
                  <a:pt x="5872898" y="654301"/>
                  <a:pt x="5873076" y="653942"/>
                </a:cubicBezTo>
                <a:lnTo>
                  <a:pt x="5872797" y="653526"/>
                </a:lnTo>
                <a:lnTo>
                  <a:pt x="5872898" y="653408"/>
                </a:lnTo>
                <a:close/>
                <a:moveTo>
                  <a:pt x="2684703" y="652335"/>
                </a:moveTo>
                <a:cubicBezTo>
                  <a:pt x="2682915" y="654301"/>
                  <a:pt x="2681308" y="656445"/>
                  <a:pt x="2679700" y="658589"/>
                </a:cubicBezTo>
                <a:lnTo>
                  <a:pt x="2679700" y="658672"/>
                </a:lnTo>
                <a:lnTo>
                  <a:pt x="2679342" y="659125"/>
                </a:lnTo>
                <a:cubicBezTo>
                  <a:pt x="2679342" y="659125"/>
                  <a:pt x="2679520" y="658767"/>
                  <a:pt x="2679700" y="658767"/>
                </a:cubicBezTo>
                <a:lnTo>
                  <a:pt x="2679700" y="658672"/>
                </a:lnTo>
                <a:close/>
                <a:moveTo>
                  <a:pt x="2866607" y="648588"/>
                </a:moveTo>
                <a:lnTo>
                  <a:pt x="2866232" y="650013"/>
                </a:lnTo>
                <a:lnTo>
                  <a:pt x="2866052" y="650013"/>
                </a:lnTo>
                <a:lnTo>
                  <a:pt x="2865738" y="649455"/>
                </a:lnTo>
                <a:lnTo>
                  <a:pt x="2865874" y="648940"/>
                </a:lnTo>
                <a:close/>
                <a:moveTo>
                  <a:pt x="5936324" y="642866"/>
                </a:moveTo>
                <a:lnTo>
                  <a:pt x="5936468" y="642913"/>
                </a:lnTo>
                <a:lnTo>
                  <a:pt x="5933646" y="646617"/>
                </a:lnTo>
                <a:cubicBezTo>
                  <a:pt x="5935076" y="647154"/>
                  <a:pt x="5936683" y="648047"/>
                  <a:pt x="5936861" y="647869"/>
                </a:cubicBezTo>
                <a:cubicBezTo>
                  <a:pt x="5937754" y="646617"/>
                  <a:pt x="5938290" y="645188"/>
                  <a:pt x="5939005" y="643759"/>
                </a:cubicBezTo>
                <a:lnTo>
                  <a:pt x="5936468" y="642913"/>
                </a:lnTo>
                <a:lnTo>
                  <a:pt x="5936504" y="642866"/>
                </a:lnTo>
                <a:close/>
                <a:moveTo>
                  <a:pt x="2599476" y="641436"/>
                </a:moveTo>
                <a:cubicBezTo>
                  <a:pt x="2591614" y="641436"/>
                  <a:pt x="2583575" y="642688"/>
                  <a:pt x="2575177" y="648047"/>
                </a:cubicBezTo>
                <a:cubicBezTo>
                  <a:pt x="2578035" y="649654"/>
                  <a:pt x="2579823" y="650905"/>
                  <a:pt x="2581789" y="651978"/>
                </a:cubicBezTo>
                <a:cubicBezTo>
                  <a:pt x="2581431" y="652513"/>
                  <a:pt x="2581252" y="653408"/>
                  <a:pt x="2580716" y="653586"/>
                </a:cubicBezTo>
                <a:cubicBezTo>
                  <a:pt x="2548555" y="666987"/>
                  <a:pt x="2516395" y="680566"/>
                  <a:pt x="2484056" y="693430"/>
                </a:cubicBezTo>
                <a:cubicBezTo>
                  <a:pt x="2482983" y="693965"/>
                  <a:pt x="2481733" y="694323"/>
                  <a:pt x="2480660" y="694859"/>
                </a:cubicBezTo>
                <a:cubicBezTo>
                  <a:pt x="2479409" y="698611"/>
                  <a:pt x="2477087" y="702541"/>
                  <a:pt x="2474943" y="705936"/>
                </a:cubicBezTo>
                <a:lnTo>
                  <a:pt x="2475301" y="705580"/>
                </a:lnTo>
                <a:cubicBezTo>
                  <a:pt x="2471370" y="711653"/>
                  <a:pt x="2467974" y="717729"/>
                  <a:pt x="2466010" y="724339"/>
                </a:cubicBezTo>
                <a:cubicBezTo>
                  <a:pt x="2469584" y="722374"/>
                  <a:pt x="2473335" y="720229"/>
                  <a:pt x="2477087" y="718264"/>
                </a:cubicBezTo>
                <a:cubicBezTo>
                  <a:pt x="2480302" y="716478"/>
                  <a:pt x="2483519" y="714870"/>
                  <a:pt x="2486736" y="713083"/>
                </a:cubicBezTo>
                <a:cubicBezTo>
                  <a:pt x="2487985" y="712368"/>
                  <a:pt x="2489237" y="711653"/>
                  <a:pt x="2490488" y="711117"/>
                </a:cubicBezTo>
                <a:cubicBezTo>
                  <a:pt x="2494239" y="709153"/>
                  <a:pt x="2498169" y="707365"/>
                  <a:pt x="2501923" y="705399"/>
                </a:cubicBezTo>
                <a:cubicBezTo>
                  <a:pt x="2502994" y="704865"/>
                  <a:pt x="2504423" y="704328"/>
                  <a:pt x="2505674" y="703970"/>
                </a:cubicBezTo>
                <a:cubicBezTo>
                  <a:pt x="2508891" y="702184"/>
                  <a:pt x="2512285" y="700577"/>
                  <a:pt x="2515680" y="699326"/>
                </a:cubicBezTo>
                <a:cubicBezTo>
                  <a:pt x="2539979" y="679851"/>
                  <a:pt x="2570889" y="674312"/>
                  <a:pt x="2597332" y="659482"/>
                </a:cubicBezTo>
                <a:cubicBezTo>
                  <a:pt x="2599298" y="658230"/>
                  <a:pt x="2601263" y="657338"/>
                  <a:pt x="2603229" y="656266"/>
                </a:cubicBezTo>
                <a:lnTo>
                  <a:pt x="2603229" y="656445"/>
                </a:lnTo>
                <a:cubicBezTo>
                  <a:pt x="2608588" y="653764"/>
                  <a:pt x="2613949" y="651084"/>
                  <a:pt x="2618772" y="647510"/>
                </a:cubicBezTo>
                <a:cubicBezTo>
                  <a:pt x="2615913" y="648405"/>
                  <a:pt x="2613235" y="649120"/>
                  <a:pt x="2610196" y="649298"/>
                </a:cubicBezTo>
                <a:cubicBezTo>
                  <a:pt x="2608232" y="649298"/>
                  <a:pt x="2605908" y="652157"/>
                  <a:pt x="2603764" y="653942"/>
                </a:cubicBezTo>
                <a:cubicBezTo>
                  <a:pt x="2603586" y="654479"/>
                  <a:pt x="2603229" y="655015"/>
                  <a:pt x="2603229" y="655372"/>
                </a:cubicBezTo>
                <a:cubicBezTo>
                  <a:pt x="2603229" y="655015"/>
                  <a:pt x="2603229" y="654657"/>
                  <a:pt x="2603229" y="654301"/>
                </a:cubicBezTo>
                <a:cubicBezTo>
                  <a:pt x="2603229" y="654301"/>
                  <a:pt x="2603586" y="653942"/>
                  <a:pt x="2603586" y="653942"/>
                </a:cubicBezTo>
                <a:cubicBezTo>
                  <a:pt x="2602335" y="650013"/>
                  <a:pt x="2600905" y="645903"/>
                  <a:pt x="2599476" y="641436"/>
                </a:cubicBezTo>
                <a:close/>
                <a:moveTo>
                  <a:pt x="5868788" y="636075"/>
                </a:moveTo>
                <a:cubicBezTo>
                  <a:pt x="5866466" y="638219"/>
                  <a:pt x="5863964" y="640185"/>
                  <a:pt x="5861463" y="642329"/>
                </a:cubicBezTo>
                <a:cubicBezTo>
                  <a:pt x="5861820" y="642688"/>
                  <a:pt x="5862356" y="643222"/>
                  <a:pt x="5862712" y="643759"/>
                </a:cubicBezTo>
                <a:cubicBezTo>
                  <a:pt x="5865036" y="641615"/>
                  <a:pt x="5867537" y="639471"/>
                  <a:pt x="5869860" y="637326"/>
                </a:cubicBezTo>
                <a:cubicBezTo>
                  <a:pt x="5869503" y="636790"/>
                  <a:pt x="5868788" y="636075"/>
                  <a:pt x="5868788" y="636075"/>
                </a:cubicBezTo>
                <a:close/>
                <a:moveTo>
                  <a:pt x="2864622" y="633038"/>
                </a:moveTo>
                <a:cubicBezTo>
                  <a:pt x="2862300" y="633931"/>
                  <a:pt x="2859800" y="634646"/>
                  <a:pt x="2857476" y="635541"/>
                </a:cubicBezTo>
                <a:cubicBezTo>
                  <a:pt x="2858190" y="636612"/>
                  <a:pt x="2858727" y="637863"/>
                  <a:pt x="2859442" y="638934"/>
                </a:cubicBezTo>
                <a:cubicBezTo>
                  <a:pt x="2861944" y="638399"/>
                  <a:pt x="2864622" y="638041"/>
                  <a:pt x="2867125" y="637863"/>
                </a:cubicBezTo>
                <a:cubicBezTo>
                  <a:pt x="2866767" y="636075"/>
                  <a:pt x="2865874" y="634468"/>
                  <a:pt x="2864803" y="633038"/>
                </a:cubicBezTo>
                <a:close/>
                <a:moveTo>
                  <a:pt x="2735087" y="632860"/>
                </a:moveTo>
                <a:cubicBezTo>
                  <a:pt x="2726689" y="635541"/>
                  <a:pt x="2718113" y="638041"/>
                  <a:pt x="2709180" y="639292"/>
                </a:cubicBezTo>
                <a:cubicBezTo>
                  <a:pt x="2707929" y="639471"/>
                  <a:pt x="2707215" y="643402"/>
                  <a:pt x="2704534" y="649120"/>
                </a:cubicBezTo>
                <a:cubicBezTo>
                  <a:pt x="2713110" y="646081"/>
                  <a:pt x="2720972" y="643222"/>
                  <a:pt x="2728477" y="640363"/>
                </a:cubicBezTo>
                <a:cubicBezTo>
                  <a:pt x="2730621" y="637863"/>
                  <a:pt x="2732943" y="635361"/>
                  <a:pt x="2735087" y="632860"/>
                </a:cubicBezTo>
                <a:close/>
                <a:moveTo>
                  <a:pt x="2624048" y="629733"/>
                </a:moveTo>
                <a:cubicBezTo>
                  <a:pt x="2621904" y="630210"/>
                  <a:pt x="2619192" y="632026"/>
                  <a:pt x="2615913" y="635182"/>
                </a:cubicBezTo>
                <a:cubicBezTo>
                  <a:pt x="2621275" y="633931"/>
                  <a:pt x="2624848" y="633217"/>
                  <a:pt x="2628778" y="632324"/>
                </a:cubicBezTo>
                <a:cubicBezTo>
                  <a:pt x="2627769" y="630120"/>
                  <a:pt x="2626192" y="629256"/>
                  <a:pt x="2624048" y="629733"/>
                </a:cubicBezTo>
                <a:close/>
                <a:moveTo>
                  <a:pt x="2509248" y="629465"/>
                </a:moveTo>
                <a:cubicBezTo>
                  <a:pt x="2502101" y="628572"/>
                  <a:pt x="2495847" y="628929"/>
                  <a:pt x="2490310" y="630716"/>
                </a:cubicBezTo>
                <a:cubicBezTo>
                  <a:pt x="2491202" y="632146"/>
                  <a:pt x="2492095" y="633753"/>
                  <a:pt x="2492988" y="635182"/>
                </a:cubicBezTo>
                <a:cubicBezTo>
                  <a:pt x="2498349" y="633753"/>
                  <a:pt x="2504067" y="632860"/>
                  <a:pt x="2509426" y="631609"/>
                </a:cubicBezTo>
                <a:cubicBezTo>
                  <a:pt x="2509248" y="630894"/>
                  <a:pt x="2509248" y="630180"/>
                  <a:pt x="2509248" y="629465"/>
                </a:cubicBezTo>
                <a:close/>
                <a:moveTo>
                  <a:pt x="2500493" y="606595"/>
                </a:moveTo>
                <a:cubicBezTo>
                  <a:pt x="2497635" y="608739"/>
                  <a:pt x="2494776" y="610705"/>
                  <a:pt x="2491917" y="612849"/>
                </a:cubicBezTo>
                <a:lnTo>
                  <a:pt x="2491917" y="612491"/>
                </a:lnTo>
                <a:cubicBezTo>
                  <a:pt x="2488700" y="614993"/>
                  <a:pt x="2486200" y="618030"/>
                  <a:pt x="2484056" y="619996"/>
                </a:cubicBezTo>
                <a:cubicBezTo>
                  <a:pt x="2484770" y="621067"/>
                  <a:pt x="2485485" y="622140"/>
                  <a:pt x="2486021" y="623211"/>
                </a:cubicBezTo>
                <a:cubicBezTo>
                  <a:pt x="2486200" y="623211"/>
                  <a:pt x="2486378" y="623211"/>
                  <a:pt x="2486378" y="623211"/>
                </a:cubicBezTo>
                <a:cubicBezTo>
                  <a:pt x="2486914" y="622140"/>
                  <a:pt x="2487271" y="621067"/>
                  <a:pt x="2487807" y="619996"/>
                </a:cubicBezTo>
                <a:cubicBezTo>
                  <a:pt x="2487985" y="619459"/>
                  <a:pt x="2489058" y="618923"/>
                  <a:pt x="2489773" y="618745"/>
                </a:cubicBezTo>
                <a:cubicBezTo>
                  <a:pt x="2497276" y="616779"/>
                  <a:pt x="2500135" y="612134"/>
                  <a:pt x="2500493" y="606595"/>
                </a:cubicBezTo>
                <a:close/>
                <a:moveTo>
                  <a:pt x="1982171" y="598912"/>
                </a:moveTo>
                <a:cubicBezTo>
                  <a:pt x="1972289" y="599032"/>
                  <a:pt x="1958639" y="604095"/>
                  <a:pt x="1941254" y="614100"/>
                </a:cubicBezTo>
                <a:cubicBezTo>
                  <a:pt x="1957513" y="612313"/>
                  <a:pt x="1970556" y="609990"/>
                  <a:pt x="1982171" y="598912"/>
                </a:cubicBezTo>
                <a:close/>
                <a:moveTo>
                  <a:pt x="2776897" y="589086"/>
                </a:moveTo>
                <a:cubicBezTo>
                  <a:pt x="2776717" y="589086"/>
                  <a:pt x="2776717" y="589443"/>
                  <a:pt x="2776717" y="589443"/>
                </a:cubicBezTo>
                <a:cubicBezTo>
                  <a:pt x="2776717" y="589443"/>
                  <a:pt x="2777075" y="589443"/>
                  <a:pt x="2777075" y="589443"/>
                </a:cubicBezTo>
                <a:cubicBezTo>
                  <a:pt x="2776897" y="589265"/>
                  <a:pt x="2776897" y="589086"/>
                  <a:pt x="2776897" y="589086"/>
                </a:cubicBezTo>
                <a:close/>
                <a:moveTo>
                  <a:pt x="4160453" y="585982"/>
                </a:moveTo>
                <a:cubicBezTo>
                  <a:pt x="4159492" y="584977"/>
                  <a:pt x="4158019" y="585334"/>
                  <a:pt x="4155160" y="586228"/>
                </a:cubicBezTo>
                <a:lnTo>
                  <a:pt x="4155338" y="586228"/>
                </a:lnTo>
                <a:cubicBezTo>
                  <a:pt x="4150693" y="587657"/>
                  <a:pt x="4146405" y="589621"/>
                  <a:pt x="4141402" y="591587"/>
                </a:cubicBezTo>
                <a:cubicBezTo>
                  <a:pt x="4141581" y="592302"/>
                  <a:pt x="4141759" y="592660"/>
                  <a:pt x="4141759" y="593194"/>
                </a:cubicBezTo>
                <a:cubicBezTo>
                  <a:pt x="4151230" y="593194"/>
                  <a:pt x="4159984" y="596053"/>
                  <a:pt x="4167488" y="600878"/>
                </a:cubicBezTo>
                <a:cubicBezTo>
                  <a:pt x="4171419" y="599092"/>
                  <a:pt x="4175171" y="596948"/>
                  <a:pt x="4178566" y="593731"/>
                </a:cubicBezTo>
                <a:cubicBezTo>
                  <a:pt x="4173205" y="593909"/>
                  <a:pt x="4167846" y="593909"/>
                  <a:pt x="4162665" y="593909"/>
                </a:cubicBezTo>
                <a:cubicBezTo>
                  <a:pt x="4161860" y="589354"/>
                  <a:pt x="4161413" y="586987"/>
                  <a:pt x="4160453" y="585982"/>
                </a:cubicBezTo>
                <a:close/>
                <a:moveTo>
                  <a:pt x="2144760" y="584440"/>
                </a:moveTo>
                <a:cubicBezTo>
                  <a:pt x="2144760" y="584977"/>
                  <a:pt x="2144760" y="585691"/>
                  <a:pt x="2144760" y="586228"/>
                </a:cubicBezTo>
                <a:cubicBezTo>
                  <a:pt x="2145475" y="586228"/>
                  <a:pt x="2146011" y="586228"/>
                  <a:pt x="2146726" y="586228"/>
                </a:cubicBezTo>
                <a:cubicBezTo>
                  <a:pt x="2146548" y="585513"/>
                  <a:pt x="2146548" y="584440"/>
                  <a:pt x="2146548" y="584440"/>
                </a:cubicBezTo>
                <a:cubicBezTo>
                  <a:pt x="2146189" y="584084"/>
                  <a:pt x="2145475" y="584440"/>
                  <a:pt x="2144760" y="584440"/>
                </a:cubicBezTo>
                <a:close/>
                <a:moveTo>
                  <a:pt x="4197148" y="580688"/>
                </a:moveTo>
                <a:cubicBezTo>
                  <a:pt x="4194111" y="583011"/>
                  <a:pt x="4192323" y="584618"/>
                  <a:pt x="4190357" y="586048"/>
                </a:cubicBezTo>
                <a:cubicBezTo>
                  <a:pt x="4190716" y="586584"/>
                  <a:pt x="4190894" y="587299"/>
                  <a:pt x="4191072" y="587835"/>
                </a:cubicBezTo>
                <a:cubicBezTo>
                  <a:pt x="4193038" y="586762"/>
                  <a:pt x="4195004" y="586048"/>
                  <a:pt x="4196790" y="584798"/>
                </a:cubicBezTo>
                <a:cubicBezTo>
                  <a:pt x="4197148" y="584440"/>
                  <a:pt x="4196970" y="583189"/>
                  <a:pt x="4197148" y="580688"/>
                </a:cubicBezTo>
                <a:close/>
                <a:moveTo>
                  <a:pt x="4171061" y="579437"/>
                </a:moveTo>
                <a:cubicBezTo>
                  <a:pt x="4170346" y="579259"/>
                  <a:pt x="4168917" y="581940"/>
                  <a:pt x="4168917" y="582118"/>
                </a:cubicBezTo>
                <a:cubicBezTo>
                  <a:pt x="4169990" y="583725"/>
                  <a:pt x="4171241" y="585155"/>
                  <a:pt x="4173027" y="587299"/>
                </a:cubicBezTo>
                <a:cubicBezTo>
                  <a:pt x="4174278" y="584977"/>
                  <a:pt x="4174992" y="583547"/>
                  <a:pt x="4175707" y="582118"/>
                </a:cubicBezTo>
                <a:cubicBezTo>
                  <a:pt x="4174100" y="581225"/>
                  <a:pt x="4172670" y="579795"/>
                  <a:pt x="4171061" y="579437"/>
                </a:cubicBezTo>
                <a:close/>
                <a:moveTo>
                  <a:pt x="5753724" y="571576"/>
                </a:moveTo>
                <a:lnTo>
                  <a:pt x="5753724" y="571754"/>
                </a:lnTo>
                <a:cubicBezTo>
                  <a:pt x="5751937" y="573183"/>
                  <a:pt x="5750329" y="574613"/>
                  <a:pt x="5748544" y="576222"/>
                </a:cubicBezTo>
                <a:cubicBezTo>
                  <a:pt x="5748900" y="576579"/>
                  <a:pt x="5749078" y="577115"/>
                  <a:pt x="5749436" y="577471"/>
                </a:cubicBezTo>
                <a:cubicBezTo>
                  <a:pt x="5751580" y="576400"/>
                  <a:pt x="5753546" y="575327"/>
                  <a:pt x="5755510" y="574256"/>
                </a:cubicBezTo>
                <a:cubicBezTo>
                  <a:pt x="5754976" y="573363"/>
                  <a:pt x="5753724" y="571576"/>
                  <a:pt x="5753724" y="571576"/>
                </a:cubicBezTo>
                <a:close/>
                <a:moveTo>
                  <a:pt x="2824713" y="570709"/>
                </a:moveTo>
                <a:lnTo>
                  <a:pt x="2824780" y="572112"/>
                </a:lnTo>
                <a:lnTo>
                  <a:pt x="2824528" y="571592"/>
                </a:lnTo>
                <a:lnTo>
                  <a:pt x="2824600" y="571039"/>
                </a:lnTo>
                <a:cubicBezTo>
                  <a:pt x="2824600" y="571039"/>
                  <a:pt x="2824600" y="571039"/>
                  <a:pt x="2824600" y="570861"/>
                </a:cubicBezTo>
                <a:close/>
                <a:moveTo>
                  <a:pt x="2745986" y="558355"/>
                </a:moveTo>
                <a:cubicBezTo>
                  <a:pt x="2738482" y="557460"/>
                  <a:pt x="2732407" y="560319"/>
                  <a:pt x="2726689" y="563714"/>
                </a:cubicBezTo>
                <a:cubicBezTo>
                  <a:pt x="2727584" y="563714"/>
                  <a:pt x="2728299" y="563714"/>
                  <a:pt x="2729191" y="563714"/>
                </a:cubicBezTo>
                <a:cubicBezTo>
                  <a:pt x="2732943" y="564073"/>
                  <a:pt x="2737231" y="562463"/>
                  <a:pt x="2741341" y="561392"/>
                </a:cubicBezTo>
                <a:cubicBezTo>
                  <a:pt x="2743127" y="561034"/>
                  <a:pt x="2744736" y="559963"/>
                  <a:pt x="2746166" y="558890"/>
                </a:cubicBezTo>
                <a:cubicBezTo>
                  <a:pt x="2746166" y="558712"/>
                  <a:pt x="2746166" y="558355"/>
                  <a:pt x="2746166" y="558355"/>
                </a:cubicBezTo>
                <a:close/>
                <a:moveTo>
                  <a:pt x="2587504" y="552994"/>
                </a:moveTo>
                <a:cubicBezTo>
                  <a:pt x="2583396" y="555316"/>
                  <a:pt x="2579465" y="558355"/>
                  <a:pt x="2575535" y="561392"/>
                </a:cubicBezTo>
                <a:cubicBezTo>
                  <a:pt x="2567673" y="567466"/>
                  <a:pt x="2559454" y="574078"/>
                  <a:pt x="2550521" y="577830"/>
                </a:cubicBezTo>
                <a:lnTo>
                  <a:pt x="2550699" y="577830"/>
                </a:lnTo>
                <a:cubicBezTo>
                  <a:pt x="2534976" y="584440"/>
                  <a:pt x="2520504" y="592838"/>
                  <a:pt x="2506747" y="602307"/>
                </a:cubicBezTo>
                <a:cubicBezTo>
                  <a:pt x="2508891" y="604273"/>
                  <a:pt x="2510499" y="606953"/>
                  <a:pt x="2511214" y="610705"/>
                </a:cubicBezTo>
                <a:cubicBezTo>
                  <a:pt x="2533190" y="599807"/>
                  <a:pt x="2555702" y="589265"/>
                  <a:pt x="2578394" y="579615"/>
                </a:cubicBezTo>
                <a:cubicBezTo>
                  <a:pt x="2579645" y="579081"/>
                  <a:pt x="2580716" y="578723"/>
                  <a:pt x="2581967" y="578186"/>
                </a:cubicBezTo>
                <a:cubicBezTo>
                  <a:pt x="2585540" y="570325"/>
                  <a:pt x="2586433" y="564965"/>
                  <a:pt x="2587504" y="552994"/>
                </a:cubicBezTo>
                <a:close/>
                <a:moveTo>
                  <a:pt x="4160521" y="549064"/>
                </a:moveTo>
                <a:cubicBezTo>
                  <a:pt x="4158911" y="550135"/>
                  <a:pt x="4157482" y="551028"/>
                  <a:pt x="4155874" y="552101"/>
                </a:cubicBezTo>
                <a:cubicBezTo>
                  <a:pt x="4156589" y="553352"/>
                  <a:pt x="4157126" y="554602"/>
                  <a:pt x="4157840" y="555853"/>
                </a:cubicBezTo>
                <a:cubicBezTo>
                  <a:pt x="4159270" y="554423"/>
                  <a:pt x="4160521" y="552994"/>
                  <a:pt x="4161950" y="551565"/>
                </a:cubicBezTo>
                <a:cubicBezTo>
                  <a:pt x="4161414" y="550850"/>
                  <a:pt x="4160521" y="549242"/>
                  <a:pt x="4160521" y="549242"/>
                </a:cubicBezTo>
                <a:close/>
                <a:moveTo>
                  <a:pt x="2272152" y="548528"/>
                </a:moveTo>
                <a:cubicBezTo>
                  <a:pt x="2268578" y="549242"/>
                  <a:pt x="2265005" y="550135"/>
                  <a:pt x="2261611" y="551386"/>
                </a:cubicBezTo>
                <a:lnTo>
                  <a:pt x="2261611" y="551565"/>
                </a:lnTo>
                <a:cubicBezTo>
                  <a:pt x="2261431" y="551743"/>
                  <a:pt x="2261611" y="552279"/>
                  <a:pt x="2261611" y="552994"/>
                </a:cubicBezTo>
                <a:cubicBezTo>
                  <a:pt x="2263934" y="553352"/>
                  <a:pt x="2266256" y="553709"/>
                  <a:pt x="2268400" y="554423"/>
                </a:cubicBezTo>
                <a:cubicBezTo>
                  <a:pt x="2269115" y="554245"/>
                  <a:pt x="2270008" y="554067"/>
                  <a:pt x="2270722" y="553887"/>
                </a:cubicBezTo>
                <a:cubicBezTo>
                  <a:pt x="2271795" y="553352"/>
                  <a:pt x="2272510" y="551565"/>
                  <a:pt x="2273403" y="550314"/>
                </a:cubicBezTo>
                <a:cubicBezTo>
                  <a:pt x="2273046" y="549599"/>
                  <a:pt x="2272510" y="548528"/>
                  <a:pt x="2272152" y="548528"/>
                </a:cubicBezTo>
                <a:close/>
                <a:moveTo>
                  <a:pt x="4113886" y="539415"/>
                </a:moveTo>
                <a:lnTo>
                  <a:pt x="4114066" y="539421"/>
                </a:lnTo>
                <a:lnTo>
                  <a:pt x="4114066" y="541023"/>
                </a:lnTo>
                <a:cubicBezTo>
                  <a:pt x="4115852" y="541559"/>
                  <a:pt x="4117640" y="541917"/>
                  <a:pt x="4119426" y="542274"/>
                </a:cubicBezTo>
                <a:cubicBezTo>
                  <a:pt x="4119426" y="541381"/>
                  <a:pt x="4119426" y="540488"/>
                  <a:pt x="4119426" y="539593"/>
                </a:cubicBezTo>
                <a:lnTo>
                  <a:pt x="4114066" y="539421"/>
                </a:lnTo>
                <a:lnTo>
                  <a:pt x="4114066" y="539415"/>
                </a:lnTo>
                <a:close/>
                <a:moveTo>
                  <a:pt x="2218730" y="530302"/>
                </a:moveTo>
                <a:cubicBezTo>
                  <a:pt x="2211940" y="534056"/>
                  <a:pt x="2204257" y="538344"/>
                  <a:pt x="2193180" y="544596"/>
                </a:cubicBezTo>
                <a:cubicBezTo>
                  <a:pt x="2206759" y="542096"/>
                  <a:pt x="2216586" y="540488"/>
                  <a:pt x="2226412" y="538522"/>
                </a:cubicBezTo>
                <a:cubicBezTo>
                  <a:pt x="2226056" y="534591"/>
                  <a:pt x="2225163" y="531017"/>
                  <a:pt x="2218730" y="530302"/>
                </a:cubicBezTo>
                <a:close/>
                <a:moveTo>
                  <a:pt x="4735303" y="515474"/>
                </a:moveTo>
                <a:cubicBezTo>
                  <a:pt x="4733159" y="516367"/>
                  <a:pt x="4730836" y="517438"/>
                  <a:pt x="4728692" y="518333"/>
                </a:cubicBezTo>
                <a:lnTo>
                  <a:pt x="4728692" y="518511"/>
                </a:lnTo>
                <a:cubicBezTo>
                  <a:pt x="4723154" y="522263"/>
                  <a:pt x="4716543" y="524585"/>
                  <a:pt x="4711360" y="528517"/>
                </a:cubicBezTo>
                <a:cubicBezTo>
                  <a:pt x="4718329" y="527802"/>
                  <a:pt x="4725298" y="527087"/>
                  <a:pt x="4732264" y="526194"/>
                </a:cubicBezTo>
                <a:cubicBezTo>
                  <a:pt x="4734588" y="525121"/>
                  <a:pt x="4737088" y="524050"/>
                  <a:pt x="4739233" y="522977"/>
                </a:cubicBezTo>
                <a:cubicBezTo>
                  <a:pt x="4739948" y="522621"/>
                  <a:pt x="4740306" y="521726"/>
                  <a:pt x="4740484" y="521370"/>
                </a:cubicBezTo>
                <a:cubicBezTo>
                  <a:pt x="4738876" y="519404"/>
                  <a:pt x="4737267" y="517618"/>
                  <a:pt x="4735303" y="515474"/>
                </a:cubicBezTo>
                <a:close/>
                <a:moveTo>
                  <a:pt x="3001842" y="512972"/>
                </a:moveTo>
                <a:cubicBezTo>
                  <a:pt x="3001127" y="513330"/>
                  <a:pt x="3000592" y="513865"/>
                  <a:pt x="2999878" y="514223"/>
                </a:cubicBezTo>
                <a:cubicBezTo>
                  <a:pt x="3000056" y="514760"/>
                  <a:pt x="2999878" y="516009"/>
                  <a:pt x="3000056" y="516009"/>
                </a:cubicBezTo>
                <a:cubicBezTo>
                  <a:pt x="3000770" y="516189"/>
                  <a:pt x="3001663" y="516009"/>
                  <a:pt x="3002378" y="516009"/>
                </a:cubicBezTo>
                <a:cubicBezTo>
                  <a:pt x="3002200" y="515116"/>
                  <a:pt x="3002022" y="514223"/>
                  <a:pt x="3001842" y="513150"/>
                </a:cubicBezTo>
                <a:close/>
                <a:moveTo>
                  <a:pt x="4627386" y="512615"/>
                </a:moveTo>
                <a:cubicBezTo>
                  <a:pt x="4622740" y="514760"/>
                  <a:pt x="4618452" y="516724"/>
                  <a:pt x="4614164" y="518689"/>
                </a:cubicBezTo>
                <a:lnTo>
                  <a:pt x="4613986" y="518689"/>
                </a:lnTo>
                <a:cubicBezTo>
                  <a:pt x="4612378" y="520119"/>
                  <a:pt x="4610412" y="520833"/>
                  <a:pt x="4608626" y="522085"/>
                </a:cubicBezTo>
                <a:cubicBezTo>
                  <a:pt x="4608804" y="523156"/>
                  <a:pt x="4609160" y="524407"/>
                  <a:pt x="4609160" y="525480"/>
                </a:cubicBezTo>
                <a:cubicBezTo>
                  <a:pt x="4611126" y="524765"/>
                  <a:pt x="4613092" y="524050"/>
                  <a:pt x="4614878" y="523336"/>
                </a:cubicBezTo>
                <a:cubicBezTo>
                  <a:pt x="4619346" y="521548"/>
                  <a:pt x="4625598" y="522085"/>
                  <a:pt x="4627386" y="512615"/>
                </a:cubicBezTo>
                <a:close/>
                <a:moveTo>
                  <a:pt x="4627028" y="504574"/>
                </a:moveTo>
                <a:cubicBezTo>
                  <a:pt x="4626493" y="505469"/>
                  <a:pt x="4625956" y="506183"/>
                  <a:pt x="4625420" y="507076"/>
                </a:cubicBezTo>
                <a:cubicBezTo>
                  <a:pt x="4626135" y="507433"/>
                  <a:pt x="4627742" y="507969"/>
                  <a:pt x="4627742" y="507969"/>
                </a:cubicBezTo>
                <a:cubicBezTo>
                  <a:pt x="4627564" y="506540"/>
                  <a:pt x="4627208" y="505469"/>
                  <a:pt x="4627028" y="504574"/>
                </a:cubicBezTo>
                <a:close/>
                <a:moveTo>
                  <a:pt x="4756028" y="501537"/>
                </a:moveTo>
                <a:cubicBezTo>
                  <a:pt x="4754063" y="502073"/>
                  <a:pt x="4752812" y="503144"/>
                  <a:pt x="4751740" y="506003"/>
                </a:cubicBezTo>
                <a:cubicBezTo>
                  <a:pt x="4751204" y="507076"/>
                  <a:pt x="4749775" y="508506"/>
                  <a:pt x="4749775" y="508506"/>
                </a:cubicBezTo>
                <a:cubicBezTo>
                  <a:pt x="4755492" y="510113"/>
                  <a:pt x="4752992" y="502610"/>
                  <a:pt x="4756028" y="501895"/>
                </a:cubicBezTo>
                <a:cubicBezTo>
                  <a:pt x="4756028" y="501715"/>
                  <a:pt x="4756028" y="501537"/>
                  <a:pt x="4756028" y="501537"/>
                </a:cubicBezTo>
                <a:close/>
                <a:moveTo>
                  <a:pt x="4624907" y="501292"/>
                </a:moveTo>
                <a:cubicBezTo>
                  <a:pt x="4623991" y="501537"/>
                  <a:pt x="4622651" y="502877"/>
                  <a:pt x="4620418" y="505110"/>
                </a:cubicBezTo>
                <a:cubicBezTo>
                  <a:pt x="4620776" y="505289"/>
                  <a:pt x="4621132" y="505469"/>
                  <a:pt x="4621490" y="505469"/>
                </a:cubicBezTo>
                <a:lnTo>
                  <a:pt x="4626745" y="503891"/>
                </a:lnTo>
                <a:lnTo>
                  <a:pt x="4626850" y="504039"/>
                </a:lnTo>
                <a:lnTo>
                  <a:pt x="4626850" y="503859"/>
                </a:lnTo>
                <a:lnTo>
                  <a:pt x="4626745" y="503891"/>
                </a:lnTo>
                <a:close/>
                <a:moveTo>
                  <a:pt x="4176422" y="499393"/>
                </a:moveTo>
                <a:lnTo>
                  <a:pt x="4176422" y="499571"/>
                </a:lnTo>
                <a:cubicBezTo>
                  <a:pt x="4173920" y="500644"/>
                  <a:pt x="4171419" y="501715"/>
                  <a:pt x="4168917" y="502788"/>
                </a:cubicBezTo>
                <a:cubicBezTo>
                  <a:pt x="4169275" y="503503"/>
                  <a:pt x="4169453" y="504396"/>
                  <a:pt x="4169812" y="505289"/>
                </a:cubicBezTo>
                <a:cubicBezTo>
                  <a:pt x="4172490" y="504218"/>
                  <a:pt x="4174992" y="503325"/>
                  <a:pt x="4177493" y="502252"/>
                </a:cubicBezTo>
                <a:cubicBezTo>
                  <a:pt x="4177136" y="501359"/>
                  <a:pt x="4176778" y="500286"/>
                  <a:pt x="4176422" y="499393"/>
                </a:cubicBezTo>
                <a:close/>
                <a:moveTo>
                  <a:pt x="4183925" y="494034"/>
                </a:moveTo>
                <a:cubicBezTo>
                  <a:pt x="4183210" y="495641"/>
                  <a:pt x="4182496" y="497249"/>
                  <a:pt x="4181781" y="498856"/>
                </a:cubicBezTo>
                <a:cubicBezTo>
                  <a:pt x="4181781" y="499037"/>
                  <a:pt x="4183032" y="500286"/>
                  <a:pt x="4183032" y="500286"/>
                </a:cubicBezTo>
                <a:cubicBezTo>
                  <a:pt x="4184105" y="499037"/>
                  <a:pt x="4185176" y="497607"/>
                  <a:pt x="4186249" y="496178"/>
                </a:cubicBezTo>
                <a:cubicBezTo>
                  <a:pt x="4185534" y="495463"/>
                  <a:pt x="4184105" y="494034"/>
                  <a:pt x="4184105" y="494034"/>
                </a:cubicBezTo>
                <a:close/>
                <a:moveTo>
                  <a:pt x="2422593" y="493675"/>
                </a:moveTo>
                <a:cubicBezTo>
                  <a:pt x="2421342" y="493497"/>
                  <a:pt x="2418661" y="494748"/>
                  <a:pt x="2418661" y="494748"/>
                </a:cubicBezTo>
                <a:lnTo>
                  <a:pt x="2418483" y="494748"/>
                </a:lnTo>
                <a:cubicBezTo>
                  <a:pt x="2417768" y="495463"/>
                  <a:pt x="2418127" y="497249"/>
                  <a:pt x="2418127" y="499571"/>
                </a:cubicBezTo>
                <a:cubicBezTo>
                  <a:pt x="2420449" y="498500"/>
                  <a:pt x="2422235" y="497785"/>
                  <a:pt x="2423844" y="496712"/>
                </a:cubicBezTo>
                <a:cubicBezTo>
                  <a:pt x="2424201" y="496534"/>
                  <a:pt x="2423308" y="493675"/>
                  <a:pt x="2422593" y="493675"/>
                </a:cubicBezTo>
                <a:close/>
                <a:moveTo>
                  <a:pt x="2388825" y="492246"/>
                </a:moveTo>
                <a:cubicBezTo>
                  <a:pt x="2387215" y="493319"/>
                  <a:pt x="2387215" y="497249"/>
                  <a:pt x="2385786" y="502430"/>
                </a:cubicBezTo>
                <a:cubicBezTo>
                  <a:pt x="2390789" y="501359"/>
                  <a:pt x="2394184" y="501895"/>
                  <a:pt x="2395613" y="500286"/>
                </a:cubicBezTo>
                <a:cubicBezTo>
                  <a:pt x="2397221" y="498500"/>
                  <a:pt x="2396864" y="495105"/>
                  <a:pt x="2397401" y="492424"/>
                </a:cubicBezTo>
                <a:cubicBezTo>
                  <a:pt x="2394542" y="492246"/>
                  <a:pt x="2390967" y="490995"/>
                  <a:pt x="2388825" y="492246"/>
                </a:cubicBezTo>
                <a:close/>
                <a:moveTo>
                  <a:pt x="2722045" y="491531"/>
                </a:moveTo>
                <a:lnTo>
                  <a:pt x="2722045" y="491710"/>
                </a:lnTo>
                <a:cubicBezTo>
                  <a:pt x="2720257" y="492068"/>
                  <a:pt x="2718293" y="492604"/>
                  <a:pt x="2716505" y="493139"/>
                </a:cubicBezTo>
                <a:cubicBezTo>
                  <a:pt x="2718828" y="492783"/>
                  <a:pt x="2720972" y="492424"/>
                  <a:pt x="2723296" y="492068"/>
                </a:cubicBezTo>
                <a:cubicBezTo>
                  <a:pt x="2722938" y="491890"/>
                  <a:pt x="2722045" y="491531"/>
                  <a:pt x="2722045" y="491531"/>
                </a:cubicBezTo>
                <a:close/>
                <a:moveTo>
                  <a:pt x="4716207" y="482866"/>
                </a:moveTo>
                <a:cubicBezTo>
                  <a:pt x="4714532" y="483804"/>
                  <a:pt x="4713148" y="485903"/>
                  <a:pt x="4711540" y="489566"/>
                </a:cubicBezTo>
                <a:cubicBezTo>
                  <a:pt x="4715292" y="487422"/>
                  <a:pt x="4719044" y="485277"/>
                  <a:pt x="4722617" y="483133"/>
                </a:cubicBezTo>
                <a:cubicBezTo>
                  <a:pt x="4719848" y="482151"/>
                  <a:pt x="4717882" y="481928"/>
                  <a:pt x="4716207" y="482866"/>
                </a:cubicBezTo>
                <a:close/>
                <a:moveTo>
                  <a:pt x="4786046" y="475272"/>
                </a:moveTo>
                <a:cubicBezTo>
                  <a:pt x="4778542" y="479204"/>
                  <a:pt x="4772288" y="482419"/>
                  <a:pt x="4765320" y="485992"/>
                </a:cubicBezTo>
                <a:cubicBezTo>
                  <a:pt x="4765498" y="488851"/>
                  <a:pt x="4765676" y="491890"/>
                  <a:pt x="4765676" y="494927"/>
                </a:cubicBezTo>
                <a:cubicBezTo>
                  <a:pt x="4766390" y="495283"/>
                  <a:pt x="4767106" y="495283"/>
                  <a:pt x="4767998" y="495283"/>
                </a:cubicBezTo>
                <a:cubicBezTo>
                  <a:pt x="4767106" y="495819"/>
                  <a:pt x="4766390" y="496356"/>
                  <a:pt x="4765676" y="496892"/>
                </a:cubicBezTo>
                <a:cubicBezTo>
                  <a:pt x="4765676" y="497963"/>
                  <a:pt x="4765676" y="498856"/>
                  <a:pt x="4765676" y="499751"/>
                </a:cubicBezTo>
                <a:cubicBezTo>
                  <a:pt x="4766749" y="500286"/>
                  <a:pt x="4767642" y="500644"/>
                  <a:pt x="4768715" y="501001"/>
                </a:cubicBezTo>
                <a:lnTo>
                  <a:pt x="4768893" y="500822"/>
                </a:lnTo>
                <a:cubicBezTo>
                  <a:pt x="4770859" y="489924"/>
                  <a:pt x="4788011" y="491175"/>
                  <a:pt x="4786046" y="475272"/>
                </a:cubicBezTo>
                <a:close/>
                <a:moveTo>
                  <a:pt x="4706001" y="473308"/>
                </a:moveTo>
                <a:cubicBezTo>
                  <a:pt x="4704035" y="474023"/>
                  <a:pt x="4702071" y="474916"/>
                  <a:pt x="4700106" y="475630"/>
                </a:cubicBezTo>
                <a:cubicBezTo>
                  <a:pt x="4700284" y="476345"/>
                  <a:pt x="4700640" y="477060"/>
                  <a:pt x="4700998" y="477774"/>
                </a:cubicBezTo>
                <a:cubicBezTo>
                  <a:pt x="4702784" y="476881"/>
                  <a:pt x="4704750" y="475808"/>
                  <a:pt x="4706538" y="474916"/>
                </a:cubicBezTo>
                <a:cubicBezTo>
                  <a:pt x="4706179" y="474557"/>
                  <a:pt x="4705823" y="473486"/>
                  <a:pt x="4705823" y="473486"/>
                </a:cubicBezTo>
                <a:close/>
                <a:moveTo>
                  <a:pt x="4818920" y="462051"/>
                </a:moveTo>
                <a:cubicBezTo>
                  <a:pt x="4816062" y="464017"/>
                  <a:pt x="4813382" y="465981"/>
                  <a:pt x="4809808" y="468483"/>
                </a:cubicBezTo>
                <a:cubicBezTo>
                  <a:pt x="4817313" y="470269"/>
                  <a:pt x="4817313" y="470269"/>
                  <a:pt x="4818920" y="462051"/>
                </a:cubicBezTo>
                <a:close/>
                <a:moveTo>
                  <a:pt x="4212334" y="460978"/>
                </a:moveTo>
                <a:cubicBezTo>
                  <a:pt x="4210190" y="461337"/>
                  <a:pt x="4208224" y="461873"/>
                  <a:pt x="4206260" y="462408"/>
                </a:cubicBezTo>
                <a:cubicBezTo>
                  <a:pt x="4206438" y="462766"/>
                  <a:pt x="4206438" y="462944"/>
                  <a:pt x="4206438" y="463302"/>
                </a:cubicBezTo>
                <a:cubicBezTo>
                  <a:pt x="4208582" y="462944"/>
                  <a:pt x="4210548" y="462408"/>
                  <a:pt x="4212512" y="461873"/>
                </a:cubicBezTo>
                <a:cubicBezTo>
                  <a:pt x="4212512" y="461515"/>
                  <a:pt x="4212512" y="460978"/>
                  <a:pt x="4212512" y="460978"/>
                </a:cubicBezTo>
                <a:close/>
                <a:moveTo>
                  <a:pt x="4834286" y="451687"/>
                </a:moveTo>
                <a:cubicBezTo>
                  <a:pt x="4825890" y="451868"/>
                  <a:pt x="4823387" y="458120"/>
                  <a:pt x="4819099" y="461873"/>
                </a:cubicBezTo>
                <a:cubicBezTo>
                  <a:pt x="4821065" y="462944"/>
                  <a:pt x="4823030" y="464195"/>
                  <a:pt x="4825353" y="465625"/>
                </a:cubicBezTo>
                <a:cubicBezTo>
                  <a:pt x="4825890" y="465088"/>
                  <a:pt x="4826960" y="464195"/>
                  <a:pt x="4826960" y="464195"/>
                </a:cubicBezTo>
                <a:lnTo>
                  <a:pt x="4826960" y="464017"/>
                </a:lnTo>
                <a:cubicBezTo>
                  <a:pt x="4829462" y="460085"/>
                  <a:pt x="4831607" y="456334"/>
                  <a:pt x="4834286" y="451687"/>
                </a:cubicBezTo>
                <a:close/>
                <a:moveTo>
                  <a:pt x="5448377" y="451331"/>
                </a:moveTo>
                <a:cubicBezTo>
                  <a:pt x="5446768" y="453117"/>
                  <a:pt x="5445160" y="455083"/>
                  <a:pt x="5443552" y="456870"/>
                </a:cubicBezTo>
                <a:cubicBezTo>
                  <a:pt x="5444267" y="457405"/>
                  <a:pt x="5444804" y="457941"/>
                  <a:pt x="5445518" y="458478"/>
                </a:cubicBezTo>
                <a:cubicBezTo>
                  <a:pt x="5446946" y="456512"/>
                  <a:pt x="5448556" y="454726"/>
                  <a:pt x="5449984" y="452760"/>
                </a:cubicBezTo>
                <a:cubicBezTo>
                  <a:pt x="5449448" y="452402"/>
                  <a:pt x="5448377" y="451509"/>
                  <a:pt x="5448377" y="451509"/>
                </a:cubicBezTo>
                <a:close/>
                <a:moveTo>
                  <a:pt x="4778006" y="450795"/>
                </a:moveTo>
                <a:cubicBezTo>
                  <a:pt x="4776040" y="450973"/>
                  <a:pt x="4773896" y="450616"/>
                  <a:pt x="4772288" y="451331"/>
                </a:cubicBezTo>
                <a:cubicBezTo>
                  <a:pt x="4770144" y="452402"/>
                  <a:pt x="4767998" y="455797"/>
                  <a:pt x="4766390" y="455619"/>
                </a:cubicBezTo>
                <a:cubicBezTo>
                  <a:pt x="4754063" y="453653"/>
                  <a:pt x="4747809" y="463302"/>
                  <a:pt x="4739233" y="468662"/>
                </a:cubicBezTo>
                <a:lnTo>
                  <a:pt x="4739233" y="469020"/>
                </a:lnTo>
                <a:cubicBezTo>
                  <a:pt x="4736018" y="470984"/>
                  <a:pt x="4733337" y="474023"/>
                  <a:pt x="4730122" y="476881"/>
                </a:cubicBezTo>
                <a:cubicBezTo>
                  <a:pt x="4731372" y="478489"/>
                  <a:pt x="4732622" y="480096"/>
                  <a:pt x="4733696" y="481704"/>
                </a:cubicBezTo>
                <a:cubicBezTo>
                  <a:pt x="4737806" y="481704"/>
                  <a:pt x="4741735" y="478667"/>
                  <a:pt x="4745845" y="479025"/>
                </a:cubicBezTo>
                <a:cubicBezTo>
                  <a:pt x="4746560" y="478667"/>
                  <a:pt x="4747274" y="478489"/>
                  <a:pt x="4747989" y="478131"/>
                </a:cubicBezTo>
                <a:cubicBezTo>
                  <a:pt x="4747809" y="478489"/>
                  <a:pt x="4747630" y="478845"/>
                  <a:pt x="4747452" y="479204"/>
                </a:cubicBezTo>
                <a:cubicBezTo>
                  <a:pt x="4748524" y="479560"/>
                  <a:pt x="4749775" y="480096"/>
                  <a:pt x="4751026" y="481348"/>
                </a:cubicBezTo>
                <a:cubicBezTo>
                  <a:pt x="4751740" y="480455"/>
                  <a:pt x="4751740" y="479560"/>
                  <a:pt x="4751740" y="478667"/>
                </a:cubicBezTo>
                <a:cubicBezTo>
                  <a:pt x="4750668" y="473308"/>
                  <a:pt x="4753348" y="471879"/>
                  <a:pt x="4756922" y="469555"/>
                </a:cubicBezTo>
                <a:cubicBezTo>
                  <a:pt x="4764426" y="464732"/>
                  <a:pt x="4771752" y="459192"/>
                  <a:pt x="4779076" y="454012"/>
                </a:cubicBezTo>
                <a:cubicBezTo>
                  <a:pt x="4778720" y="452939"/>
                  <a:pt x="4778362" y="451868"/>
                  <a:pt x="4778006" y="450795"/>
                </a:cubicBezTo>
                <a:close/>
                <a:moveTo>
                  <a:pt x="4719400" y="446865"/>
                </a:moveTo>
                <a:cubicBezTo>
                  <a:pt x="4713862" y="449902"/>
                  <a:pt x="4710289" y="451868"/>
                  <a:pt x="4706716" y="453831"/>
                </a:cubicBezTo>
                <a:cubicBezTo>
                  <a:pt x="4707252" y="454726"/>
                  <a:pt x="4707608" y="455441"/>
                  <a:pt x="4708145" y="456334"/>
                </a:cubicBezTo>
                <a:cubicBezTo>
                  <a:pt x="4711540" y="454012"/>
                  <a:pt x="4717258" y="455797"/>
                  <a:pt x="4719580" y="446865"/>
                </a:cubicBezTo>
                <a:close/>
                <a:moveTo>
                  <a:pt x="4733874" y="445255"/>
                </a:moveTo>
                <a:cubicBezTo>
                  <a:pt x="4731552" y="445792"/>
                  <a:pt x="4729408" y="446328"/>
                  <a:pt x="4727083" y="446865"/>
                </a:cubicBezTo>
                <a:cubicBezTo>
                  <a:pt x="4727264" y="447579"/>
                  <a:pt x="4727442" y="448114"/>
                  <a:pt x="4727442" y="448650"/>
                </a:cubicBezTo>
                <a:cubicBezTo>
                  <a:pt x="4729764" y="448294"/>
                  <a:pt x="4732086" y="448114"/>
                  <a:pt x="4734410" y="447758"/>
                </a:cubicBezTo>
                <a:cubicBezTo>
                  <a:pt x="4734230" y="446865"/>
                  <a:pt x="4733874" y="446150"/>
                  <a:pt x="4733874" y="445255"/>
                </a:cubicBezTo>
                <a:close/>
                <a:moveTo>
                  <a:pt x="4128002" y="441862"/>
                </a:moveTo>
                <a:cubicBezTo>
                  <a:pt x="4126036" y="441862"/>
                  <a:pt x="4123892" y="441325"/>
                  <a:pt x="4122642" y="443826"/>
                </a:cubicBezTo>
                <a:cubicBezTo>
                  <a:pt x="4122106" y="444721"/>
                  <a:pt x="4121391" y="445614"/>
                  <a:pt x="4120677" y="446507"/>
                </a:cubicBezTo>
                <a:cubicBezTo>
                  <a:pt x="4122462" y="445435"/>
                  <a:pt x="4124250" y="444362"/>
                  <a:pt x="4126036" y="442933"/>
                </a:cubicBezTo>
                <a:cubicBezTo>
                  <a:pt x="4126750" y="442397"/>
                  <a:pt x="4127287" y="442218"/>
                  <a:pt x="4128002" y="441862"/>
                </a:cubicBezTo>
                <a:close/>
                <a:moveTo>
                  <a:pt x="4726190" y="431320"/>
                </a:moveTo>
                <a:lnTo>
                  <a:pt x="4726235" y="431405"/>
                </a:lnTo>
                <a:lnTo>
                  <a:pt x="4717972" y="436679"/>
                </a:lnTo>
                <a:cubicBezTo>
                  <a:pt x="4724224" y="440789"/>
                  <a:pt x="4726368" y="438289"/>
                  <a:pt x="4727620" y="434000"/>
                </a:cubicBezTo>
                <a:lnTo>
                  <a:pt x="4726235" y="431405"/>
                </a:lnTo>
                <a:lnTo>
                  <a:pt x="4726368" y="431320"/>
                </a:lnTo>
                <a:close/>
                <a:moveTo>
                  <a:pt x="4830065" y="426898"/>
                </a:moveTo>
                <a:cubicBezTo>
                  <a:pt x="4828881" y="426451"/>
                  <a:pt x="4828211" y="426764"/>
                  <a:pt x="4827140" y="427568"/>
                </a:cubicBezTo>
                <a:cubicBezTo>
                  <a:pt x="4820706" y="432749"/>
                  <a:pt x="4814276" y="438108"/>
                  <a:pt x="4807842" y="443469"/>
                </a:cubicBezTo>
                <a:cubicBezTo>
                  <a:pt x="4798910" y="450795"/>
                  <a:pt x="4791584" y="460800"/>
                  <a:pt x="4778006" y="460264"/>
                </a:cubicBezTo>
                <a:cubicBezTo>
                  <a:pt x="4777111" y="460085"/>
                  <a:pt x="4775147" y="462408"/>
                  <a:pt x="4775147" y="463659"/>
                </a:cubicBezTo>
                <a:cubicBezTo>
                  <a:pt x="4775147" y="464910"/>
                  <a:pt x="4777291" y="466876"/>
                  <a:pt x="4778362" y="466876"/>
                </a:cubicBezTo>
                <a:cubicBezTo>
                  <a:pt x="4781221" y="466517"/>
                  <a:pt x="4784438" y="465981"/>
                  <a:pt x="4786938" y="464374"/>
                </a:cubicBezTo>
                <a:cubicBezTo>
                  <a:pt x="4796944" y="458120"/>
                  <a:pt x="4806234" y="450258"/>
                  <a:pt x="4816776" y="445435"/>
                </a:cubicBezTo>
                <a:cubicBezTo>
                  <a:pt x="4824816" y="441862"/>
                  <a:pt x="4830534" y="436859"/>
                  <a:pt x="4836073" y="430783"/>
                </a:cubicBezTo>
                <a:cubicBezTo>
                  <a:pt x="4832946" y="428550"/>
                  <a:pt x="4831248" y="427344"/>
                  <a:pt x="4830065" y="426898"/>
                </a:cubicBezTo>
                <a:close/>
                <a:moveTo>
                  <a:pt x="4822316" y="417026"/>
                </a:moveTo>
                <a:cubicBezTo>
                  <a:pt x="4820528" y="417563"/>
                  <a:pt x="4818384" y="417919"/>
                  <a:pt x="4816776" y="418992"/>
                </a:cubicBezTo>
                <a:cubicBezTo>
                  <a:pt x="4806950" y="425959"/>
                  <a:pt x="4797302" y="432928"/>
                  <a:pt x="4787653" y="440074"/>
                </a:cubicBezTo>
                <a:cubicBezTo>
                  <a:pt x="4787474" y="440253"/>
                  <a:pt x="4787116" y="440611"/>
                  <a:pt x="4787116" y="441147"/>
                </a:cubicBezTo>
                <a:cubicBezTo>
                  <a:pt x="4787296" y="441504"/>
                  <a:pt x="4787474" y="442040"/>
                  <a:pt x="4787474" y="442397"/>
                </a:cubicBezTo>
                <a:cubicBezTo>
                  <a:pt x="4787296" y="442397"/>
                  <a:pt x="4786938" y="442397"/>
                  <a:pt x="4786938" y="442397"/>
                </a:cubicBezTo>
                <a:lnTo>
                  <a:pt x="4786760" y="442397"/>
                </a:lnTo>
                <a:cubicBezTo>
                  <a:pt x="4786760" y="443826"/>
                  <a:pt x="4786582" y="445792"/>
                  <a:pt x="4786224" y="448294"/>
                </a:cubicBezTo>
                <a:cubicBezTo>
                  <a:pt x="4791406" y="444899"/>
                  <a:pt x="4796229" y="441682"/>
                  <a:pt x="4800876" y="438289"/>
                </a:cubicBezTo>
                <a:cubicBezTo>
                  <a:pt x="4799624" y="438645"/>
                  <a:pt x="4798373" y="439181"/>
                  <a:pt x="4797122" y="439718"/>
                </a:cubicBezTo>
                <a:cubicBezTo>
                  <a:pt x="4796588" y="438823"/>
                  <a:pt x="4796229" y="437930"/>
                  <a:pt x="4795872" y="436859"/>
                </a:cubicBezTo>
                <a:cubicBezTo>
                  <a:pt x="4799446" y="433106"/>
                  <a:pt x="4804090" y="432391"/>
                  <a:pt x="4808735" y="432391"/>
                </a:cubicBezTo>
                <a:cubicBezTo>
                  <a:pt x="4814096" y="428283"/>
                  <a:pt x="4819099" y="424173"/>
                  <a:pt x="4824102" y="419885"/>
                </a:cubicBezTo>
                <a:cubicBezTo>
                  <a:pt x="4823565" y="418992"/>
                  <a:pt x="4822850" y="417919"/>
                  <a:pt x="4822316" y="417026"/>
                </a:cubicBezTo>
                <a:close/>
                <a:moveTo>
                  <a:pt x="3526062" y="410236"/>
                </a:moveTo>
                <a:cubicBezTo>
                  <a:pt x="3524454" y="408987"/>
                  <a:pt x="3523381" y="409521"/>
                  <a:pt x="3522666" y="411309"/>
                </a:cubicBezTo>
                <a:cubicBezTo>
                  <a:pt x="3521773" y="413275"/>
                  <a:pt x="3521059" y="415061"/>
                  <a:pt x="3518200" y="414524"/>
                </a:cubicBezTo>
                <a:lnTo>
                  <a:pt x="3508551" y="418487"/>
                </a:lnTo>
                <a:lnTo>
                  <a:pt x="3508551" y="418456"/>
                </a:lnTo>
                <a:lnTo>
                  <a:pt x="3508194" y="418634"/>
                </a:lnTo>
                <a:lnTo>
                  <a:pt x="3508551" y="418487"/>
                </a:lnTo>
                <a:lnTo>
                  <a:pt x="3508551" y="424173"/>
                </a:lnTo>
                <a:cubicBezTo>
                  <a:pt x="3509624" y="424888"/>
                  <a:pt x="3511231" y="425603"/>
                  <a:pt x="3512304" y="425244"/>
                </a:cubicBezTo>
                <a:cubicBezTo>
                  <a:pt x="3514448" y="424710"/>
                  <a:pt x="3516234" y="423458"/>
                  <a:pt x="3518200" y="422386"/>
                </a:cubicBezTo>
                <a:cubicBezTo>
                  <a:pt x="3518022" y="422207"/>
                  <a:pt x="3518022" y="421851"/>
                  <a:pt x="3518022" y="421851"/>
                </a:cubicBezTo>
                <a:cubicBezTo>
                  <a:pt x="3520522" y="420241"/>
                  <a:pt x="3523024" y="418812"/>
                  <a:pt x="3525525" y="417204"/>
                </a:cubicBezTo>
                <a:cubicBezTo>
                  <a:pt x="3526240" y="416848"/>
                  <a:pt x="3526776" y="416312"/>
                  <a:pt x="3527132" y="415775"/>
                </a:cubicBezTo>
                <a:cubicBezTo>
                  <a:pt x="3528206" y="414346"/>
                  <a:pt x="3528206" y="413095"/>
                  <a:pt x="3527312" y="411845"/>
                </a:cubicBezTo>
                <a:cubicBezTo>
                  <a:pt x="3526776" y="411309"/>
                  <a:pt x="3526598" y="410594"/>
                  <a:pt x="3526062" y="410236"/>
                </a:cubicBezTo>
                <a:close/>
                <a:moveTo>
                  <a:pt x="4805164" y="396122"/>
                </a:moveTo>
                <a:cubicBezTo>
                  <a:pt x="4800876" y="395942"/>
                  <a:pt x="4795872" y="394513"/>
                  <a:pt x="4795692" y="402374"/>
                </a:cubicBezTo>
                <a:cubicBezTo>
                  <a:pt x="4799266" y="400052"/>
                  <a:pt x="4802305" y="398086"/>
                  <a:pt x="4805164" y="396122"/>
                </a:cubicBezTo>
                <a:close/>
                <a:moveTo>
                  <a:pt x="4895034" y="377719"/>
                </a:moveTo>
                <a:cubicBezTo>
                  <a:pt x="4886279" y="375216"/>
                  <a:pt x="4881991" y="380934"/>
                  <a:pt x="4876452" y="384507"/>
                </a:cubicBezTo>
                <a:cubicBezTo>
                  <a:pt x="4876988" y="385222"/>
                  <a:pt x="4878061" y="386651"/>
                  <a:pt x="4878061" y="386651"/>
                </a:cubicBezTo>
                <a:cubicBezTo>
                  <a:pt x="4883778" y="383615"/>
                  <a:pt x="4889316" y="380756"/>
                  <a:pt x="4895034" y="377719"/>
                </a:cubicBezTo>
                <a:close/>
                <a:moveTo>
                  <a:pt x="4844694" y="372090"/>
                </a:moveTo>
                <a:cubicBezTo>
                  <a:pt x="4842639" y="372090"/>
                  <a:pt x="4840540" y="373609"/>
                  <a:pt x="4838396" y="376646"/>
                </a:cubicBezTo>
                <a:cubicBezTo>
                  <a:pt x="4842862" y="376646"/>
                  <a:pt x="4846435" y="376646"/>
                  <a:pt x="4850723" y="376646"/>
                </a:cubicBezTo>
                <a:cubicBezTo>
                  <a:pt x="4848759" y="373609"/>
                  <a:pt x="4846749" y="372090"/>
                  <a:pt x="4844694" y="372090"/>
                </a:cubicBezTo>
                <a:close/>
                <a:moveTo>
                  <a:pt x="4899680" y="369499"/>
                </a:moveTo>
                <a:cubicBezTo>
                  <a:pt x="4898608" y="370394"/>
                  <a:pt x="4898250" y="373609"/>
                  <a:pt x="4898965" y="374860"/>
                </a:cubicBezTo>
                <a:cubicBezTo>
                  <a:pt x="4899680" y="376111"/>
                  <a:pt x="4902360" y="375575"/>
                  <a:pt x="4905397" y="376111"/>
                </a:cubicBezTo>
                <a:lnTo>
                  <a:pt x="4905576" y="376111"/>
                </a:lnTo>
                <a:cubicBezTo>
                  <a:pt x="4905397" y="373253"/>
                  <a:pt x="4906112" y="370394"/>
                  <a:pt x="4905219" y="369857"/>
                </a:cubicBezTo>
                <a:cubicBezTo>
                  <a:pt x="4903790" y="368784"/>
                  <a:pt x="4900931" y="368606"/>
                  <a:pt x="4899680" y="369499"/>
                </a:cubicBezTo>
                <a:close/>
                <a:moveTo>
                  <a:pt x="4882528" y="347524"/>
                </a:moveTo>
                <a:cubicBezTo>
                  <a:pt x="4881454" y="347880"/>
                  <a:pt x="4879132" y="348773"/>
                  <a:pt x="4879132" y="348773"/>
                </a:cubicBezTo>
                <a:cubicBezTo>
                  <a:pt x="4878596" y="349310"/>
                  <a:pt x="4878776" y="350917"/>
                  <a:pt x="4878596" y="353420"/>
                </a:cubicBezTo>
                <a:cubicBezTo>
                  <a:pt x="4880920" y="352168"/>
                  <a:pt x="4882528" y="351812"/>
                  <a:pt x="4883420" y="350739"/>
                </a:cubicBezTo>
                <a:cubicBezTo>
                  <a:pt x="4883778" y="350203"/>
                  <a:pt x="4882884" y="348595"/>
                  <a:pt x="4882528" y="347524"/>
                </a:cubicBezTo>
                <a:close/>
                <a:moveTo>
                  <a:pt x="4894855" y="338233"/>
                </a:moveTo>
                <a:cubicBezTo>
                  <a:pt x="4893604" y="339841"/>
                  <a:pt x="4892354" y="341270"/>
                  <a:pt x="4891104" y="342878"/>
                </a:cubicBezTo>
                <a:cubicBezTo>
                  <a:pt x="4891640" y="343414"/>
                  <a:pt x="4892711" y="344307"/>
                  <a:pt x="4892711" y="344307"/>
                </a:cubicBezTo>
                <a:cubicBezTo>
                  <a:pt x="4894140" y="342878"/>
                  <a:pt x="4895748" y="341627"/>
                  <a:pt x="4897358" y="340197"/>
                </a:cubicBezTo>
                <a:cubicBezTo>
                  <a:pt x="4896462" y="339482"/>
                  <a:pt x="4895748" y="338948"/>
                  <a:pt x="4894855" y="338233"/>
                </a:cubicBezTo>
                <a:close/>
                <a:moveTo>
                  <a:pt x="4939880" y="316434"/>
                </a:moveTo>
                <a:cubicBezTo>
                  <a:pt x="4919691" y="320186"/>
                  <a:pt x="4912900" y="326083"/>
                  <a:pt x="4913795" y="335194"/>
                </a:cubicBezTo>
                <a:cubicBezTo>
                  <a:pt x="4922013" y="329121"/>
                  <a:pt x="4930948" y="322866"/>
                  <a:pt x="4939880" y="316434"/>
                </a:cubicBezTo>
                <a:close/>
                <a:moveTo>
                  <a:pt x="5321698" y="291242"/>
                </a:moveTo>
                <a:cubicBezTo>
                  <a:pt x="5320984" y="291599"/>
                  <a:pt x="5320449" y="292135"/>
                  <a:pt x="5319734" y="292494"/>
                </a:cubicBezTo>
                <a:cubicBezTo>
                  <a:pt x="5320984" y="294638"/>
                  <a:pt x="5322235" y="296601"/>
                  <a:pt x="5323486" y="298567"/>
                </a:cubicBezTo>
                <a:lnTo>
                  <a:pt x="5323486" y="298389"/>
                </a:lnTo>
                <a:cubicBezTo>
                  <a:pt x="5324379" y="297853"/>
                  <a:pt x="5325094" y="297496"/>
                  <a:pt x="5325808" y="296960"/>
                </a:cubicBezTo>
                <a:cubicBezTo>
                  <a:pt x="5324379" y="295172"/>
                  <a:pt x="5323128" y="293208"/>
                  <a:pt x="5321698" y="291242"/>
                </a:cubicBezTo>
                <a:close/>
                <a:moveTo>
                  <a:pt x="5338136" y="288025"/>
                </a:moveTo>
                <a:cubicBezTo>
                  <a:pt x="5335278" y="289098"/>
                  <a:pt x="5332240" y="290349"/>
                  <a:pt x="5329382" y="291420"/>
                </a:cubicBezTo>
                <a:cubicBezTo>
                  <a:pt x="5329740" y="292494"/>
                  <a:pt x="5330096" y="293743"/>
                  <a:pt x="5330454" y="294816"/>
                </a:cubicBezTo>
                <a:cubicBezTo>
                  <a:pt x="5333314" y="293028"/>
                  <a:pt x="5336172" y="291420"/>
                  <a:pt x="5339031" y="289635"/>
                </a:cubicBezTo>
                <a:cubicBezTo>
                  <a:pt x="5338672" y="289098"/>
                  <a:pt x="5338494" y="288562"/>
                  <a:pt x="5338136" y="288025"/>
                </a:cubicBezTo>
                <a:close/>
                <a:moveTo>
                  <a:pt x="4991874" y="284632"/>
                </a:moveTo>
                <a:cubicBezTo>
                  <a:pt x="4980439" y="289277"/>
                  <a:pt x="4970255" y="293386"/>
                  <a:pt x="4960070" y="297496"/>
                </a:cubicBezTo>
                <a:cubicBezTo>
                  <a:pt x="4955425" y="301604"/>
                  <a:pt x="4950778" y="305714"/>
                  <a:pt x="4945241" y="310539"/>
                </a:cubicBezTo>
                <a:cubicBezTo>
                  <a:pt x="4947564" y="311075"/>
                  <a:pt x="4948993" y="311790"/>
                  <a:pt x="4949886" y="311432"/>
                </a:cubicBezTo>
                <a:cubicBezTo>
                  <a:pt x="4959891" y="306251"/>
                  <a:pt x="4970077" y="300890"/>
                  <a:pt x="4979724" y="294994"/>
                </a:cubicBezTo>
                <a:cubicBezTo>
                  <a:pt x="4984012" y="292494"/>
                  <a:pt x="4987406" y="288562"/>
                  <a:pt x="4991874" y="284632"/>
                </a:cubicBezTo>
                <a:close/>
                <a:moveTo>
                  <a:pt x="5021532" y="270517"/>
                </a:moveTo>
                <a:cubicBezTo>
                  <a:pt x="5010277" y="269265"/>
                  <a:pt x="5004024" y="276056"/>
                  <a:pt x="4997591" y="282488"/>
                </a:cubicBezTo>
                <a:cubicBezTo>
                  <a:pt x="4997948" y="283203"/>
                  <a:pt x="4999020" y="284632"/>
                  <a:pt x="4999020" y="284632"/>
                </a:cubicBezTo>
                <a:cubicBezTo>
                  <a:pt x="5006524" y="279986"/>
                  <a:pt x="5014029" y="275161"/>
                  <a:pt x="5021532" y="270517"/>
                </a:cubicBezTo>
                <a:close/>
                <a:moveTo>
                  <a:pt x="5079243" y="255150"/>
                </a:moveTo>
                <a:cubicBezTo>
                  <a:pt x="5078172" y="256045"/>
                  <a:pt x="5078350" y="258009"/>
                  <a:pt x="5077992" y="259618"/>
                </a:cubicBezTo>
                <a:cubicBezTo>
                  <a:pt x="5079422" y="259975"/>
                  <a:pt x="5080850" y="260333"/>
                  <a:pt x="5082816" y="260689"/>
                </a:cubicBezTo>
                <a:cubicBezTo>
                  <a:pt x="5083175" y="258367"/>
                  <a:pt x="5083531" y="256759"/>
                  <a:pt x="5083710" y="255150"/>
                </a:cubicBezTo>
                <a:cubicBezTo>
                  <a:pt x="5082102" y="255150"/>
                  <a:pt x="5080136" y="254435"/>
                  <a:pt x="5079243" y="255150"/>
                </a:cubicBezTo>
                <a:close/>
                <a:moveTo>
                  <a:pt x="5306156" y="250862"/>
                </a:moveTo>
                <a:cubicBezTo>
                  <a:pt x="5300438" y="256045"/>
                  <a:pt x="5294540" y="261226"/>
                  <a:pt x="5288645" y="266407"/>
                </a:cubicBezTo>
                <a:cubicBezTo>
                  <a:pt x="5288823" y="266943"/>
                  <a:pt x="5289182" y="267480"/>
                  <a:pt x="5289360" y="268014"/>
                </a:cubicBezTo>
                <a:cubicBezTo>
                  <a:pt x="5292933" y="267121"/>
                  <a:pt x="5296686" y="266228"/>
                  <a:pt x="5300438" y="265336"/>
                </a:cubicBezTo>
                <a:cubicBezTo>
                  <a:pt x="5302760" y="268014"/>
                  <a:pt x="5304904" y="270517"/>
                  <a:pt x="5306690" y="272482"/>
                </a:cubicBezTo>
                <a:lnTo>
                  <a:pt x="5306870" y="272302"/>
                </a:lnTo>
                <a:cubicBezTo>
                  <a:pt x="5309370" y="266765"/>
                  <a:pt x="5311514" y="261582"/>
                  <a:pt x="5313837" y="256579"/>
                </a:cubicBezTo>
                <a:cubicBezTo>
                  <a:pt x="5310622" y="258545"/>
                  <a:pt x="5307404" y="260511"/>
                  <a:pt x="5304190" y="262477"/>
                </a:cubicBezTo>
                <a:cubicBezTo>
                  <a:pt x="5303475" y="261762"/>
                  <a:pt x="5302938" y="261226"/>
                  <a:pt x="5302224" y="260511"/>
                </a:cubicBezTo>
                <a:cubicBezTo>
                  <a:pt x="5304190" y="257831"/>
                  <a:pt x="5306156" y="254972"/>
                  <a:pt x="5308120" y="252291"/>
                </a:cubicBezTo>
                <a:cubicBezTo>
                  <a:pt x="5307404" y="251935"/>
                  <a:pt x="5306870" y="251398"/>
                  <a:pt x="5306156" y="250862"/>
                </a:cubicBezTo>
                <a:close/>
                <a:moveTo>
                  <a:pt x="5153570" y="219952"/>
                </a:moveTo>
                <a:cubicBezTo>
                  <a:pt x="5149282" y="221560"/>
                  <a:pt x="5144994" y="223169"/>
                  <a:pt x="5140706" y="224777"/>
                </a:cubicBezTo>
                <a:cubicBezTo>
                  <a:pt x="5147316" y="228887"/>
                  <a:pt x="5152677" y="229780"/>
                  <a:pt x="5153570" y="219952"/>
                </a:cubicBezTo>
                <a:close/>
                <a:moveTo>
                  <a:pt x="5122838" y="206373"/>
                </a:moveTo>
                <a:cubicBezTo>
                  <a:pt x="5118194" y="208339"/>
                  <a:pt x="5116228" y="209054"/>
                  <a:pt x="5114262" y="209947"/>
                </a:cubicBezTo>
                <a:cubicBezTo>
                  <a:pt x="5114799" y="210840"/>
                  <a:pt x="5115336" y="211554"/>
                  <a:pt x="5115870" y="212449"/>
                </a:cubicBezTo>
                <a:cubicBezTo>
                  <a:pt x="5117480" y="211020"/>
                  <a:pt x="5119087" y="209590"/>
                  <a:pt x="5122838" y="206373"/>
                </a:cubicBezTo>
                <a:close/>
                <a:moveTo>
                  <a:pt x="4503210" y="9"/>
                </a:moveTo>
                <a:cubicBezTo>
                  <a:pt x="4504461" y="-170"/>
                  <a:pt x="4508390" y="2689"/>
                  <a:pt x="4508034" y="3762"/>
                </a:cubicBezTo>
                <a:cubicBezTo>
                  <a:pt x="4507676" y="5191"/>
                  <a:pt x="4506961" y="6441"/>
                  <a:pt x="4506068" y="7692"/>
                </a:cubicBezTo>
                <a:cubicBezTo>
                  <a:pt x="4505712" y="8407"/>
                  <a:pt x="4504997" y="8765"/>
                  <a:pt x="4504282" y="9121"/>
                </a:cubicBezTo>
                <a:cubicBezTo>
                  <a:pt x="4499100" y="11265"/>
                  <a:pt x="4497670" y="15912"/>
                  <a:pt x="4498385" y="20200"/>
                </a:cubicBezTo>
                <a:cubicBezTo>
                  <a:pt x="4499458" y="25559"/>
                  <a:pt x="4498028" y="28596"/>
                  <a:pt x="4493382" y="31276"/>
                </a:cubicBezTo>
                <a:cubicBezTo>
                  <a:pt x="4484628" y="36457"/>
                  <a:pt x="4476230" y="41818"/>
                  <a:pt x="4467654" y="46999"/>
                </a:cubicBezTo>
                <a:cubicBezTo>
                  <a:pt x="4467476" y="46643"/>
                  <a:pt x="4467476" y="46643"/>
                  <a:pt x="4467476" y="46643"/>
                </a:cubicBezTo>
                <a:cubicBezTo>
                  <a:pt x="4457828" y="52895"/>
                  <a:pt x="4448001" y="59149"/>
                  <a:pt x="4438352" y="65403"/>
                </a:cubicBezTo>
                <a:cubicBezTo>
                  <a:pt x="4435493" y="67369"/>
                  <a:pt x="4435136" y="70406"/>
                  <a:pt x="4434244" y="73264"/>
                </a:cubicBezTo>
                <a:cubicBezTo>
                  <a:pt x="4433349" y="76480"/>
                  <a:pt x="4434244" y="78089"/>
                  <a:pt x="4438174" y="79875"/>
                </a:cubicBezTo>
                <a:cubicBezTo>
                  <a:pt x="4439424" y="80589"/>
                  <a:pt x="4441210" y="80948"/>
                  <a:pt x="4442105" y="81841"/>
                </a:cubicBezTo>
                <a:cubicBezTo>
                  <a:pt x="4442998" y="82734"/>
                  <a:pt x="4443176" y="84341"/>
                  <a:pt x="4443354" y="85770"/>
                </a:cubicBezTo>
                <a:cubicBezTo>
                  <a:pt x="4443534" y="86129"/>
                  <a:pt x="4442640" y="87022"/>
                  <a:pt x="4442284" y="87022"/>
                </a:cubicBezTo>
                <a:cubicBezTo>
                  <a:pt x="4439246" y="87200"/>
                  <a:pt x="4436388" y="87200"/>
                  <a:pt x="4433529" y="88987"/>
                </a:cubicBezTo>
                <a:cubicBezTo>
                  <a:pt x="4429061" y="91846"/>
                  <a:pt x="4424238" y="94347"/>
                  <a:pt x="4419592" y="97027"/>
                </a:cubicBezTo>
                <a:cubicBezTo>
                  <a:pt x="4417092" y="98635"/>
                  <a:pt x="4413696" y="96671"/>
                  <a:pt x="4411374" y="99171"/>
                </a:cubicBezTo>
                <a:cubicBezTo>
                  <a:pt x="4409944" y="100779"/>
                  <a:pt x="4409050" y="103103"/>
                  <a:pt x="4407442" y="104532"/>
                </a:cubicBezTo>
                <a:cubicBezTo>
                  <a:pt x="4404406" y="106855"/>
                  <a:pt x="4401010" y="108820"/>
                  <a:pt x="4397795" y="110784"/>
                </a:cubicBezTo>
                <a:cubicBezTo>
                  <a:pt x="4395829" y="112035"/>
                  <a:pt x="4394042" y="113465"/>
                  <a:pt x="4393327" y="115787"/>
                </a:cubicBezTo>
                <a:cubicBezTo>
                  <a:pt x="4392434" y="118646"/>
                  <a:pt x="4390648" y="120970"/>
                  <a:pt x="4387790" y="122578"/>
                </a:cubicBezTo>
                <a:cubicBezTo>
                  <a:pt x="4383680" y="124900"/>
                  <a:pt x="4379570" y="126866"/>
                  <a:pt x="4375818" y="129546"/>
                </a:cubicBezTo>
                <a:cubicBezTo>
                  <a:pt x="4371708" y="132405"/>
                  <a:pt x="4370637" y="136871"/>
                  <a:pt x="4371352" y="141516"/>
                </a:cubicBezTo>
                <a:cubicBezTo>
                  <a:pt x="4371708" y="144018"/>
                  <a:pt x="4374210" y="144733"/>
                  <a:pt x="4376354" y="145447"/>
                </a:cubicBezTo>
                <a:cubicBezTo>
                  <a:pt x="4377069" y="145625"/>
                  <a:pt x="4378318" y="145984"/>
                  <a:pt x="4378318" y="146340"/>
                </a:cubicBezTo>
                <a:cubicBezTo>
                  <a:pt x="4378677" y="147769"/>
                  <a:pt x="4377784" y="149199"/>
                  <a:pt x="4376174" y="149735"/>
                </a:cubicBezTo>
                <a:cubicBezTo>
                  <a:pt x="4374925" y="150272"/>
                  <a:pt x="4373316" y="150628"/>
                  <a:pt x="4371886" y="150628"/>
                </a:cubicBezTo>
                <a:cubicBezTo>
                  <a:pt x="4370100" y="150450"/>
                  <a:pt x="4368671" y="150628"/>
                  <a:pt x="4368134" y="151879"/>
                </a:cubicBezTo>
                <a:cubicBezTo>
                  <a:pt x="4366884" y="154738"/>
                  <a:pt x="4364920" y="157060"/>
                  <a:pt x="4362239" y="158668"/>
                </a:cubicBezTo>
                <a:cubicBezTo>
                  <a:pt x="4357058" y="161885"/>
                  <a:pt x="4351876" y="165280"/>
                  <a:pt x="4346516" y="168317"/>
                </a:cubicBezTo>
                <a:cubicBezTo>
                  <a:pt x="4342406" y="170639"/>
                  <a:pt x="4339191" y="173676"/>
                  <a:pt x="4337225" y="177964"/>
                </a:cubicBezTo>
                <a:cubicBezTo>
                  <a:pt x="4335974" y="181003"/>
                  <a:pt x="4332579" y="181718"/>
                  <a:pt x="4329900" y="183147"/>
                </a:cubicBezTo>
                <a:cubicBezTo>
                  <a:pt x="4323288" y="182252"/>
                  <a:pt x="4318107" y="185469"/>
                  <a:pt x="4313104" y="189221"/>
                </a:cubicBezTo>
                <a:cubicBezTo>
                  <a:pt x="4309352" y="192080"/>
                  <a:pt x="4305243" y="194224"/>
                  <a:pt x="4301133" y="196368"/>
                </a:cubicBezTo>
                <a:cubicBezTo>
                  <a:pt x="4294700" y="199763"/>
                  <a:pt x="4289878" y="204408"/>
                  <a:pt x="4288627" y="211734"/>
                </a:cubicBezTo>
                <a:cubicBezTo>
                  <a:pt x="4288090" y="214057"/>
                  <a:pt x="4286124" y="215486"/>
                  <a:pt x="4284160" y="216737"/>
                </a:cubicBezTo>
                <a:cubicBezTo>
                  <a:pt x="4277014" y="221382"/>
                  <a:pt x="4269867" y="225848"/>
                  <a:pt x="4262898" y="230673"/>
                </a:cubicBezTo>
                <a:cubicBezTo>
                  <a:pt x="4260932" y="232102"/>
                  <a:pt x="4260218" y="234068"/>
                  <a:pt x="4260932" y="236568"/>
                </a:cubicBezTo>
                <a:cubicBezTo>
                  <a:pt x="4261291" y="237819"/>
                  <a:pt x="4261291" y="239785"/>
                  <a:pt x="4260576" y="240678"/>
                </a:cubicBezTo>
                <a:cubicBezTo>
                  <a:pt x="4257002" y="244610"/>
                  <a:pt x="4252893" y="248003"/>
                  <a:pt x="4250212" y="252650"/>
                </a:cubicBezTo>
                <a:cubicBezTo>
                  <a:pt x="4248961" y="254972"/>
                  <a:pt x="4245388" y="256401"/>
                  <a:pt x="4242709" y="257831"/>
                </a:cubicBezTo>
                <a:cubicBezTo>
                  <a:pt x="4240385" y="259082"/>
                  <a:pt x="4239314" y="261047"/>
                  <a:pt x="4238956" y="263192"/>
                </a:cubicBezTo>
                <a:cubicBezTo>
                  <a:pt x="4237706" y="269444"/>
                  <a:pt x="4239136" y="279986"/>
                  <a:pt x="4241814" y="284452"/>
                </a:cubicBezTo>
                <a:cubicBezTo>
                  <a:pt x="4244138" y="288205"/>
                  <a:pt x="4246639" y="291957"/>
                  <a:pt x="4248604" y="295887"/>
                </a:cubicBezTo>
                <a:cubicBezTo>
                  <a:pt x="4249320" y="296960"/>
                  <a:pt x="4249320" y="299282"/>
                  <a:pt x="4248604" y="299997"/>
                </a:cubicBezTo>
                <a:cubicBezTo>
                  <a:pt x="4241636" y="306072"/>
                  <a:pt x="4233774" y="310717"/>
                  <a:pt x="4225376" y="314469"/>
                </a:cubicBezTo>
                <a:cubicBezTo>
                  <a:pt x="4224128" y="315183"/>
                  <a:pt x="4222340" y="314469"/>
                  <a:pt x="4220910" y="314469"/>
                </a:cubicBezTo>
                <a:cubicBezTo>
                  <a:pt x="4219124" y="314469"/>
                  <a:pt x="4218230" y="316613"/>
                  <a:pt x="4217337" y="321615"/>
                </a:cubicBezTo>
                <a:cubicBezTo>
                  <a:pt x="4216980" y="323045"/>
                  <a:pt x="4217874" y="323940"/>
                  <a:pt x="4219839" y="324118"/>
                </a:cubicBezTo>
                <a:cubicBezTo>
                  <a:pt x="4220554" y="324296"/>
                  <a:pt x="4221803" y="324654"/>
                  <a:pt x="4221803" y="325011"/>
                </a:cubicBezTo>
                <a:cubicBezTo>
                  <a:pt x="4222340" y="328047"/>
                  <a:pt x="4221447" y="330906"/>
                  <a:pt x="4219839" y="333409"/>
                </a:cubicBezTo>
                <a:cubicBezTo>
                  <a:pt x="4218588" y="335194"/>
                  <a:pt x="4216266" y="336089"/>
                  <a:pt x="4213764" y="335553"/>
                </a:cubicBezTo>
                <a:cubicBezTo>
                  <a:pt x="4211978" y="335194"/>
                  <a:pt x="4210726" y="335553"/>
                  <a:pt x="4210012" y="336982"/>
                </a:cubicBezTo>
                <a:cubicBezTo>
                  <a:pt x="4208939" y="338948"/>
                  <a:pt x="4208224" y="341092"/>
                  <a:pt x="4206080" y="342341"/>
                </a:cubicBezTo>
                <a:cubicBezTo>
                  <a:pt x="4202865" y="344485"/>
                  <a:pt x="4199828" y="346809"/>
                  <a:pt x="4196433" y="348773"/>
                </a:cubicBezTo>
                <a:cubicBezTo>
                  <a:pt x="4193574" y="350383"/>
                  <a:pt x="4192145" y="352883"/>
                  <a:pt x="4191608" y="355920"/>
                </a:cubicBezTo>
                <a:cubicBezTo>
                  <a:pt x="4190716" y="360567"/>
                  <a:pt x="4188572" y="364140"/>
                  <a:pt x="4184105" y="366640"/>
                </a:cubicBezTo>
                <a:cubicBezTo>
                  <a:pt x="4178744" y="369499"/>
                  <a:pt x="4173563" y="372894"/>
                  <a:pt x="4171241" y="378970"/>
                </a:cubicBezTo>
                <a:cubicBezTo>
                  <a:pt x="4168560" y="380577"/>
                  <a:pt x="4165880" y="382363"/>
                  <a:pt x="4163379" y="383973"/>
                </a:cubicBezTo>
                <a:cubicBezTo>
                  <a:pt x="4159984" y="386117"/>
                  <a:pt x="4156589" y="387903"/>
                  <a:pt x="4153730" y="390405"/>
                </a:cubicBezTo>
                <a:cubicBezTo>
                  <a:pt x="4151050" y="392905"/>
                  <a:pt x="4150515" y="397015"/>
                  <a:pt x="4147298" y="399516"/>
                </a:cubicBezTo>
                <a:cubicBezTo>
                  <a:pt x="4145512" y="400945"/>
                  <a:pt x="4146762" y="402911"/>
                  <a:pt x="4149800" y="403626"/>
                </a:cubicBezTo>
                <a:cubicBezTo>
                  <a:pt x="4153194" y="404340"/>
                  <a:pt x="4154267" y="403984"/>
                  <a:pt x="4156767" y="400410"/>
                </a:cubicBezTo>
                <a:cubicBezTo>
                  <a:pt x="4157662" y="399159"/>
                  <a:pt x="4158376" y="398086"/>
                  <a:pt x="4159984" y="397372"/>
                </a:cubicBezTo>
                <a:cubicBezTo>
                  <a:pt x="4161950" y="396479"/>
                  <a:pt x="4165165" y="397552"/>
                  <a:pt x="4165343" y="399516"/>
                </a:cubicBezTo>
                <a:cubicBezTo>
                  <a:pt x="4165524" y="401660"/>
                  <a:pt x="4165524" y="403804"/>
                  <a:pt x="4165165" y="405948"/>
                </a:cubicBezTo>
                <a:cubicBezTo>
                  <a:pt x="4164809" y="407377"/>
                  <a:pt x="4164094" y="408807"/>
                  <a:pt x="4163199" y="410058"/>
                </a:cubicBezTo>
                <a:cubicBezTo>
                  <a:pt x="4159091" y="415419"/>
                  <a:pt x="4156232" y="421851"/>
                  <a:pt x="4151944" y="426854"/>
                </a:cubicBezTo>
                <a:cubicBezTo>
                  <a:pt x="4146584" y="432928"/>
                  <a:pt x="4138544" y="435250"/>
                  <a:pt x="4131753" y="439360"/>
                </a:cubicBezTo>
                <a:cubicBezTo>
                  <a:pt x="4132648" y="439360"/>
                  <a:pt x="4133183" y="439360"/>
                  <a:pt x="4134256" y="439360"/>
                </a:cubicBezTo>
                <a:cubicBezTo>
                  <a:pt x="4137651" y="440074"/>
                  <a:pt x="4141224" y="438467"/>
                  <a:pt x="4144439" y="437394"/>
                </a:cubicBezTo>
                <a:cubicBezTo>
                  <a:pt x="4156767" y="433286"/>
                  <a:pt x="4169275" y="428818"/>
                  <a:pt x="4182318" y="424351"/>
                </a:cubicBezTo>
                <a:cubicBezTo>
                  <a:pt x="4182676" y="426854"/>
                  <a:pt x="4182854" y="428639"/>
                  <a:pt x="4183032" y="430427"/>
                </a:cubicBezTo>
                <a:cubicBezTo>
                  <a:pt x="4176244" y="434715"/>
                  <a:pt x="4170168" y="440611"/>
                  <a:pt x="4161235" y="438108"/>
                </a:cubicBezTo>
                <a:cubicBezTo>
                  <a:pt x="4158911" y="437574"/>
                  <a:pt x="4156411" y="439718"/>
                  <a:pt x="4154088" y="440611"/>
                </a:cubicBezTo>
                <a:cubicBezTo>
                  <a:pt x="4150335" y="442040"/>
                  <a:pt x="4147298" y="445792"/>
                  <a:pt x="4142474" y="443648"/>
                </a:cubicBezTo>
                <a:cubicBezTo>
                  <a:pt x="4141044" y="442933"/>
                  <a:pt x="4139080" y="444899"/>
                  <a:pt x="4137471" y="445970"/>
                </a:cubicBezTo>
                <a:cubicBezTo>
                  <a:pt x="4130324" y="451153"/>
                  <a:pt x="4122999" y="455797"/>
                  <a:pt x="4114244" y="457585"/>
                </a:cubicBezTo>
                <a:cubicBezTo>
                  <a:pt x="4113886" y="457763"/>
                  <a:pt x="4113352" y="458120"/>
                  <a:pt x="4112815" y="458120"/>
                </a:cubicBezTo>
                <a:cubicBezTo>
                  <a:pt x="4111564" y="460085"/>
                  <a:pt x="4110671" y="462229"/>
                  <a:pt x="4109242" y="463837"/>
                </a:cubicBezTo>
                <a:cubicBezTo>
                  <a:pt x="4107812" y="465446"/>
                  <a:pt x="4105846" y="466696"/>
                  <a:pt x="4103881" y="467769"/>
                </a:cubicBezTo>
                <a:cubicBezTo>
                  <a:pt x="4103881" y="468305"/>
                  <a:pt x="4103524" y="468840"/>
                  <a:pt x="4103524" y="469555"/>
                </a:cubicBezTo>
                <a:cubicBezTo>
                  <a:pt x="4105310" y="470449"/>
                  <a:pt x="4106740" y="471520"/>
                  <a:pt x="4108705" y="472593"/>
                </a:cubicBezTo>
                <a:cubicBezTo>
                  <a:pt x="4105846" y="475452"/>
                  <a:pt x="4102451" y="477238"/>
                  <a:pt x="4099058" y="478845"/>
                </a:cubicBezTo>
                <a:cubicBezTo>
                  <a:pt x="4117103" y="474379"/>
                  <a:pt x="4159448" y="462229"/>
                  <a:pt x="4157662" y="466517"/>
                </a:cubicBezTo>
                <a:cubicBezTo>
                  <a:pt x="4155874" y="470627"/>
                  <a:pt x="4151408" y="472771"/>
                  <a:pt x="4148906" y="476523"/>
                </a:cubicBezTo>
                <a:cubicBezTo>
                  <a:pt x="4153016" y="474916"/>
                  <a:pt x="4157126" y="473128"/>
                  <a:pt x="4161414" y="471879"/>
                </a:cubicBezTo>
                <a:cubicBezTo>
                  <a:pt x="4181961" y="465625"/>
                  <a:pt x="4202150" y="457941"/>
                  <a:pt x="4223591" y="452939"/>
                </a:cubicBezTo>
                <a:cubicBezTo>
                  <a:pt x="4221984" y="454904"/>
                  <a:pt x="4220554" y="457049"/>
                  <a:pt x="4218766" y="459192"/>
                </a:cubicBezTo>
                <a:cubicBezTo>
                  <a:pt x="4220554" y="460264"/>
                  <a:pt x="4222162" y="461158"/>
                  <a:pt x="4225376" y="462944"/>
                </a:cubicBezTo>
                <a:cubicBezTo>
                  <a:pt x="4214122" y="467054"/>
                  <a:pt x="4204294" y="470627"/>
                  <a:pt x="4194467" y="474023"/>
                </a:cubicBezTo>
                <a:cubicBezTo>
                  <a:pt x="4193574" y="474379"/>
                  <a:pt x="4192501" y="473664"/>
                  <a:pt x="4191608" y="473486"/>
                </a:cubicBezTo>
                <a:cubicBezTo>
                  <a:pt x="4184640" y="471879"/>
                  <a:pt x="4178744" y="472057"/>
                  <a:pt x="4174456" y="479918"/>
                </a:cubicBezTo>
                <a:cubicBezTo>
                  <a:pt x="4172490" y="483313"/>
                  <a:pt x="4168738" y="486887"/>
                  <a:pt x="4163379" y="484921"/>
                </a:cubicBezTo>
                <a:cubicBezTo>
                  <a:pt x="4165165" y="482777"/>
                  <a:pt x="4166594" y="480989"/>
                  <a:pt x="4169453" y="477238"/>
                </a:cubicBezTo>
                <a:cubicBezTo>
                  <a:pt x="4161414" y="480275"/>
                  <a:pt x="4154982" y="480633"/>
                  <a:pt x="4150515" y="487602"/>
                </a:cubicBezTo>
                <a:cubicBezTo>
                  <a:pt x="4148191" y="491175"/>
                  <a:pt x="4143546" y="492604"/>
                  <a:pt x="4139436" y="494212"/>
                </a:cubicBezTo>
                <a:cubicBezTo>
                  <a:pt x="4138544" y="495463"/>
                  <a:pt x="4137114" y="496712"/>
                  <a:pt x="4135507" y="497785"/>
                </a:cubicBezTo>
                <a:cubicBezTo>
                  <a:pt x="4134792" y="498322"/>
                  <a:pt x="4134612" y="499037"/>
                  <a:pt x="4134256" y="499571"/>
                </a:cubicBezTo>
                <a:cubicBezTo>
                  <a:pt x="4134078" y="501180"/>
                  <a:pt x="4134792" y="502966"/>
                  <a:pt x="4136042" y="504932"/>
                </a:cubicBezTo>
                <a:cubicBezTo>
                  <a:pt x="4146227" y="500644"/>
                  <a:pt x="4155874" y="496178"/>
                  <a:pt x="4165702" y="492068"/>
                </a:cubicBezTo>
                <a:cubicBezTo>
                  <a:pt x="4176064" y="487958"/>
                  <a:pt x="4186249" y="483492"/>
                  <a:pt x="4196970" y="480096"/>
                </a:cubicBezTo>
                <a:cubicBezTo>
                  <a:pt x="4207332" y="476881"/>
                  <a:pt x="4218052" y="474737"/>
                  <a:pt x="4228950" y="472057"/>
                </a:cubicBezTo>
                <a:cubicBezTo>
                  <a:pt x="4229664" y="473664"/>
                  <a:pt x="4230560" y="475630"/>
                  <a:pt x="4231630" y="478489"/>
                </a:cubicBezTo>
                <a:cubicBezTo>
                  <a:pt x="4229845" y="479382"/>
                  <a:pt x="4228236" y="480633"/>
                  <a:pt x="4226628" y="481170"/>
                </a:cubicBezTo>
                <a:cubicBezTo>
                  <a:pt x="4216980" y="484563"/>
                  <a:pt x="4207332" y="487780"/>
                  <a:pt x="4197862" y="491353"/>
                </a:cubicBezTo>
                <a:cubicBezTo>
                  <a:pt x="4194646" y="492604"/>
                  <a:pt x="4192323" y="494568"/>
                  <a:pt x="4191252" y="499571"/>
                </a:cubicBezTo>
                <a:cubicBezTo>
                  <a:pt x="4189822" y="505289"/>
                  <a:pt x="4184283" y="508327"/>
                  <a:pt x="4183210" y="514938"/>
                </a:cubicBezTo>
                <a:cubicBezTo>
                  <a:pt x="4183032" y="516367"/>
                  <a:pt x="4182854" y="517796"/>
                  <a:pt x="4182496" y="519940"/>
                </a:cubicBezTo>
                <a:cubicBezTo>
                  <a:pt x="4176778" y="513150"/>
                  <a:pt x="4169990" y="526551"/>
                  <a:pt x="4164987" y="515831"/>
                </a:cubicBezTo>
                <a:cubicBezTo>
                  <a:pt x="4161414" y="517975"/>
                  <a:pt x="4158555" y="519582"/>
                  <a:pt x="4155518" y="521548"/>
                </a:cubicBezTo>
                <a:cubicBezTo>
                  <a:pt x="4156052" y="522977"/>
                  <a:pt x="4156767" y="524585"/>
                  <a:pt x="4158018" y="527624"/>
                </a:cubicBezTo>
                <a:cubicBezTo>
                  <a:pt x="4150335" y="530483"/>
                  <a:pt x="4142654" y="533519"/>
                  <a:pt x="4134792" y="536556"/>
                </a:cubicBezTo>
                <a:cubicBezTo>
                  <a:pt x="4135148" y="540488"/>
                  <a:pt x="4135148" y="543881"/>
                  <a:pt x="4135685" y="547277"/>
                </a:cubicBezTo>
                <a:cubicBezTo>
                  <a:pt x="4136400" y="552638"/>
                  <a:pt x="4134256" y="555853"/>
                  <a:pt x="4132290" y="559784"/>
                </a:cubicBezTo>
                <a:cubicBezTo>
                  <a:pt x="4130324" y="563892"/>
                  <a:pt x="4128180" y="565680"/>
                  <a:pt x="4124250" y="565858"/>
                </a:cubicBezTo>
                <a:cubicBezTo>
                  <a:pt x="4120855" y="566037"/>
                  <a:pt x="4117282" y="566931"/>
                  <a:pt x="4114066" y="568002"/>
                </a:cubicBezTo>
                <a:cubicBezTo>
                  <a:pt x="4110671" y="569254"/>
                  <a:pt x="4106025" y="569790"/>
                  <a:pt x="4104776" y="572649"/>
                </a:cubicBezTo>
                <a:cubicBezTo>
                  <a:pt x="4101558" y="579795"/>
                  <a:pt x="4096556" y="578723"/>
                  <a:pt x="4091553" y="578186"/>
                </a:cubicBezTo>
                <a:cubicBezTo>
                  <a:pt x="4084764" y="577652"/>
                  <a:pt x="4080118" y="581403"/>
                  <a:pt x="4076008" y="586406"/>
                </a:cubicBezTo>
                <a:cubicBezTo>
                  <a:pt x="4075294" y="587299"/>
                  <a:pt x="4075474" y="589086"/>
                  <a:pt x="4074937" y="591945"/>
                </a:cubicBezTo>
                <a:cubicBezTo>
                  <a:pt x="4079762" y="589801"/>
                  <a:pt x="4083513" y="588013"/>
                  <a:pt x="4087086" y="586406"/>
                </a:cubicBezTo>
                <a:cubicBezTo>
                  <a:pt x="4089052" y="588372"/>
                  <a:pt x="4088516" y="595697"/>
                  <a:pt x="4091911" y="591587"/>
                </a:cubicBezTo>
                <a:cubicBezTo>
                  <a:pt x="4095484" y="587299"/>
                  <a:pt x="4099951" y="586406"/>
                  <a:pt x="4104061" y="584798"/>
                </a:cubicBezTo>
                <a:cubicBezTo>
                  <a:pt x="4112993" y="581225"/>
                  <a:pt x="4121570" y="577471"/>
                  <a:pt x="4130146" y="572827"/>
                </a:cubicBezTo>
                <a:cubicBezTo>
                  <a:pt x="4135863" y="569610"/>
                  <a:pt x="4139973" y="565322"/>
                  <a:pt x="4144083" y="558890"/>
                </a:cubicBezTo>
                <a:cubicBezTo>
                  <a:pt x="4142654" y="557819"/>
                  <a:pt x="4140866" y="557104"/>
                  <a:pt x="4140330" y="555853"/>
                </a:cubicBezTo>
                <a:cubicBezTo>
                  <a:pt x="4139258" y="553709"/>
                  <a:pt x="4138007" y="550494"/>
                  <a:pt x="4138544" y="548706"/>
                </a:cubicBezTo>
                <a:cubicBezTo>
                  <a:pt x="4139080" y="547098"/>
                  <a:pt x="4141759" y="546206"/>
                  <a:pt x="4143725" y="546206"/>
                </a:cubicBezTo>
                <a:cubicBezTo>
                  <a:pt x="4152837" y="546384"/>
                  <a:pt x="4154982" y="544240"/>
                  <a:pt x="4154982" y="534056"/>
                </a:cubicBezTo>
                <a:cubicBezTo>
                  <a:pt x="4158733" y="531017"/>
                  <a:pt x="4162306" y="528158"/>
                  <a:pt x="4165702" y="525480"/>
                </a:cubicBezTo>
                <a:cubicBezTo>
                  <a:pt x="4169453" y="526909"/>
                  <a:pt x="4173205" y="528338"/>
                  <a:pt x="4177315" y="529946"/>
                </a:cubicBezTo>
                <a:cubicBezTo>
                  <a:pt x="4178388" y="540308"/>
                  <a:pt x="4165343" y="537271"/>
                  <a:pt x="4164450" y="549421"/>
                </a:cubicBezTo>
                <a:cubicBezTo>
                  <a:pt x="4171956" y="544596"/>
                  <a:pt x="4177673" y="540844"/>
                  <a:pt x="4185534" y="535663"/>
                </a:cubicBezTo>
                <a:cubicBezTo>
                  <a:pt x="4189822" y="524407"/>
                  <a:pt x="4199648" y="515474"/>
                  <a:pt x="4208224" y="516904"/>
                </a:cubicBezTo>
                <a:cubicBezTo>
                  <a:pt x="4207635" y="511901"/>
                  <a:pt x="4208172" y="508089"/>
                  <a:pt x="4209834" y="505469"/>
                </a:cubicBezTo>
                <a:cubicBezTo>
                  <a:pt x="4213407" y="510291"/>
                  <a:pt x="4217337" y="515474"/>
                  <a:pt x="4221984" y="521726"/>
                </a:cubicBezTo>
                <a:cubicBezTo>
                  <a:pt x="4217695" y="524765"/>
                  <a:pt x="4213407" y="527802"/>
                  <a:pt x="4209297" y="530839"/>
                </a:cubicBezTo>
                <a:cubicBezTo>
                  <a:pt x="4209654" y="531732"/>
                  <a:pt x="4210012" y="532805"/>
                  <a:pt x="4210368" y="533698"/>
                </a:cubicBezTo>
                <a:cubicBezTo>
                  <a:pt x="4221625" y="536378"/>
                  <a:pt x="4230916" y="531732"/>
                  <a:pt x="4239850" y="525300"/>
                </a:cubicBezTo>
                <a:cubicBezTo>
                  <a:pt x="4239850" y="524407"/>
                  <a:pt x="4239850" y="523514"/>
                  <a:pt x="4239850" y="522621"/>
                </a:cubicBezTo>
                <a:cubicBezTo>
                  <a:pt x="4236634" y="521548"/>
                  <a:pt x="4233596" y="520477"/>
                  <a:pt x="4230380" y="519404"/>
                </a:cubicBezTo>
                <a:cubicBezTo>
                  <a:pt x="4233364" y="516665"/>
                  <a:pt x="4240565" y="515116"/>
                  <a:pt x="4252000" y="514760"/>
                </a:cubicBezTo>
                <a:cubicBezTo>
                  <a:pt x="4253964" y="518511"/>
                  <a:pt x="4255930" y="522085"/>
                  <a:pt x="4258252" y="526551"/>
                </a:cubicBezTo>
                <a:cubicBezTo>
                  <a:pt x="4257718" y="526909"/>
                  <a:pt x="4256288" y="527980"/>
                  <a:pt x="4254144" y="529410"/>
                </a:cubicBezTo>
                <a:cubicBezTo>
                  <a:pt x="4252356" y="526014"/>
                  <a:pt x="4250927" y="523156"/>
                  <a:pt x="4248783" y="518868"/>
                </a:cubicBezTo>
                <a:cubicBezTo>
                  <a:pt x="4246997" y="521012"/>
                  <a:pt x="4244138" y="523156"/>
                  <a:pt x="4244495" y="523870"/>
                </a:cubicBezTo>
                <a:cubicBezTo>
                  <a:pt x="4247354" y="531375"/>
                  <a:pt x="4242351" y="531912"/>
                  <a:pt x="4239314" y="533519"/>
                </a:cubicBezTo>
                <a:cubicBezTo>
                  <a:pt x="4234490" y="536200"/>
                  <a:pt x="4227879" y="534949"/>
                  <a:pt x="4224306" y="541381"/>
                </a:cubicBezTo>
                <a:cubicBezTo>
                  <a:pt x="4223947" y="541917"/>
                  <a:pt x="4222162" y="542096"/>
                  <a:pt x="4221803" y="541559"/>
                </a:cubicBezTo>
                <a:cubicBezTo>
                  <a:pt x="4218230" y="536735"/>
                  <a:pt x="4216086" y="541023"/>
                  <a:pt x="4213586" y="542632"/>
                </a:cubicBezTo>
                <a:cubicBezTo>
                  <a:pt x="4206080" y="547098"/>
                  <a:pt x="4198577" y="551386"/>
                  <a:pt x="4190894" y="556031"/>
                </a:cubicBezTo>
                <a:cubicBezTo>
                  <a:pt x="4188928" y="552816"/>
                  <a:pt x="4187320" y="550314"/>
                  <a:pt x="4185891" y="547991"/>
                </a:cubicBezTo>
                <a:cubicBezTo>
                  <a:pt x="4179459" y="548528"/>
                  <a:pt x="4182318" y="555853"/>
                  <a:pt x="4179995" y="559963"/>
                </a:cubicBezTo>
                <a:cubicBezTo>
                  <a:pt x="4175529" y="561034"/>
                  <a:pt x="4171061" y="562285"/>
                  <a:pt x="4165165" y="563714"/>
                </a:cubicBezTo>
                <a:cubicBezTo>
                  <a:pt x="4166058" y="561034"/>
                  <a:pt x="4166773" y="559426"/>
                  <a:pt x="4167668" y="556746"/>
                </a:cubicBezTo>
                <a:cubicBezTo>
                  <a:pt x="4165702" y="557104"/>
                  <a:pt x="4163558" y="556746"/>
                  <a:pt x="4163379" y="557460"/>
                </a:cubicBezTo>
                <a:cubicBezTo>
                  <a:pt x="4160521" y="568181"/>
                  <a:pt x="4150335" y="567288"/>
                  <a:pt x="4145154" y="574078"/>
                </a:cubicBezTo>
                <a:cubicBezTo>
                  <a:pt x="4143546" y="576222"/>
                  <a:pt x="4141224" y="577293"/>
                  <a:pt x="4139615" y="580867"/>
                </a:cubicBezTo>
                <a:cubicBezTo>
                  <a:pt x="4141581" y="580867"/>
                  <a:pt x="4143725" y="581581"/>
                  <a:pt x="4145512" y="580867"/>
                </a:cubicBezTo>
                <a:cubicBezTo>
                  <a:pt x="4157840" y="575507"/>
                  <a:pt x="4169990" y="569790"/>
                  <a:pt x="4182318" y="564607"/>
                </a:cubicBezTo>
                <a:cubicBezTo>
                  <a:pt x="4184998" y="563358"/>
                  <a:pt x="4188213" y="564251"/>
                  <a:pt x="4190894" y="563358"/>
                </a:cubicBezTo>
                <a:cubicBezTo>
                  <a:pt x="4200543" y="560141"/>
                  <a:pt x="4210012" y="556567"/>
                  <a:pt x="4219659" y="553172"/>
                </a:cubicBezTo>
                <a:cubicBezTo>
                  <a:pt x="4221088" y="552638"/>
                  <a:pt x="4222698" y="552458"/>
                  <a:pt x="4224128" y="552101"/>
                </a:cubicBezTo>
                <a:cubicBezTo>
                  <a:pt x="4226092" y="554602"/>
                  <a:pt x="4227879" y="556926"/>
                  <a:pt x="4229486" y="558890"/>
                </a:cubicBezTo>
                <a:cubicBezTo>
                  <a:pt x="4229664" y="564787"/>
                  <a:pt x="4225198" y="564965"/>
                  <a:pt x="4215371" y="559426"/>
                </a:cubicBezTo>
                <a:cubicBezTo>
                  <a:pt x="4216086" y="569968"/>
                  <a:pt x="4213586" y="577652"/>
                  <a:pt x="4203044" y="577652"/>
                </a:cubicBezTo>
                <a:cubicBezTo>
                  <a:pt x="4205366" y="588372"/>
                  <a:pt x="4200899" y="593909"/>
                  <a:pt x="4194646" y="597126"/>
                </a:cubicBezTo>
                <a:cubicBezTo>
                  <a:pt x="4190537" y="599092"/>
                  <a:pt x="4185534" y="598912"/>
                  <a:pt x="4181246" y="600700"/>
                </a:cubicBezTo>
                <a:cubicBezTo>
                  <a:pt x="4178566" y="601771"/>
                  <a:pt x="4176244" y="603380"/>
                  <a:pt x="4174100" y="605524"/>
                </a:cubicBezTo>
                <a:cubicBezTo>
                  <a:pt x="4176600" y="607846"/>
                  <a:pt x="4178744" y="610347"/>
                  <a:pt x="4180888" y="613027"/>
                </a:cubicBezTo>
                <a:cubicBezTo>
                  <a:pt x="4182139" y="612671"/>
                  <a:pt x="4183210" y="612491"/>
                  <a:pt x="4184640" y="612134"/>
                </a:cubicBezTo>
                <a:cubicBezTo>
                  <a:pt x="4183925" y="613386"/>
                  <a:pt x="4183032" y="613920"/>
                  <a:pt x="4182139" y="614815"/>
                </a:cubicBezTo>
                <a:cubicBezTo>
                  <a:pt x="4183390" y="616779"/>
                  <a:pt x="4184820" y="618745"/>
                  <a:pt x="4185891" y="620711"/>
                </a:cubicBezTo>
                <a:cubicBezTo>
                  <a:pt x="4297918" y="559963"/>
                  <a:pt x="4415304" y="509220"/>
                  <a:pt x="4536622" y="469913"/>
                </a:cubicBezTo>
                <a:cubicBezTo>
                  <a:pt x="4563421" y="461337"/>
                  <a:pt x="4586471" y="475272"/>
                  <a:pt x="4598798" y="495998"/>
                </a:cubicBezTo>
                <a:cubicBezTo>
                  <a:pt x="4599335" y="495819"/>
                  <a:pt x="4599692" y="495641"/>
                  <a:pt x="4600228" y="495463"/>
                </a:cubicBezTo>
                <a:cubicBezTo>
                  <a:pt x="4600050" y="496534"/>
                  <a:pt x="4599872" y="497249"/>
                  <a:pt x="4599872" y="497963"/>
                </a:cubicBezTo>
                <a:cubicBezTo>
                  <a:pt x="4600764" y="499393"/>
                  <a:pt x="4601658" y="501001"/>
                  <a:pt x="4602372" y="502610"/>
                </a:cubicBezTo>
                <a:cubicBezTo>
                  <a:pt x="4604516" y="501715"/>
                  <a:pt x="4606482" y="500644"/>
                  <a:pt x="4608446" y="499751"/>
                </a:cubicBezTo>
                <a:cubicBezTo>
                  <a:pt x="4609876" y="498500"/>
                  <a:pt x="4611304" y="497785"/>
                  <a:pt x="4612198" y="497785"/>
                </a:cubicBezTo>
                <a:cubicBezTo>
                  <a:pt x="4613629" y="497071"/>
                  <a:pt x="4615058" y="496356"/>
                  <a:pt x="4616488" y="495641"/>
                </a:cubicBezTo>
                <a:cubicBezTo>
                  <a:pt x="4613986" y="495283"/>
                  <a:pt x="4612020" y="494927"/>
                  <a:pt x="4609697" y="494390"/>
                </a:cubicBezTo>
                <a:cubicBezTo>
                  <a:pt x="4615414" y="488673"/>
                  <a:pt x="4621310" y="485636"/>
                  <a:pt x="4628994" y="488673"/>
                </a:cubicBezTo>
                <a:cubicBezTo>
                  <a:pt x="4630423" y="489209"/>
                  <a:pt x="4632210" y="487958"/>
                  <a:pt x="4633818" y="487065"/>
                </a:cubicBezTo>
                <a:cubicBezTo>
                  <a:pt x="4636140" y="485814"/>
                  <a:pt x="4638462" y="484206"/>
                  <a:pt x="4642036" y="482062"/>
                </a:cubicBezTo>
                <a:cubicBezTo>
                  <a:pt x="4640606" y="492604"/>
                  <a:pt x="4634889" y="494568"/>
                  <a:pt x="4629352" y="497427"/>
                </a:cubicBezTo>
                <a:cubicBezTo>
                  <a:pt x="4632030" y="498142"/>
                  <a:pt x="4634711" y="498678"/>
                  <a:pt x="4637214" y="499393"/>
                </a:cubicBezTo>
                <a:cubicBezTo>
                  <a:pt x="4638642" y="505110"/>
                  <a:pt x="4639892" y="510471"/>
                  <a:pt x="4641322" y="516545"/>
                </a:cubicBezTo>
                <a:cubicBezTo>
                  <a:pt x="4648112" y="511543"/>
                  <a:pt x="4653829" y="505647"/>
                  <a:pt x="4660618" y="502788"/>
                </a:cubicBezTo>
                <a:cubicBezTo>
                  <a:pt x="4661512" y="502430"/>
                  <a:pt x="4662227" y="502073"/>
                  <a:pt x="4662942" y="501537"/>
                </a:cubicBezTo>
                <a:cubicBezTo>
                  <a:pt x="4670088" y="495641"/>
                  <a:pt x="4677056" y="489746"/>
                  <a:pt x="4684204" y="484028"/>
                </a:cubicBezTo>
                <a:cubicBezTo>
                  <a:pt x="4684917" y="482599"/>
                  <a:pt x="4685632" y="481170"/>
                  <a:pt x="4686346" y="479740"/>
                </a:cubicBezTo>
                <a:cubicBezTo>
                  <a:pt x="4687061" y="480096"/>
                  <a:pt x="4687598" y="480275"/>
                  <a:pt x="4688312" y="480633"/>
                </a:cubicBezTo>
                <a:cubicBezTo>
                  <a:pt x="4688312" y="480989"/>
                  <a:pt x="4688312" y="481170"/>
                  <a:pt x="4688312" y="481526"/>
                </a:cubicBezTo>
                <a:cubicBezTo>
                  <a:pt x="4690992" y="480455"/>
                  <a:pt x="4693673" y="479740"/>
                  <a:pt x="4693136" y="474557"/>
                </a:cubicBezTo>
                <a:cubicBezTo>
                  <a:pt x="4692778" y="471699"/>
                  <a:pt x="4698676" y="468483"/>
                  <a:pt x="4701354" y="465088"/>
                </a:cubicBezTo>
                <a:cubicBezTo>
                  <a:pt x="4702784" y="463481"/>
                  <a:pt x="4703320" y="461158"/>
                  <a:pt x="4704394" y="459192"/>
                </a:cubicBezTo>
                <a:cubicBezTo>
                  <a:pt x="4702964" y="458478"/>
                  <a:pt x="4701533" y="457941"/>
                  <a:pt x="4700106" y="457405"/>
                </a:cubicBezTo>
                <a:cubicBezTo>
                  <a:pt x="4693136" y="461693"/>
                  <a:pt x="4685990" y="465625"/>
                  <a:pt x="4679380" y="470269"/>
                </a:cubicBezTo>
                <a:cubicBezTo>
                  <a:pt x="4675984" y="472771"/>
                  <a:pt x="4672768" y="475630"/>
                  <a:pt x="4669552" y="478489"/>
                </a:cubicBezTo>
                <a:cubicBezTo>
                  <a:pt x="4671160" y="480096"/>
                  <a:pt x="4672411" y="481526"/>
                  <a:pt x="4673840" y="482955"/>
                </a:cubicBezTo>
                <a:cubicBezTo>
                  <a:pt x="4671696" y="488851"/>
                  <a:pt x="4669194" y="494927"/>
                  <a:pt x="4661154" y="495283"/>
                </a:cubicBezTo>
                <a:cubicBezTo>
                  <a:pt x="4656866" y="495463"/>
                  <a:pt x="4653293" y="500466"/>
                  <a:pt x="4649363" y="503144"/>
                </a:cubicBezTo>
                <a:cubicBezTo>
                  <a:pt x="4649004" y="502610"/>
                  <a:pt x="4648648" y="501895"/>
                  <a:pt x="4648290" y="501180"/>
                </a:cubicBezTo>
                <a:cubicBezTo>
                  <a:pt x="4652936" y="497607"/>
                  <a:pt x="4657581" y="493854"/>
                  <a:pt x="4663656" y="489209"/>
                </a:cubicBezTo>
                <a:cubicBezTo>
                  <a:pt x="4658118" y="486707"/>
                  <a:pt x="4653651" y="484743"/>
                  <a:pt x="4647039" y="481884"/>
                </a:cubicBezTo>
                <a:cubicBezTo>
                  <a:pt x="4650792" y="480275"/>
                  <a:pt x="4654186" y="478845"/>
                  <a:pt x="4657224" y="477416"/>
                </a:cubicBezTo>
                <a:cubicBezTo>
                  <a:pt x="4658118" y="476701"/>
                  <a:pt x="4659010" y="476167"/>
                  <a:pt x="4659903" y="475808"/>
                </a:cubicBezTo>
                <a:cubicBezTo>
                  <a:pt x="4669016" y="472771"/>
                  <a:pt x="4669016" y="472950"/>
                  <a:pt x="4662762" y="464017"/>
                </a:cubicBezTo>
                <a:cubicBezTo>
                  <a:pt x="4670624" y="458656"/>
                  <a:pt x="4678306" y="452939"/>
                  <a:pt x="4686526" y="448294"/>
                </a:cubicBezTo>
                <a:cubicBezTo>
                  <a:pt x="4693673" y="444362"/>
                  <a:pt x="4697781" y="433642"/>
                  <a:pt x="4708860" y="437394"/>
                </a:cubicBezTo>
                <a:cubicBezTo>
                  <a:pt x="4713148" y="433286"/>
                  <a:pt x="4717436" y="428998"/>
                  <a:pt x="4721546" y="424710"/>
                </a:cubicBezTo>
                <a:cubicBezTo>
                  <a:pt x="4726368" y="419707"/>
                  <a:pt x="4730478" y="414168"/>
                  <a:pt x="4735660" y="409521"/>
                </a:cubicBezTo>
                <a:cubicBezTo>
                  <a:pt x="4739769" y="405948"/>
                  <a:pt x="4744772" y="403447"/>
                  <a:pt x="4749418" y="400589"/>
                </a:cubicBezTo>
                <a:cubicBezTo>
                  <a:pt x="4750131" y="401125"/>
                  <a:pt x="4750848" y="401840"/>
                  <a:pt x="4751562" y="402374"/>
                </a:cubicBezTo>
                <a:cubicBezTo>
                  <a:pt x="4750490" y="406662"/>
                  <a:pt x="4749418" y="410951"/>
                  <a:pt x="4748346" y="415239"/>
                </a:cubicBezTo>
                <a:cubicBezTo>
                  <a:pt x="4754600" y="410594"/>
                  <a:pt x="4762461" y="409165"/>
                  <a:pt x="4766034" y="401125"/>
                </a:cubicBezTo>
                <a:cubicBezTo>
                  <a:pt x="4768893" y="394693"/>
                  <a:pt x="4773360" y="388795"/>
                  <a:pt x="4777469" y="382185"/>
                </a:cubicBezTo>
                <a:cubicBezTo>
                  <a:pt x="4785330" y="394871"/>
                  <a:pt x="4788368" y="395408"/>
                  <a:pt x="4798910" y="386831"/>
                </a:cubicBezTo>
                <a:cubicBezTo>
                  <a:pt x="4802305" y="383973"/>
                  <a:pt x="4805698" y="381292"/>
                  <a:pt x="4808735" y="378970"/>
                </a:cubicBezTo>
                <a:cubicBezTo>
                  <a:pt x="4812667" y="383436"/>
                  <a:pt x="4816240" y="387546"/>
                  <a:pt x="4820528" y="392369"/>
                </a:cubicBezTo>
                <a:cubicBezTo>
                  <a:pt x="4824102" y="386651"/>
                  <a:pt x="4827140" y="381829"/>
                  <a:pt x="4830892" y="375931"/>
                </a:cubicBezTo>
                <a:cubicBezTo>
                  <a:pt x="4830356" y="375038"/>
                  <a:pt x="4829282" y="372716"/>
                  <a:pt x="4828212" y="370572"/>
                </a:cubicBezTo>
                <a:cubicBezTo>
                  <a:pt x="4829104" y="370394"/>
                  <a:pt x="4829998" y="370394"/>
                  <a:pt x="4830712" y="369857"/>
                </a:cubicBezTo>
                <a:cubicBezTo>
                  <a:pt x="4844828" y="359852"/>
                  <a:pt x="4859121" y="349668"/>
                  <a:pt x="4873236" y="339662"/>
                </a:cubicBezTo>
                <a:cubicBezTo>
                  <a:pt x="4873951" y="339304"/>
                  <a:pt x="4874844" y="338948"/>
                  <a:pt x="4875380" y="338233"/>
                </a:cubicBezTo>
                <a:cubicBezTo>
                  <a:pt x="4878061" y="335016"/>
                  <a:pt x="4880562" y="329299"/>
                  <a:pt x="4883598" y="328942"/>
                </a:cubicBezTo>
                <a:cubicBezTo>
                  <a:pt x="4889138" y="328228"/>
                  <a:pt x="4895034" y="330728"/>
                  <a:pt x="4900751" y="331979"/>
                </a:cubicBezTo>
                <a:cubicBezTo>
                  <a:pt x="4900394" y="328942"/>
                  <a:pt x="4899680" y="325011"/>
                  <a:pt x="4898965" y="319651"/>
                </a:cubicBezTo>
                <a:cubicBezTo>
                  <a:pt x="4909149" y="313219"/>
                  <a:pt x="4919512" y="306607"/>
                  <a:pt x="4930053" y="299997"/>
                </a:cubicBezTo>
                <a:cubicBezTo>
                  <a:pt x="4930411" y="300711"/>
                  <a:pt x="4930768" y="301248"/>
                  <a:pt x="4931126" y="301784"/>
                </a:cubicBezTo>
                <a:cubicBezTo>
                  <a:pt x="4928982" y="304643"/>
                  <a:pt x="4926660" y="307680"/>
                  <a:pt x="4924336" y="310539"/>
                </a:cubicBezTo>
                <a:cubicBezTo>
                  <a:pt x="4924694" y="310895"/>
                  <a:pt x="4925050" y="311432"/>
                  <a:pt x="4925408" y="311968"/>
                </a:cubicBezTo>
                <a:cubicBezTo>
                  <a:pt x="4934343" y="306787"/>
                  <a:pt x="4943454" y="301426"/>
                  <a:pt x="4952922" y="295887"/>
                </a:cubicBezTo>
                <a:cubicBezTo>
                  <a:pt x="4952388" y="294458"/>
                  <a:pt x="4951672" y="292313"/>
                  <a:pt x="4950958" y="289991"/>
                </a:cubicBezTo>
                <a:cubicBezTo>
                  <a:pt x="4951672" y="289635"/>
                  <a:pt x="4952388" y="289098"/>
                  <a:pt x="4953102" y="288740"/>
                </a:cubicBezTo>
                <a:cubicBezTo>
                  <a:pt x="4954532" y="291420"/>
                  <a:pt x="4955962" y="294101"/>
                  <a:pt x="4957391" y="296782"/>
                </a:cubicBezTo>
                <a:cubicBezTo>
                  <a:pt x="4961679" y="291242"/>
                  <a:pt x="4969538" y="289455"/>
                  <a:pt x="4972041" y="282308"/>
                </a:cubicBezTo>
                <a:cubicBezTo>
                  <a:pt x="4972399" y="281415"/>
                  <a:pt x="4974363" y="279986"/>
                  <a:pt x="4975080" y="280344"/>
                </a:cubicBezTo>
                <a:cubicBezTo>
                  <a:pt x="4981868" y="283023"/>
                  <a:pt x="4985978" y="278378"/>
                  <a:pt x="4990444" y="275161"/>
                </a:cubicBezTo>
                <a:cubicBezTo>
                  <a:pt x="4995089" y="271946"/>
                  <a:pt x="4999914" y="269980"/>
                  <a:pt x="5002950" y="263548"/>
                </a:cubicBezTo>
                <a:cubicBezTo>
                  <a:pt x="5005989" y="257294"/>
                  <a:pt x="5014744" y="254079"/>
                  <a:pt x="5022783" y="251398"/>
                </a:cubicBezTo>
                <a:cubicBezTo>
                  <a:pt x="5020639" y="253901"/>
                  <a:pt x="5018317" y="256579"/>
                  <a:pt x="5015280" y="260153"/>
                </a:cubicBezTo>
                <a:cubicBezTo>
                  <a:pt x="5020461" y="259082"/>
                  <a:pt x="5024571" y="258367"/>
                  <a:pt x="5028680" y="257652"/>
                </a:cubicBezTo>
                <a:cubicBezTo>
                  <a:pt x="5029394" y="260333"/>
                  <a:pt x="5029930" y="262297"/>
                  <a:pt x="5030466" y="264799"/>
                </a:cubicBezTo>
                <a:cubicBezTo>
                  <a:pt x="5037614" y="261047"/>
                  <a:pt x="5044582" y="257474"/>
                  <a:pt x="5051370" y="253901"/>
                </a:cubicBezTo>
                <a:cubicBezTo>
                  <a:pt x="5053158" y="255865"/>
                  <a:pt x="5054408" y="257294"/>
                  <a:pt x="5055658" y="258723"/>
                </a:cubicBezTo>
                <a:cubicBezTo>
                  <a:pt x="5056910" y="258189"/>
                  <a:pt x="5058339" y="257831"/>
                  <a:pt x="5058339" y="257294"/>
                </a:cubicBezTo>
                <a:cubicBezTo>
                  <a:pt x="5059946" y="244966"/>
                  <a:pt x="5071560" y="245144"/>
                  <a:pt x="5079243" y="240678"/>
                </a:cubicBezTo>
                <a:cubicBezTo>
                  <a:pt x="5087463" y="235854"/>
                  <a:pt x="5096217" y="232280"/>
                  <a:pt x="5104257" y="227458"/>
                </a:cubicBezTo>
                <a:cubicBezTo>
                  <a:pt x="5107830" y="225313"/>
                  <a:pt x="5106938" y="222096"/>
                  <a:pt x="5103364" y="219059"/>
                </a:cubicBezTo>
                <a:cubicBezTo>
                  <a:pt x="5100862" y="216915"/>
                  <a:pt x="5098898" y="213164"/>
                  <a:pt x="5105150" y="211198"/>
                </a:cubicBezTo>
                <a:cubicBezTo>
                  <a:pt x="5108367" y="210125"/>
                  <a:pt x="5110152" y="205302"/>
                  <a:pt x="5113370" y="203693"/>
                </a:cubicBezTo>
                <a:cubicBezTo>
                  <a:pt x="5125339" y="197619"/>
                  <a:pt x="5137669" y="192258"/>
                  <a:pt x="5150890" y="188328"/>
                </a:cubicBezTo>
                <a:cubicBezTo>
                  <a:pt x="5146960" y="190650"/>
                  <a:pt x="5143206" y="193509"/>
                  <a:pt x="5139098" y="195475"/>
                </a:cubicBezTo>
                <a:cubicBezTo>
                  <a:pt x="5134096" y="197797"/>
                  <a:pt x="5138920" y="204766"/>
                  <a:pt x="5132844" y="206732"/>
                </a:cubicBezTo>
                <a:cubicBezTo>
                  <a:pt x="5128556" y="208161"/>
                  <a:pt x="5124982" y="211198"/>
                  <a:pt x="5121410" y="214593"/>
                </a:cubicBezTo>
                <a:cubicBezTo>
                  <a:pt x="5136240" y="213520"/>
                  <a:pt x="5148209" y="205122"/>
                  <a:pt x="5160895" y="199048"/>
                </a:cubicBezTo>
                <a:cubicBezTo>
                  <a:pt x="5174474" y="192616"/>
                  <a:pt x="5187160" y="183682"/>
                  <a:pt x="5201276" y="179574"/>
                </a:cubicBezTo>
                <a:cubicBezTo>
                  <a:pt x="5214674" y="175820"/>
                  <a:pt x="5225396" y="164566"/>
                  <a:pt x="5241654" y="165815"/>
                </a:cubicBezTo>
                <a:cubicBezTo>
                  <a:pt x="5233078" y="170998"/>
                  <a:pt x="5225574" y="176000"/>
                  <a:pt x="5217535" y="180288"/>
                </a:cubicBezTo>
                <a:cubicBezTo>
                  <a:pt x="5207530" y="185648"/>
                  <a:pt x="5197524" y="190650"/>
                  <a:pt x="5190197" y="201192"/>
                </a:cubicBezTo>
                <a:cubicBezTo>
                  <a:pt x="5203420" y="194938"/>
                  <a:pt x="5215926" y="188865"/>
                  <a:pt x="5228434" y="182967"/>
                </a:cubicBezTo>
                <a:cubicBezTo>
                  <a:pt x="5230399" y="185291"/>
                  <a:pt x="5231648" y="186899"/>
                  <a:pt x="5232722" y="188328"/>
                </a:cubicBezTo>
                <a:cubicBezTo>
                  <a:pt x="5237724" y="187077"/>
                  <a:pt x="5242727" y="185648"/>
                  <a:pt x="5247730" y="184218"/>
                </a:cubicBezTo>
                <a:cubicBezTo>
                  <a:pt x="5248622" y="187613"/>
                  <a:pt x="5249338" y="190114"/>
                  <a:pt x="5249874" y="192258"/>
                </a:cubicBezTo>
                <a:cubicBezTo>
                  <a:pt x="5264168" y="191723"/>
                  <a:pt x="5276854" y="187792"/>
                  <a:pt x="5288645" y="180288"/>
                </a:cubicBezTo>
                <a:cubicBezTo>
                  <a:pt x="5286859" y="190650"/>
                  <a:pt x="5277568" y="191902"/>
                  <a:pt x="5269348" y="196546"/>
                </a:cubicBezTo>
                <a:cubicBezTo>
                  <a:pt x="5278640" y="200834"/>
                  <a:pt x="5286501" y="204588"/>
                  <a:pt x="5295077" y="208696"/>
                </a:cubicBezTo>
                <a:cubicBezTo>
                  <a:pt x="5293826" y="215486"/>
                  <a:pt x="5285430" y="207446"/>
                  <a:pt x="5282928" y="212806"/>
                </a:cubicBezTo>
                <a:cubicBezTo>
                  <a:pt x="5289718" y="221025"/>
                  <a:pt x="5296506" y="221918"/>
                  <a:pt x="5304726" y="215664"/>
                </a:cubicBezTo>
                <a:cubicBezTo>
                  <a:pt x="5310978" y="211020"/>
                  <a:pt x="5317232" y="206552"/>
                  <a:pt x="5324737" y="201192"/>
                </a:cubicBezTo>
                <a:cubicBezTo>
                  <a:pt x="5327596" y="214593"/>
                  <a:pt x="5315446" y="214771"/>
                  <a:pt x="5312766" y="222989"/>
                </a:cubicBezTo>
                <a:cubicBezTo>
                  <a:pt x="5317768" y="219952"/>
                  <a:pt x="5322772" y="216915"/>
                  <a:pt x="5329204" y="212984"/>
                </a:cubicBezTo>
                <a:cubicBezTo>
                  <a:pt x="5325630" y="217452"/>
                  <a:pt x="5322950" y="220667"/>
                  <a:pt x="5319376" y="224777"/>
                </a:cubicBezTo>
                <a:cubicBezTo>
                  <a:pt x="5324022" y="226385"/>
                  <a:pt x="5327596" y="227814"/>
                  <a:pt x="5330989" y="229065"/>
                </a:cubicBezTo>
                <a:cubicBezTo>
                  <a:pt x="5329026" y="238892"/>
                  <a:pt x="5310622" y="231746"/>
                  <a:pt x="5313480" y="246754"/>
                </a:cubicBezTo>
                <a:cubicBezTo>
                  <a:pt x="5322950" y="244252"/>
                  <a:pt x="5315088" y="255865"/>
                  <a:pt x="5321520" y="256401"/>
                </a:cubicBezTo>
                <a:cubicBezTo>
                  <a:pt x="5327238" y="250862"/>
                  <a:pt x="5333134" y="244966"/>
                  <a:pt x="5338850" y="239249"/>
                </a:cubicBezTo>
                <a:cubicBezTo>
                  <a:pt x="5345998" y="243181"/>
                  <a:pt x="5340460" y="248361"/>
                  <a:pt x="5341710" y="252291"/>
                </a:cubicBezTo>
                <a:cubicBezTo>
                  <a:pt x="5343854" y="259796"/>
                  <a:pt x="5332420" y="254972"/>
                  <a:pt x="5334562" y="262655"/>
                </a:cubicBezTo>
                <a:cubicBezTo>
                  <a:pt x="5340102" y="269624"/>
                  <a:pt x="5345104" y="258723"/>
                  <a:pt x="5351715" y="260333"/>
                </a:cubicBezTo>
                <a:cubicBezTo>
                  <a:pt x="5351000" y="263011"/>
                  <a:pt x="5350288" y="265692"/>
                  <a:pt x="5349393" y="269265"/>
                </a:cubicBezTo>
                <a:cubicBezTo>
                  <a:pt x="5351715" y="269802"/>
                  <a:pt x="5354039" y="270158"/>
                  <a:pt x="5356362" y="270517"/>
                </a:cubicBezTo>
                <a:cubicBezTo>
                  <a:pt x="5350644" y="277485"/>
                  <a:pt x="5344746" y="284632"/>
                  <a:pt x="5340280" y="289813"/>
                </a:cubicBezTo>
                <a:cubicBezTo>
                  <a:pt x="5339387" y="296245"/>
                  <a:pt x="5338672" y="300890"/>
                  <a:pt x="5337958" y="307144"/>
                </a:cubicBezTo>
                <a:cubicBezTo>
                  <a:pt x="5347607" y="300711"/>
                  <a:pt x="5356540" y="294638"/>
                  <a:pt x="5365294" y="288384"/>
                </a:cubicBezTo>
                <a:cubicBezTo>
                  <a:pt x="5373870" y="282308"/>
                  <a:pt x="5382446" y="275876"/>
                  <a:pt x="5391202" y="269980"/>
                </a:cubicBezTo>
                <a:cubicBezTo>
                  <a:pt x="5392988" y="268729"/>
                  <a:pt x="5395847" y="268729"/>
                  <a:pt x="5398170" y="268194"/>
                </a:cubicBezTo>
                <a:cubicBezTo>
                  <a:pt x="5395132" y="270695"/>
                  <a:pt x="5392274" y="273375"/>
                  <a:pt x="5389415" y="275876"/>
                </a:cubicBezTo>
                <a:cubicBezTo>
                  <a:pt x="5389952" y="276770"/>
                  <a:pt x="5390666" y="277663"/>
                  <a:pt x="5391202" y="278556"/>
                </a:cubicBezTo>
                <a:cubicBezTo>
                  <a:pt x="5395669" y="276056"/>
                  <a:pt x="5400314" y="273732"/>
                  <a:pt x="5404960" y="271231"/>
                </a:cubicBezTo>
                <a:cubicBezTo>
                  <a:pt x="5394240" y="286776"/>
                  <a:pt x="5376729" y="294279"/>
                  <a:pt x="5365474" y="305536"/>
                </a:cubicBezTo>
                <a:cubicBezTo>
                  <a:pt x="5363508" y="314290"/>
                  <a:pt x="5361900" y="321437"/>
                  <a:pt x="5360472" y="327691"/>
                </a:cubicBezTo>
                <a:cubicBezTo>
                  <a:pt x="5362614" y="332157"/>
                  <a:pt x="5365116" y="336267"/>
                  <a:pt x="5366724" y="340555"/>
                </a:cubicBezTo>
                <a:cubicBezTo>
                  <a:pt x="5368511" y="345200"/>
                  <a:pt x="5378873" y="340734"/>
                  <a:pt x="5375478" y="349132"/>
                </a:cubicBezTo>
                <a:cubicBezTo>
                  <a:pt x="5386734" y="354313"/>
                  <a:pt x="5394240" y="344307"/>
                  <a:pt x="5405496" y="343414"/>
                </a:cubicBezTo>
                <a:cubicBezTo>
                  <a:pt x="5402816" y="346629"/>
                  <a:pt x="5400494" y="349488"/>
                  <a:pt x="5398348" y="352168"/>
                </a:cubicBezTo>
                <a:cubicBezTo>
                  <a:pt x="5413892" y="346809"/>
                  <a:pt x="5424612" y="333765"/>
                  <a:pt x="5441586" y="328942"/>
                </a:cubicBezTo>
                <a:cubicBezTo>
                  <a:pt x="5439801" y="340197"/>
                  <a:pt x="5430330" y="340912"/>
                  <a:pt x="5424434" y="345558"/>
                </a:cubicBezTo>
                <a:cubicBezTo>
                  <a:pt x="5418180" y="350383"/>
                  <a:pt x="5413000" y="356635"/>
                  <a:pt x="5405316" y="364318"/>
                </a:cubicBezTo>
                <a:cubicBezTo>
                  <a:pt x="5418360" y="364140"/>
                  <a:pt x="5423183" y="356100"/>
                  <a:pt x="5429974" y="351276"/>
                </a:cubicBezTo>
                <a:cubicBezTo>
                  <a:pt x="5436584" y="346629"/>
                  <a:pt x="5444089" y="343056"/>
                  <a:pt x="5453022" y="338053"/>
                </a:cubicBezTo>
                <a:cubicBezTo>
                  <a:pt x="5445518" y="356815"/>
                  <a:pt x="5430688" y="365211"/>
                  <a:pt x="5418360" y="375575"/>
                </a:cubicBezTo>
                <a:cubicBezTo>
                  <a:pt x="5419254" y="380577"/>
                  <a:pt x="5419968" y="384866"/>
                  <a:pt x="5420682" y="389510"/>
                </a:cubicBezTo>
                <a:cubicBezTo>
                  <a:pt x="5422827" y="388439"/>
                  <a:pt x="5425327" y="387188"/>
                  <a:pt x="5429259" y="385222"/>
                </a:cubicBezTo>
                <a:cubicBezTo>
                  <a:pt x="5428544" y="389690"/>
                  <a:pt x="5428186" y="392905"/>
                  <a:pt x="5427472" y="397730"/>
                </a:cubicBezTo>
                <a:cubicBezTo>
                  <a:pt x="5438728" y="389868"/>
                  <a:pt x="5448734" y="382900"/>
                  <a:pt x="5458918" y="375753"/>
                </a:cubicBezTo>
                <a:cubicBezTo>
                  <a:pt x="5459276" y="376289"/>
                  <a:pt x="5459812" y="376646"/>
                  <a:pt x="5460168" y="377182"/>
                </a:cubicBezTo>
                <a:cubicBezTo>
                  <a:pt x="5456417" y="382363"/>
                  <a:pt x="5452844" y="387366"/>
                  <a:pt x="5448197" y="393798"/>
                </a:cubicBezTo>
                <a:cubicBezTo>
                  <a:pt x="5452128" y="393620"/>
                  <a:pt x="5455166" y="393442"/>
                  <a:pt x="5459812" y="393084"/>
                </a:cubicBezTo>
                <a:cubicBezTo>
                  <a:pt x="5451948" y="401125"/>
                  <a:pt x="5445338" y="408092"/>
                  <a:pt x="5436406" y="417204"/>
                </a:cubicBezTo>
                <a:cubicBezTo>
                  <a:pt x="5442660" y="417204"/>
                  <a:pt x="5445338" y="417204"/>
                  <a:pt x="5449092" y="417204"/>
                </a:cubicBezTo>
                <a:cubicBezTo>
                  <a:pt x="5447304" y="420063"/>
                  <a:pt x="5445875" y="422029"/>
                  <a:pt x="5443730" y="425244"/>
                </a:cubicBezTo>
                <a:cubicBezTo>
                  <a:pt x="5455702" y="422744"/>
                  <a:pt x="5451592" y="438108"/>
                  <a:pt x="5462134" y="439181"/>
                </a:cubicBezTo>
                <a:cubicBezTo>
                  <a:pt x="5458739" y="442218"/>
                  <a:pt x="5456058" y="444541"/>
                  <a:pt x="5453380" y="446865"/>
                </a:cubicBezTo>
                <a:cubicBezTo>
                  <a:pt x="5453736" y="447221"/>
                  <a:pt x="5453914" y="447758"/>
                  <a:pt x="5454273" y="448114"/>
                </a:cubicBezTo>
                <a:cubicBezTo>
                  <a:pt x="5458561" y="445970"/>
                  <a:pt x="5462849" y="443826"/>
                  <a:pt x="5467137" y="441682"/>
                </a:cubicBezTo>
                <a:cubicBezTo>
                  <a:pt x="5467494" y="442397"/>
                  <a:pt x="5468030" y="443291"/>
                  <a:pt x="5468566" y="444006"/>
                </a:cubicBezTo>
                <a:cubicBezTo>
                  <a:pt x="5459812" y="451687"/>
                  <a:pt x="5451236" y="459371"/>
                  <a:pt x="5441765" y="467591"/>
                </a:cubicBezTo>
                <a:cubicBezTo>
                  <a:pt x="5439801" y="466161"/>
                  <a:pt x="5437298" y="464195"/>
                  <a:pt x="5434798" y="462229"/>
                </a:cubicBezTo>
                <a:cubicBezTo>
                  <a:pt x="5426756" y="465981"/>
                  <a:pt x="5435513" y="470806"/>
                  <a:pt x="5433188" y="475808"/>
                </a:cubicBezTo>
                <a:cubicBezTo>
                  <a:pt x="5422290" y="480633"/>
                  <a:pt x="5425686" y="491175"/>
                  <a:pt x="5425327" y="501001"/>
                </a:cubicBezTo>
                <a:cubicBezTo>
                  <a:pt x="5430510" y="504218"/>
                  <a:pt x="5435870" y="507613"/>
                  <a:pt x="5442480" y="511721"/>
                </a:cubicBezTo>
                <a:cubicBezTo>
                  <a:pt x="5435691" y="519940"/>
                  <a:pt x="5429796" y="527444"/>
                  <a:pt x="5423720" y="534771"/>
                </a:cubicBezTo>
                <a:cubicBezTo>
                  <a:pt x="5424078" y="535485"/>
                  <a:pt x="5424256" y="536200"/>
                  <a:pt x="5424612" y="536915"/>
                </a:cubicBezTo>
                <a:cubicBezTo>
                  <a:pt x="5427472" y="536200"/>
                  <a:pt x="5430866" y="536020"/>
                  <a:pt x="5433369" y="534412"/>
                </a:cubicBezTo>
                <a:cubicBezTo>
                  <a:pt x="5447304" y="525300"/>
                  <a:pt x="5460883" y="515831"/>
                  <a:pt x="5474820" y="506540"/>
                </a:cubicBezTo>
                <a:cubicBezTo>
                  <a:pt x="5477142" y="505110"/>
                  <a:pt x="5480180" y="504574"/>
                  <a:pt x="5482860" y="503681"/>
                </a:cubicBezTo>
                <a:cubicBezTo>
                  <a:pt x="5484468" y="503325"/>
                  <a:pt x="5487148" y="503681"/>
                  <a:pt x="5487682" y="502788"/>
                </a:cubicBezTo>
                <a:cubicBezTo>
                  <a:pt x="5494832" y="491710"/>
                  <a:pt x="5507696" y="490995"/>
                  <a:pt x="5518058" y="486350"/>
                </a:cubicBezTo>
                <a:cubicBezTo>
                  <a:pt x="5538784" y="477416"/>
                  <a:pt x="5320806" y="752390"/>
                  <a:pt x="5339387" y="740419"/>
                </a:cubicBezTo>
                <a:cubicBezTo>
                  <a:pt x="5345463" y="736667"/>
                  <a:pt x="5352966" y="729520"/>
                  <a:pt x="5362972" y="733630"/>
                </a:cubicBezTo>
                <a:cubicBezTo>
                  <a:pt x="5365474" y="734523"/>
                  <a:pt x="5370655" y="732557"/>
                  <a:pt x="5372621" y="730235"/>
                </a:cubicBezTo>
                <a:cubicBezTo>
                  <a:pt x="5377802" y="723981"/>
                  <a:pt x="5383698" y="724876"/>
                  <a:pt x="5388344" y="726840"/>
                </a:cubicBezTo>
                <a:cubicBezTo>
                  <a:pt x="5394062" y="723447"/>
                  <a:pt x="5398348" y="720766"/>
                  <a:pt x="5402994" y="718622"/>
                </a:cubicBezTo>
                <a:cubicBezTo>
                  <a:pt x="5409248" y="715763"/>
                  <a:pt x="5417110" y="715049"/>
                  <a:pt x="5414607" y="704685"/>
                </a:cubicBezTo>
                <a:cubicBezTo>
                  <a:pt x="5414250" y="702899"/>
                  <a:pt x="5417466" y="699326"/>
                  <a:pt x="5419790" y="697718"/>
                </a:cubicBezTo>
                <a:cubicBezTo>
                  <a:pt x="5425149" y="693965"/>
                  <a:pt x="5431044" y="690928"/>
                  <a:pt x="5436942" y="687354"/>
                </a:cubicBezTo>
                <a:cubicBezTo>
                  <a:pt x="5439086" y="689676"/>
                  <a:pt x="5440516" y="691286"/>
                  <a:pt x="5442838" y="693965"/>
                </a:cubicBezTo>
                <a:cubicBezTo>
                  <a:pt x="5445875" y="686461"/>
                  <a:pt x="5454810" y="685568"/>
                  <a:pt x="5456238" y="676456"/>
                </a:cubicBezTo>
                <a:cubicBezTo>
                  <a:pt x="5456595" y="673419"/>
                  <a:pt x="5465708" y="668416"/>
                  <a:pt x="5468923" y="669487"/>
                </a:cubicBezTo>
                <a:cubicBezTo>
                  <a:pt x="5479643" y="673239"/>
                  <a:pt x="5484290" y="667343"/>
                  <a:pt x="5488221" y="661089"/>
                </a:cubicBezTo>
                <a:cubicBezTo>
                  <a:pt x="5494473" y="660733"/>
                  <a:pt x="5499654" y="660555"/>
                  <a:pt x="5506981" y="660196"/>
                </a:cubicBezTo>
                <a:cubicBezTo>
                  <a:pt x="5504122" y="657159"/>
                  <a:pt x="5502871" y="655730"/>
                  <a:pt x="5500727" y="653228"/>
                </a:cubicBezTo>
                <a:cubicBezTo>
                  <a:pt x="5516450" y="644652"/>
                  <a:pt x="5531636" y="636075"/>
                  <a:pt x="5547003" y="627499"/>
                </a:cubicBezTo>
                <a:cubicBezTo>
                  <a:pt x="5547182" y="627679"/>
                  <a:pt x="5547538" y="628036"/>
                  <a:pt x="5547718" y="628036"/>
                </a:cubicBezTo>
                <a:cubicBezTo>
                  <a:pt x="5545574" y="630180"/>
                  <a:pt x="5543250" y="632324"/>
                  <a:pt x="5539856" y="635719"/>
                </a:cubicBezTo>
                <a:cubicBezTo>
                  <a:pt x="5551648" y="633217"/>
                  <a:pt x="5562368" y="631967"/>
                  <a:pt x="5568978" y="621962"/>
                </a:cubicBezTo>
                <a:cubicBezTo>
                  <a:pt x="5569693" y="620889"/>
                  <a:pt x="5570944" y="619281"/>
                  <a:pt x="5571659" y="619281"/>
                </a:cubicBezTo>
                <a:cubicBezTo>
                  <a:pt x="5582201" y="621603"/>
                  <a:pt x="5584166" y="612849"/>
                  <a:pt x="5588811" y="606773"/>
                </a:cubicBezTo>
                <a:cubicBezTo>
                  <a:pt x="5592563" y="601951"/>
                  <a:pt x="5597746" y="598555"/>
                  <a:pt x="5604356" y="598197"/>
                </a:cubicBezTo>
                <a:cubicBezTo>
                  <a:pt x="5605427" y="600700"/>
                  <a:pt x="5606142" y="602665"/>
                  <a:pt x="5607036" y="604809"/>
                </a:cubicBezTo>
                <a:cubicBezTo>
                  <a:pt x="5613647" y="603022"/>
                  <a:pt x="5618472" y="600878"/>
                  <a:pt x="5621150" y="593194"/>
                </a:cubicBezTo>
                <a:cubicBezTo>
                  <a:pt x="5623474" y="586942"/>
                  <a:pt x="5630441" y="582832"/>
                  <a:pt x="5639197" y="583547"/>
                </a:cubicBezTo>
                <a:cubicBezTo>
                  <a:pt x="5636516" y="586584"/>
                  <a:pt x="5634194" y="589086"/>
                  <a:pt x="5629726" y="594089"/>
                </a:cubicBezTo>
                <a:cubicBezTo>
                  <a:pt x="5643842" y="589443"/>
                  <a:pt x="5654920" y="585691"/>
                  <a:pt x="5668856" y="581045"/>
                </a:cubicBezTo>
                <a:cubicBezTo>
                  <a:pt x="5664389" y="585155"/>
                  <a:pt x="5662067" y="587121"/>
                  <a:pt x="5659028" y="589801"/>
                </a:cubicBezTo>
                <a:cubicBezTo>
                  <a:pt x="5660638" y="590516"/>
                  <a:pt x="5662067" y="591765"/>
                  <a:pt x="5662782" y="591409"/>
                </a:cubicBezTo>
                <a:cubicBezTo>
                  <a:pt x="5676717" y="584977"/>
                  <a:pt x="5690474" y="578366"/>
                  <a:pt x="5704412" y="571934"/>
                </a:cubicBezTo>
                <a:cubicBezTo>
                  <a:pt x="5722456" y="563714"/>
                  <a:pt x="5740502" y="555675"/>
                  <a:pt x="5758549" y="547635"/>
                </a:cubicBezTo>
                <a:cubicBezTo>
                  <a:pt x="5759084" y="547455"/>
                  <a:pt x="5759798" y="547991"/>
                  <a:pt x="5760513" y="548350"/>
                </a:cubicBezTo>
                <a:cubicBezTo>
                  <a:pt x="5749436" y="555138"/>
                  <a:pt x="5738180" y="561928"/>
                  <a:pt x="5726923" y="568895"/>
                </a:cubicBezTo>
                <a:cubicBezTo>
                  <a:pt x="5730496" y="572469"/>
                  <a:pt x="5734070" y="574078"/>
                  <a:pt x="5739431" y="571754"/>
                </a:cubicBezTo>
                <a:cubicBezTo>
                  <a:pt x="5751044" y="566573"/>
                  <a:pt x="5762837" y="561748"/>
                  <a:pt x="5774628" y="557282"/>
                </a:cubicBezTo>
                <a:cubicBezTo>
                  <a:pt x="5777666" y="556211"/>
                  <a:pt x="5781238" y="556211"/>
                  <a:pt x="5784634" y="555853"/>
                </a:cubicBezTo>
                <a:cubicBezTo>
                  <a:pt x="5779631" y="567109"/>
                  <a:pt x="5768374" y="570683"/>
                  <a:pt x="5759084" y="576579"/>
                </a:cubicBezTo>
                <a:cubicBezTo>
                  <a:pt x="5757298" y="577652"/>
                  <a:pt x="5755688" y="578723"/>
                  <a:pt x="5753902" y="579795"/>
                </a:cubicBezTo>
                <a:cubicBezTo>
                  <a:pt x="5754439" y="580688"/>
                  <a:pt x="5754796" y="581403"/>
                  <a:pt x="5755154" y="582296"/>
                </a:cubicBezTo>
                <a:cubicBezTo>
                  <a:pt x="5770698" y="575327"/>
                  <a:pt x="5786420" y="568361"/>
                  <a:pt x="5801786" y="561392"/>
                </a:cubicBezTo>
                <a:cubicBezTo>
                  <a:pt x="5806252" y="565322"/>
                  <a:pt x="5809112" y="571039"/>
                  <a:pt x="5817868" y="569968"/>
                </a:cubicBezTo>
                <a:cubicBezTo>
                  <a:pt x="5815902" y="567646"/>
                  <a:pt x="5815009" y="566751"/>
                  <a:pt x="5814294" y="565502"/>
                </a:cubicBezTo>
                <a:cubicBezTo>
                  <a:pt x="5812865" y="563178"/>
                  <a:pt x="5810184" y="560141"/>
                  <a:pt x="5810899" y="558355"/>
                </a:cubicBezTo>
                <a:cubicBezTo>
                  <a:pt x="5811792" y="556211"/>
                  <a:pt x="5815724" y="553172"/>
                  <a:pt x="5817688" y="553709"/>
                </a:cubicBezTo>
                <a:cubicBezTo>
                  <a:pt x="5825549" y="555675"/>
                  <a:pt x="5830196" y="548884"/>
                  <a:pt x="5836984" y="547813"/>
                </a:cubicBezTo>
                <a:cubicBezTo>
                  <a:pt x="5843596" y="546740"/>
                  <a:pt x="5849670" y="542274"/>
                  <a:pt x="5855924" y="539059"/>
                </a:cubicBezTo>
                <a:cubicBezTo>
                  <a:pt x="5861283" y="536378"/>
                  <a:pt x="5866644" y="533519"/>
                  <a:pt x="5873432" y="532446"/>
                </a:cubicBezTo>
                <a:cubicBezTo>
                  <a:pt x="5872004" y="534771"/>
                  <a:pt x="5870754" y="537093"/>
                  <a:pt x="5868432" y="541023"/>
                </a:cubicBezTo>
                <a:cubicBezTo>
                  <a:pt x="5895232" y="536556"/>
                  <a:pt x="5913276" y="516545"/>
                  <a:pt x="5937576" y="507613"/>
                </a:cubicBezTo>
                <a:cubicBezTo>
                  <a:pt x="5938468" y="511901"/>
                  <a:pt x="5939364" y="515116"/>
                  <a:pt x="5940078" y="518333"/>
                </a:cubicBezTo>
                <a:cubicBezTo>
                  <a:pt x="5939184" y="519048"/>
                  <a:pt x="5937934" y="519762"/>
                  <a:pt x="5937934" y="519762"/>
                </a:cubicBezTo>
                <a:cubicBezTo>
                  <a:pt x="5934180" y="516367"/>
                  <a:pt x="5930607" y="518153"/>
                  <a:pt x="5927034" y="519940"/>
                </a:cubicBezTo>
                <a:cubicBezTo>
                  <a:pt x="5915242" y="525836"/>
                  <a:pt x="5903450" y="531912"/>
                  <a:pt x="5891658" y="537807"/>
                </a:cubicBezTo>
                <a:cubicBezTo>
                  <a:pt x="5889336" y="539059"/>
                  <a:pt x="5886834" y="540308"/>
                  <a:pt x="5884333" y="540666"/>
                </a:cubicBezTo>
                <a:cubicBezTo>
                  <a:pt x="5873432" y="542274"/>
                  <a:pt x="5866822" y="549779"/>
                  <a:pt x="5857888" y="557997"/>
                </a:cubicBezTo>
                <a:cubicBezTo>
                  <a:pt x="5861820" y="557640"/>
                  <a:pt x="5864142" y="557997"/>
                  <a:pt x="5865930" y="557282"/>
                </a:cubicBezTo>
                <a:cubicBezTo>
                  <a:pt x="5873791" y="554245"/>
                  <a:pt x="5881474" y="550672"/>
                  <a:pt x="5889514" y="547991"/>
                </a:cubicBezTo>
                <a:cubicBezTo>
                  <a:pt x="5891836" y="547098"/>
                  <a:pt x="5895588" y="548350"/>
                  <a:pt x="5897912" y="549779"/>
                </a:cubicBezTo>
                <a:cubicBezTo>
                  <a:pt x="5900949" y="551743"/>
                  <a:pt x="5903271" y="554782"/>
                  <a:pt x="5906308" y="557819"/>
                </a:cubicBezTo>
                <a:cubicBezTo>
                  <a:pt x="5899342" y="561748"/>
                  <a:pt x="5889336" y="562107"/>
                  <a:pt x="5892372" y="575864"/>
                </a:cubicBezTo>
                <a:cubicBezTo>
                  <a:pt x="5886655" y="571754"/>
                  <a:pt x="5883438" y="569432"/>
                  <a:pt x="5879865" y="566751"/>
                </a:cubicBezTo>
                <a:cubicBezTo>
                  <a:pt x="5874862" y="571219"/>
                  <a:pt x="5873612" y="578544"/>
                  <a:pt x="5865751" y="579615"/>
                </a:cubicBezTo>
                <a:cubicBezTo>
                  <a:pt x="5863429" y="579795"/>
                  <a:pt x="5861998" y="586406"/>
                  <a:pt x="5859854" y="590516"/>
                </a:cubicBezTo>
                <a:cubicBezTo>
                  <a:pt x="5857710" y="590694"/>
                  <a:pt x="5854494" y="590872"/>
                  <a:pt x="5851100" y="591230"/>
                </a:cubicBezTo>
                <a:cubicBezTo>
                  <a:pt x="5852350" y="594982"/>
                  <a:pt x="5853422" y="598912"/>
                  <a:pt x="5855209" y="604273"/>
                </a:cubicBezTo>
                <a:cubicBezTo>
                  <a:pt x="5862178" y="594267"/>
                  <a:pt x="5869144" y="600341"/>
                  <a:pt x="5877901" y="599626"/>
                </a:cubicBezTo>
                <a:cubicBezTo>
                  <a:pt x="5875398" y="602844"/>
                  <a:pt x="5874684" y="604988"/>
                  <a:pt x="5873076" y="605880"/>
                </a:cubicBezTo>
                <a:cubicBezTo>
                  <a:pt x="5865751" y="610705"/>
                  <a:pt x="5858782" y="615171"/>
                  <a:pt x="5855924" y="624820"/>
                </a:cubicBezTo>
                <a:cubicBezTo>
                  <a:pt x="5854851" y="628572"/>
                  <a:pt x="5849134" y="631253"/>
                  <a:pt x="5845204" y="633931"/>
                </a:cubicBezTo>
                <a:cubicBezTo>
                  <a:pt x="5831981" y="642866"/>
                  <a:pt x="5822334" y="654837"/>
                  <a:pt x="5815902" y="670202"/>
                </a:cubicBezTo>
                <a:cubicBezTo>
                  <a:pt x="5821441" y="667343"/>
                  <a:pt x="5826622" y="664306"/>
                  <a:pt x="5832161" y="661804"/>
                </a:cubicBezTo>
                <a:cubicBezTo>
                  <a:pt x="5838235" y="659125"/>
                  <a:pt x="5844846" y="657159"/>
                  <a:pt x="5843952" y="647154"/>
                </a:cubicBezTo>
                <a:cubicBezTo>
                  <a:pt x="5845024" y="647690"/>
                  <a:pt x="5845918" y="648047"/>
                  <a:pt x="5846990" y="648225"/>
                </a:cubicBezTo>
                <a:cubicBezTo>
                  <a:pt x="5846811" y="646439"/>
                  <a:pt x="5846275" y="644473"/>
                  <a:pt x="5845740" y="642507"/>
                </a:cubicBezTo>
                <a:cubicBezTo>
                  <a:pt x="5849134" y="638219"/>
                  <a:pt x="5851992" y="634111"/>
                  <a:pt x="5855209" y="630538"/>
                </a:cubicBezTo>
                <a:cubicBezTo>
                  <a:pt x="5857175" y="628214"/>
                  <a:pt x="5859854" y="625713"/>
                  <a:pt x="5862534" y="625177"/>
                </a:cubicBezTo>
                <a:cubicBezTo>
                  <a:pt x="5870932" y="623569"/>
                  <a:pt x="5878972" y="620352"/>
                  <a:pt x="5887370" y="618388"/>
                </a:cubicBezTo>
                <a:cubicBezTo>
                  <a:pt x="5885940" y="617137"/>
                  <a:pt x="5884690" y="615886"/>
                  <a:pt x="5883260" y="614635"/>
                </a:cubicBezTo>
                <a:cubicBezTo>
                  <a:pt x="5887192" y="608739"/>
                  <a:pt x="5889870" y="613386"/>
                  <a:pt x="5891658" y="616244"/>
                </a:cubicBezTo>
                <a:cubicBezTo>
                  <a:pt x="5891836" y="616601"/>
                  <a:pt x="5892194" y="617137"/>
                  <a:pt x="5892194" y="617494"/>
                </a:cubicBezTo>
                <a:cubicBezTo>
                  <a:pt x="5894873" y="616959"/>
                  <a:pt x="5897376" y="616779"/>
                  <a:pt x="5900056" y="616779"/>
                </a:cubicBezTo>
                <a:cubicBezTo>
                  <a:pt x="5901842" y="616779"/>
                  <a:pt x="5903808" y="616959"/>
                  <a:pt x="5905594" y="617137"/>
                </a:cubicBezTo>
                <a:cubicBezTo>
                  <a:pt x="5906488" y="617315"/>
                  <a:pt x="5907203" y="617494"/>
                  <a:pt x="5908096" y="617494"/>
                </a:cubicBezTo>
                <a:cubicBezTo>
                  <a:pt x="5914528" y="614278"/>
                  <a:pt x="5921138" y="611598"/>
                  <a:pt x="5929178" y="611956"/>
                </a:cubicBezTo>
                <a:cubicBezTo>
                  <a:pt x="5927570" y="613386"/>
                  <a:pt x="5925962" y="615171"/>
                  <a:pt x="5924175" y="616244"/>
                </a:cubicBezTo>
                <a:cubicBezTo>
                  <a:pt x="5922746" y="617137"/>
                  <a:pt x="5921138" y="617852"/>
                  <a:pt x="5919530" y="618745"/>
                </a:cubicBezTo>
                <a:cubicBezTo>
                  <a:pt x="5924175" y="618923"/>
                  <a:pt x="5928822" y="619281"/>
                  <a:pt x="5933288" y="618923"/>
                </a:cubicBezTo>
                <a:cubicBezTo>
                  <a:pt x="5947940" y="618030"/>
                  <a:pt x="5962412" y="615708"/>
                  <a:pt x="5976884" y="613742"/>
                </a:cubicBezTo>
                <a:cubicBezTo>
                  <a:pt x="5979742" y="613386"/>
                  <a:pt x="5982601" y="611420"/>
                  <a:pt x="5985103" y="609812"/>
                </a:cubicBezTo>
                <a:cubicBezTo>
                  <a:pt x="5989570" y="606953"/>
                  <a:pt x="5993501" y="601771"/>
                  <a:pt x="5998324" y="600700"/>
                </a:cubicBezTo>
                <a:cubicBezTo>
                  <a:pt x="6008866" y="598377"/>
                  <a:pt x="6019764" y="598019"/>
                  <a:pt x="6031378" y="596768"/>
                </a:cubicBezTo>
                <a:cubicBezTo>
                  <a:pt x="6032272" y="601951"/>
                  <a:pt x="6032806" y="606059"/>
                  <a:pt x="6033522" y="610705"/>
                </a:cubicBezTo>
                <a:cubicBezTo>
                  <a:pt x="6038882" y="611598"/>
                  <a:pt x="6044064" y="612671"/>
                  <a:pt x="6050674" y="613742"/>
                </a:cubicBezTo>
                <a:cubicBezTo>
                  <a:pt x="6048710" y="618030"/>
                  <a:pt x="6046029" y="621782"/>
                  <a:pt x="6045851" y="625535"/>
                </a:cubicBezTo>
                <a:cubicBezTo>
                  <a:pt x="6045671" y="629465"/>
                  <a:pt x="6048352" y="633575"/>
                  <a:pt x="6048888" y="637685"/>
                </a:cubicBezTo>
                <a:cubicBezTo>
                  <a:pt x="6049424" y="641973"/>
                  <a:pt x="6049602" y="646439"/>
                  <a:pt x="6048530" y="650369"/>
                </a:cubicBezTo>
                <a:cubicBezTo>
                  <a:pt x="6045851" y="660555"/>
                  <a:pt x="6042278" y="670380"/>
                  <a:pt x="6037275" y="679671"/>
                </a:cubicBezTo>
                <a:cubicBezTo>
                  <a:pt x="6037810" y="679493"/>
                  <a:pt x="6038168" y="679315"/>
                  <a:pt x="6038704" y="679136"/>
                </a:cubicBezTo>
                <a:cubicBezTo>
                  <a:pt x="6037810" y="679851"/>
                  <a:pt x="6037275" y="680566"/>
                  <a:pt x="6036558" y="681100"/>
                </a:cubicBezTo>
                <a:cubicBezTo>
                  <a:pt x="6034594" y="684854"/>
                  <a:pt x="6032272" y="688605"/>
                  <a:pt x="6029770" y="692179"/>
                </a:cubicBezTo>
                <a:cubicBezTo>
                  <a:pt x="6021372" y="703970"/>
                  <a:pt x="6016906" y="716478"/>
                  <a:pt x="6019050" y="731664"/>
                </a:cubicBezTo>
                <a:cubicBezTo>
                  <a:pt x="6020837" y="744350"/>
                  <a:pt x="6019050" y="757571"/>
                  <a:pt x="6013868" y="769543"/>
                </a:cubicBezTo>
                <a:cubicBezTo>
                  <a:pt x="6007436" y="784551"/>
                  <a:pt x="6004578" y="800096"/>
                  <a:pt x="6002790" y="815997"/>
                </a:cubicBezTo>
                <a:cubicBezTo>
                  <a:pt x="6002256" y="820821"/>
                  <a:pt x="6001182" y="825466"/>
                  <a:pt x="5999753" y="829934"/>
                </a:cubicBezTo>
                <a:cubicBezTo>
                  <a:pt x="6010474" y="827432"/>
                  <a:pt x="6021730" y="824931"/>
                  <a:pt x="6034058" y="822073"/>
                </a:cubicBezTo>
                <a:cubicBezTo>
                  <a:pt x="6021908" y="831363"/>
                  <a:pt x="6019942" y="832256"/>
                  <a:pt x="6010474" y="834579"/>
                </a:cubicBezTo>
                <a:cubicBezTo>
                  <a:pt x="6006007" y="835652"/>
                  <a:pt x="6001360" y="836901"/>
                  <a:pt x="5996894" y="838152"/>
                </a:cubicBezTo>
                <a:cubicBezTo>
                  <a:pt x="5995108" y="843155"/>
                  <a:pt x="5993143" y="847979"/>
                  <a:pt x="5991535" y="852982"/>
                </a:cubicBezTo>
                <a:cubicBezTo>
                  <a:pt x="5990820" y="855304"/>
                  <a:pt x="5988498" y="857092"/>
                  <a:pt x="5988140" y="859414"/>
                </a:cubicBezTo>
                <a:cubicBezTo>
                  <a:pt x="5984566" y="882821"/>
                  <a:pt x="5971166" y="902832"/>
                  <a:pt x="5964556" y="925165"/>
                </a:cubicBezTo>
                <a:cubicBezTo>
                  <a:pt x="5967236" y="924272"/>
                  <a:pt x="5969736" y="923557"/>
                  <a:pt x="5972417" y="922843"/>
                </a:cubicBezTo>
                <a:cubicBezTo>
                  <a:pt x="5974740" y="922306"/>
                  <a:pt x="5977420" y="922128"/>
                  <a:pt x="5979386" y="920877"/>
                </a:cubicBezTo>
                <a:cubicBezTo>
                  <a:pt x="5994394" y="910513"/>
                  <a:pt x="6012439" y="908549"/>
                  <a:pt x="6029235" y="903010"/>
                </a:cubicBezTo>
                <a:cubicBezTo>
                  <a:pt x="6033702" y="901580"/>
                  <a:pt x="6039060" y="901402"/>
                  <a:pt x="6043707" y="902117"/>
                </a:cubicBezTo>
                <a:cubicBezTo>
                  <a:pt x="6056391" y="904261"/>
                  <a:pt x="6069078" y="906761"/>
                  <a:pt x="6081405" y="910693"/>
                </a:cubicBezTo>
                <a:cubicBezTo>
                  <a:pt x="6081764" y="910693"/>
                  <a:pt x="6081942" y="911764"/>
                  <a:pt x="6081942" y="912301"/>
                </a:cubicBezTo>
                <a:cubicBezTo>
                  <a:pt x="6081585" y="913372"/>
                  <a:pt x="6081405" y="914801"/>
                  <a:pt x="6080512" y="915338"/>
                </a:cubicBezTo>
                <a:cubicBezTo>
                  <a:pt x="6072650" y="919804"/>
                  <a:pt x="6064611" y="924092"/>
                  <a:pt x="6056572" y="928202"/>
                </a:cubicBezTo>
                <a:cubicBezTo>
                  <a:pt x="6064789" y="930882"/>
                  <a:pt x="6071043" y="929631"/>
                  <a:pt x="6076046" y="922663"/>
                </a:cubicBezTo>
                <a:cubicBezTo>
                  <a:pt x="6077475" y="920699"/>
                  <a:pt x="6080870" y="918375"/>
                  <a:pt x="6082478" y="918911"/>
                </a:cubicBezTo>
                <a:cubicBezTo>
                  <a:pt x="6091410" y="921948"/>
                  <a:pt x="6097128" y="916411"/>
                  <a:pt x="6101952" y="911050"/>
                </a:cubicBezTo>
                <a:cubicBezTo>
                  <a:pt x="6107314" y="905332"/>
                  <a:pt x="6113210" y="903725"/>
                  <a:pt x="6121071" y="904439"/>
                </a:cubicBezTo>
                <a:cubicBezTo>
                  <a:pt x="6119998" y="911942"/>
                  <a:pt x="6112316" y="913194"/>
                  <a:pt x="6108206" y="917482"/>
                </a:cubicBezTo>
                <a:cubicBezTo>
                  <a:pt x="6103560" y="922306"/>
                  <a:pt x="6094984" y="922843"/>
                  <a:pt x="6092840" y="932134"/>
                </a:cubicBezTo>
                <a:cubicBezTo>
                  <a:pt x="6100167" y="931775"/>
                  <a:pt x="6107134" y="931419"/>
                  <a:pt x="6115532" y="930882"/>
                </a:cubicBezTo>
                <a:cubicBezTo>
                  <a:pt x="6111602" y="934456"/>
                  <a:pt x="6109100" y="937315"/>
                  <a:pt x="6105884" y="939280"/>
                </a:cubicBezTo>
                <a:cubicBezTo>
                  <a:pt x="6099452" y="943388"/>
                  <a:pt x="6093020" y="947320"/>
                  <a:pt x="6095520" y="957147"/>
                </a:cubicBezTo>
                <a:cubicBezTo>
                  <a:pt x="6089803" y="953810"/>
                  <a:pt x="6079620" y="959470"/>
                  <a:pt x="6064970" y="974120"/>
                </a:cubicBezTo>
                <a:cubicBezTo>
                  <a:pt x="6068899" y="974478"/>
                  <a:pt x="6071758" y="974656"/>
                  <a:pt x="6074616" y="975015"/>
                </a:cubicBezTo>
                <a:cubicBezTo>
                  <a:pt x="6065504" y="983054"/>
                  <a:pt x="6056391" y="991094"/>
                  <a:pt x="6046566" y="999670"/>
                </a:cubicBezTo>
                <a:cubicBezTo>
                  <a:pt x="6048352" y="1001099"/>
                  <a:pt x="6050318" y="1001992"/>
                  <a:pt x="6052283" y="1002172"/>
                </a:cubicBezTo>
                <a:cubicBezTo>
                  <a:pt x="6054606" y="999848"/>
                  <a:pt x="6056572" y="997348"/>
                  <a:pt x="6059250" y="996097"/>
                </a:cubicBezTo>
                <a:cubicBezTo>
                  <a:pt x="6065862" y="992701"/>
                  <a:pt x="6071758" y="988057"/>
                  <a:pt x="6080334" y="982518"/>
                </a:cubicBezTo>
                <a:cubicBezTo>
                  <a:pt x="6073544" y="988593"/>
                  <a:pt x="6067112" y="994131"/>
                  <a:pt x="6060860" y="999670"/>
                </a:cubicBezTo>
                <a:cubicBezTo>
                  <a:pt x="6062108" y="999670"/>
                  <a:pt x="6063538" y="999670"/>
                  <a:pt x="6065326" y="999670"/>
                </a:cubicBezTo>
                <a:cubicBezTo>
                  <a:pt x="6065326" y="1002172"/>
                  <a:pt x="6065326" y="1004673"/>
                  <a:pt x="6065326" y="1006995"/>
                </a:cubicBezTo>
                <a:cubicBezTo>
                  <a:pt x="6068721" y="1005031"/>
                  <a:pt x="6071936" y="1002529"/>
                  <a:pt x="6074258" y="998777"/>
                </a:cubicBezTo>
                <a:cubicBezTo>
                  <a:pt x="6077475" y="993596"/>
                  <a:pt x="6084622" y="990738"/>
                  <a:pt x="6089981" y="986984"/>
                </a:cubicBezTo>
                <a:cubicBezTo>
                  <a:pt x="6097664" y="981803"/>
                  <a:pt x="6105170" y="976622"/>
                  <a:pt x="6112851" y="971797"/>
                </a:cubicBezTo>
                <a:cubicBezTo>
                  <a:pt x="6115175" y="970368"/>
                  <a:pt x="6118212" y="970368"/>
                  <a:pt x="6121964" y="971797"/>
                </a:cubicBezTo>
                <a:cubicBezTo>
                  <a:pt x="6116604" y="975371"/>
                  <a:pt x="6111244" y="978766"/>
                  <a:pt x="6106062" y="982696"/>
                </a:cubicBezTo>
                <a:cubicBezTo>
                  <a:pt x="6100167" y="987164"/>
                  <a:pt x="6094628" y="991987"/>
                  <a:pt x="6088732" y="996633"/>
                </a:cubicBezTo>
                <a:cubicBezTo>
                  <a:pt x="6086408" y="998419"/>
                  <a:pt x="6083729" y="1001458"/>
                  <a:pt x="6081227" y="1001458"/>
                </a:cubicBezTo>
                <a:cubicBezTo>
                  <a:pt x="6071580" y="1001278"/>
                  <a:pt x="6069256" y="1007532"/>
                  <a:pt x="6067292" y="1014500"/>
                </a:cubicBezTo>
                <a:cubicBezTo>
                  <a:pt x="6068721" y="1016822"/>
                  <a:pt x="6070865" y="1018966"/>
                  <a:pt x="6072650" y="1021469"/>
                </a:cubicBezTo>
                <a:cubicBezTo>
                  <a:pt x="6072292" y="1025757"/>
                  <a:pt x="6071936" y="1030760"/>
                  <a:pt x="6070865" y="1035404"/>
                </a:cubicBezTo>
                <a:cubicBezTo>
                  <a:pt x="6070506" y="1037548"/>
                  <a:pt x="6068721" y="1040229"/>
                  <a:pt x="6066933" y="1040765"/>
                </a:cubicBezTo>
                <a:cubicBezTo>
                  <a:pt x="6063004" y="1042195"/>
                  <a:pt x="6062288" y="1038263"/>
                  <a:pt x="6060860" y="1034868"/>
                </a:cubicBezTo>
                <a:cubicBezTo>
                  <a:pt x="6057106" y="1035226"/>
                  <a:pt x="6052998" y="1035582"/>
                  <a:pt x="6046922" y="1036297"/>
                </a:cubicBezTo>
                <a:cubicBezTo>
                  <a:pt x="6049959" y="1031653"/>
                  <a:pt x="6051925" y="1028436"/>
                  <a:pt x="6054606" y="1024328"/>
                </a:cubicBezTo>
                <a:cubicBezTo>
                  <a:pt x="6052998" y="1023433"/>
                  <a:pt x="6051568" y="1023076"/>
                  <a:pt x="6050139" y="1022718"/>
                </a:cubicBezTo>
                <a:cubicBezTo>
                  <a:pt x="6045493" y="1026113"/>
                  <a:pt x="6040312" y="1029150"/>
                  <a:pt x="6037990" y="1034153"/>
                </a:cubicBezTo>
                <a:cubicBezTo>
                  <a:pt x="6041026" y="1036477"/>
                  <a:pt x="6043707" y="1038799"/>
                  <a:pt x="6041026" y="1044159"/>
                </a:cubicBezTo>
                <a:cubicBezTo>
                  <a:pt x="6039419" y="1044159"/>
                  <a:pt x="6037810" y="1044159"/>
                  <a:pt x="6036202" y="1044159"/>
                </a:cubicBezTo>
                <a:cubicBezTo>
                  <a:pt x="6035487" y="1045232"/>
                  <a:pt x="6034058" y="1046303"/>
                  <a:pt x="6032987" y="1047375"/>
                </a:cubicBezTo>
                <a:cubicBezTo>
                  <a:pt x="6035666" y="1048627"/>
                  <a:pt x="6038346" y="1050056"/>
                  <a:pt x="6041026" y="1050056"/>
                </a:cubicBezTo>
                <a:cubicBezTo>
                  <a:pt x="6043885" y="1049876"/>
                  <a:pt x="6046566" y="1047912"/>
                  <a:pt x="6050318" y="1046303"/>
                </a:cubicBezTo>
                <a:cubicBezTo>
                  <a:pt x="6053532" y="1057023"/>
                  <a:pt x="6047995" y="1066672"/>
                  <a:pt x="6047458" y="1076499"/>
                </a:cubicBezTo>
                <a:cubicBezTo>
                  <a:pt x="6047815" y="1076319"/>
                  <a:pt x="6048174" y="1076141"/>
                  <a:pt x="6048530" y="1076141"/>
                </a:cubicBezTo>
                <a:cubicBezTo>
                  <a:pt x="6051746" y="1075070"/>
                  <a:pt x="6053712" y="1070067"/>
                  <a:pt x="6056213" y="1066850"/>
                </a:cubicBezTo>
                <a:cubicBezTo>
                  <a:pt x="6056928" y="1067743"/>
                  <a:pt x="6058357" y="1068638"/>
                  <a:pt x="6058357" y="1069709"/>
                </a:cubicBezTo>
                <a:cubicBezTo>
                  <a:pt x="6058716" y="1072746"/>
                  <a:pt x="6058000" y="1076499"/>
                  <a:pt x="6056750" y="1080251"/>
                </a:cubicBezTo>
                <a:cubicBezTo>
                  <a:pt x="6059072" y="1079714"/>
                  <a:pt x="6061394" y="1079714"/>
                  <a:pt x="6063718" y="1081144"/>
                </a:cubicBezTo>
                <a:cubicBezTo>
                  <a:pt x="6069256" y="1084539"/>
                  <a:pt x="6074258" y="1088649"/>
                  <a:pt x="6079261" y="1092757"/>
                </a:cubicBezTo>
                <a:cubicBezTo>
                  <a:pt x="6080156" y="1093472"/>
                  <a:pt x="6079083" y="1096152"/>
                  <a:pt x="6079083" y="1099011"/>
                </a:cubicBezTo>
                <a:cubicBezTo>
                  <a:pt x="6083014" y="1100262"/>
                  <a:pt x="6087122" y="1101155"/>
                  <a:pt x="6090876" y="1102762"/>
                </a:cubicBezTo>
                <a:cubicBezTo>
                  <a:pt x="6092840" y="1103657"/>
                  <a:pt x="6095700" y="1105801"/>
                  <a:pt x="6095700" y="1107409"/>
                </a:cubicBezTo>
                <a:cubicBezTo>
                  <a:pt x="6095520" y="1116522"/>
                  <a:pt x="6102489" y="1118129"/>
                  <a:pt x="6108563" y="1120810"/>
                </a:cubicBezTo>
                <a:cubicBezTo>
                  <a:pt x="6110707" y="1121702"/>
                  <a:pt x="6113388" y="1121524"/>
                  <a:pt x="6115710" y="1122417"/>
                </a:cubicBezTo>
                <a:cubicBezTo>
                  <a:pt x="6121608" y="1124739"/>
                  <a:pt x="6126074" y="1128671"/>
                  <a:pt x="6127681" y="1135103"/>
                </a:cubicBezTo>
                <a:cubicBezTo>
                  <a:pt x="6128932" y="1140462"/>
                  <a:pt x="6130004" y="1145823"/>
                  <a:pt x="6131076" y="1151541"/>
                </a:cubicBezTo>
                <a:cubicBezTo>
                  <a:pt x="6137150" y="1156722"/>
                  <a:pt x="6143940" y="1156185"/>
                  <a:pt x="6152338" y="1150646"/>
                </a:cubicBezTo>
                <a:cubicBezTo>
                  <a:pt x="6151980" y="1158151"/>
                  <a:pt x="6151802" y="1163332"/>
                  <a:pt x="6151624" y="1168513"/>
                </a:cubicBezTo>
                <a:cubicBezTo>
                  <a:pt x="6158949" y="1171552"/>
                  <a:pt x="6162879" y="1177448"/>
                  <a:pt x="6164666" y="1184773"/>
                </a:cubicBezTo>
                <a:cubicBezTo>
                  <a:pt x="6165738" y="1188883"/>
                  <a:pt x="6166274" y="1192992"/>
                  <a:pt x="6166988" y="1197100"/>
                </a:cubicBezTo>
                <a:cubicBezTo>
                  <a:pt x="6165203" y="1199244"/>
                  <a:pt x="6163416" y="1201389"/>
                  <a:pt x="6161450" y="1203713"/>
                </a:cubicBezTo>
                <a:cubicBezTo>
                  <a:pt x="6165918" y="1208535"/>
                  <a:pt x="6170026" y="1211752"/>
                  <a:pt x="6176994" y="1209430"/>
                </a:cubicBezTo>
                <a:cubicBezTo>
                  <a:pt x="6180390" y="1208179"/>
                  <a:pt x="6184856" y="1209608"/>
                  <a:pt x="6188788" y="1209965"/>
                </a:cubicBezTo>
                <a:cubicBezTo>
                  <a:pt x="6185036" y="1215862"/>
                  <a:pt x="6181104" y="1221580"/>
                  <a:pt x="6177530" y="1227475"/>
                </a:cubicBezTo>
                <a:cubicBezTo>
                  <a:pt x="6172884" y="1235159"/>
                  <a:pt x="6169311" y="1243198"/>
                  <a:pt x="6174314" y="1252131"/>
                </a:cubicBezTo>
                <a:cubicBezTo>
                  <a:pt x="6173064" y="1253382"/>
                  <a:pt x="6171277" y="1254455"/>
                  <a:pt x="6170740" y="1255884"/>
                </a:cubicBezTo>
                <a:cubicBezTo>
                  <a:pt x="6164308" y="1273751"/>
                  <a:pt x="6147692" y="1280004"/>
                  <a:pt x="6133577" y="1289116"/>
                </a:cubicBezTo>
                <a:cubicBezTo>
                  <a:pt x="6131254" y="1290724"/>
                  <a:pt x="6128754" y="1292153"/>
                  <a:pt x="6125716" y="1293941"/>
                </a:cubicBezTo>
                <a:cubicBezTo>
                  <a:pt x="6131254" y="1297156"/>
                  <a:pt x="6133577" y="1292868"/>
                  <a:pt x="6136616" y="1291619"/>
                </a:cubicBezTo>
                <a:cubicBezTo>
                  <a:pt x="6139474" y="1290546"/>
                  <a:pt x="6141796" y="1288223"/>
                  <a:pt x="6144656" y="1287330"/>
                </a:cubicBezTo>
                <a:cubicBezTo>
                  <a:pt x="6146621" y="1286794"/>
                  <a:pt x="6150910" y="1287150"/>
                  <a:pt x="6151088" y="1287865"/>
                </a:cubicBezTo>
                <a:cubicBezTo>
                  <a:pt x="6151980" y="1290546"/>
                  <a:pt x="6152517" y="1294297"/>
                  <a:pt x="6151088" y="1296263"/>
                </a:cubicBezTo>
                <a:cubicBezTo>
                  <a:pt x="6149122" y="1299122"/>
                  <a:pt x="6145370" y="1300729"/>
                  <a:pt x="6142512" y="1302873"/>
                </a:cubicBezTo>
                <a:cubicBezTo>
                  <a:pt x="6138760" y="1305732"/>
                  <a:pt x="6135006" y="1308412"/>
                  <a:pt x="6131254" y="1311093"/>
                </a:cubicBezTo>
                <a:cubicBezTo>
                  <a:pt x="6132506" y="1314667"/>
                  <a:pt x="6133220" y="1318240"/>
                  <a:pt x="6133757" y="1321992"/>
                </a:cubicBezTo>
                <a:cubicBezTo>
                  <a:pt x="6197362" y="1293048"/>
                  <a:pt x="6260612" y="1263388"/>
                  <a:pt x="6323148" y="1232300"/>
                </a:cubicBezTo>
                <a:cubicBezTo>
                  <a:pt x="6339942" y="1223902"/>
                  <a:pt x="6356023" y="1224080"/>
                  <a:pt x="6369780" y="1229441"/>
                </a:cubicBezTo>
                <a:cubicBezTo>
                  <a:pt x="6371031" y="1227832"/>
                  <a:pt x="6372102" y="1225868"/>
                  <a:pt x="6372639" y="1223187"/>
                </a:cubicBezTo>
                <a:cubicBezTo>
                  <a:pt x="6372995" y="1221936"/>
                  <a:pt x="6377464" y="1221580"/>
                  <a:pt x="6382822" y="1219792"/>
                </a:cubicBezTo>
                <a:cubicBezTo>
                  <a:pt x="6380322" y="1225153"/>
                  <a:pt x="6379249" y="1227475"/>
                  <a:pt x="6377642" y="1230690"/>
                </a:cubicBezTo>
                <a:cubicBezTo>
                  <a:pt x="6380142" y="1231763"/>
                  <a:pt x="6382466" y="1232656"/>
                  <a:pt x="6386218" y="1234264"/>
                </a:cubicBezTo>
                <a:cubicBezTo>
                  <a:pt x="6384966" y="1235159"/>
                  <a:pt x="6384074" y="1236052"/>
                  <a:pt x="6383000" y="1236944"/>
                </a:cubicBezTo>
                <a:cubicBezTo>
                  <a:pt x="6384610" y="1238017"/>
                  <a:pt x="6386218" y="1239267"/>
                  <a:pt x="6387647" y="1240518"/>
                </a:cubicBezTo>
                <a:cubicBezTo>
                  <a:pt x="6389613" y="1239088"/>
                  <a:pt x="6391220" y="1237303"/>
                  <a:pt x="6391935" y="1234800"/>
                </a:cubicBezTo>
                <a:cubicBezTo>
                  <a:pt x="6394258" y="1226939"/>
                  <a:pt x="6400512" y="1226939"/>
                  <a:pt x="6405870" y="1224795"/>
                </a:cubicBezTo>
                <a:cubicBezTo>
                  <a:pt x="6406944" y="1224258"/>
                  <a:pt x="6408551" y="1225153"/>
                  <a:pt x="6409802" y="1225153"/>
                </a:cubicBezTo>
                <a:cubicBezTo>
                  <a:pt x="6415520" y="1224795"/>
                  <a:pt x="6422844" y="1217470"/>
                  <a:pt x="6425882" y="1228190"/>
                </a:cubicBezTo>
                <a:cubicBezTo>
                  <a:pt x="6427491" y="1233907"/>
                  <a:pt x="6431242" y="1238910"/>
                  <a:pt x="6429277" y="1245879"/>
                </a:cubicBezTo>
                <a:cubicBezTo>
                  <a:pt x="6428206" y="1249987"/>
                  <a:pt x="6429992" y="1255170"/>
                  <a:pt x="6431421" y="1259636"/>
                </a:cubicBezTo>
                <a:cubicBezTo>
                  <a:pt x="6431958" y="1261244"/>
                  <a:pt x="6435352" y="1261780"/>
                  <a:pt x="6438926" y="1263566"/>
                </a:cubicBezTo>
                <a:cubicBezTo>
                  <a:pt x="6437496" y="1257314"/>
                  <a:pt x="6436424" y="1253026"/>
                  <a:pt x="6435352" y="1248738"/>
                </a:cubicBezTo>
                <a:cubicBezTo>
                  <a:pt x="6436068" y="1248558"/>
                  <a:pt x="6436782" y="1248201"/>
                  <a:pt x="6437496" y="1247843"/>
                </a:cubicBezTo>
                <a:cubicBezTo>
                  <a:pt x="6438926" y="1249987"/>
                  <a:pt x="6440177" y="1252131"/>
                  <a:pt x="6442141" y="1255170"/>
                </a:cubicBezTo>
                <a:cubicBezTo>
                  <a:pt x="6446073" y="1251775"/>
                  <a:pt x="6449824" y="1248558"/>
                  <a:pt x="6454112" y="1244806"/>
                </a:cubicBezTo>
                <a:cubicBezTo>
                  <a:pt x="6453934" y="1238910"/>
                  <a:pt x="6451968" y="1232835"/>
                  <a:pt x="6446073" y="1229976"/>
                </a:cubicBezTo>
                <a:cubicBezTo>
                  <a:pt x="6440712" y="1227297"/>
                  <a:pt x="6434458" y="1226582"/>
                  <a:pt x="6426062" y="1224258"/>
                </a:cubicBezTo>
                <a:cubicBezTo>
                  <a:pt x="6440177" y="1208001"/>
                  <a:pt x="6457508" y="1199425"/>
                  <a:pt x="6473946" y="1184951"/>
                </a:cubicBezTo>
                <a:cubicBezTo>
                  <a:pt x="6472336" y="1193171"/>
                  <a:pt x="6471265" y="1198710"/>
                  <a:pt x="6469658" y="1206750"/>
                </a:cubicBezTo>
                <a:cubicBezTo>
                  <a:pt x="6466977" y="1202998"/>
                  <a:pt x="6465904" y="1201210"/>
                  <a:pt x="6464474" y="1199244"/>
                </a:cubicBezTo>
                <a:cubicBezTo>
                  <a:pt x="6455898" y="1201747"/>
                  <a:pt x="6463045" y="1208894"/>
                  <a:pt x="6460544" y="1213896"/>
                </a:cubicBezTo>
                <a:cubicBezTo>
                  <a:pt x="6458400" y="1215862"/>
                  <a:pt x="6455898" y="1218006"/>
                  <a:pt x="6452683" y="1220865"/>
                </a:cubicBezTo>
                <a:cubicBezTo>
                  <a:pt x="6455006" y="1223544"/>
                  <a:pt x="6457864" y="1225868"/>
                  <a:pt x="6459294" y="1228727"/>
                </a:cubicBezTo>
                <a:cubicBezTo>
                  <a:pt x="6460544" y="1231227"/>
                  <a:pt x="6460186" y="1234444"/>
                  <a:pt x="6460723" y="1239447"/>
                </a:cubicBezTo>
                <a:cubicBezTo>
                  <a:pt x="6467870" y="1235873"/>
                  <a:pt x="6474302" y="1232835"/>
                  <a:pt x="6481448" y="1229261"/>
                </a:cubicBezTo>
                <a:cubicBezTo>
                  <a:pt x="6482342" y="1232835"/>
                  <a:pt x="6483234" y="1236944"/>
                  <a:pt x="6484308" y="1242125"/>
                </a:cubicBezTo>
                <a:cubicBezTo>
                  <a:pt x="6496457" y="1239981"/>
                  <a:pt x="6501102" y="1228368"/>
                  <a:pt x="6510394" y="1223009"/>
                </a:cubicBezTo>
                <a:cubicBezTo>
                  <a:pt x="6519863" y="1217648"/>
                  <a:pt x="6527903" y="1210145"/>
                  <a:pt x="6537372" y="1202998"/>
                </a:cubicBezTo>
                <a:lnTo>
                  <a:pt x="6535050" y="1206928"/>
                </a:lnTo>
                <a:cubicBezTo>
                  <a:pt x="6536658" y="1212109"/>
                  <a:pt x="6534157" y="1214253"/>
                  <a:pt x="6531476" y="1216577"/>
                </a:cubicBezTo>
                <a:cubicBezTo>
                  <a:pt x="6517719" y="1228727"/>
                  <a:pt x="6504318" y="1240876"/>
                  <a:pt x="6490740" y="1253204"/>
                </a:cubicBezTo>
                <a:cubicBezTo>
                  <a:pt x="6490203" y="1253560"/>
                  <a:pt x="6490203" y="1254633"/>
                  <a:pt x="6489668" y="1256777"/>
                </a:cubicBezTo>
                <a:cubicBezTo>
                  <a:pt x="6496100" y="1255348"/>
                  <a:pt x="6501996" y="1253919"/>
                  <a:pt x="6507714" y="1252489"/>
                </a:cubicBezTo>
                <a:cubicBezTo>
                  <a:pt x="6508070" y="1253026"/>
                  <a:pt x="6508428" y="1253382"/>
                  <a:pt x="6508784" y="1253919"/>
                </a:cubicBezTo>
                <a:cubicBezTo>
                  <a:pt x="6500567" y="1260173"/>
                  <a:pt x="6492347" y="1266246"/>
                  <a:pt x="6483056" y="1273393"/>
                </a:cubicBezTo>
                <a:cubicBezTo>
                  <a:pt x="6481092" y="1268927"/>
                  <a:pt x="6480020" y="1266424"/>
                  <a:pt x="6478412" y="1262851"/>
                </a:cubicBezTo>
                <a:cubicBezTo>
                  <a:pt x="6475911" y="1263209"/>
                  <a:pt x="6473230" y="1263746"/>
                  <a:pt x="6468942" y="1264460"/>
                </a:cubicBezTo>
                <a:cubicBezTo>
                  <a:pt x="6471443" y="1267854"/>
                  <a:pt x="6473050" y="1270178"/>
                  <a:pt x="6474302" y="1271964"/>
                </a:cubicBezTo>
                <a:cubicBezTo>
                  <a:pt x="6470192" y="1279111"/>
                  <a:pt x="6466084" y="1286257"/>
                  <a:pt x="6461081" y="1295192"/>
                </a:cubicBezTo>
                <a:cubicBezTo>
                  <a:pt x="6472158" y="1295192"/>
                  <a:pt x="6476804" y="1288223"/>
                  <a:pt x="6482522" y="1283577"/>
                </a:cubicBezTo>
                <a:cubicBezTo>
                  <a:pt x="6488237" y="1278932"/>
                  <a:pt x="6493778" y="1273930"/>
                  <a:pt x="6501102" y="1270356"/>
                </a:cubicBezTo>
                <a:cubicBezTo>
                  <a:pt x="6500388" y="1272500"/>
                  <a:pt x="6499852" y="1274823"/>
                  <a:pt x="6498601" y="1276610"/>
                </a:cubicBezTo>
                <a:cubicBezTo>
                  <a:pt x="6495206" y="1281613"/>
                  <a:pt x="6491812" y="1286794"/>
                  <a:pt x="6487702" y="1291260"/>
                </a:cubicBezTo>
                <a:cubicBezTo>
                  <a:pt x="6484666" y="1294655"/>
                  <a:pt x="6480378" y="1297156"/>
                  <a:pt x="6476624" y="1299658"/>
                </a:cubicBezTo>
                <a:cubicBezTo>
                  <a:pt x="6475194" y="1300729"/>
                  <a:pt x="6473230" y="1300551"/>
                  <a:pt x="6471802" y="1301444"/>
                </a:cubicBezTo>
                <a:cubicBezTo>
                  <a:pt x="6462510" y="1307342"/>
                  <a:pt x="6459472" y="1307520"/>
                  <a:pt x="6449466" y="1302873"/>
                </a:cubicBezTo>
                <a:cubicBezTo>
                  <a:pt x="6448037" y="1302159"/>
                  <a:pt x="6445714" y="1303946"/>
                  <a:pt x="6441963" y="1305017"/>
                </a:cubicBezTo>
                <a:cubicBezTo>
                  <a:pt x="6444822" y="1307161"/>
                  <a:pt x="6446429" y="1308234"/>
                  <a:pt x="6447858" y="1309486"/>
                </a:cubicBezTo>
                <a:cubicBezTo>
                  <a:pt x="6452503" y="1314308"/>
                  <a:pt x="6453220" y="1318240"/>
                  <a:pt x="6448752" y="1322884"/>
                </a:cubicBezTo>
                <a:cubicBezTo>
                  <a:pt x="6443929" y="1327887"/>
                  <a:pt x="6438746" y="1332534"/>
                  <a:pt x="6433208" y="1336822"/>
                </a:cubicBezTo>
                <a:cubicBezTo>
                  <a:pt x="6429277" y="1340037"/>
                  <a:pt x="6424096" y="1341824"/>
                  <a:pt x="6420164" y="1345039"/>
                </a:cubicBezTo>
                <a:cubicBezTo>
                  <a:pt x="6416234" y="1348078"/>
                  <a:pt x="6412839" y="1352008"/>
                  <a:pt x="6409802" y="1356118"/>
                </a:cubicBezTo>
                <a:cubicBezTo>
                  <a:pt x="6407300" y="1359333"/>
                  <a:pt x="6405870" y="1363443"/>
                  <a:pt x="6404085" y="1367195"/>
                </a:cubicBezTo>
                <a:cubicBezTo>
                  <a:pt x="6404622" y="1367731"/>
                  <a:pt x="6405336" y="1368268"/>
                  <a:pt x="6406050" y="1368982"/>
                </a:cubicBezTo>
                <a:cubicBezTo>
                  <a:pt x="6419630" y="1358619"/>
                  <a:pt x="6433028" y="1348435"/>
                  <a:pt x="6446608" y="1337893"/>
                </a:cubicBezTo>
                <a:cubicBezTo>
                  <a:pt x="6448217" y="1339144"/>
                  <a:pt x="6449824" y="1340395"/>
                  <a:pt x="6452503" y="1342539"/>
                </a:cubicBezTo>
                <a:cubicBezTo>
                  <a:pt x="6455006" y="1339322"/>
                  <a:pt x="6457686" y="1336107"/>
                  <a:pt x="6460723" y="1331997"/>
                </a:cubicBezTo>
                <a:cubicBezTo>
                  <a:pt x="6463404" y="1337000"/>
                  <a:pt x="6467155" y="1341110"/>
                  <a:pt x="6472694" y="1337358"/>
                </a:cubicBezTo>
                <a:cubicBezTo>
                  <a:pt x="6462867" y="1347720"/>
                  <a:pt x="6452862" y="1358440"/>
                  <a:pt x="6442500" y="1368982"/>
                </a:cubicBezTo>
                <a:cubicBezTo>
                  <a:pt x="6428384" y="1383454"/>
                  <a:pt x="6414983" y="1398821"/>
                  <a:pt x="6399440" y="1411685"/>
                </a:cubicBezTo>
                <a:cubicBezTo>
                  <a:pt x="6385503" y="1423298"/>
                  <a:pt x="6371031" y="1435984"/>
                  <a:pt x="6350842" y="1435984"/>
                </a:cubicBezTo>
                <a:cubicBezTo>
                  <a:pt x="6344766" y="1435984"/>
                  <a:pt x="6341014" y="1438843"/>
                  <a:pt x="6338690" y="1444380"/>
                </a:cubicBezTo>
                <a:cubicBezTo>
                  <a:pt x="6331544" y="1460998"/>
                  <a:pt x="6319394" y="1472968"/>
                  <a:pt x="6304030" y="1482795"/>
                </a:cubicBezTo>
                <a:cubicBezTo>
                  <a:pt x="6289558" y="1491908"/>
                  <a:pt x="6276335" y="1502984"/>
                  <a:pt x="6262400" y="1512812"/>
                </a:cubicBezTo>
                <a:cubicBezTo>
                  <a:pt x="6255253" y="1517814"/>
                  <a:pt x="6248106" y="1522639"/>
                  <a:pt x="6240422" y="1526390"/>
                </a:cubicBezTo>
                <a:cubicBezTo>
                  <a:pt x="6237742" y="1527642"/>
                  <a:pt x="6233276" y="1525497"/>
                  <a:pt x="6230954" y="1525139"/>
                </a:cubicBezTo>
                <a:cubicBezTo>
                  <a:pt x="6234705" y="1521924"/>
                  <a:pt x="6240601" y="1518887"/>
                  <a:pt x="6242923" y="1514063"/>
                </a:cubicBezTo>
                <a:cubicBezTo>
                  <a:pt x="6245067" y="1509775"/>
                  <a:pt x="6243103" y="1503699"/>
                  <a:pt x="6242923" y="1496552"/>
                </a:cubicBezTo>
                <a:cubicBezTo>
                  <a:pt x="6237564" y="1501198"/>
                  <a:pt x="6233096" y="1505128"/>
                  <a:pt x="6228810" y="1508882"/>
                </a:cubicBezTo>
                <a:cubicBezTo>
                  <a:pt x="6228810" y="1509775"/>
                  <a:pt x="6228810" y="1510667"/>
                  <a:pt x="6228810" y="1511560"/>
                </a:cubicBezTo>
                <a:cubicBezTo>
                  <a:pt x="6231488" y="1510311"/>
                  <a:pt x="6233990" y="1509238"/>
                  <a:pt x="6236671" y="1507987"/>
                </a:cubicBezTo>
                <a:cubicBezTo>
                  <a:pt x="6236850" y="1509238"/>
                  <a:pt x="6237028" y="1510311"/>
                  <a:pt x="6237028" y="1511560"/>
                </a:cubicBezTo>
                <a:cubicBezTo>
                  <a:pt x="6230596" y="1518887"/>
                  <a:pt x="6224163" y="1526212"/>
                  <a:pt x="6217374" y="1533896"/>
                </a:cubicBezTo>
                <a:cubicBezTo>
                  <a:pt x="6220412" y="1534788"/>
                  <a:pt x="6221841" y="1535325"/>
                  <a:pt x="6222556" y="1535503"/>
                </a:cubicBezTo>
                <a:cubicBezTo>
                  <a:pt x="6220948" y="1544079"/>
                  <a:pt x="6219338" y="1552477"/>
                  <a:pt x="6217731" y="1561768"/>
                </a:cubicBezTo>
                <a:cubicBezTo>
                  <a:pt x="6215765" y="1563198"/>
                  <a:pt x="6210762" y="1564983"/>
                  <a:pt x="6209692" y="1568200"/>
                </a:cubicBezTo>
                <a:cubicBezTo>
                  <a:pt x="6207726" y="1573738"/>
                  <a:pt x="6212372" y="1577669"/>
                  <a:pt x="6216838" y="1580884"/>
                </a:cubicBezTo>
                <a:cubicBezTo>
                  <a:pt x="6222019" y="1579455"/>
                  <a:pt x="6227200" y="1577848"/>
                  <a:pt x="6232918" y="1576062"/>
                </a:cubicBezTo>
                <a:cubicBezTo>
                  <a:pt x="6232740" y="1578740"/>
                  <a:pt x="6233276" y="1580350"/>
                  <a:pt x="6232740" y="1581243"/>
                </a:cubicBezTo>
                <a:cubicBezTo>
                  <a:pt x="6228988" y="1587138"/>
                  <a:pt x="6212550" y="1596251"/>
                  <a:pt x="6204330" y="1597680"/>
                </a:cubicBezTo>
                <a:cubicBezTo>
                  <a:pt x="6202364" y="1598037"/>
                  <a:pt x="6200578" y="1599466"/>
                  <a:pt x="6198793" y="1600539"/>
                </a:cubicBezTo>
                <a:cubicBezTo>
                  <a:pt x="6194325" y="1603040"/>
                  <a:pt x="6189680" y="1605542"/>
                  <a:pt x="6184498" y="1608401"/>
                </a:cubicBezTo>
                <a:cubicBezTo>
                  <a:pt x="6184856" y="1598573"/>
                  <a:pt x="6185214" y="1589997"/>
                  <a:pt x="6185928" y="1581243"/>
                </a:cubicBezTo>
                <a:cubicBezTo>
                  <a:pt x="6186107" y="1580170"/>
                  <a:pt x="6188788" y="1579635"/>
                  <a:pt x="6189858" y="1578384"/>
                </a:cubicBezTo>
                <a:cubicBezTo>
                  <a:pt x="6190573" y="1577669"/>
                  <a:pt x="6190217" y="1576062"/>
                  <a:pt x="6190573" y="1574452"/>
                </a:cubicBezTo>
                <a:cubicBezTo>
                  <a:pt x="6183963" y="1573738"/>
                  <a:pt x="6177709" y="1573203"/>
                  <a:pt x="6170206" y="1572488"/>
                </a:cubicBezTo>
                <a:cubicBezTo>
                  <a:pt x="6167882" y="1578384"/>
                  <a:pt x="6157342" y="1578384"/>
                  <a:pt x="6156090" y="1587497"/>
                </a:cubicBezTo>
                <a:cubicBezTo>
                  <a:pt x="6154124" y="1587138"/>
                  <a:pt x="6152158" y="1586782"/>
                  <a:pt x="6150551" y="1586424"/>
                </a:cubicBezTo>
                <a:cubicBezTo>
                  <a:pt x="6146978" y="1594107"/>
                  <a:pt x="6143760" y="1601254"/>
                  <a:pt x="6140189" y="1609115"/>
                </a:cubicBezTo>
                <a:cubicBezTo>
                  <a:pt x="6142153" y="1612152"/>
                  <a:pt x="6144656" y="1616084"/>
                  <a:pt x="6148228" y="1621621"/>
                </a:cubicBezTo>
                <a:cubicBezTo>
                  <a:pt x="6148050" y="1621980"/>
                  <a:pt x="6146621" y="1624302"/>
                  <a:pt x="6144834" y="1627161"/>
                </a:cubicBezTo>
                <a:cubicBezTo>
                  <a:pt x="6145906" y="1628412"/>
                  <a:pt x="6147156" y="1629841"/>
                  <a:pt x="6148407" y="1631270"/>
                </a:cubicBezTo>
                <a:cubicBezTo>
                  <a:pt x="6149658" y="1632522"/>
                  <a:pt x="6151088" y="1634129"/>
                  <a:pt x="6152338" y="1635559"/>
                </a:cubicBezTo>
                <a:cubicBezTo>
                  <a:pt x="6151444" y="1636988"/>
                  <a:pt x="6151088" y="1638239"/>
                  <a:pt x="6150194" y="1638954"/>
                </a:cubicBezTo>
                <a:cubicBezTo>
                  <a:pt x="6149658" y="1639488"/>
                  <a:pt x="6149122" y="1640025"/>
                  <a:pt x="6148585" y="1640561"/>
                </a:cubicBezTo>
                <a:cubicBezTo>
                  <a:pt x="6148585" y="1648245"/>
                  <a:pt x="6148585" y="1655748"/>
                  <a:pt x="6148585" y="1663431"/>
                </a:cubicBezTo>
                <a:cubicBezTo>
                  <a:pt x="6149122" y="1663431"/>
                  <a:pt x="6149658" y="1663431"/>
                  <a:pt x="6150194" y="1663431"/>
                </a:cubicBezTo>
                <a:cubicBezTo>
                  <a:pt x="6150373" y="1664146"/>
                  <a:pt x="6150729" y="1665039"/>
                  <a:pt x="6150729" y="1665932"/>
                </a:cubicBezTo>
                <a:cubicBezTo>
                  <a:pt x="6150551" y="1666646"/>
                  <a:pt x="6150194" y="1667541"/>
                  <a:pt x="6149658" y="1669505"/>
                </a:cubicBezTo>
                <a:cubicBezTo>
                  <a:pt x="6153054" y="1669149"/>
                  <a:pt x="6155912" y="1668970"/>
                  <a:pt x="6158771" y="1668790"/>
                </a:cubicBezTo>
                <a:cubicBezTo>
                  <a:pt x="6159127" y="1669685"/>
                  <a:pt x="6159306" y="1670400"/>
                  <a:pt x="6159664" y="1671114"/>
                </a:cubicBezTo>
                <a:cubicBezTo>
                  <a:pt x="6156446" y="1672722"/>
                  <a:pt x="6153410" y="1674508"/>
                  <a:pt x="6148585" y="1677010"/>
                </a:cubicBezTo>
                <a:cubicBezTo>
                  <a:pt x="6148585" y="1677903"/>
                  <a:pt x="6148585" y="1678618"/>
                  <a:pt x="6148585" y="1679332"/>
                </a:cubicBezTo>
                <a:cubicBezTo>
                  <a:pt x="6146621" y="1680762"/>
                  <a:pt x="6144834" y="1682191"/>
                  <a:pt x="6142690" y="1683979"/>
                </a:cubicBezTo>
                <a:cubicBezTo>
                  <a:pt x="6141260" y="1681655"/>
                  <a:pt x="6140189" y="1679691"/>
                  <a:pt x="6138938" y="1677725"/>
                </a:cubicBezTo>
                <a:cubicBezTo>
                  <a:pt x="6137865" y="1678081"/>
                  <a:pt x="6136438" y="1677903"/>
                  <a:pt x="6135721" y="1678618"/>
                </a:cubicBezTo>
                <a:cubicBezTo>
                  <a:pt x="6129825" y="1684157"/>
                  <a:pt x="6124644" y="1690053"/>
                  <a:pt x="6119642" y="1696307"/>
                </a:cubicBezTo>
                <a:cubicBezTo>
                  <a:pt x="6123036" y="1700058"/>
                  <a:pt x="6124822" y="1704168"/>
                  <a:pt x="6122142" y="1710242"/>
                </a:cubicBezTo>
                <a:cubicBezTo>
                  <a:pt x="6120892" y="1713281"/>
                  <a:pt x="6121249" y="1717032"/>
                  <a:pt x="6121608" y="1720784"/>
                </a:cubicBezTo>
                <a:cubicBezTo>
                  <a:pt x="6125537" y="1718103"/>
                  <a:pt x="6129288" y="1715245"/>
                  <a:pt x="6133398" y="1712744"/>
                </a:cubicBezTo>
                <a:cubicBezTo>
                  <a:pt x="6135186" y="1711851"/>
                  <a:pt x="6137686" y="1711851"/>
                  <a:pt x="6140009" y="1711851"/>
                </a:cubicBezTo>
                <a:cubicBezTo>
                  <a:pt x="6138223" y="1715603"/>
                  <a:pt x="6136616" y="1719355"/>
                  <a:pt x="6134828" y="1723106"/>
                </a:cubicBezTo>
                <a:cubicBezTo>
                  <a:pt x="6140546" y="1718998"/>
                  <a:pt x="6145906" y="1714530"/>
                  <a:pt x="6153232" y="1713459"/>
                </a:cubicBezTo>
                <a:cubicBezTo>
                  <a:pt x="6154482" y="1713281"/>
                  <a:pt x="6155732" y="1712744"/>
                  <a:pt x="6156983" y="1712030"/>
                </a:cubicBezTo>
                <a:cubicBezTo>
                  <a:pt x="6157876" y="1710778"/>
                  <a:pt x="6158771" y="1709707"/>
                  <a:pt x="6159664" y="1708634"/>
                </a:cubicBezTo>
                <a:cubicBezTo>
                  <a:pt x="6161450" y="1701309"/>
                  <a:pt x="6168418" y="1700951"/>
                  <a:pt x="6174136" y="1698629"/>
                </a:cubicBezTo>
                <a:cubicBezTo>
                  <a:pt x="6172528" y="1701487"/>
                  <a:pt x="6170740" y="1703990"/>
                  <a:pt x="6168596" y="1706312"/>
                </a:cubicBezTo>
                <a:cubicBezTo>
                  <a:pt x="6174314" y="1706849"/>
                  <a:pt x="6179494" y="1707383"/>
                  <a:pt x="6184678" y="1708098"/>
                </a:cubicBezTo>
                <a:cubicBezTo>
                  <a:pt x="6189680" y="1708813"/>
                  <a:pt x="6192180" y="1714174"/>
                  <a:pt x="6188608" y="1717569"/>
                </a:cubicBezTo>
                <a:cubicBezTo>
                  <a:pt x="6184678" y="1721320"/>
                  <a:pt x="6180211" y="1724179"/>
                  <a:pt x="6175923" y="1727394"/>
                </a:cubicBezTo>
                <a:cubicBezTo>
                  <a:pt x="6173779" y="1725430"/>
                  <a:pt x="6171635" y="1723464"/>
                  <a:pt x="6169491" y="1721499"/>
                </a:cubicBezTo>
                <a:cubicBezTo>
                  <a:pt x="6169848" y="1721857"/>
                  <a:pt x="6170206" y="1722392"/>
                  <a:pt x="6170562" y="1722928"/>
                </a:cubicBezTo>
                <a:cubicBezTo>
                  <a:pt x="6168776" y="1724179"/>
                  <a:pt x="6167168" y="1725430"/>
                  <a:pt x="6165381" y="1726680"/>
                </a:cubicBezTo>
                <a:cubicBezTo>
                  <a:pt x="6165023" y="1726145"/>
                  <a:pt x="6164488" y="1725430"/>
                  <a:pt x="6164130" y="1724894"/>
                </a:cubicBezTo>
                <a:cubicBezTo>
                  <a:pt x="6165918" y="1723821"/>
                  <a:pt x="6167525" y="1722572"/>
                  <a:pt x="6169311" y="1721499"/>
                </a:cubicBezTo>
                <a:cubicBezTo>
                  <a:pt x="6168062" y="1720784"/>
                  <a:pt x="6162879" y="1717389"/>
                  <a:pt x="6159306" y="1715245"/>
                </a:cubicBezTo>
                <a:cubicBezTo>
                  <a:pt x="6154482" y="1719713"/>
                  <a:pt x="6150014" y="1724536"/>
                  <a:pt x="6147692" y="1731326"/>
                </a:cubicBezTo>
                <a:cubicBezTo>
                  <a:pt x="6150014" y="1731863"/>
                  <a:pt x="6152517" y="1732397"/>
                  <a:pt x="6154482" y="1732933"/>
                </a:cubicBezTo>
                <a:cubicBezTo>
                  <a:pt x="6151624" y="1741331"/>
                  <a:pt x="6148050" y="1749371"/>
                  <a:pt x="6136258" y="1748478"/>
                </a:cubicBezTo>
                <a:cubicBezTo>
                  <a:pt x="6137686" y="1744190"/>
                  <a:pt x="6138938" y="1739902"/>
                  <a:pt x="6140367" y="1735256"/>
                </a:cubicBezTo>
                <a:cubicBezTo>
                  <a:pt x="6131791" y="1734185"/>
                  <a:pt x="6127860" y="1739366"/>
                  <a:pt x="6123036" y="1742761"/>
                </a:cubicBezTo>
                <a:cubicBezTo>
                  <a:pt x="6120892" y="1744368"/>
                  <a:pt x="6118390" y="1745976"/>
                  <a:pt x="6115710" y="1747585"/>
                </a:cubicBezTo>
                <a:cubicBezTo>
                  <a:pt x="6110887" y="1764738"/>
                  <a:pt x="6107134" y="1782425"/>
                  <a:pt x="6097842" y="1798328"/>
                </a:cubicBezTo>
                <a:cubicBezTo>
                  <a:pt x="6091410" y="1809583"/>
                  <a:pt x="6088732" y="1822983"/>
                  <a:pt x="6083371" y="1835133"/>
                </a:cubicBezTo>
                <a:cubicBezTo>
                  <a:pt x="6076582" y="1850319"/>
                  <a:pt x="6069792" y="1865508"/>
                  <a:pt x="6062824" y="1880694"/>
                </a:cubicBezTo>
                <a:cubicBezTo>
                  <a:pt x="6068541" y="1878192"/>
                  <a:pt x="6074080" y="1876763"/>
                  <a:pt x="6078726" y="1876763"/>
                </a:cubicBezTo>
                <a:cubicBezTo>
                  <a:pt x="6080156" y="1876763"/>
                  <a:pt x="6081764" y="1877836"/>
                  <a:pt x="6083371" y="1878372"/>
                </a:cubicBezTo>
                <a:cubicBezTo>
                  <a:pt x="6076224" y="1884090"/>
                  <a:pt x="6067826" y="1886590"/>
                  <a:pt x="6058894" y="1889092"/>
                </a:cubicBezTo>
                <a:cubicBezTo>
                  <a:pt x="6053176" y="1901598"/>
                  <a:pt x="6047458" y="1914106"/>
                  <a:pt x="6041920" y="1926612"/>
                </a:cubicBezTo>
                <a:cubicBezTo>
                  <a:pt x="6041383" y="1927863"/>
                  <a:pt x="6040668" y="1929293"/>
                  <a:pt x="6040134" y="1930722"/>
                </a:cubicBezTo>
                <a:cubicBezTo>
                  <a:pt x="6044064" y="1926434"/>
                  <a:pt x="6048710" y="1922861"/>
                  <a:pt x="6056572" y="1924826"/>
                </a:cubicBezTo>
                <a:cubicBezTo>
                  <a:pt x="6049602" y="1928220"/>
                  <a:pt x="6047637" y="1935010"/>
                  <a:pt x="6044600" y="1941084"/>
                </a:cubicBezTo>
                <a:cubicBezTo>
                  <a:pt x="6043170" y="1943943"/>
                  <a:pt x="6038882" y="1945016"/>
                  <a:pt x="6036024" y="1947338"/>
                </a:cubicBezTo>
                <a:cubicBezTo>
                  <a:pt x="6034416" y="1948589"/>
                  <a:pt x="6032806" y="1950019"/>
                  <a:pt x="6031199" y="1951448"/>
                </a:cubicBezTo>
                <a:cubicBezTo>
                  <a:pt x="6020837" y="1974854"/>
                  <a:pt x="6010832" y="1998617"/>
                  <a:pt x="6000646" y="2022201"/>
                </a:cubicBezTo>
                <a:cubicBezTo>
                  <a:pt x="5997609" y="2028990"/>
                  <a:pt x="5995287" y="2036137"/>
                  <a:pt x="5993143" y="2043284"/>
                </a:cubicBezTo>
                <a:cubicBezTo>
                  <a:pt x="5992250" y="2046322"/>
                  <a:pt x="5992250" y="2049716"/>
                  <a:pt x="5991535" y="2055077"/>
                </a:cubicBezTo>
                <a:cubicBezTo>
                  <a:pt x="5997431" y="2053111"/>
                  <a:pt x="6001541" y="2052040"/>
                  <a:pt x="6005470" y="2050430"/>
                </a:cubicBezTo>
                <a:cubicBezTo>
                  <a:pt x="6018513" y="2045249"/>
                  <a:pt x="6031378" y="2039176"/>
                  <a:pt x="6044778" y="2034888"/>
                </a:cubicBezTo>
                <a:cubicBezTo>
                  <a:pt x="6063538" y="2028812"/>
                  <a:pt x="6148764" y="1984680"/>
                  <a:pt x="6167882" y="1979499"/>
                </a:cubicBezTo>
                <a:cubicBezTo>
                  <a:pt x="6180568" y="1976103"/>
                  <a:pt x="6193254" y="1971637"/>
                  <a:pt x="6206118" y="1969671"/>
                </a:cubicBezTo>
                <a:cubicBezTo>
                  <a:pt x="6217374" y="1967886"/>
                  <a:pt x="6228988" y="1968600"/>
                  <a:pt x="6240422" y="1968957"/>
                </a:cubicBezTo>
                <a:cubicBezTo>
                  <a:pt x="6248640" y="1969137"/>
                  <a:pt x="6256324" y="1971459"/>
                  <a:pt x="6263829" y="1976462"/>
                </a:cubicBezTo>
                <a:cubicBezTo>
                  <a:pt x="6271690" y="1981821"/>
                  <a:pt x="6280982" y="1985574"/>
                  <a:pt x="6291344" y="1983787"/>
                </a:cubicBezTo>
                <a:cubicBezTo>
                  <a:pt x="6301349" y="1982001"/>
                  <a:pt x="6307244" y="1989682"/>
                  <a:pt x="6314213" y="1994865"/>
                </a:cubicBezTo>
                <a:cubicBezTo>
                  <a:pt x="6317430" y="1997187"/>
                  <a:pt x="6320289" y="2000046"/>
                  <a:pt x="6323682" y="2001654"/>
                </a:cubicBezTo>
                <a:cubicBezTo>
                  <a:pt x="6336546" y="2007730"/>
                  <a:pt x="6347982" y="2015947"/>
                  <a:pt x="6357452" y="2026489"/>
                </a:cubicBezTo>
                <a:cubicBezTo>
                  <a:pt x="6362275" y="2031849"/>
                  <a:pt x="6370136" y="2035066"/>
                  <a:pt x="6371031" y="2043642"/>
                </a:cubicBezTo>
                <a:cubicBezTo>
                  <a:pt x="6371210" y="2045071"/>
                  <a:pt x="6373354" y="2046679"/>
                  <a:pt x="6374783" y="2047037"/>
                </a:cubicBezTo>
                <a:cubicBezTo>
                  <a:pt x="6390148" y="2050967"/>
                  <a:pt x="6393899" y="2064904"/>
                  <a:pt x="6400690" y="2076339"/>
                </a:cubicBezTo>
                <a:cubicBezTo>
                  <a:pt x="6404622" y="2083127"/>
                  <a:pt x="6408014" y="2091167"/>
                  <a:pt x="6413912" y="2095814"/>
                </a:cubicBezTo>
                <a:cubicBezTo>
                  <a:pt x="6426062" y="2105283"/>
                  <a:pt x="6431599" y="2118505"/>
                  <a:pt x="6437853" y="2131548"/>
                </a:cubicBezTo>
                <a:cubicBezTo>
                  <a:pt x="6440356" y="2136907"/>
                  <a:pt x="6444107" y="2141910"/>
                  <a:pt x="6448037" y="2146378"/>
                </a:cubicBezTo>
                <a:cubicBezTo>
                  <a:pt x="6453042" y="2151915"/>
                  <a:pt x="6457864" y="2157276"/>
                  <a:pt x="6459652" y="2165138"/>
                </a:cubicBezTo>
                <a:cubicBezTo>
                  <a:pt x="6461260" y="2172284"/>
                  <a:pt x="6465368" y="2179073"/>
                  <a:pt x="6466618" y="2186400"/>
                </a:cubicBezTo>
                <a:cubicBezTo>
                  <a:pt x="6467692" y="2192832"/>
                  <a:pt x="6466440" y="2199799"/>
                  <a:pt x="6466084" y="2206589"/>
                </a:cubicBezTo>
                <a:cubicBezTo>
                  <a:pt x="6466084" y="2208733"/>
                  <a:pt x="6465189" y="2211234"/>
                  <a:pt x="6466084" y="2212663"/>
                </a:cubicBezTo>
                <a:cubicBezTo>
                  <a:pt x="6479663" y="2232674"/>
                  <a:pt x="6475731" y="2254651"/>
                  <a:pt x="6473409" y="2276270"/>
                </a:cubicBezTo>
                <a:cubicBezTo>
                  <a:pt x="6471802" y="2291100"/>
                  <a:pt x="6466084" y="2304142"/>
                  <a:pt x="6456435" y="2315757"/>
                </a:cubicBezTo>
                <a:cubicBezTo>
                  <a:pt x="6452146" y="2320938"/>
                  <a:pt x="6450181" y="2328085"/>
                  <a:pt x="6447322" y="2334339"/>
                </a:cubicBezTo>
                <a:cubicBezTo>
                  <a:pt x="6446429" y="2336303"/>
                  <a:pt x="6446073" y="2338627"/>
                  <a:pt x="6444822" y="2340413"/>
                </a:cubicBezTo>
                <a:cubicBezTo>
                  <a:pt x="6438031" y="2350597"/>
                  <a:pt x="6431421" y="2361139"/>
                  <a:pt x="6423738" y="2370788"/>
                </a:cubicBezTo>
                <a:cubicBezTo>
                  <a:pt x="6411054" y="2387045"/>
                  <a:pt x="6398902" y="2404198"/>
                  <a:pt x="6384074" y="2418491"/>
                </a:cubicBezTo>
                <a:cubicBezTo>
                  <a:pt x="6365134" y="2436895"/>
                  <a:pt x="6344052" y="2452796"/>
                  <a:pt x="6323682" y="2469770"/>
                </a:cubicBezTo>
                <a:cubicBezTo>
                  <a:pt x="6321896" y="2471021"/>
                  <a:pt x="6319216" y="2471378"/>
                  <a:pt x="6317964" y="2472987"/>
                </a:cubicBezTo>
                <a:cubicBezTo>
                  <a:pt x="6298490" y="2496750"/>
                  <a:pt x="6202008" y="2545348"/>
                  <a:pt x="6180568" y="2566430"/>
                </a:cubicBezTo>
                <a:cubicBezTo>
                  <a:pt x="6165918" y="2581082"/>
                  <a:pt x="6149122" y="2593588"/>
                  <a:pt x="6133577" y="2607167"/>
                </a:cubicBezTo>
                <a:cubicBezTo>
                  <a:pt x="6113388" y="2624856"/>
                  <a:pt x="6093198" y="2642545"/>
                  <a:pt x="6073009" y="2660412"/>
                </a:cubicBezTo>
                <a:cubicBezTo>
                  <a:pt x="6074080" y="2661127"/>
                  <a:pt x="6075153" y="2662378"/>
                  <a:pt x="6076224" y="2663985"/>
                </a:cubicBezTo>
                <a:cubicBezTo>
                  <a:pt x="6081405" y="2660412"/>
                  <a:pt x="6086588" y="2657017"/>
                  <a:pt x="6092662" y="2652729"/>
                </a:cubicBezTo>
                <a:cubicBezTo>
                  <a:pt x="6093020" y="2659697"/>
                  <a:pt x="6091410" y="2663093"/>
                  <a:pt x="6087659" y="2664522"/>
                </a:cubicBezTo>
                <a:cubicBezTo>
                  <a:pt x="6084622" y="2665771"/>
                  <a:pt x="6081585" y="2666486"/>
                  <a:pt x="6078368" y="2667022"/>
                </a:cubicBezTo>
                <a:cubicBezTo>
                  <a:pt x="6072829" y="2668273"/>
                  <a:pt x="6068006" y="2669703"/>
                  <a:pt x="6066040" y="2677743"/>
                </a:cubicBezTo>
                <a:cubicBezTo>
                  <a:pt x="6065504" y="2680065"/>
                  <a:pt x="6061752" y="2681316"/>
                  <a:pt x="6059428" y="2683282"/>
                </a:cubicBezTo>
                <a:cubicBezTo>
                  <a:pt x="6058716" y="2683818"/>
                  <a:pt x="6058179" y="2684353"/>
                  <a:pt x="6057464" y="2685068"/>
                </a:cubicBezTo>
                <a:cubicBezTo>
                  <a:pt x="6058716" y="2685604"/>
                  <a:pt x="6059966" y="2686497"/>
                  <a:pt x="6060501" y="2687748"/>
                </a:cubicBezTo>
                <a:cubicBezTo>
                  <a:pt x="6060680" y="2687748"/>
                  <a:pt x="6060860" y="2687748"/>
                  <a:pt x="6060860" y="2687748"/>
                </a:cubicBezTo>
                <a:cubicBezTo>
                  <a:pt x="6067292" y="2684889"/>
                  <a:pt x="6073902" y="2681674"/>
                  <a:pt x="6080512" y="2679172"/>
                </a:cubicBezTo>
                <a:cubicBezTo>
                  <a:pt x="6082120" y="2678457"/>
                  <a:pt x="6084264" y="2680245"/>
                  <a:pt x="6088018" y="2681316"/>
                </a:cubicBezTo>
                <a:cubicBezTo>
                  <a:pt x="6083549" y="2682924"/>
                  <a:pt x="6080870" y="2684711"/>
                  <a:pt x="6078190" y="2684533"/>
                </a:cubicBezTo>
                <a:cubicBezTo>
                  <a:pt x="6075153" y="2684353"/>
                  <a:pt x="6073366" y="2684711"/>
                  <a:pt x="6071043" y="2687926"/>
                </a:cubicBezTo>
                <a:cubicBezTo>
                  <a:pt x="6069256" y="2690429"/>
                  <a:pt x="6065326" y="2691143"/>
                  <a:pt x="6062288" y="2691680"/>
                </a:cubicBezTo>
                <a:cubicBezTo>
                  <a:pt x="6061752" y="2691858"/>
                  <a:pt x="6061394" y="2691858"/>
                  <a:pt x="6060860" y="2691858"/>
                </a:cubicBezTo>
                <a:cubicBezTo>
                  <a:pt x="6060680" y="2692214"/>
                  <a:pt x="6060501" y="2692751"/>
                  <a:pt x="6060501" y="2693109"/>
                </a:cubicBezTo>
                <a:cubicBezTo>
                  <a:pt x="6054426" y="2693824"/>
                  <a:pt x="6048352" y="2694539"/>
                  <a:pt x="6042278" y="2695253"/>
                </a:cubicBezTo>
                <a:cubicBezTo>
                  <a:pt x="6038704" y="2695788"/>
                  <a:pt x="6035131" y="2696324"/>
                  <a:pt x="6031558" y="2697039"/>
                </a:cubicBezTo>
                <a:cubicBezTo>
                  <a:pt x="6030306" y="2698112"/>
                  <a:pt x="6028877" y="2699361"/>
                  <a:pt x="6027626" y="2700434"/>
                </a:cubicBezTo>
                <a:cubicBezTo>
                  <a:pt x="6045493" y="2702756"/>
                  <a:pt x="6063182" y="2704900"/>
                  <a:pt x="6081405" y="2703649"/>
                </a:cubicBezTo>
                <a:cubicBezTo>
                  <a:pt x="6079441" y="2704364"/>
                  <a:pt x="6077295" y="2705079"/>
                  <a:pt x="6075153" y="2705793"/>
                </a:cubicBezTo>
                <a:cubicBezTo>
                  <a:pt x="6088018" y="2706330"/>
                  <a:pt x="6100524" y="2707403"/>
                  <a:pt x="6113210" y="2709189"/>
                </a:cubicBezTo>
                <a:cubicBezTo>
                  <a:pt x="6114817" y="2709547"/>
                  <a:pt x="6116424" y="2709725"/>
                  <a:pt x="6118034" y="2709903"/>
                </a:cubicBezTo>
                <a:cubicBezTo>
                  <a:pt x="6119105" y="2709547"/>
                  <a:pt x="6119998" y="2709189"/>
                  <a:pt x="6121071" y="2709189"/>
                </a:cubicBezTo>
                <a:cubicBezTo>
                  <a:pt x="6128396" y="2708117"/>
                  <a:pt x="6135364" y="2707759"/>
                  <a:pt x="6140009" y="2698468"/>
                </a:cubicBezTo>
                <a:cubicBezTo>
                  <a:pt x="6141975" y="2694717"/>
                  <a:pt x="6147336" y="2693644"/>
                  <a:pt x="6151980" y="2692929"/>
                </a:cubicBezTo>
                <a:cubicBezTo>
                  <a:pt x="6150551" y="2694717"/>
                  <a:pt x="6148944" y="2696324"/>
                  <a:pt x="6147514" y="2698112"/>
                </a:cubicBezTo>
                <a:cubicBezTo>
                  <a:pt x="6147870" y="2699005"/>
                  <a:pt x="6148050" y="2700256"/>
                  <a:pt x="6148407" y="2700256"/>
                </a:cubicBezTo>
                <a:cubicBezTo>
                  <a:pt x="6156446" y="2701505"/>
                  <a:pt x="6164488" y="2703649"/>
                  <a:pt x="6172528" y="2703829"/>
                </a:cubicBezTo>
                <a:cubicBezTo>
                  <a:pt x="6185570" y="2704364"/>
                  <a:pt x="6186644" y="2702042"/>
                  <a:pt x="6183963" y="2686855"/>
                </a:cubicBezTo>
                <a:cubicBezTo>
                  <a:pt x="6188251" y="2679172"/>
                  <a:pt x="6192361" y="2685426"/>
                  <a:pt x="6198256" y="2686855"/>
                </a:cubicBezTo>
                <a:cubicBezTo>
                  <a:pt x="6194146" y="2688821"/>
                  <a:pt x="6191824" y="2689714"/>
                  <a:pt x="6188608" y="2691322"/>
                </a:cubicBezTo>
                <a:cubicBezTo>
                  <a:pt x="6190932" y="2693109"/>
                  <a:pt x="6192539" y="2694358"/>
                  <a:pt x="6194505" y="2695788"/>
                </a:cubicBezTo>
                <a:cubicBezTo>
                  <a:pt x="6193432" y="2697575"/>
                  <a:pt x="6192539" y="2699361"/>
                  <a:pt x="6190752" y="2702756"/>
                </a:cubicBezTo>
                <a:cubicBezTo>
                  <a:pt x="6199864" y="2704900"/>
                  <a:pt x="6208084" y="2702935"/>
                  <a:pt x="6216838" y="2703293"/>
                </a:cubicBezTo>
                <a:cubicBezTo>
                  <a:pt x="6216480" y="2705793"/>
                  <a:pt x="6216302" y="2707759"/>
                  <a:pt x="6215946" y="2710440"/>
                </a:cubicBezTo>
                <a:cubicBezTo>
                  <a:pt x="6203259" y="2712406"/>
                  <a:pt x="6190752" y="2714550"/>
                  <a:pt x="6178067" y="2715979"/>
                </a:cubicBezTo>
                <a:cubicBezTo>
                  <a:pt x="6163416" y="2717587"/>
                  <a:pt x="6148944" y="2718658"/>
                  <a:pt x="6134292" y="2720087"/>
                </a:cubicBezTo>
                <a:cubicBezTo>
                  <a:pt x="6135186" y="2721338"/>
                  <a:pt x="6136079" y="2722589"/>
                  <a:pt x="6136972" y="2723840"/>
                </a:cubicBezTo>
                <a:cubicBezTo>
                  <a:pt x="6137865" y="2725090"/>
                  <a:pt x="6138938" y="2726163"/>
                  <a:pt x="6139831" y="2727414"/>
                </a:cubicBezTo>
                <a:cubicBezTo>
                  <a:pt x="6145906" y="2726699"/>
                  <a:pt x="6151802" y="2725985"/>
                  <a:pt x="6157162" y="2725448"/>
                </a:cubicBezTo>
                <a:cubicBezTo>
                  <a:pt x="6152695" y="2727234"/>
                  <a:pt x="6147870" y="2729558"/>
                  <a:pt x="6142690" y="2731880"/>
                </a:cubicBezTo>
                <a:cubicBezTo>
                  <a:pt x="6143760" y="2734024"/>
                  <a:pt x="6144119" y="2736168"/>
                  <a:pt x="6143404" y="2738849"/>
                </a:cubicBezTo>
                <a:cubicBezTo>
                  <a:pt x="6142333" y="2742422"/>
                  <a:pt x="6140367" y="2745816"/>
                  <a:pt x="6138402" y="2749389"/>
                </a:cubicBezTo>
                <a:cubicBezTo>
                  <a:pt x="6140904" y="2749211"/>
                  <a:pt x="6143404" y="2749389"/>
                  <a:pt x="6145906" y="2748854"/>
                </a:cubicBezTo>
                <a:cubicBezTo>
                  <a:pt x="6145012" y="2749747"/>
                  <a:pt x="6144119" y="2750818"/>
                  <a:pt x="6143404" y="2751533"/>
                </a:cubicBezTo>
                <a:cubicBezTo>
                  <a:pt x="6150729" y="2750462"/>
                  <a:pt x="6158412" y="2747603"/>
                  <a:pt x="6169311" y="2750998"/>
                </a:cubicBezTo>
                <a:cubicBezTo>
                  <a:pt x="6135006" y="2762611"/>
                  <a:pt x="6103560" y="2765112"/>
                  <a:pt x="6072292" y="2773868"/>
                </a:cubicBezTo>
                <a:cubicBezTo>
                  <a:pt x="6074616" y="2779406"/>
                  <a:pt x="6076402" y="2783874"/>
                  <a:pt x="6078546" y="2788340"/>
                </a:cubicBezTo>
                <a:cubicBezTo>
                  <a:pt x="6079261" y="2789948"/>
                  <a:pt x="6081048" y="2790840"/>
                  <a:pt x="6082836" y="2791555"/>
                </a:cubicBezTo>
                <a:cubicBezTo>
                  <a:pt x="6088910" y="2792092"/>
                  <a:pt x="6094806" y="2792806"/>
                  <a:pt x="6100882" y="2793343"/>
                </a:cubicBezTo>
                <a:cubicBezTo>
                  <a:pt x="6131791" y="2796380"/>
                  <a:pt x="6162700" y="2797987"/>
                  <a:pt x="6193610" y="2801204"/>
                </a:cubicBezTo>
                <a:cubicBezTo>
                  <a:pt x="6196112" y="2798882"/>
                  <a:pt x="6198793" y="2796558"/>
                  <a:pt x="6201652" y="2793879"/>
                </a:cubicBezTo>
                <a:cubicBezTo>
                  <a:pt x="6200937" y="2797094"/>
                  <a:pt x="6200578" y="2799775"/>
                  <a:pt x="6200042" y="2802097"/>
                </a:cubicBezTo>
                <a:cubicBezTo>
                  <a:pt x="6208262" y="2803527"/>
                  <a:pt x="6216302" y="2805492"/>
                  <a:pt x="6224342" y="2807458"/>
                </a:cubicBezTo>
                <a:cubicBezTo>
                  <a:pt x="6229524" y="2807278"/>
                  <a:pt x="6233990" y="2807278"/>
                  <a:pt x="6238457" y="2807278"/>
                </a:cubicBezTo>
                <a:cubicBezTo>
                  <a:pt x="6236134" y="2808529"/>
                  <a:pt x="6233990" y="2809602"/>
                  <a:pt x="6231846" y="2810137"/>
                </a:cubicBezTo>
                <a:cubicBezTo>
                  <a:pt x="6233990" y="2811746"/>
                  <a:pt x="6236491" y="2814425"/>
                  <a:pt x="6240959" y="2818178"/>
                </a:cubicBezTo>
                <a:cubicBezTo>
                  <a:pt x="6231846" y="2818357"/>
                  <a:pt x="6227380" y="2818713"/>
                  <a:pt x="6223092" y="2818357"/>
                </a:cubicBezTo>
                <a:cubicBezTo>
                  <a:pt x="6172172" y="2813710"/>
                  <a:pt x="6121071" y="2809066"/>
                  <a:pt x="6069970" y="2804419"/>
                </a:cubicBezTo>
                <a:cubicBezTo>
                  <a:pt x="6069078" y="2804778"/>
                  <a:pt x="6068184" y="2804956"/>
                  <a:pt x="6067292" y="2805314"/>
                </a:cubicBezTo>
                <a:cubicBezTo>
                  <a:pt x="6069256" y="2806563"/>
                  <a:pt x="6071936" y="2807458"/>
                  <a:pt x="6069614" y="2811388"/>
                </a:cubicBezTo>
                <a:cubicBezTo>
                  <a:pt x="6059428" y="2810673"/>
                  <a:pt x="6049066" y="2809780"/>
                  <a:pt x="6038524" y="2809066"/>
                </a:cubicBezTo>
                <a:cubicBezTo>
                  <a:pt x="6040848" y="2810495"/>
                  <a:pt x="6042992" y="2812461"/>
                  <a:pt x="6045136" y="2815498"/>
                </a:cubicBezTo>
                <a:cubicBezTo>
                  <a:pt x="6025304" y="2816034"/>
                  <a:pt x="6006544" y="2818357"/>
                  <a:pt x="5987782" y="2817464"/>
                </a:cubicBezTo>
                <a:cubicBezTo>
                  <a:pt x="5985103" y="2819428"/>
                  <a:pt x="5982064" y="2821215"/>
                  <a:pt x="5978491" y="2821037"/>
                </a:cubicBezTo>
                <a:cubicBezTo>
                  <a:pt x="5977420" y="2820501"/>
                  <a:pt x="5978491" y="2818535"/>
                  <a:pt x="5979028" y="2816749"/>
                </a:cubicBezTo>
                <a:cubicBezTo>
                  <a:pt x="5977598" y="2816569"/>
                  <a:pt x="5976347" y="2816391"/>
                  <a:pt x="5975098" y="2816213"/>
                </a:cubicBezTo>
                <a:cubicBezTo>
                  <a:pt x="5974918" y="2820322"/>
                  <a:pt x="5974561" y="2824431"/>
                  <a:pt x="5974203" y="2828540"/>
                </a:cubicBezTo>
                <a:cubicBezTo>
                  <a:pt x="5980993" y="2828184"/>
                  <a:pt x="5987960" y="2827826"/>
                  <a:pt x="5994928" y="2827826"/>
                </a:cubicBezTo>
                <a:cubicBezTo>
                  <a:pt x="6003148" y="2825325"/>
                  <a:pt x="6011368" y="2823716"/>
                  <a:pt x="6019942" y="2824789"/>
                </a:cubicBezTo>
                <a:cubicBezTo>
                  <a:pt x="6021730" y="2824967"/>
                  <a:pt x="6024232" y="2823359"/>
                  <a:pt x="6025840" y="2821752"/>
                </a:cubicBezTo>
                <a:cubicBezTo>
                  <a:pt x="6030306" y="2816927"/>
                  <a:pt x="6036024" y="2819608"/>
                  <a:pt x="6041026" y="2817820"/>
                </a:cubicBezTo>
                <a:lnTo>
                  <a:pt x="6041207" y="2819151"/>
                </a:lnTo>
                <a:lnTo>
                  <a:pt x="6038770" y="2819250"/>
                </a:lnTo>
                <a:cubicBezTo>
                  <a:pt x="6037407" y="2819517"/>
                  <a:pt x="6036380" y="2820500"/>
                  <a:pt x="6036380" y="2823716"/>
                </a:cubicBezTo>
                <a:cubicBezTo>
                  <a:pt x="6037275" y="2823538"/>
                  <a:pt x="6038168" y="2823359"/>
                  <a:pt x="6039060" y="2823001"/>
                </a:cubicBezTo>
                <a:lnTo>
                  <a:pt x="6042189" y="2822149"/>
                </a:lnTo>
                <a:lnTo>
                  <a:pt x="6044956" y="2823896"/>
                </a:lnTo>
                <a:cubicBezTo>
                  <a:pt x="6048530" y="2823181"/>
                  <a:pt x="6051925" y="2822645"/>
                  <a:pt x="6055498" y="2822467"/>
                </a:cubicBezTo>
                <a:cubicBezTo>
                  <a:pt x="6057286" y="2821930"/>
                  <a:pt x="6058894" y="2821752"/>
                  <a:pt x="6060323" y="2822286"/>
                </a:cubicBezTo>
                <a:cubicBezTo>
                  <a:pt x="6069614" y="2821930"/>
                  <a:pt x="6079083" y="2823001"/>
                  <a:pt x="6088552" y="2823896"/>
                </a:cubicBezTo>
                <a:cubicBezTo>
                  <a:pt x="6088910" y="2823181"/>
                  <a:pt x="6089088" y="2822286"/>
                  <a:pt x="6089446" y="2821572"/>
                </a:cubicBezTo>
                <a:cubicBezTo>
                  <a:pt x="6090160" y="2821930"/>
                  <a:pt x="6091054" y="2822286"/>
                  <a:pt x="6091769" y="2822645"/>
                </a:cubicBezTo>
                <a:cubicBezTo>
                  <a:pt x="6091590" y="2823001"/>
                  <a:pt x="6091410" y="2823538"/>
                  <a:pt x="6091410" y="2824074"/>
                </a:cubicBezTo>
                <a:cubicBezTo>
                  <a:pt x="6096414" y="2824611"/>
                  <a:pt x="6101238" y="2825145"/>
                  <a:pt x="6106240" y="2825682"/>
                </a:cubicBezTo>
                <a:cubicBezTo>
                  <a:pt x="6105526" y="2825145"/>
                  <a:pt x="6104633" y="2824431"/>
                  <a:pt x="6103560" y="2823716"/>
                </a:cubicBezTo>
                <a:cubicBezTo>
                  <a:pt x="6109278" y="2821572"/>
                  <a:pt x="6114638" y="2819608"/>
                  <a:pt x="6121249" y="2817284"/>
                </a:cubicBezTo>
                <a:cubicBezTo>
                  <a:pt x="6118927" y="2821752"/>
                  <a:pt x="6117319" y="2824967"/>
                  <a:pt x="6115890" y="2826755"/>
                </a:cubicBezTo>
                <a:cubicBezTo>
                  <a:pt x="6125359" y="2827826"/>
                  <a:pt x="6134650" y="2828899"/>
                  <a:pt x="6144119" y="2829792"/>
                </a:cubicBezTo>
                <a:cubicBezTo>
                  <a:pt x="6156268" y="2830863"/>
                  <a:pt x="6168596" y="2831221"/>
                  <a:pt x="6180746" y="2831221"/>
                </a:cubicBezTo>
                <a:cubicBezTo>
                  <a:pt x="6193254" y="2831399"/>
                  <a:pt x="6205582" y="2832828"/>
                  <a:pt x="6216660" y="2836580"/>
                </a:cubicBezTo>
                <a:cubicBezTo>
                  <a:pt x="6216838" y="2835865"/>
                  <a:pt x="6217016" y="2834973"/>
                  <a:pt x="6217016" y="2834258"/>
                </a:cubicBezTo>
                <a:cubicBezTo>
                  <a:pt x="6218268" y="2835331"/>
                  <a:pt x="6219160" y="2835687"/>
                  <a:pt x="6219518" y="2836402"/>
                </a:cubicBezTo>
                <a:cubicBezTo>
                  <a:pt x="6221304" y="2840512"/>
                  <a:pt x="6223270" y="2837295"/>
                  <a:pt x="6225236" y="2836938"/>
                </a:cubicBezTo>
                <a:cubicBezTo>
                  <a:pt x="6228095" y="2836402"/>
                  <a:pt x="6231488" y="2834258"/>
                  <a:pt x="6233096" y="2841048"/>
                </a:cubicBezTo>
                <a:cubicBezTo>
                  <a:pt x="6227736" y="2841941"/>
                  <a:pt x="6223092" y="2842834"/>
                  <a:pt x="6217910" y="2843907"/>
                </a:cubicBezTo>
                <a:cubicBezTo>
                  <a:pt x="6217194" y="2845156"/>
                  <a:pt x="6215765" y="2846051"/>
                  <a:pt x="6214158" y="2846586"/>
                </a:cubicBezTo>
                <a:cubicBezTo>
                  <a:pt x="6218268" y="2849624"/>
                  <a:pt x="6222019" y="2854091"/>
                  <a:pt x="6226666" y="2855342"/>
                </a:cubicBezTo>
                <a:cubicBezTo>
                  <a:pt x="6233454" y="2857128"/>
                  <a:pt x="6240779" y="2856591"/>
                  <a:pt x="6247926" y="2856949"/>
                </a:cubicBezTo>
                <a:cubicBezTo>
                  <a:pt x="6251858" y="2860523"/>
                  <a:pt x="6255609" y="2864274"/>
                  <a:pt x="6261326" y="2869636"/>
                </a:cubicBezTo>
                <a:cubicBezTo>
                  <a:pt x="6255966" y="2871958"/>
                  <a:pt x="6253108" y="2874280"/>
                  <a:pt x="6249892" y="2874458"/>
                </a:cubicBezTo>
                <a:cubicBezTo>
                  <a:pt x="6216480" y="2876961"/>
                  <a:pt x="6182890" y="2878926"/>
                  <a:pt x="6149480" y="2881605"/>
                </a:cubicBezTo>
                <a:cubicBezTo>
                  <a:pt x="6140189" y="2882320"/>
                  <a:pt x="6131254" y="2886073"/>
                  <a:pt x="6122142" y="2886430"/>
                </a:cubicBezTo>
                <a:cubicBezTo>
                  <a:pt x="6119464" y="2886788"/>
                  <a:pt x="6116604" y="2886788"/>
                  <a:pt x="6113746" y="2886788"/>
                </a:cubicBezTo>
                <a:cubicBezTo>
                  <a:pt x="6116604" y="2888752"/>
                  <a:pt x="6119998" y="2890181"/>
                  <a:pt x="6123930" y="2891076"/>
                </a:cubicBezTo>
                <a:cubicBezTo>
                  <a:pt x="6128040" y="2890718"/>
                  <a:pt x="6132328" y="2890361"/>
                  <a:pt x="6136972" y="2889825"/>
                </a:cubicBezTo>
                <a:cubicBezTo>
                  <a:pt x="6135721" y="2891076"/>
                  <a:pt x="6134650" y="2892147"/>
                  <a:pt x="6133577" y="2892862"/>
                </a:cubicBezTo>
                <a:cubicBezTo>
                  <a:pt x="6134828" y="2893220"/>
                  <a:pt x="6135901" y="2893576"/>
                  <a:pt x="6136972" y="2893935"/>
                </a:cubicBezTo>
                <a:cubicBezTo>
                  <a:pt x="6145370" y="2896972"/>
                  <a:pt x="6147156" y="2903404"/>
                  <a:pt x="6141260" y="2910729"/>
                </a:cubicBezTo>
                <a:cubicBezTo>
                  <a:pt x="6139831" y="2912516"/>
                  <a:pt x="6137150" y="2913766"/>
                  <a:pt x="6134828" y="2915017"/>
                </a:cubicBezTo>
                <a:cubicBezTo>
                  <a:pt x="6134828" y="2915195"/>
                  <a:pt x="6134828" y="2915195"/>
                  <a:pt x="6134828" y="2915195"/>
                </a:cubicBezTo>
                <a:cubicBezTo>
                  <a:pt x="6134114" y="2916446"/>
                  <a:pt x="6133577" y="2917697"/>
                  <a:pt x="6132862" y="2918949"/>
                </a:cubicBezTo>
                <a:cubicBezTo>
                  <a:pt x="6135542" y="2918949"/>
                  <a:pt x="6138402" y="2918949"/>
                  <a:pt x="6141082" y="2918590"/>
                </a:cubicBezTo>
                <a:cubicBezTo>
                  <a:pt x="6142868" y="2916624"/>
                  <a:pt x="6144834" y="2914839"/>
                  <a:pt x="6146978" y="2913051"/>
                </a:cubicBezTo>
                <a:cubicBezTo>
                  <a:pt x="6149836" y="2910729"/>
                  <a:pt x="6154661" y="2911265"/>
                  <a:pt x="6156983" y="2913766"/>
                </a:cubicBezTo>
                <a:cubicBezTo>
                  <a:pt x="6156983" y="2913409"/>
                  <a:pt x="6156983" y="2913051"/>
                  <a:pt x="6156983" y="2912695"/>
                </a:cubicBezTo>
                <a:cubicBezTo>
                  <a:pt x="6159127" y="2912336"/>
                  <a:pt x="6161450" y="2911980"/>
                  <a:pt x="6163594" y="2911622"/>
                </a:cubicBezTo>
                <a:cubicBezTo>
                  <a:pt x="6163774" y="2912516"/>
                  <a:pt x="6163774" y="2913231"/>
                  <a:pt x="6163774" y="2913946"/>
                </a:cubicBezTo>
                <a:cubicBezTo>
                  <a:pt x="6161808" y="2914302"/>
                  <a:pt x="6159664" y="2914480"/>
                  <a:pt x="6157698" y="2914839"/>
                </a:cubicBezTo>
                <a:cubicBezTo>
                  <a:pt x="6157876" y="2915195"/>
                  <a:pt x="6158056" y="2915375"/>
                  <a:pt x="6158056" y="2915732"/>
                </a:cubicBezTo>
                <a:cubicBezTo>
                  <a:pt x="6160915" y="2915910"/>
                  <a:pt x="6163952" y="2916446"/>
                  <a:pt x="6166810" y="2916446"/>
                </a:cubicBezTo>
                <a:cubicBezTo>
                  <a:pt x="6175386" y="2916805"/>
                  <a:pt x="6183784" y="2917876"/>
                  <a:pt x="6192180" y="2917339"/>
                </a:cubicBezTo>
                <a:cubicBezTo>
                  <a:pt x="6222912" y="2915195"/>
                  <a:pt x="6253644" y="2913588"/>
                  <a:pt x="6284374" y="2914480"/>
                </a:cubicBezTo>
                <a:cubicBezTo>
                  <a:pt x="6291165" y="2914660"/>
                  <a:pt x="6297060" y="2913051"/>
                  <a:pt x="6303314" y="2910907"/>
                </a:cubicBezTo>
                <a:cubicBezTo>
                  <a:pt x="6317430" y="2905904"/>
                  <a:pt x="6332080" y="2902511"/>
                  <a:pt x="6346732" y="2899652"/>
                </a:cubicBezTo>
                <a:cubicBezTo>
                  <a:pt x="6351735" y="2898757"/>
                  <a:pt x="6357630" y="2901082"/>
                  <a:pt x="6362990" y="2902511"/>
                </a:cubicBezTo>
                <a:cubicBezTo>
                  <a:pt x="6364062" y="2902689"/>
                  <a:pt x="6365314" y="2905548"/>
                  <a:pt x="6365314" y="2906977"/>
                </a:cubicBezTo>
                <a:cubicBezTo>
                  <a:pt x="6365314" y="2908407"/>
                  <a:pt x="6364062" y="2910551"/>
                  <a:pt x="6362634" y="2911443"/>
                </a:cubicBezTo>
                <a:cubicBezTo>
                  <a:pt x="6356916" y="2915553"/>
                  <a:pt x="6346910" y="2909658"/>
                  <a:pt x="6343337" y="2920020"/>
                </a:cubicBezTo>
                <a:cubicBezTo>
                  <a:pt x="6344230" y="2926274"/>
                  <a:pt x="6349410" y="2926630"/>
                  <a:pt x="6353879" y="2926810"/>
                </a:cubicBezTo>
                <a:cubicBezTo>
                  <a:pt x="6377105" y="2927881"/>
                  <a:pt x="6400333" y="2928774"/>
                  <a:pt x="6422666" y="2935921"/>
                </a:cubicBezTo>
                <a:cubicBezTo>
                  <a:pt x="6400512" y="2935386"/>
                  <a:pt x="6378534" y="2934850"/>
                  <a:pt x="6356380" y="2934672"/>
                </a:cubicBezTo>
                <a:cubicBezTo>
                  <a:pt x="6347088" y="2934491"/>
                  <a:pt x="6337441" y="2933957"/>
                  <a:pt x="6328328" y="2935921"/>
                </a:cubicBezTo>
                <a:cubicBezTo>
                  <a:pt x="6318145" y="2938245"/>
                  <a:pt x="6308318" y="2939494"/>
                  <a:pt x="6297776" y="2938245"/>
                </a:cubicBezTo>
                <a:cubicBezTo>
                  <a:pt x="6292058" y="2937708"/>
                  <a:pt x="6285984" y="2940745"/>
                  <a:pt x="6275798" y="2943248"/>
                </a:cubicBezTo>
                <a:cubicBezTo>
                  <a:pt x="6281874" y="2946285"/>
                  <a:pt x="6284018" y="2947536"/>
                  <a:pt x="6286162" y="2948429"/>
                </a:cubicBezTo>
                <a:cubicBezTo>
                  <a:pt x="6300098" y="2953610"/>
                  <a:pt x="6317964" y="2945392"/>
                  <a:pt x="6328685" y="2961471"/>
                </a:cubicBezTo>
                <a:cubicBezTo>
                  <a:pt x="6341730" y="2961471"/>
                  <a:pt x="6354950" y="2960935"/>
                  <a:pt x="6367992" y="2961471"/>
                </a:cubicBezTo>
                <a:cubicBezTo>
                  <a:pt x="6404622" y="2962901"/>
                  <a:pt x="6441248" y="2964688"/>
                  <a:pt x="6477875" y="2966652"/>
                </a:cubicBezTo>
                <a:cubicBezTo>
                  <a:pt x="6485022" y="2967189"/>
                  <a:pt x="6492169" y="2969333"/>
                  <a:pt x="6500745" y="2970940"/>
                </a:cubicBezTo>
                <a:cubicBezTo>
                  <a:pt x="6498244" y="2973443"/>
                  <a:pt x="6497172" y="2975587"/>
                  <a:pt x="6495920" y="2975587"/>
                </a:cubicBezTo>
                <a:cubicBezTo>
                  <a:pt x="6470728" y="2978445"/>
                  <a:pt x="6446608" y="2987378"/>
                  <a:pt x="6421059" y="2987558"/>
                </a:cubicBezTo>
                <a:cubicBezTo>
                  <a:pt x="6404085" y="2987736"/>
                  <a:pt x="6387289" y="2988451"/>
                  <a:pt x="6370316" y="2988093"/>
                </a:cubicBezTo>
                <a:cubicBezTo>
                  <a:pt x="6369244" y="2988093"/>
                  <a:pt x="6368172" y="2988093"/>
                  <a:pt x="6367100" y="2988093"/>
                </a:cubicBezTo>
                <a:cubicBezTo>
                  <a:pt x="6367278" y="2988273"/>
                  <a:pt x="6367278" y="2988629"/>
                  <a:pt x="6367278" y="2988807"/>
                </a:cubicBezTo>
                <a:cubicBezTo>
                  <a:pt x="6364778" y="2989702"/>
                  <a:pt x="6362455" y="2990595"/>
                  <a:pt x="6360131" y="2991488"/>
                </a:cubicBezTo>
                <a:cubicBezTo>
                  <a:pt x="6359774" y="2990595"/>
                  <a:pt x="6359596" y="2989522"/>
                  <a:pt x="6359416" y="2988629"/>
                </a:cubicBezTo>
                <a:cubicBezTo>
                  <a:pt x="6359952" y="2988451"/>
                  <a:pt x="6360489" y="2988093"/>
                  <a:pt x="6361026" y="2987914"/>
                </a:cubicBezTo>
                <a:cubicBezTo>
                  <a:pt x="6349054" y="2987736"/>
                  <a:pt x="6337083" y="2987558"/>
                  <a:pt x="6325112" y="2987558"/>
                </a:cubicBezTo>
                <a:cubicBezTo>
                  <a:pt x="6322074" y="2995061"/>
                  <a:pt x="6317430" y="2997742"/>
                  <a:pt x="6310998" y="2997383"/>
                </a:cubicBezTo>
                <a:cubicBezTo>
                  <a:pt x="6306530" y="2996849"/>
                  <a:pt x="6301886" y="2997383"/>
                  <a:pt x="6297241" y="2997383"/>
                </a:cubicBezTo>
                <a:cubicBezTo>
                  <a:pt x="6297241" y="2998278"/>
                  <a:pt x="6297241" y="2999171"/>
                  <a:pt x="6297241" y="3000064"/>
                </a:cubicBezTo>
                <a:cubicBezTo>
                  <a:pt x="6305815" y="3000779"/>
                  <a:pt x="6314572" y="3001315"/>
                  <a:pt x="6323326" y="3002030"/>
                </a:cubicBezTo>
                <a:cubicBezTo>
                  <a:pt x="6328506" y="3002386"/>
                  <a:pt x="6333510" y="3002923"/>
                  <a:pt x="6338690" y="3003101"/>
                </a:cubicBezTo>
                <a:cubicBezTo>
                  <a:pt x="6340120" y="3003101"/>
                  <a:pt x="6342444" y="3003459"/>
                  <a:pt x="6343158" y="3002386"/>
                </a:cubicBezTo>
                <a:cubicBezTo>
                  <a:pt x="6348876" y="2993275"/>
                  <a:pt x="6356916" y="2997383"/>
                  <a:pt x="6364062" y="2996669"/>
                </a:cubicBezTo>
                <a:cubicBezTo>
                  <a:pt x="6369066" y="2996134"/>
                  <a:pt x="6374246" y="2994883"/>
                  <a:pt x="6379249" y="2994525"/>
                </a:cubicBezTo>
                <a:cubicBezTo>
                  <a:pt x="6387647" y="2993990"/>
                  <a:pt x="6396224" y="2994168"/>
                  <a:pt x="6404800" y="2996134"/>
                </a:cubicBezTo>
                <a:cubicBezTo>
                  <a:pt x="6401404" y="2997383"/>
                  <a:pt x="6398009" y="2998635"/>
                  <a:pt x="6393364" y="3000242"/>
                </a:cubicBezTo>
                <a:cubicBezTo>
                  <a:pt x="6396580" y="3000779"/>
                  <a:pt x="6399082" y="3001137"/>
                  <a:pt x="6403548" y="3001852"/>
                </a:cubicBezTo>
                <a:cubicBezTo>
                  <a:pt x="6394258" y="3003637"/>
                  <a:pt x="6389791" y="3009533"/>
                  <a:pt x="6387647" y="3021326"/>
                </a:cubicBezTo>
                <a:cubicBezTo>
                  <a:pt x="6407122" y="3023112"/>
                  <a:pt x="6426240" y="3024900"/>
                  <a:pt x="6446429" y="3026685"/>
                </a:cubicBezTo>
                <a:cubicBezTo>
                  <a:pt x="6445714" y="3029724"/>
                  <a:pt x="6445714" y="3031868"/>
                  <a:pt x="6444822" y="3033476"/>
                </a:cubicBezTo>
                <a:cubicBezTo>
                  <a:pt x="6443570" y="3035442"/>
                  <a:pt x="6441784" y="3036871"/>
                  <a:pt x="6440356" y="3038657"/>
                </a:cubicBezTo>
                <a:cubicBezTo>
                  <a:pt x="6437675" y="3042230"/>
                  <a:pt x="6433923" y="3044911"/>
                  <a:pt x="6431064" y="3042230"/>
                </a:cubicBezTo>
                <a:cubicBezTo>
                  <a:pt x="6423381" y="3035083"/>
                  <a:pt x="6418020" y="3042588"/>
                  <a:pt x="6411410" y="3044911"/>
                </a:cubicBezTo>
                <a:cubicBezTo>
                  <a:pt x="6413554" y="3050450"/>
                  <a:pt x="6415162" y="3055453"/>
                  <a:pt x="6417308" y="3059919"/>
                </a:cubicBezTo>
                <a:cubicBezTo>
                  <a:pt x="6419272" y="3064207"/>
                  <a:pt x="6426954" y="3066351"/>
                  <a:pt x="6430884" y="3064207"/>
                </a:cubicBezTo>
                <a:cubicBezTo>
                  <a:pt x="6435531" y="3061705"/>
                  <a:pt x="6435352" y="3061705"/>
                  <a:pt x="6440890" y="3063671"/>
                </a:cubicBezTo>
                <a:cubicBezTo>
                  <a:pt x="6436960" y="3066173"/>
                  <a:pt x="6433208" y="3068317"/>
                  <a:pt x="6429634" y="3070461"/>
                </a:cubicBezTo>
                <a:cubicBezTo>
                  <a:pt x="6430528" y="3073676"/>
                  <a:pt x="6431599" y="3076893"/>
                  <a:pt x="6432850" y="3081001"/>
                </a:cubicBezTo>
                <a:cubicBezTo>
                  <a:pt x="6438212" y="3080108"/>
                  <a:pt x="6443392" y="3078323"/>
                  <a:pt x="6448752" y="3078142"/>
                </a:cubicBezTo>
                <a:cubicBezTo>
                  <a:pt x="6458579" y="3077786"/>
                  <a:pt x="6468584" y="3075998"/>
                  <a:pt x="6478412" y="3083860"/>
                </a:cubicBezTo>
                <a:cubicBezTo>
                  <a:pt x="6473946" y="3084040"/>
                  <a:pt x="6470550" y="3083682"/>
                  <a:pt x="6467155" y="3084040"/>
                </a:cubicBezTo>
                <a:cubicBezTo>
                  <a:pt x="6463404" y="3084396"/>
                  <a:pt x="6459652" y="3085111"/>
                  <a:pt x="6455898" y="3085648"/>
                </a:cubicBezTo>
                <a:cubicBezTo>
                  <a:pt x="6453398" y="3086004"/>
                  <a:pt x="6450896" y="3086719"/>
                  <a:pt x="6448574" y="3086540"/>
                </a:cubicBezTo>
                <a:cubicBezTo>
                  <a:pt x="6440534" y="3085826"/>
                  <a:pt x="6438926" y="3087255"/>
                  <a:pt x="6437496" y="3098868"/>
                </a:cubicBezTo>
                <a:cubicBezTo>
                  <a:pt x="6433386" y="3095475"/>
                  <a:pt x="6429814" y="3092436"/>
                  <a:pt x="6425525" y="3089043"/>
                </a:cubicBezTo>
                <a:cubicBezTo>
                  <a:pt x="6423918" y="3092080"/>
                  <a:pt x="6422488" y="3094938"/>
                  <a:pt x="6421237" y="3097082"/>
                </a:cubicBezTo>
                <a:cubicBezTo>
                  <a:pt x="6407658" y="3097975"/>
                  <a:pt x="6394616" y="3099048"/>
                  <a:pt x="6381574" y="3100119"/>
                </a:cubicBezTo>
                <a:cubicBezTo>
                  <a:pt x="6380856" y="3100298"/>
                  <a:pt x="6379964" y="3101371"/>
                  <a:pt x="6378712" y="3102622"/>
                </a:cubicBezTo>
                <a:cubicBezTo>
                  <a:pt x="6386754" y="3110303"/>
                  <a:pt x="6395865" y="3103156"/>
                  <a:pt x="6403726" y="3108159"/>
                </a:cubicBezTo>
                <a:cubicBezTo>
                  <a:pt x="6391757" y="3108874"/>
                  <a:pt x="6379964" y="3109588"/>
                  <a:pt x="6367992" y="3109947"/>
                </a:cubicBezTo>
                <a:cubicBezTo>
                  <a:pt x="6368709" y="3116557"/>
                  <a:pt x="6368172" y="3123348"/>
                  <a:pt x="6366743" y="3129780"/>
                </a:cubicBezTo>
                <a:cubicBezTo>
                  <a:pt x="6385682" y="3131029"/>
                  <a:pt x="6404622" y="3132280"/>
                  <a:pt x="6423560" y="3133531"/>
                </a:cubicBezTo>
                <a:cubicBezTo>
                  <a:pt x="6496278" y="3138356"/>
                  <a:pt x="6472158" y="3222508"/>
                  <a:pt x="6398902" y="3226082"/>
                </a:cubicBezTo>
                <a:cubicBezTo>
                  <a:pt x="6367636" y="3227511"/>
                  <a:pt x="6361026" y="3250024"/>
                  <a:pt x="6329758" y="3251632"/>
                </a:cubicBezTo>
                <a:cubicBezTo>
                  <a:pt x="6325292" y="3267355"/>
                  <a:pt x="6312962" y="3280756"/>
                  <a:pt x="6291344" y="3286295"/>
                </a:cubicBezTo>
                <a:cubicBezTo>
                  <a:pt x="6259182" y="3294513"/>
                  <a:pt x="6226844" y="3302733"/>
                  <a:pt x="6194683" y="3311309"/>
                </a:cubicBezTo>
                <a:cubicBezTo>
                  <a:pt x="6195220" y="3311309"/>
                  <a:pt x="6195934" y="3311309"/>
                  <a:pt x="6196469" y="3311309"/>
                </a:cubicBezTo>
                <a:cubicBezTo>
                  <a:pt x="6208618" y="3311129"/>
                  <a:pt x="6220948" y="3311309"/>
                  <a:pt x="6233096" y="3310594"/>
                </a:cubicBezTo>
                <a:cubicBezTo>
                  <a:pt x="6252036" y="3309521"/>
                  <a:pt x="6270976" y="3307914"/>
                  <a:pt x="6289914" y="3306484"/>
                </a:cubicBezTo>
                <a:cubicBezTo>
                  <a:pt x="6292772" y="3306306"/>
                  <a:pt x="6295453" y="3304697"/>
                  <a:pt x="6298312" y="3304697"/>
                </a:cubicBezTo>
                <a:cubicBezTo>
                  <a:pt x="6307603" y="3304518"/>
                  <a:pt x="6319574" y="3312916"/>
                  <a:pt x="6317250" y="3317741"/>
                </a:cubicBezTo>
                <a:cubicBezTo>
                  <a:pt x="6313320" y="3325781"/>
                  <a:pt x="6305995" y="3324173"/>
                  <a:pt x="6299563" y="3324708"/>
                </a:cubicBezTo>
                <a:cubicBezTo>
                  <a:pt x="6276872" y="3326673"/>
                  <a:pt x="6254358" y="3328281"/>
                  <a:pt x="6231846" y="3329891"/>
                </a:cubicBezTo>
                <a:lnTo>
                  <a:pt x="6231796" y="3329890"/>
                </a:lnTo>
                <a:lnTo>
                  <a:pt x="6232024" y="3329710"/>
                </a:lnTo>
                <a:lnTo>
                  <a:pt x="6231086" y="3329877"/>
                </a:lnTo>
                <a:lnTo>
                  <a:pt x="6212192" y="3329532"/>
                </a:lnTo>
                <a:cubicBezTo>
                  <a:pt x="6200937" y="3328103"/>
                  <a:pt x="6190038" y="3329532"/>
                  <a:pt x="6177172" y="3333106"/>
                </a:cubicBezTo>
                <a:cubicBezTo>
                  <a:pt x="6181282" y="3333642"/>
                  <a:pt x="6185214" y="3334713"/>
                  <a:pt x="6189144" y="3336501"/>
                </a:cubicBezTo>
                <a:cubicBezTo>
                  <a:pt x="6189680" y="3336679"/>
                  <a:pt x="6190217" y="3336857"/>
                  <a:pt x="6190752" y="3337037"/>
                </a:cubicBezTo>
                <a:lnTo>
                  <a:pt x="6231086" y="3329877"/>
                </a:lnTo>
                <a:lnTo>
                  <a:pt x="6231796" y="3329890"/>
                </a:lnTo>
                <a:lnTo>
                  <a:pt x="6220232" y="3339001"/>
                </a:lnTo>
                <a:cubicBezTo>
                  <a:pt x="6226307" y="3340431"/>
                  <a:pt x="6232383" y="3342755"/>
                  <a:pt x="6238457" y="3344899"/>
                </a:cubicBezTo>
                <a:cubicBezTo>
                  <a:pt x="6240064" y="3345433"/>
                  <a:pt x="6241674" y="3345613"/>
                  <a:pt x="6242923" y="3345970"/>
                </a:cubicBezTo>
                <a:lnTo>
                  <a:pt x="6242923" y="3345613"/>
                </a:lnTo>
                <a:cubicBezTo>
                  <a:pt x="6243103" y="3345613"/>
                  <a:pt x="6243460" y="3345613"/>
                  <a:pt x="6243460" y="3345613"/>
                </a:cubicBezTo>
                <a:cubicBezTo>
                  <a:pt x="6243282" y="3345792"/>
                  <a:pt x="6243103" y="3345970"/>
                  <a:pt x="6243103" y="3345970"/>
                </a:cubicBezTo>
                <a:cubicBezTo>
                  <a:pt x="6245962" y="3349365"/>
                  <a:pt x="6249714" y="3350080"/>
                  <a:pt x="6254002" y="3349722"/>
                </a:cubicBezTo>
                <a:cubicBezTo>
                  <a:pt x="6257397" y="3352760"/>
                  <a:pt x="6261148" y="3355619"/>
                  <a:pt x="6264364" y="3358834"/>
                </a:cubicBezTo>
                <a:cubicBezTo>
                  <a:pt x="6269546" y="3364195"/>
                  <a:pt x="6270796" y="3370269"/>
                  <a:pt x="6266508" y="3376879"/>
                </a:cubicBezTo>
                <a:cubicBezTo>
                  <a:pt x="6263470" y="3377238"/>
                  <a:pt x="6260612" y="3377594"/>
                  <a:pt x="6257575" y="3378131"/>
                </a:cubicBezTo>
                <a:cubicBezTo>
                  <a:pt x="6259004" y="3374379"/>
                  <a:pt x="6260434" y="3370627"/>
                  <a:pt x="6261863" y="3366874"/>
                </a:cubicBezTo>
                <a:cubicBezTo>
                  <a:pt x="6257038" y="3360085"/>
                  <a:pt x="6251321" y="3355261"/>
                  <a:pt x="6242745" y="3354546"/>
                </a:cubicBezTo>
                <a:cubicBezTo>
                  <a:pt x="6239708" y="3354368"/>
                  <a:pt x="6236850" y="3352046"/>
                  <a:pt x="6233990" y="3350794"/>
                </a:cubicBezTo>
                <a:cubicBezTo>
                  <a:pt x="6229702" y="3349007"/>
                  <a:pt x="6225236" y="3345792"/>
                  <a:pt x="6220770" y="3345792"/>
                </a:cubicBezTo>
                <a:cubicBezTo>
                  <a:pt x="6212550" y="3345433"/>
                  <a:pt x="6204152" y="3344362"/>
                  <a:pt x="6195934" y="3343648"/>
                </a:cubicBezTo>
                <a:cubicBezTo>
                  <a:pt x="6184498" y="3344541"/>
                  <a:pt x="6172706" y="3345613"/>
                  <a:pt x="6163237" y="3354724"/>
                </a:cubicBezTo>
                <a:cubicBezTo>
                  <a:pt x="6158949" y="3350616"/>
                  <a:pt x="6154124" y="3349007"/>
                  <a:pt x="6149122" y="3349007"/>
                </a:cubicBezTo>
                <a:cubicBezTo>
                  <a:pt x="6148050" y="3350258"/>
                  <a:pt x="6146978" y="3351509"/>
                  <a:pt x="6146084" y="3352939"/>
                </a:cubicBezTo>
                <a:cubicBezTo>
                  <a:pt x="6144477" y="3355439"/>
                  <a:pt x="6144477" y="3358656"/>
                  <a:pt x="6143760" y="3361336"/>
                </a:cubicBezTo>
                <a:cubicBezTo>
                  <a:pt x="6148764" y="3362766"/>
                  <a:pt x="6152338" y="3364015"/>
                  <a:pt x="6158412" y="3365803"/>
                </a:cubicBezTo>
                <a:cubicBezTo>
                  <a:pt x="6154661" y="3367589"/>
                  <a:pt x="6151266" y="3368840"/>
                  <a:pt x="6147870" y="3369913"/>
                </a:cubicBezTo>
                <a:cubicBezTo>
                  <a:pt x="6149480" y="3370984"/>
                  <a:pt x="6151266" y="3372057"/>
                  <a:pt x="6152517" y="3373486"/>
                </a:cubicBezTo>
                <a:cubicBezTo>
                  <a:pt x="6157162" y="3378667"/>
                  <a:pt x="6161450" y="3384206"/>
                  <a:pt x="6165560" y="3389387"/>
                </a:cubicBezTo>
                <a:cubicBezTo>
                  <a:pt x="6163774" y="3396891"/>
                  <a:pt x="6156626" y="3389387"/>
                  <a:pt x="6153588" y="3394746"/>
                </a:cubicBezTo>
                <a:cubicBezTo>
                  <a:pt x="6155198" y="3396176"/>
                  <a:pt x="6156983" y="3397785"/>
                  <a:pt x="6158771" y="3399215"/>
                </a:cubicBezTo>
                <a:cubicBezTo>
                  <a:pt x="6169311" y="3396712"/>
                  <a:pt x="6179853" y="3394032"/>
                  <a:pt x="6190573" y="3392068"/>
                </a:cubicBezTo>
                <a:cubicBezTo>
                  <a:pt x="6199864" y="3390458"/>
                  <a:pt x="6209513" y="3390280"/>
                  <a:pt x="6219160" y="3389387"/>
                </a:cubicBezTo>
                <a:cubicBezTo>
                  <a:pt x="6218982" y="3391710"/>
                  <a:pt x="6218804" y="3394212"/>
                  <a:pt x="6218624" y="3397427"/>
                </a:cubicBezTo>
                <a:cubicBezTo>
                  <a:pt x="6201115" y="3403503"/>
                  <a:pt x="6182712" y="3403323"/>
                  <a:pt x="6164488" y="3404037"/>
                </a:cubicBezTo>
                <a:cubicBezTo>
                  <a:pt x="6166452" y="3405825"/>
                  <a:pt x="6168418" y="3407611"/>
                  <a:pt x="6170384" y="3409398"/>
                </a:cubicBezTo>
                <a:cubicBezTo>
                  <a:pt x="6170920" y="3409935"/>
                  <a:pt x="6171455" y="3410469"/>
                  <a:pt x="6171635" y="3411184"/>
                </a:cubicBezTo>
                <a:cubicBezTo>
                  <a:pt x="6173242" y="3411006"/>
                  <a:pt x="6174850" y="3410650"/>
                  <a:pt x="6176638" y="3410469"/>
                </a:cubicBezTo>
                <a:cubicBezTo>
                  <a:pt x="6177172" y="3411721"/>
                  <a:pt x="6178067" y="3413150"/>
                  <a:pt x="6178960" y="3414938"/>
                </a:cubicBezTo>
                <a:cubicBezTo>
                  <a:pt x="6181282" y="3414579"/>
                  <a:pt x="6183426" y="3414401"/>
                  <a:pt x="6185570" y="3414043"/>
                </a:cubicBezTo>
                <a:cubicBezTo>
                  <a:pt x="6185214" y="3417975"/>
                  <a:pt x="6185570" y="3421011"/>
                  <a:pt x="6190038" y="3421370"/>
                </a:cubicBezTo>
                <a:cubicBezTo>
                  <a:pt x="6190573" y="3421370"/>
                  <a:pt x="6191288" y="3421370"/>
                  <a:pt x="6191824" y="3421370"/>
                </a:cubicBezTo>
                <a:cubicBezTo>
                  <a:pt x="6196290" y="3419046"/>
                  <a:pt x="6200757" y="3416902"/>
                  <a:pt x="6205045" y="3416902"/>
                </a:cubicBezTo>
                <a:cubicBezTo>
                  <a:pt x="6211477" y="3416723"/>
                  <a:pt x="6217553" y="3417796"/>
                  <a:pt x="6224342" y="3416187"/>
                </a:cubicBezTo>
                <a:cubicBezTo>
                  <a:pt x="6254894" y="3409040"/>
                  <a:pt x="6285626" y="3404037"/>
                  <a:pt x="6316716" y="3400108"/>
                </a:cubicBezTo>
                <a:cubicBezTo>
                  <a:pt x="6351020" y="3395641"/>
                  <a:pt x="6384610" y="3398142"/>
                  <a:pt x="6418378" y="3401537"/>
                </a:cubicBezTo>
                <a:cubicBezTo>
                  <a:pt x="6419986" y="3408505"/>
                  <a:pt x="6415162" y="3407791"/>
                  <a:pt x="6411946" y="3408505"/>
                </a:cubicBezTo>
                <a:cubicBezTo>
                  <a:pt x="6400868" y="3410828"/>
                  <a:pt x="6389433" y="3411721"/>
                  <a:pt x="6378712" y="3415294"/>
                </a:cubicBezTo>
                <a:cubicBezTo>
                  <a:pt x="6370851" y="3417975"/>
                  <a:pt x="6366563" y="3411899"/>
                  <a:pt x="6360311" y="3411364"/>
                </a:cubicBezTo>
                <a:cubicBezTo>
                  <a:pt x="6355664" y="3411006"/>
                  <a:pt x="6352270" y="3421548"/>
                  <a:pt x="6345659" y="3414223"/>
                </a:cubicBezTo>
                <a:cubicBezTo>
                  <a:pt x="6343874" y="3412079"/>
                  <a:pt x="6338512" y="3411721"/>
                  <a:pt x="6335476" y="3412972"/>
                </a:cubicBezTo>
                <a:cubicBezTo>
                  <a:pt x="6328685" y="3415652"/>
                  <a:pt x="6322968" y="3415472"/>
                  <a:pt x="6316536" y="3412257"/>
                </a:cubicBezTo>
                <a:cubicBezTo>
                  <a:pt x="6307603" y="3407791"/>
                  <a:pt x="6297060" y="3406896"/>
                  <a:pt x="6289736" y="3414758"/>
                </a:cubicBezTo>
                <a:cubicBezTo>
                  <a:pt x="6279908" y="3425121"/>
                  <a:pt x="6268474" y="3422799"/>
                  <a:pt x="6257575" y="3424585"/>
                </a:cubicBezTo>
                <a:cubicBezTo>
                  <a:pt x="6246140" y="3426551"/>
                  <a:pt x="6234347" y="3426907"/>
                  <a:pt x="6223092" y="3428695"/>
                </a:cubicBezTo>
                <a:cubicBezTo>
                  <a:pt x="6228810" y="3429231"/>
                  <a:pt x="6234347" y="3430302"/>
                  <a:pt x="6239708" y="3432805"/>
                </a:cubicBezTo>
                <a:cubicBezTo>
                  <a:pt x="6243818" y="3434590"/>
                  <a:pt x="6249177" y="3435305"/>
                  <a:pt x="6253644" y="3434590"/>
                </a:cubicBezTo>
                <a:cubicBezTo>
                  <a:pt x="6266508" y="3432983"/>
                  <a:pt x="6277586" y="3437449"/>
                  <a:pt x="6289021" y="3441559"/>
                </a:cubicBezTo>
                <a:cubicBezTo>
                  <a:pt x="6290628" y="3442096"/>
                  <a:pt x="6292238" y="3442274"/>
                  <a:pt x="6293488" y="3442630"/>
                </a:cubicBezTo>
                <a:lnTo>
                  <a:pt x="6293488" y="3442274"/>
                </a:lnTo>
                <a:cubicBezTo>
                  <a:pt x="6293666" y="3442274"/>
                  <a:pt x="6294024" y="3442274"/>
                  <a:pt x="6294024" y="3442274"/>
                </a:cubicBezTo>
                <a:cubicBezTo>
                  <a:pt x="6293846" y="3442452"/>
                  <a:pt x="6293666" y="3442630"/>
                  <a:pt x="6293666" y="3442630"/>
                </a:cubicBezTo>
                <a:cubicBezTo>
                  <a:pt x="6296524" y="3446025"/>
                  <a:pt x="6300278" y="3446740"/>
                  <a:pt x="6304564" y="3446384"/>
                </a:cubicBezTo>
                <a:cubicBezTo>
                  <a:pt x="6307959" y="3449421"/>
                  <a:pt x="6311712" y="3452279"/>
                  <a:pt x="6314928" y="3455494"/>
                </a:cubicBezTo>
                <a:cubicBezTo>
                  <a:pt x="6320109" y="3460855"/>
                  <a:pt x="6321360" y="3466929"/>
                  <a:pt x="6317072" y="3473542"/>
                </a:cubicBezTo>
                <a:cubicBezTo>
                  <a:pt x="6314035" y="3473898"/>
                  <a:pt x="6311176" y="3474256"/>
                  <a:pt x="6308139" y="3474791"/>
                </a:cubicBezTo>
                <a:cubicBezTo>
                  <a:pt x="6309566" y="3471039"/>
                  <a:pt x="6310998" y="3467288"/>
                  <a:pt x="6312428" y="3463536"/>
                </a:cubicBezTo>
                <a:cubicBezTo>
                  <a:pt x="6307603" y="3456746"/>
                  <a:pt x="6301886" y="3451921"/>
                  <a:pt x="6293309" y="3451206"/>
                </a:cubicBezTo>
                <a:cubicBezTo>
                  <a:pt x="6290450" y="3451028"/>
                  <a:pt x="6287592" y="3448706"/>
                  <a:pt x="6284733" y="3447455"/>
                </a:cubicBezTo>
                <a:cubicBezTo>
                  <a:pt x="6280445" y="3445669"/>
                  <a:pt x="6275978" y="3442452"/>
                  <a:pt x="6271510" y="3442452"/>
                </a:cubicBezTo>
                <a:cubicBezTo>
                  <a:pt x="6256860" y="3442096"/>
                  <a:pt x="6242388" y="3438700"/>
                  <a:pt x="6227736" y="3440666"/>
                </a:cubicBezTo>
                <a:cubicBezTo>
                  <a:pt x="6222019" y="3441559"/>
                  <a:pt x="6216302" y="3442988"/>
                  <a:pt x="6211120" y="3439057"/>
                </a:cubicBezTo>
                <a:cubicBezTo>
                  <a:pt x="6212550" y="3438164"/>
                  <a:pt x="6214158" y="3437449"/>
                  <a:pt x="6215587" y="3436556"/>
                </a:cubicBezTo>
                <a:cubicBezTo>
                  <a:pt x="6215409" y="3435842"/>
                  <a:pt x="6215050" y="3435127"/>
                  <a:pt x="6215050" y="3434412"/>
                </a:cubicBezTo>
                <a:cubicBezTo>
                  <a:pt x="6210942" y="3434412"/>
                  <a:pt x="6206654" y="3434412"/>
                  <a:pt x="6202544" y="3434412"/>
                </a:cubicBezTo>
                <a:cubicBezTo>
                  <a:pt x="6190217" y="3438342"/>
                  <a:pt x="6178067" y="3441915"/>
                  <a:pt x="6165738" y="3444059"/>
                </a:cubicBezTo>
                <a:cubicBezTo>
                  <a:pt x="6164666" y="3445489"/>
                  <a:pt x="6163774" y="3447098"/>
                  <a:pt x="6162879" y="3448706"/>
                </a:cubicBezTo>
                <a:cubicBezTo>
                  <a:pt x="6161808" y="3450850"/>
                  <a:pt x="6161271" y="3453172"/>
                  <a:pt x="6160378" y="3455853"/>
                </a:cubicBezTo>
                <a:cubicBezTo>
                  <a:pt x="6152158" y="3453530"/>
                  <a:pt x="6146084" y="3451743"/>
                  <a:pt x="6139116" y="3449777"/>
                </a:cubicBezTo>
                <a:cubicBezTo>
                  <a:pt x="6137865" y="3450850"/>
                  <a:pt x="6135542" y="3451921"/>
                  <a:pt x="6134650" y="3453709"/>
                </a:cubicBezTo>
                <a:cubicBezTo>
                  <a:pt x="6132506" y="3457638"/>
                  <a:pt x="6129469" y="3459782"/>
                  <a:pt x="6125000" y="3460141"/>
                </a:cubicBezTo>
                <a:cubicBezTo>
                  <a:pt x="6120892" y="3460319"/>
                  <a:pt x="6116782" y="3461570"/>
                  <a:pt x="6112673" y="3461212"/>
                </a:cubicBezTo>
                <a:cubicBezTo>
                  <a:pt x="6104633" y="3460497"/>
                  <a:pt x="6097128" y="3461748"/>
                  <a:pt x="6089981" y="3464965"/>
                </a:cubicBezTo>
                <a:cubicBezTo>
                  <a:pt x="6108563" y="3464607"/>
                  <a:pt x="6126966" y="3462107"/>
                  <a:pt x="6145370" y="3459068"/>
                </a:cubicBezTo>
                <a:cubicBezTo>
                  <a:pt x="6154304" y="3457638"/>
                  <a:pt x="6163774" y="3455494"/>
                  <a:pt x="6172350" y="3458711"/>
                </a:cubicBezTo>
                <a:cubicBezTo>
                  <a:pt x="6172350" y="3461212"/>
                  <a:pt x="6172706" y="3462821"/>
                  <a:pt x="6172350" y="3462999"/>
                </a:cubicBezTo>
                <a:cubicBezTo>
                  <a:pt x="6150910" y="3476220"/>
                  <a:pt x="6130004" y="3489265"/>
                  <a:pt x="6103740" y="3489084"/>
                </a:cubicBezTo>
                <a:cubicBezTo>
                  <a:pt x="6083192" y="3488906"/>
                  <a:pt x="6062288" y="3493731"/>
                  <a:pt x="6041741" y="3499805"/>
                </a:cubicBezTo>
                <a:cubicBezTo>
                  <a:pt x="6055142" y="3499090"/>
                  <a:pt x="6068541" y="3498197"/>
                  <a:pt x="6083729" y="3497304"/>
                </a:cubicBezTo>
                <a:cubicBezTo>
                  <a:pt x="6077117" y="3508024"/>
                  <a:pt x="6064611" y="3502663"/>
                  <a:pt x="6060501" y="3510168"/>
                </a:cubicBezTo>
                <a:cubicBezTo>
                  <a:pt x="6056572" y="3517137"/>
                  <a:pt x="6051746" y="3520889"/>
                  <a:pt x="6046208" y="3523211"/>
                </a:cubicBezTo>
                <a:cubicBezTo>
                  <a:pt x="6068184" y="3523389"/>
                  <a:pt x="6089981" y="3523389"/>
                  <a:pt x="6111958" y="3523389"/>
                </a:cubicBezTo>
                <a:cubicBezTo>
                  <a:pt x="6118390" y="3523389"/>
                  <a:pt x="6124644" y="3522496"/>
                  <a:pt x="6131076" y="3522140"/>
                </a:cubicBezTo>
                <a:cubicBezTo>
                  <a:pt x="6133042" y="3526248"/>
                  <a:pt x="6130184" y="3528214"/>
                  <a:pt x="6127144" y="3528928"/>
                </a:cubicBezTo>
                <a:cubicBezTo>
                  <a:pt x="6126966" y="3528928"/>
                  <a:pt x="6126966" y="3528928"/>
                  <a:pt x="6126966" y="3528928"/>
                </a:cubicBezTo>
                <a:cubicBezTo>
                  <a:pt x="6129647" y="3529465"/>
                  <a:pt x="6132328" y="3530358"/>
                  <a:pt x="6135186" y="3531251"/>
                </a:cubicBezTo>
                <a:cubicBezTo>
                  <a:pt x="6138580" y="3532324"/>
                  <a:pt x="6141796" y="3534109"/>
                  <a:pt x="6146978" y="3536612"/>
                </a:cubicBezTo>
                <a:cubicBezTo>
                  <a:pt x="6149122" y="3532860"/>
                  <a:pt x="6150729" y="3526963"/>
                  <a:pt x="6152873" y="3526606"/>
                </a:cubicBezTo>
                <a:cubicBezTo>
                  <a:pt x="6158056" y="3525891"/>
                  <a:pt x="6163059" y="3524819"/>
                  <a:pt x="6168062" y="3523569"/>
                </a:cubicBezTo>
                <a:cubicBezTo>
                  <a:pt x="6166452" y="3523747"/>
                  <a:pt x="6165023" y="3523926"/>
                  <a:pt x="6163594" y="3523926"/>
                </a:cubicBezTo>
                <a:cubicBezTo>
                  <a:pt x="6158412" y="3524284"/>
                  <a:pt x="6153232" y="3523926"/>
                  <a:pt x="6148050" y="3521960"/>
                </a:cubicBezTo>
                <a:cubicBezTo>
                  <a:pt x="6162522" y="3520174"/>
                  <a:pt x="6177172" y="3518386"/>
                  <a:pt x="6191824" y="3516601"/>
                </a:cubicBezTo>
                <a:cubicBezTo>
                  <a:pt x="6205225" y="3512491"/>
                  <a:pt x="6218804" y="3508739"/>
                  <a:pt x="6233096" y="3508381"/>
                </a:cubicBezTo>
                <a:cubicBezTo>
                  <a:pt x="6250784" y="3508024"/>
                  <a:pt x="6268830" y="3508024"/>
                  <a:pt x="6286340" y="3502307"/>
                </a:cubicBezTo>
                <a:cubicBezTo>
                  <a:pt x="6288663" y="3501592"/>
                  <a:pt x="6292594" y="3502129"/>
                  <a:pt x="6294202" y="3503915"/>
                </a:cubicBezTo>
                <a:cubicBezTo>
                  <a:pt x="6295990" y="3506059"/>
                  <a:pt x="6296168" y="3509990"/>
                  <a:pt x="6297776" y="3516242"/>
                </a:cubicBezTo>
                <a:cubicBezTo>
                  <a:pt x="6304922" y="3518566"/>
                  <a:pt x="6316179" y="3513384"/>
                  <a:pt x="6329400" y="3516779"/>
                </a:cubicBezTo>
                <a:cubicBezTo>
                  <a:pt x="6322790" y="3524104"/>
                  <a:pt x="6316357" y="3523033"/>
                  <a:pt x="6310640" y="3524104"/>
                </a:cubicBezTo>
                <a:cubicBezTo>
                  <a:pt x="6304030" y="3525177"/>
                  <a:pt x="6297419" y="3525891"/>
                  <a:pt x="6290807" y="3527143"/>
                </a:cubicBezTo>
                <a:cubicBezTo>
                  <a:pt x="6284196" y="3528392"/>
                  <a:pt x="6277764" y="3530536"/>
                  <a:pt x="6271332" y="3531965"/>
                </a:cubicBezTo>
                <a:cubicBezTo>
                  <a:pt x="6264900" y="3533395"/>
                  <a:pt x="6258290" y="3534109"/>
                  <a:pt x="6251680" y="3535361"/>
                </a:cubicBezTo>
                <a:cubicBezTo>
                  <a:pt x="6245067" y="3536612"/>
                  <a:pt x="6238637" y="3538934"/>
                  <a:pt x="6232024" y="3539827"/>
                </a:cubicBezTo>
                <a:cubicBezTo>
                  <a:pt x="6225951" y="3540722"/>
                  <a:pt x="6219875" y="3539827"/>
                  <a:pt x="6210762" y="3539827"/>
                </a:cubicBezTo>
                <a:cubicBezTo>
                  <a:pt x="6219518" y="3551262"/>
                  <a:pt x="6229166" y="3542507"/>
                  <a:pt x="6236850" y="3547332"/>
                </a:cubicBezTo>
                <a:cubicBezTo>
                  <a:pt x="6235776" y="3548047"/>
                  <a:pt x="6234884" y="3548939"/>
                  <a:pt x="6233990" y="3549832"/>
                </a:cubicBezTo>
                <a:cubicBezTo>
                  <a:pt x="6236850" y="3549476"/>
                  <a:pt x="6239708" y="3549298"/>
                  <a:pt x="6242566" y="3548939"/>
                </a:cubicBezTo>
                <a:cubicBezTo>
                  <a:pt x="6234527" y="3552871"/>
                  <a:pt x="6225772" y="3553764"/>
                  <a:pt x="6216838" y="3553764"/>
                </a:cubicBezTo>
                <a:cubicBezTo>
                  <a:pt x="6199328" y="3557516"/>
                  <a:pt x="6182175" y="3565021"/>
                  <a:pt x="6163952" y="3562340"/>
                </a:cubicBezTo>
                <a:cubicBezTo>
                  <a:pt x="6158590" y="3561447"/>
                  <a:pt x="6152338" y="3563233"/>
                  <a:pt x="6147336" y="3565914"/>
                </a:cubicBezTo>
                <a:cubicBezTo>
                  <a:pt x="6139831" y="3570024"/>
                  <a:pt x="6132148" y="3567165"/>
                  <a:pt x="6125000" y="3567879"/>
                </a:cubicBezTo>
                <a:cubicBezTo>
                  <a:pt x="6124108" y="3569487"/>
                  <a:pt x="6123036" y="3570916"/>
                  <a:pt x="6121608" y="3572346"/>
                </a:cubicBezTo>
                <a:cubicBezTo>
                  <a:pt x="6122322" y="3572882"/>
                  <a:pt x="6123036" y="3573239"/>
                  <a:pt x="6123572" y="3573775"/>
                </a:cubicBezTo>
                <a:cubicBezTo>
                  <a:pt x="6133577" y="3571809"/>
                  <a:pt x="6143940" y="3569843"/>
                  <a:pt x="6155732" y="3567521"/>
                </a:cubicBezTo>
                <a:cubicBezTo>
                  <a:pt x="6149122" y="3574312"/>
                  <a:pt x="6143048" y="3574846"/>
                  <a:pt x="6137865" y="3575919"/>
                </a:cubicBezTo>
                <a:cubicBezTo>
                  <a:pt x="6134828" y="3576456"/>
                  <a:pt x="6131791" y="3577170"/>
                  <a:pt x="6128754" y="3577705"/>
                </a:cubicBezTo>
                <a:cubicBezTo>
                  <a:pt x="6129647" y="3578420"/>
                  <a:pt x="6130718" y="3579134"/>
                  <a:pt x="6131791" y="3579671"/>
                </a:cubicBezTo>
                <a:cubicBezTo>
                  <a:pt x="6135006" y="3581458"/>
                  <a:pt x="6138760" y="3582708"/>
                  <a:pt x="6142512" y="3584137"/>
                </a:cubicBezTo>
                <a:cubicBezTo>
                  <a:pt x="6146263" y="3583244"/>
                  <a:pt x="6150194" y="3582708"/>
                  <a:pt x="6154124" y="3581993"/>
                </a:cubicBezTo>
                <a:cubicBezTo>
                  <a:pt x="6187000" y="3576276"/>
                  <a:pt x="6220054" y="3570738"/>
                  <a:pt x="6252928" y="3565555"/>
                </a:cubicBezTo>
                <a:cubicBezTo>
                  <a:pt x="6260434" y="3564306"/>
                  <a:pt x="6268117" y="3564126"/>
                  <a:pt x="6275620" y="3564484"/>
                </a:cubicBezTo>
                <a:cubicBezTo>
                  <a:pt x="6278838" y="3564662"/>
                  <a:pt x="6282052" y="3567165"/>
                  <a:pt x="6285270" y="3568772"/>
                </a:cubicBezTo>
                <a:cubicBezTo>
                  <a:pt x="6282052" y="3569665"/>
                  <a:pt x="6279016" y="3570558"/>
                  <a:pt x="6275798" y="3571453"/>
                </a:cubicBezTo>
                <a:cubicBezTo>
                  <a:pt x="6293488" y="3568951"/>
                  <a:pt x="6311176" y="3566450"/>
                  <a:pt x="6328865" y="3564306"/>
                </a:cubicBezTo>
                <a:cubicBezTo>
                  <a:pt x="6342800" y="3562697"/>
                  <a:pt x="6356738" y="3561804"/>
                  <a:pt x="6370673" y="3560553"/>
                </a:cubicBezTo>
                <a:cubicBezTo>
                  <a:pt x="6371924" y="3565914"/>
                  <a:pt x="6368529" y="3566628"/>
                  <a:pt x="6366206" y="3566985"/>
                </a:cubicBezTo>
                <a:cubicBezTo>
                  <a:pt x="6344230" y="3570738"/>
                  <a:pt x="6322253" y="3574846"/>
                  <a:pt x="6300278" y="3577705"/>
                </a:cubicBezTo>
                <a:cubicBezTo>
                  <a:pt x="6282410" y="3580029"/>
                  <a:pt x="6264007" y="3580029"/>
                  <a:pt x="6246140" y="3582530"/>
                </a:cubicBezTo>
                <a:cubicBezTo>
                  <a:pt x="6228810" y="3584852"/>
                  <a:pt x="6211657" y="3588783"/>
                  <a:pt x="6194505" y="3592357"/>
                </a:cubicBezTo>
                <a:cubicBezTo>
                  <a:pt x="6181640" y="3594857"/>
                  <a:pt x="6168954" y="3595752"/>
                  <a:pt x="6155732" y="3593786"/>
                </a:cubicBezTo>
                <a:cubicBezTo>
                  <a:pt x="6152873" y="3594679"/>
                  <a:pt x="6150194" y="3595752"/>
                  <a:pt x="6147514" y="3596823"/>
                </a:cubicBezTo>
                <a:cubicBezTo>
                  <a:pt x="6140904" y="3599682"/>
                  <a:pt x="6133398" y="3599860"/>
                  <a:pt x="6126788" y="3604685"/>
                </a:cubicBezTo>
                <a:cubicBezTo>
                  <a:pt x="6146084" y="3602899"/>
                  <a:pt x="6165203" y="3600933"/>
                  <a:pt x="6184498" y="3599145"/>
                </a:cubicBezTo>
                <a:cubicBezTo>
                  <a:pt x="6189858" y="3595394"/>
                  <a:pt x="6195754" y="3593964"/>
                  <a:pt x="6202186" y="3593786"/>
                </a:cubicBezTo>
                <a:cubicBezTo>
                  <a:pt x="6210942" y="3593428"/>
                  <a:pt x="6219697" y="3593250"/>
                  <a:pt x="6228452" y="3592535"/>
                </a:cubicBezTo>
                <a:cubicBezTo>
                  <a:pt x="6242923" y="3591284"/>
                  <a:pt x="6257397" y="3589676"/>
                  <a:pt x="6271510" y="3585388"/>
                </a:cubicBezTo>
                <a:cubicBezTo>
                  <a:pt x="6277764" y="3583244"/>
                  <a:pt x="6284374" y="3581278"/>
                  <a:pt x="6293131" y="3583244"/>
                </a:cubicBezTo>
                <a:cubicBezTo>
                  <a:pt x="6290092" y="3585388"/>
                  <a:pt x="6289021" y="3586639"/>
                  <a:pt x="6287592" y="3586996"/>
                </a:cubicBezTo>
                <a:cubicBezTo>
                  <a:pt x="6274012" y="3590035"/>
                  <a:pt x="6260970" y="3594857"/>
                  <a:pt x="6246855" y="3595930"/>
                </a:cubicBezTo>
                <a:cubicBezTo>
                  <a:pt x="6231310" y="3597181"/>
                  <a:pt x="6215946" y="3601826"/>
                  <a:pt x="6200578" y="3604863"/>
                </a:cubicBezTo>
                <a:cubicBezTo>
                  <a:pt x="6193076" y="3606292"/>
                  <a:pt x="6185570" y="3607543"/>
                  <a:pt x="6175923" y="3609151"/>
                </a:cubicBezTo>
                <a:cubicBezTo>
                  <a:pt x="6176638" y="3607722"/>
                  <a:pt x="6177530" y="3606472"/>
                  <a:pt x="6178424" y="3605221"/>
                </a:cubicBezTo>
                <a:cubicBezTo>
                  <a:pt x="6164308" y="3608080"/>
                  <a:pt x="6150194" y="3611295"/>
                  <a:pt x="6136079" y="3614512"/>
                </a:cubicBezTo>
                <a:cubicBezTo>
                  <a:pt x="6136438" y="3614690"/>
                  <a:pt x="6136972" y="3614690"/>
                  <a:pt x="6137330" y="3614690"/>
                </a:cubicBezTo>
                <a:cubicBezTo>
                  <a:pt x="6148585" y="3616478"/>
                  <a:pt x="6159842" y="3617907"/>
                  <a:pt x="6171098" y="3619337"/>
                </a:cubicBezTo>
                <a:cubicBezTo>
                  <a:pt x="6174494" y="3619156"/>
                  <a:pt x="6177709" y="3618800"/>
                  <a:pt x="6181104" y="3618622"/>
                </a:cubicBezTo>
                <a:cubicBezTo>
                  <a:pt x="6181819" y="3620229"/>
                  <a:pt x="6181819" y="3621301"/>
                  <a:pt x="6181460" y="3622373"/>
                </a:cubicBezTo>
                <a:cubicBezTo>
                  <a:pt x="6181640" y="3622552"/>
                  <a:pt x="6181640" y="3622910"/>
                  <a:pt x="6181640" y="3622910"/>
                </a:cubicBezTo>
                <a:cubicBezTo>
                  <a:pt x="6182356" y="3624518"/>
                  <a:pt x="6183248" y="3626303"/>
                  <a:pt x="6183963" y="3627913"/>
                </a:cubicBezTo>
                <a:cubicBezTo>
                  <a:pt x="6180568" y="3630057"/>
                  <a:pt x="6177352" y="3632021"/>
                  <a:pt x="6173779" y="3634345"/>
                </a:cubicBezTo>
                <a:cubicBezTo>
                  <a:pt x="6174136" y="3634345"/>
                  <a:pt x="6174314" y="3634345"/>
                  <a:pt x="6174494" y="3634345"/>
                </a:cubicBezTo>
                <a:cubicBezTo>
                  <a:pt x="6184856" y="3632735"/>
                  <a:pt x="6195040" y="3630950"/>
                  <a:pt x="6205582" y="3629162"/>
                </a:cubicBezTo>
                <a:cubicBezTo>
                  <a:pt x="6205045" y="3628627"/>
                  <a:pt x="6204330" y="3627733"/>
                  <a:pt x="6203438" y="3627018"/>
                </a:cubicBezTo>
                <a:cubicBezTo>
                  <a:pt x="6218982" y="3620586"/>
                  <a:pt x="6233990" y="3616478"/>
                  <a:pt x="6252394" y="3615227"/>
                </a:cubicBezTo>
                <a:cubicBezTo>
                  <a:pt x="6250070" y="3618085"/>
                  <a:pt x="6249536" y="3619515"/>
                  <a:pt x="6248820" y="3619515"/>
                </a:cubicBezTo>
                <a:cubicBezTo>
                  <a:pt x="6246140" y="3620229"/>
                  <a:pt x="6243282" y="3620944"/>
                  <a:pt x="6240601" y="3621659"/>
                </a:cubicBezTo>
                <a:cubicBezTo>
                  <a:pt x="6239172" y="3623803"/>
                  <a:pt x="6237206" y="3624696"/>
                  <a:pt x="6233812" y="3623803"/>
                </a:cubicBezTo>
                <a:cubicBezTo>
                  <a:pt x="6230239" y="3625054"/>
                  <a:pt x="6226666" y="3626303"/>
                  <a:pt x="6223092" y="3627913"/>
                </a:cubicBezTo>
                <a:cubicBezTo>
                  <a:pt x="6222378" y="3628091"/>
                  <a:pt x="6221841" y="3628447"/>
                  <a:pt x="6221126" y="3628627"/>
                </a:cubicBezTo>
                <a:cubicBezTo>
                  <a:pt x="6215765" y="3636845"/>
                  <a:pt x="6207548" y="3639348"/>
                  <a:pt x="6199328" y="3640777"/>
                </a:cubicBezTo>
                <a:cubicBezTo>
                  <a:pt x="6189502" y="3642563"/>
                  <a:pt x="6180390" y="3645422"/>
                  <a:pt x="6169311" y="3650424"/>
                </a:cubicBezTo>
                <a:cubicBezTo>
                  <a:pt x="6178602" y="3655605"/>
                  <a:pt x="6187000" y="3643814"/>
                  <a:pt x="6193432" y="3653105"/>
                </a:cubicBezTo>
                <a:cubicBezTo>
                  <a:pt x="6193432" y="3656142"/>
                  <a:pt x="6190752" y="3655964"/>
                  <a:pt x="6188608" y="3656500"/>
                </a:cubicBezTo>
                <a:cubicBezTo>
                  <a:pt x="6184678" y="3657393"/>
                  <a:pt x="6180746" y="3658286"/>
                  <a:pt x="6176816" y="3659179"/>
                </a:cubicBezTo>
                <a:cubicBezTo>
                  <a:pt x="6177172" y="3663110"/>
                  <a:pt x="6175386" y="3666506"/>
                  <a:pt x="6172350" y="3669542"/>
                </a:cubicBezTo>
                <a:cubicBezTo>
                  <a:pt x="6175743" y="3672043"/>
                  <a:pt x="6178960" y="3674902"/>
                  <a:pt x="6182534" y="3676868"/>
                </a:cubicBezTo>
                <a:cubicBezTo>
                  <a:pt x="6186107" y="3678833"/>
                  <a:pt x="6190217" y="3680085"/>
                  <a:pt x="6194505" y="3681870"/>
                </a:cubicBezTo>
                <a:cubicBezTo>
                  <a:pt x="6191824" y="3685802"/>
                  <a:pt x="6183963" y="3683121"/>
                  <a:pt x="6184856" y="3690268"/>
                </a:cubicBezTo>
                <a:cubicBezTo>
                  <a:pt x="6181997" y="3691339"/>
                  <a:pt x="6178960" y="3693663"/>
                  <a:pt x="6176280" y="3693305"/>
                </a:cubicBezTo>
                <a:cubicBezTo>
                  <a:pt x="6169491" y="3692591"/>
                  <a:pt x="6162522" y="3691339"/>
                  <a:pt x="6156090" y="3688839"/>
                </a:cubicBezTo>
                <a:cubicBezTo>
                  <a:pt x="6144656" y="3684551"/>
                  <a:pt x="6133220" y="3684014"/>
                  <a:pt x="6121427" y="3685444"/>
                </a:cubicBezTo>
                <a:cubicBezTo>
                  <a:pt x="6117676" y="3685622"/>
                  <a:pt x="6113924" y="3685622"/>
                  <a:pt x="6110172" y="3685622"/>
                </a:cubicBezTo>
                <a:cubicBezTo>
                  <a:pt x="6108563" y="3685622"/>
                  <a:pt x="6106240" y="3685622"/>
                  <a:pt x="6105704" y="3686517"/>
                </a:cubicBezTo>
                <a:cubicBezTo>
                  <a:pt x="6101060" y="3694198"/>
                  <a:pt x="6093376" y="3692949"/>
                  <a:pt x="6086944" y="3692234"/>
                </a:cubicBezTo>
                <a:cubicBezTo>
                  <a:pt x="6081764" y="3691876"/>
                  <a:pt x="6076582" y="3691876"/>
                  <a:pt x="6071580" y="3692234"/>
                </a:cubicBezTo>
                <a:cubicBezTo>
                  <a:pt x="6071043" y="3692412"/>
                  <a:pt x="6070506" y="3692769"/>
                  <a:pt x="6069970" y="3692949"/>
                </a:cubicBezTo>
                <a:cubicBezTo>
                  <a:pt x="6065326" y="3695271"/>
                  <a:pt x="6059966" y="3695986"/>
                  <a:pt x="6054784" y="3697415"/>
                </a:cubicBezTo>
                <a:cubicBezTo>
                  <a:pt x="6041204" y="3701167"/>
                  <a:pt x="6027448" y="3704204"/>
                  <a:pt x="6014047" y="3708492"/>
                </a:cubicBezTo>
                <a:cubicBezTo>
                  <a:pt x="6012618" y="3708850"/>
                  <a:pt x="6011188" y="3709386"/>
                  <a:pt x="6009758" y="3710101"/>
                </a:cubicBezTo>
                <a:cubicBezTo>
                  <a:pt x="6013510" y="3709565"/>
                  <a:pt x="6017264" y="3709206"/>
                  <a:pt x="6021016" y="3708672"/>
                </a:cubicBezTo>
                <a:lnTo>
                  <a:pt x="6026631" y="3713164"/>
                </a:lnTo>
                <a:lnTo>
                  <a:pt x="6019652" y="3712312"/>
                </a:lnTo>
                <a:cubicBezTo>
                  <a:pt x="6015520" y="3712602"/>
                  <a:pt x="6011456" y="3713942"/>
                  <a:pt x="6007436" y="3717068"/>
                </a:cubicBezTo>
                <a:cubicBezTo>
                  <a:pt x="6003685" y="3719927"/>
                  <a:pt x="5997788" y="3720285"/>
                  <a:pt x="5991714" y="3722071"/>
                </a:cubicBezTo>
                <a:cubicBezTo>
                  <a:pt x="6000290" y="3722071"/>
                  <a:pt x="6007614" y="3722607"/>
                  <a:pt x="6014940" y="3722071"/>
                </a:cubicBezTo>
                <a:cubicBezTo>
                  <a:pt x="6020657" y="3721714"/>
                  <a:pt x="6026374" y="3720641"/>
                  <a:pt x="6031914" y="3719034"/>
                </a:cubicBezTo>
                <a:lnTo>
                  <a:pt x="6032153" y="3716725"/>
                </a:lnTo>
                <a:lnTo>
                  <a:pt x="6048775" y="3720575"/>
                </a:lnTo>
                <a:cubicBezTo>
                  <a:pt x="6054292" y="3720642"/>
                  <a:pt x="6059786" y="3719213"/>
                  <a:pt x="6065326" y="3715460"/>
                </a:cubicBezTo>
                <a:cubicBezTo>
                  <a:pt x="6067648" y="3714031"/>
                  <a:pt x="6071580" y="3714209"/>
                  <a:pt x="6074616" y="3714567"/>
                </a:cubicBezTo>
                <a:cubicBezTo>
                  <a:pt x="6080512" y="3715282"/>
                  <a:pt x="6086230" y="3715639"/>
                  <a:pt x="6092126" y="3715639"/>
                </a:cubicBezTo>
                <a:cubicBezTo>
                  <a:pt x="6098379" y="3713675"/>
                  <a:pt x="6104633" y="3711887"/>
                  <a:pt x="6111066" y="3710636"/>
                </a:cubicBezTo>
                <a:cubicBezTo>
                  <a:pt x="6133398" y="3705991"/>
                  <a:pt x="6156090" y="3702596"/>
                  <a:pt x="6178602" y="3698666"/>
                </a:cubicBezTo>
                <a:cubicBezTo>
                  <a:pt x="6181460" y="3698130"/>
                  <a:pt x="6184319" y="3697952"/>
                  <a:pt x="6189858" y="3697237"/>
                </a:cubicBezTo>
                <a:cubicBezTo>
                  <a:pt x="6185036" y="3704384"/>
                  <a:pt x="6181104" y="3707421"/>
                  <a:pt x="6175743" y="3708672"/>
                </a:cubicBezTo>
                <a:cubicBezTo>
                  <a:pt x="6174314" y="3709028"/>
                  <a:pt x="6172884" y="3709386"/>
                  <a:pt x="6171455" y="3709743"/>
                </a:cubicBezTo>
                <a:cubicBezTo>
                  <a:pt x="6176816" y="3710279"/>
                  <a:pt x="6182175" y="3711350"/>
                  <a:pt x="6187714" y="3712245"/>
                </a:cubicBezTo>
                <a:lnTo>
                  <a:pt x="6222704" y="3716921"/>
                </a:lnTo>
                <a:lnTo>
                  <a:pt x="6222378" y="3719212"/>
                </a:lnTo>
                <a:cubicBezTo>
                  <a:pt x="6222912" y="3719927"/>
                  <a:pt x="6224522" y="3720285"/>
                  <a:pt x="6224878" y="3719927"/>
                </a:cubicBezTo>
                <a:lnTo>
                  <a:pt x="6226853" y="3717438"/>
                </a:lnTo>
                <a:lnTo>
                  <a:pt x="6232024" y="3720107"/>
                </a:lnTo>
                <a:cubicBezTo>
                  <a:pt x="6232740" y="3721714"/>
                  <a:pt x="6233632" y="3723500"/>
                  <a:pt x="6234347" y="3725109"/>
                </a:cubicBezTo>
                <a:cubicBezTo>
                  <a:pt x="6229702" y="3728146"/>
                  <a:pt x="6224878" y="3731183"/>
                  <a:pt x="6218804" y="3734935"/>
                </a:cubicBezTo>
                <a:cubicBezTo>
                  <a:pt x="6206474" y="3730827"/>
                  <a:pt x="6192717" y="3731542"/>
                  <a:pt x="6177709" y="3734935"/>
                </a:cubicBezTo>
                <a:cubicBezTo>
                  <a:pt x="6183784" y="3737974"/>
                  <a:pt x="6188966" y="3736008"/>
                  <a:pt x="6194146" y="3736544"/>
                </a:cubicBezTo>
                <a:cubicBezTo>
                  <a:pt x="6198793" y="3737079"/>
                  <a:pt x="6203259" y="3738688"/>
                  <a:pt x="6209870" y="3740474"/>
                </a:cubicBezTo>
                <a:cubicBezTo>
                  <a:pt x="6206654" y="3742082"/>
                  <a:pt x="6205582" y="3743155"/>
                  <a:pt x="6204330" y="3743155"/>
                </a:cubicBezTo>
                <a:cubicBezTo>
                  <a:pt x="6189502" y="3744048"/>
                  <a:pt x="6174672" y="3745299"/>
                  <a:pt x="6159842" y="3745655"/>
                </a:cubicBezTo>
                <a:cubicBezTo>
                  <a:pt x="6153054" y="3745655"/>
                  <a:pt x="6146084" y="3744226"/>
                  <a:pt x="6139474" y="3742618"/>
                </a:cubicBezTo>
                <a:cubicBezTo>
                  <a:pt x="6131970" y="3740652"/>
                  <a:pt x="6124286" y="3740296"/>
                  <a:pt x="6117854" y="3744406"/>
                </a:cubicBezTo>
                <a:cubicBezTo>
                  <a:pt x="6109100" y="3750123"/>
                  <a:pt x="6099630" y="3749765"/>
                  <a:pt x="6090160" y="3750123"/>
                </a:cubicBezTo>
                <a:cubicBezTo>
                  <a:pt x="6062467" y="3751373"/>
                  <a:pt x="6034950" y="3752624"/>
                  <a:pt x="6007258" y="3753697"/>
                </a:cubicBezTo>
                <a:cubicBezTo>
                  <a:pt x="5997788" y="3757805"/>
                  <a:pt x="5985638" y="3753875"/>
                  <a:pt x="5978491" y="3764237"/>
                </a:cubicBezTo>
                <a:cubicBezTo>
                  <a:pt x="5971880" y="3766203"/>
                  <a:pt x="5965448" y="3768525"/>
                  <a:pt x="5958660" y="3770134"/>
                </a:cubicBezTo>
                <a:cubicBezTo>
                  <a:pt x="5950976" y="3772098"/>
                  <a:pt x="5942937" y="3772993"/>
                  <a:pt x="5935432" y="3775315"/>
                </a:cubicBezTo>
                <a:cubicBezTo>
                  <a:pt x="5927748" y="3777816"/>
                  <a:pt x="5920602" y="3780318"/>
                  <a:pt x="5912206" y="3780318"/>
                </a:cubicBezTo>
                <a:cubicBezTo>
                  <a:pt x="5905237" y="3780318"/>
                  <a:pt x="5898090" y="3783892"/>
                  <a:pt x="5891300" y="3786572"/>
                </a:cubicBezTo>
                <a:cubicBezTo>
                  <a:pt x="5884868" y="3789251"/>
                  <a:pt x="5878436" y="3791038"/>
                  <a:pt x="5871468" y="3792290"/>
                </a:cubicBezTo>
                <a:cubicBezTo>
                  <a:pt x="5857354" y="3794790"/>
                  <a:pt x="5843060" y="3796934"/>
                  <a:pt x="5829480" y="3802295"/>
                </a:cubicBezTo>
                <a:cubicBezTo>
                  <a:pt x="5823763" y="3804617"/>
                  <a:pt x="5816973" y="3804259"/>
                  <a:pt x="5810540" y="3804617"/>
                </a:cubicBezTo>
                <a:cubicBezTo>
                  <a:pt x="5809290" y="3804617"/>
                  <a:pt x="5808040" y="3803544"/>
                  <a:pt x="5806789" y="3802473"/>
                </a:cubicBezTo>
                <a:cubicBezTo>
                  <a:pt x="5805182" y="3803010"/>
                  <a:pt x="5803574" y="3803724"/>
                  <a:pt x="5801964" y="3804259"/>
                </a:cubicBezTo>
                <a:cubicBezTo>
                  <a:pt x="5793388" y="3811586"/>
                  <a:pt x="5783920" y="3817303"/>
                  <a:pt x="5771948" y="3818018"/>
                </a:cubicBezTo>
                <a:cubicBezTo>
                  <a:pt x="5769448" y="3818018"/>
                  <a:pt x="5767125" y="3817303"/>
                  <a:pt x="5763372" y="3816767"/>
                </a:cubicBezTo>
                <a:cubicBezTo>
                  <a:pt x="5764981" y="3814445"/>
                  <a:pt x="5765516" y="3812835"/>
                  <a:pt x="5766588" y="3812301"/>
                </a:cubicBezTo>
                <a:cubicBezTo>
                  <a:pt x="5766945" y="3811942"/>
                  <a:pt x="5767482" y="3811764"/>
                  <a:pt x="5768018" y="3811586"/>
                </a:cubicBezTo>
                <a:cubicBezTo>
                  <a:pt x="5767840" y="3811586"/>
                  <a:pt x="5767482" y="3811586"/>
                  <a:pt x="5767304" y="3811586"/>
                </a:cubicBezTo>
                <a:cubicBezTo>
                  <a:pt x="5763552" y="3811228"/>
                  <a:pt x="5759442" y="3813015"/>
                  <a:pt x="5755688" y="3814445"/>
                </a:cubicBezTo>
                <a:cubicBezTo>
                  <a:pt x="5754261" y="3814801"/>
                  <a:pt x="5753010" y="3815516"/>
                  <a:pt x="5751758" y="3816052"/>
                </a:cubicBezTo>
                <a:cubicBezTo>
                  <a:pt x="5751937" y="3816052"/>
                  <a:pt x="5752295" y="3816052"/>
                  <a:pt x="5752652" y="3816052"/>
                </a:cubicBezTo>
                <a:cubicBezTo>
                  <a:pt x="5753902" y="3816230"/>
                  <a:pt x="5754976" y="3817838"/>
                  <a:pt x="5756046" y="3818733"/>
                </a:cubicBezTo>
                <a:cubicBezTo>
                  <a:pt x="5755332" y="3822841"/>
                  <a:pt x="5752652" y="3824270"/>
                  <a:pt x="5749258" y="3824628"/>
                </a:cubicBezTo>
                <a:cubicBezTo>
                  <a:pt x="5744612" y="3824985"/>
                  <a:pt x="5739609" y="3825165"/>
                  <a:pt x="5735858" y="3828738"/>
                </a:cubicBezTo>
                <a:cubicBezTo>
                  <a:pt x="5735142" y="3829453"/>
                  <a:pt x="5734070" y="3829809"/>
                  <a:pt x="5732998" y="3830168"/>
                </a:cubicBezTo>
                <a:cubicBezTo>
                  <a:pt x="5726566" y="3832490"/>
                  <a:pt x="5718346" y="3827844"/>
                  <a:pt x="5713166" y="3833741"/>
                </a:cubicBezTo>
                <a:cubicBezTo>
                  <a:pt x="5708700" y="3838744"/>
                  <a:pt x="5702982" y="3840530"/>
                  <a:pt x="5697443" y="3842495"/>
                </a:cubicBezTo>
                <a:cubicBezTo>
                  <a:pt x="5695835" y="3844818"/>
                  <a:pt x="5694048" y="3847498"/>
                  <a:pt x="5692084" y="3850357"/>
                </a:cubicBezTo>
                <a:cubicBezTo>
                  <a:pt x="5671714" y="3859470"/>
                  <a:pt x="5648308" y="3869832"/>
                  <a:pt x="5624904" y="3880374"/>
                </a:cubicBezTo>
                <a:cubicBezTo>
                  <a:pt x="5623294" y="3881088"/>
                  <a:pt x="5621330" y="3881445"/>
                  <a:pt x="5620079" y="3882518"/>
                </a:cubicBezTo>
                <a:cubicBezTo>
                  <a:pt x="5607930" y="3893416"/>
                  <a:pt x="5592384" y="3897348"/>
                  <a:pt x="5577734" y="3903243"/>
                </a:cubicBezTo>
                <a:cubicBezTo>
                  <a:pt x="5572910" y="3905209"/>
                  <a:pt x="5568800" y="3907531"/>
                  <a:pt x="5565048" y="3911820"/>
                </a:cubicBezTo>
                <a:cubicBezTo>
                  <a:pt x="5560046" y="3917179"/>
                  <a:pt x="5553077" y="3920752"/>
                  <a:pt x="5544679" y="3927006"/>
                </a:cubicBezTo>
                <a:cubicBezTo>
                  <a:pt x="5561297" y="3925399"/>
                  <a:pt x="5574696" y="3922362"/>
                  <a:pt x="5586667" y="3915393"/>
                </a:cubicBezTo>
                <a:cubicBezTo>
                  <a:pt x="5594350" y="3910747"/>
                  <a:pt x="5602568" y="3907888"/>
                  <a:pt x="5611324" y="3906639"/>
                </a:cubicBezTo>
                <a:cubicBezTo>
                  <a:pt x="5613647" y="3906280"/>
                  <a:pt x="5615791" y="3905744"/>
                  <a:pt x="5618113" y="3905029"/>
                </a:cubicBezTo>
                <a:cubicBezTo>
                  <a:pt x="5638839" y="3898419"/>
                  <a:pt x="5659386" y="3891630"/>
                  <a:pt x="5680112" y="3885376"/>
                </a:cubicBezTo>
                <a:cubicBezTo>
                  <a:pt x="5684937" y="3883947"/>
                  <a:pt x="5690296" y="3884125"/>
                  <a:pt x="5697621" y="3883411"/>
                </a:cubicBezTo>
                <a:cubicBezTo>
                  <a:pt x="5704233" y="3877337"/>
                  <a:pt x="5714595" y="3873941"/>
                  <a:pt x="5725496" y="3870905"/>
                </a:cubicBezTo>
                <a:cubicBezTo>
                  <a:pt x="5743004" y="3866080"/>
                  <a:pt x="5760156" y="3859826"/>
                  <a:pt x="5777309" y="3853930"/>
                </a:cubicBezTo>
                <a:cubicBezTo>
                  <a:pt x="5786600" y="3850713"/>
                  <a:pt x="5795890" y="3847855"/>
                  <a:pt x="5808396" y="3846962"/>
                </a:cubicBezTo>
                <a:cubicBezTo>
                  <a:pt x="5804108" y="3851428"/>
                  <a:pt x="5801608" y="3854109"/>
                  <a:pt x="5797676" y="3858397"/>
                </a:cubicBezTo>
                <a:cubicBezTo>
                  <a:pt x="5803752" y="3858040"/>
                  <a:pt x="5807504" y="3857860"/>
                  <a:pt x="5812684" y="3857682"/>
                </a:cubicBezTo>
                <a:cubicBezTo>
                  <a:pt x="5812328" y="3860899"/>
                  <a:pt x="5811970" y="3864114"/>
                  <a:pt x="5811256" y="3868760"/>
                </a:cubicBezTo>
                <a:cubicBezTo>
                  <a:pt x="5807682" y="3867151"/>
                  <a:pt x="5805182" y="3865902"/>
                  <a:pt x="5802860" y="3864829"/>
                </a:cubicBezTo>
                <a:cubicBezTo>
                  <a:pt x="5801964" y="3865187"/>
                  <a:pt x="5800357" y="3865365"/>
                  <a:pt x="5800000" y="3866080"/>
                </a:cubicBezTo>
                <a:cubicBezTo>
                  <a:pt x="5794462" y="3876622"/>
                  <a:pt x="5785707" y="3882874"/>
                  <a:pt x="5774806" y="3886447"/>
                </a:cubicBezTo>
                <a:cubicBezTo>
                  <a:pt x="5753724" y="3893238"/>
                  <a:pt x="5732284" y="3899848"/>
                  <a:pt x="5711022" y="3906459"/>
                </a:cubicBezTo>
                <a:cubicBezTo>
                  <a:pt x="5707092" y="3907710"/>
                  <a:pt x="5702446" y="3909317"/>
                  <a:pt x="5701731" y="3903243"/>
                </a:cubicBezTo>
                <a:cubicBezTo>
                  <a:pt x="5691369" y="3905744"/>
                  <a:pt x="5681542" y="3907353"/>
                  <a:pt x="5672250" y="3910390"/>
                </a:cubicBezTo>
                <a:cubicBezTo>
                  <a:pt x="5666353" y="3912356"/>
                  <a:pt x="5659923" y="3915571"/>
                  <a:pt x="5655991" y="3920037"/>
                </a:cubicBezTo>
                <a:cubicBezTo>
                  <a:pt x="5651166" y="3925577"/>
                  <a:pt x="5645271" y="3927899"/>
                  <a:pt x="5638839" y="3930223"/>
                </a:cubicBezTo>
                <a:cubicBezTo>
                  <a:pt x="5644020" y="3929687"/>
                  <a:pt x="5649024" y="3929687"/>
                  <a:pt x="5654562" y="3927184"/>
                </a:cubicBezTo>
                <a:cubicBezTo>
                  <a:pt x="5646344" y="3934511"/>
                  <a:pt x="5642590" y="3936297"/>
                  <a:pt x="5634014" y="3937012"/>
                </a:cubicBezTo>
                <a:cubicBezTo>
                  <a:pt x="5632406" y="3937190"/>
                  <a:pt x="5630619" y="3935760"/>
                  <a:pt x="5627048" y="3934331"/>
                </a:cubicBezTo>
                <a:cubicBezTo>
                  <a:pt x="5622045" y="3936119"/>
                  <a:pt x="5617220" y="3937726"/>
                  <a:pt x="5612218" y="3939514"/>
                </a:cubicBezTo>
                <a:cubicBezTo>
                  <a:pt x="5612039" y="3940585"/>
                  <a:pt x="5612039" y="3941658"/>
                  <a:pt x="5611503" y="3941836"/>
                </a:cubicBezTo>
                <a:cubicBezTo>
                  <a:pt x="5606322" y="3944337"/>
                  <a:pt x="5601497" y="3948983"/>
                  <a:pt x="5594350" y="3947375"/>
                </a:cubicBezTo>
                <a:cubicBezTo>
                  <a:pt x="5595065" y="3946481"/>
                  <a:pt x="5595780" y="3945766"/>
                  <a:pt x="5596316" y="3945051"/>
                </a:cubicBezTo>
                <a:cubicBezTo>
                  <a:pt x="5583094" y="3949698"/>
                  <a:pt x="5569873" y="3954342"/>
                  <a:pt x="5556828" y="3959167"/>
                </a:cubicBezTo>
                <a:cubicBezTo>
                  <a:pt x="5531458" y="3968636"/>
                  <a:pt x="5506444" y="3978641"/>
                  <a:pt x="5481252" y="3988291"/>
                </a:cubicBezTo>
                <a:cubicBezTo>
                  <a:pt x="5445696" y="4002048"/>
                  <a:pt x="5410140" y="4015805"/>
                  <a:pt x="5374585" y="4029384"/>
                </a:cubicBezTo>
                <a:cubicBezTo>
                  <a:pt x="5366904" y="4032423"/>
                  <a:pt x="5359398" y="4035459"/>
                  <a:pt x="5353324" y="4041533"/>
                </a:cubicBezTo>
                <a:cubicBezTo>
                  <a:pt x="5351000" y="4043857"/>
                  <a:pt x="5347607" y="4045465"/>
                  <a:pt x="5344390" y="4046716"/>
                </a:cubicBezTo>
                <a:cubicBezTo>
                  <a:pt x="5336887" y="4049575"/>
                  <a:pt x="5329560" y="4052254"/>
                  <a:pt x="5323308" y="4058508"/>
                </a:cubicBezTo>
                <a:cubicBezTo>
                  <a:pt x="5318662" y="4063154"/>
                  <a:pt x="5311158" y="4065118"/>
                  <a:pt x="5304726" y="4067977"/>
                </a:cubicBezTo>
                <a:cubicBezTo>
                  <a:pt x="5272566" y="4081914"/>
                  <a:pt x="5240046" y="4095671"/>
                  <a:pt x="5207886" y="4109786"/>
                </a:cubicBezTo>
                <a:cubicBezTo>
                  <a:pt x="5198238" y="4114074"/>
                  <a:pt x="5189304" y="4119792"/>
                  <a:pt x="5179835" y="4124436"/>
                </a:cubicBezTo>
                <a:cubicBezTo>
                  <a:pt x="5161432" y="4133727"/>
                  <a:pt x="5143028" y="4142662"/>
                  <a:pt x="5124626" y="4151774"/>
                </a:cubicBezTo>
                <a:cubicBezTo>
                  <a:pt x="5121053" y="4153560"/>
                  <a:pt x="5116765" y="4154453"/>
                  <a:pt x="5115336" y="4158921"/>
                </a:cubicBezTo>
                <a:cubicBezTo>
                  <a:pt x="5116765" y="4159814"/>
                  <a:pt x="5118194" y="4160707"/>
                  <a:pt x="5119802" y="4161600"/>
                </a:cubicBezTo>
                <a:cubicBezTo>
                  <a:pt x="5115870" y="4163924"/>
                  <a:pt x="5112296" y="4167317"/>
                  <a:pt x="5107116" y="4165173"/>
                </a:cubicBezTo>
                <a:cubicBezTo>
                  <a:pt x="5097825" y="4161243"/>
                  <a:pt x="5089605" y="4166603"/>
                  <a:pt x="5085497" y="4172678"/>
                </a:cubicBezTo>
                <a:cubicBezTo>
                  <a:pt x="5078350" y="4183220"/>
                  <a:pt x="5067630" y="4187687"/>
                  <a:pt x="5057802" y="4193404"/>
                </a:cubicBezTo>
                <a:cubicBezTo>
                  <a:pt x="5042616" y="4202159"/>
                  <a:pt x="5026715" y="4209664"/>
                  <a:pt x="5011170" y="4217882"/>
                </a:cubicBezTo>
                <a:cubicBezTo>
                  <a:pt x="4994196" y="4226994"/>
                  <a:pt x="4977402" y="4236463"/>
                  <a:pt x="4960428" y="4245754"/>
                </a:cubicBezTo>
                <a:cubicBezTo>
                  <a:pt x="4957926" y="4247184"/>
                  <a:pt x="4955603" y="4248791"/>
                  <a:pt x="4953102" y="4250401"/>
                </a:cubicBezTo>
                <a:cubicBezTo>
                  <a:pt x="4944704" y="4255582"/>
                  <a:pt x="4936665" y="4261835"/>
                  <a:pt x="4927730" y="4265944"/>
                </a:cubicBezTo>
                <a:cubicBezTo>
                  <a:pt x="4902180" y="4277915"/>
                  <a:pt x="4847864" y="4393693"/>
                  <a:pt x="4823387" y="4407631"/>
                </a:cubicBezTo>
                <a:cubicBezTo>
                  <a:pt x="4814096" y="4412812"/>
                  <a:pt x="4804269" y="4416741"/>
                  <a:pt x="4794622" y="4421029"/>
                </a:cubicBezTo>
                <a:cubicBezTo>
                  <a:pt x="4792656" y="4421924"/>
                  <a:pt x="4789619" y="4422817"/>
                  <a:pt x="4788011" y="4421924"/>
                </a:cubicBezTo>
                <a:cubicBezTo>
                  <a:pt x="4783543" y="4419780"/>
                  <a:pt x="4779792" y="4420315"/>
                  <a:pt x="4776040" y="4421744"/>
                </a:cubicBezTo>
                <a:cubicBezTo>
                  <a:pt x="4775147" y="4422817"/>
                  <a:pt x="4773896" y="4423710"/>
                  <a:pt x="4772466" y="4424425"/>
                </a:cubicBezTo>
                <a:cubicBezTo>
                  <a:pt x="4772288" y="4424068"/>
                  <a:pt x="4772108" y="4423888"/>
                  <a:pt x="4771930" y="4423710"/>
                </a:cubicBezTo>
                <a:cubicBezTo>
                  <a:pt x="4771215" y="4424068"/>
                  <a:pt x="4770679" y="4424425"/>
                  <a:pt x="4769964" y="4424783"/>
                </a:cubicBezTo>
                <a:cubicBezTo>
                  <a:pt x="4746023" y="4438362"/>
                  <a:pt x="4722080" y="4452119"/>
                  <a:pt x="4698140" y="4465698"/>
                </a:cubicBezTo>
                <a:cubicBezTo>
                  <a:pt x="4683846" y="4473738"/>
                  <a:pt x="4669374" y="4481421"/>
                  <a:pt x="4654900" y="4489282"/>
                </a:cubicBezTo>
                <a:cubicBezTo>
                  <a:pt x="4638284" y="4498395"/>
                  <a:pt x="4623098" y="4509294"/>
                  <a:pt x="4608982" y="4521800"/>
                </a:cubicBezTo>
                <a:cubicBezTo>
                  <a:pt x="4597548" y="4531985"/>
                  <a:pt x="4584862" y="4540561"/>
                  <a:pt x="4572892" y="4550030"/>
                </a:cubicBezTo>
                <a:cubicBezTo>
                  <a:pt x="4554488" y="4564502"/>
                  <a:pt x="4535728" y="4578618"/>
                  <a:pt x="4517682" y="4593626"/>
                </a:cubicBezTo>
                <a:cubicBezTo>
                  <a:pt x="4500529" y="4607920"/>
                  <a:pt x="4482484" y="4620784"/>
                  <a:pt x="4462831" y="4631504"/>
                </a:cubicBezTo>
                <a:cubicBezTo>
                  <a:pt x="4452111" y="4637400"/>
                  <a:pt x="4441569" y="4644190"/>
                  <a:pt x="4431385" y="4650979"/>
                </a:cubicBezTo>
                <a:cubicBezTo>
                  <a:pt x="4409764" y="4665451"/>
                  <a:pt x="4386180" y="4675993"/>
                  <a:pt x="4362061" y="4685283"/>
                </a:cubicBezTo>
                <a:cubicBezTo>
                  <a:pt x="4359380" y="4686356"/>
                  <a:pt x="4356522" y="4687606"/>
                  <a:pt x="4353663" y="4687606"/>
                </a:cubicBezTo>
                <a:cubicBezTo>
                  <a:pt x="4335260" y="4687249"/>
                  <a:pt x="4320073" y="4697433"/>
                  <a:pt x="4303457" y="4702794"/>
                </a:cubicBezTo>
                <a:cubicBezTo>
                  <a:pt x="4287376" y="4708153"/>
                  <a:pt x="4271296" y="4713514"/>
                  <a:pt x="4254322" y="4715837"/>
                </a:cubicBezTo>
                <a:cubicBezTo>
                  <a:pt x="4246282" y="4716908"/>
                  <a:pt x="4238421" y="4717088"/>
                  <a:pt x="4230380" y="4715837"/>
                </a:cubicBezTo>
                <a:cubicBezTo>
                  <a:pt x="4229130" y="4717444"/>
                  <a:pt x="4227879" y="4718873"/>
                  <a:pt x="4226450" y="4720303"/>
                </a:cubicBezTo>
                <a:cubicBezTo>
                  <a:pt x="4219481" y="4726913"/>
                  <a:pt x="4213764" y="4734240"/>
                  <a:pt x="4208939" y="4742458"/>
                </a:cubicBezTo>
                <a:cubicBezTo>
                  <a:pt x="4198218" y="4750498"/>
                  <a:pt x="4192323" y="4762647"/>
                  <a:pt x="4183390" y="4772118"/>
                </a:cubicBezTo>
                <a:cubicBezTo>
                  <a:pt x="4182318" y="4773367"/>
                  <a:pt x="4181781" y="4774977"/>
                  <a:pt x="4180710" y="4776048"/>
                </a:cubicBezTo>
                <a:cubicBezTo>
                  <a:pt x="4162843" y="4792129"/>
                  <a:pt x="4149086" y="4811604"/>
                  <a:pt x="4133183" y="4829293"/>
                </a:cubicBezTo>
                <a:cubicBezTo>
                  <a:pt x="4132112" y="4830542"/>
                  <a:pt x="4129968" y="4831257"/>
                  <a:pt x="4128360" y="4832330"/>
                </a:cubicBezTo>
                <a:cubicBezTo>
                  <a:pt x="4127645" y="4828220"/>
                  <a:pt x="4130682" y="4825719"/>
                  <a:pt x="4132826" y="4823039"/>
                </a:cubicBezTo>
                <a:cubicBezTo>
                  <a:pt x="4151944" y="4799454"/>
                  <a:pt x="4171061" y="4776048"/>
                  <a:pt x="4190179" y="4752464"/>
                </a:cubicBezTo>
                <a:cubicBezTo>
                  <a:pt x="4200543" y="4739777"/>
                  <a:pt x="4211083" y="4726913"/>
                  <a:pt x="4221625" y="4714049"/>
                </a:cubicBezTo>
                <a:cubicBezTo>
                  <a:pt x="4217337" y="4713334"/>
                  <a:pt x="4212870" y="4713514"/>
                  <a:pt x="4208404" y="4713693"/>
                </a:cubicBezTo>
                <a:cubicBezTo>
                  <a:pt x="4206438" y="4718517"/>
                  <a:pt x="4203044" y="4722090"/>
                  <a:pt x="4196790" y="4722625"/>
                </a:cubicBezTo>
                <a:cubicBezTo>
                  <a:pt x="4198577" y="4719588"/>
                  <a:pt x="4200184" y="4716729"/>
                  <a:pt x="4201972" y="4713871"/>
                </a:cubicBezTo>
                <a:cubicBezTo>
                  <a:pt x="4200899" y="4713871"/>
                  <a:pt x="4200006" y="4713871"/>
                  <a:pt x="4199114" y="4713871"/>
                </a:cubicBezTo>
                <a:cubicBezTo>
                  <a:pt x="4195004" y="4716729"/>
                  <a:pt x="4191608" y="4720125"/>
                  <a:pt x="4190537" y="4725664"/>
                </a:cubicBezTo>
                <a:cubicBezTo>
                  <a:pt x="4192501" y="4724591"/>
                  <a:pt x="4194467" y="4723520"/>
                  <a:pt x="4196433" y="4722447"/>
                </a:cubicBezTo>
                <a:cubicBezTo>
                  <a:pt x="4196611" y="4722447"/>
                  <a:pt x="4196790" y="4722447"/>
                  <a:pt x="4196790" y="4722447"/>
                </a:cubicBezTo>
                <a:cubicBezTo>
                  <a:pt x="4196611" y="4722625"/>
                  <a:pt x="4196611" y="4722805"/>
                  <a:pt x="4196611" y="4722805"/>
                </a:cubicBezTo>
                <a:cubicBezTo>
                  <a:pt x="4194646" y="4723876"/>
                  <a:pt x="4192501" y="4724949"/>
                  <a:pt x="4190537" y="4725842"/>
                </a:cubicBezTo>
                <a:lnTo>
                  <a:pt x="4190179" y="4725842"/>
                </a:lnTo>
                <a:cubicBezTo>
                  <a:pt x="4190179" y="4730130"/>
                  <a:pt x="4187498" y="4732989"/>
                  <a:pt x="4184105" y="4734418"/>
                </a:cubicBezTo>
                <a:cubicBezTo>
                  <a:pt x="4177851" y="4737099"/>
                  <a:pt x="4174456" y="4742458"/>
                  <a:pt x="4170346" y="4747283"/>
                </a:cubicBezTo>
                <a:cubicBezTo>
                  <a:pt x="4158555" y="4760861"/>
                  <a:pt x="4149264" y="4776406"/>
                  <a:pt x="4136756" y="4789449"/>
                </a:cubicBezTo>
                <a:cubicBezTo>
                  <a:pt x="4131933" y="4794452"/>
                  <a:pt x="4124965" y="4799276"/>
                  <a:pt x="4125321" y="4807852"/>
                </a:cubicBezTo>
                <a:cubicBezTo>
                  <a:pt x="4119784" y="4808030"/>
                  <a:pt x="4118532" y="4812497"/>
                  <a:pt x="4116925" y="4816428"/>
                </a:cubicBezTo>
                <a:cubicBezTo>
                  <a:pt x="4119426" y="4815355"/>
                  <a:pt x="4122106" y="4814284"/>
                  <a:pt x="4124786" y="4813211"/>
                </a:cubicBezTo>
                <a:cubicBezTo>
                  <a:pt x="4122284" y="4814463"/>
                  <a:pt x="4119784" y="4815714"/>
                  <a:pt x="4117282" y="4816963"/>
                </a:cubicBezTo>
                <a:cubicBezTo>
                  <a:pt x="4112100" y="4819824"/>
                  <a:pt x="4107990" y="4823932"/>
                  <a:pt x="4104417" y="4828756"/>
                </a:cubicBezTo>
                <a:cubicBezTo>
                  <a:pt x="4100307" y="4834295"/>
                  <a:pt x="4095663" y="4839476"/>
                  <a:pt x="4090838" y="4845194"/>
                </a:cubicBezTo>
                <a:cubicBezTo>
                  <a:pt x="4087623" y="4844479"/>
                  <a:pt x="4084584" y="4843586"/>
                  <a:pt x="4081011" y="4842693"/>
                </a:cubicBezTo>
                <a:cubicBezTo>
                  <a:pt x="4086372" y="4828756"/>
                  <a:pt x="4095126" y="4818036"/>
                  <a:pt x="4103346" y="4806959"/>
                </a:cubicBezTo>
                <a:cubicBezTo>
                  <a:pt x="4116925" y="4788376"/>
                  <a:pt x="4131038" y="4770331"/>
                  <a:pt x="4144798" y="4751927"/>
                </a:cubicBezTo>
                <a:cubicBezTo>
                  <a:pt x="4145512" y="4750856"/>
                  <a:pt x="4145690" y="4749248"/>
                  <a:pt x="4146762" y="4745675"/>
                </a:cubicBezTo>
                <a:cubicBezTo>
                  <a:pt x="4140330" y="4749427"/>
                  <a:pt x="4137114" y="4753178"/>
                  <a:pt x="4134256" y="4757644"/>
                </a:cubicBezTo>
                <a:cubicBezTo>
                  <a:pt x="4134612" y="4753178"/>
                  <a:pt x="4134970" y="4748890"/>
                  <a:pt x="4135327" y="4744424"/>
                </a:cubicBezTo>
                <a:cubicBezTo>
                  <a:pt x="4134256" y="4744424"/>
                  <a:pt x="4133363" y="4744780"/>
                  <a:pt x="4132468" y="4744424"/>
                </a:cubicBezTo>
                <a:cubicBezTo>
                  <a:pt x="4123892" y="4741387"/>
                  <a:pt x="4117818" y="4743887"/>
                  <a:pt x="4112457" y="4751571"/>
                </a:cubicBezTo>
                <a:cubicBezTo>
                  <a:pt x="4102095" y="4766401"/>
                  <a:pt x="4091016" y="4780514"/>
                  <a:pt x="4080476" y="4794988"/>
                </a:cubicBezTo>
                <a:cubicBezTo>
                  <a:pt x="4079762" y="4796059"/>
                  <a:pt x="4079762" y="4797667"/>
                  <a:pt x="4079047" y="4800525"/>
                </a:cubicBezTo>
                <a:cubicBezTo>
                  <a:pt x="4087086" y="4797310"/>
                  <a:pt x="4087980" y="4787661"/>
                  <a:pt x="4095663" y="4786054"/>
                </a:cubicBezTo>
                <a:cubicBezTo>
                  <a:pt x="4096019" y="4791897"/>
                  <a:pt x="4094770" y="4797256"/>
                  <a:pt x="4091911" y="4802135"/>
                </a:cubicBezTo>
                <a:cubicBezTo>
                  <a:pt x="4094948" y="4799276"/>
                  <a:pt x="4098343" y="4796774"/>
                  <a:pt x="4101022" y="4793559"/>
                </a:cubicBezTo>
                <a:cubicBezTo>
                  <a:pt x="4108169" y="4784802"/>
                  <a:pt x="4114781" y="4775870"/>
                  <a:pt x="4121570" y="4766935"/>
                </a:cubicBezTo>
                <a:cubicBezTo>
                  <a:pt x="4124786" y="4762647"/>
                  <a:pt x="4128180" y="4758539"/>
                  <a:pt x="4134078" y="4757644"/>
                </a:cubicBezTo>
                <a:cubicBezTo>
                  <a:pt x="4121033" y="4775155"/>
                  <a:pt x="4108169" y="4792844"/>
                  <a:pt x="4094948" y="4810353"/>
                </a:cubicBezTo>
                <a:cubicBezTo>
                  <a:pt x="4093160" y="4812675"/>
                  <a:pt x="4089945" y="4813748"/>
                  <a:pt x="4087265" y="4815355"/>
                </a:cubicBezTo>
                <a:cubicBezTo>
                  <a:pt x="4087086" y="4814463"/>
                  <a:pt x="4086728" y="4813570"/>
                  <a:pt x="4086550" y="4812675"/>
                </a:cubicBezTo>
                <a:cubicBezTo>
                  <a:pt x="4089945" y="4810353"/>
                  <a:pt x="4090838" y="4806959"/>
                  <a:pt x="4090838" y="4803028"/>
                </a:cubicBezTo>
                <a:cubicBezTo>
                  <a:pt x="4088516" y="4805886"/>
                  <a:pt x="4086014" y="4808567"/>
                  <a:pt x="4086372" y="4812497"/>
                </a:cubicBezTo>
                <a:cubicBezTo>
                  <a:pt x="4079940" y="4814999"/>
                  <a:pt x="4075652" y="4818929"/>
                  <a:pt x="4076723" y="4826790"/>
                </a:cubicBezTo>
                <a:cubicBezTo>
                  <a:pt x="4078510" y="4825898"/>
                  <a:pt x="4080476" y="4824826"/>
                  <a:pt x="4082262" y="4823932"/>
                </a:cubicBezTo>
                <a:cubicBezTo>
                  <a:pt x="4076544" y="4838584"/>
                  <a:pt x="4067432" y="4850555"/>
                  <a:pt x="4055104" y="4860202"/>
                </a:cubicBezTo>
                <a:cubicBezTo>
                  <a:pt x="4055641" y="4858951"/>
                  <a:pt x="4055997" y="4857700"/>
                  <a:pt x="4056355" y="4856451"/>
                </a:cubicBezTo>
                <a:cubicBezTo>
                  <a:pt x="4053853" y="4858236"/>
                  <a:pt x="4050816" y="4859666"/>
                  <a:pt x="4049030" y="4861988"/>
                </a:cubicBezTo>
                <a:cubicBezTo>
                  <a:pt x="4044920" y="4867171"/>
                  <a:pt x="4041525" y="4872708"/>
                  <a:pt x="4037774" y="4878069"/>
                </a:cubicBezTo>
                <a:cubicBezTo>
                  <a:pt x="4032592" y="4885394"/>
                  <a:pt x="4027590" y="4892719"/>
                  <a:pt x="4022407" y="4900046"/>
                </a:cubicBezTo>
                <a:cubicBezTo>
                  <a:pt x="4024016" y="4899151"/>
                  <a:pt x="4025802" y="4898437"/>
                  <a:pt x="4028661" y="4897187"/>
                </a:cubicBezTo>
                <a:cubicBezTo>
                  <a:pt x="4029198" y="4905942"/>
                  <a:pt x="4023480" y="4910052"/>
                  <a:pt x="4019548" y="4914874"/>
                </a:cubicBezTo>
                <a:cubicBezTo>
                  <a:pt x="4019014" y="4912730"/>
                  <a:pt x="4018477" y="4910408"/>
                  <a:pt x="4017941" y="4908264"/>
                </a:cubicBezTo>
                <a:cubicBezTo>
                  <a:pt x="4016333" y="4911123"/>
                  <a:pt x="4014904" y="4913803"/>
                  <a:pt x="4013296" y="4916662"/>
                </a:cubicBezTo>
                <a:cubicBezTo>
                  <a:pt x="4006684" y="4921128"/>
                  <a:pt x="4006506" y="4921665"/>
                  <a:pt x="4008113" y="4928097"/>
                </a:cubicBezTo>
                <a:cubicBezTo>
                  <a:pt x="4011330" y="4925060"/>
                  <a:pt x="4013652" y="4921487"/>
                  <a:pt x="4013652" y="4916840"/>
                </a:cubicBezTo>
                <a:cubicBezTo>
                  <a:pt x="4015618" y="4916304"/>
                  <a:pt x="4017584" y="4915947"/>
                  <a:pt x="4019548" y="4915411"/>
                </a:cubicBezTo>
                <a:cubicBezTo>
                  <a:pt x="4017048" y="4920950"/>
                  <a:pt x="4013296" y="4925238"/>
                  <a:pt x="4008294" y="4928275"/>
                </a:cubicBezTo>
                <a:cubicBezTo>
                  <a:pt x="4008294" y="4928453"/>
                  <a:pt x="4008294" y="4928453"/>
                  <a:pt x="4008294" y="4928453"/>
                </a:cubicBezTo>
                <a:cubicBezTo>
                  <a:pt x="4005255" y="4929526"/>
                  <a:pt x="4002396" y="4930778"/>
                  <a:pt x="3999359" y="4931670"/>
                </a:cubicBezTo>
                <a:cubicBezTo>
                  <a:pt x="3995964" y="4932563"/>
                  <a:pt x="3992749" y="4930241"/>
                  <a:pt x="3992570" y="4926668"/>
                </a:cubicBezTo>
                <a:cubicBezTo>
                  <a:pt x="3992570" y="4924702"/>
                  <a:pt x="3993285" y="4922380"/>
                  <a:pt x="3993105" y="4920414"/>
                </a:cubicBezTo>
                <a:cubicBezTo>
                  <a:pt x="3992749" y="4918448"/>
                  <a:pt x="3991856" y="4914874"/>
                  <a:pt x="3991141" y="4914874"/>
                </a:cubicBezTo>
                <a:cubicBezTo>
                  <a:pt x="3983100" y="4914696"/>
                  <a:pt x="3988639" y="4908086"/>
                  <a:pt x="3985958" y="4904869"/>
                </a:cubicBezTo>
                <a:cubicBezTo>
                  <a:pt x="3982385" y="4908086"/>
                  <a:pt x="3978812" y="4911301"/>
                  <a:pt x="3973630" y="4916126"/>
                </a:cubicBezTo>
                <a:cubicBezTo>
                  <a:pt x="3973274" y="4912196"/>
                  <a:pt x="3972559" y="4910052"/>
                  <a:pt x="3973094" y="4908442"/>
                </a:cubicBezTo>
                <a:cubicBezTo>
                  <a:pt x="3974167" y="4905584"/>
                  <a:pt x="3975953" y="4903083"/>
                  <a:pt x="3977204" y="4900581"/>
                </a:cubicBezTo>
                <a:cubicBezTo>
                  <a:pt x="3974345" y="4896473"/>
                  <a:pt x="3972201" y="4899866"/>
                  <a:pt x="3969879" y="4899866"/>
                </a:cubicBezTo>
                <a:cubicBezTo>
                  <a:pt x="3967556" y="4900046"/>
                  <a:pt x="3966127" y="4899151"/>
                  <a:pt x="3965769" y="4897007"/>
                </a:cubicBezTo>
                <a:cubicBezTo>
                  <a:pt x="3965232" y="4898259"/>
                  <a:pt x="3964698" y="4899688"/>
                  <a:pt x="3963803" y="4900761"/>
                </a:cubicBezTo>
                <a:cubicBezTo>
                  <a:pt x="3960944" y="4904334"/>
                  <a:pt x="3956478" y="4903976"/>
                  <a:pt x="3955227" y="4900046"/>
                </a:cubicBezTo>
                <a:cubicBezTo>
                  <a:pt x="3954692" y="4897544"/>
                  <a:pt x="3953978" y="4894685"/>
                  <a:pt x="3954692" y="4892363"/>
                </a:cubicBezTo>
                <a:cubicBezTo>
                  <a:pt x="3956656" y="4885753"/>
                  <a:pt x="3959337" y="4879320"/>
                  <a:pt x="3961659" y="4872530"/>
                </a:cubicBezTo>
                <a:cubicBezTo>
                  <a:pt x="3960766" y="4871279"/>
                  <a:pt x="3959695" y="4870030"/>
                  <a:pt x="3958800" y="4868600"/>
                </a:cubicBezTo>
                <a:cubicBezTo>
                  <a:pt x="3958444" y="4869135"/>
                  <a:pt x="3958266" y="4869671"/>
                  <a:pt x="3957908" y="4870208"/>
                </a:cubicBezTo>
                <a:cubicBezTo>
                  <a:pt x="3957014" y="4869315"/>
                  <a:pt x="3955227" y="4868778"/>
                  <a:pt x="3955049" y="4867705"/>
                </a:cubicBezTo>
                <a:cubicBezTo>
                  <a:pt x="3954870" y="4866634"/>
                  <a:pt x="3955049" y="4864847"/>
                  <a:pt x="3955764" y="4863954"/>
                </a:cubicBezTo>
                <a:cubicBezTo>
                  <a:pt x="3949868" y="4854307"/>
                  <a:pt x="3945580" y="4843943"/>
                  <a:pt x="3943614" y="4832866"/>
                </a:cubicBezTo>
                <a:cubicBezTo>
                  <a:pt x="3942899" y="4831971"/>
                  <a:pt x="3942363" y="4830900"/>
                  <a:pt x="3942363" y="4829649"/>
                </a:cubicBezTo>
                <a:cubicBezTo>
                  <a:pt x="3942363" y="4828578"/>
                  <a:pt x="3942721" y="4827327"/>
                  <a:pt x="3942721" y="4826254"/>
                </a:cubicBezTo>
                <a:cubicBezTo>
                  <a:pt x="3942543" y="4824110"/>
                  <a:pt x="3942184" y="4822146"/>
                  <a:pt x="3942184" y="4820002"/>
                </a:cubicBezTo>
                <a:cubicBezTo>
                  <a:pt x="3941828" y="4818929"/>
                  <a:pt x="3941292" y="4817858"/>
                  <a:pt x="3940933" y="4817858"/>
                </a:cubicBezTo>
                <a:cubicBezTo>
                  <a:pt x="3932894" y="4817678"/>
                  <a:pt x="3938433" y="4811067"/>
                  <a:pt x="3935752" y="4807852"/>
                </a:cubicBezTo>
                <a:cubicBezTo>
                  <a:pt x="3932179" y="4811067"/>
                  <a:pt x="3928606" y="4814284"/>
                  <a:pt x="3923424" y="4819107"/>
                </a:cubicBezTo>
                <a:cubicBezTo>
                  <a:pt x="3923066" y="4815177"/>
                  <a:pt x="3922352" y="4813033"/>
                  <a:pt x="3922888" y="4811426"/>
                </a:cubicBezTo>
                <a:cubicBezTo>
                  <a:pt x="3923066" y="4810889"/>
                  <a:pt x="3923424" y="4810531"/>
                  <a:pt x="3923424" y="4810175"/>
                </a:cubicBezTo>
                <a:cubicBezTo>
                  <a:pt x="3922888" y="4810531"/>
                  <a:pt x="3921995" y="4810889"/>
                  <a:pt x="3921459" y="4811246"/>
                </a:cubicBezTo>
                <a:cubicBezTo>
                  <a:pt x="3920922" y="4809996"/>
                  <a:pt x="3919673" y="4808567"/>
                  <a:pt x="3920029" y="4807494"/>
                </a:cubicBezTo>
                <a:cubicBezTo>
                  <a:pt x="3920388" y="4806423"/>
                  <a:pt x="3921995" y="4805528"/>
                  <a:pt x="3923066" y="4804635"/>
                </a:cubicBezTo>
                <a:cubicBezTo>
                  <a:pt x="3923603" y="4805350"/>
                  <a:pt x="3924139" y="4806065"/>
                  <a:pt x="3924676" y="4806779"/>
                </a:cubicBezTo>
                <a:cubicBezTo>
                  <a:pt x="3924496" y="4807138"/>
                  <a:pt x="3924496" y="4807494"/>
                  <a:pt x="3924496" y="4807852"/>
                </a:cubicBezTo>
                <a:cubicBezTo>
                  <a:pt x="3925390" y="4806243"/>
                  <a:pt x="3926283" y="4804813"/>
                  <a:pt x="3926998" y="4803384"/>
                </a:cubicBezTo>
                <a:cubicBezTo>
                  <a:pt x="3924139" y="4799276"/>
                  <a:pt x="3921995" y="4802669"/>
                  <a:pt x="3919673" y="4802669"/>
                </a:cubicBezTo>
                <a:cubicBezTo>
                  <a:pt x="3917349" y="4802850"/>
                  <a:pt x="3915920" y="4801957"/>
                  <a:pt x="3915563" y="4799811"/>
                </a:cubicBezTo>
                <a:cubicBezTo>
                  <a:pt x="3915026" y="4801062"/>
                  <a:pt x="3914490" y="4802491"/>
                  <a:pt x="3913597" y="4803564"/>
                </a:cubicBezTo>
                <a:cubicBezTo>
                  <a:pt x="3910738" y="4807138"/>
                  <a:pt x="3906272" y="4806779"/>
                  <a:pt x="3905021" y="4802850"/>
                </a:cubicBezTo>
                <a:cubicBezTo>
                  <a:pt x="3904484" y="4800347"/>
                  <a:pt x="3903770" y="4797488"/>
                  <a:pt x="3904484" y="4795166"/>
                </a:cubicBezTo>
                <a:cubicBezTo>
                  <a:pt x="3906450" y="4788556"/>
                  <a:pt x="3909131" y="4782124"/>
                  <a:pt x="3911453" y="4775333"/>
                </a:cubicBezTo>
                <a:cubicBezTo>
                  <a:pt x="3901806" y="4763184"/>
                  <a:pt x="3895374" y="4749427"/>
                  <a:pt x="3892872" y="4734240"/>
                </a:cubicBezTo>
                <a:cubicBezTo>
                  <a:pt x="3892693" y="4734240"/>
                  <a:pt x="3892693" y="4734240"/>
                  <a:pt x="3892693" y="4734240"/>
                </a:cubicBezTo>
                <a:cubicBezTo>
                  <a:pt x="3892693" y="4734060"/>
                  <a:pt x="3892693" y="4733882"/>
                  <a:pt x="3892693" y="4733882"/>
                </a:cubicBezTo>
                <a:cubicBezTo>
                  <a:pt x="3892157" y="4730667"/>
                  <a:pt x="3891798" y="4727450"/>
                  <a:pt x="3891620" y="4724235"/>
                </a:cubicBezTo>
                <a:cubicBezTo>
                  <a:pt x="3886083" y="4729057"/>
                  <a:pt x="3879829" y="4732631"/>
                  <a:pt x="3873753" y="4736562"/>
                </a:cubicBezTo>
                <a:cubicBezTo>
                  <a:pt x="3874290" y="4734060"/>
                  <a:pt x="3874290" y="4731023"/>
                  <a:pt x="3875719" y="4729594"/>
                </a:cubicBezTo>
                <a:cubicBezTo>
                  <a:pt x="3880900" y="4724413"/>
                  <a:pt x="3885546" y="4718695"/>
                  <a:pt x="3891620" y="4714764"/>
                </a:cubicBezTo>
                <a:cubicBezTo>
                  <a:pt x="3892157" y="4709761"/>
                  <a:pt x="3893408" y="4704758"/>
                  <a:pt x="3895908" y="4699935"/>
                </a:cubicBezTo>
                <a:cubicBezTo>
                  <a:pt x="3896981" y="4697970"/>
                  <a:pt x="3897338" y="4695825"/>
                  <a:pt x="3897696" y="4693681"/>
                </a:cubicBezTo>
                <a:cubicBezTo>
                  <a:pt x="3897338" y="4693681"/>
                  <a:pt x="3896981" y="4693681"/>
                  <a:pt x="3896623" y="4693681"/>
                </a:cubicBezTo>
                <a:cubicBezTo>
                  <a:pt x="3886261" y="4694396"/>
                  <a:pt x="3878041" y="4690464"/>
                  <a:pt x="3872324" y="4680995"/>
                </a:cubicBezTo>
                <a:cubicBezTo>
                  <a:pt x="3875182" y="4673134"/>
                  <a:pt x="3881795" y="4667416"/>
                  <a:pt x="3887690" y="4660984"/>
                </a:cubicBezTo>
                <a:cubicBezTo>
                  <a:pt x="3888047" y="4659020"/>
                  <a:pt x="3888583" y="4657054"/>
                  <a:pt x="3889120" y="4655267"/>
                </a:cubicBezTo>
                <a:cubicBezTo>
                  <a:pt x="3887690" y="4652766"/>
                  <a:pt x="3886083" y="4650264"/>
                  <a:pt x="3884474" y="4647584"/>
                </a:cubicBezTo>
                <a:cubicBezTo>
                  <a:pt x="3887512" y="4646512"/>
                  <a:pt x="3890013" y="4645798"/>
                  <a:pt x="3892335" y="4644905"/>
                </a:cubicBezTo>
                <a:cubicBezTo>
                  <a:pt x="3892157" y="4644010"/>
                  <a:pt x="3892335" y="4642761"/>
                  <a:pt x="3891798" y="4642224"/>
                </a:cubicBezTo>
                <a:cubicBezTo>
                  <a:pt x="3890727" y="4641153"/>
                  <a:pt x="3889298" y="4640080"/>
                  <a:pt x="3887868" y="4639544"/>
                </a:cubicBezTo>
                <a:cubicBezTo>
                  <a:pt x="3883224" y="4638114"/>
                  <a:pt x="3879292" y="4636507"/>
                  <a:pt x="3876792" y="4631504"/>
                </a:cubicBezTo>
                <a:cubicBezTo>
                  <a:pt x="3875182" y="4628289"/>
                  <a:pt x="3872324" y="4625608"/>
                  <a:pt x="3869465" y="4622928"/>
                </a:cubicBezTo>
                <a:cubicBezTo>
                  <a:pt x="3860889" y="4629002"/>
                  <a:pt x="3852671" y="4635792"/>
                  <a:pt x="3841772" y="4637400"/>
                </a:cubicBezTo>
                <a:cubicBezTo>
                  <a:pt x="3847132" y="4632575"/>
                  <a:pt x="3852493" y="4627931"/>
                  <a:pt x="3858210" y="4623464"/>
                </a:cubicBezTo>
                <a:cubicBezTo>
                  <a:pt x="3857852" y="4622213"/>
                  <a:pt x="3857496" y="4620962"/>
                  <a:pt x="3857852" y="4620606"/>
                </a:cubicBezTo>
                <a:cubicBezTo>
                  <a:pt x="3863748" y="4613637"/>
                  <a:pt x="3869823" y="4606847"/>
                  <a:pt x="3875897" y="4600236"/>
                </a:cubicBezTo>
                <a:cubicBezTo>
                  <a:pt x="3880185" y="4595592"/>
                  <a:pt x="3884654" y="4590589"/>
                  <a:pt x="3889476" y="4586301"/>
                </a:cubicBezTo>
                <a:cubicBezTo>
                  <a:pt x="3887868" y="4584513"/>
                  <a:pt x="3886261" y="4582549"/>
                  <a:pt x="3884474" y="4580762"/>
                </a:cubicBezTo>
                <a:cubicBezTo>
                  <a:pt x="3883939" y="4581298"/>
                  <a:pt x="3883580" y="4581655"/>
                  <a:pt x="3883044" y="4582191"/>
                </a:cubicBezTo>
                <a:cubicBezTo>
                  <a:pt x="3872324" y="4592375"/>
                  <a:pt x="3861247" y="4602380"/>
                  <a:pt x="3850349" y="4612208"/>
                </a:cubicBezTo>
                <a:cubicBezTo>
                  <a:pt x="3849098" y="4613459"/>
                  <a:pt x="3847490" y="4614352"/>
                  <a:pt x="3844810" y="4615781"/>
                </a:cubicBezTo>
                <a:cubicBezTo>
                  <a:pt x="3845524" y="4615423"/>
                  <a:pt x="3846417" y="4615066"/>
                  <a:pt x="3847310" y="4614708"/>
                </a:cubicBezTo>
                <a:cubicBezTo>
                  <a:pt x="3850169" y="4616318"/>
                  <a:pt x="3848383" y="4618283"/>
                  <a:pt x="3847310" y="4619891"/>
                </a:cubicBezTo>
                <a:cubicBezTo>
                  <a:pt x="3841236" y="4629002"/>
                  <a:pt x="3831765" y="4633826"/>
                  <a:pt x="3823011" y="4639544"/>
                </a:cubicBezTo>
                <a:cubicBezTo>
                  <a:pt x="3823547" y="4637043"/>
                  <a:pt x="3823547" y="4634005"/>
                  <a:pt x="3824977" y="4632575"/>
                </a:cubicBezTo>
                <a:cubicBezTo>
                  <a:pt x="3830158" y="4627394"/>
                  <a:pt x="3834982" y="4621499"/>
                  <a:pt x="3841236" y="4617567"/>
                </a:cubicBezTo>
                <a:cubicBezTo>
                  <a:pt x="3843202" y="4613279"/>
                  <a:pt x="3843558" y="4611493"/>
                  <a:pt x="3844631" y="4610242"/>
                </a:cubicBezTo>
                <a:cubicBezTo>
                  <a:pt x="3851064" y="4602559"/>
                  <a:pt x="3857316" y="4595055"/>
                  <a:pt x="3865535" y="4588801"/>
                </a:cubicBezTo>
                <a:cubicBezTo>
                  <a:pt x="3869823" y="4585406"/>
                  <a:pt x="3873575" y="4581476"/>
                  <a:pt x="3877148" y="4577188"/>
                </a:cubicBezTo>
                <a:cubicBezTo>
                  <a:pt x="3876970" y="4577010"/>
                  <a:pt x="3876612" y="4576830"/>
                  <a:pt x="3876612" y="4576474"/>
                </a:cubicBezTo>
                <a:cubicBezTo>
                  <a:pt x="3876612" y="4576115"/>
                  <a:pt x="3876970" y="4575759"/>
                  <a:pt x="3877148" y="4575401"/>
                </a:cubicBezTo>
                <a:cubicBezTo>
                  <a:pt x="3877326" y="4575581"/>
                  <a:pt x="3877507" y="4575937"/>
                  <a:pt x="3877863" y="4576295"/>
                </a:cubicBezTo>
                <a:cubicBezTo>
                  <a:pt x="3878041" y="4575759"/>
                  <a:pt x="3878400" y="4575401"/>
                  <a:pt x="3878756" y="4575044"/>
                </a:cubicBezTo>
                <a:cubicBezTo>
                  <a:pt x="3876077" y="4572542"/>
                  <a:pt x="3873218" y="4570220"/>
                  <a:pt x="3870360" y="4567897"/>
                </a:cubicBezTo>
                <a:cubicBezTo>
                  <a:pt x="3866250" y="4570041"/>
                  <a:pt x="3861604" y="4571471"/>
                  <a:pt x="3856781" y="4572542"/>
                </a:cubicBezTo>
                <a:cubicBezTo>
                  <a:pt x="3854637" y="4572900"/>
                  <a:pt x="3852134" y="4575222"/>
                  <a:pt x="3850883" y="4577188"/>
                </a:cubicBezTo>
                <a:cubicBezTo>
                  <a:pt x="3849098" y="4579869"/>
                  <a:pt x="3851956" y="4581655"/>
                  <a:pt x="3853208" y="4583977"/>
                </a:cubicBezTo>
                <a:cubicBezTo>
                  <a:pt x="3853208" y="4584157"/>
                  <a:pt x="3853208" y="4584335"/>
                  <a:pt x="3853208" y="4584335"/>
                </a:cubicBezTo>
                <a:lnTo>
                  <a:pt x="3854100" y="4584872"/>
                </a:lnTo>
                <a:lnTo>
                  <a:pt x="3853564" y="4585228"/>
                </a:lnTo>
                <a:cubicBezTo>
                  <a:pt x="3856781" y="4592018"/>
                  <a:pt x="3853742" y="4596307"/>
                  <a:pt x="3845702" y="4596841"/>
                </a:cubicBezTo>
                <a:cubicBezTo>
                  <a:pt x="3844273" y="4596841"/>
                  <a:pt x="3842844" y="4596841"/>
                  <a:pt x="3841414" y="4596841"/>
                </a:cubicBezTo>
                <a:cubicBezTo>
                  <a:pt x="3839985" y="4598629"/>
                  <a:pt x="3838197" y="4600236"/>
                  <a:pt x="3836412" y="4601666"/>
                </a:cubicBezTo>
                <a:cubicBezTo>
                  <a:pt x="3827835" y="4608634"/>
                  <a:pt x="3818723" y="4615066"/>
                  <a:pt x="3811756" y="4623999"/>
                </a:cubicBezTo>
                <a:cubicBezTo>
                  <a:pt x="3807646" y="4629182"/>
                  <a:pt x="3801750" y="4633290"/>
                  <a:pt x="3793531" y="4634719"/>
                </a:cubicBezTo>
                <a:cubicBezTo>
                  <a:pt x="3794424" y="4623286"/>
                  <a:pt x="3801570" y="4616674"/>
                  <a:pt x="3808361" y="4611493"/>
                </a:cubicBezTo>
                <a:cubicBezTo>
                  <a:pt x="3813542" y="4607561"/>
                  <a:pt x="3818366" y="4601844"/>
                  <a:pt x="3825870" y="4600951"/>
                </a:cubicBezTo>
                <a:cubicBezTo>
                  <a:pt x="3828014" y="4600773"/>
                  <a:pt x="3830338" y="4598451"/>
                  <a:pt x="3831945" y="4596485"/>
                </a:cubicBezTo>
                <a:cubicBezTo>
                  <a:pt x="3832482" y="4595948"/>
                  <a:pt x="3832838" y="4595592"/>
                  <a:pt x="3833196" y="4595055"/>
                </a:cubicBezTo>
                <a:cubicBezTo>
                  <a:pt x="3828550" y="4593090"/>
                  <a:pt x="3824798" y="4589516"/>
                  <a:pt x="3821582" y="4584335"/>
                </a:cubicBezTo>
                <a:cubicBezTo>
                  <a:pt x="3823906" y="4578439"/>
                  <a:pt x="3828194" y="4573615"/>
                  <a:pt x="3832660" y="4568969"/>
                </a:cubicBezTo>
                <a:cubicBezTo>
                  <a:pt x="3829801" y="4568434"/>
                  <a:pt x="3826942" y="4568076"/>
                  <a:pt x="3824084" y="4567539"/>
                </a:cubicBezTo>
                <a:cubicBezTo>
                  <a:pt x="3819974" y="4572364"/>
                  <a:pt x="3815508" y="4577188"/>
                  <a:pt x="3810505" y="4582728"/>
                </a:cubicBezTo>
                <a:cubicBezTo>
                  <a:pt x="3806932" y="4577010"/>
                  <a:pt x="3803894" y="4572007"/>
                  <a:pt x="3796748" y="4581118"/>
                </a:cubicBezTo>
                <a:cubicBezTo>
                  <a:pt x="3796926" y="4579689"/>
                  <a:pt x="3796926" y="4578081"/>
                  <a:pt x="3796926" y="4576652"/>
                </a:cubicBezTo>
                <a:cubicBezTo>
                  <a:pt x="3799963" y="4572364"/>
                  <a:pt x="3802822" y="4568254"/>
                  <a:pt x="3806573" y="4563251"/>
                </a:cubicBezTo>
                <a:cubicBezTo>
                  <a:pt x="3800321" y="4566290"/>
                  <a:pt x="3795138" y="4568969"/>
                  <a:pt x="3789779" y="4571649"/>
                </a:cubicBezTo>
                <a:cubicBezTo>
                  <a:pt x="3784596" y="4566110"/>
                  <a:pt x="3790850" y="4562895"/>
                  <a:pt x="3792638" y="4558070"/>
                </a:cubicBezTo>
                <a:cubicBezTo>
                  <a:pt x="3789779" y="4560036"/>
                  <a:pt x="3786742" y="4561822"/>
                  <a:pt x="3783883" y="4563609"/>
                </a:cubicBezTo>
                <a:cubicBezTo>
                  <a:pt x="3784240" y="4561465"/>
                  <a:pt x="3784776" y="4559678"/>
                  <a:pt x="3785669" y="4558070"/>
                </a:cubicBezTo>
                <a:cubicBezTo>
                  <a:pt x="3778522" y="4560751"/>
                  <a:pt x="3773163" y="4565395"/>
                  <a:pt x="3769232" y="4572186"/>
                </a:cubicBezTo>
                <a:cubicBezTo>
                  <a:pt x="3768338" y="4573615"/>
                  <a:pt x="3766909" y="4575581"/>
                  <a:pt x="3765302" y="4575937"/>
                </a:cubicBezTo>
                <a:cubicBezTo>
                  <a:pt x="3762263" y="4576652"/>
                  <a:pt x="3759584" y="4577725"/>
                  <a:pt x="3756904" y="4578974"/>
                </a:cubicBezTo>
                <a:cubicBezTo>
                  <a:pt x="3756546" y="4579332"/>
                  <a:pt x="3756189" y="4579869"/>
                  <a:pt x="3755831" y="4580225"/>
                </a:cubicBezTo>
                <a:cubicBezTo>
                  <a:pt x="3754401" y="4582191"/>
                  <a:pt x="3753330" y="4584872"/>
                  <a:pt x="3752972" y="4587372"/>
                </a:cubicBezTo>
                <a:cubicBezTo>
                  <a:pt x="3751901" y="4596307"/>
                  <a:pt x="3745290" y="4600773"/>
                  <a:pt x="3739036" y="4605597"/>
                </a:cubicBezTo>
                <a:cubicBezTo>
                  <a:pt x="3738322" y="4606312"/>
                  <a:pt x="3737071" y="4606312"/>
                  <a:pt x="3735820" y="4606312"/>
                </a:cubicBezTo>
                <a:cubicBezTo>
                  <a:pt x="3735105" y="4606490"/>
                  <a:pt x="3734212" y="4606847"/>
                  <a:pt x="3733319" y="4606847"/>
                </a:cubicBezTo>
                <a:cubicBezTo>
                  <a:pt x="3731175" y="4611493"/>
                  <a:pt x="3730282" y="4615781"/>
                  <a:pt x="3730282" y="4622391"/>
                </a:cubicBezTo>
                <a:cubicBezTo>
                  <a:pt x="3736356" y="4616496"/>
                  <a:pt x="3740644" y="4612208"/>
                  <a:pt x="3745110" y="4608098"/>
                </a:cubicBezTo>
                <a:cubicBezTo>
                  <a:pt x="3749398" y="4604168"/>
                  <a:pt x="3753867" y="4600416"/>
                  <a:pt x="3758870" y="4595948"/>
                </a:cubicBezTo>
                <a:cubicBezTo>
                  <a:pt x="3760477" y="4598451"/>
                  <a:pt x="3761548" y="4600058"/>
                  <a:pt x="3762978" y="4602024"/>
                </a:cubicBezTo>
                <a:cubicBezTo>
                  <a:pt x="3752972" y="4615423"/>
                  <a:pt x="3739393" y="4626501"/>
                  <a:pt x="3738144" y="4644905"/>
                </a:cubicBezTo>
                <a:cubicBezTo>
                  <a:pt x="3735285" y="4644725"/>
                  <a:pt x="3733319" y="4644547"/>
                  <a:pt x="3731532" y="4644547"/>
                </a:cubicBezTo>
                <a:cubicBezTo>
                  <a:pt x="3728138" y="4649193"/>
                  <a:pt x="3724743" y="4653837"/>
                  <a:pt x="3721170" y="4658840"/>
                </a:cubicBezTo>
                <a:cubicBezTo>
                  <a:pt x="3721884" y="4660448"/>
                  <a:pt x="3722777" y="4662414"/>
                  <a:pt x="3723670" y="4664736"/>
                </a:cubicBezTo>
                <a:cubicBezTo>
                  <a:pt x="3725458" y="4661343"/>
                  <a:pt x="3727065" y="4657769"/>
                  <a:pt x="3729568" y="4654910"/>
                </a:cubicBezTo>
                <a:cubicBezTo>
                  <a:pt x="3730460" y="4653837"/>
                  <a:pt x="3732246" y="4653659"/>
                  <a:pt x="3733676" y="4652945"/>
                </a:cubicBezTo>
                <a:cubicBezTo>
                  <a:pt x="3735463" y="4655445"/>
                  <a:pt x="3737249" y="4657769"/>
                  <a:pt x="3739036" y="4660091"/>
                </a:cubicBezTo>
                <a:cubicBezTo>
                  <a:pt x="3737786" y="4668309"/>
                  <a:pt x="3730817" y="4674207"/>
                  <a:pt x="3732068" y="4682961"/>
                </a:cubicBezTo>
                <a:cubicBezTo>
                  <a:pt x="3733141" y="4690286"/>
                  <a:pt x="3732961" y="4697791"/>
                  <a:pt x="3733319" y="4706187"/>
                </a:cubicBezTo>
                <a:cubicBezTo>
                  <a:pt x="3734212" y="4706902"/>
                  <a:pt x="3736356" y="4708512"/>
                  <a:pt x="3738322" y="4709941"/>
                </a:cubicBezTo>
                <a:cubicBezTo>
                  <a:pt x="3739751" y="4713514"/>
                  <a:pt x="3733319" y="4721732"/>
                  <a:pt x="3723492" y="4728701"/>
                </a:cubicBezTo>
                <a:cubicBezTo>
                  <a:pt x="3723492" y="4729057"/>
                  <a:pt x="3723492" y="4729415"/>
                  <a:pt x="3723492" y="4729952"/>
                </a:cubicBezTo>
                <a:cubicBezTo>
                  <a:pt x="3726350" y="4730130"/>
                  <a:pt x="3729209" y="4730308"/>
                  <a:pt x="3732068" y="4730308"/>
                </a:cubicBezTo>
                <a:cubicBezTo>
                  <a:pt x="3732246" y="4731381"/>
                  <a:pt x="3732961" y="4732811"/>
                  <a:pt x="3732604" y="4733345"/>
                </a:cubicBezTo>
                <a:cubicBezTo>
                  <a:pt x="3731532" y="4734775"/>
                  <a:pt x="3730460" y="4736384"/>
                  <a:pt x="3729388" y="4737813"/>
                </a:cubicBezTo>
                <a:cubicBezTo>
                  <a:pt x="3730817" y="4738348"/>
                  <a:pt x="3732426" y="4738706"/>
                  <a:pt x="3733856" y="4739243"/>
                </a:cubicBezTo>
                <a:cubicBezTo>
                  <a:pt x="3729746" y="4744960"/>
                  <a:pt x="3726887" y="4746746"/>
                  <a:pt x="3724206" y="4744960"/>
                </a:cubicBezTo>
                <a:cubicBezTo>
                  <a:pt x="3723670" y="4744602"/>
                  <a:pt x="3722955" y="4744066"/>
                  <a:pt x="3722421" y="4743709"/>
                </a:cubicBezTo>
                <a:cubicBezTo>
                  <a:pt x="3708842" y="4753000"/>
                  <a:pt x="3697942" y="4765150"/>
                  <a:pt x="3685257" y="4775333"/>
                </a:cubicBezTo>
                <a:cubicBezTo>
                  <a:pt x="3679360" y="4780158"/>
                  <a:pt x="3674179" y="4784982"/>
                  <a:pt x="3666317" y="4786232"/>
                </a:cubicBezTo>
                <a:cubicBezTo>
                  <a:pt x="3661851" y="4786946"/>
                  <a:pt x="3657563" y="4789805"/>
                  <a:pt x="3653275" y="4791771"/>
                </a:cubicBezTo>
                <a:cubicBezTo>
                  <a:pt x="3645055" y="4791415"/>
                  <a:pt x="3641125" y="4784624"/>
                  <a:pt x="3637552" y="4779443"/>
                </a:cubicBezTo>
                <a:cubicBezTo>
                  <a:pt x="3633086" y="4772833"/>
                  <a:pt x="3627188" y="4766042"/>
                  <a:pt x="3628261" y="4756395"/>
                </a:cubicBezTo>
                <a:cubicBezTo>
                  <a:pt x="3628617" y="4752107"/>
                  <a:pt x="3625580" y="4747461"/>
                  <a:pt x="3623973" y="4742102"/>
                </a:cubicBezTo>
                <a:cubicBezTo>
                  <a:pt x="3616290" y="4741029"/>
                  <a:pt x="3608786" y="4745317"/>
                  <a:pt x="3600388" y="4744960"/>
                </a:cubicBezTo>
                <a:cubicBezTo>
                  <a:pt x="3599316" y="4743173"/>
                  <a:pt x="3597708" y="4741207"/>
                  <a:pt x="3597708" y="4739421"/>
                </a:cubicBezTo>
                <a:cubicBezTo>
                  <a:pt x="3598066" y="4737992"/>
                  <a:pt x="3598066" y="4736562"/>
                  <a:pt x="3598066" y="4735133"/>
                </a:cubicBezTo>
                <a:cubicBezTo>
                  <a:pt x="3595386" y="4738528"/>
                  <a:pt x="3592527" y="4741743"/>
                  <a:pt x="3589310" y="4744602"/>
                </a:cubicBezTo>
                <a:cubicBezTo>
                  <a:pt x="3585380" y="4748175"/>
                  <a:pt x="3580377" y="4750498"/>
                  <a:pt x="3575731" y="4753536"/>
                </a:cubicBezTo>
                <a:cubicBezTo>
                  <a:pt x="3575016" y="4752822"/>
                  <a:pt x="3574302" y="4752285"/>
                  <a:pt x="3573587" y="4751749"/>
                </a:cubicBezTo>
                <a:cubicBezTo>
                  <a:pt x="3574660" y="4747461"/>
                  <a:pt x="3575731" y="4743173"/>
                  <a:pt x="3576804" y="4738885"/>
                </a:cubicBezTo>
                <a:cubicBezTo>
                  <a:pt x="3570550" y="4743353"/>
                  <a:pt x="3562510" y="4744960"/>
                  <a:pt x="3559115" y="4753000"/>
                </a:cubicBezTo>
                <a:cubicBezTo>
                  <a:pt x="3556434" y="4759610"/>
                  <a:pt x="3551790" y="4765506"/>
                  <a:pt x="3547858" y="4772118"/>
                </a:cubicBezTo>
                <a:cubicBezTo>
                  <a:pt x="3539818" y="4759610"/>
                  <a:pt x="3536960" y="4759074"/>
                  <a:pt x="3526418" y="4767650"/>
                </a:cubicBezTo>
                <a:cubicBezTo>
                  <a:pt x="3523024" y="4770331"/>
                  <a:pt x="3519629" y="4773011"/>
                  <a:pt x="3516590" y="4775512"/>
                </a:cubicBezTo>
                <a:cubicBezTo>
                  <a:pt x="3512482" y="4771045"/>
                  <a:pt x="3508909" y="4766935"/>
                  <a:pt x="3504621" y="4762113"/>
                </a:cubicBezTo>
                <a:cubicBezTo>
                  <a:pt x="3501048" y="4768008"/>
                  <a:pt x="3498189" y="4772833"/>
                  <a:pt x="3494437" y="4778729"/>
                </a:cubicBezTo>
                <a:cubicBezTo>
                  <a:pt x="3494972" y="4779800"/>
                  <a:pt x="3496045" y="4781944"/>
                  <a:pt x="3497116" y="4784090"/>
                </a:cubicBezTo>
                <a:cubicBezTo>
                  <a:pt x="3496223" y="4784268"/>
                  <a:pt x="3495330" y="4784268"/>
                  <a:pt x="3494616" y="4784802"/>
                </a:cubicBezTo>
                <a:cubicBezTo>
                  <a:pt x="3480500" y="4794808"/>
                  <a:pt x="3466384" y="4804994"/>
                  <a:pt x="3452271" y="4815177"/>
                </a:cubicBezTo>
                <a:cubicBezTo>
                  <a:pt x="3451556" y="4815534"/>
                  <a:pt x="3450662" y="4815892"/>
                  <a:pt x="3450127" y="4816607"/>
                </a:cubicBezTo>
                <a:cubicBezTo>
                  <a:pt x="3447268" y="4819824"/>
                  <a:pt x="3444944" y="4825539"/>
                  <a:pt x="3441907" y="4825898"/>
                </a:cubicBezTo>
                <a:cubicBezTo>
                  <a:pt x="3436368" y="4826612"/>
                  <a:pt x="3430472" y="4824110"/>
                  <a:pt x="3424755" y="4823039"/>
                </a:cubicBezTo>
                <a:cubicBezTo>
                  <a:pt x="3425291" y="4826076"/>
                  <a:pt x="3425828" y="4830007"/>
                  <a:pt x="3426721" y="4835367"/>
                </a:cubicBezTo>
                <a:cubicBezTo>
                  <a:pt x="3416715" y="4841799"/>
                  <a:pt x="3406173" y="4848589"/>
                  <a:pt x="3395811" y="4855199"/>
                </a:cubicBezTo>
                <a:cubicBezTo>
                  <a:pt x="3395453" y="4854485"/>
                  <a:pt x="3395096" y="4853948"/>
                  <a:pt x="3394738" y="4853412"/>
                </a:cubicBezTo>
                <a:cubicBezTo>
                  <a:pt x="3397060" y="4850555"/>
                  <a:pt x="3399204" y="4847516"/>
                  <a:pt x="3401529" y="4844657"/>
                </a:cubicBezTo>
                <a:cubicBezTo>
                  <a:pt x="3401170" y="4844301"/>
                  <a:pt x="3400814" y="4843765"/>
                  <a:pt x="3400456" y="4843228"/>
                </a:cubicBezTo>
                <a:cubicBezTo>
                  <a:pt x="3391521" y="4848409"/>
                  <a:pt x="3382589" y="4853770"/>
                  <a:pt x="3373120" y="4859488"/>
                </a:cubicBezTo>
                <a:cubicBezTo>
                  <a:pt x="3373476" y="4860917"/>
                  <a:pt x="3374371" y="4863061"/>
                  <a:pt x="3375086" y="4865383"/>
                </a:cubicBezTo>
                <a:cubicBezTo>
                  <a:pt x="3374549" y="4865741"/>
                  <a:pt x="3373834" y="4866276"/>
                  <a:pt x="3373120" y="4866634"/>
                </a:cubicBezTo>
                <a:cubicBezTo>
                  <a:pt x="3371690" y="4864132"/>
                  <a:pt x="3370083" y="4861453"/>
                  <a:pt x="3368653" y="4858773"/>
                </a:cubicBezTo>
                <a:cubicBezTo>
                  <a:pt x="3364544" y="4864312"/>
                  <a:pt x="3356682" y="4866276"/>
                  <a:pt x="3354180" y="4873425"/>
                </a:cubicBezTo>
                <a:cubicBezTo>
                  <a:pt x="3353823" y="4874318"/>
                  <a:pt x="3351857" y="4875747"/>
                  <a:pt x="3351143" y="4875389"/>
                </a:cubicBezTo>
                <a:cubicBezTo>
                  <a:pt x="3344354" y="4872530"/>
                  <a:pt x="3340244" y="4877355"/>
                  <a:pt x="3335778" y="4880570"/>
                </a:cubicBezTo>
                <a:cubicBezTo>
                  <a:pt x="3331310" y="4883787"/>
                  <a:pt x="3326487" y="4885753"/>
                  <a:pt x="3323448" y="4892185"/>
                </a:cubicBezTo>
                <a:cubicBezTo>
                  <a:pt x="3320590" y="4898437"/>
                  <a:pt x="3311835" y="4901832"/>
                  <a:pt x="3303796" y="4904513"/>
                </a:cubicBezTo>
                <a:cubicBezTo>
                  <a:pt x="3305940" y="4901832"/>
                  <a:pt x="3308262" y="4899332"/>
                  <a:pt x="3311299" y="4895578"/>
                </a:cubicBezTo>
                <a:cubicBezTo>
                  <a:pt x="3306296" y="4896473"/>
                  <a:pt x="3302186" y="4897366"/>
                  <a:pt x="3298078" y="4898080"/>
                </a:cubicBezTo>
                <a:cubicBezTo>
                  <a:pt x="3297363" y="4895400"/>
                  <a:pt x="3296827" y="4893434"/>
                  <a:pt x="3296290" y="4890934"/>
                </a:cubicBezTo>
                <a:cubicBezTo>
                  <a:pt x="3288965" y="4894863"/>
                  <a:pt x="3282177" y="4898437"/>
                  <a:pt x="3275386" y="4902010"/>
                </a:cubicBezTo>
                <a:cubicBezTo>
                  <a:pt x="3273600" y="4900046"/>
                  <a:pt x="3272350" y="4898617"/>
                  <a:pt x="3271098" y="4897187"/>
                </a:cubicBezTo>
                <a:cubicBezTo>
                  <a:pt x="3269847" y="4897722"/>
                  <a:pt x="3268418" y="4898080"/>
                  <a:pt x="3268418" y="4898617"/>
                </a:cubicBezTo>
                <a:cubicBezTo>
                  <a:pt x="3266988" y="4910945"/>
                  <a:pt x="3255375" y="4910945"/>
                  <a:pt x="3247692" y="4915411"/>
                </a:cubicBezTo>
                <a:cubicBezTo>
                  <a:pt x="3239652" y="4920235"/>
                  <a:pt x="3230898" y="4923809"/>
                  <a:pt x="3222858" y="4928812"/>
                </a:cubicBezTo>
                <a:cubicBezTo>
                  <a:pt x="3219285" y="4930956"/>
                  <a:pt x="3220178" y="4934171"/>
                  <a:pt x="3223751" y="4937210"/>
                </a:cubicBezTo>
                <a:cubicBezTo>
                  <a:pt x="3226252" y="4939354"/>
                  <a:pt x="3228218" y="4942927"/>
                  <a:pt x="3221964" y="4945071"/>
                </a:cubicBezTo>
                <a:cubicBezTo>
                  <a:pt x="3218748" y="4946320"/>
                  <a:pt x="3216961" y="4951145"/>
                  <a:pt x="3213746" y="4952753"/>
                </a:cubicBezTo>
                <a:cubicBezTo>
                  <a:pt x="3201774" y="4958828"/>
                  <a:pt x="3189624" y="4964368"/>
                  <a:pt x="3176404" y="4968297"/>
                </a:cubicBezTo>
                <a:cubicBezTo>
                  <a:pt x="3180334" y="4965797"/>
                  <a:pt x="3184085" y="4962938"/>
                  <a:pt x="3188195" y="4960972"/>
                </a:cubicBezTo>
                <a:cubicBezTo>
                  <a:pt x="3193198" y="4958650"/>
                  <a:pt x="3188374" y="4951681"/>
                  <a:pt x="3194449" y="4949716"/>
                </a:cubicBezTo>
                <a:cubicBezTo>
                  <a:pt x="3198737" y="4948464"/>
                  <a:pt x="3202489" y="4945249"/>
                  <a:pt x="3205884" y="4941854"/>
                </a:cubicBezTo>
                <a:cubicBezTo>
                  <a:pt x="3191232" y="4942927"/>
                  <a:pt x="3179262" y="4951323"/>
                  <a:pt x="3166576" y="4957577"/>
                </a:cubicBezTo>
                <a:cubicBezTo>
                  <a:pt x="3153176" y="4964187"/>
                  <a:pt x="3140490" y="4973300"/>
                  <a:pt x="3126376" y="4977410"/>
                </a:cubicBezTo>
                <a:cubicBezTo>
                  <a:pt x="3112797" y="4981340"/>
                  <a:pt x="3102434" y="4992775"/>
                  <a:pt x="3085996" y="4991525"/>
                </a:cubicBezTo>
                <a:cubicBezTo>
                  <a:pt x="3094572" y="4986343"/>
                  <a:pt x="3102255" y="4981340"/>
                  <a:pt x="3110117" y="4976874"/>
                </a:cubicBezTo>
                <a:cubicBezTo>
                  <a:pt x="3119944" y="4971334"/>
                  <a:pt x="3130128" y="4966153"/>
                  <a:pt x="3137274" y="4955611"/>
                </a:cubicBezTo>
                <a:cubicBezTo>
                  <a:pt x="3123874" y="4962043"/>
                  <a:pt x="3111546" y="4968119"/>
                  <a:pt x="3099038" y="4974193"/>
                </a:cubicBezTo>
                <a:cubicBezTo>
                  <a:pt x="3097074" y="4971871"/>
                  <a:pt x="3095823" y="4970263"/>
                  <a:pt x="3094750" y="4968834"/>
                </a:cubicBezTo>
                <a:cubicBezTo>
                  <a:pt x="3089747" y="4970263"/>
                  <a:pt x="3084744" y="4971693"/>
                  <a:pt x="3079742" y="4973122"/>
                </a:cubicBezTo>
                <a:cubicBezTo>
                  <a:pt x="3078849" y="4969549"/>
                  <a:pt x="3078134" y="4967226"/>
                  <a:pt x="3077598" y="4965082"/>
                </a:cubicBezTo>
                <a:cubicBezTo>
                  <a:pt x="3063126" y="4965617"/>
                  <a:pt x="3050620" y="4969727"/>
                  <a:pt x="3038827" y="4977232"/>
                </a:cubicBezTo>
                <a:cubicBezTo>
                  <a:pt x="3040434" y="4966690"/>
                  <a:pt x="3049905" y="4965439"/>
                  <a:pt x="3057945" y="4960794"/>
                </a:cubicBezTo>
                <a:cubicBezTo>
                  <a:pt x="3048654" y="4956506"/>
                  <a:pt x="3040792" y="4952753"/>
                  <a:pt x="3032216" y="4948823"/>
                </a:cubicBezTo>
                <a:cubicBezTo>
                  <a:pt x="3033468" y="4942212"/>
                  <a:pt x="3041864" y="4950074"/>
                  <a:pt x="3044366" y="4944713"/>
                </a:cubicBezTo>
                <a:cubicBezTo>
                  <a:pt x="3037397" y="4936495"/>
                  <a:pt x="3030787" y="4935780"/>
                  <a:pt x="3022567" y="4942032"/>
                </a:cubicBezTo>
                <a:cubicBezTo>
                  <a:pt x="3016494" y="4946679"/>
                  <a:pt x="3010240" y="4951145"/>
                  <a:pt x="3002736" y="4956506"/>
                </a:cubicBezTo>
                <a:cubicBezTo>
                  <a:pt x="2999698" y="4943105"/>
                  <a:pt x="3012027" y="4942747"/>
                  <a:pt x="3014528" y="4934529"/>
                </a:cubicBezTo>
                <a:cubicBezTo>
                  <a:pt x="3009525" y="4937566"/>
                  <a:pt x="3004522" y="4940603"/>
                  <a:pt x="2998090" y="4944535"/>
                </a:cubicBezTo>
                <a:cubicBezTo>
                  <a:pt x="3001842" y="4940247"/>
                  <a:pt x="3004344" y="4937030"/>
                  <a:pt x="3007917" y="4932741"/>
                </a:cubicBezTo>
                <a:cubicBezTo>
                  <a:pt x="3003271" y="4931134"/>
                  <a:pt x="2999698" y="4929705"/>
                  <a:pt x="2996304" y="4928453"/>
                </a:cubicBezTo>
                <a:cubicBezTo>
                  <a:pt x="2998090" y="4918806"/>
                  <a:pt x="3016494" y="4925595"/>
                  <a:pt x="3013635" y="4910766"/>
                </a:cubicBezTo>
                <a:cubicBezTo>
                  <a:pt x="3004166" y="4913267"/>
                  <a:pt x="3012027" y="4901476"/>
                  <a:pt x="3005595" y="4901117"/>
                </a:cubicBezTo>
                <a:cubicBezTo>
                  <a:pt x="3000056" y="4906835"/>
                  <a:pt x="2994160" y="4912730"/>
                  <a:pt x="2988442" y="4918448"/>
                </a:cubicBezTo>
                <a:cubicBezTo>
                  <a:pt x="2981296" y="4914518"/>
                  <a:pt x="2986655" y="4909337"/>
                  <a:pt x="2985404" y="4905405"/>
                </a:cubicBezTo>
                <a:cubicBezTo>
                  <a:pt x="2983082" y="4898080"/>
                  <a:pt x="2994516" y="4902725"/>
                  <a:pt x="2992372" y="4895043"/>
                </a:cubicBezTo>
                <a:cubicBezTo>
                  <a:pt x="2986655" y="4888253"/>
                  <a:pt x="2982010" y="4899151"/>
                  <a:pt x="2975220" y="4897544"/>
                </a:cubicBezTo>
                <a:cubicBezTo>
                  <a:pt x="2975935" y="4894863"/>
                  <a:pt x="2976650" y="4892185"/>
                  <a:pt x="2977542" y="4888611"/>
                </a:cubicBezTo>
                <a:cubicBezTo>
                  <a:pt x="2975220" y="4888253"/>
                  <a:pt x="2972898" y="4887897"/>
                  <a:pt x="2970576" y="4887538"/>
                </a:cubicBezTo>
                <a:cubicBezTo>
                  <a:pt x="2976293" y="4880750"/>
                  <a:pt x="2982367" y="4873603"/>
                  <a:pt x="2986655" y="4868242"/>
                </a:cubicBezTo>
                <a:cubicBezTo>
                  <a:pt x="2987548" y="4861632"/>
                  <a:pt x="2988084" y="4856985"/>
                  <a:pt x="2988799" y="4850733"/>
                </a:cubicBezTo>
                <a:cubicBezTo>
                  <a:pt x="2979330" y="4857522"/>
                  <a:pt x="2970396" y="4863597"/>
                  <a:pt x="2961641" y="4869850"/>
                </a:cubicBezTo>
                <a:cubicBezTo>
                  <a:pt x="2953065" y="4876103"/>
                  <a:pt x="2944667" y="4882536"/>
                  <a:pt x="2935912" y="4888431"/>
                </a:cubicBezTo>
                <a:cubicBezTo>
                  <a:pt x="2934127" y="4889682"/>
                  <a:pt x="2931268" y="4889682"/>
                  <a:pt x="2928944" y="4890219"/>
                </a:cubicBezTo>
                <a:cubicBezTo>
                  <a:pt x="2931803" y="4887717"/>
                  <a:pt x="2934662" y="4885038"/>
                  <a:pt x="2937520" y="4882536"/>
                </a:cubicBezTo>
                <a:cubicBezTo>
                  <a:pt x="2936986" y="4881643"/>
                  <a:pt x="2936271" y="4880750"/>
                  <a:pt x="2935734" y="4879855"/>
                </a:cubicBezTo>
                <a:cubicBezTo>
                  <a:pt x="2931088" y="4882357"/>
                  <a:pt x="2926622" y="4884858"/>
                  <a:pt x="2921977" y="4887360"/>
                </a:cubicBezTo>
                <a:cubicBezTo>
                  <a:pt x="2932517" y="4871637"/>
                  <a:pt x="2950028" y="4864132"/>
                  <a:pt x="2961104" y="4852697"/>
                </a:cubicBezTo>
                <a:cubicBezTo>
                  <a:pt x="2963070" y="4843943"/>
                  <a:pt x="2964678" y="4836796"/>
                  <a:pt x="2966108" y="4830542"/>
                </a:cubicBezTo>
                <a:cubicBezTo>
                  <a:pt x="2963785" y="4826254"/>
                  <a:pt x="2961285" y="4822146"/>
                  <a:pt x="2959675" y="4817858"/>
                </a:cubicBezTo>
                <a:cubicBezTo>
                  <a:pt x="2958068" y="4813211"/>
                  <a:pt x="2947526" y="4818036"/>
                  <a:pt x="2950921" y="4809460"/>
                </a:cubicBezTo>
                <a:cubicBezTo>
                  <a:pt x="2939664" y="4804279"/>
                  <a:pt x="2931983" y="4814284"/>
                  <a:pt x="2920904" y="4815355"/>
                </a:cubicBezTo>
                <a:cubicBezTo>
                  <a:pt x="2923585" y="4811960"/>
                  <a:pt x="2925907" y="4809102"/>
                  <a:pt x="2928051" y="4806423"/>
                </a:cubicBezTo>
                <a:cubicBezTo>
                  <a:pt x="2912506" y="4811960"/>
                  <a:pt x="2901966" y="4825005"/>
                  <a:pt x="2884992" y="4830007"/>
                </a:cubicBezTo>
                <a:cubicBezTo>
                  <a:pt x="2886600" y="4818573"/>
                  <a:pt x="2896068" y="4818036"/>
                  <a:pt x="2901966" y="4813211"/>
                </a:cubicBezTo>
                <a:cubicBezTo>
                  <a:pt x="2908218" y="4808209"/>
                  <a:pt x="2913401" y="4801957"/>
                  <a:pt x="2920904" y="4794273"/>
                </a:cubicBezTo>
                <a:cubicBezTo>
                  <a:pt x="2907862" y="4794630"/>
                  <a:pt x="2903216" y="4802491"/>
                  <a:pt x="2896427" y="4807494"/>
                </a:cubicBezTo>
                <a:cubicBezTo>
                  <a:pt x="2889816" y="4812319"/>
                  <a:pt x="2882312" y="4815714"/>
                  <a:pt x="2873557" y="4820895"/>
                </a:cubicBezTo>
                <a:cubicBezTo>
                  <a:pt x="2880882" y="4802135"/>
                  <a:pt x="2895712" y="4793379"/>
                  <a:pt x="2907862" y="4783017"/>
                </a:cubicBezTo>
                <a:cubicBezTo>
                  <a:pt x="2906969" y="4778014"/>
                  <a:pt x="2906254" y="4773726"/>
                  <a:pt x="2905360" y="4769079"/>
                </a:cubicBezTo>
                <a:cubicBezTo>
                  <a:pt x="2903216" y="4770152"/>
                  <a:pt x="2900715" y="4771582"/>
                  <a:pt x="2896783" y="4773548"/>
                </a:cubicBezTo>
                <a:cubicBezTo>
                  <a:pt x="2897320" y="4769079"/>
                  <a:pt x="2897678" y="4765864"/>
                  <a:pt x="2898393" y="4761040"/>
                </a:cubicBezTo>
                <a:cubicBezTo>
                  <a:pt x="2887314" y="4768901"/>
                  <a:pt x="2877130" y="4776048"/>
                  <a:pt x="2867125" y="4783195"/>
                </a:cubicBezTo>
                <a:cubicBezTo>
                  <a:pt x="2866767" y="4782658"/>
                  <a:pt x="2866232" y="4782124"/>
                  <a:pt x="2865874" y="4781765"/>
                </a:cubicBezTo>
                <a:cubicBezTo>
                  <a:pt x="2869447" y="4776763"/>
                  <a:pt x="2873020" y="4771582"/>
                  <a:pt x="2877667" y="4765150"/>
                </a:cubicBezTo>
                <a:cubicBezTo>
                  <a:pt x="2873735" y="4765506"/>
                  <a:pt x="2870698" y="4765686"/>
                  <a:pt x="2866052" y="4766042"/>
                </a:cubicBezTo>
                <a:cubicBezTo>
                  <a:pt x="2873914" y="4757825"/>
                  <a:pt x="2880526" y="4750856"/>
                  <a:pt x="2889280" y="4741743"/>
                </a:cubicBezTo>
                <a:cubicBezTo>
                  <a:pt x="2883026" y="4741921"/>
                  <a:pt x="2880346" y="4741921"/>
                  <a:pt x="2876594" y="4741921"/>
                </a:cubicBezTo>
                <a:cubicBezTo>
                  <a:pt x="2878560" y="4739063"/>
                  <a:pt x="2879811" y="4736919"/>
                  <a:pt x="2881955" y="4733704"/>
                </a:cubicBezTo>
                <a:cubicBezTo>
                  <a:pt x="2869984" y="4736204"/>
                  <a:pt x="2873914" y="4721018"/>
                  <a:pt x="2863373" y="4719946"/>
                </a:cubicBezTo>
                <a:cubicBezTo>
                  <a:pt x="2866767" y="4716908"/>
                  <a:pt x="2869269" y="4714585"/>
                  <a:pt x="2871950" y="4712263"/>
                </a:cubicBezTo>
                <a:cubicBezTo>
                  <a:pt x="2871770" y="4711905"/>
                  <a:pt x="2871413" y="4711370"/>
                  <a:pt x="2871055" y="4711012"/>
                </a:cubicBezTo>
                <a:cubicBezTo>
                  <a:pt x="2866767" y="4713156"/>
                  <a:pt x="2862478" y="4715300"/>
                  <a:pt x="2858190" y="4717444"/>
                </a:cubicBezTo>
                <a:cubicBezTo>
                  <a:pt x="2857834" y="4716729"/>
                  <a:pt x="2857298" y="4715837"/>
                  <a:pt x="2856761" y="4715122"/>
                </a:cubicBezTo>
                <a:cubicBezTo>
                  <a:pt x="2865337" y="4707439"/>
                  <a:pt x="2874094" y="4699757"/>
                  <a:pt x="2883384" y="4691359"/>
                </a:cubicBezTo>
                <a:cubicBezTo>
                  <a:pt x="2885348" y="4692608"/>
                  <a:pt x="2887851" y="4694754"/>
                  <a:pt x="2890351" y="4696540"/>
                </a:cubicBezTo>
                <a:cubicBezTo>
                  <a:pt x="2898393" y="4692608"/>
                  <a:pt x="2889816" y="4687964"/>
                  <a:pt x="2891960" y="4682961"/>
                </a:cubicBezTo>
                <a:cubicBezTo>
                  <a:pt x="2902859" y="4678137"/>
                  <a:pt x="2899286" y="4667595"/>
                  <a:pt x="2899642" y="4657769"/>
                </a:cubicBezTo>
                <a:cubicBezTo>
                  <a:pt x="2894461" y="4654730"/>
                  <a:pt x="2889102" y="4651337"/>
                  <a:pt x="2882490" y="4647227"/>
                </a:cubicBezTo>
                <a:cubicBezTo>
                  <a:pt x="2889280" y="4638829"/>
                  <a:pt x="2895354" y="4631504"/>
                  <a:pt x="2901252" y="4623999"/>
                </a:cubicBezTo>
                <a:cubicBezTo>
                  <a:pt x="2900893" y="4623286"/>
                  <a:pt x="2900715" y="4622570"/>
                  <a:pt x="2900357" y="4621855"/>
                </a:cubicBezTo>
                <a:cubicBezTo>
                  <a:pt x="2897498" y="4622750"/>
                  <a:pt x="2894104" y="4622928"/>
                  <a:pt x="2891602" y="4624535"/>
                </a:cubicBezTo>
                <a:cubicBezTo>
                  <a:pt x="2877667" y="4633826"/>
                  <a:pt x="2864088" y="4643475"/>
                  <a:pt x="2850329" y="4652766"/>
                </a:cubicBezTo>
                <a:cubicBezTo>
                  <a:pt x="2848007" y="4654374"/>
                  <a:pt x="2844970" y="4654910"/>
                  <a:pt x="2842289" y="4655803"/>
                </a:cubicBezTo>
                <a:cubicBezTo>
                  <a:pt x="2840682" y="4656340"/>
                  <a:pt x="2838001" y="4655981"/>
                  <a:pt x="2837465" y="4656874"/>
                </a:cubicBezTo>
                <a:cubicBezTo>
                  <a:pt x="2830318" y="4667953"/>
                  <a:pt x="2817454" y="4668846"/>
                  <a:pt x="2807092" y="4673492"/>
                </a:cubicBezTo>
                <a:cubicBezTo>
                  <a:pt x="2786544" y="4682603"/>
                  <a:pt x="2687740" y="4657233"/>
                  <a:pt x="2669158" y="4669382"/>
                </a:cubicBezTo>
                <a:cubicBezTo>
                  <a:pt x="2663263" y="4673134"/>
                  <a:pt x="2655757" y="4680459"/>
                  <a:pt x="2645752" y="4676351"/>
                </a:cubicBezTo>
                <a:cubicBezTo>
                  <a:pt x="2643251" y="4675456"/>
                  <a:pt x="2638069" y="4677422"/>
                  <a:pt x="2636105" y="4679744"/>
                </a:cubicBezTo>
                <a:cubicBezTo>
                  <a:pt x="2630922" y="4685998"/>
                  <a:pt x="2625026" y="4685283"/>
                  <a:pt x="2620382" y="4683318"/>
                </a:cubicBezTo>
                <a:cubicBezTo>
                  <a:pt x="2614484" y="4686535"/>
                  <a:pt x="2610376" y="4689393"/>
                  <a:pt x="2605730" y="4691537"/>
                </a:cubicBezTo>
                <a:cubicBezTo>
                  <a:pt x="2599656" y="4694396"/>
                  <a:pt x="2591794" y="4695289"/>
                  <a:pt x="2594295" y="4705653"/>
                </a:cubicBezTo>
                <a:cubicBezTo>
                  <a:pt x="2594831" y="4707439"/>
                  <a:pt x="2591614" y="4711012"/>
                  <a:pt x="2589292" y="4712621"/>
                </a:cubicBezTo>
                <a:cubicBezTo>
                  <a:pt x="2584111" y="4716551"/>
                  <a:pt x="2578215" y="4719588"/>
                  <a:pt x="2572318" y="4723162"/>
                </a:cubicBezTo>
                <a:cubicBezTo>
                  <a:pt x="2570354" y="4720839"/>
                  <a:pt x="2568744" y="4719232"/>
                  <a:pt x="2566422" y="4716551"/>
                </a:cubicBezTo>
                <a:cubicBezTo>
                  <a:pt x="2563385" y="4723876"/>
                  <a:pt x="2554451" y="4724949"/>
                  <a:pt x="2553202" y="4734060"/>
                </a:cubicBezTo>
                <a:cubicBezTo>
                  <a:pt x="2552843" y="4737099"/>
                  <a:pt x="2543731" y="4742102"/>
                  <a:pt x="2540515" y="4741029"/>
                </a:cubicBezTo>
                <a:cubicBezTo>
                  <a:pt x="2529795" y="4737277"/>
                  <a:pt x="2524971" y="4743353"/>
                  <a:pt x="2521219" y="4749605"/>
                </a:cubicBezTo>
                <a:cubicBezTo>
                  <a:pt x="2514965" y="4749963"/>
                  <a:pt x="2509784" y="4750319"/>
                  <a:pt x="2502459" y="4750678"/>
                </a:cubicBezTo>
                <a:cubicBezTo>
                  <a:pt x="2505318" y="4753715"/>
                  <a:pt x="2506389" y="4755144"/>
                  <a:pt x="2508711" y="4757644"/>
                </a:cubicBezTo>
                <a:cubicBezTo>
                  <a:pt x="2493168" y="4766401"/>
                  <a:pt x="2477802" y="4775155"/>
                  <a:pt x="2462615" y="4783731"/>
                </a:cubicBezTo>
                <a:cubicBezTo>
                  <a:pt x="2462435" y="4783553"/>
                  <a:pt x="2462079" y="4783195"/>
                  <a:pt x="2461900" y="4783195"/>
                </a:cubicBezTo>
                <a:cubicBezTo>
                  <a:pt x="2464045" y="4780873"/>
                  <a:pt x="2466367" y="4778729"/>
                  <a:pt x="2469762" y="4775333"/>
                </a:cubicBezTo>
                <a:cubicBezTo>
                  <a:pt x="2457969" y="4777836"/>
                  <a:pt x="2447429" y="4779087"/>
                  <a:pt x="2440816" y="4789271"/>
                </a:cubicBezTo>
                <a:cubicBezTo>
                  <a:pt x="2440102" y="4790342"/>
                  <a:pt x="2438852" y="4791949"/>
                  <a:pt x="2438136" y="4791949"/>
                </a:cubicBezTo>
                <a:cubicBezTo>
                  <a:pt x="2427596" y="4789805"/>
                  <a:pt x="2425452" y="4798561"/>
                  <a:pt x="2420985" y="4804635"/>
                </a:cubicBezTo>
                <a:cubicBezTo>
                  <a:pt x="2417232" y="4809460"/>
                  <a:pt x="2412051" y="4813033"/>
                  <a:pt x="2405441" y="4813390"/>
                </a:cubicBezTo>
                <a:cubicBezTo>
                  <a:pt x="2404368" y="4810889"/>
                  <a:pt x="2403653" y="4808923"/>
                  <a:pt x="2402760" y="4806779"/>
                </a:cubicBezTo>
                <a:cubicBezTo>
                  <a:pt x="2396150" y="4808745"/>
                  <a:pt x="2391325" y="4810889"/>
                  <a:pt x="2388645" y="4818573"/>
                </a:cubicBezTo>
                <a:cubicBezTo>
                  <a:pt x="2386501" y="4824646"/>
                  <a:pt x="2379712" y="4828934"/>
                  <a:pt x="2370778" y="4828220"/>
                </a:cubicBezTo>
                <a:cubicBezTo>
                  <a:pt x="2373636" y="4825183"/>
                  <a:pt x="2375780" y="4822681"/>
                  <a:pt x="2380249" y="4817678"/>
                </a:cubicBezTo>
                <a:cubicBezTo>
                  <a:pt x="2366311" y="4822502"/>
                  <a:pt x="2355233" y="4826254"/>
                  <a:pt x="2341297" y="4831078"/>
                </a:cubicBezTo>
                <a:cubicBezTo>
                  <a:pt x="2345764" y="4827149"/>
                  <a:pt x="2348266" y="4825005"/>
                  <a:pt x="2351125" y="4822324"/>
                </a:cubicBezTo>
                <a:cubicBezTo>
                  <a:pt x="2349517" y="4821609"/>
                  <a:pt x="2348088" y="4820358"/>
                  <a:pt x="2347373" y="4820717"/>
                </a:cubicBezTo>
                <a:cubicBezTo>
                  <a:pt x="2333614" y="4827149"/>
                  <a:pt x="2319857" y="4833937"/>
                  <a:pt x="2305922" y="4840369"/>
                </a:cubicBezTo>
                <a:cubicBezTo>
                  <a:pt x="2288055" y="4848589"/>
                  <a:pt x="2270008" y="4856807"/>
                  <a:pt x="2251962" y="4865027"/>
                </a:cubicBezTo>
                <a:cubicBezTo>
                  <a:pt x="2251426" y="4865205"/>
                  <a:pt x="2250711" y="4864669"/>
                  <a:pt x="2249996" y="4864312"/>
                </a:cubicBezTo>
                <a:cubicBezTo>
                  <a:pt x="2261253" y="4857344"/>
                  <a:pt x="2272332" y="4850375"/>
                  <a:pt x="2283586" y="4843406"/>
                </a:cubicBezTo>
                <a:cubicBezTo>
                  <a:pt x="2280013" y="4839833"/>
                  <a:pt x="2276440" y="4838225"/>
                  <a:pt x="2271080" y="4840728"/>
                </a:cubicBezTo>
                <a:cubicBezTo>
                  <a:pt x="2259467" y="4845909"/>
                  <a:pt x="2247674" y="4850733"/>
                  <a:pt x="2235883" y="4855378"/>
                </a:cubicBezTo>
                <a:cubicBezTo>
                  <a:pt x="2232844" y="4856451"/>
                  <a:pt x="2229271" y="4856271"/>
                  <a:pt x="2225877" y="4856807"/>
                </a:cubicBezTo>
                <a:cubicBezTo>
                  <a:pt x="2230700" y="4845550"/>
                  <a:pt x="2241957" y="4841799"/>
                  <a:pt x="2251248" y="4835903"/>
                </a:cubicBezTo>
                <a:cubicBezTo>
                  <a:pt x="2253035" y="4834830"/>
                  <a:pt x="2254643" y="4833759"/>
                  <a:pt x="2256429" y="4832688"/>
                </a:cubicBezTo>
                <a:cubicBezTo>
                  <a:pt x="2256072" y="4831793"/>
                  <a:pt x="2255536" y="4831078"/>
                  <a:pt x="2255179" y="4830186"/>
                </a:cubicBezTo>
                <a:cubicBezTo>
                  <a:pt x="2239634" y="4837332"/>
                  <a:pt x="2224090" y="4844479"/>
                  <a:pt x="2208725" y="4851448"/>
                </a:cubicBezTo>
                <a:cubicBezTo>
                  <a:pt x="2204257" y="4847516"/>
                  <a:pt x="2201398" y="4841799"/>
                  <a:pt x="2192644" y="4842872"/>
                </a:cubicBezTo>
                <a:cubicBezTo>
                  <a:pt x="2194610" y="4845194"/>
                  <a:pt x="2195502" y="4846087"/>
                  <a:pt x="2196217" y="4847338"/>
                </a:cubicBezTo>
                <a:cubicBezTo>
                  <a:pt x="2197646" y="4849660"/>
                  <a:pt x="2200327" y="4852697"/>
                  <a:pt x="2199612" y="4854485"/>
                </a:cubicBezTo>
                <a:cubicBezTo>
                  <a:pt x="2198719" y="4856629"/>
                  <a:pt x="2194788" y="4859488"/>
                  <a:pt x="2192822" y="4859129"/>
                </a:cubicBezTo>
                <a:cubicBezTo>
                  <a:pt x="2184960" y="4857344"/>
                  <a:pt x="2180316" y="4864132"/>
                  <a:pt x="2173525" y="4865205"/>
                </a:cubicBezTo>
                <a:cubicBezTo>
                  <a:pt x="2166915" y="4866276"/>
                  <a:pt x="2160841" y="4870922"/>
                  <a:pt x="2154587" y="4874138"/>
                </a:cubicBezTo>
                <a:cubicBezTo>
                  <a:pt x="2149226" y="4876818"/>
                  <a:pt x="2143867" y="4879855"/>
                  <a:pt x="2137077" y="4880928"/>
                </a:cubicBezTo>
                <a:cubicBezTo>
                  <a:pt x="2138506" y="4878606"/>
                  <a:pt x="2139757" y="4876282"/>
                  <a:pt x="2142079" y="4872352"/>
                </a:cubicBezTo>
                <a:cubicBezTo>
                  <a:pt x="2115280" y="4876996"/>
                  <a:pt x="2097413" y="4897187"/>
                  <a:pt x="2073114" y="4906298"/>
                </a:cubicBezTo>
                <a:cubicBezTo>
                  <a:pt x="2072041" y="4902010"/>
                  <a:pt x="2071148" y="4898795"/>
                  <a:pt x="2070433" y="4895578"/>
                </a:cubicBezTo>
                <a:cubicBezTo>
                  <a:pt x="2071326" y="4894863"/>
                  <a:pt x="2072577" y="4894149"/>
                  <a:pt x="2072577" y="4894149"/>
                </a:cubicBezTo>
                <a:cubicBezTo>
                  <a:pt x="2076329" y="4897366"/>
                  <a:pt x="2079902" y="4895578"/>
                  <a:pt x="2083476" y="4893792"/>
                </a:cubicBezTo>
                <a:cubicBezTo>
                  <a:pt x="2095269" y="4887717"/>
                  <a:pt x="2106882" y="4881643"/>
                  <a:pt x="2118675" y="4875567"/>
                </a:cubicBezTo>
                <a:cubicBezTo>
                  <a:pt x="2120997" y="4874496"/>
                  <a:pt x="2123498" y="4873067"/>
                  <a:pt x="2126000" y="4872708"/>
                </a:cubicBezTo>
                <a:cubicBezTo>
                  <a:pt x="2136720" y="4871101"/>
                  <a:pt x="2143331" y="4863597"/>
                  <a:pt x="2152265" y="4855199"/>
                </a:cubicBezTo>
                <a:cubicBezTo>
                  <a:pt x="2148333" y="4855558"/>
                  <a:pt x="2146011" y="4855199"/>
                  <a:pt x="2144224" y="4855914"/>
                </a:cubicBezTo>
                <a:cubicBezTo>
                  <a:pt x="2136362" y="4858951"/>
                  <a:pt x="2128681" y="4862703"/>
                  <a:pt x="2120639" y="4865383"/>
                </a:cubicBezTo>
                <a:cubicBezTo>
                  <a:pt x="2118139" y="4866098"/>
                  <a:pt x="2114387" y="4865027"/>
                  <a:pt x="2112063" y="4863597"/>
                </a:cubicBezTo>
                <a:cubicBezTo>
                  <a:pt x="2108848" y="4861632"/>
                  <a:pt x="2106525" y="4858595"/>
                  <a:pt x="2103487" y="4855558"/>
                </a:cubicBezTo>
                <a:cubicBezTo>
                  <a:pt x="2110455" y="4851448"/>
                  <a:pt x="2120283" y="4851090"/>
                  <a:pt x="2117246" y="4837332"/>
                </a:cubicBezTo>
                <a:cubicBezTo>
                  <a:pt x="2122963" y="4841621"/>
                  <a:pt x="2126178" y="4843765"/>
                  <a:pt x="2129752" y="4846445"/>
                </a:cubicBezTo>
                <a:cubicBezTo>
                  <a:pt x="2134576" y="4842157"/>
                  <a:pt x="2135827" y="4834652"/>
                  <a:pt x="2143689" y="4833581"/>
                </a:cubicBezTo>
                <a:cubicBezTo>
                  <a:pt x="2146011" y="4833223"/>
                  <a:pt x="2147619" y="4826612"/>
                  <a:pt x="2149585" y="4822502"/>
                </a:cubicBezTo>
                <a:cubicBezTo>
                  <a:pt x="2151729" y="4822324"/>
                  <a:pt x="2154944" y="4821966"/>
                  <a:pt x="2158339" y="4821609"/>
                </a:cubicBezTo>
                <a:cubicBezTo>
                  <a:pt x="2157088" y="4817858"/>
                  <a:pt x="2155839" y="4813926"/>
                  <a:pt x="2154051" y="4808567"/>
                </a:cubicBezTo>
                <a:cubicBezTo>
                  <a:pt x="2147262" y="4818573"/>
                  <a:pt x="2140116" y="4812497"/>
                  <a:pt x="2131359" y="4813390"/>
                </a:cubicBezTo>
                <a:cubicBezTo>
                  <a:pt x="2133862" y="4810175"/>
                  <a:pt x="2134754" y="4808209"/>
                  <a:pt x="2136184" y="4807138"/>
                </a:cubicBezTo>
                <a:cubicBezTo>
                  <a:pt x="2143509" y="4802135"/>
                  <a:pt x="2150477" y="4797667"/>
                  <a:pt x="2153158" y="4788019"/>
                </a:cubicBezTo>
                <a:cubicBezTo>
                  <a:pt x="2154229" y="4784268"/>
                  <a:pt x="2159768" y="4781409"/>
                  <a:pt x="2163700" y="4778729"/>
                </a:cubicBezTo>
                <a:cubicBezTo>
                  <a:pt x="2176742" y="4769616"/>
                  <a:pt x="2186390" y="4757644"/>
                  <a:pt x="2192644" y="4742280"/>
                </a:cubicBezTo>
                <a:cubicBezTo>
                  <a:pt x="2187285" y="4744960"/>
                  <a:pt x="2182102" y="4748175"/>
                  <a:pt x="2176564" y="4750678"/>
                </a:cubicBezTo>
                <a:cubicBezTo>
                  <a:pt x="2170667" y="4753536"/>
                  <a:pt x="2164056" y="4755500"/>
                  <a:pt x="2164949" y="4765506"/>
                </a:cubicBezTo>
                <a:cubicBezTo>
                  <a:pt x="2158161" y="4762291"/>
                  <a:pt x="2153158" y="4765150"/>
                  <a:pt x="2148333" y="4769079"/>
                </a:cubicBezTo>
                <a:cubicBezTo>
                  <a:pt x="2139043" y="4776584"/>
                  <a:pt x="2129752" y="4784090"/>
                  <a:pt x="2119568" y="4792307"/>
                </a:cubicBezTo>
                <a:cubicBezTo>
                  <a:pt x="2121712" y="4794273"/>
                  <a:pt x="2123856" y="4796237"/>
                  <a:pt x="2126000" y="4798203"/>
                </a:cubicBezTo>
                <a:cubicBezTo>
                  <a:pt x="2121890" y="4804279"/>
                  <a:pt x="2119210" y="4799632"/>
                  <a:pt x="2117424" y="4796774"/>
                </a:cubicBezTo>
                <a:cubicBezTo>
                  <a:pt x="2115995" y="4794452"/>
                  <a:pt x="2116173" y="4791056"/>
                  <a:pt x="2115458" y="4787127"/>
                </a:cubicBezTo>
                <a:cubicBezTo>
                  <a:pt x="2104381" y="4793200"/>
                  <a:pt x="2094376" y="4801598"/>
                  <a:pt x="2080082" y="4801240"/>
                </a:cubicBezTo>
                <a:cubicBezTo>
                  <a:pt x="2081690" y="4799811"/>
                  <a:pt x="2083297" y="4798025"/>
                  <a:pt x="2085085" y="4796954"/>
                </a:cubicBezTo>
                <a:cubicBezTo>
                  <a:pt x="2090444" y="4793737"/>
                  <a:pt x="2096162" y="4791415"/>
                  <a:pt x="2101164" y="4787841"/>
                </a:cubicBezTo>
                <a:cubicBezTo>
                  <a:pt x="2108489" y="4782480"/>
                  <a:pt x="2114029" y="4775692"/>
                  <a:pt x="2118139" y="4767294"/>
                </a:cubicBezTo>
                <a:cubicBezTo>
                  <a:pt x="2120283" y="4762647"/>
                  <a:pt x="2125464" y="4759254"/>
                  <a:pt x="2129930" y="4754786"/>
                </a:cubicBezTo>
                <a:cubicBezTo>
                  <a:pt x="2132432" y="4758359"/>
                  <a:pt x="2133683" y="4760325"/>
                  <a:pt x="2134933" y="4762113"/>
                </a:cubicBezTo>
                <a:cubicBezTo>
                  <a:pt x="2141723" y="4759789"/>
                  <a:pt x="2141545" y="4754608"/>
                  <a:pt x="2140472" y="4751034"/>
                </a:cubicBezTo>
                <a:cubicBezTo>
                  <a:pt x="2147082" y="4743531"/>
                  <a:pt x="2152622" y="4736919"/>
                  <a:pt x="2158339" y="4730667"/>
                </a:cubicBezTo>
                <a:cubicBezTo>
                  <a:pt x="2160305" y="4728523"/>
                  <a:pt x="2163342" y="4725486"/>
                  <a:pt x="2165664" y="4725664"/>
                </a:cubicBezTo>
                <a:cubicBezTo>
                  <a:pt x="2173525" y="4726198"/>
                  <a:pt x="2179423" y="4722805"/>
                  <a:pt x="2184067" y="4717444"/>
                </a:cubicBezTo>
                <a:cubicBezTo>
                  <a:pt x="2187819" y="4713156"/>
                  <a:pt x="2190678" y="4707975"/>
                  <a:pt x="2194073" y="4703150"/>
                </a:cubicBezTo>
                <a:cubicBezTo>
                  <a:pt x="2193537" y="4702436"/>
                  <a:pt x="2192822" y="4701543"/>
                  <a:pt x="2192107" y="4700828"/>
                </a:cubicBezTo>
                <a:cubicBezTo>
                  <a:pt x="2186212" y="4704223"/>
                  <a:pt x="2180316" y="4707439"/>
                  <a:pt x="2174598" y="4711012"/>
                </a:cubicBezTo>
                <a:cubicBezTo>
                  <a:pt x="2172811" y="4712085"/>
                  <a:pt x="2171203" y="4713871"/>
                  <a:pt x="2169596" y="4715300"/>
                </a:cubicBezTo>
                <a:cubicBezTo>
                  <a:pt x="2160305" y="4723340"/>
                  <a:pt x="2150121" y="4728701"/>
                  <a:pt x="2138686" y="4723162"/>
                </a:cubicBezTo>
                <a:cubicBezTo>
                  <a:pt x="2132610" y="4727808"/>
                  <a:pt x="2140650" y="4734955"/>
                  <a:pt x="2134218" y="4737633"/>
                </a:cubicBezTo>
                <a:cubicBezTo>
                  <a:pt x="2129752" y="4739599"/>
                  <a:pt x="2124393" y="4739958"/>
                  <a:pt x="2119031" y="4741207"/>
                </a:cubicBezTo>
                <a:cubicBezTo>
                  <a:pt x="2120461" y="4736919"/>
                  <a:pt x="2121534" y="4733525"/>
                  <a:pt x="2123678" y="4727450"/>
                </a:cubicBezTo>
                <a:cubicBezTo>
                  <a:pt x="2107418" y="4736026"/>
                  <a:pt x="2094376" y="4742816"/>
                  <a:pt x="2081153" y="4749783"/>
                </a:cubicBezTo>
                <a:cubicBezTo>
                  <a:pt x="2080617" y="4749068"/>
                  <a:pt x="2080082" y="4748175"/>
                  <a:pt x="2079546" y="4747461"/>
                </a:cubicBezTo>
                <a:cubicBezTo>
                  <a:pt x="2085800" y="4738170"/>
                  <a:pt x="2097413" y="4734955"/>
                  <a:pt x="2105631" y="4727808"/>
                </a:cubicBezTo>
                <a:cubicBezTo>
                  <a:pt x="2113672" y="4720661"/>
                  <a:pt x="2123320" y="4715300"/>
                  <a:pt x="2131003" y="4707082"/>
                </a:cubicBezTo>
                <a:cubicBezTo>
                  <a:pt x="2121354" y="4713156"/>
                  <a:pt x="2111528" y="4719052"/>
                  <a:pt x="2101879" y="4724949"/>
                </a:cubicBezTo>
                <a:cubicBezTo>
                  <a:pt x="2101523" y="4724591"/>
                  <a:pt x="2101343" y="4724235"/>
                  <a:pt x="2100986" y="4723876"/>
                </a:cubicBezTo>
                <a:cubicBezTo>
                  <a:pt x="2105096" y="4720303"/>
                  <a:pt x="2108848" y="4716551"/>
                  <a:pt x="2113136" y="4713156"/>
                </a:cubicBezTo>
                <a:cubicBezTo>
                  <a:pt x="2117602" y="4709583"/>
                  <a:pt x="2122068" y="4706546"/>
                  <a:pt x="2125642" y="4701899"/>
                </a:cubicBezTo>
                <a:cubicBezTo>
                  <a:pt x="2107955" y="4712085"/>
                  <a:pt x="2090266" y="4722269"/>
                  <a:pt x="2072577" y="4732452"/>
                </a:cubicBezTo>
                <a:cubicBezTo>
                  <a:pt x="2072221" y="4732631"/>
                  <a:pt x="2071148" y="4731560"/>
                  <a:pt x="2069718" y="4730488"/>
                </a:cubicBezTo>
                <a:cubicBezTo>
                  <a:pt x="2071506" y="4728523"/>
                  <a:pt x="2072935" y="4726557"/>
                  <a:pt x="2074899" y="4725127"/>
                </a:cubicBezTo>
                <a:cubicBezTo>
                  <a:pt x="2084370" y="4717981"/>
                  <a:pt x="2094018" y="4710834"/>
                  <a:pt x="2103667" y="4703865"/>
                </a:cubicBezTo>
                <a:cubicBezTo>
                  <a:pt x="2105453" y="4702614"/>
                  <a:pt x="2108670" y="4701365"/>
                  <a:pt x="2108670" y="4699935"/>
                </a:cubicBezTo>
                <a:cubicBezTo>
                  <a:pt x="2109204" y="4687071"/>
                  <a:pt x="2121354" y="4691716"/>
                  <a:pt x="2127429" y="4687427"/>
                </a:cubicBezTo>
                <a:cubicBezTo>
                  <a:pt x="2129395" y="4685998"/>
                  <a:pt x="2130288" y="4694754"/>
                  <a:pt x="2134398" y="4689930"/>
                </a:cubicBezTo>
                <a:cubicBezTo>
                  <a:pt x="2136542" y="4687427"/>
                  <a:pt x="2137077" y="4682603"/>
                  <a:pt x="2139401" y="4681532"/>
                </a:cubicBezTo>
                <a:cubicBezTo>
                  <a:pt x="2147797" y="4677958"/>
                  <a:pt x="2147262" y="4668489"/>
                  <a:pt x="2153158" y="4662592"/>
                </a:cubicBezTo>
                <a:cubicBezTo>
                  <a:pt x="2158339" y="4657233"/>
                  <a:pt x="2161734" y="4659555"/>
                  <a:pt x="2166022" y="4659913"/>
                </a:cubicBezTo>
                <a:cubicBezTo>
                  <a:pt x="2170310" y="4652052"/>
                  <a:pt x="2174062" y="4644190"/>
                  <a:pt x="2178528" y="4636863"/>
                </a:cubicBezTo>
                <a:cubicBezTo>
                  <a:pt x="2180672" y="4633470"/>
                  <a:pt x="2182816" y="4630075"/>
                  <a:pt x="2188534" y="4630075"/>
                </a:cubicBezTo>
                <a:cubicBezTo>
                  <a:pt x="2195861" y="4629897"/>
                  <a:pt x="2201578" y="4625608"/>
                  <a:pt x="2204793" y="4618996"/>
                </a:cubicBezTo>
                <a:cubicBezTo>
                  <a:pt x="2203186" y="4617032"/>
                  <a:pt x="2201756" y="4615603"/>
                  <a:pt x="2199434" y="4612922"/>
                </a:cubicBezTo>
                <a:cubicBezTo>
                  <a:pt x="2209440" y="4606490"/>
                  <a:pt x="2223911" y="4605954"/>
                  <a:pt x="2227307" y="4593268"/>
                </a:cubicBezTo>
                <a:cubicBezTo>
                  <a:pt x="2224268" y="4590767"/>
                  <a:pt x="2221767" y="4588445"/>
                  <a:pt x="2218730" y="4585943"/>
                </a:cubicBezTo>
                <a:cubicBezTo>
                  <a:pt x="2212655" y="4587372"/>
                  <a:pt x="2221053" y="4599343"/>
                  <a:pt x="2210869" y="4598985"/>
                </a:cubicBezTo>
                <a:cubicBezTo>
                  <a:pt x="2210511" y="4596485"/>
                  <a:pt x="2210154" y="4594162"/>
                  <a:pt x="2209440" y="4590589"/>
                </a:cubicBezTo>
                <a:cubicBezTo>
                  <a:pt x="2205152" y="4593090"/>
                  <a:pt x="2201935" y="4595234"/>
                  <a:pt x="2198539" y="4597021"/>
                </a:cubicBezTo>
                <a:cubicBezTo>
                  <a:pt x="2195502" y="4598451"/>
                  <a:pt x="2192465" y="4600236"/>
                  <a:pt x="2189070" y="4600951"/>
                </a:cubicBezTo>
                <a:cubicBezTo>
                  <a:pt x="2178172" y="4603095"/>
                  <a:pt x="2168523" y="4607205"/>
                  <a:pt x="2161556" y="4616318"/>
                </a:cubicBezTo>
                <a:cubicBezTo>
                  <a:pt x="2158161" y="4620784"/>
                  <a:pt x="2153694" y="4623286"/>
                  <a:pt x="2147977" y="4622391"/>
                </a:cubicBezTo>
                <a:cubicBezTo>
                  <a:pt x="2133325" y="4620426"/>
                  <a:pt x="2124749" y="4622391"/>
                  <a:pt x="2113136" y="4630968"/>
                </a:cubicBezTo>
                <a:cubicBezTo>
                  <a:pt x="2112599" y="4631504"/>
                  <a:pt x="2111528" y="4631326"/>
                  <a:pt x="2109026" y="4631682"/>
                </a:cubicBezTo>
                <a:cubicBezTo>
                  <a:pt x="2112243" y="4627038"/>
                  <a:pt x="2111348" y="4620606"/>
                  <a:pt x="2119390" y="4621677"/>
                </a:cubicBezTo>
                <a:cubicBezTo>
                  <a:pt x="2120104" y="4621677"/>
                  <a:pt x="2121890" y="4618818"/>
                  <a:pt x="2121712" y="4617567"/>
                </a:cubicBezTo>
                <a:cubicBezTo>
                  <a:pt x="2120283" y="4609171"/>
                  <a:pt x="2126537" y="4605239"/>
                  <a:pt x="2131896" y="4601309"/>
                </a:cubicBezTo>
                <a:cubicBezTo>
                  <a:pt x="2137613" y="4597199"/>
                  <a:pt x="2144404" y="4594697"/>
                  <a:pt x="2149941" y="4590589"/>
                </a:cubicBezTo>
                <a:cubicBezTo>
                  <a:pt x="2156195" y="4585943"/>
                  <a:pt x="2161912" y="4580403"/>
                  <a:pt x="2167093" y="4574686"/>
                </a:cubicBezTo>
                <a:cubicBezTo>
                  <a:pt x="2167273" y="4574508"/>
                  <a:pt x="2167452" y="4574151"/>
                  <a:pt x="2167630" y="4573971"/>
                </a:cubicBezTo>
                <a:cubicBezTo>
                  <a:pt x="2156017" y="4577367"/>
                  <a:pt x="2144224" y="4580762"/>
                  <a:pt x="2132432" y="4583977"/>
                </a:cubicBezTo>
                <a:cubicBezTo>
                  <a:pt x="2130288" y="4585764"/>
                  <a:pt x="2128144" y="4587372"/>
                  <a:pt x="2125822" y="4589160"/>
                </a:cubicBezTo>
                <a:cubicBezTo>
                  <a:pt x="2116531" y="4596485"/>
                  <a:pt x="2106525" y="4602739"/>
                  <a:pt x="2097413" y="4610242"/>
                </a:cubicBezTo>
                <a:cubicBezTo>
                  <a:pt x="2094911" y="4612208"/>
                  <a:pt x="2094732" y="4616674"/>
                  <a:pt x="2093125" y="4621140"/>
                </a:cubicBezTo>
                <a:cubicBezTo>
                  <a:pt x="2091874" y="4621677"/>
                  <a:pt x="2089551" y="4622750"/>
                  <a:pt x="2086871" y="4623821"/>
                </a:cubicBezTo>
                <a:cubicBezTo>
                  <a:pt x="2084905" y="4621499"/>
                  <a:pt x="2082941" y="4619355"/>
                  <a:pt x="2081153" y="4617389"/>
                </a:cubicBezTo>
                <a:cubicBezTo>
                  <a:pt x="2087944" y="4611135"/>
                  <a:pt x="2094554" y="4605239"/>
                  <a:pt x="2101343" y="4599343"/>
                </a:cubicBezTo>
                <a:cubicBezTo>
                  <a:pt x="2102772" y="4598092"/>
                  <a:pt x="2104738" y="4596663"/>
                  <a:pt x="2106525" y="4596663"/>
                </a:cubicBezTo>
                <a:cubicBezTo>
                  <a:pt x="2112599" y="4596485"/>
                  <a:pt x="2115280" y="4593090"/>
                  <a:pt x="2115280" y="4588445"/>
                </a:cubicBezTo>
                <a:cubicBezTo>
                  <a:pt x="2109741" y="4590053"/>
                  <a:pt x="2104381" y="4591482"/>
                  <a:pt x="2098842" y="4593090"/>
                </a:cubicBezTo>
                <a:cubicBezTo>
                  <a:pt x="2097055" y="4595055"/>
                  <a:pt x="2095091" y="4597021"/>
                  <a:pt x="2093303" y="4598985"/>
                </a:cubicBezTo>
                <a:cubicBezTo>
                  <a:pt x="2092052" y="4597914"/>
                  <a:pt x="2090803" y="4596841"/>
                  <a:pt x="2089908" y="4595592"/>
                </a:cubicBezTo>
                <a:cubicBezTo>
                  <a:pt x="2085085" y="4596841"/>
                  <a:pt x="2080261" y="4597199"/>
                  <a:pt x="2076509" y="4592555"/>
                </a:cubicBezTo>
                <a:cubicBezTo>
                  <a:pt x="2080261" y="4589516"/>
                  <a:pt x="2084549" y="4587552"/>
                  <a:pt x="2088837" y="4585586"/>
                </a:cubicBezTo>
                <a:cubicBezTo>
                  <a:pt x="2089015" y="4585228"/>
                  <a:pt x="2089373" y="4584692"/>
                  <a:pt x="2089551" y="4584335"/>
                </a:cubicBezTo>
                <a:cubicBezTo>
                  <a:pt x="2090266" y="4584335"/>
                  <a:pt x="2090981" y="4584335"/>
                  <a:pt x="2091695" y="4584335"/>
                </a:cubicBezTo>
                <a:cubicBezTo>
                  <a:pt x="2095805" y="4582549"/>
                  <a:pt x="2099557" y="4580403"/>
                  <a:pt x="2102772" y="4577010"/>
                </a:cubicBezTo>
                <a:cubicBezTo>
                  <a:pt x="2104381" y="4575401"/>
                  <a:pt x="2109562" y="4577188"/>
                  <a:pt x="2113672" y="4577367"/>
                </a:cubicBezTo>
                <a:cubicBezTo>
                  <a:pt x="2113850" y="4577188"/>
                  <a:pt x="2114207" y="4576830"/>
                  <a:pt x="2114387" y="4576652"/>
                </a:cubicBezTo>
                <a:cubicBezTo>
                  <a:pt x="2114565" y="4570220"/>
                  <a:pt x="2116531" y="4564146"/>
                  <a:pt x="2123856" y="4559321"/>
                </a:cubicBezTo>
                <a:cubicBezTo>
                  <a:pt x="2122605" y="4558607"/>
                  <a:pt x="2121354" y="4557892"/>
                  <a:pt x="2120104" y="4557177"/>
                </a:cubicBezTo>
                <a:cubicBezTo>
                  <a:pt x="2108311" y="4565395"/>
                  <a:pt x="2096520" y="4573793"/>
                  <a:pt x="2084190" y="4582549"/>
                </a:cubicBezTo>
                <a:cubicBezTo>
                  <a:pt x="2082226" y="4576115"/>
                  <a:pt x="2087229" y="4573971"/>
                  <a:pt x="2090444" y="4572542"/>
                </a:cubicBezTo>
                <a:cubicBezTo>
                  <a:pt x="2097949" y="4569149"/>
                  <a:pt x="2101879" y="4563966"/>
                  <a:pt x="2102594" y="4556641"/>
                </a:cubicBezTo>
                <a:cubicBezTo>
                  <a:pt x="2093661" y="4559321"/>
                  <a:pt x="2085085" y="4562536"/>
                  <a:pt x="2076151" y="4565395"/>
                </a:cubicBezTo>
                <a:cubicBezTo>
                  <a:pt x="2062215" y="4569863"/>
                  <a:pt x="2047563" y="4572542"/>
                  <a:pt x="2033448" y="4576115"/>
                </a:cubicBezTo>
                <a:cubicBezTo>
                  <a:pt x="2027552" y="4577725"/>
                  <a:pt x="2022013" y="4580225"/>
                  <a:pt x="2016117" y="4581655"/>
                </a:cubicBezTo>
                <a:cubicBezTo>
                  <a:pt x="2002717" y="4585050"/>
                  <a:pt x="1989138" y="4588265"/>
                  <a:pt x="1973773" y="4591838"/>
                </a:cubicBezTo>
                <a:cubicBezTo>
                  <a:pt x="1985923" y="4582369"/>
                  <a:pt x="1987708" y="4581476"/>
                  <a:pt x="1997179" y="4579154"/>
                </a:cubicBezTo>
                <a:cubicBezTo>
                  <a:pt x="2013795" y="4575044"/>
                  <a:pt x="2030055" y="4569863"/>
                  <a:pt x="2045598" y="4562536"/>
                </a:cubicBezTo>
                <a:cubicBezTo>
                  <a:pt x="2051673" y="4559678"/>
                  <a:pt x="2058284" y="4558070"/>
                  <a:pt x="2064716" y="4556284"/>
                </a:cubicBezTo>
                <a:cubicBezTo>
                  <a:pt x="2074721" y="4553604"/>
                  <a:pt x="2084727" y="4551460"/>
                  <a:pt x="2094732" y="4548601"/>
                </a:cubicBezTo>
                <a:cubicBezTo>
                  <a:pt x="2097413" y="4547708"/>
                  <a:pt x="2099735" y="4545206"/>
                  <a:pt x="2102416" y="4543955"/>
                </a:cubicBezTo>
                <a:cubicBezTo>
                  <a:pt x="2107775" y="4541454"/>
                  <a:pt x="2113314" y="4537881"/>
                  <a:pt x="2119031" y="4536988"/>
                </a:cubicBezTo>
                <a:cubicBezTo>
                  <a:pt x="2121176" y="4535559"/>
                  <a:pt x="2123498" y="4533949"/>
                  <a:pt x="2125642" y="4532342"/>
                </a:cubicBezTo>
                <a:cubicBezTo>
                  <a:pt x="2130645" y="4528590"/>
                  <a:pt x="2135113" y="4523944"/>
                  <a:pt x="2142260" y="4517692"/>
                </a:cubicBezTo>
                <a:cubicBezTo>
                  <a:pt x="2135469" y="4519655"/>
                  <a:pt x="2131539" y="4520728"/>
                  <a:pt x="2124749" y="4522694"/>
                </a:cubicBezTo>
                <a:cubicBezTo>
                  <a:pt x="2145296" y="4506971"/>
                  <a:pt x="2163342" y="4493034"/>
                  <a:pt x="2181567" y="4479099"/>
                </a:cubicBezTo>
                <a:cubicBezTo>
                  <a:pt x="2181031" y="4478384"/>
                  <a:pt x="2180494" y="4477489"/>
                  <a:pt x="2179958" y="4476775"/>
                </a:cubicBezTo>
                <a:cubicBezTo>
                  <a:pt x="2160305" y="4489997"/>
                  <a:pt x="2140830" y="4503218"/>
                  <a:pt x="2119031" y="4517870"/>
                </a:cubicBezTo>
                <a:cubicBezTo>
                  <a:pt x="2120639" y="4508935"/>
                  <a:pt x="2123141" y="4503576"/>
                  <a:pt x="2128322" y="4499644"/>
                </a:cubicBezTo>
                <a:cubicBezTo>
                  <a:pt x="2144224" y="4487317"/>
                  <a:pt x="2160305" y="4475167"/>
                  <a:pt x="2176028" y="4462661"/>
                </a:cubicBezTo>
                <a:cubicBezTo>
                  <a:pt x="2178172" y="4460873"/>
                  <a:pt x="2178528" y="4457122"/>
                  <a:pt x="2179601" y="4454085"/>
                </a:cubicBezTo>
                <a:cubicBezTo>
                  <a:pt x="2169059" y="4461410"/>
                  <a:pt x="2158517" y="4468913"/>
                  <a:pt x="2146726" y="4476955"/>
                </a:cubicBezTo>
                <a:cubicBezTo>
                  <a:pt x="2146904" y="4471594"/>
                  <a:pt x="2146904" y="4468557"/>
                  <a:pt x="2146904" y="4464625"/>
                </a:cubicBezTo>
                <a:cubicBezTo>
                  <a:pt x="2137791" y="4466591"/>
                  <a:pt x="2137435" y="4472308"/>
                  <a:pt x="2137971" y="4478740"/>
                </a:cubicBezTo>
                <a:cubicBezTo>
                  <a:pt x="2132254" y="4478740"/>
                  <a:pt x="2126537" y="4478740"/>
                  <a:pt x="2117960" y="4478740"/>
                </a:cubicBezTo>
                <a:cubicBezTo>
                  <a:pt x="2131003" y="4468378"/>
                  <a:pt x="2142260" y="4459266"/>
                  <a:pt x="2154229" y="4449617"/>
                </a:cubicBezTo>
                <a:cubicBezTo>
                  <a:pt x="2157446" y="4453727"/>
                  <a:pt x="2159947" y="4456944"/>
                  <a:pt x="2162805" y="4460695"/>
                </a:cubicBezTo>
                <a:cubicBezTo>
                  <a:pt x="2164949" y="4453370"/>
                  <a:pt x="2164415" y="4451046"/>
                  <a:pt x="2159947" y="4446758"/>
                </a:cubicBezTo>
                <a:cubicBezTo>
                  <a:pt x="2168881" y="4440326"/>
                  <a:pt x="2177457" y="4433894"/>
                  <a:pt x="2186212" y="4427462"/>
                </a:cubicBezTo>
                <a:cubicBezTo>
                  <a:pt x="2187641" y="4426390"/>
                  <a:pt x="2189785" y="4426032"/>
                  <a:pt x="2190678" y="4424783"/>
                </a:cubicBezTo>
                <a:cubicBezTo>
                  <a:pt x="2195681" y="4417636"/>
                  <a:pt x="2202471" y="4413168"/>
                  <a:pt x="2209618" y="4408880"/>
                </a:cubicBezTo>
                <a:cubicBezTo>
                  <a:pt x="2203722" y="4411204"/>
                  <a:pt x="2197825" y="4413704"/>
                  <a:pt x="2191929" y="4416207"/>
                </a:cubicBezTo>
                <a:cubicBezTo>
                  <a:pt x="2188892" y="4417456"/>
                  <a:pt x="2186033" y="4419422"/>
                  <a:pt x="2183175" y="4421388"/>
                </a:cubicBezTo>
                <a:cubicBezTo>
                  <a:pt x="2181567" y="4422639"/>
                  <a:pt x="2179958" y="4423710"/>
                  <a:pt x="2178350" y="4424961"/>
                </a:cubicBezTo>
                <a:cubicBezTo>
                  <a:pt x="2177814" y="4425676"/>
                  <a:pt x="2177279" y="4426212"/>
                  <a:pt x="2176742" y="4426212"/>
                </a:cubicBezTo>
                <a:cubicBezTo>
                  <a:pt x="2165844" y="4434252"/>
                  <a:pt x="2154766" y="4442470"/>
                  <a:pt x="2143867" y="4450511"/>
                </a:cubicBezTo>
                <a:cubicBezTo>
                  <a:pt x="2140650" y="4452834"/>
                  <a:pt x="2137435" y="4454978"/>
                  <a:pt x="2133503" y="4456764"/>
                </a:cubicBezTo>
                <a:cubicBezTo>
                  <a:pt x="2135113" y="4453012"/>
                  <a:pt x="2136542" y="4449082"/>
                  <a:pt x="2138686" y="4445687"/>
                </a:cubicBezTo>
                <a:cubicBezTo>
                  <a:pt x="2136184" y="4446580"/>
                  <a:pt x="2133862" y="4447831"/>
                  <a:pt x="2131359" y="4448009"/>
                </a:cubicBezTo>
                <a:cubicBezTo>
                  <a:pt x="2119924" y="4449082"/>
                  <a:pt x="2110099" y="4453370"/>
                  <a:pt x="2101523" y="4460873"/>
                </a:cubicBezTo>
                <a:cubicBezTo>
                  <a:pt x="2099735" y="4462303"/>
                  <a:pt x="2097235" y="4463910"/>
                  <a:pt x="2095091" y="4463910"/>
                </a:cubicBezTo>
                <a:cubicBezTo>
                  <a:pt x="2084012" y="4464625"/>
                  <a:pt x="2075614" y="4471057"/>
                  <a:pt x="2066860" y="4476596"/>
                </a:cubicBezTo>
                <a:cubicBezTo>
                  <a:pt x="2056854" y="4483029"/>
                  <a:pt x="2046312" y="4487495"/>
                  <a:pt x="2034877" y="4490534"/>
                </a:cubicBezTo>
                <a:cubicBezTo>
                  <a:pt x="2032555" y="4491068"/>
                  <a:pt x="2029875" y="4491248"/>
                  <a:pt x="2027911" y="4492498"/>
                </a:cubicBezTo>
                <a:cubicBezTo>
                  <a:pt x="2013080" y="4503040"/>
                  <a:pt x="1995035" y="4505184"/>
                  <a:pt x="1978239" y="4510723"/>
                </a:cubicBezTo>
                <a:cubicBezTo>
                  <a:pt x="1973773" y="4512152"/>
                  <a:pt x="1968412" y="4512509"/>
                  <a:pt x="1963767" y="4511794"/>
                </a:cubicBezTo>
                <a:cubicBezTo>
                  <a:pt x="1951081" y="4509650"/>
                  <a:pt x="1938395" y="4507150"/>
                  <a:pt x="1926067" y="4503398"/>
                </a:cubicBezTo>
                <a:cubicBezTo>
                  <a:pt x="1925711" y="4503398"/>
                  <a:pt x="1925531" y="4502325"/>
                  <a:pt x="1925531" y="4501788"/>
                </a:cubicBezTo>
                <a:cubicBezTo>
                  <a:pt x="1925889" y="4500717"/>
                  <a:pt x="1926067" y="4499288"/>
                  <a:pt x="1926960" y="4498752"/>
                </a:cubicBezTo>
                <a:cubicBezTo>
                  <a:pt x="1934822" y="4494285"/>
                  <a:pt x="1942863" y="4489997"/>
                  <a:pt x="1950903" y="4485709"/>
                </a:cubicBezTo>
                <a:cubicBezTo>
                  <a:pt x="1942863" y="4483207"/>
                  <a:pt x="1936609" y="4484458"/>
                  <a:pt x="1931607" y="4491427"/>
                </a:cubicBezTo>
                <a:cubicBezTo>
                  <a:pt x="1930356" y="4493212"/>
                  <a:pt x="1926960" y="4495715"/>
                  <a:pt x="1925353" y="4495178"/>
                </a:cubicBezTo>
                <a:cubicBezTo>
                  <a:pt x="1916240" y="4492141"/>
                  <a:pt x="1910703" y="4497859"/>
                  <a:pt x="1905878" y="4503218"/>
                </a:cubicBezTo>
                <a:cubicBezTo>
                  <a:pt x="1900517" y="4509115"/>
                  <a:pt x="1894621" y="4510723"/>
                  <a:pt x="1886760" y="4510008"/>
                </a:cubicBezTo>
                <a:cubicBezTo>
                  <a:pt x="1887833" y="4502683"/>
                  <a:pt x="1895514" y="4501432"/>
                  <a:pt x="1899624" y="4496966"/>
                </a:cubicBezTo>
                <a:cubicBezTo>
                  <a:pt x="1904271" y="4491963"/>
                  <a:pt x="1913025" y="4491427"/>
                  <a:pt x="1914991" y="4482136"/>
                </a:cubicBezTo>
                <a:cubicBezTo>
                  <a:pt x="1907664" y="4482672"/>
                  <a:pt x="1900697" y="4483029"/>
                  <a:pt x="1892299" y="4483565"/>
                </a:cubicBezTo>
                <a:cubicBezTo>
                  <a:pt x="1896051" y="4480170"/>
                  <a:pt x="1898553" y="4477133"/>
                  <a:pt x="1901768" y="4475167"/>
                </a:cubicBezTo>
                <a:cubicBezTo>
                  <a:pt x="1908379" y="4471057"/>
                  <a:pt x="1914633" y="4467127"/>
                  <a:pt x="1912132" y="4457300"/>
                </a:cubicBezTo>
                <a:cubicBezTo>
                  <a:pt x="1917850" y="4460641"/>
                  <a:pt x="1927979" y="4454923"/>
                  <a:pt x="1942505" y="4440148"/>
                </a:cubicBezTo>
                <a:cubicBezTo>
                  <a:pt x="1938575" y="4439791"/>
                  <a:pt x="1935717" y="4439433"/>
                  <a:pt x="1932858" y="4439255"/>
                </a:cubicBezTo>
                <a:cubicBezTo>
                  <a:pt x="1941969" y="4431215"/>
                  <a:pt x="1951081" y="4422995"/>
                  <a:pt x="1960730" y="4414419"/>
                </a:cubicBezTo>
                <a:cubicBezTo>
                  <a:pt x="1958943" y="4412990"/>
                  <a:pt x="1956977" y="4411919"/>
                  <a:pt x="1955013" y="4411919"/>
                </a:cubicBezTo>
                <a:cubicBezTo>
                  <a:pt x="1952689" y="4414063"/>
                  <a:pt x="1950545" y="4416563"/>
                  <a:pt x="1948044" y="4417992"/>
                </a:cubicBezTo>
                <a:cubicBezTo>
                  <a:pt x="1941434" y="4421388"/>
                  <a:pt x="1935358" y="4426032"/>
                  <a:pt x="1926960" y="4431571"/>
                </a:cubicBezTo>
                <a:cubicBezTo>
                  <a:pt x="1933929" y="4425498"/>
                  <a:pt x="1940183" y="4419780"/>
                  <a:pt x="1946437" y="4414241"/>
                </a:cubicBezTo>
                <a:cubicBezTo>
                  <a:pt x="1945186" y="4414419"/>
                  <a:pt x="1943756" y="4414419"/>
                  <a:pt x="1941969" y="4414419"/>
                </a:cubicBezTo>
                <a:cubicBezTo>
                  <a:pt x="1941969" y="4411919"/>
                  <a:pt x="1941969" y="4409416"/>
                  <a:pt x="1941969" y="4407094"/>
                </a:cubicBezTo>
                <a:cubicBezTo>
                  <a:pt x="1938575" y="4409060"/>
                  <a:pt x="1935358" y="4411560"/>
                  <a:pt x="1933036" y="4415312"/>
                </a:cubicBezTo>
                <a:cubicBezTo>
                  <a:pt x="1929999" y="4420673"/>
                  <a:pt x="1922850" y="4423532"/>
                  <a:pt x="1917491" y="4427283"/>
                </a:cubicBezTo>
                <a:cubicBezTo>
                  <a:pt x="1909988" y="4432464"/>
                  <a:pt x="1902483" y="4437825"/>
                  <a:pt x="1894800" y="4442650"/>
                </a:cubicBezTo>
                <a:cubicBezTo>
                  <a:pt x="1892477" y="4443899"/>
                  <a:pt x="1889440" y="4444079"/>
                  <a:pt x="1885689" y="4442650"/>
                </a:cubicBezTo>
                <a:cubicBezTo>
                  <a:pt x="1890870" y="4439077"/>
                  <a:pt x="1896229" y="4435503"/>
                  <a:pt x="1901412" y="4431571"/>
                </a:cubicBezTo>
                <a:cubicBezTo>
                  <a:pt x="1907308" y="4426927"/>
                  <a:pt x="1913025" y="4422102"/>
                  <a:pt x="1918742" y="4417456"/>
                </a:cubicBezTo>
                <a:cubicBezTo>
                  <a:pt x="1921065" y="4415492"/>
                  <a:pt x="1923745" y="4412453"/>
                  <a:pt x="1926246" y="4412453"/>
                </a:cubicBezTo>
                <a:cubicBezTo>
                  <a:pt x="1935717" y="4412453"/>
                  <a:pt x="1938039" y="4406201"/>
                  <a:pt x="1940005" y="4399233"/>
                </a:cubicBezTo>
                <a:cubicBezTo>
                  <a:pt x="1938575" y="4397089"/>
                  <a:pt x="1936431" y="4394944"/>
                  <a:pt x="1934644" y="4392442"/>
                </a:cubicBezTo>
                <a:cubicBezTo>
                  <a:pt x="1935180" y="4388154"/>
                  <a:pt x="1935358" y="4383151"/>
                  <a:pt x="1936431" y="4378507"/>
                </a:cubicBezTo>
                <a:cubicBezTo>
                  <a:pt x="1936788" y="4376363"/>
                  <a:pt x="1938575" y="4373682"/>
                  <a:pt x="1940361" y="4373146"/>
                </a:cubicBezTo>
                <a:cubicBezTo>
                  <a:pt x="1944471" y="4371716"/>
                  <a:pt x="1945186" y="4375648"/>
                  <a:pt x="1946615" y="4379043"/>
                </a:cubicBezTo>
                <a:cubicBezTo>
                  <a:pt x="1950545" y="4378507"/>
                  <a:pt x="1954477" y="4378149"/>
                  <a:pt x="1960550" y="4377434"/>
                </a:cubicBezTo>
                <a:cubicBezTo>
                  <a:pt x="1957692" y="4382258"/>
                  <a:pt x="1955548" y="4385475"/>
                  <a:pt x="1953047" y="4389583"/>
                </a:cubicBezTo>
                <a:cubicBezTo>
                  <a:pt x="1954833" y="4390478"/>
                  <a:pt x="1956262" y="4391013"/>
                  <a:pt x="1957692" y="4391193"/>
                </a:cubicBezTo>
                <a:cubicBezTo>
                  <a:pt x="1962338" y="4387798"/>
                  <a:pt x="1967341" y="4384939"/>
                  <a:pt x="1969663" y="4379758"/>
                </a:cubicBezTo>
                <a:cubicBezTo>
                  <a:pt x="1966626" y="4377434"/>
                  <a:pt x="1963767" y="4375112"/>
                  <a:pt x="1966448" y="4369752"/>
                </a:cubicBezTo>
                <a:cubicBezTo>
                  <a:pt x="1968055" y="4369752"/>
                  <a:pt x="1969663" y="4369752"/>
                  <a:pt x="1971271" y="4369752"/>
                </a:cubicBezTo>
                <a:cubicBezTo>
                  <a:pt x="1971985" y="4368679"/>
                  <a:pt x="1973415" y="4367608"/>
                  <a:pt x="1974488" y="4366535"/>
                </a:cubicBezTo>
                <a:cubicBezTo>
                  <a:pt x="1971807" y="4365464"/>
                  <a:pt x="1969127" y="4364035"/>
                  <a:pt x="1966448" y="4364035"/>
                </a:cubicBezTo>
                <a:cubicBezTo>
                  <a:pt x="1963589" y="4364213"/>
                  <a:pt x="1960909" y="4366179"/>
                  <a:pt x="1957157" y="4367787"/>
                </a:cubicBezTo>
                <a:cubicBezTo>
                  <a:pt x="1953940" y="4357066"/>
                  <a:pt x="1959479" y="4347239"/>
                  <a:pt x="1959836" y="4337412"/>
                </a:cubicBezTo>
                <a:cubicBezTo>
                  <a:pt x="1959479" y="4337592"/>
                  <a:pt x="1959121" y="4337770"/>
                  <a:pt x="1958765" y="4337770"/>
                </a:cubicBezTo>
                <a:cubicBezTo>
                  <a:pt x="1955728" y="4338663"/>
                  <a:pt x="1953762" y="4343844"/>
                  <a:pt x="1951260" y="4347061"/>
                </a:cubicBezTo>
                <a:cubicBezTo>
                  <a:pt x="1950545" y="4346168"/>
                  <a:pt x="1949115" y="4345273"/>
                  <a:pt x="1949115" y="4344202"/>
                </a:cubicBezTo>
                <a:cubicBezTo>
                  <a:pt x="1948759" y="4341165"/>
                  <a:pt x="1949474" y="4337412"/>
                  <a:pt x="1950725" y="4333660"/>
                </a:cubicBezTo>
                <a:cubicBezTo>
                  <a:pt x="1948401" y="4334197"/>
                  <a:pt x="1946079" y="4334197"/>
                  <a:pt x="1943756" y="4332767"/>
                </a:cubicBezTo>
                <a:cubicBezTo>
                  <a:pt x="1938217" y="4329550"/>
                  <a:pt x="1933214" y="4325442"/>
                  <a:pt x="1928211" y="4321332"/>
                </a:cubicBezTo>
                <a:cubicBezTo>
                  <a:pt x="1927319" y="4320618"/>
                  <a:pt x="1979490" y="4297211"/>
                  <a:pt x="1979490" y="4294353"/>
                </a:cubicBezTo>
                <a:cubicBezTo>
                  <a:pt x="1975559" y="4293281"/>
                  <a:pt x="1971451" y="4292387"/>
                  <a:pt x="1967697" y="4290779"/>
                </a:cubicBezTo>
                <a:cubicBezTo>
                  <a:pt x="1965733" y="4289886"/>
                  <a:pt x="1962875" y="4287742"/>
                  <a:pt x="1962875" y="4286135"/>
                </a:cubicBezTo>
                <a:cubicBezTo>
                  <a:pt x="1962875" y="4277200"/>
                  <a:pt x="1955906" y="4275593"/>
                  <a:pt x="1949830" y="4272912"/>
                </a:cubicBezTo>
                <a:cubicBezTo>
                  <a:pt x="1947686" y="4272019"/>
                  <a:pt x="1945007" y="4272197"/>
                  <a:pt x="1942683" y="4271305"/>
                </a:cubicBezTo>
                <a:cubicBezTo>
                  <a:pt x="1936788" y="4268982"/>
                  <a:pt x="1932321" y="4265051"/>
                  <a:pt x="1930714" y="4258618"/>
                </a:cubicBezTo>
                <a:cubicBezTo>
                  <a:pt x="1929463" y="4253259"/>
                  <a:pt x="1928570" y="4247898"/>
                  <a:pt x="1927319" y="4242181"/>
                </a:cubicBezTo>
                <a:cubicBezTo>
                  <a:pt x="1921423" y="4237178"/>
                  <a:pt x="1914633" y="4237715"/>
                  <a:pt x="1906235" y="4243254"/>
                </a:cubicBezTo>
                <a:cubicBezTo>
                  <a:pt x="1906415" y="4237536"/>
                  <a:pt x="1906593" y="4233248"/>
                  <a:pt x="1906593" y="4229138"/>
                </a:cubicBezTo>
                <a:cubicBezTo>
                  <a:pt x="1901768" y="4227172"/>
                  <a:pt x="1897124" y="4224850"/>
                  <a:pt x="1892836" y="4221633"/>
                </a:cubicBezTo>
                <a:cubicBezTo>
                  <a:pt x="1887833" y="4217882"/>
                  <a:pt x="1880506" y="4217345"/>
                  <a:pt x="1874432" y="4215023"/>
                </a:cubicBezTo>
                <a:cubicBezTo>
                  <a:pt x="1872466" y="4214308"/>
                  <a:pt x="1870144" y="4212879"/>
                  <a:pt x="1869429" y="4211271"/>
                </a:cubicBezTo>
                <a:cubicBezTo>
                  <a:pt x="1865856" y="4203052"/>
                  <a:pt x="1858709" y="4201088"/>
                  <a:pt x="1851026" y="4199658"/>
                </a:cubicBezTo>
                <a:cubicBezTo>
                  <a:pt x="1848882" y="4199300"/>
                  <a:pt x="1846738" y="4198229"/>
                  <a:pt x="1844594" y="4198229"/>
                </a:cubicBezTo>
                <a:cubicBezTo>
                  <a:pt x="1842450" y="4198229"/>
                  <a:pt x="1840127" y="4198229"/>
                  <a:pt x="1838340" y="4199122"/>
                </a:cubicBezTo>
                <a:cubicBezTo>
                  <a:pt x="1826727" y="4205196"/>
                  <a:pt x="1815292" y="4211628"/>
                  <a:pt x="1803857" y="4218060"/>
                </a:cubicBezTo>
                <a:cubicBezTo>
                  <a:pt x="1802964" y="4218596"/>
                  <a:pt x="1802249" y="4219669"/>
                  <a:pt x="1801891" y="4220562"/>
                </a:cubicBezTo>
                <a:cubicBezTo>
                  <a:pt x="1800283" y="4225028"/>
                  <a:pt x="1797781" y="4226816"/>
                  <a:pt x="1792422" y="4226458"/>
                </a:cubicBezTo>
                <a:cubicBezTo>
                  <a:pt x="1785275" y="4225921"/>
                  <a:pt x="1782595" y="4230390"/>
                  <a:pt x="1785275" y="4236642"/>
                </a:cubicBezTo>
                <a:cubicBezTo>
                  <a:pt x="1786168" y="4238607"/>
                  <a:pt x="1787597" y="4240395"/>
                  <a:pt x="1787956" y="4242539"/>
                </a:cubicBezTo>
                <a:cubicBezTo>
                  <a:pt x="1788312" y="4244683"/>
                  <a:pt x="1788134" y="4248257"/>
                  <a:pt x="1787241" y="4248613"/>
                </a:cubicBezTo>
                <a:cubicBezTo>
                  <a:pt x="1777592" y="4252545"/>
                  <a:pt x="1774913" y="4263799"/>
                  <a:pt x="1766157" y="4268446"/>
                </a:cubicBezTo>
                <a:cubicBezTo>
                  <a:pt x="1762942" y="4270053"/>
                  <a:pt x="1762405" y="4273449"/>
                  <a:pt x="1760439" y="4276129"/>
                </a:cubicBezTo>
                <a:cubicBezTo>
                  <a:pt x="1754902" y="4283811"/>
                  <a:pt x="1749363" y="4285776"/>
                  <a:pt x="1740787" y="4283276"/>
                </a:cubicBezTo>
                <a:cubicBezTo>
                  <a:pt x="1737570" y="4282381"/>
                  <a:pt x="1734533" y="4281310"/>
                  <a:pt x="1732925" y="4277915"/>
                </a:cubicBezTo>
                <a:cubicBezTo>
                  <a:pt x="1731496" y="4275056"/>
                  <a:pt x="1729708" y="4272197"/>
                  <a:pt x="1728101" y="4269339"/>
                </a:cubicBezTo>
                <a:cubicBezTo>
                  <a:pt x="1725957" y="4265051"/>
                  <a:pt x="1726313" y="4261299"/>
                  <a:pt x="1730245" y="4257904"/>
                </a:cubicBezTo>
                <a:cubicBezTo>
                  <a:pt x="1732925" y="4255582"/>
                  <a:pt x="1733818" y="4252545"/>
                  <a:pt x="1732032" y="4249149"/>
                </a:cubicBezTo>
                <a:cubicBezTo>
                  <a:pt x="1729888" y="4245398"/>
                  <a:pt x="1727922" y="4241466"/>
                  <a:pt x="1725957" y="4237536"/>
                </a:cubicBezTo>
                <a:cubicBezTo>
                  <a:pt x="1723991" y="4233605"/>
                  <a:pt x="1722205" y="4229495"/>
                  <a:pt x="1717559" y="4228065"/>
                </a:cubicBezTo>
                <a:cubicBezTo>
                  <a:pt x="1712199" y="4226458"/>
                  <a:pt x="1707018" y="4225028"/>
                  <a:pt x="1701836" y="4228424"/>
                </a:cubicBezTo>
                <a:cubicBezTo>
                  <a:pt x="1695403" y="4232534"/>
                  <a:pt x="1689330" y="4230031"/>
                  <a:pt x="1683254" y="4227172"/>
                </a:cubicBezTo>
                <a:cubicBezTo>
                  <a:pt x="1676822" y="4217525"/>
                  <a:pt x="1666102" y="4218955"/>
                  <a:pt x="1656811" y="4216630"/>
                </a:cubicBezTo>
                <a:cubicBezTo>
                  <a:pt x="1655203" y="4216274"/>
                  <a:pt x="1652881" y="4218060"/>
                  <a:pt x="1650915" y="4219133"/>
                </a:cubicBezTo>
                <a:cubicBezTo>
                  <a:pt x="1646627" y="4221455"/>
                  <a:pt x="1642875" y="4221455"/>
                  <a:pt x="1639480" y="4217345"/>
                </a:cubicBezTo>
                <a:cubicBezTo>
                  <a:pt x="1637336" y="4214667"/>
                  <a:pt x="1634299" y="4213772"/>
                  <a:pt x="1630904" y="4215381"/>
                </a:cubicBezTo>
                <a:cubicBezTo>
                  <a:pt x="1628938" y="4216096"/>
                  <a:pt x="1626974" y="4217345"/>
                  <a:pt x="1624830" y="4217703"/>
                </a:cubicBezTo>
                <a:cubicBezTo>
                  <a:pt x="1622864" y="4218060"/>
                  <a:pt x="1619469" y="4218418"/>
                  <a:pt x="1618754" y="4217345"/>
                </a:cubicBezTo>
                <a:cubicBezTo>
                  <a:pt x="1615359" y="4212701"/>
                  <a:pt x="1609463" y="4211628"/>
                  <a:pt x="1605534" y="4208054"/>
                </a:cubicBezTo>
                <a:cubicBezTo>
                  <a:pt x="1602138" y="4204661"/>
                  <a:pt x="1598921" y="4203588"/>
                  <a:pt x="1594099" y="4204661"/>
                </a:cubicBezTo>
                <a:cubicBezTo>
                  <a:pt x="1591060" y="4205376"/>
                  <a:pt x="1587487" y="4203766"/>
                  <a:pt x="1584450" y="4204481"/>
                </a:cubicBezTo>
                <a:cubicBezTo>
                  <a:pt x="1578732" y="4205732"/>
                  <a:pt x="1573729" y="4205732"/>
                  <a:pt x="1570156" y="4200373"/>
                </a:cubicBezTo>
                <a:cubicBezTo>
                  <a:pt x="1563546" y="4198229"/>
                  <a:pt x="1559258" y="4193761"/>
                  <a:pt x="1556221" y="4187508"/>
                </a:cubicBezTo>
                <a:cubicBezTo>
                  <a:pt x="1554969" y="4184650"/>
                  <a:pt x="1552825" y="4181969"/>
                  <a:pt x="1550323" y="4180003"/>
                </a:cubicBezTo>
                <a:cubicBezTo>
                  <a:pt x="1545142" y="4175893"/>
                  <a:pt x="1539961" y="4171964"/>
                  <a:pt x="1534244" y="4169105"/>
                </a:cubicBezTo>
                <a:cubicBezTo>
                  <a:pt x="1529063" y="4166424"/>
                  <a:pt x="1573015" y="4120685"/>
                  <a:pt x="1568012" y="4118363"/>
                </a:cubicBezTo>
                <a:cubicBezTo>
                  <a:pt x="1561580" y="4115326"/>
                  <a:pt x="1558006" y="4110143"/>
                  <a:pt x="1554255" y="4104784"/>
                </a:cubicBezTo>
                <a:cubicBezTo>
                  <a:pt x="1549788" y="4103176"/>
                  <a:pt x="1546393" y="4100317"/>
                  <a:pt x="1543713" y="4096922"/>
                </a:cubicBezTo>
                <a:cubicBezTo>
                  <a:pt x="1536924" y="4101032"/>
                  <a:pt x="1530134" y="4104605"/>
                  <a:pt x="1523345" y="4108357"/>
                </a:cubicBezTo>
                <a:cubicBezTo>
                  <a:pt x="1519414" y="4110679"/>
                  <a:pt x="1515484" y="4113182"/>
                  <a:pt x="1511196" y="4114431"/>
                </a:cubicBezTo>
                <a:cubicBezTo>
                  <a:pt x="1507086" y="4115504"/>
                  <a:pt x="1502439" y="4114789"/>
                  <a:pt x="1498331" y="4116933"/>
                </a:cubicBezTo>
                <a:cubicBezTo>
                  <a:pt x="1493507" y="4115860"/>
                  <a:pt x="1489397" y="4117648"/>
                  <a:pt x="1485467" y="4119970"/>
                </a:cubicBezTo>
                <a:cubicBezTo>
                  <a:pt x="1481894" y="4122292"/>
                  <a:pt x="1477784" y="4119970"/>
                  <a:pt x="1474210" y="4121936"/>
                </a:cubicBezTo>
                <a:cubicBezTo>
                  <a:pt x="1469744" y="4124258"/>
                  <a:pt x="1465456" y="4123007"/>
                  <a:pt x="1461883" y="4119792"/>
                </a:cubicBezTo>
                <a:cubicBezTo>
                  <a:pt x="1459024" y="4117111"/>
                  <a:pt x="1454736" y="4116397"/>
                  <a:pt x="1453126" y="4112467"/>
                </a:cubicBezTo>
                <a:cubicBezTo>
                  <a:pt x="1451877" y="4109250"/>
                  <a:pt x="1447589" y="4109072"/>
                  <a:pt x="1445980" y="4106391"/>
                </a:cubicBezTo>
                <a:cubicBezTo>
                  <a:pt x="1440440" y="4109250"/>
                  <a:pt x="1434903" y="4111930"/>
                  <a:pt x="1429542" y="4114789"/>
                </a:cubicBezTo>
                <a:cubicBezTo>
                  <a:pt x="1425254" y="4116933"/>
                  <a:pt x="1420966" y="4116219"/>
                  <a:pt x="1416678" y="4115860"/>
                </a:cubicBezTo>
                <a:cubicBezTo>
                  <a:pt x="1414177" y="4120863"/>
                  <a:pt x="1411140" y="4125151"/>
                  <a:pt x="1405957" y="4127653"/>
                </a:cubicBezTo>
                <a:cubicBezTo>
                  <a:pt x="1397025" y="4131942"/>
                  <a:pt x="1388449" y="4136766"/>
                  <a:pt x="1379694" y="4141232"/>
                </a:cubicBezTo>
                <a:cubicBezTo>
                  <a:pt x="1375763" y="4143198"/>
                  <a:pt x="1371474" y="4144448"/>
                  <a:pt x="1367901" y="4146950"/>
                </a:cubicBezTo>
                <a:cubicBezTo>
                  <a:pt x="1358074" y="4153382"/>
                  <a:pt x="1344853" y="4155168"/>
                  <a:pt x="1338777" y="4167139"/>
                </a:cubicBezTo>
                <a:cubicBezTo>
                  <a:pt x="1337528" y="4169641"/>
                  <a:pt x="1333596" y="4170891"/>
                  <a:pt x="1330738" y="4172320"/>
                </a:cubicBezTo>
                <a:cubicBezTo>
                  <a:pt x="1308404" y="4183935"/>
                  <a:pt x="1286071" y="4195548"/>
                  <a:pt x="1263557" y="4206805"/>
                </a:cubicBezTo>
                <a:cubicBezTo>
                  <a:pt x="1260877" y="4208234"/>
                  <a:pt x="1257304" y="4208769"/>
                  <a:pt x="1254267" y="4208413"/>
                </a:cubicBezTo>
                <a:cubicBezTo>
                  <a:pt x="1248013" y="4207698"/>
                  <a:pt x="1243725" y="4209842"/>
                  <a:pt x="1241224" y="4215559"/>
                </a:cubicBezTo>
                <a:cubicBezTo>
                  <a:pt x="1239795" y="4219133"/>
                  <a:pt x="1236936" y="4220562"/>
                  <a:pt x="1233719" y="4220919"/>
                </a:cubicBezTo>
                <a:cubicBezTo>
                  <a:pt x="1230504" y="4221277"/>
                  <a:pt x="1226752" y="4220026"/>
                  <a:pt x="1224072" y="4221277"/>
                </a:cubicBezTo>
                <a:cubicBezTo>
                  <a:pt x="1205312" y="4230209"/>
                  <a:pt x="1186908" y="4239859"/>
                  <a:pt x="1168327" y="4249149"/>
                </a:cubicBezTo>
                <a:cubicBezTo>
                  <a:pt x="1166539" y="4250221"/>
                  <a:pt x="1131341" y="4230209"/>
                  <a:pt x="1130448" y="4231819"/>
                </a:cubicBezTo>
                <a:cubicBezTo>
                  <a:pt x="1123302" y="4245932"/>
                  <a:pt x="1108115" y="4248613"/>
                  <a:pt x="1096144" y="4255582"/>
                </a:cubicBezTo>
                <a:cubicBezTo>
                  <a:pt x="1082921" y="4263443"/>
                  <a:pt x="1068986" y="4270053"/>
                  <a:pt x="1055407" y="4277022"/>
                </a:cubicBezTo>
                <a:cubicBezTo>
                  <a:pt x="1048438" y="4280595"/>
                  <a:pt x="1041828" y="4284884"/>
                  <a:pt x="1034503" y="4286669"/>
                </a:cubicBezTo>
                <a:cubicBezTo>
                  <a:pt x="1027356" y="4288279"/>
                  <a:pt x="1019315" y="4286669"/>
                  <a:pt x="1012348" y="4290243"/>
                </a:cubicBezTo>
                <a:cubicBezTo>
                  <a:pt x="1004306" y="4288279"/>
                  <a:pt x="997159" y="4290957"/>
                  <a:pt x="990549" y="4294889"/>
                </a:cubicBezTo>
                <a:cubicBezTo>
                  <a:pt x="984475" y="4298462"/>
                  <a:pt x="977507" y="4294353"/>
                  <a:pt x="971431" y="4297570"/>
                </a:cubicBezTo>
                <a:cubicBezTo>
                  <a:pt x="963569" y="4301499"/>
                  <a:pt x="956244" y="4299177"/>
                  <a:pt x="950527" y="4293460"/>
                </a:cubicBezTo>
                <a:cubicBezTo>
                  <a:pt x="945882" y="4288993"/>
                  <a:pt x="938556" y="4287742"/>
                  <a:pt x="936055" y="4280774"/>
                </a:cubicBezTo>
                <a:cubicBezTo>
                  <a:pt x="933911" y="4275234"/>
                  <a:pt x="926586" y="4274700"/>
                  <a:pt x="924084" y="4270053"/>
                </a:cubicBezTo>
                <a:cubicBezTo>
                  <a:pt x="919439" y="4261477"/>
                  <a:pt x="911756" y="4258440"/>
                  <a:pt x="903180" y="4255938"/>
                </a:cubicBezTo>
                <a:cubicBezTo>
                  <a:pt x="896926" y="4254152"/>
                  <a:pt x="889957" y="4253079"/>
                  <a:pt x="884598" y="4249686"/>
                </a:cubicBezTo>
                <a:cubicBezTo>
                  <a:pt x="880132" y="4246827"/>
                  <a:pt x="876200" y="4243432"/>
                  <a:pt x="871019" y="4241288"/>
                </a:cubicBezTo>
                <a:cubicBezTo>
                  <a:pt x="858333" y="4236107"/>
                  <a:pt x="854760" y="4236822"/>
                  <a:pt x="845647" y="4247362"/>
                </a:cubicBezTo>
                <a:cubicBezTo>
                  <a:pt x="843503" y="4249864"/>
                  <a:pt x="841895" y="4252723"/>
                  <a:pt x="838858" y="4254330"/>
                </a:cubicBezTo>
                <a:cubicBezTo>
                  <a:pt x="832248" y="4257904"/>
                  <a:pt x="825636" y="4261835"/>
                  <a:pt x="819025" y="4265765"/>
                </a:cubicBezTo>
                <a:cubicBezTo>
                  <a:pt x="817240" y="4266838"/>
                  <a:pt x="815452" y="4268446"/>
                  <a:pt x="814559" y="4270232"/>
                </a:cubicBezTo>
                <a:cubicBezTo>
                  <a:pt x="811879" y="4275234"/>
                  <a:pt x="807591" y="4278273"/>
                  <a:pt x="802588" y="4280774"/>
                </a:cubicBezTo>
                <a:cubicBezTo>
                  <a:pt x="795797" y="4284347"/>
                  <a:pt x="789009" y="4287384"/>
                  <a:pt x="785257" y="4295067"/>
                </a:cubicBezTo>
                <a:cubicBezTo>
                  <a:pt x="784006" y="4297570"/>
                  <a:pt x="728797" y="4362426"/>
                  <a:pt x="726117" y="4364213"/>
                </a:cubicBezTo>
                <a:cubicBezTo>
                  <a:pt x="723436" y="4365999"/>
                  <a:pt x="719328" y="4367072"/>
                  <a:pt x="718077" y="4369572"/>
                </a:cubicBezTo>
                <a:cubicBezTo>
                  <a:pt x="710216" y="4385295"/>
                  <a:pt x="693420" y="4386725"/>
                  <a:pt x="680555" y="4394230"/>
                </a:cubicBezTo>
                <a:cubicBezTo>
                  <a:pt x="678948" y="4395123"/>
                  <a:pt x="676267" y="4394586"/>
                  <a:pt x="674123" y="4394230"/>
                </a:cubicBezTo>
                <a:cubicBezTo>
                  <a:pt x="668764" y="4393515"/>
                  <a:pt x="663403" y="4392086"/>
                  <a:pt x="658044" y="4391908"/>
                </a:cubicBezTo>
                <a:cubicBezTo>
                  <a:pt x="654649" y="4391727"/>
                  <a:pt x="651968" y="4391193"/>
                  <a:pt x="649290" y="4388869"/>
                </a:cubicBezTo>
                <a:cubicBezTo>
                  <a:pt x="643572" y="4384046"/>
                  <a:pt x="637318" y="4379758"/>
                  <a:pt x="631242" y="4375290"/>
                </a:cubicBezTo>
                <a:cubicBezTo>
                  <a:pt x="625883" y="4371538"/>
                  <a:pt x="619629" y="4368858"/>
                  <a:pt x="615341" y="4364213"/>
                </a:cubicBezTo>
                <a:cubicBezTo>
                  <a:pt x="611053" y="4359389"/>
                  <a:pt x="608553" y="4352956"/>
                  <a:pt x="605694" y="4347061"/>
                </a:cubicBezTo>
                <a:cubicBezTo>
                  <a:pt x="602655" y="4340985"/>
                  <a:pt x="598547" y="4336341"/>
                  <a:pt x="592650" y="4332945"/>
                </a:cubicBezTo>
                <a:cubicBezTo>
                  <a:pt x="590149" y="4331338"/>
                  <a:pt x="588720" y="4327764"/>
                  <a:pt x="587290" y="4324906"/>
                </a:cubicBezTo>
                <a:cubicBezTo>
                  <a:pt x="582644" y="4316151"/>
                  <a:pt x="578178" y="4307395"/>
                  <a:pt x="573711" y="4298641"/>
                </a:cubicBezTo>
                <a:cubicBezTo>
                  <a:pt x="571746" y="4294711"/>
                  <a:pt x="568172" y="4292387"/>
                  <a:pt x="564421" y="4289886"/>
                </a:cubicBezTo>
                <a:cubicBezTo>
                  <a:pt x="561562" y="4287920"/>
                  <a:pt x="564599" y="4282561"/>
                  <a:pt x="562633" y="4281488"/>
                </a:cubicBezTo>
                <a:cubicBezTo>
                  <a:pt x="552271" y="4275414"/>
                  <a:pt x="549769" y="4264158"/>
                  <a:pt x="544409" y="4254867"/>
                </a:cubicBezTo>
                <a:cubicBezTo>
                  <a:pt x="540478" y="4248257"/>
                  <a:pt x="536726" y="4241644"/>
                  <a:pt x="529043" y="4238786"/>
                </a:cubicBezTo>
                <a:cubicBezTo>
                  <a:pt x="522791" y="4227351"/>
                  <a:pt x="508675" y="4222348"/>
                  <a:pt x="504924" y="4208769"/>
                </a:cubicBezTo>
                <a:cubicBezTo>
                  <a:pt x="503673" y="4204303"/>
                  <a:pt x="500099" y="4201802"/>
                  <a:pt x="496168" y="4199478"/>
                </a:cubicBezTo>
                <a:cubicBezTo>
                  <a:pt x="494382" y="4198407"/>
                  <a:pt x="492774" y="4196799"/>
                  <a:pt x="491701" y="4195012"/>
                </a:cubicBezTo>
                <a:cubicBezTo>
                  <a:pt x="487771" y="4188401"/>
                  <a:pt x="459362" y="4041177"/>
                  <a:pt x="456325" y="4034208"/>
                </a:cubicBezTo>
                <a:cubicBezTo>
                  <a:pt x="451679" y="4023310"/>
                  <a:pt x="441852" y="4018485"/>
                  <a:pt x="432741" y="4012946"/>
                </a:cubicBezTo>
                <a:cubicBezTo>
                  <a:pt x="428273" y="4010267"/>
                  <a:pt x="474193" y="3945588"/>
                  <a:pt x="469010" y="3943622"/>
                </a:cubicBezTo>
                <a:cubicBezTo>
                  <a:pt x="465795" y="3942373"/>
                  <a:pt x="463472" y="3940407"/>
                  <a:pt x="461863" y="3937370"/>
                </a:cubicBezTo>
                <a:cubicBezTo>
                  <a:pt x="459897" y="3933438"/>
                  <a:pt x="457755" y="3929687"/>
                  <a:pt x="455431" y="3925935"/>
                </a:cubicBezTo>
                <a:cubicBezTo>
                  <a:pt x="453823" y="3923254"/>
                  <a:pt x="452216" y="3920037"/>
                  <a:pt x="448820" y="3919145"/>
                </a:cubicBezTo>
                <a:cubicBezTo>
                  <a:pt x="438993" y="3916644"/>
                  <a:pt x="431846" y="3909317"/>
                  <a:pt x="423807" y="3904136"/>
                </a:cubicBezTo>
                <a:cubicBezTo>
                  <a:pt x="413979" y="3897882"/>
                  <a:pt x="405225" y="3889486"/>
                  <a:pt x="393790" y="3885376"/>
                </a:cubicBezTo>
                <a:cubicBezTo>
                  <a:pt x="391824" y="3884662"/>
                  <a:pt x="389860" y="3883232"/>
                  <a:pt x="388787" y="3881445"/>
                </a:cubicBezTo>
                <a:cubicBezTo>
                  <a:pt x="383428" y="3872868"/>
                  <a:pt x="374672" y="3868402"/>
                  <a:pt x="366990" y="3862507"/>
                </a:cubicBezTo>
                <a:cubicBezTo>
                  <a:pt x="361093" y="3857860"/>
                  <a:pt x="353053" y="3855182"/>
                  <a:pt x="349658" y="3848213"/>
                </a:cubicBezTo>
                <a:cubicBezTo>
                  <a:pt x="346084" y="3840708"/>
                  <a:pt x="336259" y="3840351"/>
                  <a:pt x="333578" y="3832490"/>
                </a:cubicBezTo>
                <a:cubicBezTo>
                  <a:pt x="333220" y="3831597"/>
                  <a:pt x="332686" y="3830524"/>
                  <a:pt x="331791" y="3829809"/>
                </a:cubicBezTo>
                <a:cubicBezTo>
                  <a:pt x="324288" y="3823914"/>
                  <a:pt x="315353" y="3819089"/>
                  <a:pt x="309279" y="3811764"/>
                </a:cubicBezTo>
                <a:cubicBezTo>
                  <a:pt x="302847" y="3804081"/>
                  <a:pt x="294271" y="3799436"/>
                  <a:pt x="287124" y="3793182"/>
                </a:cubicBezTo>
                <a:cubicBezTo>
                  <a:pt x="283551" y="3789965"/>
                  <a:pt x="281585" y="3787107"/>
                  <a:pt x="281763" y="3782284"/>
                </a:cubicBezTo>
                <a:cubicBezTo>
                  <a:pt x="281943" y="3779245"/>
                  <a:pt x="281407" y="3775852"/>
                  <a:pt x="280514" y="3772813"/>
                </a:cubicBezTo>
                <a:cubicBezTo>
                  <a:pt x="277655" y="3763522"/>
                  <a:pt x="269079" y="3755841"/>
                  <a:pt x="269972" y="3745835"/>
                </a:cubicBezTo>
                <a:cubicBezTo>
                  <a:pt x="270686" y="3737437"/>
                  <a:pt x="274616" y="3729039"/>
                  <a:pt x="277475" y="3720821"/>
                </a:cubicBezTo>
                <a:cubicBezTo>
                  <a:pt x="279441" y="3715282"/>
                  <a:pt x="278548" y="3710458"/>
                  <a:pt x="276582" y="3705098"/>
                </a:cubicBezTo>
                <a:cubicBezTo>
                  <a:pt x="274260" y="3698666"/>
                  <a:pt x="274438" y="3684014"/>
                  <a:pt x="275867" y="3679548"/>
                </a:cubicBezTo>
                <a:cubicBezTo>
                  <a:pt x="280514" y="3664896"/>
                  <a:pt x="285336" y="3650424"/>
                  <a:pt x="290161" y="3635774"/>
                </a:cubicBezTo>
                <a:cubicBezTo>
                  <a:pt x="291590" y="3631664"/>
                  <a:pt x="292842" y="3627376"/>
                  <a:pt x="294271" y="3623266"/>
                </a:cubicBezTo>
                <a:cubicBezTo>
                  <a:pt x="296237" y="3617727"/>
                  <a:pt x="294986" y="3612546"/>
                  <a:pt x="291949" y="3607722"/>
                </a:cubicBezTo>
                <a:cubicBezTo>
                  <a:pt x="289983" y="3604506"/>
                  <a:pt x="291054" y="3601289"/>
                  <a:pt x="291949" y="3598253"/>
                </a:cubicBezTo>
                <a:cubicBezTo>
                  <a:pt x="292483" y="3596108"/>
                  <a:pt x="293198" y="3593608"/>
                  <a:pt x="294627" y="3592357"/>
                </a:cubicBezTo>
                <a:cubicBezTo>
                  <a:pt x="302132" y="3586461"/>
                  <a:pt x="302489" y="3576812"/>
                  <a:pt x="307492" y="3569843"/>
                </a:cubicBezTo>
                <a:cubicBezTo>
                  <a:pt x="308565" y="3568236"/>
                  <a:pt x="310887" y="3567343"/>
                  <a:pt x="312853" y="3566270"/>
                </a:cubicBezTo>
                <a:cubicBezTo>
                  <a:pt x="318926" y="3563055"/>
                  <a:pt x="320178" y="3555730"/>
                  <a:pt x="325539" y="3551620"/>
                </a:cubicBezTo>
                <a:cubicBezTo>
                  <a:pt x="326788" y="3550727"/>
                  <a:pt x="327146" y="3546974"/>
                  <a:pt x="326253" y="3545544"/>
                </a:cubicBezTo>
                <a:cubicBezTo>
                  <a:pt x="321251" y="3536612"/>
                  <a:pt x="324824" y="3526070"/>
                  <a:pt x="320356" y="3517137"/>
                </a:cubicBezTo>
                <a:cubicBezTo>
                  <a:pt x="319641" y="3515528"/>
                  <a:pt x="320356" y="3512669"/>
                  <a:pt x="321429" y="3511061"/>
                </a:cubicBezTo>
                <a:cubicBezTo>
                  <a:pt x="323751" y="3507310"/>
                  <a:pt x="325895" y="3502843"/>
                  <a:pt x="329290" y="3500699"/>
                </a:cubicBezTo>
                <a:cubicBezTo>
                  <a:pt x="335364" y="3496768"/>
                  <a:pt x="336437" y="3489979"/>
                  <a:pt x="340725" y="3485155"/>
                </a:cubicBezTo>
                <a:cubicBezTo>
                  <a:pt x="343406" y="3481938"/>
                  <a:pt x="345013" y="3477650"/>
                  <a:pt x="346799" y="3473720"/>
                </a:cubicBezTo>
                <a:cubicBezTo>
                  <a:pt x="348587" y="3469610"/>
                  <a:pt x="350553" y="3466036"/>
                  <a:pt x="354661" y="3463714"/>
                </a:cubicBezTo>
                <a:cubicBezTo>
                  <a:pt x="357519" y="3462107"/>
                  <a:pt x="360378" y="3460141"/>
                  <a:pt x="361093" y="3456746"/>
                </a:cubicBezTo>
                <a:cubicBezTo>
                  <a:pt x="363951" y="3444774"/>
                  <a:pt x="372528" y="3438700"/>
                  <a:pt x="382713" y="3433698"/>
                </a:cubicBezTo>
                <a:cubicBezTo>
                  <a:pt x="395397" y="3427444"/>
                  <a:pt x="407905" y="3420475"/>
                  <a:pt x="420591" y="3414043"/>
                </a:cubicBezTo>
                <a:cubicBezTo>
                  <a:pt x="423807" y="3412435"/>
                  <a:pt x="425236" y="3409398"/>
                  <a:pt x="427202" y="3406896"/>
                </a:cubicBezTo>
                <a:cubicBezTo>
                  <a:pt x="432204" y="3400644"/>
                  <a:pt x="439173" y="3396534"/>
                  <a:pt x="446676" y="3396534"/>
                </a:cubicBezTo>
                <a:cubicBezTo>
                  <a:pt x="450786" y="3396534"/>
                  <a:pt x="454360" y="3395641"/>
                  <a:pt x="457755" y="3394568"/>
                </a:cubicBezTo>
                <a:cubicBezTo>
                  <a:pt x="455074" y="3394032"/>
                  <a:pt x="452752" y="3393317"/>
                  <a:pt x="450608" y="3392782"/>
                </a:cubicBezTo>
                <a:cubicBezTo>
                  <a:pt x="460077" y="3386885"/>
                  <a:pt x="469546" y="3380989"/>
                  <a:pt x="479552" y="3374557"/>
                </a:cubicBezTo>
                <a:cubicBezTo>
                  <a:pt x="478301" y="3373128"/>
                  <a:pt x="476693" y="3372057"/>
                  <a:pt x="474907" y="3371520"/>
                </a:cubicBezTo>
                <a:cubicBezTo>
                  <a:pt x="472583" y="3373128"/>
                  <a:pt x="470261" y="3375094"/>
                  <a:pt x="467760" y="3375987"/>
                </a:cubicBezTo>
                <a:cubicBezTo>
                  <a:pt x="461328" y="3377952"/>
                  <a:pt x="455252" y="3381348"/>
                  <a:pt x="446676" y="3385099"/>
                </a:cubicBezTo>
                <a:cubicBezTo>
                  <a:pt x="453823" y="3380633"/>
                  <a:pt x="460433" y="3376523"/>
                  <a:pt x="466866" y="3372413"/>
                </a:cubicBezTo>
                <a:cubicBezTo>
                  <a:pt x="465616" y="3372235"/>
                  <a:pt x="464365" y="3371877"/>
                  <a:pt x="462758" y="3371877"/>
                </a:cubicBezTo>
                <a:cubicBezTo>
                  <a:pt x="463114" y="3369554"/>
                  <a:pt x="463472" y="3367410"/>
                  <a:pt x="463829" y="3365266"/>
                </a:cubicBezTo>
                <a:cubicBezTo>
                  <a:pt x="460433" y="3366517"/>
                  <a:pt x="457218" y="3368303"/>
                  <a:pt x="454538" y="3371342"/>
                </a:cubicBezTo>
                <a:cubicBezTo>
                  <a:pt x="450964" y="3375630"/>
                  <a:pt x="443996" y="3377059"/>
                  <a:pt x="438637" y="3379738"/>
                </a:cubicBezTo>
                <a:cubicBezTo>
                  <a:pt x="430953" y="3383312"/>
                  <a:pt x="423450" y="3387065"/>
                  <a:pt x="415767" y="3390280"/>
                </a:cubicBezTo>
                <a:cubicBezTo>
                  <a:pt x="413445" y="3391173"/>
                  <a:pt x="410764" y="3390817"/>
                  <a:pt x="407547" y="3389029"/>
                </a:cubicBezTo>
                <a:cubicBezTo>
                  <a:pt x="412908" y="3386529"/>
                  <a:pt x="418267" y="3384026"/>
                  <a:pt x="423450" y="3381348"/>
                </a:cubicBezTo>
                <a:cubicBezTo>
                  <a:pt x="429524" y="3378131"/>
                  <a:pt x="435241" y="3374557"/>
                  <a:pt x="441137" y="3371162"/>
                </a:cubicBezTo>
                <a:cubicBezTo>
                  <a:pt x="443461" y="3369733"/>
                  <a:pt x="446320" y="3367410"/>
                  <a:pt x="448642" y="3367769"/>
                </a:cubicBezTo>
                <a:cubicBezTo>
                  <a:pt x="457218" y="3369198"/>
                  <a:pt x="460255" y="3364015"/>
                  <a:pt x="463114" y="3357941"/>
                </a:cubicBezTo>
                <a:cubicBezTo>
                  <a:pt x="462043" y="3355797"/>
                  <a:pt x="460433" y="3353475"/>
                  <a:pt x="459184" y="3350973"/>
                </a:cubicBezTo>
                <a:cubicBezTo>
                  <a:pt x="460433" y="3347043"/>
                  <a:pt x="461328" y="3342755"/>
                  <a:pt x="462936" y="3338645"/>
                </a:cubicBezTo>
                <a:cubicBezTo>
                  <a:pt x="463650" y="3337037"/>
                  <a:pt x="465616" y="3334713"/>
                  <a:pt x="467224" y="3334535"/>
                </a:cubicBezTo>
                <a:cubicBezTo>
                  <a:pt x="470975" y="3333820"/>
                  <a:pt x="471154" y="3337394"/>
                  <a:pt x="471868" y="3340789"/>
                </a:cubicBezTo>
                <a:cubicBezTo>
                  <a:pt x="475264" y="3340967"/>
                  <a:pt x="478837" y="3341145"/>
                  <a:pt x="484554" y="3341504"/>
                </a:cubicBezTo>
                <a:cubicBezTo>
                  <a:pt x="481159" y="3345433"/>
                  <a:pt x="478837" y="3347936"/>
                  <a:pt x="475978" y="3351331"/>
                </a:cubicBezTo>
                <a:cubicBezTo>
                  <a:pt x="477408" y="3352402"/>
                  <a:pt x="478659" y="3352939"/>
                  <a:pt x="479910" y="3353475"/>
                </a:cubicBezTo>
                <a:cubicBezTo>
                  <a:pt x="484554" y="3350973"/>
                  <a:pt x="489557" y="3349187"/>
                  <a:pt x="492416" y="3344899"/>
                </a:cubicBezTo>
                <a:cubicBezTo>
                  <a:pt x="490094" y="3342396"/>
                  <a:pt x="487771" y="3339896"/>
                  <a:pt x="490987" y="3335428"/>
                </a:cubicBezTo>
                <a:cubicBezTo>
                  <a:pt x="492416" y="3335786"/>
                  <a:pt x="494024" y="3335964"/>
                  <a:pt x="495453" y="3336143"/>
                </a:cubicBezTo>
                <a:cubicBezTo>
                  <a:pt x="496348" y="3335428"/>
                  <a:pt x="497777" y="3334535"/>
                  <a:pt x="498848" y="3333820"/>
                </a:cubicBezTo>
                <a:cubicBezTo>
                  <a:pt x="496704" y="3332391"/>
                  <a:pt x="494382" y="3330425"/>
                  <a:pt x="492060" y="3330247"/>
                </a:cubicBezTo>
                <a:cubicBezTo>
                  <a:pt x="489379" y="3330069"/>
                  <a:pt x="486698" y="3331498"/>
                  <a:pt x="483125" y="3332391"/>
                </a:cubicBezTo>
                <a:cubicBezTo>
                  <a:pt x="481874" y="3322207"/>
                  <a:pt x="488306" y="3314346"/>
                  <a:pt x="490094" y="3305411"/>
                </a:cubicBezTo>
                <a:cubicBezTo>
                  <a:pt x="489735" y="3305411"/>
                  <a:pt x="489379" y="3305411"/>
                  <a:pt x="489021" y="3305411"/>
                </a:cubicBezTo>
                <a:cubicBezTo>
                  <a:pt x="485984" y="3305948"/>
                  <a:pt x="483483" y="3310236"/>
                  <a:pt x="480803" y="3312738"/>
                </a:cubicBezTo>
                <a:cubicBezTo>
                  <a:pt x="480088" y="3311843"/>
                  <a:pt x="479195" y="3310772"/>
                  <a:pt x="479195" y="3309879"/>
                </a:cubicBezTo>
                <a:cubicBezTo>
                  <a:pt x="479373" y="3307021"/>
                  <a:pt x="480445" y="3303804"/>
                  <a:pt x="482232" y="3300589"/>
                </a:cubicBezTo>
                <a:cubicBezTo>
                  <a:pt x="480088" y="3300767"/>
                  <a:pt x="478122" y="3300408"/>
                  <a:pt x="476156" y="3298801"/>
                </a:cubicBezTo>
                <a:cubicBezTo>
                  <a:pt x="471690" y="3295049"/>
                  <a:pt x="467760" y="3290583"/>
                  <a:pt x="463829" y="3286115"/>
                </a:cubicBezTo>
                <a:cubicBezTo>
                  <a:pt x="463114" y="3285222"/>
                  <a:pt x="464365" y="3282900"/>
                  <a:pt x="464902" y="3280397"/>
                </a:cubicBezTo>
                <a:cubicBezTo>
                  <a:pt x="461685" y="3278790"/>
                  <a:pt x="458111" y="3277360"/>
                  <a:pt x="454896" y="3275395"/>
                </a:cubicBezTo>
                <a:cubicBezTo>
                  <a:pt x="453287" y="3274324"/>
                  <a:pt x="401295" y="3278790"/>
                  <a:pt x="401473" y="3277360"/>
                </a:cubicBezTo>
                <a:cubicBezTo>
                  <a:pt x="402903" y="3269321"/>
                  <a:pt x="396827" y="3266640"/>
                  <a:pt x="391824" y="3263425"/>
                </a:cubicBezTo>
                <a:cubicBezTo>
                  <a:pt x="389860" y="3262174"/>
                  <a:pt x="387536" y="3261996"/>
                  <a:pt x="385572" y="3260923"/>
                </a:cubicBezTo>
                <a:cubicBezTo>
                  <a:pt x="380569" y="3258064"/>
                  <a:pt x="377174" y="3253776"/>
                  <a:pt x="376638" y="3247702"/>
                </a:cubicBezTo>
                <a:cubicBezTo>
                  <a:pt x="376281" y="3242699"/>
                  <a:pt x="376101" y="3237697"/>
                  <a:pt x="375923" y="3232336"/>
                </a:cubicBezTo>
                <a:cubicBezTo>
                  <a:pt x="371278" y="3226976"/>
                  <a:pt x="365024" y="3226440"/>
                  <a:pt x="356626" y="3230191"/>
                </a:cubicBezTo>
                <a:cubicBezTo>
                  <a:pt x="358056" y="3223403"/>
                  <a:pt x="358949" y="3218757"/>
                  <a:pt x="359843" y="3214112"/>
                </a:cubicBezTo>
                <a:cubicBezTo>
                  <a:pt x="353589" y="3210359"/>
                  <a:pt x="350909" y="3204463"/>
                  <a:pt x="350372" y="3197494"/>
                </a:cubicBezTo>
                <a:cubicBezTo>
                  <a:pt x="350016" y="3193743"/>
                  <a:pt x="350016" y="3189813"/>
                  <a:pt x="350016" y="3186059"/>
                </a:cubicBezTo>
                <a:cubicBezTo>
                  <a:pt x="351982" y="3184452"/>
                  <a:pt x="353768" y="3182666"/>
                  <a:pt x="355912" y="3180878"/>
                </a:cubicBezTo>
                <a:cubicBezTo>
                  <a:pt x="352517" y="3175697"/>
                  <a:pt x="349301" y="3172302"/>
                  <a:pt x="342691" y="3173375"/>
                </a:cubicBezTo>
                <a:cubicBezTo>
                  <a:pt x="339474" y="3173910"/>
                  <a:pt x="335722" y="3172124"/>
                  <a:pt x="332149" y="3171231"/>
                </a:cubicBezTo>
                <a:cubicBezTo>
                  <a:pt x="336437" y="3166585"/>
                  <a:pt x="340725" y="3161940"/>
                  <a:pt x="344835" y="3157116"/>
                </a:cubicBezTo>
                <a:cubicBezTo>
                  <a:pt x="345906" y="3155865"/>
                  <a:pt x="346979" y="3154613"/>
                  <a:pt x="347872" y="3153184"/>
                </a:cubicBezTo>
                <a:cubicBezTo>
                  <a:pt x="346799" y="3146037"/>
                  <a:pt x="348409" y="3140500"/>
                  <a:pt x="351087" y="3135317"/>
                </a:cubicBezTo>
                <a:cubicBezTo>
                  <a:pt x="350909" y="3135317"/>
                  <a:pt x="350909" y="3135317"/>
                  <a:pt x="350909" y="3135317"/>
                </a:cubicBezTo>
                <a:cubicBezTo>
                  <a:pt x="351087" y="3135139"/>
                  <a:pt x="351087" y="3134961"/>
                  <a:pt x="351087" y="3134961"/>
                </a:cubicBezTo>
                <a:cubicBezTo>
                  <a:pt x="351087" y="3135139"/>
                  <a:pt x="351087" y="3135139"/>
                  <a:pt x="351087" y="3135139"/>
                </a:cubicBezTo>
                <a:cubicBezTo>
                  <a:pt x="354126" y="3129243"/>
                  <a:pt x="358234" y="3124062"/>
                  <a:pt x="360915" y="3117808"/>
                </a:cubicBezTo>
                <a:cubicBezTo>
                  <a:pt x="365203" y="3117094"/>
                  <a:pt x="369491" y="3116557"/>
                  <a:pt x="373779" y="3115842"/>
                </a:cubicBezTo>
                <a:cubicBezTo>
                  <a:pt x="379674" y="3112984"/>
                  <a:pt x="386287" y="3110840"/>
                  <a:pt x="392361" y="3108159"/>
                </a:cubicBezTo>
                <a:cubicBezTo>
                  <a:pt x="392539" y="3106910"/>
                  <a:pt x="392897" y="3105480"/>
                  <a:pt x="393253" y="3104051"/>
                </a:cubicBezTo>
                <a:cubicBezTo>
                  <a:pt x="392361" y="3104586"/>
                  <a:pt x="391646" y="3104944"/>
                  <a:pt x="390753" y="3105122"/>
                </a:cubicBezTo>
                <a:cubicBezTo>
                  <a:pt x="388072" y="3105837"/>
                  <a:pt x="385572" y="3107625"/>
                  <a:pt x="382891" y="3107981"/>
                </a:cubicBezTo>
                <a:cubicBezTo>
                  <a:pt x="380926" y="3108159"/>
                  <a:pt x="377174" y="3107266"/>
                  <a:pt x="377174" y="3106552"/>
                </a:cubicBezTo>
                <a:cubicBezTo>
                  <a:pt x="376816" y="3103871"/>
                  <a:pt x="376816" y="3100478"/>
                  <a:pt x="378425" y="3098868"/>
                </a:cubicBezTo>
                <a:cubicBezTo>
                  <a:pt x="380569" y="3096724"/>
                  <a:pt x="384143" y="3095653"/>
                  <a:pt x="387180" y="3094224"/>
                </a:cubicBezTo>
                <a:cubicBezTo>
                  <a:pt x="393612" y="3090829"/>
                  <a:pt x="399866" y="3087613"/>
                  <a:pt x="405939" y="3084575"/>
                </a:cubicBezTo>
                <a:cubicBezTo>
                  <a:pt x="406832" y="3079930"/>
                  <a:pt x="407547" y="3076179"/>
                  <a:pt x="408262" y="3071890"/>
                </a:cubicBezTo>
                <a:cubicBezTo>
                  <a:pt x="413801" y="3069388"/>
                  <a:pt x="419340" y="3067066"/>
                  <a:pt x="424879" y="3064564"/>
                </a:cubicBezTo>
                <a:cubicBezTo>
                  <a:pt x="425594" y="3066888"/>
                  <a:pt x="426309" y="3068852"/>
                  <a:pt x="427380" y="3071890"/>
                </a:cubicBezTo>
                <a:cubicBezTo>
                  <a:pt x="431132" y="3069746"/>
                  <a:pt x="435778" y="3068673"/>
                  <a:pt x="437207" y="3065815"/>
                </a:cubicBezTo>
                <a:cubicBezTo>
                  <a:pt x="444176" y="3052414"/>
                  <a:pt x="456860" y="3048484"/>
                  <a:pt x="469546" y="3044018"/>
                </a:cubicBezTo>
                <a:cubicBezTo>
                  <a:pt x="477408" y="3050450"/>
                  <a:pt x="485447" y="3049555"/>
                  <a:pt x="493489" y="3045267"/>
                </a:cubicBezTo>
                <a:cubicBezTo>
                  <a:pt x="500099" y="3027580"/>
                  <a:pt x="509390" y="3011321"/>
                  <a:pt x="518503" y="2994883"/>
                </a:cubicBezTo>
                <a:lnTo>
                  <a:pt x="516389" y="2995363"/>
                </a:lnTo>
                <a:lnTo>
                  <a:pt x="520289" y="2992561"/>
                </a:lnTo>
                <a:cubicBezTo>
                  <a:pt x="520467" y="2992202"/>
                  <a:pt x="520825" y="2992024"/>
                  <a:pt x="520825" y="2991666"/>
                </a:cubicBezTo>
                <a:cubicBezTo>
                  <a:pt x="522969" y="2987558"/>
                  <a:pt x="525650" y="2983626"/>
                  <a:pt x="527614" y="2979338"/>
                </a:cubicBezTo>
                <a:cubicBezTo>
                  <a:pt x="528686" y="2977016"/>
                  <a:pt x="528865" y="2974157"/>
                  <a:pt x="529401" y="2971299"/>
                </a:cubicBezTo>
                <a:cubicBezTo>
                  <a:pt x="527614" y="2971655"/>
                  <a:pt x="526542" y="2971299"/>
                  <a:pt x="526542" y="2971655"/>
                </a:cubicBezTo>
                <a:cubicBezTo>
                  <a:pt x="523684" y="2976123"/>
                  <a:pt x="521003" y="2980589"/>
                  <a:pt x="518323" y="2985056"/>
                </a:cubicBezTo>
                <a:cubicBezTo>
                  <a:pt x="519217" y="2987736"/>
                  <a:pt x="518144" y="2990773"/>
                  <a:pt x="516715" y="2993095"/>
                </a:cubicBezTo>
                <a:lnTo>
                  <a:pt x="515192" y="2995635"/>
                </a:lnTo>
                <a:lnTo>
                  <a:pt x="514571" y="2995776"/>
                </a:lnTo>
                <a:cubicBezTo>
                  <a:pt x="510105" y="3003101"/>
                  <a:pt x="505102" y="3010248"/>
                  <a:pt x="499741" y="3018468"/>
                </a:cubicBezTo>
                <a:cubicBezTo>
                  <a:pt x="497419" y="3017216"/>
                  <a:pt x="494560" y="3015609"/>
                  <a:pt x="491879" y="3014179"/>
                </a:cubicBezTo>
                <a:cubicBezTo>
                  <a:pt x="488486" y="3019360"/>
                  <a:pt x="485447" y="3024721"/>
                  <a:pt x="482054" y="3030081"/>
                </a:cubicBezTo>
                <a:cubicBezTo>
                  <a:pt x="480625" y="3029544"/>
                  <a:pt x="480088" y="3028651"/>
                  <a:pt x="479910" y="3027758"/>
                </a:cubicBezTo>
                <a:cubicBezTo>
                  <a:pt x="478659" y="3029366"/>
                  <a:pt x="477229" y="3031154"/>
                  <a:pt x="475978" y="3032939"/>
                </a:cubicBezTo>
                <a:cubicBezTo>
                  <a:pt x="469904" y="3031688"/>
                  <a:pt x="471154" y="3027758"/>
                  <a:pt x="471868" y="3024363"/>
                </a:cubicBezTo>
                <a:cubicBezTo>
                  <a:pt x="475442" y="3008818"/>
                  <a:pt x="481518" y="2994347"/>
                  <a:pt x="491345" y="2981126"/>
                </a:cubicBezTo>
                <a:cubicBezTo>
                  <a:pt x="492952" y="2985592"/>
                  <a:pt x="493845" y="2988451"/>
                  <a:pt x="494382" y="2991131"/>
                </a:cubicBezTo>
                <a:cubicBezTo>
                  <a:pt x="496704" y="2986129"/>
                  <a:pt x="499026" y="2981126"/>
                  <a:pt x="501529" y="2976123"/>
                </a:cubicBezTo>
                <a:cubicBezTo>
                  <a:pt x="507068" y="2965223"/>
                  <a:pt x="512785" y="2954324"/>
                  <a:pt x="518503" y="2943426"/>
                </a:cubicBezTo>
                <a:cubicBezTo>
                  <a:pt x="518144" y="2943068"/>
                  <a:pt x="517788" y="2942711"/>
                  <a:pt x="517252" y="2942353"/>
                </a:cubicBezTo>
                <a:cubicBezTo>
                  <a:pt x="518681" y="2940924"/>
                  <a:pt x="519932" y="2939674"/>
                  <a:pt x="521361" y="2938423"/>
                </a:cubicBezTo>
                <a:cubicBezTo>
                  <a:pt x="523147" y="2934850"/>
                  <a:pt x="525113" y="2931455"/>
                  <a:pt x="526899" y="2927881"/>
                </a:cubicBezTo>
                <a:cubicBezTo>
                  <a:pt x="527614" y="2926452"/>
                  <a:pt x="528328" y="2925022"/>
                  <a:pt x="529043" y="2923415"/>
                </a:cubicBezTo>
                <a:cubicBezTo>
                  <a:pt x="526721" y="2922700"/>
                  <a:pt x="524577" y="2921985"/>
                  <a:pt x="522254" y="2921093"/>
                </a:cubicBezTo>
                <a:cubicBezTo>
                  <a:pt x="519396" y="2920020"/>
                  <a:pt x="517252" y="2917339"/>
                  <a:pt x="513500" y="2914302"/>
                </a:cubicBezTo>
                <a:cubicBezTo>
                  <a:pt x="514035" y="2913946"/>
                  <a:pt x="514393" y="2913766"/>
                  <a:pt x="514929" y="2913409"/>
                </a:cubicBezTo>
                <a:cubicBezTo>
                  <a:pt x="514929" y="2913231"/>
                  <a:pt x="514571" y="2913051"/>
                  <a:pt x="514571" y="2912873"/>
                </a:cubicBezTo>
                <a:cubicBezTo>
                  <a:pt x="514035" y="2913588"/>
                  <a:pt x="513500" y="2914124"/>
                  <a:pt x="512964" y="2914660"/>
                </a:cubicBezTo>
                <a:cubicBezTo>
                  <a:pt x="513320" y="2913766"/>
                  <a:pt x="513500" y="2912695"/>
                  <a:pt x="513678" y="2911622"/>
                </a:cubicBezTo>
                <a:cubicBezTo>
                  <a:pt x="513500" y="2911265"/>
                  <a:pt x="513142" y="2910907"/>
                  <a:pt x="512785" y="2910372"/>
                </a:cubicBezTo>
                <a:cubicBezTo>
                  <a:pt x="513142" y="2910192"/>
                  <a:pt x="513678" y="2909836"/>
                  <a:pt x="514035" y="2909836"/>
                </a:cubicBezTo>
                <a:cubicBezTo>
                  <a:pt x="514571" y="2907334"/>
                  <a:pt x="515108" y="2904655"/>
                  <a:pt x="515644" y="2901616"/>
                </a:cubicBezTo>
                <a:cubicBezTo>
                  <a:pt x="510819" y="2901082"/>
                  <a:pt x="505995" y="2903045"/>
                  <a:pt x="500636" y="2906799"/>
                </a:cubicBezTo>
                <a:cubicBezTo>
                  <a:pt x="500992" y="2903404"/>
                  <a:pt x="502243" y="2901260"/>
                  <a:pt x="503851" y="2899830"/>
                </a:cubicBezTo>
                <a:cubicBezTo>
                  <a:pt x="503314" y="2899830"/>
                  <a:pt x="502958" y="2899830"/>
                  <a:pt x="502600" y="2899830"/>
                </a:cubicBezTo>
                <a:cubicBezTo>
                  <a:pt x="503136" y="2897686"/>
                  <a:pt x="502958" y="2895899"/>
                  <a:pt x="503673" y="2894828"/>
                </a:cubicBezTo>
                <a:cubicBezTo>
                  <a:pt x="505102" y="2892684"/>
                  <a:pt x="508317" y="2892684"/>
                  <a:pt x="508854" y="2894828"/>
                </a:cubicBezTo>
                <a:cubicBezTo>
                  <a:pt x="508854" y="2895364"/>
                  <a:pt x="508854" y="2895899"/>
                  <a:pt x="508854" y="2896435"/>
                </a:cubicBezTo>
                <a:cubicBezTo>
                  <a:pt x="509212" y="2896257"/>
                  <a:pt x="509568" y="2895899"/>
                  <a:pt x="509927" y="2895720"/>
                </a:cubicBezTo>
                <a:cubicBezTo>
                  <a:pt x="513678" y="2892862"/>
                  <a:pt x="515644" y="2890181"/>
                  <a:pt x="511891" y="2886251"/>
                </a:cubicBezTo>
                <a:cubicBezTo>
                  <a:pt x="506173" y="2886788"/>
                  <a:pt x="505280" y="2894828"/>
                  <a:pt x="497241" y="2893220"/>
                </a:cubicBezTo>
                <a:cubicBezTo>
                  <a:pt x="501885" y="2888217"/>
                  <a:pt x="506353" y="2884464"/>
                  <a:pt x="511534" y="2881605"/>
                </a:cubicBezTo>
                <a:cubicBezTo>
                  <a:pt x="510819" y="2881070"/>
                  <a:pt x="509747" y="2880534"/>
                  <a:pt x="508675" y="2879641"/>
                </a:cubicBezTo>
                <a:cubicBezTo>
                  <a:pt x="507961" y="2878926"/>
                  <a:pt x="507961" y="2877675"/>
                  <a:pt x="507602" y="2876782"/>
                </a:cubicBezTo>
                <a:cubicBezTo>
                  <a:pt x="509568" y="2876782"/>
                  <a:pt x="511534" y="2876782"/>
                  <a:pt x="513500" y="2877139"/>
                </a:cubicBezTo>
                <a:cubicBezTo>
                  <a:pt x="514035" y="2877139"/>
                  <a:pt x="514393" y="2878746"/>
                  <a:pt x="514393" y="2879641"/>
                </a:cubicBezTo>
                <a:cubicBezTo>
                  <a:pt x="514393" y="2879819"/>
                  <a:pt x="514035" y="2879997"/>
                  <a:pt x="513500" y="2880356"/>
                </a:cubicBezTo>
                <a:cubicBezTo>
                  <a:pt x="515644" y="2879283"/>
                  <a:pt x="517966" y="2878390"/>
                  <a:pt x="520289" y="2877675"/>
                </a:cubicBezTo>
                <a:cubicBezTo>
                  <a:pt x="521896" y="2877139"/>
                  <a:pt x="523325" y="2876782"/>
                  <a:pt x="524935" y="2876246"/>
                </a:cubicBezTo>
                <a:cubicBezTo>
                  <a:pt x="524935" y="2873744"/>
                  <a:pt x="524935" y="2870885"/>
                  <a:pt x="524935" y="2868206"/>
                </a:cubicBezTo>
                <a:cubicBezTo>
                  <a:pt x="526006" y="2867311"/>
                  <a:pt x="527257" y="2866419"/>
                  <a:pt x="528686" y="2865347"/>
                </a:cubicBezTo>
                <a:cubicBezTo>
                  <a:pt x="528508" y="2864274"/>
                  <a:pt x="528150" y="2863023"/>
                  <a:pt x="527972" y="2861952"/>
                </a:cubicBezTo>
                <a:cubicBezTo>
                  <a:pt x="525650" y="2861952"/>
                  <a:pt x="523862" y="2861952"/>
                  <a:pt x="521896" y="2861952"/>
                </a:cubicBezTo>
                <a:cubicBezTo>
                  <a:pt x="520289" y="2856771"/>
                  <a:pt x="523684" y="2853732"/>
                  <a:pt x="526721" y="2850517"/>
                </a:cubicBezTo>
                <a:cubicBezTo>
                  <a:pt x="527614" y="2849803"/>
                  <a:pt x="527435" y="2847300"/>
                  <a:pt x="526721" y="2846229"/>
                </a:cubicBezTo>
                <a:cubicBezTo>
                  <a:pt x="525650" y="2847659"/>
                  <a:pt x="524755" y="2848910"/>
                  <a:pt x="523684" y="2850339"/>
                </a:cubicBezTo>
                <a:cubicBezTo>
                  <a:pt x="522611" y="2849803"/>
                  <a:pt x="521540" y="2849088"/>
                  <a:pt x="520289" y="2848551"/>
                </a:cubicBezTo>
                <a:cubicBezTo>
                  <a:pt x="520110" y="2848730"/>
                  <a:pt x="520110" y="2848910"/>
                  <a:pt x="520110" y="2848910"/>
                </a:cubicBezTo>
                <a:cubicBezTo>
                  <a:pt x="516537" y="2855520"/>
                  <a:pt x="512249" y="2861594"/>
                  <a:pt x="508317" y="2868026"/>
                </a:cubicBezTo>
                <a:cubicBezTo>
                  <a:pt x="504566" y="2867491"/>
                  <a:pt x="503494" y="2864633"/>
                  <a:pt x="504566" y="2862130"/>
                </a:cubicBezTo>
                <a:cubicBezTo>
                  <a:pt x="506173" y="2857842"/>
                  <a:pt x="507961" y="2853554"/>
                  <a:pt x="509747" y="2849266"/>
                </a:cubicBezTo>
                <a:cubicBezTo>
                  <a:pt x="509212" y="2849088"/>
                  <a:pt x="508675" y="2848730"/>
                  <a:pt x="508139" y="2848551"/>
                </a:cubicBezTo>
                <a:cubicBezTo>
                  <a:pt x="506173" y="2850339"/>
                  <a:pt x="504209" y="2852303"/>
                  <a:pt x="501707" y="2854627"/>
                </a:cubicBezTo>
                <a:cubicBezTo>
                  <a:pt x="501885" y="2853376"/>
                  <a:pt x="502243" y="2852303"/>
                  <a:pt x="502600" y="2851410"/>
                </a:cubicBezTo>
                <a:cubicBezTo>
                  <a:pt x="502421" y="2851588"/>
                  <a:pt x="502065" y="2851947"/>
                  <a:pt x="501885" y="2852125"/>
                </a:cubicBezTo>
                <a:cubicBezTo>
                  <a:pt x="499921" y="2854091"/>
                  <a:pt x="498312" y="2855342"/>
                  <a:pt x="496704" y="2856235"/>
                </a:cubicBezTo>
                <a:cubicBezTo>
                  <a:pt x="496704" y="2857486"/>
                  <a:pt x="496526" y="2858557"/>
                  <a:pt x="495989" y="2859272"/>
                </a:cubicBezTo>
                <a:cubicBezTo>
                  <a:pt x="493309" y="2862667"/>
                  <a:pt x="492952" y="2865704"/>
                  <a:pt x="494560" y="2869277"/>
                </a:cubicBezTo>
                <a:cubicBezTo>
                  <a:pt x="490987" y="2869992"/>
                  <a:pt x="487413" y="2870707"/>
                  <a:pt x="482769" y="2871780"/>
                </a:cubicBezTo>
                <a:cubicBezTo>
                  <a:pt x="482589" y="2865526"/>
                  <a:pt x="481696" y="2859808"/>
                  <a:pt x="479730" y="2854447"/>
                </a:cubicBezTo>
                <a:cubicBezTo>
                  <a:pt x="479015" y="2854805"/>
                  <a:pt x="478301" y="2855342"/>
                  <a:pt x="477586" y="2855876"/>
                </a:cubicBezTo>
                <a:cubicBezTo>
                  <a:pt x="474549" y="2858557"/>
                  <a:pt x="471512" y="2861238"/>
                  <a:pt x="468475" y="2863918"/>
                </a:cubicBezTo>
                <a:cubicBezTo>
                  <a:pt x="469546" y="2863203"/>
                  <a:pt x="470797" y="2862489"/>
                  <a:pt x="471868" y="2861774"/>
                </a:cubicBezTo>
                <a:cubicBezTo>
                  <a:pt x="471690" y="2867133"/>
                  <a:pt x="472583" y="2871243"/>
                  <a:pt x="471154" y="2874280"/>
                </a:cubicBezTo>
                <a:cubicBezTo>
                  <a:pt x="469724" y="2877853"/>
                  <a:pt x="463829" y="2879461"/>
                  <a:pt x="465795" y="2886073"/>
                </a:cubicBezTo>
                <a:cubicBezTo>
                  <a:pt x="469546" y="2885537"/>
                  <a:pt x="473120" y="2885000"/>
                  <a:pt x="476693" y="2884464"/>
                </a:cubicBezTo>
                <a:cubicBezTo>
                  <a:pt x="473298" y="2887503"/>
                  <a:pt x="472941" y="2893576"/>
                  <a:pt x="465973" y="2892684"/>
                </a:cubicBezTo>
                <a:cubicBezTo>
                  <a:pt x="463829" y="2892325"/>
                  <a:pt x="460433" y="2898401"/>
                  <a:pt x="458648" y="2901974"/>
                </a:cubicBezTo>
                <a:cubicBezTo>
                  <a:pt x="457755" y="2903760"/>
                  <a:pt x="459004" y="2906619"/>
                  <a:pt x="459004" y="2908228"/>
                </a:cubicBezTo>
                <a:cubicBezTo>
                  <a:pt x="458289" y="2909121"/>
                  <a:pt x="457397" y="2910014"/>
                  <a:pt x="456325" y="2910907"/>
                </a:cubicBezTo>
                <a:cubicBezTo>
                  <a:pt x="457397" y="2911265"/>
                  <a:pt x="459004" y="2911980"/>
                  <a:pt x="460614" y="2912695"/>
                </a:cubicBezTo>
                <a:cubicBezTo>
                  <a:pt x="460970" y="2912516"/>
                  <a:pt x="461328" y="2912336"/>
                  <a:pt x="461685" y="2912336"/>
                </a:cubicBezTo>
                <a:cubicBezTo>
                  <a:pt x="461328" y="2912516"/>
                  <a:pt x="461148" y="2912873"/>
                  <a:pt x="460792" y="2912873"/>
                </a:cubicBezTo>
                <a:cubicBezTo>
                  <a:pt x="460970" y="2913051"/>
                  <a:pt x="461328" y="2913051"/>
                  <a:pt x="461328" y="2913051"/>
                </a:cubicBezTo>
                <a:cubicBezTo>
                  <a:pt x="462043" y="2914124"/>
                  <a:pt x="462043" y="2916090"/>
                  <a:pt x="461328" y="2918412"/>
                </a:cubicBezTo>
                <a:cubicBezTo>
                  <a:pt x="464543" y="2916983"/>
                  <a:pt x="467580" y="2915553"/>
                  <a:pt x="470975" y="2914124"/>
                </a:cubicBezTo>
                <a:cubicBezTo>
                  <a:pt x="471512" y="2922700"/>
                  <a:pt x="466151" y="2926630"/>
                  <a:pt x="462043" y="2930203"/>
                </a:cubicBezTo>
                <a:cubicBezTo>
                  <a:pt x="462399" y="2933777"/>
                  <a:pt x="463829" y="2938245"/>
                  <a:pt x="462578" y="2939138"/>
                </a:cubicBezTo>
                <a:cubicBezTo>
                  <a:pt x="460970" y="2940389"/>
                  <a:pt x="459362" y="2941638"/>
                  <a:pt x="457755" y="2942889"/>
                </a:cubicBezTo>
                <a:cubicBezTo>
                  <a:pt x="459719" y="2942889"/>
                  <a:pt x="461685" y="2943248"/>
                  <a:pt x="463650" y="2943248"/>
                </a:cubicBezTo>
                <a:cubicBezTo>
                  <a:pt x="460970" y="2950036"/>
                  <a:pt x="458468" y="2952539"/>
                  <a:pt x="455431" y="2951287"/>
                </a:cubicBezTo>
                <a:cubicBezTo>
                  <a:pt x="453467" y="2950573"/>
                  <a:pt x="451501" y="2949680"/>
                  <a:pt x="449535" y="2948607"/>
                </a:cubicBezTo>
                <a:cubicBezTo>
                  <a:pt x="445783" y="2950573"/>
                  <a:pt x="441674" y="2951644"/>
                  <a:pt x="436849" y="2950929"/>
                </a:cubicBezTo>
                <a:cubicBezTo>
                  <a:pt x="438637" y="2967547"/>
                  <a:pt x="420948" y="2963259"/>
                  <a:pt x="414874" y="2971835"/>
                </a:cubicBezTo>
                <a:cubicBezTo>
                  <a:pt x="412193" y="2967189"/>
                  <a:pt x="410942" y="2962544"/>
                  <a:pt x="407905" y="2960042"/>
                </a:cubicBezTo>
                <a:cubicBezTo>
                  <a:pt x="407727" y="2959864"/>
                  <a:pt x="407547" y="2959864"/>
                  <a:pt x="407547" y="2959864"/>
                </a:cubicBezTo>
                <a:cubicBezTo>
                  <a:pt x="405583" y="2970406"/>
                  <a:pt x="402010" y="2980589"/>
                  <a:pt x="396292" y="2989522"/>
                </a:cubicBezTo>
                <a:cubicBezTo>
                  <a:pt x="389680" y="2988093"/>
                  <a:pt x="390931" y="2984163"/>
                  <a:pt x="392004" y="2980768"/>
                </a:cubicBezTo>
                <a:cubicBezTo>
                  <a:pt x="392719" y="2978267"/>
                  <a:pt x="393612" y="2975765"/>
                  <a:pt x="394505" y="2973264"/>
                </a:cubicBezTo>
                <a:cubicBezTo>
                  <a:pt x="394326" y="2973443"/>
                  <a:pt x="393968" y="2973799"/>
                  <a:pt x="393790" y="2973979"/>
                </a:cubicBezTo>
                <a:cubicBezTo>
                  <a:pt x="391646" y="2976301"/>
                  <a:pt x="390931" y="2979696"/>
                  <a:pt x="388965" y="2982197"/>
                </a:cubicBezTo>
                <a:cubicBezTo>
                  <a:pt x="386999" y="2984699"/>
                  <a:pt x="384321" y="2986485"/>
                  <a:pt x="381640" y="2988987"/>
                </a:cubicBezTo>
                <a:cubicBezTo>
                  <a:pt x="380747" y="2988273"/>
                  <a:pt x="380211" y="2987378"/>
                  <a:pt x="380033" y="2986663"/>
                </a:cubicBezTo>
                <a:cubicBezTo>
                  <a:pt x="379318" y="2989166"/>
                  <a:pt x="378782" y="2991666"/>
                  <a:pt x="378425" y="2994347"/>
                </a:cubicBezTo>
                <a:cubicBezTo>
                  <a:pt x="388072" y="2998456"/>
                  <a:pt x="395219" y="2989522"/>
                  <a:pt x="403795" y="2986307"/>
                </a:cubicBezTo>
                <a:cubicBezTo>
                  <a:pt x="420055" y="2980231"/>
                  <a:pt x="435778" y="2973443"/>
                  <a:pt x="451857" y="2967189"/>
                </a:cubicBezTo>
                <a:cubicBezTo>
                  <a:pt x="453108" y="2966652"/>
                  <a:pt x="454716" y="2967010"/>
                  <a:pt x="456325" y="2967010"/>
                </a:cubicBezTo>
                <a:cubicBezTo>
                  <a:pt x="463114" y="2973443"/>
                  <a:pt x="469904" y="2972550"/>
                  <a:pt x="472405" y="2964330"/>
                </a:cubicBezTo>
                <a:cubicBezTo>
                  <a:pt x="473478" y="2960935"/>
                  <a:pt x="473120" y="2957183"/>
                  <a:pt x="474549" y="2953253"/>
                </a:cubicBezTo>
                <a:cubicBezTo>
                  <a:pt x="475442" y="2958612"/>
                  <a:pt x="476335" y="2963973"/>
                  <a:pt x="477229" y="2969691"/>
                </a:cubicBezTo>
                <a:cubicBezTo>
                  <a:pt x="480088" y="2968440"/>
                  <a:pt x="483125" y="2967010"/>
                  <a:pt x="487591" y="2964866"/>
                </a:cubicBezTo>
                <a:cubicBezTo>
                  <a:pt x="483303" y="2970226"/>
                  <a:pt x="481339" y="2972013"/>
                  <a:pt x="477051" y="2972906"/>
                </a:cubicBezTo>
                <a:cubicBezTo>
                  <a:pt x="476871" y="2973084"/>
                  <a:pt x="476693" y="2973084"/>
                  <a:pt x="476693" y="2973084"/>
                </a:cubicBezTo>
                <a:cubicBezTo>
                  <a:pt x="476693" y="2972906"/>
                  <a:pt x="476693" y="2972906"/>
                  <a:pt x="476693" y="2972906"/>
                </a:cubicBezTo>
                <a:cubicBezTo>
                  <a:pt x="474727" y="2973443"/>
                  <a:pt x="472227" y="2973621"/>
                  <a:pt x="468653" y="2973799"/>
                </a:cubicBezTo>
                <a:cubicBezTo>
                  <a:pt x="466509" y="2973979"/>
                  <a:pt x="463829" y="2975587"/>
                  <a:pt x="462936" y="2977372"/>
                </a:cubicBezTo>
                <a:cubicBezTo>
                  <a:pt x="457933" y="2987736"/>
                  <a:pt x="458111" y="2987736"/>
                  <a:pt x="450250" y="2982375"/>
                </a:cubicBezTo>
                <a:cubicBezTo>
                  <a:pt x="449713" y="2982912"/>
                  <a:pt x="448642" y="2983270"/>
                  <a:pt x="448642" y="2983985"/>
                </a:cubicBezTo>
                <a:cubicBezTo>
                  <a:pt x="448642" y="2984341"/>
                  <a:pt x="448642" y="2984877"/>
                  <a:pt x="448642" y="2985414"/>
                </a:cubicBezTo>
                <a:cubicBezTo>
                  <a:pt x="450964" y="2985414"/>
                  <a:pt x="454360" y="2986485"/>
                  <a:pt x="456682" y="2987022"/>
                </a:cubicBezTo>
                <a:cubicBezTo>
                  <a:pt x="457755" y="2987378"/>
                  <a:pt x="459184" y="2990417"/>
                  <a:pt x="458826" y="2991666"/>
                </a:cubicBezTo>
                <a:cubicBezTo>
                  <a:pt x="454896" y="3005425"/>
                  <a:pt x="451323" y="3019539"/>
                  <a:pt x="438458" y="3027758"/>
                </a:cubicBezTo>
                <a:cubicBezTo>
                  <a:pt x="440066" y="3028115"/>
                  <a:pt x="441674" y="3028651"/>
                  <a:pt x="443281" y="3029010"/>
                </a:cubicBezTo>
                <a:cubicBezTo>
                  <a:pt x="443103" y="3029544"/>
                  <a:pt x="443103" y="3030259"/>
                  <a:pt x="443103" y="3030795"/>
                </a:cubicBezTo>
                <a:cubicBezTo>
                  <a:pt x="440959" y="3030617"/>
                  <a:pt x="438637" y="3030259"/>
                  <a:pt x="436493" y="3030081"/>
                </a:cubicBezTo>
                <a:cubicBezTo>
                  <a:pt x="436671" y="3029724"/>
                  <a:pt x="436671" y="3029188"/>
                  <a:pt x="436671" y="3028829"/>
                </a:cubicBezTo>
                <a:cubicBezTo>
                  <a:pt x="435956" y="3029010"/>
                  <a:pt x="434885" y="3028651"/>
                  <a:pt x="432561" y="3028295"/>
                </a:cubicBezTo>
                <a:cubicBezTo>
                  <a:pt x="428631" y="3012035"/>
                  <a:pt x="435241" y="2998993"/>
                  <a:pt x="445247" y="2987558"/>
                </a:cubicBezTo>
                <a:cubicBezTo>
                  <a:pt x="433812" y="2985414"/>
                  <a:pt x="425236" y="2992917"/>
                  <a:pt x="415767" y="2997383"/>
                </a:cubicBezTo>
                <a:cubicBezTo>
                  <a:pt x="410049" y="3000064"/>
                  <a:pt x="405225" y="3004174"/>
                  <a:pt x="399866" y="3007747"/>
                </a:cubicBezTo>
                <a:cubicBezTo>
                  <a:pt x="398793" y="3008284"/>
                  <a:pt x="397541" y="3009177"/>
                  <a:pt x="396649" y="3009177"/>
                </a:cubicBezTo>
                <a:cubicBezTo>
                  <a:pt x="389324" y="3008104"/>
                  <a:pt x="383428" y="3011677"/>
                  <a:pt x="377530" y="3014536"/>
                </a:cubicBezTo>
                <a:cubicBezTo>
                  <a:pt x="377530" y="3015965"/>
                  <a:pt x="377889" y="3017575"/>
                  <a:pt x="377889" y="3019182"/>
                </a:cubicBezTo>
                <a:cubicBezTo>
                  <a:pt x="378425" y="3018824"/>
                  <a:pt x="378782" y="3018289"/>
                  <a:pt x="379318" y="3017753"/>
                </a:cubicBezTo>
                <a:cubicBezTo>
                  <a:pt x="379140" y="3020253"/>
                  <a:pt x="378782" y="3022219"/>
                  <a:pt x="378603" y="3024185"/>
                </a:cubicBezTo>
                <a:cubicBezTo>
                  <a:pt x="378603" y="3024363"/>
                  <a:pt x="378603" y="3024721"/>
                  <a:pt x="378603" y="3025078"/>
                </a:cubicBezTo>
                <a:cubicBezTo>
                  <a:pt x="378425" y="3025078"/>
                  <a:pt x="378425" y="3025078"/>
                  <a:pt x="378425" y="3025078"/>
                </a:cubicBezTo>
                <a:cubicBezTo>
                  <a:pt x="378067" y="3027758"/>
                  <a:pt x="377889" y="3030081"/>
                  <a:pt x="377530" y="3032583"/>
                </a:cubicBezTo>
                <a:cubicBezTo>
                  <a:pt x="374137" y="3032583"/>
                  <a:pt x="370920" y="3032583"/>
                  <a:pt x="367168" y="3032583"/>
                </a:cubicBezTo>
                <a:cubicBezTo>
                  <a:pt x="367168" y="3027222"/>
                  <a:pt x="370027" y="3024900"/>
                  <a:pt x="373422" y="3022577"/>
                </a:cubicBezTo>
                <a:cubicBezTo>
                  <a:pt x="370562" y="3021326"/>
                  <a:pt x="368240" y="3020075"/>
                  <a:pt x="365739" y="3019004"/>
                </a:cubicBezTo>
                <a:cubicBezTo>
                  <a:pt x="362166" y="3021326"/>
                  <a:pt x="359307" y="3024541"/>
                  <a:pt x="354841" y="3025614"/>
                </a:cubicBezTo>
                <a:cubicBezTo>
                  <a:pt x="349838" y="3026865"/>
                  <a:pt x="346264" y="3033476"/>
                  <a:pt x="341618" y="3038300"/>
                </a:cubicBezTo>
                <a:cubicBezTo>
                  <a:pt x="339296" y="3038657"/>
                  <a:pt x="333757" y="3037942"/>
                  <a:pt x="333042" y="3039550"/>
                </a:cubicBezTo>
                <a:cubicBezTo>
                  <a:pt x="331791" y="3042588"/>
                  <a:pt x="328397" y="3043660"/>
                  <a:pt x="325717" y="3045267"/>
                </a:cubicBezTo>
                <a:cubicBezTo>
                  <a:pt x="324466" y="3047769"/>
                  <a:pt x="323215" y="3050092"/>
                  <a:pt x="321965" y="3052594"/>
                </a:cubicBezTo>
                <a:cubicBezTo>
                  <a:pt x="321965" y="3054380"/>
                  <a:pt x="320178" y="3056524"/>
                  <a:pt x="318926" y="3058490"/>
                </a:cubicBezTo>
                <a:cubicBezTo>
                  <a:pt x="316961" y="3062778"/>
                  <a:pt x="314818" y="3067066"/>
                  <a:pt x="312853" y="3071354"/>
                </a:cubicBezTo>
                <a:cubicBezTo>
                  <a:pt x="311245" y="3074749"/>
                  <a:pt x="309816" y="3078323"/>
                  <a:pt x="308386" y="3081896"/>
                </a:cubicBezTo>
                <a:cubicBezTo>
                  <a:pt x="309636" y="3082431"/>
                  <a:pt x="310530" y="3083682"/>
                  <a:pt x="310887" y="3086004"/>
                </a:cubicBezTo>
                <a:cubicBezTo>
                  <a:pt x="309636" y="3087255"/>
                  <a:pt x="308028" y="3087255"/>
                  <a:pt x="306420" y="3087077"/>
                </a:cubicBezTo>
                <a:cubicBezTo>
                  <a:pt x="304991" y="3091007"/>
                  <a:pt x="303562" y="3095117"/>
                  <a:pt x="301954" y="3099048"/>
                </a:cubicBezTo>
                <a:cubicBezTo>
                  <a:pt x="302132" y="3094580"/>
                  <a:pt x="302489" y="3090472"/>
                  <a:pt x="302847" y="3086184"/>
                </a:cubicBezTo>
                <a:cubicBezTo>
                  <a:pt x="300525" y="3085826"/>
                  <a:pt x="298737" y="3086184"/>
                  <a:pt x="298381" y="3090114"/>
                </a:cubicBezTo>
                <a:cubicBezTo>
                  <a:pt x="294986" y="3087970"/>
                  <a:pt x="292127" y="3084755"/>
                  <a:pt x="290519" y="3085289"/>
                </a:cubicBezTo>
                <a:cubicBezTo>
                  <a:pt x="281943" y="3087970"/>
                  <a:pt x="273902" y="3092080"/>
                  <a:pt x="265325" y="3094580"/>
                </a:cubicBezTo>
                <a:cubicBezTo>
                  <a:pt x="260681" y="3096010"/>
                  <a:pt x="255320" y="3095295"/>
                  <a:pt x="250317" y="3095475"/>
                </a:cubicBezTo>
                <a:cubicBezTo>
                  <a:pt x="249782" y="3099583"/>
                  <a:pt x="249782" y="3104408"/>
                  <a:pt x="248531" y="3108696"/>
                </a:cubicBezTo>
                <a:cubicBezTo>
                  <a:pt x="248173" y="3110303"/>
                  <a:pt x="244958" y="3111198"/>
                  <a:pt x="241741" y="3111198"/>
                </a:cubicBezTo>
                <a:cubicBezTo>
                  <a:pt x="242814" y="3109054"/>
                  <a:pt x="243885" y="3107088"/>
                  <a:pt x="245136" y="3104944"/>
                </a:cubicBezTo>
                <a:cubicBezTo>
                  <a:pt x="244421" y="3104586"/>
                  <a:pt x="243885" y="3104051"/>
                  <a:pt x="243170" y="3104051"/>
                </a:cubicBezTo>
                <a:cubicBezTo>
                  <a:pt x="232272" y="3104229"/>
                  <a:pt x="223339" y="3110125"/>
                  <a:pt x="214048" y="3114591"/>
                </a:cubicBezTo>
                <a:cubicBezTo>
                  <a:pt x="212439" y="3115306"/>
                  <a:pt x="210117" y="3117094"/>
                  <a:pt x="209938" y="3118523"/>
                </a:cubicBezTo>
                <a:cubicBezTo>
                  <a:pt x="208687" y="3127814"/>
                  <a:pt x="200648" y="3128528"/>
                  <a:pt x="196001" y="3131924"/>
                </a:cubicBezTo>
                <a:cubicBezTo>
                  <a:pt x="193679" y="3127277"/>
                  <a:pt x="191713" y="3123526"/>
                  <a:pt x="190106" y="3120131"/>
                </a:cubicBezTo>
                <a:cubicBezTo>
                  <a:pt x="180815" y="3121918"/>
                  <a:pt x="171882" y="3121918"/>
                  <a:pt x="167950" y="3131744"/>
                </a:cubicBezTo>
                <a:cubicBezTo>
                  <a:pt x="167594" y="3132817"/>
                  <a:pt x="163306" y="3132638"/>
                  <a:pt x="158303" y="3133353"/>
                </a:cubicBezTo>
                <a:cubicBezTo>
                  <a:pt x="161340" y="3128885"/>
                  <a:pt x="162769" y="3126921"/>
                  <a:pt x="164555" y="3124240"/>
                </a:cubicBezTo>
                <a:cubicBezTo>
                  <a:pt x="162411" y="3122989"/>
                  <a:pt x="160447" y="3121738"/>
                  <a:pt x="157230" y="3119774"/>
                </a:cubicBezTo>
                <a:cubicBezTo>
                  <a:pt x="162055" y="3116735"/>
                  <a:pt x="165985" y="3114413"/>
                  <a:pt x="169738" y="3111913"/>
                </a:cubicBezTo>
                <a:cubicBezTo>
                  <a:pt x="162591" y="3111554"/>
                  <a:pt x="155086" y="3112091"/>
                  <a:pt x="152049" y="3118523"/>
                </a:cubicBezTo>
                <a:cubicBezTo>
                  <a:pt x="148832" y="3125492"/>
                  <a:pt x="143295" y="3124597"/>
                  <a:pt x="138112" y="3125670"/>
                </a:cubicBezTo>
                <a:cubicBezTo>
                  <a:pt x="137219" y="3126026"/>
                  <a:pt x="135968" y="3124777"/>
                  <a:pt x="134719" y="3124777"/>
                </a:cubicBezTo>
                <a:cubicBezTo>
                  <a:pt x="129536" y="3124240"/>
                  <a:pt x="121854" y="3129958"/>
                  <a:pt x="120603" y="3119774"/>
                </a:cubicBezTo>
                <a:cubicBezTo>
                  <a:pt x="120067" y="3114413"/>
                  <a:pt x="117208" y="3109232"/>
                  <a:pt x="120067" y="3103336"/>
                </a:cubicBezTo>
                <a:cubicBezTo>
                  <a:pt x="121674" y="3099941"/>
                  <a:pt x="120781" y="3094938"/>
                  <a:pt x="120067" y="3090650"/>
                </a:cubicBezTo>
                <a:cubicBezTo>
                  <a:pt x="119710" y="3089043"/>
                  <a:pt x="116852" y="3088148"/>
                  <a:pt x="113813" y="3086004"/>
                </a:cubicBezTo>
                <a:cubicBezTo>
                  <a:pt x="114171" y="3091721"/>
                  <a:pt x="114528" y="3095653"/>
                  <a:pt x="114886" y="3099763"/>
                </a:cubicBezTo>
                <a:cubicBezTo>
                  <a:pt x="114171" y="3099941"/>
                  <a:pt x="113456" y="3100119"/>
                  <a:pt x="112742" y="3100298"/>
                </a:cubicBezTo>
                <a:cubicBezTo>
                  <a:pt x="111849" y="3098154"/>
                  <a:pt x="110954" y="3096010"/>
                  <a:pt x="109705" y="3092973"/>
                </a:cubicBezTo>
                <a:cubicBezTo>
                  <a:pt x="105595" y="3095475"/>
                  <a:pt x="101843" y="3097797"/>
                  <a:pt x="97375" y="3100656"/>
                </a:cubicBezTo>
                <a:cubicBezTo>
                  <a:pt x="96482" y="3106015"/>
                  <a:pt x="97555" y="3111913"/>
                  <a:pt x="102378" y="3115306"/>
                </a:cubicBezTo>
                <a:cubicBezTo>
                  <a:pt x="106666" y="3118523"/>
                  <a:pt x="112205" y="3120131"/>
                  <a:pt x="119530" y="3123348"/>
                </a:cubicBezTo>
                <a:cubicBezTo>
                  <a:pt x="104344" y="3136032"/>
                  <a:pt x="87550" y="3141215"/>
                  <a:pt x="70576" y="3151935"/>
                </a:cubicBezTo>
                <a:cubicBezTo>
                  <a:pt x="73256" y="3144608"/>
                  <a:pt x="75042" y="3139785"/>
                  <a:pt x="77544" y="3132817"/>
                </a:cubicBezTo>
                <a:cubicBezTo>
                  <a:pt x="79508" y="3136568"/>
                  <a:pt x="80401" y="3138356"/>
                  <a:pt x="81296" y="3140320"/>
                </a:cubicBezTo>
                <a:cubicBezTo>
                  <a:pt x="89514" y="3139427"/>
                  <a:pt x="84154" y="3131744"/>
                  <a:pt x="87013" y="3127636"/>
                </a:cubicBezTo>
                <a:cubicBezTo>
                  <a:pt x="89335" y="3126206"/>
                  <a:pt x="92016" y="3124597"/>
                  <a:pt x="95231" y="3122453"/>
                </a:cubicBezTo>
                <a:cubicBezTo>
                  <a:pt x="93445" y="3119594"/>
                  <a:pt x="91301" y="3117272"/>
                  <a:pt x="90408" y="3114413"/>
                </a:cubicBezTo>
                <a:cubicBezTo>
                  <a:pt x="89692" y="3112091"/>
                  <a:pt x="90587" y="3109232"/>
                  <a:pt x="90765" y="3104586"/>
                </a:cubicBezTo>
                <a:cubicBezTo>
                  <a:pt x="83796" y="3106730"/>
                  <a:pt x="77544" y="3108696"/>
                  <a:pt x="70576" y="3110840"/>
                </a:cubicBezTo>
                <a:cubicBezTo>
                  <a:pt x="70397" y="3107266"/>
                  <a:pt x="70217" y="3103515"/>
                  <a:pt x="69861" y="3098690"/>
                </a:cubicBezTo>
                <a:cubicBezTo>
                  <a:pt x="58426" y="3098690"/>
                  <a:pt x="52530" y="3108696"/>
                  <a:pt x="43418" y="3112091"/>
                </a:cubicBezTo>
                <a:cubicBezTo>
                  <a:pt x="34305" y="3115664"/>
                  <a:pt x="25907" y="3121203"/>
                  <a:pt x="16260" y="3126384"/>
                </a:cubicBezTo>
                <a:cubicBezTo>
                  <a:pt x="15545" y="3121382"/>
                  <a:pt x="18045" y="3119952"/>
                  <a:pt x="20904" y="3118165"/>
                </a:cubicBezTo>
                <a:cubicBezTo>
                  <a:pt x="35020" y="3109054"/>
                  <a:pt x="48957" y="3099941"/>
                  <a:pt x="62892" y="3090829"/>
                </a:cubicBezTo>
                <a:cubicBezTo>
                  <a:pt x="63429" y="3090472"/>
                  <a:pt x="63429" y="3089577"/>
                  <a:pt x="64322" y="3087792"/>
                </a:cubicBezTo>
                <a:cubicBezTo>
                  <a:pt x="58426" y="3088148"/>
                  <a:pt x="52887" y="3088685"/>
                  <a:pt x="47528" y="3089043"/>
                </a:cubicBezTo>
                <a:cubicBezTo>
                  <a:pt x="47347" y="3088506"/>
                  <a:pt x="46991" y="3088148"/>
                  <a:pt x="46813" y="3087613"/>
                </a:cubicBezTo>
                <a:cubicBezTo>
                  <a:pt x="55209" y="3083145"/>
                  <a:pt x="63429" y="3078679"/>
                  <a:pt x="72898" y="3073676"/>
                </a:cubicBezTo>
                <a:cubicBezTo>
                  <a:pt x="73971" y="3077964"/>
                  <a:pt x="74685" y="3080467"/>
                  <a:pt x="75578" y="3083860"/>
                </a:cubicBezTo>
                <a:cubicBezTo>
                  <a:pt x="77901" y="3083860"/>
                  <a:pt x="80401" y="3083860"/>
                  <a:pt x="84333" y="3083860"/>
                </a:cubicBezTo>
                <a:cubicBezTo>
                  <a:pt x="82547" y="3080467"/>
                  <a:pt x="81474" y="3078142"/>
                  <a:pt x="80581" y="3076357"/>
                </a:cubicBezTo>
                <a:cubicBezTo>
                  <a:pt x="85226" y="3070461"/>
                  <a:pt x="89872" y="3064564"/>
                  <a:pt x="95768" y="3057239"/>
                </a:cubicBezTo>
                <a:cubicBezTo>
                  <a:pt x="85584" y="3055809"/>
                  <a:pt x="80401" y="3061348"/>
                  <a:pt x="74685" y="3064744"/>
                </a:cubicBezTo>
                <a:cubicBezTo>
                  <a:pt x="68788" y="3068137"/>
                  <a:pt x="63070" y="3071890"/>
                  <a:pt x="55924" y="3074034"/>
                </a:cubicBezTo>
                <a:cubicBezTo>
                  <a:pt x="56997" y="3072247"/>
                  <a:pt x="57711" y="3070103"/>
                  <a:pt x="59141" y="3068673"/>
                </a:cubicBezTo>
                <a:cubicBezTo>
                  <a:pt x="62892" y="3064564"/>
                  <a:pt x="66644" y="3060275"/>
                  <a:pt x="71112" y="3056882"/>
                </a:cubicBezTo>
                <a:cubicBezTo>
                  <a:pt x="74505" y="3054380"/>
                  <a:pt x="78615" y="3052772"/>
                  <a:pt x="82367" y="3050985"/>
                </a:cubicBezTo>
                <a:cubicBezTo>
                  <a:pt x="83796" y="3050270"/>
                  <a:pt x="85584" y="3050628"/>
                  <a:pt x="87013" y="3050092"/>
                </a:cubicBezTo>
                <a:cubicBezTo>
                  <a:pt x="96304" y="3045982"/>
                  <a:pt x="99163" y="3046162"/>
                  <a:pt x="107559" y="3051879"/>
                </a:cubicBezTo>
                <a:cubicBezTo>
                  <a:pt x="108632" y="3052594"/>
                  <a:pt x="111134" y="3051521"/>
                  <a:pt x="114528" y="3050985"/>
                </a:cubicBezTo>
                <a:cubicBezTo>
                  <a:pt x="112205" y="3048662"/>
                  <a:pt x="110954" y="3047591"/>
                  <a:pt x="109883" y="3046162"/>
                </a:cubicBezTo>
                <a:cubicBezTo>
                  <a:pt x="106310" y="3041337"/>
                  <a:pt x="106310" y="3037586"/>
                  <a:pt x="110954" y="3034012"/>
                </a:cubicBezTo>
                <a:cubicBezTo>
                  <a:pt x="115957" y="3030259"/>
                  <a:pt x="121318" y="3026685"/>
                  <a:pt x="126857" y="3023648"/>
                </a:cubicBezTo>
                <a:cubicBezTo>
                  <a:pt x="130965" y="3021326"/>
                  <a:pt x="135790" y="3020433"/>
                  <a:pt x="139900" y="3018109"/>
                </a:cubicBezTo>
                <a:cubicBezTo>
                  <a:pt x="143829" y="3015787"/>
                  <a:pt x="147581" y="3012750"/>
                  <a:pt x="150798" y="3009533"/>
                </a:cubicBezTo>
                <a:cubicBezTo>
                  <a:pt x="153479" y="3006854"/>
                  <a:pt x="155444" y="3003281"/>
                  <a:pt x="157589" y="3000242"/>
                </a:cubicBezTo>
                <a:cubicBezTo>
                  <a:pt x="157052" y="2999528"/>
                  <a:pt x="156516" y="2998993"/>
                  <a:pt x="155979" y="2998278"/>
                </a:cubicBezTo>
                <a:cubicBezTo>
                  <a:pt x="142400" y="3005781"/>
                  <a:pt x="128643" y="3013106"/>
                  <a:pt x="114886" y="3020612"/>
                </a:cubicBezTo>
                <a:cubicBezTo>
                  <a:pt x="113635" y="3019360"/>
                  <a:pt x="112383" y="3017931"/>
                  <a:pt x="110239" y="3015609"/>
                </a:cubicBezTo>
                <a:cubicBezTo>
                  <a:pt x="107381" y="3018289"/>
                  <a:pt x="104702" y="3020790"/>
                  <a:pt x="101307" y="3024007"/>
                </a:cubicBezTo>
                <a:cubicBezTo>
                  <a:pt x="99699" y="3019360"/>
                  <a:pt x="96841" y="3014894"/>
                  <a:pt x="91301" y="3017575"/>
                </a:cubicBezTo>
                <a:cubicBezTo>
                  <a:pt x="101663" y="3009713"/>
                  <a:pt x="112205" y="3001315"/>
                  <a:pt x="123104" y="2993275"/>
                </a:cubicBezTo>
                <a:cubicBezTo>
                  <a:pt x="137934" y="2982197"/>
                  <a:pt x="152227" y="2970226"/>
                  <a:pt x="168129" y="2960756"/>
                </a:cubicBezTo>
                <a:cubicBezTo>
                  <a:pt x="182422" y="2952180"/>
                  <a:pt x="197252" y="2942889"/>
                  <a:pt x="215478" y="2945748"/>
                </a:cubicBezTo>
                <a:cubicBezTo>
                  <a:pt x="221015" y="2946641"/>
                  <a:pt x="224769" y="2944497"/>
                  <a:pt x="227627" y="2939853"/>
                </a:cubicBezTo>
                <a:cubicBezTo>
                  <a:pt x="236382" y="2925737"/>
                  <a:pt x="249246" y="2916624"/>
                  <a:pt x="264432" y="2910014"/>
                </a:cubicBezTo>
                <a:cubicBezTo>
                  <a:pt x="272116" y="2906619"/>
                  <a:pt x="279619" y="2902867"/>
                  <a:pt x="286946" y="2898937"/>
                </a:cubicBezTo>
                <a:cubicBezTo>
                  <a:pt x="286409" y="2896793"/>
                  <a:pt x="285158" y="2894649"/>
                  <a:pt x="283729" y="2892505"/>
                </a:cubicBezTo>
                <a:cubicBezTo>
                  <a:pt x="282658" y="2893398"/>
                  <a:pt x="281585" y="2894469"/>
                  <a:pt x="280514" y="2895364"/>
                </a:cubicBezTo>
                <a:cubicBezTo>
                  <a:pt x="277833" y="2897686"/>
                  <a:pt x="274438" y="2899472"/>
                  <a:pt x="271223" y="2900901"/>
                </a:cubicBezTo>
                <a:cubicBezTo>
                  <a:pt x="260503" y="2905190"/>
                  <a:pt x="249782" y="2909478"/>
                  <a:pt x="238882" y="2913588"/>
                </a:cubicBezTo>
                <a:cubicBezTo>
                  <a:pt x="238526" y="2921807"/>
                  <a:pt x="235131" y="2929132"/>
                  <a:pt x="229057" y="2935921"/>
                </a:cubicBezTo>
                <a:cubicBezTo>
                  <a:pt x="228698" y="2929311"/>
                  <a:pt x="227984" y="2922522"/>
                  <a:pt x="229057" y="2916268"/>
                </a:cubicBezTo>
                <a:cubicBezTo>
                  <a:pt x="228698" y="2916268"/>
                  <a:pt x="228342" y="2916268"/>
                  <a:pt x="227806" y="2916268"/>
                </a:cubicBezTo>
                <a:cubicBezTo>
                  <a:pt x="228162" y="2913588"/>
                  <a:pt x="229413" y="2911802"/>
                  <a:pt x="230842" y="2910372"/>
                </a:cubicBezTo>
                <a:cubicBezTo>
                  <a:pt x="232272" y="2907334"/>
                  <a:pt x="234416" y="2904475"/>
                  <a:pt x="237633" y="2901974"/>
                </a:cubicBezTo>
                <a:cubicBezTo>
                  <a:pt x="237989" y="2903226"/>
                  <a:pt x="238167" y="2904297"/>
                  <a:pt x="238348" y="2905548"/>
                </a:cubicBezTo>
                <a:cubicBezTo>
                  <a:pt x="241206" y="2903940"/>
                  <a:pt x="243707" y="2902153"/>
                  <a:pt x="244958" y="2899116"/>
                </a:cubicBezTo>
                <a:cubicBezTo>
                  <a:pt x="244421" y="2897508"/>
                  <a:pt x="243707" y="2895899"/>
                  <a:pt x="243170" y="2894113"/>
                </a:cubicBezTo>
                <a:cubicBezTo>
                  <a:pt x="243350" y="2894828"/>
                  <a:pt x="243350" y="2895720"/>
                  <a:pt x="243170" y="2896257"/>
                </a:cubicBezTo>
                <a:cubicBezTo>
                  <a:pt x="242277" y="2898043"/>
                  <a:pt x="239955" y="2899294"/>
                  <a:pt x="238167" y="2900723"/>
                </a:cubicBezTo>
                <a:cubicBezTo>
                  <a:pt x="237633" y="2898401"/>
                  <a:pt x="236738" y="2895899"/>
                  <a:pt x="237275" y="2893935"/>
                </a:cubicBezTo>
                <a:cubicBezTo>
                  <a:pt x="237633" y="2892147"/>
                  <a:pt x="239955" y="2890896"/>
                  <a:pt x="241563" y="2889467"/>
                </a:cubicBezTo>
                <a:cubicBezTo>
                  <a:pt x="241384" y="2888932"/>
                  <a:pt x="241206" y="2888395"/>
                  <a:pt x="241026" y="2887859"/>
                </a:cubicBezTo>
                <a:cubicBezTo>
                  <a:pt x="239777" y="2887859"/>
                  <a:pt x="237275" y="2888217"/>
                  <a:pt x="234238" y="2888217"/>
                </a:cubicBezTo>
                <a:cubicBezTo>
                  <a:pt x="239597" y="2884822"/>
                  <a:pt x="244243" y="2880890"/>
                  <a:pt x="249246" y="2878032"/>
                </a:cubicBezTo>
                <a:cubicBezTo>
                  <a:pt x="247817" y="2874995"/>
                  <a:pt x="245673" y="2872494"/>
                  <a:pt x="242099" y="2870350"/>
                </a:cubicBezTo>
                <a:cubicBezTo>
                  <a:pt x="240848" y="2869636"/>
                  <a:pt x="239955" y="2866062"/>
                  <a:pt x="240670" y="2864453"/>
                </a:cubicBezTo>
                <a:cubicBezTo>
                  <a:pt x="242814" y="2858915"/>
                  <a:pt x="243350" y="2853554"/>
                  <a:pt x="242814" y="2848195"/>
                </a:cubicBezTo>
                <a:cubicBezTo>
                  <a:pt x="237989" y="2850339"/>
                  <a:pt x="232808" y="2852840"/>
                  <a:pt x="227627" y="2853018"/>
                </a:cubicBezTo>
                <a:cubicBezTo>
                  <a:pt x="215834" y="2853554"/>
                  <a:pt x="207616" y="2858557"/>
                  <a:pt x="202433" y="2868921"/>
                </a:cubicBezTo>
                <a:cubicBezTo>
                  <a:pt x="198682" y="2876424"/>
                  <a:pt x="192786" y="2881785"/>
                  <a:pt x="185639" y="2885893"/>
                </a:cubicBezTo>
                <a:cubicBezTo>
                  <a:pt x="182066" y="2887859"/>
                  <a:pt x="178314" y="2889825"/>
                  <a:pt x="175634" y="2892684"/>
                </a:cubicBezTo>
                <a:cubicBezTo>
                  <a:pt x="159374" y="2909478"/>
                  <a:pt x="138470" y="2910372"/>
                  <a:pt x="117386" y="2911087"/>
                </a:cubicBezTo>
                <a:cubicBezTo>
                  <a:pt x="105417" y="2911443"/>
                  <a:pt x="93445" y="2910729"/>
                  <a:pt x="78615" y="2910551"/>
                </a:cubicBezTo>
                <a:cubicBezTo>
                  <a:pt x="74685" y="2905370"/>
                  <a:pt x="69324" y="2898401"/>
                  <a:pt x="63785" y="2891791"/>
                </a:cubicBezTo>
                <a:cubicBezTo>
                  <a:pt x="59677" y="2886966"/>
                  <a:pt x="55209" y="2882320"/>
                  <a:pt x="50921" y="2877675"/>
                </a:cubicBezTo>
                <a:cubicBezTo>
                  <a:pt x="48420" y="2873387"/>
                  <a:pt x="46098" y="2869277"/>
                  <a:pt x="43774" y="2864989"/>
                </a:cubicBezTo>
                <a:cubicBezTo>
                  <a:pt x="45025" y="2851947"/>
                  <a:pt x="37522" y="2841941"/>
                  <a:pt x="31805" y="2831399"/>
                </a:cubicBezTo>
                <a:cubicBezTo>
                  <a:pt x="22514" y="2814425"/>
                  <a:pt x="13223" y="2797273"/>
                  <a:pt x="4288" y="2780120"/>
                </a:cubicBezTo>
                <a:cubicBezTo>
                  <a:pt x="2322" y="2776547"/>
                  <a:pt x="1430" y="2772617"/>
                  <a:pt x="0" y="2768685"/>
                </a:cubicBezTo>
                <a:cubicBezTo>
                  <a:pt x="5181" y="2762075"/>
                  <a:pt x="10006" y="2755821"/>
                  <a:pt x="15723" y="2748318"/>
                </a:cubicBezTo>
                <a:cubicBezTo>
                  <a:pt x="10899" y="2745101"/>
                  <a:pt x="7147" y="2742779"/>
                  <a:pt x="3037" y="2740098"/>
                </a:cubicBezTo>
                <a:cubicBezTo>
                  <a:pt x="0" y="2730987"/>
                  <a:pt x="4467" y="2723126"/>
                  <a:pt x="7862" y="2714906"/>
                </a:cubicBezTo>
                <a:cubicBezTo>
                  <a:pt x="12508" y="2703829"/>
                  <a:pt x="16796" y="2692573"/>
                  <a:pt x="21262" y="2681316"/>
                </a:cubicBezTo>
                <a:cubicBezTo>
                  <a:pt x="22514" y="2678279"/>
                  <a:pt x="23585" y="2675242"/>
                  <a:pt x="25372" y="2672562"/>
                </a:cubicBezTo>
                <a:cubicBezTo>
                  <a:pt x="35913" y="2657375"/>
                  <a:pt x="46633" y="2642367"/>
                  <a:pt x="57353" y="2627178"/>
                </a:cubicBezTo>
                <a:cubicBezTo>
                  <a:pt x="61999" y="2620568"/>
                  <a:pt x="67180" y="2614314"/>
                  <a:pt x="70932" y="2607167"/>
                </a:cubicBezTo>
                <a:cubicBezTo>
                  <a:pt x="82547" y="2585727"/>
                  <a:pt x="97197" y="2566430"/>
                  <a:pt x="112027" y="2547134"/>
                </a:cubicBezTo>
                <a:cubicBezTo>
                  <a:pt x="120425" y="2536236"/>
                  <a:pt x="127928" y="2524801"/>
                  <a:pt x="135612" y="2513366"/>
                </a:cubicBezTo>
                <a:cubicBezTo>
                  <a:pt x="151871" y="2489245"/>
                  <a:pt x="218871" y="2458872"/>
                  <a:pt x="236916" y="2436180"/>
                </a:cubicBezTo>
                <a:cubicBezTo>
                  <a:pt x="257464" y="2410273"/>
                  <a:pt x="275511" y="2382401"/>
                  <a:pt x="294986" y="2355599"/>
                </a:cubicBezTo>
                <a:cubicBezTo>
                  <a:pt x="302669" y="2345237"/>
                  <a:pt x="311245" y="2335588"/>
                  <a:pt x="319107" y="2325405"/>
                </a:cubicBezTo>
                <a:cubicBezTo>
                  <a:pt x="324644" y="2318436"/>
                  <a:pt x="329827" y="2311289"/>
                  <a:pt x="335008" y="2304142"/>
                </a:cubicBezTo>
                <a:cubicBezTo>
                  <a:pt x="337688" y="2300212"/>
                  <a:pt x="339118" y="2294317"/>
                  <a:pt x="342869" y="2292173"/>
                </a:cubicBezTo>
                <a:cubicBezTo>
                  <a:pt x="358414" y="2283416"/>
                  <a:pt x="365203" y="2267515"/>
                  <a:pt x="375745" y="2254473"/>
                </a:cubicBezTo>
                <a:cubicBezTo>
                  <a:pt x="381640" y="2247148"/>
                  <a:pt x="388609" y="2240179"/>
                  <a:pt x="393790" y="2232139"/>
                </a:cubicBezTo>
                <a:cubicBezTo>
                  <a:pt x="398614" y="2224813"/>
                  <a:pt x="402010" y="2216595"/>
                  <a:pt x="405583" y="2208555"/>
                </a:cubicBezTo>
                <a:cubicBezTo>
                  <a:pt x="410764" y="2196584"/>
                  <a:pt x="416481" y="2185149"/>
                  <a:pt x="430239" y="2180502"/>
                </a:cubicBezTo>
                <a:cubicBezTo>
                  <a:pt x="433634" y="2179431"/>
                  <a:pt x="437029" y="2176036"/>
                  <a:pt x="438815" y="2172821"/>
                </a:cubicBezTo>
                <a:cubicBezTo>
                  <a:pt x="440959" y="2169067"/>
                  <a:pt x="442747" y="2165852"/>
                  <a:pt x="447391" y="2165494"/>
                </a:cubicBezTo>
                <a:cubicBezTo>
                  <a:pt x="458111" y="2164423"/>
                  <a:pt x="464722" y="2157454"/>
                  <a:pt x="470439" y="2149415"/>
                </a:cubicBezTo>
                <a:cubicBezTo>
                  <a:pt x="472941" y="2146019"/>
                  <a:pt x="475264" y="2142624"/>
                  <a:pt x="478122" y="2139946"/>
                </a:cubicBezTo>
                <a:cubicBezTo>
                  <a:pt x="484913" y="2133692"/>
                  <a:pt x="489021" y="2126545"/>
                  <a:pt x="489021" y="2116717"/>
                </a:cubicBezTo>
                <a:cubicBezTo>
                  <a:pt x="489021" y="2112966"/>
                  <a:pt x="491345" y="2109392"/>
                  <a:pt x="492952" y="2104746"/>
                </a:cubicBezTo>
                <a:cubicBezTo>
                  <a:pt x="499206" y="2106712"/>
                  <a:pt x="504387" y="2108141"/>
                  <a:pt x="509212" y="2109571"/>
                </a:cubicBezTo>
                <a:cubicBezTo>
                  <a:pt x="510819" y="2108500"/>
                  <a:pt x="512427" y="2107785"/>
                  <a:pt x="513500" y="2106712"/>
                </a:cubicBezTo>
                <a:cubicBezTo>
                  <a:pt x="520467" y="2098850"/>
                  <a:pt x="527079" y="2090633"/>
                  <a:pt x="533867" y="2082771"/>
                </a:cubicBezTo>
                <a:cubicBezTo>
                  <a:pt x="543873" y="2071156"/>
                  <a:pt x="553879" y="2059543"/>
                  <a:pt x="564242" y="2048108"/>
                </a:cubicBezTo>
                <a:cubicBezTo>
                  <a:pt x="570316" y="2041498"/>
                  <a:pt x="571389" y="2033993"/>
                  <a:pt x="569065" y="2025417"/>
                </a:cubicBezTo>
                <a:cubicBezTo>
                  <a:pt x="576392" y="2023272"/>
                  <a:pt x="583717" y="2022380"/>
                  <a:pt x="589791" y="2018984"/>
                </a:cubicBezTo>
                <a:cubicBezTo>
                  <a:pt x="596045" y="2015591"/>
                  <a:pt x="600869" y="2009693"/>
                  <a:pt x="606409" y="2005049"/>
                </a:cubicBezTo>
                <a:cubicBezTo>
                  <a:pt x="611411" y="2000761"/>
                  <a:pt x="616414" y="1996829"/>
                  <a:pt x="621417" y="1992721"/>
                </a:cubicBezTo>
                <a:cubicBezTo>
                  <a:pt x="624632" y="1990219"/>
                  <a:pt x="628205" y="1987897"/>
                  <a:pt x="630528" y="1984860"/>
                </a:cubicBezTo>
                <a:cubicBezTo>
                  <a:pt x="654292" y="1953770"/>
                  <a:pt x="838680" y="1730968"/>
                  <a:pt x="922654" y="1633056"/>
                </a:cubicBezTo>
                <a:cubicBezTo>
                  <a:pt x="870124" y="1668256"/>
                  <a:pt x="817418" y="1702739"/>
                  <a:pt x="765603" y="1738829"/>
                </a:cubicBezTo>
                <a:cubicBezTo>
                  <a:pt x="682343" y="1797077"/>
                  <a:pt x="612126" y="1865864"/>
                  <a:pt x="541192" y="1938225"/>
                </a:cubicBezTo>
                <a:cubicBezTo>
                  <a:pt x="517966" y="1961990"/>
                  <a:pt x="475442" y="2010052"/>
                  <a:pt x="430060" y="2042749"/>
                </a:cubicBezTo>
                <a:cubicBezTo>
                  <a:pt x="425772" y="2050430"/>
                  <a:pt x="422199" y="2058650"/>
                  <a:pt x="419877" y="2067226"/>
                </a:cubicBezTo>
                <a:cubicBezTo>
                  <a:pt x="410764" y="2100102"/>
                  <a:pt x="390931" y="2124401"/>
                  <a:pt x="362880" y="2142804"/>
                </a:cubicBezTo>
                <a:cubicBezTo>
                  <a:pt x="348050" y="2152452"/>
                  <a:pt x="334293" y="2163530"/>
                  <a:pt x="323215" y="2178002"/>
                </a:cubicBezTo>
                <a:cubicBezTo>
                  <a:pt x="307313" y="2198369"/>
                  <a:pt x="286766" y="2209090"/>
                  <a:pt x="259608" y="2204982"/>
                </a:cubicBezTo>
                <a:cubicBezTo>
                  <a:pt x="243707" y="2202657"/>
                  <a:pt x="227269" y="2202657"/>
                  <a:pt x="212083" y="2196405"/>
                </a:cubicBezTo>
                <a:cubicBezTo>
                  <a:pt x="195108" y="2189437"/>
                  <a:pt x="181351" y="2178002"/>
                  <a:pt x="172060" y="2162457"/>
                </a:cubicBezTo>
                <a:cubicBezTo>
                  <a:pt x="165448" y="2151200"/>
                  <a:pt x="156516" y="2142624"/>
                  <a:pt x="146866" y="2134406"/>
                </a:cubicBezTo>
                <a:cubicBezTo>
                  <a:pt x="142580" y="2130655"/>
                  <a:pt x="138470" y="2127081"/>
                  <a:pt x="133109" y="2122435"/>
                </a:cubicBezTo>
                <a:cubicBezTo>
                  <a:pt x="136148" y="2117610"/>
                  <a:pt x="139007" y="2113144"/>
                  <a:pt x="142937" y="2106890"/>
                </a:cubicBezTo>
                <a:cubicBezTo>
                  <a:pt x="136504" y="2096885"/>
                  <a:pt x="137041" y="2082591"/>
                  <a:pt x="129001" y="2070978"/>
                </a:cubicBezTo>
                <a:cubicBezTo>
                  <a:pt x="127035" y="2067941"/>
                  <a:pt x="126677" y="2062760"/>
                  <a:pt x="127572" y="2059187"/>
                </a:cubicBezTo>
                <a:cubicBezTo>
                  <a:pt x="130787" y="2047215"/>
                  <a:pt x="128106" y="2035422"/>
                  <a:pt x="128106" y="2023631"/>
                </a:cubicBezTo>
                <a:cubicBezTo>
                  <a:pt x="128106" y="2012552"/>
                  <a:pt x="130251" y="2001654"/>
                  <a:pt x="128106" y="1990041"/>
                </a:cubicBezTo>
                <a:cubicBezTo>
                  <a:pt x="126677" y="1982357"/>
                  <a:pt x="132395" y="1973245"/>
                  <a:pt x="126321" y="1965205"/>
                </a:cubicBezTo>
                <a:cubicBezTo>
                  <a:pt x="129536" y="1957165"/>
                  <a:pt x="366990" y="1659858"/>
                  <a:pt x="371635" y="1652711"/>
                </a:cubicBezTo>
                <a:cubicBezTo>
                  <a:pt x="375386" y="1646635"/>
                  <a:pt x="379855" y="1641098"/>
                  <a:pt x="383248" y="1634666"/>
                </a:cubicBezTo>
                <a:cubicBezTo>
                  <a:pt x="393968" y="1614655"/>
                  <a:pt x="412193" y="1602505"/>
                  <a:pt x="431668" y="1592499"/>
                </a:cubicBezTo>
                <a:cubicBezTo>
                  <a:pt x="438458" y="1589104"/>
                  <a:pt x="443996" y="1585353"/>
                  <a:pt x="446855" y="1578026"/>
                </a:cubicBezTo>
                <a:cubicBezTo>
                  <a:pt x="450072" y="1569450"/>
                  <a:pt x="455431" y="1562483"/>
                  <a:pt x="463472" y="1557836"/>
                </a:cubicBezTo>
                <a:cubicBezTo>
                  <a:pt x="466687" y="1555871"/>
                  <a:pt x="470261" y="1553192"/>
                  <a:pt x="472048" y="1549797"/>
                </a:cubicBezTo>
                <a:cubicBezTo>
                  <a:pt x="481159" y="1531930"/>
                  <a:pt x="496704" y="1520495"/>
                  <a:pt x="512249" y="1508882"/>
                </a:cubicBezTo>
                <a:cubicBezTo>
                  <a:pt x="516715" y="1505487"/>
                  <a:pt x="521181" y="1501913"/>
                  <a:pt x="525291" y="1497981"/>
                </a:cubicBezTo>
                <a:cubicBezTo>
                  <a:pt x="545839" y="1478685"/>
                  <a:pt x="566206" y="1459032"/>
                  <a:pt x="586576" y="1439558"/>
                </a:cubicBezTo>
                <a:cubicBezTo>
                  <a:pt x="588898" y="1437414"/>
                  <a:pt x="591042" y="1434733"/>
                  <a:pt x="593544" y="1432767"/>
                </a:cubicBezTo>
                <a:cubicBezTo>
                  <a:pt x="613912" y="1416866"/>
                  <a:pt x="633745" y="1400428"/>
                  <a:pt x="654827" y="1385598"/>
                </a:cubicBezTo>
                <a:cubicBezTo>
                  <a:pt x="672874" y="1372912"/>
                  <a:pt x="688775" y="1358440"/>
                  <a:pt x="703247" y="1342181"/>
                </a:cubicBezTo>
                <a:cubicBezTo>
                  <a:pt x="712182" y="1332175"/>
                  <a:pt x="722722" y="1326101"/>
                  <a:pt x="735051" y="1321992"/>
                </a:cubicBezTo>
                <a:cubicBezTo>
                  <a:pt x="740410" y="1331461"/>
                  <a:pt x="728797" y="1332890"/>
                  <a:pt x="728797" y="1339144"/>
                </a:cubicBezTo>
                <a:cubicBezTo>
                  <a:pt x="730049" y="1339502"/>
                  <a:pt x="732013" y="1340751"/>
                  <a:pt x="732549" y="1340217"/>
                </a:cubicBezTo>
                <a:cubicBezTo>
                  <a:pt x="752738" y="1323957"/>
                  <a:pt x="772749" y="1307698"/>
                  <a:pt x="792582" y="1291260"/>
                </a:cubicBezTo>
                <a:cubicBezTo>
                  <a:pt x="798836" y="1286079"/>
                  <a:pt x="804732" y="1280718"/>
                  <a:pt x="810093" y="1275895"/>
                </a:cubicBezTo>
                <a:cubicBezTo>
                  <a:pt x="810093" y="1274108"/>
                  <a:pt x="810271" y="1273215"/>
                  <a:pt x="810093" y="1272500"/>
                </a:cubicBezTo>
                <a:cubicBezTo>
                  <a:pt x="808842" y="1268927"/>
                  <a:pt x="805625" y="1265532"/>
                  <a:pt x="809020" y="1261422"/>
                </a:cubicBezTo>
                <a:cubicBezTo>
                  <a:pt x="811700" y="1257848"/>
                  <a:pt x="815274" y="1255348"/>
                  <a:pt x="819384" y="1257492"/>
                </a:cubicBezTo>
                <a:cubicBezTo>
                  <a:pt x="828316" y="1262317"/>
                  <a:pt x="834570" y="1257492"/>
                  <a:pt x="841181" y="1252489"/>
                </a:cubicBezTo>
                <a:cubicBezTo>
                  <a:pt x="859941" y="1238374"/>
                  <a:pt x="878702" y="1224617"/>
                  <a:pt x="897462" y="1210679"/>
                </a:cubicBezTo>
                <a:cubicBezTo>
                  <a:pt x="902643" y="1206928"/>
                  <a:pt x="907290" y="1202283"/>
                  <a:pt x="912292" y="1198352"/>
                </a:cubicBezTo>
                <a:cubicBezTo>
                  <a:pt x="921583" y="1190848"/>
                  <a:pt x="929445" y="1181199"/>
                  <a:pt x="941773" y="1177804"/>
                </a:cubicBezTo>
                <a:cubicBezTo>
                  <a:pt x="944809" y="1177089"/>
                  <a:pt x="947132" y="1174231"/>
                  <a:pt x="949634" y="1172267"/>
                </a:cubicBezTo>
                <a:cubicBezTo>
                  <a:pt x="969823" y="1156185"/>
                  <a:pt x="981973" y="1120810"/>
                  <a:pt x="1003592" y="1107231"/>
                </a:cubicBezTo>
                <a:cubicBezTo>
                  <a:pt x="1023961" y="1094545"/>
                  <a:pt x="1040399" y="1076141"/>
                  <a:pt x="1063090" y="1066494"/>
                </a:cubicBezTo>
                <a:cubicBezTo>
                  <a:pt x="1070057" y="1063455"/>
                  <a:pt x="1075774" y="1056666"/>
                  <a:pt x="1081314" y="1050949"/>
                </a:cubicBezTo>
                <a:cubicBezTo>
                  <a:pt x="1088819" y="1043444"/>
                  <a:pt x="1096680" y="1036655"/>
                  <a:pt x="1106864" y="1033082"/>
                </a:cubicBezTo>
                <a:cubicBezTo>
                  <a:pt x="1128483" y="1025577"/>
                  <a:pt x="1147064" y="1012713"/>
                  <a:pt x="1166004" y="1000563"/>
                </a:cubicBezTo>
                <a:cubicBezTo>
                  <a:pt x="1182442" y="990201"/>
                  <a:pt x="1198700" y="979659"/>
                  <a:pt x="1215137" y="969475"/>
                </a:cubicBezTo>
                <a:cubicBezTo>
                  <a:pt x="1235685" y="956611"/>
                  <a:pt x="1268738" y="921233"/>
                  <a:pt x="1289464" y="908727"/>
                </a:cubicBezTo>
                <a:cubicBezTo>
                  <a:pt x="1312334" y="894970"/>
                  <a:pt x="1335562" y="881569"/>
                  <a:pt x="1358432" y="867990"/>
                </a:cubicBezTo>
                <a:cubicBezTo>
                  <a:pt x="1365401" y="863702"/>
                  <a:pt x="1372367" y="859771"/>
                  <a:pt x="1378980" y="855126"/>
                </a:cubicBezTo>
                <a:cubicBezTo>
                  <a:pt x="1411855" y="831720"/>
                  <a:pt x="1447052" y="811887"/>
                  <a:pt x="1482608" y="792412"/>
                </a:cubicBezTo>
                <a:cubicBezTo>
                  <a:pt x="1488146" y="789197"/>
                  <a:pt x="1494578" y="786695"/>
                  <a:pt x="1498866" y="782050"/>
                </a:cubicBezTo>
                <a:cubicBezTo>
                  <a:pt x="1510837" y="769186"/>
                  <a:pt x="1525846" y="762754"/>
                  <a:pt x="1541925" y="756678"/>
                </a:cubicBezTo>
                <a:cubicBezTo>
                  <a:pt x="1556221" y="751319"/>
                  <a:pt x="1569800" y="743814"/>
                  <a:pt x="1583020" y="736131"/>
                </a:cubicBezTo>
                <a:cubicBezTo>
                  <a:pt x="1647342" y="698611"/>
                  <a:pt x="1708982" y="706651"/>
                  <a:pt x="1775628" y="673597"/>
                </a:cubicBezTo>
                <a:cubicBezTo>
                  <a:pt x="1796532" y="663233"/>
                  <a:pt x="1818865" y="655552"/>
                  <a:pt x="1839949" y="645546"/>
                </a:cubicBezTo>
                <a:cubicBezTo>
                  <a:pt x="1862639" y="634826"/>
                  <a:pt x="1884438" y="622496"/>
                  <a:pt x="1906949" y="611598"/>
                </a:cubicBezTo>
                <a:cubicBezTo>
                  <a:pt x="1936251" y="597483"/>
                  <a:pt x="1966268" y="585691"/>
                  <a:pt x="1998609" y="581225"/>
                </a:cubicBezTo>
                <a:cubicBezTo>
                  <a:pt x="2001824" y="580867"/>
                  <a:pt x="2005934" y="580867"/>
                  <a:pt x="2007899" y="579081"/>
                </a:cubicBezTo>
                <a:cubicBezTo>
                  <a:pt x="2018261" y="569610"/>
                  <a:pt x="2031840" y="566395"/>
                  <a:pt x="2043097" y="559070"/>
                </a:cubicBezTo>
                <a:cubicBezTo>
                  <a:pt x="2062393" y="546384"/>
                  <a:pt x="2083297" y="538344"/>
                  <a:pt x="2105096" y="532090"/>
                </a:cubicBezTo>
                <a:cubicBezTo>
                  <a:pt x="2110633" y="530661"/>
                  <a:pt x="2116173" y="529410"/>
                  <a:pt x="2121534" y="527802"/>
                </a:cubicBezTo>
                <a:cubicBezTo>
                  <a:pt x="2139935" y="522441"/>
                  <a:pt x="2159412" y="519762"/>
                  <a:pt x="2175670" y="508147"/>
                </a:cubicBezTo>
                <a:cubicBezTo>
                  <a:pt x="2178350" y="506183"/>
                  <a:pt x="2181387" y="504574"/>
                  <a:pt x="2184426" y="503859"/>
                </a:cubicBezTo>
                <a:cubicBezTo>
                  <a:pt x="2208725" y="498322"/>
                  <a:pt x="2233202" y="492961"/>
                  <a:pt x="2257502" y="487602"/>
                </a:cubicBezTo>
                <a:cubicBezTo>
                  <a:pt x="2281086" y="482241"/>
                  <a:pt x="2304671" y="476701"/>
                  <a:pt x="2328255" y="471520"/>
                </a:cubicBezTo>
                <a:cubicBezTo>
                  <a:pt x="2339153" y="469198"/>
                  <a:pt x="2350410" y="467410"/>
                  <a:pt x="2361487" y="465266"/>
                </a:cubicBezTo>
                <a:cubicBezTo>
                  <a:pt x="2367026" y="464195"/>
                  <a:pt x="2372922" y="463659"/>
                  <a:pt x="2377924" y="461337"/>
                </a:cubicBezTo>
                <a:cubicBezTo>
                  <a:pt x="2398830" y="451153"/>
                  <a:pt x="2420091" y="451331"/>
                  <a:pt x="2441175" y="459014"/>
                </a:cubicBezTo>
                <a:cubicBezTo>
                  <a:pt x="2449036" y="461873"/>
                  <a:pt x="2453146" y="457763"/>
                  <a:pt x="2459042" y="454726"/>
                </a:cubicBezTo>
                <a:cubicBezTo>
                  <a:pt x="2466189" y="457585"/>
                  <a:pt x="2473514" y="460622"/>
                  <a:pt x="2482090" y="464017"/>
                </a:cubicBezTo>
                <a:cubicBezTo>
                  <a:pt x="2482090" y="464374"/>
                  <a:pt x="2482090" y="464910"/>
                  <a:pt x="2482090" y="465266"/>
                </a:cubicBezTo>
                <a:cubicBezTo>
                  <a:pt x="2501744" y="455083"/>
                  <a:pt x="2521756" y="445255"/>
                  <a:pt x="2541767" y="435786"/>
                </a:cubicBezTo>
                <a:cubicBezTo>
                  <a:pt x="2577321" y="418992"/>
                  <a:pt x="2613235" y="402911"/>
                  <a:pt x="2649147" y="387010"/>
                </a:cubicBezTo>
                <a:cubicBezTo>
                  <a:pt x="2656116" y="383973"/>
                  <a:pt x="2663797" y="382185"/>
                  <a:pt x="2671302" y="380756"/>
                </a:cubicBezTo>
                <a:cubicBezTo>
                  <a:pt x="2675232" y="379863"/>
                  <a:pt x="2679700" y="380577"/>
                  <a:pt x="2679878" y="386651"/>
                </a:cubicBezTo>
                <a:cubicBezTo>
                  <a:pt x="2666836" y="393264"/>
                  <a:pt x="2653435" y="399874"/>
                  <a:pt x="2640213" y="406662"/>
                </a:cubicBezTo>
                <a:cubicBezTo>
                  <a:pt x="2626814" y="413453"/>
                  <a:pt x="2613591" y="420600"/>
                  <a:pt x="2600371" y="427747"/>
                </a:cubicBezTo>
                <a:cubicBezTo>
                  <a:pt x="2587326" y="434893"/>
                  <a:pt x="2574284" y="441862"/>
                  <a:pt x="2561063" y="449187"/>
                </a:cubicBezTo>
                <a:cubicBezTo>
                  <a:pt x="2565886" y="454368"/>
                  <a:pt x="2570710" y="452046"/>
                  <a:pt x="2575177" y="449902"/>
                </a:cubicBezTo>
                <a:cubicBezTo>
                  <a:pt x="2595009" y="440074"/>
                  <a:pt x="2615021" y="430069"/>
                  <a:pt x="2634673" y="419885"/>
                </a:cubicBezTo>
                <a:cubicBezTo>
                  <a:pt x="2666836" y="403269"/>
                  <a:pt x="2700068" y="391298"/>
                  <a:pt x="2734550" y="383973"/>
                </a:cubicBezTo>
                <a:cubicBezTo>
                  <a:pt x="2739375" y="383078"/>
                  <a:pt x="2744556" y="381649"/>
                  <a:pt x="2748844" y="382543"/>
                </a:cubicBezTo>
                <a:cubicBezTo>
                  <a:pt x="2753847" y="383615"/>
                  <a:pt x="2758135" y="386831"/>
                  <a:pt x="2762245" y="389690"/>
                </a:cubicBezTo>
                <a:cubicBezTo>
                  <a:pt x="2766711" y="392905"/>
                  <a:pt x="2772965" y="395228"/>
                  <a:pt x="2773324" y="401660"/>
                </a:cubicBezTo>
                <a:cubicBezTo>
                  <a:pt x="2773502" y="406306"/>
                  <a:pt x="2772250" y="411131"/>
                  <a:pt x="2771714" y="416133"/>
                </a:cubicBezTo>
                <a:cubicBezTo>
                  <a:pt x="2780826" y="413809"/>
                  <a:pt x="2787259" y="405233"/>
                  <a:pt x="2801730" y="404518"/>
                </a:cubicBezTo>
                <a:cubicBezTo>
                  <a:pt x="2773324" y="427032"/>
                  <a:pt x="2744736" y="440253"/>
                  <a:pt x="2718293" y="459014"/>
                </a:cubicBezTo>
                <a:cubicBezTo>
                  <a:pt x="2722581" y="463302"/>
                  <a:pt x="2725796" y="467054"/>
                  <a:pt x="2729191" y="470449"/>
                </a:cubicBezTo>
                <a:cubicBezTo>
                  <a:pt x="2730441" y="471699"/>
                  <a:pt x="2732407" y="472057"/>
                  <a:pt x="2734372" y="472057"/>
                </a:cubicBezTo>
                <a:cubicBezTo>
                  <a:pt x="2740268" y="470627"/>
                  <a:pt x="2745986" y="469020"/>
                  <a:pt x="2751883" y="467591"/>
                </a:cubicBezTo>
                <a:cubicBezTo>
                  <a:pt x="2781900" y="459907"/>
                  <a:pt x="2811558" y="450973"/>
                  <a:pt x="2841753" y="443469"/>
                </a:cubicBezTo>
                <a:cubicBezTo>
                  <a:pt x="2853546" y="440611"/>
                  <a:pt x="2865874" y="439538"/>
                  <a:pt x="2878023" y="438289"/>
                </a:cubicBezTo>
                <a:cubicBezTo>
                  <a:pt x="2880882" y="438108"/>
                  <a:pt x="2884277" y="440433"/>
                  <a:pt x="2891960" y="443111"/>
                </a:cubicBezTo>
                <a:cubicBezTo>
                  <a:pt x="2883384" y="446328"/>
                  <a:pt x="2879453" y="448294"/>
                  <a:pt x="2875164" y="449365"/>
                </a:cubicBezTo>
                <a:cubicBezTo>
                  <a:pt x="2825495" y="462408"/>
                  <a:pt x="2775824" y="475272"/>
                  <a:pt x="2726333" y="488316"/>
                </a:cubicBezTo>
                <a:cubicBezTo>
                  <a:pt x="2725440" y="489031"/>
                  <a:pt x="2724725" y="489566"/>
                  <a:pt x="2724009" y="490102"/>
                </a:cubicBezTo>
                <a:cubicBezTo>
                  <a:pt x="2726155" y="490638"/>
                  <a:pt x="2729013" y="490460"/>
                  <a:pt x="2728118" y="495105"/>
                </a:cubicBezTo>
                <a:cubicBezTo>
                  <a:pt x="2718293" y="497963"/>
                  <a:pt x="2708287" y="500644"/>
                  <a:pt x="2698102" y="503503"/>
                </a:cubicBezTo>
                <a:cubicBezTo>
                  <a:pt x="2700782" y="504039"/>
                  <a:pt x="2703463" y="505110"/>
                  <a:pt x="2706500" y="507254"/>
                </a:cubicBezTo>
                <a:cubicBezTo>
                  <a:pt x="2682022" y="516904"/>
                  <a:pt x="2660224" y="529053"/>
                  <a:pt x="2635032" y="532983"/>
                </a:cubicBezTo>
                <a:cubicBezTo>
                  <a:pt x="2646467" y="521012"/>
                  <a:pt x="2661653" y="515652"/>
                  <a:pt x="2676127" y="509398"/>
                </a:cubicBezTo>
                <a:cubicBezTo>
                  <a:pt x="2672732" y="510471"/>
                  <a:pt x="2669515" y="511364"/>
                  <a:pt x="2666299" y="512615"/>
                </a:cubicBezTo>
                <a:cubicBezTo>
                  <a:pt x="2653257" y="517438"/>
                  <a:pt x="2639498" y="521906"/>
                  <a:pt x="2627707" y="529231"/>
                </a:cubicBezTo>
                <a:cubicBezTo>
                  <a:pt x="2617523" y="535663"/>
                  <a:pt x="2607696" y="542452"/>
                  <a:pt x="2596439" y="546025"/>
                </a:cubicBezTo>
                <a:cubicBezTo>
                  <a:pt x="2598226" y="552638"/>
                  <a:pt x="2599834" y="559248"/>
                  <a:pt x="2600727" y="565858"/>
                </a:cubicBezTo>
                <a:cubicBezTo>
                  <a:pt x="2628600" y="548350"/>
                  <a:pt x="2659689" y="537986"/>
                  <a:pt x="2690062" y="526014"/>
                </a:cubicBezTo>
                <a:cubicBezTo>
                  <a:pt x="2694528" y="524407"/>
                  <a:pt x="2699353" y="522977"/>
                  <a:pt x="2702926" y="520119"/>
                </a:cubicBezTo>
                <a:cubicBezTo>
                  <a:pt x="2717578" y="508684"/>
                  <a:pt x="2735087" y="504754"/>
                  <a:pt x="2752418" y="500286"/>
                </a:cubicBezTo>
                <a:cubicBezTo>
                  <a:pt x="2769750" y="495819"/>
                  <a:pt x="2787437" y="492246"/>
                  <a:pt x="2804770" y="487602"/>
                </a:cubicBezTo>
                <a:cubicBezTo>
                  <a:pt x="2816561" y="484563"/>
                  <a:pt x="2828174" y="480455"/>
                  <a:pt x="2839609" y="476523"/>
                </a:cubicBezTo>
                <a:cubicBezTo>
                  <a:pt x="2851938" y="472235"/>
                  <a:pt x="2864622" y="469376"/>
                  <a:pt x="2876772" y="469376"/>
                </a:cubicBezTo>
                <a:cubicBezTo>
                  <a:pt x="2880526" y="474557"/>
                  <a:pt x="2879096" y="477416"/>
                  <a:pt x="2876238" y="479740"/>
                </a:cubicBezTo>
                <a:cubicBezTo>
                  <a:pt x="2881060" y="481170"/>
                  <a:pt x="2886243" y="484028"/>
                  <a:pt x="2890888" y="483670"/>
                </a:cubicBezTo>
                <a:cubicBezTo>
                  <a:pt x="2897856" y="483133"/>
                  <a:pt x="2904645" y="480096"/>
                  <a:pt x="2911435" y="477952"/>
                </a:cubicBezTo>
                <a:cubicBezTo>
                  <a:pt x="2916260" y="480096"/>
                  <a:pt x="2921262" y="482241"/>
                  <a:pt x="2928409" y="485457"/>
                </a:cubicBezTo>
                <a:cubicBezTo>
                  <a:pt x="2924121" y="489387"/>
                  <a:pt x="2922156" y="492604"/>
                  <a:pt x="2919297" y="493854"/>
                </a:cubicBezTo>
                <a:cubicBezTo>
                  <a:pt x="2888744" y="507613"/>
                  <a:pt x="2857834" y="520833"/>
                  <a:pt x="2827281" y="534771"/>
                </a:cubicBezTo>
                <a:cubicBezTo>
                  <a:pt x="2818883" y="538522"/>
                  <a:pt x="2811736" y="544954"/>
                  <a:pt x="2803340" y="548528"/>
                </a:cubicBezTo>
                <a:cubicBezTo>
                  <a:pt x="2800660" y="549599"/>
                  <a:pt x="2798157" y="550672"/>
                  <a:pt x="2795477" y="551743"/>
                </a:cubicBezTo>
                <a:cubicBezTo>
                  <a:pt x="2799586" y="552816"/>
                  <a:pt x="2804233" y="552994"/>
                  <a:pt x="2809414" y="551743"/>
                </a:cubicBezTo>
                <a:cubicBezTo>
                  <a:pt x="2812809" y="550850"/>
                  <a:pt x="2816204" y="550314"/>
                  <a:pt x="2819598" y="550314"/>
                </a:cubicBezTo>
                <a:cubicBezTo>
                  <a:pt x="2828532" y="550314"/>
                  <a:pt x="2832284" y="555675"/>
                  <a:pt x="2829247" y="564607"/>
                </a:cubicBezTo>
                <a:lnTo>
                  <a:pt x="2824713" y="570709"/>
                </a:lnTo>
                <a:lnTo>
                  <a:pt x="2824422" y="564607"/>
                </a:lnTo>
                <a:cubicBezTo>
                  <a:pt x="2822815" y="566216"/>
                  <a:pt x="2822726" y="567511"/>
                  <a:pt x="2823128" y="568695"/>
                </a:cubicBezTo>
                <a:lnTo>
                  <a:pt x="2824528" y="571592"/>
                </a:lnTo>
                <a:lnTo>
                  <a:pt x="2824066" y="575149"/>
                </a:lnTo>
                <a:cubicBezTo>
                  <a:pt x="2826566" y="574256"/>
                  <a:pt x="2829068" y="573183"/>
                  <a:pt x="2831569" y="571934"/>
                </a:cubicBezTo>
                <a:cubicBezTo>
                  <a:pt x="2832642" y="569432"/>
                  <a:pt x="2833891" y="566931"/>
                  <a:pt x="2835321" y="564607"/>
                </a:cubicBezTo>
                <a:cubicBezTo>
                  <a:pt x="2837643" y="560856"/>
                  <a:pt x="2844077" y="559963"/>
                  <a:pt x="2846577" y="563178"/>
                </a:cubicBezTo>
                <a:cubicBezTo>
                  <a:pt x="2849436" y="562285"/>
                  <a:pt x="2852473" y="561748"/>
                  <a:pt x="2855154" y="560856"/>
                </a:cubicBezTo>
                <a:cubicBezTo>
                  <a:pt x="2863193" y="558355"/>
                  <a:pt x="2871591" y="556567"/>
                  <a:pt x="2879274" y="553172"/>
                </a:cubicBezTo>
                <a:cubicBezTo>
                  <a:pt x="2907325" y="540666"/>
                  <a:pt x="2935734" y="528695"/>
                  <a:pt x="2965036" y="519048"/>
                </a:cubicBezTo>
                <a:cubicBezTo>
                  <a:pt x="2971290" y="516904"/>
                  <a:pt x="2976293" y="513508"/>
                  <a:pt x="2981474" y="509220"/>
                </a:cubicBezTo>
                <a:cubicBezTo>
                  <a:pt x="2993087" y="499751"/>
                  <a:pt x="3005595" y="491531"/>
                  <a:pt x="3018459" y="483848"/>
                </a:cubicBezTo>
                <a:cubicBezTo>
                  <a:pt x="3022926" y="481170"/>
                  <a:pt x="3029180" y="481526"/>
                  <a:pt x="3034717" y="480989"/>
                </a:cubicBezTo>
                <a:cubicBezTo>
                  <a:pt x="3035968" y="480811"/>
                  <a:pt x="3038112" y="482955"/>
                  <a:pt x="3038470" y="484385"/>
                </a:cubicBezTo>
                <a:cubicBezTo>
                  <a:pt x="3038827" y="485814"/>
                  <a:pt x="3038290" y="488136"/>
                  <a:pt x="3037397" y="489566"/>
                </a:cubicBezTo>
                <a:cubicBezTo>
                  <a:pt x="3033288" y="495283"/>
                  <a:pt x="3021852" y="493319"/>
                  <a:pt x="3022033" y="504218"/>
                </a:cubicBezTo>
                <a:cubicBezTo>
                  <a:pt x="3024891" y="509577"/>
                  <a:pt x="3029894" y="508147"/>
                  <a:pt x="3034180" y="506898"/>
                </a:cubicBezTo>
                <a:cubicBezTo>
                  <a:pt x="3056337" y="499929"/>
                  <a:pt x="3078492" y="492961"/>
                  <a:pt x="3101897" y="492068"/>
                </a:cubicBezTo>
                <a:cubicBezTo>
                  <a:pt x="3080993" y="499215"/>
                  <a:pt x="3060089" y="506183"/>
                  <a:pt x="3039185" y="513508"/>
                </a:cubicBezTo>
                <a:cubicBezTo>
                  <a:pt x="3030250" y="516545"/>
                  <a:pt x="3020960" y="519404"/>
                  <a:pt x="3013098" y="524229"/>
                </a:cubicBezTo>
                <a:cubicBezTo>
                  <a:pt x="3004166" y="529768"/>
                  <a:pt x="2995409" y="534234"/>
                  <a:pt x="2985048" y="536735"/>
                </a:cubicBezTo>
                <a:cubicBezTo>
                  <a:pt x="2979508" y="538164"/>
                  <a:pt x="2974684" y="543167"/>
                  <a:pt x="2966108" y="548884"/>
                </a:cubicBezTo>
                <a:cubicBezTo>
                  <a:pt x="2973076" y="549599"/>
                  <a:pt x="2975398" y="550135"/>
                  <a:pt x="2977722" y="550135"/>
                </a:cubicBezTo>
                <a:cubicBezTo>
                  <a:pt x="2992550" y="550314"/>
                  <a:pt x="3006488" y="536556"/>
                  <a:pt x="3022033" y="547991"/>
                </a:cubicBezTo>
                <a:cubicBezTo>
                  <a:pt x="3034360" y="543525"/>
                  <a:pt x="3046510" y="538522"/>
                  <a:pt x="3059016" y="534591"/>
                </a:cubicBezTo>
                <a:cubicBezTo>
                  <a:pt x="3093857" y="523514"/>
                  <a:pt x="3128876" y="512615"/>
                  <a:pt x="3164074" y="502073"/>
                </a:cubicBezTo>
                <a:cubicBezTo>
                  <a:pt x="3171043" y="500108"/>
                  <a:pt x="3178548" y="499751"/>
                  <a:pt x="3187124" y="498322"/>
                </a:cubicBezTo>
                <a:cubicBezTo>
                  <a:pt x="3185515" y="501537"/>
                  <a:pt x="3185158" y="503681"/>
                  <a:pt x="3184085" y="504218"/>
                </a:cubicBezTo>
                <a:cubicBezTo>
                  <a:pt x="3161396" y="515474"/>
                  <a:pt x="3141741" y="532090"/>
                  <a:pt x="3117800" y="541023"/>
                </a:cubicBezTo>
                <a:cubicBezTo>
                  <a:pt x="3101897" y="547098"/>
                  <a:pt x="3086354" y="553531"/>
                  <a:pt x="3070273" y="558890"/>
                </a:cubicBezTo>
                <a:cubicBezTo>
                  <a:pt x="3032038" y="571934"/>
                  <a:pt x="2994160" y="586584"/>
                  <a:pt x="2955031" y="596233"/>
                </a:cubicBezTo>
                <a:cubicBezTo>
                  <a:pt x="2925907" y="603380"/>
                  <a:pt x="2900893" y="618923"/>
                  <a:pt x="2873199" y="628572"/>
                </a:cubicBezTo>
                <a:cubicBezTo>
                  <a:pt x="2874094" y="630538"/>
                  <a:pt x="2874628" y="632860"/>
                  <a:pt x="2874986" y="635361"/>
                </a:cubicBezTo>
                <a:cubicBezTo>
                  <a:pt x="2874986" y="635541"/>
                  <a:pt x="2874986" y="635719"/>
                  <a:pt x="2874986" y="635719"/>
                </a:cubicBezTo>
                <a:cubicBezTo>
                  <a:pt x="2880526" y="635541"/>
                  <a:pt x="2886063" y="635719"/>
                  <a:pt x="2891602" y="636075"/>
                </a:cubicBezTo>
                <a:cubicBezTo>
                  <a:pt x="2892854" y="636255"/>
                  <a:pt x="2893746" y="637685"/>
                  <a:pt x="2894819" y="638756"/>
                </a:cubicBezTo>
                <a:cubicBezTo>
                  <a:pt x="2889280" y="641615"/>
                  <a:pt x="2885170" y="645546"/>
                  <a:pt x="2885348" y="654301"/>
                </a:cubicBezTo>
                <a:cubicBezTo>
                  <a:pt x="2880346" y="651798"/>
                  <a:pt x="2875879" y="649476"/>
                  <a:pt x="2870340" y="646796"/>
                </a:cubicBezTo>
                <a:lnTo>
                  <a:pt x="2866607" y="648588"/>
                </a:lnTo>
                <a:lnTo>
                  <a:pt x="2867125" y="646617"/>
                </a:lnTo>
                <a:cubicBezTo>
                  <a:pt x="2866232" y="646796"/>
                  <a:pt x="2865337" y="646976"/>
                  <a:pt x="2864444" y="647154"/>
                </a:cubicBezTo>
                <a:lnTo>
                  <a:pt x="2865738" y="649455"/>
                </a:lnTo>
                <a:lnTo>
                  <a:pt x="2863193" y="659125"/>
                </a:lnTo>
                <a:cubicBezTo>
                  <a:pt x="2856941" y="659125"/>
                  <a:pt x="2851580" y="660196"/>
                  <a:pt x="2847292" y="664663"/>
                </a:cubicBezTo>
                <a:cubicBezTo>
                  <a:pt x="2845326" y="666807"/>
                  <a:pt x="2842826" y="668416"/>
                  <a:pt x="2840324" y="665914"/>
                </a:cubicBezTo>
                <a:cubicBezTo>
                  <a:pt x="2840860" y="659840"/>
                  <a:pt x="2841396" y="653586"/>
                  <a:pt x="2841933" y="646081"/>
                </a:cubicBezTo>
                <a:cubicBezTo>
                  <a:pt x="2830318" y="649120"/>
                  <a:pt x="2822278" y="653049"/>
                  <a:pt x="2816382" y="662340"/>
                </a:cubicBezTo>
                <a:cubicBezTo>
                  <a:pt x="2820312" y="660018"/>
                  <a:pt x="2824244" y="657874"/>
                  <a:pt x="2828354" y="655552"/>
                </a:cubicBezTo>
                <a:cubicBezTo>
                  <a:pt x="2827818" y="666987"/>
                  <a:pt x="2823351" y="671809"/>
                  <a:pt x="2811380" y="670380"/>
                </a:cubicBezTo>
                <a:cubicBezTo>
                  <a:pt x="2804589" y="680744"/>
                  <a:pt x="2796728" y="689857"/>
                  <a:pt x="2787617" y="698074"/>
                </a:cubicBezTo>
                <a:cubicBezTo>
                  <a:pt x="2803518" y="692893"/>
                  <a:pt x="2819598" y="687712"/>
                  <a:pt x="2835679" y="682351"/>
                </a:cubicBezTo>
                <a:cubicBezTo>
                  <a:pt x="2833357" y="685210"/>
                  <a:pt x="2831211" y="688605"/>
                  <a:pt x="2828174" y="690035"/>
                </a:cubicBezTo>
                <a:cubicBezTo>
                  <a:pt x="2812809" y="696823"/>
                  <a:pt x="2796908" y="702899"/>
                  <a:pt x="2781363" y="709331"/>
                </a:cubicBezTo>
                <a:cubicBezTo>
                  <a:pt x="2775468" y="711832"/>
                  <a:pt x="2769750" y="714870"/>
                  <a:pt x="2763138" y="717907"/>
                </a:cubicBezTo>
                <a:cubicBezTo>
                  <a:pt x="2765818" y="721303"/>
                  <a:pt x="2767962" y="723981"/>
                  <a:pt x="2770284" y="727020"/>
                </a:cubicBezTo>
                <a:cubicBezTo>
                  <a:pt x="2770284" y="727198"/>
                  <a:pt x="2770106" y="727376"/>
                  <a:pt x="2770106" y="727376"/>
                </a:cubicBezTo>
                <a:cubicBezTo>
                  <a:pt x="2774394" y="725947"/>
                  <a:pt x="2778861" y="724696"/>
                  <a:pt x="2783329" y="723447"/>
                </a:cubicBezTo>
                <a:cubicBezTo>
                  <a:pt x="2785651" y="721837"/>
                  <a:pt x="2787974" y="720229"/>
                  <a:pt x="2790118" y="718622"/>
                </a:cubicBezTo>
                <a:cubicBezTo>
                  <a:pt x="2800838" y="710402"/>
                  <a:pt x="2814238" y="708973"/>
                  <a:pt x="2827281" y="711653"/>
                </a:cubicBezTo>
                <a:cubicBezTo>
                  <a:pt x="2906254" y="691820"/>
                  <a:pt x="2986298" y="676278"/>
                  <a:pt x="3063662" y="648761"/>
                </a:cubicBezTo>
                <a:cubicBezTo>
                  <a:pt x="3068665" y="646976"/>
                  <a:pt x="3073490" y="646439"/>
                  <a:pt x="3078492" y="646439"/>
                </a:cubicBezTo>
                <a:cubicBezTo>
                  <a:pt x="3079027" y="645724"/>
                  <a:pt x="3079386" y="645010"/>
                  <a:pt x="3079742" y="644117"/>
                </a:cubicBezTo>
                <a:cubicBezTo>
                  <a:pt x="3080636" y="641793"/>
                  <a:pt x="3082422" y="640007"/>
                  <a:pt x="3084566" y="640007"/>
                </a:cubicBezTo>
                <a:cubicBezTo>
                  <a:pt x="3092786" y="640007"/>
                  <a:pt x="3098682" y="634826"/>
                  <a:pt x="3105114" y="630894"/>
                </a:cubicBezTo>
                <a:cubicBezTo>
                  <a:pt x="3106185" y="630180"/>
                  <a:pt x="3106722" y="628394"/>
                  <a:pt x="3107258" y="626965"/>
                </a:cubicBezTo>
                <a:cubicBezTo>
                  <a:pt x="3108687" y="623569"/>
                  <a:pt x="3111188" y="622676"/>
                  <a:pt x="3114583" y="623033"/>
                </a:cubicBezTo>
                <a:cubicBezTo>
                  <a:pt x="3117800" y="623211"/>
                  <a:pt x="3120479" y="622496"/>
                  <a:pt x="3122088" y="619281"/>
                </a:cubicBezTo>
                <a:cubicBezTo>
                  <a:pt x="3123159" y="617315"/>
                  <a:pt x="3123696" y="614993"/>
                  <a:pt x="3125840" y="613742"/>
                </a:cubicBezTo>
                <a:cubicBezTo>
                  <a:pt x="3131199" y="610527"/>
                  <a:pt x="3136560" y="607310"/>
                  <a:pt x="3141563" y="603915"/>
                </a:cubicBezTo>
                <a:cubicBezTo>
                  <a:pt x="3144958" y="601592"/>
                  <a:pt x="3148351" y="601056"/>
                  <a:pt x="3152283" y="601056"/>
                </a:cubicBezTo>
                <a:cubicBezTo>
                  <a:pt x="3155320" y="601056"/>
                  <a:pt x="3158178" y="599448"/>
                  <a:pt x="3161216" y="599807"/>
                </a:cubicBezTo>
                <a:cubicBezTo>
                  <a:pt x="3166040" y="600341"/>
                  <a:pt x="3167828" y="597126"/>
                  <a:pt x="3169077" y="593194"/>
                </a:cubicBezTo>
                <a:cubicBezTo>
                  <a:pt x="3169435" y="591765"/>
                  <a:pt x="3169792" y="590336"/>
                  <a:pt x="3170328" y="588906"/>
                </a:cubicBezTo>
                <a:cubicBezTo>
                  <a:pt x="3171758" y="585513"/>
                  <a:pt x="3173009" y="584440"/>
                  <a:pt x="3177117" y="584440"/>
                </a:cubicBezTo>
                <a:cubicBezTo>
                  <a:pt x="3180334" y="584618"/>
                  <a:pt x="3183371" y="584440"/>
                  <a:pt x="3184800" y="581225"/>
                </a:cubicBezTo>
                <a:cubicBezTo>
                  <a:pt x="3186410" y="577471"/>
                  <a:pt x="3188910" y="574971"/>
                  <a:pt x="3192305" y="572827"/>
                </a:cubicBezTo>
                <a:cubicBezTo>
                  <a:pt x="3211958" y="560856"/>
                  <a:pt x="3231791" y="548884"/>
                  <a:pt x="3251446" y="536735"/>
                </a:cubicBezTo>
                <a:cubicBezTo>
                  <a:pt x="3255554" y="534234"/>
                  <a:pt x="3259664" y="532983"/>
                  <a:pt x="3264310" y="534234"/>
                </a:cubicBezTo>
                <a:cubicBezTo>
                  <a:pt x="3268061" y="535305"/>
                  <a:pt x="3271635" y="534591"/>
                  <a:pt x="3275208" y="532446"/>
                </a:cubicBezTo>
                <a:cubicBezTo>
                  <a:pt x="3282533" y="527980"/>
                  <a:pt x="3289858" y="523692"/>
                  <a:pt x="3297005" y="519226"/>
                </a:cubicBezTo>
                <a:cubicBezTo>
                  <a:pt x="3299686" y="517618"/>
                  <a:pt x="3302544" y="517260"/>
                  <a:pt x="3305581" y="516724"/>
                </a:cubicBezTo>
                <a:cubicBezTo>
                  <a:pt x="3313264" y="515294"/>
                  <a:pt x="3319875" y="511543"/>
                  <a:pt x="3324343" y="504932"/>
                </a:cubicBezTo>
                <a:cubicBezTo>
                  <a:pt x="3325236" y="503503"/>
                  <a:pt x="3325772" y="502610"/>
                  <a:pt x="3327558" y="502610"/>
                </a:cubicBezTo>
                <a:cubicBezTo>
                  <a:pt x="3329880" y="502610"/>
                  <a:pt x="3332024" y="502430"/>
                  <a:pt x="3334168" y="501180"/>
                </a:cubicBezTo>
                <a:cubicBezTo>
                  <a:pt x="3348462" y="492424"/>
                  <a:pt x="3363114" y="483670"/>
                  <a:pt x="3377586" y="474916"/>
                </a:cubicBezTo>
                <a:cubicBezTo>
                  <a:pt x="3390094" y="467410"/>
                  <a:pt x="3402600" y="459907"/>
                  <a:pt x="3415108" y="452224"/>
                </a:cubicBezTo>
                <a:cubicBezTo>
                  <a:pt x="3417252" y="450973"/>
                  <a:pt x="3419574" y="450616"/>
                  <a:pt x="3421718" y="450973"/>
                </a:cubicBezTo>
                <a:cubicBezTo>
                  <a:pt x="3423684" y="451153"/>
                  <a:pt x="3424577" y="450795"/>
                  <a:pt x="3425113" y="448829"/>
                </a:cubicBezTo>
                <a:cubicBezTo>
                  <a:pt x="3425828" y="446507"/>
                  <a:pt x="3427255" y="444006"/>
                  <a:pt x="3429580" y="444006"/>
                </a:cubicBezTo>
                <a:cubicBezTo>
                  <a:pt x="3435119" y="443826"/>
                  <a:pt x="3439763" y="441862"/>
                  <a:pt x="3444410" y="439003"/>
                </a:cubicBezTo>
                <a:cubicBezTo>
                  <a:pt x="3452806" y="433642"/>
                  <a:pt x="3461562" y="428818"/>
                  <a:pt x="3470138" y="423458"/>
                </a:cubicBezTo>
                <a:cubicBezTo>
                  <a:pt x="3473353" y="421314"/>
                  <a:pt x="3476926" y="420600"/>
                  <a:pt x="3480856" y="420422"/>
                </a:cubicBezTo>
                <a:cubicBezTo>
                  <a:pt x="3484788" y="420063"/>
                  <a:pt x="3488005" y="417919"/>
                  <a:pt x="3489969" y="414346"/>
                </a:cubicBezTo>
                <a:cubicBezTo>
                  <a:pt x="3492650" y="409165"/>
                  <a:pt x="3496581" y="406128"/>
                  <a:pt x="3502655" y="406484"/>
                </a:cubicBezTo>
                <a:cubicBezTo>
                  <a:pt x="3506943" y="406662"/>
                  <a:pt x="3510517" y="404518"/>
                  <a:pt x="3512482" y="401481"/>
                </a:cubicBezTo>
                <a:cubicBezTo>
                  <a:pt x="3514983" y="397552"/>
                  <a:pt x="3517664" y="394156"/>
                  <a:pt x="3521952" y="391834"/>
                </a:cubicBezTo>
                <a:cubicBezTo>
                  <a:pt x="3525347" y="390047"/>
                  <a:pt x="3528562" y="387903"/>
                  <a:pt x="3531601" y="385402"/>
                </a:cubicBezTo>
                <a:cubicBezTo>
                  <a:pt x="3539818" y="378790"/>
                  <a:pt x="3548395" y="378790"/>
                  <a:pt x="3557329" y="382363"/>
                </a:cubicBezTo>
                <a:cubicBezTo>
                  <a:pt x="3558400" y="382900"/>
                  <a:pt x="3559652" y="384329"/>
                  <a:pt x="3559830" y="385580"/>
                </a:cubicBezTo>
                <a:cubicBezTo>
                  <a:pt x="3560188" y="386831"/>
                  <a:pt x="3559473" y="388617"/>
                  <a:pt x="3558578" y="389510"/>
                </a:cubicBezTo>
                <a:cubicBezTo>
                  <a:pt x="3556971" y="391120"/>
                  <a:pt x="3554827" y="392191"/>
                  <a:pt x="3552861" y="393442"/>
                </a:cubicBezTo>
                <a:cubicBezTo>
                  <a:pt x="3547680" y="396837"/>
                  <a:pt x="3542499" y="400052"/>
                  <a:pt x="3537318" y="403447"/>
                </a:cubicBezTo>
                <a:cubicBezTo>
                  <a:pt x="3536782" y="403804"/>
                  <a:pt x="3536245" y="405233"/>
                  <a:pt x="3536245" y="405413"/>
                </a:cubicBezTo>
                <a:cubicBezTo>
                  <a:pt x="3537138" y="406306"/>
                  <a:pt x="3538033" y="407377"/>
                  <a:pt x="3539104" y="407735"/>
                </a:cubicBezTo>
                <a:cubicBezTo>
                  <a:pt x="3541963" y="408628"/>
                  <a:pt x="3545000" y="408807"/>
                  <a:pt x="3547858" y="407021"/>
                </a:cubicBezTo>
                <a:cubicBezTo>
                  <a:pt x="3555005" y="402555"/>
                  <a:pt x="3562510" y="398445"/>
                  <a:pt x="3569657" y="393978"/>
                </a:cubicBezTo>
                <a:cubicBezTo>
                  <a:pt x="3571801" y="392727"/>
                  <a:pt x="3573945" y="392727"/>
                  <a:pt x="3576268" y="392727"/>
                </a:cubicBezTo>
                <a:cubicBezTo>
                  <a:pt x="3581270" y="392369"/>
                  <a:pt x="3584844" y="390047"/>
                  <a:pt x="3587346" y="385759"/>
                </a:cubicBezTo>
                <a:cubicBezTo>
                  <a:pt x="3588417" y="383793"/>
                  <a:pt x="3589668" y="381829"/>
                  <a:pt x="3591812" y="380756"/>
                </a:cubicBezTo>
                <a:cubicBezTo>
                  <a:pt x="3593778" y="379863"/>
                  <a:pt x="3595564" y="377897"/>
                  <a:pt x="3598066" y="378434"/>
                </a:cubicBezTo>
                <a:cubicBezTo>
                  <a:pt x="3606820" y="380041"/>
                  <a:pt x="3615753" y="381829"/>
                  <a:pt x="3624688" y="383436"/>
                </a:cubicBezTo>
                <a:cubicBezTo>
                  <a:pt x="3628083" y="383973"/>
                  <a:pt x="3630583" y="382543"/>
                  <a:pt x="3632012" y="379326"/>
                </a:cubicBezTo>
                <a:cubicBezTo>
                  <a:pt x="3632727" y="377719"/>
                  <a:pt x="3633442" y="376468"/>
                  <a:pt x="3634871" y="376468"/>
                </a:cubicBezTo>
                <a:cubicBezTo>
                  <a:pt x="3638088" y="376468"/>
                  <a:pt x="3640947" y="375753"/>
                  <a:pt x="3643626" y="374145"/>
                </a:cubicBezTo>
                <a:cubicBezTo>
                  <a:pt x="3648808" y="370928"/>
                  <a:pt x="3654168" y="367892"/>
                  <a:pt x="3659527" y="364676"/>
                </a:cubicBezTo>
                <a:cubicBezTo>
                  <a:pt x="3664710" y="361459"/>
                  <a:pt x="3669534" y="357349"/>
                  <a:pt x="3676323" y="358422"/>
                </a:cubicBezTo>
                <a:cubicBezTo>
                  <a:pt x="3677038" y="358601"/>
                  <a:pt x="3677930" y="358422"/>
                  <a:pt x="3678467" y="358064"/>
                </a:cubicBezTo>
                <a:cubicBezTo>
                  <a:pt x="3684006" y="354134"/>
                  <a:pt x="3691331" y="352347"/>
                  <a:pt x="3694368" y="345380"/>
                </a:cubicBezTo>
                <a:cubicBezTo>
                  <a:pt x="3695083" y="343771"/>
                  <a:pt x="3696334" y="343771"/>
                  <a:pt x="3698122" y="343771"/>
                </a:cubicBezTo>
                <a:cubicBezTo>
                  <a:pt x="3700266" y="343592"/>
                  <a:pt x="3702588" y="343056"/>
                  <a:pt x="3704554" y="341985"/>
                </a:cubicBezTo>
                <a:cubicBezTo>
                  <a:pt x="3712057" y="337875"/>
                  <a:pt x="3719204" y="333409"/>
                  <a:pt x="3726529" y="329121"/>
                </a:cubicBezTo>
                <a:cubicBezTo>
                  <a:pt x="3728494" y="328047"/>
                  <a:pt x="3730817" y="326262"/>
                  <a:pt x="3732604" y="326262"/>
                </a:cubicBezTo>
                <a:cubicBezTo>
                  <a:pt x="3741895" y="327155"/>
                  <a:pt x="3747791" y="319830"/>
                  <a:pt x="3755474" y="316613"/>
                </a:cubicBezTo>
                <a:cubicBezTo>
                  <a:pt x="3757618" y="315720"/>
                  <a:pt x="3759940" y="315720"/>
                  <a:pt x="3762085" y="315183"/>
                </a:cubicBezTo>
                <a:cubicBezTo>
                  <a:pt x="3769768" y="313576"/>
                  <a:pt x="3776556" y="309824"/>
                  <a:pt x="3780844" y="303392"/>
                </a:cubicBezTo>
                <a:cubicBezTo>
                  <a:pt x="3783169" y="299819"/>
                  <a:pt x="3785669" y="297853"/>
                  <a:pt x="3789957" y="298211"/>
                </a:cubicBezTo>
                <a:cubicBezTo>
                  <a:pt x="3791745" y="298389"/>
                  <a:pt x="3792280" y="297674"/>
                  <a:pt x="3793174" y="295887"/>
                </a:cubicBezTo>
                <a:cubicBezTo>
                  <a:pt x="3795675" y="290528"/>
                  <a:pt x="3801036" y="288920"/>
                  <a:pt x="3805680" y="286418"/>
                </a:cubicBezTo>
                <a:cubicBezTo>
                  <a:pt x="3813898" y="287311"/>
                  <a:pt x="3819974" y="281952"/>
                  <a:pt x="3826584" y="278200"/>
                </a:cubicBezTo>
                <a:cubicBezTo>
                  <a:pt x="3828550" y="277127"/>
                  <a:pt x="3830516" y="275341"/>
                  <a:pt x="3832838" y="275698"/>
                </a:cubicBezTo>
                <a:cubicBezTo>
                  <a:pt x="3837841" y="276234"/>
                  <a:pt x="3841592" y="273553"/>
                  <a:pt x="3845524" y="271231"/>
                </a:cubicBezTo>
                <a:cubicBezTo>
                  <a:pt x="3861247" y="261762"/>
                  <a:pt x="3877148" y="252113"/>
                  <a:pt x="3892872" y="242466"/>
                </a:cubicBezTo>
                <a:cubicBezTo>
                  <a:pt x="3896803" y="240142"/>
                  <a:pt x="3900733" y="237641"/>
                  <a:pt x="3905558" y="238178"/>
                </a:cubicBezTo>
                <a:cubicBezTo>
                  <a:pt x="3908058" y="238356"/>
                  <a:pt x="3909846" y="236926"/>
                  <a:pt x="3911812" y="235675"/>
                </a:cubicBezTo>
                <a:cubicBezTo>
                  <a:pt x="3923066" y="229065"/>
                  <a:pt x="3934323" y="222275"/>
                  <a:pt x="3945580" y="215664"/>
                </a:cubicBezTo>
                <a:cubicBezTo>
                  <a:pt x="3947546" y="214413"/>
                  <a:pt x="3949331" y="212627"/>
                  <a:pt x="3951834" y="213164"/>
                </a:cubicBezTo>
                <a:cubicBezTo>
                  <a:pt x="3955407" y="213698"/>
                  <a:pt x="3957193" y="212091"/>
                  <a:pt x="3958444" y="208876"/>
                </a:cubicBezTo>
                <a:cubicBezTo>
                  <a:pt x="3958980" y="207803"/>
                  <a:pt x="3960766" y="206195"/>
                  <a:pt x="3961839" y="206195"/>
                </a:cubicBezTo>
                <a:cubicBezTo>
                  <a:pt x="3967376" y="206552"/>
                  <a:pt x="3972023" y="204588"/>
                  <a:pt x="3976667" y="201549"/>
                </a:cubicBezTo>
                <a:cubicBezTo>
                  <a:pt x="3985780" y="195831"/>
                  <a:pt x="3995071" y="190472"/>
                  <a:pt x="4004362" y="184933"/>
                </a:cubicBezTo>
                <a:cubicBezTo>
                  <a:pt x="4006328" y="183682"/>
                  <a:pt x="4008650" y="182789"/>
                  <a:pt x="4010794" y="183325"/>
                </a:cubicBezTo>
                <a:cubicBezTo>
                  <a:pt x="4016870" y="184755"/>
                  <a:pt x="4022765" y="184933"/>
                  <a:pt x="4028304" y="181181"/>
                </a:cubicBezTo>
                <a:cubicBezTo>
                  <a:pt x="4032949" y="181718"/>
                  <a:pt x="4037059" y="180288"/>
                  <a:pt x="4041169" y="177608"/>
                </a:cubicBezTo>
                <a:cubicBezTo>
                  <a:pt x="4046886" y="173856"/>
                  <a:pt x="4053138" y="170461"/>
                  <a:pt x="4059036" y="166888"/>
                </a:cubicBezTo>
                <a:cubicBezTo>
                  <a:pt x="4061180" y="165637"/>
                  <a:pt x="4063324" y="165815"/>
                  <a:pt x="4065646" y="165458"/>
                </a:cubicBezTo>
                <a:cubicBezTo>
                  <a:pt x="4067790" y="165100"/>
                  <a:pt x="4070112" y="164744"/>
                  <a:pt x="4072078" y="163671"/>
                </a:cubicBezTo>
                <a:cubicBezTo>
                  <a:pt x="4076903" y="161170"/>
                  <a:pt x="4081547" y="158490"/>
                  <a:pt x="4086194" y="155631"/>
                </a:cubicBezTo>
                <a:cubicBezTo>
                  <a:pt x="4089587" y="153487"/>
                  <a:pt x="4092982" y="152416"/>
                  <a:pt x="4096914" y="152416"/>
                </a:cubicBezTo>
                <a:cubicBezTo>
                  <a:pt x="4098343" y="152594"/>
                  <a:pt x="4099951" y="151879"/>
                  <a:pt x="4101202" y="151165"/>
                </a:cubicBezTo>
                <a:cubicBezTo>
                  <a:pt x="4105846" y="148484"/>
                  <a:pt x="4110493" y="145804"/>
                  <a:pt x="4115138" y="143125"/>
                </a:cubicBezTo>
                <a:cubicBezTo>
                  <a:pt x="4116388" y="142410"/>
                  <a:pt x="4117996" y="141874"/>
                  <a:pt x="4119426" y="141874"/>
                </a:cubicBezTo>
                <a:cubicBezTo>
                  <a:pt x="4123536" y="142052"/>
                  <a:pt x="4126750" y="140623"/>
                  <a:pt x="4130146" y="138657"/>
                </a:cubicBezTo>
                <a:cubicBezTo>
                  <a:pt x="4137471" y="134369"/>
                  <a:pt x="4144976" y="130439"/>
                  <a:pt x="4152301" y="126329"/>
                </a:cubicBezTo>
                <a:cubicBezTo>
                  <a:pt x="4160699" y="127044"/>
                  <a:pt x="4166416" y="121148"/>
                  <a:pt x="4173027" y="117575"/>
                </a:cubicBezTo>
                <a:cubicBezTo>
                  <a:pt x="4177673" y="115072"/>
                  <a:pt x="4182318" y="112035"/>
                  <a:pt x="4186964" y="109535"/>
                </a:cubicBezTo>
                <a:cubicBezTo>
                  <a:pt x="4188213" y="108820"/>
                  <a:pt x="4189822" y="108284"/>
                  <a:pt x="4191252" y="108284"/>
                </a:cubicBezTo>
                <a:cubicBezTo>
                  <a:pt x="4194289" y="108106"/>
                  <a:pt x="4197148" y="107926"/>
                  <a:pt x="4200006" y="106140"/>
                </a:cubicBezTo>
                <a:cubicBezTo>
                  <a:pt x="4203936" y="103637"/>
                  <a:pt x="4208046" y="101493"/>
                  <a:pt x="4211978" y="99171"/>
                </a:cubicBezTo>
                <a:cubicBezTo>
                  <a:pt x="4214836" y="97564"/>
                  <a:pt x="4217695" y="97385"/>
                  <a:pt x="4220732" y="98100"/>
                </a:cubicBezTo>
                <a:cubicBezTo>
                  <a:pt x="4225198" y="99171"/>
                  <a:pt x="4229486" y="99171"/>
                  <a:pt x="4233774" y="96312"/>
                </a:cubicBezTo>
                <a:cubicBezTo>
                  <a:pt x="4238956" y="92917"/>
                  <a:pt x="4244138" y="89344"/>
                  <a:pt x="4250748" y="90239"/>
                </a:cubicBezTo>
                <a:cubicBezTo>
                  <a:pt x="4252000" y="90417"/>
                  <a:pt x="4253430" y="88809"/>
                  <a:pt x="4254858" y="88095"/>
                </a:cubicBezTo>
                <a:cubicBezTo>
                  <a:pt x="4261647" y="84699"/>
                  <a:pt x="4267543" y="79338"/>
                  <a:pt x="4275762" y="79697"/>
                </a:cubicBezTo>
                <a:cubicBezTo>
                  <a:pt x="4279158" y="78089"/>
                  <a:pt x="4282910" y="76660"/>
                  <a:pt x="4285946" y="74516"/>
                </a:cubicBezTo>
                <a:cubicBezTo>
                  <a:pt x="4293808" y="68798"/>
                  <a:pt x="4302742" y="68262"/>
                  <a:pt x="4311853" y="68798"/>
                </a:cubicBezTo>
                <a:cubicBezTo>
                  <a:pt x="4313282" y="68798"/>
                  <a:pt x="4314892" y="69155"/>
                  <a:pt x="4316322" y="69155"/>
                </a:cubicBezTo>
                <a:cubicBezTo>
                  <a:pt x="4320430" y="69333"/>
                  <a:pt x="4324183" y="67547"/>
                  <a:pt x="4325968" y="64152"/>
                </a:cubicBezTo>
                <a:cubicBezTo>
                  <a:pt x="4328291" y="59864"/>
                  <a:pt x="4331150" y="56827"/>
                  <a:pt x="4335260" y="54324"/>
                </a:cubicBezTo>
                <a:cubicBezTo>
                  <a:pt x="4349912" y="45748"/>
                  <a:pt x="4364383" y="36994"/>
                  <a:pt x="4378855" y="28240"/>
                </a:cubicBezTo>
                <a:cubicBezTo>
                  <a:pt x="4381714" y="26632"/>
                  <a:pt x="4384394" y="25917"/>
                  <a:pt x="4387610" y="25917"/>
                </a:cubicBezTo>
                <a:cubicBezTo>
                  <a:pt x="4388504" y="25917"/>
                  <a:pt x="4389397" y="26274"/>
                  <a:pt x="4389934" y="25917"/>
                </a:cubicBezTo>
                <a:cubicBezTo>
                  <a:pt x="4394042" y="23773"/>
                  <a:pt x="4397973" y="21093"/>
                  <a:pt x="4402262" y="19485"/>
                </a:cubicBezTo>
                <a:cubicBezTo>
                  <a:pt x="4406371" y="17876"/>
                  <a:pt x="4411016" y="17161"/>
                  <a:pt x="4415304" y="16090"/>
                </a:cubicBezTo>
                <a:cubicBezTo>
                  <a:pt x="4416018" y="15912"/>
                  <a:pt x="4416555" y="15375"/>
                  <a:pt x="4417270" y="15017"/>
                </a:cubicBezTo>
                <a:cubicBezTo>
                  <a:pt x="4420484" y="12873"/>
                  <a:pt x="4423880" y="11802"/>
                  <a:pt x="4427990" y="11802"/>
                </a:cubicBezTo>
                <a:cubicBezTo>
                  <a:pt x="4432456" y="11980"/>
                  <a:pt x="4437102" y="11802"/>
                  <a:pt x="4441390" y="10372"/>
                </a:cubicBezTo>
                <a:cubicBezTo>
                  <a:pt x="4444964" y="9300"/>
                  <a:pt x="4448001" y="6977"/>
                  <a:pt x="4452111" y="7336"/>
                </a:cubicBezTo>
                <a:cubicBezTo>
                  <a:pt x="4455862" y="7692"/>
                  <a:pt x="4459614" y="6621"/>
                  <a:pt x="4463366" y="6441"/>
                </a:cubicBezTo>
                <a:cubicBezTo>
                  <a:pt x="4468012" y="6084"/>
                  <a:pt x="4471407" y="2153"/>
                  <a:pt x="4476410" y="2689"/>
                </a:cubicBezTo>
                <a:cubicBezTo>
                  <a:pt x="4480698" y="3047"/>
                  <a:pt x="4485342" y="1618"/>
                  <a:pt x="4489809" y="1618"/>
                </a:cubicBezTo>
                <a:cubicBezTo>
                  <a:pt x="4494277" y="1438"/>
                  <a:pt x="4498744" y="545"/>
                  <a:pt x="4503210" y="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bIns="720000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388D6C-1815-87E2-BC0E-BC5F297FA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4760"/>
            <a:ext cx="5417457" cy="189989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6E341A-F7CA-1FE6-9583-4AA45D7D0C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356100"/>
            <a:ext cx="5417457" cy="11811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  <a:latin typeface="+mn-lt"/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  <a:latin typeface="+mn-lt"/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20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88694C2-7A08-9DA1-73DE-2C13F0517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2731" t="-11522" r="-4200" b="-14110"/>
          <a:stretch/>
        </p:blipFill>
        <p:spPr>
          <a:xfrm>
            <a:off x="11249025" y="6486525"/>
            <a:ext cx="742950" cy="242888"/>
          </a:xfrm>
          <a:prstGeom prst="rect">
            <a:avLst/>
          </a:prstGeom>
        </p:spPr>
      </p:pic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9DA85619-6F50-5265-9030-9DE92B2DC47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40265CF8-61BF-6AE0-9590-AE443D9C10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6157DC1A-78CF-3D13-B7A2-381EEFA4471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25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209B56D5-AA22-4DD0-6D40-F6B1CC17E5C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918801"/>
            <a:ext cx="8137525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4113291-3A60-BD07-046E-928542FF0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8125258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1D0E8B-DBAC-CA06-BC30-2520A10F5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1253EC4-FAD6-8254-7AB0-EEE84F589E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F9CFE6-5DBD-271E-8DAA-2FEBD16007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854B410-B761-70CF-C8F3-10F3310DA3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073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A52BDB-2D0B-DC88-4965-614BED4D6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1199B1F-283B-E3AC-90E0-993E00971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2" y="1382400"/>
            <a:ext cx="8125258" cy="349250"/>
          </a:xfrm>
        </p:spPr>
        <p:txBody>
          <a:bodyPr anchor="ctr"/>
          <a:lstStyle>
            <a:lvl1pPr marL="0" indent="0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144000" indent="0">
              <a:buNone/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 marL="324000" indent="0">
              <a:buNone/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 marL="48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 marL="666000" indent="0"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F2501562-7CD4-4C12-C944-E43FA9DEF78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1918801"/>
            <a:ext cx="4897438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5EEC4CD5-A7F0-144C-E7B6-FF53F46A4A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96000" y="1918801"/>
            <a:ext cx="4897438" cy="42661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8F528599-505E-452F-05B2-4B53A08FCA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C2BC858-9B88-6067-73A2-E32837F1F2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C780EA4-D33D-8C80-B816-23E9187BC40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731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8F7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0764F1-787B-954C-7829-79F8C8231FE5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33579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0764F1-787B-954C-7829-79F8C8231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400"/>
            <a:ext cx="8136000" cy="66308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18800"/>
            <a:ext cx="10515600" cy="425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8BED62-C469-57F3-7810-994623FC7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333579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95" imgH="394" progId="TCLayout.ActiveDocument.1">
                  <p:embed/>
                </p:oleObj>
              </mc:Choice>
              <mc:Fallback>
                <p:oleObj name="think-cell Slide" r:id="rId28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8BED62-C469-57F3-7810-994623FC7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objekt 7">
            <a:extLst>
              <a:ext uri="{FF2B5EF4-FFF2-40B4-BE49-F238E27FC236}">
                <a16:creationId xmlns:a16="http://schemas.microsoft.com/office/drawing/2014/main" id="{B7AD4D69-D2C1-FA12-590C-BE67B105A64A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rcRect/>
          <a:stretch/>
        </p:blipFill>
        <p:spPr>
          <a:xfrm>
            <a:off x="11266854" y="6510416"/>
            <a:ext cx="694546" cy="191599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3121B996-2232-B2AF-21BE-A27D35B333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02277" y="6429130"/>
            <a:ext cx="10287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6E7FEF14-24DB-4750-B78A-0717A868612B}" type="datetime1">
              <a:rPr lang="en-GB" smtClean="0"/>
              <a:pPr/>
              <a:t>22/04/2024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067C5E-D880-DFAA-8A8E-E215DBD434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8152" y="6429130"/>
            <a:ext cx="41148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265DF60-4E0F-7B49-6C97-530BF1B836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1" y="6429130"/>
            <a:ext cx="5969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5" name="Bildobjekt 4" descr="En bild som visar krona, juvelhuvudbonad, kronjuveler, tillbehör&#10;&#10;Automatiskt genererad beskrivning">
            <a:extLst>
              <a:ext uri="{FF2B5EF4-FFF2-40B4-BE49-F238E27FC236}">
                <a16:creationId xmlns:a16="http://schemas.microsoft.com/office/drawing/2014/main" id="{B61BA74D-9204-1723-7DA9-78C83E4EA677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4" y="6049659"/>
            <a:ext cx="626400" cy="62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22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92" r:id="rId4"/>
    <p:sldLayoutId id="2147483674" r:id="rId5"/>
    <p:sldLayoutId id="2147483689" r:id="rId6"/>
    <p:sldLayoutId id="2147483675" r:id="rId7"/>
    <p:sldLayoutId id="2147483676" r:id="rId8"/>
    <p:sldLayoutId id="2147483677" r:id="rId9"/>
    <p:sldLayoutId id="2147483678" r:id="rId10"/>
    <p:sldLayoutId id="2147483680" r:id="rId11"/>
    <p:sldLayoutId id="2147483681" r:id="rId12"/>
    <p:sldLayoutId id="2147483679" r:id="rId13"/>
    <p:sldLayoutId id="2147483691" r:id="rId14"/>
    <p:sldLayoutId id="2147483684" r:id="rId15"/>
    <p:sldLayoutId id="2147483685" r:id="rId16"/>
    <p:sldLayoutId id="2147483683" r:id="rId17"/>
    <p:sldLayoutId id="2147483682" r:id="rId18"/>
    <p:sldLayoutId id="2147483686" r:id="rId19"/>
    <p:sldLayoutId id="2147483687" r:id="rId20"/>
    <p:sldLayoutId id="2147483693" r:id="rId21"/>
    <p:sldLayoutId id="2147483688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24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04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666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846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2" orient="horz" pos="368" userDrawn="1">
          <p15:clr>
            <a:srgbClr val="F26B43"/>
          </p15:clr>
        </p15:guide>
        <p15:guide id="13" orient="horz" pos="815" userDrawn="1">
          <p15:clr>
            <a:srgbClr val="F26B43"/>
          </p15:clr>
        </p15:guide>
        <p15:guide id="14" orient="horz" pos="1092" userDrawn="1">
          <p15:clr>
            <a:srgbClr val="F26B43"/>
          </p15:clr>
        </p15:guide>
        <p15:guide id="15" orient="horz" pos="4049" userDrawn="1">
          <p15:clr>
            <a:srgbClr val="F26B43"/>
          </p15:clr>
        </p15:guide>
        <p15:guide id="16" orient="horz" pos="3896" userDrawn="1">
          <p15:clr>
            <a:srgbClr val="F26B43"/>
          </p15:clr>
        </p15:guide>
        <p15:guide id="17" orient="horz" pos="4166" userDrawn="1">
          <p15:clr>
            <a:srgbClr val="F26B43"/>
          </p15:clr>
        </p15:guide>
        <p15:guide id="18" pos="7162" userDrawn="1">
          <p15:clr>
            <a:srgbClr val="F26B43"/>
          </p15:clr>
        </p15:guide>
        <p15:guide id="19" orient="horz" pos="869" userDrawn="1">
          <p15:clr>
            <a:srgbClr val="F26B43"/>
          </p15:clr>
        </p15:guide>
        <p15:guide id="20" orient="horz" pos="12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916933"/>
            <a:ext cx="8137525" cy="42600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0764F1-787B-954C-7829-79F8C8231FE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0764F1-787B-954C-7829-79F8C8231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7123"/>
            <a:ext cx="8137525" cy="663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449B9F-C60B-41BB-9FD2-7E837549D9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02277" y="6429130"/>
            <a:ext cx="10287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7FEF14-24DB-4750-B78A-0717A868612B}" type="datetime1">
              <a:rPr lang="en-GB" smtClean="0"/>
              <a:t>22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81CD04-F2C3-45A6-B114-6A8F1C9A36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98152" y="6429130"/>
            <a:ext cx="41148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462ED6-F99D-471D-B591-4BDE93277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1" y="6429130"/>
            <a:ext cx="596900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F5467F-CA83-4951-87CD-A29B72857444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8BED62-C469-57F3-7810-994623FC7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8BED62-C469-57F3-7810-994623FC7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7">
            <a:extLst>
              <a:ext uri="{FF2B5EF4-FFF2-40B4-BE49-F238E27FC236}">
                <a16:creationId xmlns:a16="http://schemas.microsoft.com/office/drawing/2014/main" id="{B92FFA92-B1B5-2BD3-B268-DFFA7E1CE2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-48073"/>
          <a:stretch/>
        </p:blipFill>
        <p:spPr>
          <a:xfrm>
            <a:off x="11247804" y="6383547"/>
            <a:ext cx="694546" cy="28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222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324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504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666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846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2160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91" userDrawn="1">
          <p15:clr>
            <a:srgbClr val="F26B43"/>
          </p15:clr>
        </p15:guide>
        <p15:guide id="13" orient="horz" pos="1089" userDrawn="1">
          <p15:clr>
            <a:srgbClr val="F26B43"/>
          </p15:clr>
        </p15:guide>
        <p15:guide id="15" orient="horz" pos="4042" userDrawn="1">
          <p15:clr>
            <a:srgbClr val="F26B43"/>
          </p15:clr>
        </p15:guide>
        <p15:guide id="16" orient="horz" pos="3896">
          <p15:clr>
            <a:srgbClr val="F26B43"/>
          </p15:clr>
        </p15:guide>
        <p15:guide id="17" orient="horz" pos="4160" userDrawn="1">
          <p15:clr>
            <a:srgbClr val="F26B43"/>
          </p15:clr>
        </p15:guide>
        <p15:guide id="18" pos="7162">
          <p15:clr>
            <a:srgbClr val="F26B43"/>
          </p15:clr>
        </p15:guide>
        <p15:guide id="19" orient="horz" pos="872" userDrawn="1">
          <p15:clr>
            <a:srgbClr val="F26B43"/>
          </p15:clr>
        </p15:guide>
        <p15:guide id="20" orient="horz" pos="1208" userDrawn="1">
          <p15:clr>
            <a:srgbClr val="F26B43"/>
          </p15:clr>
        </p15:guide>
        <p15:guide id="21" pos="528" userDrawn="1">
          <p15:clr>
            <a:srgbClr val="F26B43"/>
          </p15:clr>
        </p15:guide>
        <p15:guide id="22" pos="4067">
          <p15:clr>
            <a:srgbClr val="F26B43"/>
          </p15:clr>
        </p15:guide>
        <p15:guide id="23" pos="3613">
          <p15:clr>
            <a:srgbClr val="F26B43"/>
          </p15:clr>
        </p15:guide>
        <p15:guide id="24" pos="5654">
          <p15:clr>
            <a:srgbClr val="F26B43"/>
          </p15:clr>
        </p15:guide>
        <p15:guide id="25" orient="horz" pos="82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coor-prod.mashie.com/matilda-x/orders" TargetMode="Externa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4000"/>
            <a:lum/>
          </a:blip>
          <a:srcRect/>
          <a:stretch>
            <a:fillRect t="-69000" b="-6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5E0B0F36-AE48-5FBF-BB91-39D2ED61D2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0394" y="1748230"/>
            <a:ext cx="7181850" cy="3724275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sv-SE" sz="1000" err="1">
              <a:solidFill>
                <a:schemeClr val="tx2"/>
              </a:solidFill>
            </a:endParaRPr>
          </a:p>
        </p:txBody>
      </p:sp>
      <p:pic>
        <p:nvPicPr>
          <p:cNvPr id="3" name="Bildobjekt 2" descr="En bild som visar krona, juvelhuvudbonad, kronjuveler, tillbehör&#10;&#10;Automatiskt genererad beskrivning">
            <a:extLst>
              <a:ext uri="{FF2B5EF4-FFF2-40B4-BE49-F238E27FC236}">
                <a16:creationId xmlns:a16="http://schemas.microsoft.com/office/drawing/2014/main" id="{A8B46A22-0792-98FB-9FB8-309448B599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7202" y="5439561"/>
            <a:ext cx="1418439" cy="1418439"/>
          </a:xfrm>
          <a:prstGeom prst="rect">
            <a:avLst/>
          </a:prstGeom>
        </p:spPr>
      </p:pic>
      <p:pic>
        <p:nvPicPr>
          <p:cNvPr id="5" name="Bild 4">
            <a:extLst>
              <a:ext uri="{FF2B5EF4-FFF2-40B4-BE49-F238E27FC236}">
                <a16:creationId xmlns:a16="http://schemas.microsoft.com/office/drawing/2014/main" id="{BD15E473-E85F-F607-5205-DEA2717E5F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68000" y="5472505"/>
            <a:ext cx="1352550" cy="135255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212B00C6-A7C0-A8B2-4A16-3D2ACC5F7A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852" y="895940"/>
            <a:ext cx="9144000" cy="2840037"/>
          </a:xfrm>
        </p:spPr>
        <p:txBody>
          <a:bodyPr/>
          <a:lstStyle/>
          <a:p>
            <a:r>
              <a:rPr lang="sv-SE">
                <a:solidFill>
                  <a:srgbClr val="12A3D9"/>
                </a:solidFill>
              </a:rPr>
              <a:t>Uppstartsmöte</a:t>
            </a:r>
            <a:br>
              <a:rPr lang="sv-SE">
                <a:solidFill>
                  <a:srgbClr val="12A3D9"/>
                </a:solidFill>
              </a:rPr>
            </a:br>
            <a:endParaRPr lang="sv-SE">
              <a:solidFill>
                <a:srgbClr val="12A3D9"/>
              </a:solidFill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59FC0E91-438E-DA88-54E5-CAF7077735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7475" y="3914352"/>
            <a:ext cx="6888479" cy="116927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sv-SE">
                <a:solidFill>
                  <a:srgbClr val="12A3D9"/>
                </a:solidFill>
              </a:rPr>
              <a:t>Digital måltidsbeställning på </a:t>
            </a:r>
            <a:br>
              <a:rPr lang="sv-SE"/>
            </a:br>
            <a:r>
              <a:rPr lang="sv-SE">
                <a:solidFill>
                  <a:srgbClr val="12A3D9"/>
                </a:solidFill>
              </a:rPr>
              <a:t>Karolinska Universitetssjukhuset i Solna</a:t>
            </a:r>
          </a:p>
          <a:p>
            <a:endParaRPr lang="sv-SE" sz="1600"/>
          </a:p>
        </p:txBody>
      </p:sp>
    </p:spTree>
    <p:extLst>
      <p:ext uri="{BB962C8B-B14F-4D97-AF65-F5344CB8AC3E}">
        <p14:creationId xmlns:p14="http://schemas.microsoft.com/office/powerpoint/2010/main" val="378863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4000"/>
            <a:lum/>
          </a:blip>
          <a:srcRect/>
          <a:stretch>
            <a:fillRect t="-69000" b="-6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sidfot 19">
            <a:extLst>
              <a:ext uri="{FF2B5EF4-FFF2-40B4-BE49-F238E27FC236}">
                <a16:creationId xmlns:a16="http://schemas.microsoft.com/office/drawing/2014/main" id="{CB96A6BB-4738-D6CD-8A86-E7E6EE2B86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1" name="Platshållare för datum 20">
            <a:extLst>
              <a:ext uri="{FF2B5EF4-FFF2-40B4-BE49-F238E27FC236}">
                <a16:creationId xmlns:a16="http://schemas.microsoft.com/office/drawing/2014/main" id="{EEEBA832-EB02-AE90-605A-D4E7D171D8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7FEF14-24DB-4750-B78A-0717A868612B}" type="datetime1">
              <a:rPr lang="sv-SE" smtClean="0"/>
              <a:t>2024-04-22</a:t>
            </a:fld>
            <a:endParaRPr lang="sv-SE"/>
          </a:p>
        </p:txBody>
      </p:sp>
      <p:sp>
        <p:nvSpPr>
          <p:cNvPr id="22" name="Platshållare för bildnummer 21">
            <a:extLst>
              <a:ext uri="{FF2B5EF4-FFF2-40B4-BE49-F238E27FC236}">
                <a16:creationId xmlns:a16="http://schemas.microsoft.com/office/drawing/2014/main" id="{93ECB1A6-32ED-1DCF-4D3E-BB691E076E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0F5467F-CA83-4951-87CD-A29B72857444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35FDA2C9-76BE-9C19-7804-3008BF1CF5B6}"/>
              </a:ext>
            </a:extLst>
          </p:cNvPr>
          <p:cNvSpPr/>
          <p:nvPr/>
        </p:nvSpPr>
        <p:spPr>
          <a:xfrm>
            <a:off x="621689" y="673099"/>
            <a:ext cx="8467725" cy="567055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sv-SE" sz="1000" err="1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536F9E-EF2B-6BA6-1E66-86D2952CAC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/>
              <a:t>“Rätt mat på rätt tid till rätt patient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58068D-E6BC-747F-0DC4-547C018AF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rgbClr val="12A3D9"/>
                </a:solidFill>
              </a:rPr>
              <a:t>Agenda</a:t>
            </a:r>
          </a:p>
        </p:txBody>
      </p:sp>
      <p:sp>
        <p:nvSpPr>
          <p:cNvPr id="10" name="Platshållare för innehåll 9">
            <a:extLst>
              <a:ext uri="{FF2B5EF4-FFF2-40B4-BE49-F238E27FC236}">
                <a16:creationId xmlns:a16="http://schemas.microsoft.com/office/drawing/2014/main" id="{49F91C08-E899-8726-30FC-CBAD0EE64F8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sv-SE">
                <a:cs typeface="Segoe UI"/>
              </a:rPr>
              <a:t>Kort information om projektet</a:t>
            </a:r>
            <a:endParaRPr lang="sv-SE"/>
          </a:p>
          <a:p>
            <a:pPr marL="179705" indent="-179705"/>
            <a:r>
              <a:rPr lang="sv-SE" b="1"/>
              <a:t>Utse ett par </a:t>
            </a:r>
            <a:r>
              <a:rPr lang="sv-SE" b="1" err="1"/>
              <a:t>superusers</a:t>
            </a:r>
            <a:r>
              <a:rPr lang="sv-SE" b="1"/>
              <a:t> (ambassadörer) per avdelning</a:t>
            </a:r>
            <a:endParaRPr lang="sv-SE" b="1">
              <a:cs typeface="Segoe UI"/>
            </a:endParaRPr>
          </a:p>
          <a:p>
            <a:pPr marL="179705" indent="-179705"/>
            <a:r>
              <a:rPr lang="sv-SE" b="1">
                <a:cs typeface="Segoe UI"/>
              </a:rPr>
              <a:t>Bestämma var de surfplattorna ska ”bo” och vem som ska ansvara för laddning</a:t>
            </a:r>
          </a:p>
          <a:p>
            <a:pPr marL="179705" indent="-179705"/>
            <a:r>
              <a:rPr lang="sv-SE" b="1">
                <a:cs typeface="Segoe UI"/>
              </a:rPr>
              <a:t>Ipad-skal</a:t>
            </a:r>
          </a:p>
          <a:p>
            <a:pPr marL="179705" indent="-179705"/>
            <a:r>
              <a:rPr lang="sv-SE" b="1">
                <a:cs typeface="Segoe UI"/>
              </a:rPr>
              <a:t>Reflektioner</a:t>
            </a:r>
          </a:p>
          <a:p>
            <a:pPr marL="179705" indent="-179705"/>
            <a:r>
              <a:rPr lang="sv-SE" b="1">
                <a:cs typeface="Segoe UI"/>
              </a:rPr>
              <a:t>Nästa steg, planera in fler möten, utbildning av </a:t>
            </a:r>
            <a:r>
              <a:rPr lang="sv-SE" b="1" err="1">
                <a:cs typeface="Segoe UI"/>
              </a:rPr>
              <a:t>superusers</a:t>
            </a:r>
            <a:endParaRPr lang="sv-SE" b="1">
              <a:cs typeface="Segoe UI"/>
            </a:endParaRPr>
          </a:p>
          <a:p>
            <a:pPr marL="179705" indent="-179705"/>
            <a:r>
              <a:rPr lang="sv-SE">
                <a:cs typeface="Segoe UI"/>
              </a:rPr>
              <a:t>Ni får känna och klämma på surfplattan/systemet</a:t>
            </a:r>
          </a:p>
          <a:p>
            <a:pPr marL="0" indent="0">
              <a:buNone/>
            </a:pPr>
            <a:endParaRPr lang="sv-SE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00452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4000"/>
            <a:lum/>
          </a:blip>
          <a:srcRect/>
          <a:stretch>
            <a:fillRect t="-69000" b="-6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sidfot 19">
            <a:extLst>
              <a:ext uri="{FF2B5EF4-FFF2-40B4-BE49-F238E27FC236}">
                <a16:creationId xmlns:a16="http://schemas.microsoft.com/office/drawing/2014/main" id="{CB96A6BB-4738-D6CD-8A86-E7E6EE2B86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1" name="Platshållare för datum 20">
            <a:extLst>
              <a:ext uri="{FF2B5EF4-FFF2-40B4-BE49-F238E27FC236}">
                <a16:creationId xmlns:a16="http://schemas.microsoft.com/office/drawing/2014/main" id="{EEEBA832-EB02-AE90-605A-D4E7D171D8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7FEF14-24DB-4750-B78A-0717A868612B}" type="datetime1">
              <a:rPr lang="sv-SE" smtClean="0"/>
              <a:t>2024-04-22</a:t>
            </a:fld>
            <a:endParaRPr lang="sv-SE"/>
          </a:p>
        </p:txBody>
      </p:sp>
      <p:sp>
        <p:nvSpPr>
          <p:cNvPr id="22" name="Platshållare för bildnummer 21">
            <a:extLst>
              <a:ext uri="{FF2B5EF4-FFF2-40B4-BE49-F238E27FC236}">
                <a16:creationId xmlns:a16="http://schemas.microsoft.com/office/drawing/2014/main" id="{93ECB1A6-32ED-1DCF-4D3E-BB691E076E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0F5467F-CA83-4951-87CD-A29B72857444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4F0D13DA-114C-A567-004E-E49A4C0335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9211" y="538385"/>
            <a:ext cx="8563239" cy="4937215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sv-SE" sz="1000" err="1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536F9E-EF2B-6BA6-1E66-86D2952CAC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/>
              <a:t>“Rätt mat på rätt tid till rätt patient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58068D-E6BC-747F-0DC4-547C018AF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rgbClr val="12A3D9"/>
                </a:solidFill>
              </a:rPr>
              <a:t>Varför gör vi det här?</a:t>
            </a:r>
          </a:p>
        </p:txBody>
      </p:sp>
      <p:sp>
        <p:nvSpPr>
          <p:cNvPr id="10" name="Platshållare för innehåll 9">
            <a:extLst>
              <a:ext uri="{FF2B5EF4-FFF2-40B4-BE49-F238E27FC236}">
                <a16:creationId xmlns:a16="http://schemas.microsoft.com/office/drawing/2014/main" id="{49F91C08-E899-8726-30FC-CBAD0EE64F8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sv-SE"/>
              <a:t>Säkra måltidsbeställningar</a:t>
            </a:r>
          </a:p>
          <a:p>
            <a:pPr marL="179705" indent="-179705"/>
            <a:r>
              <a:rPr lang="sv-SE"/>
              <a:t>Minska tiden för måltidbeställning på sikt</a:t>
            </a:r>
          </a:p>
          <a:p>
            <a:pPr marL="179705" indent="-179705"/>
            <a:r>
              <a:rPr lang="sv-SE">
                <a:cs typeface="Segoe UI"/>
              </a:rPr>
              <a:t>Stöd till vårdpersonalen vid måltidsbeställning</a:t>
            </a:r>
          </a:p>
          <a:p>
            <a:pPr marL="179705" indent="-179705"/>
            <a:r>
              <a:rPr lang="sv-SE"/>
              <a:t>Bättre utnyttjande av vårt måltidsutbud</a:t>
            </a:r>
          </a:p>
          <a:p>
            <a:pPr marL="179705" indent="-179705"/>
            <a:r>
              <a:rPr lang="sv-SE"/>
              <a:t>Öka chansen för patienterna att hitta "rätt" mat</a:t>
            </a:r>
          </a:p>
          <a:p>
            <a:pPr marL="179705" indent="-179705"/>
            <a:r>
              <a:rPr lang="sv-SE"/>
              <a:t>Minskat svinn</a:t>
            </a:r>
          </a:p>
          <a:p>
            <a:pPr marL="179705" indent="-179705"/>
            <a:r>
              <a:rPr lang="sv-SE"/>
              <a:t>Digitaliseringen ger möjligheter för framtida digital mat- och vätskeregistrering</a:t>
            </a:r>
          </a:p>
          <a:p>
            <a:pPr marL="179705" indent="-179705"/>
            <a:endParaRPr lang="sv-SE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22936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4000"/>
            <a:lum/>
          </a:blip>
          <a:srcRect/>
          <a:stretch>
            <a:fillRect t="-69000" b="-6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sidfot 19">
            <a:extLst>
              <a:ext uri="{FF2B5EF4-FFF2-40B4-BE49-F238E27FC236}">
                <a16:creationId xmlns:a16="http://schemas.microsoft.com/office/drawing/2014/main" id="{CB96A6BB-4738-D6CD-8A86-E7E6EE2B86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1" name="Platshållare för datum 20">
            <a:extLst>
              <a:ext uri="{FF2B5EF4-FFF2-40B4-BE49-F238E27FC236}">
                <a16:creationId xmlns:a16="http://schemas.microsoft.com/office/drawing/2014/main" id="{EEEBA832-EB02-AE90-605A-D4E7D171D82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7FEF14-24DB-4750-B78A-0717A868612B}" type="datetime1">
              <a:rPr lang="sv-SE" smtClean="0"/>
              <a:t>2024-04-22</a:t>
            </a:fld>
            <a:endParaRPr lang="sv-SE"/>
          </a:p>
        </p:txBody>
      </p:sp>
      <p:sp>
        <p:nvSpPr>
          <p:cNvPr id="22" name="Platshållare för bildnummer 21">
            <a:extLst>
              <a:ext uri="{FF2B5EF4-FFF2-40B4-BE49-F238E27FC236}">
                <a16:creationId xmlns:a16="http://schemas.microsoft.com/office/drawing/2014/main" id="{93ECB1A6-32ED-1DCF-4D3E-BB691E076E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0F5467F-CA83-4951-87CD-A29B72857444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35FDA2C9-76BE-9C19-7804-3008BF1CF5B6}"/>
              </a:ext>
            </a:extLst>
          </p:cNvPr>
          <p:cNvSpPr/>
          <p:nvPr/>
        </p:nvSpPr>
        <p:spPr>
          <a:xfrm>
            <a:off x="621689" y="673099"/>
            <a:ext cx="8467725" cy="480250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sv-SE" sz="1000" err="1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536F9E-EF2B-6BA6-1E66-86D2952CAC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/>
              <a:t>“Rätt mat på rätt tid till rätt patient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58068D-E6BC-747F-0DC4-547C018AF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solidFill>
                  <a:srgbClr val="12A3D9"/>
                </a:solidFill>
              </a:rPr>
              <a:t>Vad innebär det?</a:t>
            </a:r>
          </a:p>
        </p:txBody>
      </p:sp>
      <p:sp>
        <p:nvSpPr>
          <p:cNvPr id="10" name="Platshållare för innehåll 9">
            <a:extLst>
              <a:ext uri="{FF2B5EF4-FFF2-40B4-BE49-F238E27FC236}">
                <a16:creationId xmlns:a16="http://schemas.microsoft.com/office/drawing/2014/main" id="{49F91C08-E899-8726-30FC-CBAD0EE64F8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918801"/>
            <a:ext cx="8125802" cy="3550993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 fontAlgn="base"/>
            <a:r>
              <a:rPr lang="sv-SE" sz="1800" b="0" i="0" u="none" strike="noStrike">
                <a:solidFill>
                  <a:srgbClr val="000000"/>
                </a:solidFill>
                <a:effectLst/>
              </a:rPr>
              <a:t>Patientmenyn blir även digital</a:t>
            </a:r>
            <a:r>
              <a:rPr lang="sv-SE" sz="1800" b="0" i="0">
                <a:solidFill>
                  <a:srgbClr val="000000"/>
                </a:solidFill>
                <a:effectLst/>
              </a:rPr>
              <a:t>​</a:t>
            </a:r>
            <a:r>
              <a:rPr lang="sv-SE">
                <a:solidFill>
                  <a:srgbClr val="000000"/>
                </a:solidFill>
              </a:rPr>
              <a:t> (pappersmenyer finns som vanligt på patientens sal)</a:t>
            </a:r>
            <a:endParaRPr lang="sv-SE" b="0" i="0">
              <a:solidFill>
                <a:srgbClr val="000000"/>
              </a:solidFill>
              <a:effectLst/>
              <a:cs typeface="Arial" panose="020B0604020202020204" pitchFamily="34" charset="0"/>
            </a:endParaRPr>
          </a:p>
          <a:p>
            <a:pPr marL="179705" indent="-179705" fontAlgn="base"/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Beställning av frukost, </a:t>
            </a:r>
            <a:r>
              <a:rPr lang="sv-SE">
                <a:solidFill>
                  <a:srgbClr val="000000"/>
                </a:solidFill>
                <a:cs typeface="Calibri Light"/>
              </a:rPr>
              <a:t>lunch</a:t>
            </a:r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 och </a:t>
            </a:r>
            <a:r>
              <a:rPr lang="sv-SE">
                <a:solidFill>
                  <a:srgbClr val="000000"/>
                </a:solidFill>
                <a:cs typeface="Calibri Light"/>
              </a:rPr>
              <a:t>middag från</a:t>
            </a:r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 avdelningsköket digitaliseras</a:t>
            </a:r>
            <a:r>
              <a:rPr lang="sv-SE" sz="1800" b="0" i="0">
                <a:solidFill>
                  <a:srgbClr val="000000"/>
                </a:solidFill>
                <a:effectLst/>
                <a:cs typeface="Calibri Light"/>
              </a:rPr>
              <a:t>​</a:t>
            </a:r>
            <a:endParaRPr lang="sv-SE" b="0" i="0">
              <a:solidFill>
                <a:srgbClr val="000000"/>
              </a:solidFill>
              <a:effectLst/>
              <a:cs typeface="Calibri Light"/>
            </a:endParaRPr>
          </a:p>
          <a:p>
            <a:pPr marL="179705" indent="-179705" fontAlgn="base"/>
            <a:r>
              <a:rPr lang="sv-SE">
                <a:solidFill>
                  <a:srgbClr val="000000"/>
                </a:solidFill>
                <a:cs typeface="Calibri Light"/>
              </a:rPr>
              <a:t>Vårdpersonalen kommer att använda surfplattor för att beställa mat till patienterna</a:t>
            </a:r>
          </a:p>
          <a:p>
            <a:pPr marL="179705" indent="-179705" fontAlgn="base"/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Måltidsvärden i avdelningsköket bereder och dukar måltider utifrån </a:t>
            </a:r>
            <a:r>
              <a:rPr lang="sv-SE">
                <a:solidFill>
                  <a:srgbClr val="000000"/>
                </a:solidFill>
                <a:cs typeface="Calibri Light"/>
              </a:rPr>
              <a:t>ett kvitto som</a:t>
            </a:r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 hen skriver</a:t>
            </a:r>
            <a:r>
              <a:rPr lang="sv-SE">
                <a:solidFill>
                  <a:srgbClr val="000000"/>
                </a:solidFill>
                <a:cs typeface="Calibri Light"/>
              </a:rPr>
              <a:t> ut från</a:t>
            </a:r>
            <a:r>
              <a:rPr lang="sv-SE" sz="1800" b="0" i="0" u="none" strike="noStrike">
                <a:solidFill>
                  <a:srgbClr val="000000"/>
                </a:solidFill>
                <a:effectLst/>
                <a:cs typeface="Calibri Light"/>
              </a:rPr>
              <a:t> sin dator i köket</a:t>
            </a:r>
            <a:endParaRPr lang="sv-SE" b="0" i="0">
              <a:solidFill>
                <a:srgbClr val="000000"/>
              </a:solidFill>
              <a:effectLst/>
              <a:cs typeface="Calibri Light"/>
            </a:endParaRPr>
          </a:p>
          <a:p>
            <a:pPr marL="179705" indent="-179705" fontAlgn="base"/>
            <a:r>
              <a:rPr lang="sv-SE">
                <a:solidFill>
                  <a:srgbClr val="000000"/>
                </a:solidFill>
                <a:cs typeface="Calibri Light"/>
              </a:rPr>
              <a:t>På sikt kanske vissa patienter kommer att kunna beställa mat via sina mobiler</a:t>
            </a:r>
          </a:p>
          <a:p>
            <a:pPr marL="179705" indent="-179705"/>
            <a:endParaRPr lang="sv-SE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39852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3A08890-995E-476C-9B76-ADD2DF55EC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556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3A08890-995E-476C-9B76-ADD2DF55EC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83B1513E-0FB7-4834-B1A1-AFE8E2689B1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40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264368" y="98367"/>
            <a:ext cx="7886700" cy="470898"/>
          </a:xfrm>
        </p:spPr>
        <p:txBody>
          <a:bodyPr/>
          <a:lstStyle/>
          <a:p>
            <a:r>
              <a:rPr lang="sv-SE">
                <a:solidFill>
                  <a:srgbClr val="12A3D9"/>
                </a:solidFill>
              </a:rPr>
              <a:t>Vägen framåt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1588" y="1996990"/>
            <a:ext cx="8609292" cy="4869031"/>
            <a:chOff x="0" y="1371600"/>
            <a:chExt cx="8661400" cy="5527676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0" y="1371600"/>
              <a:ext cx="8661400" cy="5527675"/>
            </a:xfrm>
            <a:custGeom>
              <a:avLst/>
              <a:gdLst>
                <a:gd name="T0" fmla="*/ 3413 w 3414"/>
                <a:gd name="T1" fmla="*/ 2170 h 2178"/>
                <a:gd name="T2" fmla="*/ 1832 w 3414"/>
                <a:gd name="T3" fmla="*/ 1121 h 2178"/>
                <a:gd name="T4" fmla="*/ 1340 w 3414"/>
                <a:gd name="T5" fmla="*/ 1124 h 2178"/>
                <a:gd name="T6" fmla="*/ 746 w 3414"/>
                <a:gd name="T7" fmla="*/ 1045 h 2178"/>
                <a:gd name="T8" fmla="*/ 708 w 3414"/>
                <a:gd name="T9" fmla="*/ 983 h 2178"/>
                <a:gd name="T10" fmla="*/ 722 w 3414"/>
                <a:gd name="T11" fmla="*/ 913 h 2178"/>
                <a:gd name="T12" fmla="*/ 765 w 3414"/>
                <a:gd name="T13" fmla="*/ 873 h 2178"/>
                <a:gd name="T14" fmla="*/ 833 w 3414"/>
                <a:gd name="T15" fmla="*/ 837 h 2178"/>
                <a:gd name="T16" fmla="*/ 1150 w 3414"/>
                <a:gd name="T17" fmla="*/ 745 h 2178"/>
                <a:gd name="T18" fmla="*/ 1521 w 3414"/>
                <a:gd name="T19" fmla="*/ 516 h 2178"/>
                <a:gd name="T20" fmla="*/ 1494 w 3414"/>
                <a:gd name="T21" fmla="*/ 320 h 2178"/>
                <a:gd name="T22" fmla="*/ 1110 w 3414"/>
                <a:gd name="T23" fmla="*/ 129 h 2178"/>
                <a:gd name="T24" fmla="*/ 597 w 3414"/>
                <a:gd name="T25" fmla="*/ 43 h 2178"/>
                <a:gd name="T26" fmla="*/ 0 w 3414"/>
                <a:gd name="T27" fmla="*/ 0 h 2178"/>
                <a:gd name="T28" fmla="*/ 0 w 3414"/>
                <a:gd name="T29" fmla="*/ 209 h 2178"/>
                <a:gd name="T30" fmla="*/ 207 w 3414"/>
                <a:gd name="T31" fmla="*/ 220 h 2178"/>
                <a:gd name="T32" fmla="*/ 292 w 3414"/>
                <a:gd name="T33" fmla="*/ 226 h 2178"/>
                <a:gd name="T34" fmla="*/ 567 w 3414"/>
                <a:gd name="T35" fmla="*/ 241 h 2178"/>
                <a:gd name="T36" fmla="*/ 684 w 3414"/>
                <a:gd name="T37" fmla="*/ 249 h 2178"/>
                <a:gd name="T38" fmla="*/ 1013 w 3414"/>
                <a:gd name="T39" fmla="*/ 394 h 2178"/>
                <a:gd name="T40" fmla="*/ 904 w 3414"/>
                <a:gd name="T41" fmla="*/ 523 h 2178"/>
                <a:gd name="T42" fmla="*/ 817 w 3414"/>
                <a:gd name="T43" fmla="*/ 554 h 2178"/>
                <a:gd name="T44" fmla="*/ 117 w 3414"/>
                <a:gd name="T45" fmla="*/ 858 h 2178"/>
                <a:gd name="T46" fmla="*/ 72 w 3414"/>
                <a:gd name="T47" fmla="*/ 920 h 2178"/>
                <a:gd name="T48" fmla="*/ 47 w 3414"/>
                <a:gd name="T49" fmla="*/ 990 h 2178"/>
                <a:gd name="T50" fmla="*/ 52 w 3414"/>
                <a:gd name="T51" fmla="*/ 1121 h 2178"/>
                <a:gd name="T52" fmla="*/ 849 w 3414"/>
                <a:gd name="T53" fmla="*/ 1485 h 2178"/>
                <a:gd name="T54" fmla="*/ 1613 w 3414"/>
                <a:gd name="T55" fmla="*/ 1541 h 2178"/>
                <a:gd name="T56" fmla="*/ 2144 w 3414"/>
                <a:gd name="T57" fmla="*/ 1848 h 2178"/>
                <a:gd name="T58" fmla="*/ 2125 w 3414"/>
                <a:gd name="T59" fmla="*/ 2178 h 2178"/>
                <a:gd name="T60" fmla="*/ 3414 w 3414"/>
                <a:gd name="T61" fmla="*/ 2178 h 2178"/>
                <a:gd name="T62" fmla="*/ 3413 w 3414"/>
                <a:gd name="T63" fmla="*/ 2170 h 2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14" h="2178">
                  <a:moveTo>
                    <a:pt x="3413" y="2170"/>
                  </a:moveTo>
                  <a:cubicBezTo>
                    <a:pt x="3269" y="1591"/>
                    <a:pt x="2632" y="1151"/>
                    <a:pt x="1832" y="1121"/>
                  </a:cubicBezTo>
                  <a:cubicBezTo>
                    <a:pt x="1670" y="1115"/>
                    <a:pt x="1503" y="1126"/>
                    <a:pt x="1340" y="1124"/>
                  </a:cubicBezTo>
                  <a:cubicBezTo>
                    <a:pt x="1182" y="1123"/>
                    <a:pt x="859" y="1139"/>
                    <a:pt x="746" y="1045"/>
                  </a:cubicBezTo>
                  <a:cubicBezTo>
                    <a:pt x="726" y="1028"/>
                    <a:pt x="713" y="1006"/>
                    <a:pt x="708" y="983"/>
                  </a:cubicBezTo>
                  <a:cubicBezTo>
                    <a:pt x="704" y="960"/>
                    <a:pt x="708" y="935"/>
                    <a:pt x="722" y="913"/>
                  </a:cubicBezTo>
                  <a:cubicBezTo>
                    <a:pt x="731" y="899"/>
                    <a:pt x="746" y="885"/>
                    <a:pt x="765" y="873"/>
                  </a:cubicBezTo>
                  <a:cubicBezTo>
                    <a:pt x="784" y="860"/>
                    <a:pt x="807" y="848"/>
                    <a:pt x="833" y="837"/>
                  </a:cubicBezTo>
                  <a:cubicBezTo>
                    <a:pt x="934" y="793"/>
                    <a:pt x="1075" y="764"/>
                    <a:pt x="1150" y="745"/>
                  </a:cubicBezTo>
                  <a:cubicBezTo>
                    <a:pt x="1308" y="706"/>
                    <a:pt x="1471" y="645"/>
                    <a:pt x="1521" y="516"/>
                  </a:cubicBezTo>
                  <a:cubicBezTo>
                    <a:pt x="1548" y="448"/>
                    <a:pt x="1540" y="377"/>
                    <a:pt x="1494" y="320"/>
                  </a:cubicBezTo>
                  <a:cubicBezTo>
                    <a:pt x="1405" y="209"/>
                    <a:pt x="1242" y="163"/>
                    <a:pt x="1110" y="129"/>
                  </a:cubicBezTo>
                  <a:cubicBezTo>
                    <a:pt x="942" y="86"/>
                    <a:pt x="769" y="62"/>
                    <a:pt x="597" y="43"/>
                  </a:cubicBezTo>
                  <a:cubicBezTo>
                    <a:pt x="398" y="21"/>
                    <a:pt x="200" y="6"/>
                    <a:pt x="0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73" y="216"/>
                    <a:pt x="134" y="215"/>
                    <a:pt x="207" y="220"/>
                  </a:cubicBezTo>
                  <a:cubicBezTo>
                    <a:pt x="230" y="221"/>
                    <a:pt x="268" y="224"/>
                    <a:pt x="292" y="226"/>
                  </a:cubicBezTo>
                  <a:cubicBezTo>
                    <a:pt x="399" y="230"/>
                    <a:pt x="461" y="236"/>
                    <a:pt x="567" y="241"/>
                  </a:cubicBezTo>
                  <a:cubicBezTo>
                    <a:pt x="585" y="243"/>
                    <a:pt x="660" y="247"/>
                    <a:pt x="684" y="249"/>
                  </a:cubicBezTo>
                  <a:cubicBezTo>
                    <a:pt x="804" y="259"/>
                    <a:pt x="987" y="285"/>
                    <a:pt x="1013" y="394"/>
                  </a:cubicBezTo>
                  <a:cubicBezTo>
                    <a:pt x="1027" y="450"/>
                    <a:pt x="985" y="488"/>
                    <a:pt x="904" y="523"/>
                  </a:cubicBezTo>
                  <a:cubicBezTo>
                    <a:pt x="877" y="535"/>
                    <a:pt x="848" y="545"/>
                    <a:pt x="817" y="554"/>
                  </a:cubicBezTo>
                  <a:cubicBezTo>
                    <a:pt x="575" y="629"/>
                    <a:pt x="293" y="654"/>
                    <a:pt x="117" y="858"/>
                  </a:cubicBezTo>
                  <a:cubicBezTo>
                    <a:pt x="101" y="877"/>
                    <a:pt x="86" y="897"/>
                    <a:pt x="72" y="920"/>
                  </a:cubicBezTo>
                  <a:cubicBezTo>
                    <a:pt x="61" y="942"/>
                    <a:pt x="53" y="965"/>
                    <a:pt x="47" y="990"/>
                  </a:cubicBezTo>
                  <a:cubicBezTo>
                    <a:pt x="37" y="1031"/>
                    <a:pt x="38" y="1075"/>
                    <a:pt x="52" y="1121"/>
                  </a:cubicBezTo>
                  <a:cubicBezTo>
                    <a:pt x="131" y="1375"/>
                    <a:pt x="560" y="1449"/>
                    <a:pt x="849" y="1485"/>
                  </a:cubicBezTo>
                  <a:cubicBezTo>
                    <a:pt x="1101" y="1516"/>
                    <a:pt x="1361" y="1512"/>
                    <a:pt x="1613" y="1541"/>
                  </a:cubicBezTo>
                  <a:cubicBezTo>
                    <a:pt x="1884" y="1572"/>
                    <a:pt x="2086" y="1700"/>
                    <a:pt x="2144" y="1848"/>
                  </a:cubicBezTo>
                  <a:cubicBezTo>
                    <a:pt x="2185" y="1953"/>
                    <a:pt x="2172" y="2070"/>
                    <a:pt x="2125" y="2178"/>
                  </a:cubicBezTo>
                  <a:cubicBezTo>
                    <a:pt x="3414" y="2178"/>
                    <a:pt x="3414" y="2178"/>
                    <a:pt x="3414" y="2178"/>
                  </a:cubicBezTo>
                  <a:cubicBezTo>
                    <a:pt x="3414" y="2176"/>
                    <a:pt x="3413" y="2173"/>
                    <a:pt x="3413" y="2170"/>
                  </a:cubicBez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0" y="1452563"/>
              <a:ext cx="8556625" cy="5446713"/>
            </a:xfrm>
            <a:custGeom>
              <a:avLst/>
              <a:gdLst>
                <a:gd name="T0" fmla="*/ 3261 w 3373"/>
                <a:gd name="T1" fmla="*/ 1875 h 2146"/>
                <a:gd name="T2" fmla="*/ 3165 w 3373"/>
                <a:gd name="T3" fmla="*/ 1736 h 2146"/>
                <a:gd name="T4" fmla="*/ 3059 w 3373"/>
                <a:gd name="T5" fmla="*/ 1619 h 2146"/>
                <a:gd name="T6" fmla="*/ 2870 w 3373"/>
                <a:gd name="T7" fmla="*/ 1463 h 2146"/>
                <a:gd name="T8" fmla="*/ 2702 w 3373"/>
                <a:gd name="T9" fmla="*/ 1359 h 2146"/>
                <a:gd name="T10" fmla="*/ 2492 w 3373"/>
                <a:gd name="T11" fmla="*/ 1263 h 2146"/>
                <a:gd name="T12" fmla="*/ 2259 w 3373"/>
                <a:gd name="T13" fmla="*/ 1189 h 2146"/>
                <a:gd name="T14" fmla="*/ 2044 w 3373"/>
                <a:gd name="T15" fmla="*/ 1145 h 2146"/>
                <a:gd name="T16" fmla="*/ 1824 w 3373"/>
                <a:gd name="T17" fmla="*/ 1123 h 2146"/>
                <a:gd name="T18" fmla="*/ 1631 w 3373"/>
                <a:gd name="T19" fmla="*/ 1121 h 2146"/>
                <a:gd name="T20" fmla="*/ 1404 w 3373"/>
                <a:gd name="T21" fmla="*/ 1125 h 2146"/>
                <a:gd name="T22" fmla="*/ 1340 w 3373"/>
                <a:gd name="T23" fmla="*/ 1126 h 2146"/>
                <a:gd name="T24" fmla="*/ 1141 w 3373"/>
                <a:gd name="T25" fmla="*/ 1126 h 2146"/>
                <a:gd name="T26" fmla="*/ 924 w 3373"/>
                <a:gd name="T27" fmla="*/ 1113 h 2146"/>
                <a:gd name="T28" fmla="*/ 743 w 3373"/>
                <a:gd name="T29" fmla="*/ 1060 h 2146"/>
                <a:gd name="T30" fmla="*/ 709 w 3373"/>
                <a:gd name="T31" fmla="*/ 1036 h 2146"/>
                <a:gd name="T32" fmla="*/ 675 w 3373"/>
                <a:gd name="T33" fmla="*/ 884 h 2146"/>
                <a:gd name="T34" fmla="*/ 779 w 3373"/>
                <a:gd name="T35" fmla="*/ 792 h 2146"/>
                <a:gd name="T36" fmla="*/ 990 w 3373"/>
                <a:gd name="T37" fmla="*/ 718 h 2146"/>
                <a:gd name="T38" fmla="*/ 1196 w 3373"/>
                <a:gd name="T39" fmla="*/ 666 h 2146"/>
                <a:gd name="T40" fmla="*/ 1397 w 3373"/>
                <a:gd name="T41" fmla="*/ 576 h 2146"/>
                <a:gd name="T42" fmla="*/ 1482 w 3373"/>
                <a:gd name="T43" fmla="*/ 469 h 2146"/>
                <a:gd name="T44" fmla="*/ 1420 w 3373"/>
                <a:gd name="T45" fmla="*/ 262 h 2146"/>
                <a:gd name="T46" fmla="*/ 1275 w 3373"/>
                <a:gd name="T47" fmla="*/ 173 h 2146"/>
                <a:gd name="T48" fmla="*/ 1094 w 3373"/>
                <a:gd name="T49" fmla="*/ 119 h 2146"/>
                <a:gd name="T50" fmla="*/ 1008 w 3373"/>
                <a:gd name="T51" fmla="*/ 98 h 2146"/>
                <a:gd name="T52" fmla="*/ 848 w 3373"/>
                <a:gd name="T53" fmla="*/ 72 h 2146"/>
                <a:gd name="T54" fmla="*/ 629 w 3373"/>
                <a:gd name="T55" fmla="*/ 45 h 2146"/>
                <a:gd name="T56" fmla="*/ 409 w 3373"/>
                <a:gd name="T57" fmla="*/ 20 h 2146"/>
                <a:gd name="T58" fmla="*/ 188 w 3373"/>
                <a:gd name="T59" fmla="*/ 3 h 2146"/>
                <a:gd name="T60" fmla="*/ 45 w 3373"/>
                <a:gd name="T61" fmla="*/ 0 h 2146"/>
                <a:gd name="T62" fmla="*/ 62 w 3373"/>
                <a:gd name="T63" fmla="*/ 9 h 2146"/>
                <a:gd name="T64" fmla="*/ 222 w 3373"/>
                <a:gd name="T65" fmla="*/ 14 h 2146"/>
                <a:gd name="T66" fmla="*/ 443 w 3373"/>
                <a:gd name="T67" fmla="*/ 33 h 2146"/>
                <a:gd name="T68" fmla="*/ 663 w 3373"/>
                <a:gd name="T69" fmla="*/ 58 h 2146"/>
                <a:gd name="T70" fmla="*/ 881 w 3373"/>
                <a:gd name="T71" fmla="*/ 87 h 2146"/>
                <a:gd name="T72" fmla="*/ 1024 w 3373"/>
                <a:gd name="T73" fmla="*/ 111 h 2146"/>
                <a:gd name="T74" fmla="*/ 1127 w 3373"/>
                <a:gd name="T75" fmla="*/ 138 h 2146"/>
                <a:gd name="T76" fmla="*/ 1306 w 3373"/>
                <a:gd name="T77" fmla="*/ 198 h 2146"/>
                <a:gd name="T78" fmla="*/ 1462 w 3373"/>
                <a:gd name="T79" fmla="*/ 335 h 2146"/>
                <a:gd name="T80" fmla="*/ 1456 w 3373"/>
                <a:gd name="T81" fmla="*/ 492 h 2146"/>
                <a:gd name="T82" fmla="*/ 1264 w 3373"/>
                <a:gd name="T83" fmla="*/ 629 h 2146"/>
                <a:gd name="T84" fmla="*/ 1072 w 3373"/>
                <a:gd name="T85" fmla="*/ 683 h 2146"/>
                <a:gd name="T86" fmla="*/ 850 w 3373"/>
                <a:gd name="T87" fmla="*/ 745 h 2146"/>
                <a:gd name="T88" fmla="*/ 691 w 3373"/>
                <a:gd name="T89" fmla="*/ 832 h 2146"/>
                <a:gd name="T90" fmla="*/ 686 w 3373"/>
                <a:gd name="T91" fmla="*/ 1029 h 2146"/>
                <a:gd name="T92" fmla="*/ 717 w 3373"/>
                <a:gd name="T93" fmla="*/ 1057 h 2146"/>
                <a:gd name="T94" fmla="*/ 805 w 3373"/>
                <a:gd name="T95" fmla="*/ 1102 h 2146"/>
                <a:gd name="T96" fmla="*/ 1008 w 3373"/>
                <a:gd name="T97" fmla="*/ 1136 h 2146"/>
                <a:gd name="T98" fmla="*/ 1212 w 3373"/>
                <a:gd name="T99" fmla="*/ 1142 h 2146"/>
                <a:gd name="T100" fmla="*/ 1360 w 3373"/>
                <a:gd name="T101" fmla="*/ 1143 h 2146"/>
                <a:gd name="T102" fmla="*/ 1470 w 3373"/>
                <a:gd name="T103" fmla="*/ 1141 h 2146"/>
                <a:gd name="T104" fmla="*/ 1696 w 3373"/>
                <a:gd name="T105" fmla="*/ 1137 h 2146"/>
                <a:gd name="T106" fmla="*/ 1919 w 3373"/>
                <a:gd name="T107" fmla="*/ 1147 h 2146"/>
                <a:gd name="T108" fmla="*/ 2137 w 3373"/>
                <a:gd name="T109" fmla="*/ 1179 h 2146"/>
                <a:gd name="T110" fmla="*/ 2350 w 3373"/>
                <a:gd name="T111" fmla="*/ 1233 h 2146"/>
                <a:gd name="T112" fmla="*/ 2557 w 3373"/>
                <a:gd name="T113" fmla="*/ 1309 h 2146"/>
                <a:gd name="T114" fmla="*/ 2759 w 3373"/>
                <a:gd name="T115" fmla="*/ 1411 h 2146"/>
                <a:gd name="T116" fmla="*/ 2952 w 3373"/>
                <a:gd name="T117" fmla="*/ 1546 h 2146"/>
                <a:gd name="T118" fmla="*/ 3131 w 3373"/>
                <a:gd name="T119" fmla="*/ 1722 h 2146"/>
                <a:gd name="T120" fmla="*/ 3225 w 3373"/>
                <a:gd name="T121" fmla="*/ 1851 h 2146"/>
                <a:gd name="T122" fmla="*/ 3338 w 3373"/>
                <a:gd name="T123" fmla="*/ 2097 h 2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3" h="2146">
                  <a:moveTo>
                    <a:pt x="3365" y="2116"/>
                  </a:moveTo>
                  <a:cubicBezTo>
                    <a:pt x="3363" y="2109"/>
                    <a:pt x="3361" y="2102"/>
                    <a:pt x="3359" y="2095"/>
                  </a:cubicBezTo>
                  <a:cubicBezTo>
                    <a:pt x="3355" y="2083"/>
                    <a:pt x="3351" y="2070"/>
                    <a:pt x="3347" y="2058"/>
                  </a:cubicBezTo>
                  <a:cubicBezTo>
                    <a:pt x="3340" y="2041"/>
                    <a:pt x="3334" y="2023"/>
                    <a:pt x="3327" y="2006"/>
                  </a:cubicBezTo>
                  <a:cubicBezTo>
                    <a:pt x="3321" y="1993"/>
                    <a:pt x="3315" y="1980"/>
                    <a:pt x="3309" y="1967"/>
                  </a:cubicBezTo>
                  <a:cubicBezTo>
                    <a:pt x="3308" y="1964"/>
                    <a:pt x="3307" y="1961"/>
                    <a:pt x="3306" y="1959"/>
                  </a:cubicBezTo>
                  <a:cubicBezTo>
                    <a:pt x="3299" y="1944"/>
                    <a:pt x="3291" y="1930"/>
                    <a:pt x="3284" y="1915"/>
                  </a:cubicBezTo>
                  <a:cubicBezTo>
                    <a:pt x="3276" y="1902"/>
                    <a:pt x="3269" y="1888"/>
                    <a:pt x="3261" y="1875"/>
                  </a:cubicBezTo>
                  <a:cubicBezTo>
                    <a:pt x="3255" y="1865"/>
                    <a:pt x="3250" y="1855"/>
                    <a:pt x="3244" y="1846"/>
                  </a:cubicBezTo>
                  <a:cubicBezTo>
                    <a:pt x="3242" y="1843"/>
                    <a:pt x="3240" y="1840"/>
                    <a:pt x="3238" y="1837"/>
                  </a:cubicBezTo>
                  <a:cubicBezTo>
                    <a:pt x="3234" y="1830"/>
                    <a:pt x="3229" y="1824"/>
                    <a:pt x="3225" y="1817"/>
                  </a:cubicBezTo>
                  <a:cubicBezTo>
                    <a:pt x="3221" y="1812"/>
                    <a:pt x="3218" y="1807"/>
                    <a:pt x="3214" y="1801"/>
                  </a:cubicBezTo>
                  <a:cubicBezTo>
                    <a:pt x="3211" y="1797"/>
                    <a:pt x="3208" y="1793"/>
                    <a:pt x="3205" y="1789"/>
                  </a:cubicBezTo>
                  <a:cubicBezTo>
                    <a:pt x="3200" y="1782"/>
                    <a:pt x="3195" y="1775"/>
                    <a:pt x="3190" y="1768"/>
                  </a:cubicBezTo>
                  <a:cubicBezTo>
                    <a:pt x="3188" y="1766"/>
                    <a:pt x="3186" y="1763"/>
                    <a:pt x="3185" y="1761"/>
                  </a:cubicBezTo>
                  <a:cubicBezTo>
                    <a:pt x="3178" y="1753"/>
                    <a:pt x="3172" y="1744"/>
                    <a:pt x="3165" y="1736"/>
                  </a:cubicBezTo>
                  <a:cubicBezTo>
                    <a:pt x="3165" y="1735"/>
                    <a:pt x="3164" y="1735"/>
                    <a:pt x="3164" y="1734"/>
                  </a:cubicBezTo>
                  <a:cubicBezTo>
                    <a:pt x="3156" y="1724"/>
                    <a:pt x="3148" y="1715"/>
                    <a:pt x="3140" y="1706"/>
                  </a:cubicBezTo>
                  <a:cubicBezTo>
                    <a:pt x="3132" y="1696"/>
                    <a:pt x="3123" y="1686"/>
                    <a:pt x="3115" y="1677"/>
                  </a:cubicBezTo>
                  <a:cubicBezTo>
                    <a:pt x="3106" y="1667"/>
                    <a:pt x="3098" y="1658"/>
                    <a:pt x="3089" y="1649"/>
                  </a:cubicBezTo>
                  <a:cubicBezTo>
                    <a:pt x="3083" y="1643"/>
                    <a:pt x="3078" y="1638"/>
                    <a:pt x="3072" y="1632"/>
                  </a:cubicBezTo>
                  <a:cubicBezTo>
                    <a:pt x="3071" y="1631"/>
                    <a:pt x="3070" y="1630"/>
                    <a:pt x="3070" y="1630"/>
                  </a:cubicBezTo>
                  <a:cubicBezTo>
                    <a:pt x="3069" y="1629"/>
                    <a:pt x="3068" y="1628"/>
                    <a:pt x="3068" y="1628"/>
                  </a:cubicBezTo>
                  <a:cubicBezTo>
                    <a:pt x="3065" y="1625"/>
                    <a:pt x="3062" y="1622"/>
                    <a:pt x="3059" y="1619"/>
                  </a:cubicBezTo>
                  <a:cubicBezTo>
                    <a:pt x="3050" y="1610"/>
                    <a:pt x="3041" y="1602"/>
                    <a:pt x="3033" y="1594"/>
                  </a:cubicBezTo>
                  <a:cubicBezTo>
                    <a:pt x="3024" y="1586"/>
                    <a:pt x="3015" y="1578"/>
                    <a:pt x="3006" y="1570"/>
                  </a:cubicBezTo>
                  <a:cubicBezTo>
                    <a:pt x="2997" y="1562"/>
                    <a:pt x="2988" y="1554"/>
                    <a:pt x="2979" y="1547"/>
                  </a:cubicBezTo>
                  <a:cubicBezTo>
                    <a:pt x="2975" y="1543"/>
                    <a:pt x="2971" y="1539"/>
                    <a:pt x="2966" y="1535"/>
                  </a:cubicBezTo>
                  <a:cubicBezTo>
                    <a:pt x="2962" y="1532"/>
                    <a:pt x="2957" y="1528"/>
                    <a:pt x="2952" y="1524"/>
                  </a:cubicBezTo>
                  <a:cubicBezTo>
                    <a:pt x="2943" y="1517"/>
                    <a:pt x="2934" y="1510"/>
                    <a:pt x="2925" y="1503"/>
                  </a:cubicBezTo>
                  <a:cubicBezTo>
                    <a:pt x="2916" y="1496"/>
                    <a:pt x="2907" y="1489"/>
                    <a:pt x="2898" y="1483"/>
                  </a:cubicBezTo>
                  <a:cubicBezTo>
                    <a:pt x="2889" y="1476"/>
                    <a:pt x="2880" y="1469"/>
                    <a:pt x="2870" y="1463"/>
                  </a:cubicBezTo>
                  <a:cubicBezTo>
                    <a:pt x="2866" y="1460"/>
                    <a:pt x="2861" y="1456"/>
                    <a:pt x="2856" y="1453"/>
                  </a:cubicBezTo>
                  <a:cubicBezTo>
                    <a:pt x="2852" y="1450"/>
                    <a:pt x="2847" y="1447"/>
                    <a:pt x="2843" y="1444"/>
                  </a:cubicBezTo>
                  <a:cubicBezTo>
                    <a:pt x="2833" y="1438"/>
                    <a:pt x="2824" y="1432"/>
                    <a:pt x="2815" y="1426"/>
                  </a:cubicBezTo>
                  <a:cubicBezTo>
                    <a:pt x="2805" y="1420"/>
                    <a:pt x="2796" y="1414"/>
                    <a:pt x="2787" y="1408"/>
                  </a:cubicBezTo>
                  <a:cubicBezTo>
                    <a:pt x="2777" y="1402"/>
                    <a:pt x="2768" y="1397"/>
                    <a:pt x="2758" y="1391"/>
                  </a:cubicBezTo>
                  <a:cubicBezTo>
                    <a:pt x="2752" y="1388"/>
                    <a:pt x="2746" y="1384"/>
                    <a:pt x="2740" y="1380"/>
                  </a:cubicBezTo>
                  <a:cubicBezTo>
                    <a:pt x="2737" y="1378"/>
                    <a:pt x="2733" y="1377"/>
                    <a:pt x="2730" y="1375"/>
                  </a:cubicBezTo>
                  <a:cubicBezTo>
                    <a:pt x="2721" y="1370"/>
                    <a:pt x="2711" y="1364"/>
                    <a:pt x="2702" y="1359"/>
                  </a:cubicBezTo>
                  <a:cubicBezTo>
                    <a:pt x="2692" y="1354"/>
                    <a:pt x="2682" y="1349"/>
                    <a:pt x="2673" y="1344"/>
                  </a:cubicBezTo>
                  <a:cubicBezTo>
                    <a:pt x="2663" y="1339"/>
                    <a:pt x="2654" y="1334"/>
                    <a:pt x="2644" y="1330"/>
                  </a:cubicBezTo>
                  <a:cubicBezTo>
                    <a:pt x="2635" y="1325"/>
                    <a:pt x="2625" y="1320"/>
                    <a:pt x="2615" y="1316"/>
                  </a:cubicBezTo>
                  <a:cubicBezTo>
                    <a:pt x="2606" y="1311"/>
                    <a:pt x="2596" y="1307"/>
                    <a:pt x="2586" y="1302"/>
                  </a:cubicBezTo>
                  <a:cubicBezTo>
                    <a:pt x="2576" y="1298"/>
                    <a:pt x="2567" y="1294"/>
                    <a:pt x="2557" y="1290"/>
                  </a:cubicBezTo>
                  <a:cubicBezTo>
                    <a:pt x="2547" y="1285"/>
                    <a:pt x="2537" y="1281"/>
                    <a:pt x="2528" y="1277"/>
                  </a:cubicBezTo>
                  <a:cubicBezTo>
                    <a:pt x="2518" y="1273"/>
                    <a:pt x="2508" y="1269"/>
                    <a:pt x="2498" y="1266"/>
                  </a:cubicBezTo>
                  <a:cubicBezTo>
                    <a:pt x="2496" y="1265"/>
                    <a:pt x="2494" y="1264"/>
                    <a:pt x="2492" y="1263"/>
                  </a:cubicBezTo>
                  <a:cubicBezTo>
                    <a:pt x="2484" y="1260"/>
                    <a:pt x="2476" y="1257"/>
                    <a:pt x="2469" y="1254"/>
                  </a:cubicBezTo>
                  <a:cubicBezTo>
                    <a:pt x="2459" y="1251"/>
                    <a:pt x="2449" y="1247"/>
                    <a:pt x="2439" y="1244"/>
                  </a:cubicBezTo>
                  <a:cubicBezTo>
                    <a:pt x="2429" y="1240"/>
                    <a:pt x="2419" y="1237"/>
                    <a:pt x="2409" y="1233"/>
                  </a:cubicBezTo>
                  <a:cubicBezTo>
                    <a:pt x="2399" y="1230"/>
                    <a:pt x="2389" y="1227"/>
                    <a:pt x="2379" y="1223"/>
                  </a:cubicBezTo>
                  <a:cubicBezTo>
                    <a:pt x="2369" y="1220"/>
                    <a:pt x="2359" y="1217"/>
                    <a:pt x="2349" y="1214"/>
                  </a:cubicBezTo>
                  <a:cubicBezTo>
                    <a:pt x="2339" y="1211"/>
                    <a:pt x="2329" y="1208"/>
                    <a:pt x="2319" y="1205"/>
                  </a:cubicBezTo>
                  <a:cubicBezTo>
                    <a:pt x="2309" y="1202"/>
                    <a:pt x="2299" y="1200"/>
                    <a:pt x="2289" y="1197"/>
                  </a:cubicBezTo>
                  <a:cubicBezTo>
                    <a:pt x="2279" y="1194"/>
                    <a:pt x="2269" y="1191"/>
                    <a:pt x="2259" y="1189"/>
                  </a:cubicBezTo>
                  <a:cubicBezTo>
                    <a:pt x="2249" y="1186"/>
                    <a:pt x="2240" y="1184"/>
                    <a:pt x="2230" y="1182"/>
                  </a:cubicBezTo>
                  <a:cubicBezTo>
                    <a:pt x="2230" y="1182"/>
                    <a:pt x="2229" y="1181"/>
                    <a:pt x="2228" y="1181"/>
                  </a:cubicBezTo>
                  <a:cubicBezTo>
                    <a:pt x="2218" y="1179"/>
                    <a:pt x="2208" y="1176"/>
                    <a:pt x="2198" y="1174"/>
                  </a:cubicBezTo>
                  <a:cubicBezTo>
                    <a:pt x="2188" y="1172"/>
                    <a:pt x="2177" y="1170"/>
                    <a:pt x="2167" y="1168"/>
                  </a:cubicBezTo>
                  <a:cubicBezTo>
                    <a:pt x="2157" y="1165"/>
                    <a:pt x="2147" y="1163"/>
                    <a:pt x="2136" y="1161"/>
                  </a:cubicBezTo>
                  <a:cubicBezTo>
                    <a:pt x="2126" y="1159"/>
                    <a:pt x="2116" y="1157"/>
                    <a:pt x="2106" y="1156"/>
                  </a:cubicBezTo>
                  <a:cubicBezTo>
                    <a:pt x="2095" y="1154"/>
                    <a:pt x="2085" y="1152"/>
                    <a:pt x="2075" y="1150"/>
                  </a:cubicBezTo>
                  <a:cubicBezTo>
                    <a:pt x="2064" y="1149"/>
                    <a:pt x="2054" y="1147"/>
                    <a:pt x="2044" y="1145"/>
                  </a:cubicBezTo>
                  <a:cubicBezTo>
                    <a:pt x="2033" y="1144"/>
                    <a:pt x="2023" y="1142"/>
                    <a:pt x="2012" y="1141"/>
                  </a:cubicBezTo>
                  <a:cubicBezTo>
                    <a:pt x="2002" y="1139"/>
                    <a:pt x="1992" y="1138"/>
                    <a:pt x="1981" y="1137"/>
                  </a:cubicBezTo>
                  <a:cubicBezTo>
                    <a:pt x="1974" y="1136"/>
                    <a:pt x="1968" y="1135"/>
                    <a:pt x="1961" y="1134"/>
                  </a:cubicBezTo>
                  <a:cubicBezTo>
                    <a:pt x="1957" y="1134"/>
                    <a:pt x="1953" y="1134"/>
                    <a:pt x="1950" y="1133"/>
                  </a:cubicBezTo>
                  <a:cubicBezTo>
                    <a:pt x="1939" y="1132"/>
                    <a:pt x="1929" y="1131"/>
                    <a:pt x="1918" y="1130"/>
                  </a:cubicBezTo>
                  <a:cubicBezTo>
                    <a:pt x="1908" y="1129"/>
                    <a:pt x="1897" y="1128"/>
                    <a:pt x="1887" y="1127"/>
                  </a:cubicBezTo>
                  <a:cubicBezTo>
                    <a:pt x="1876" y="1126"/>
                    <a:pt x="1866" y="1125"/>
                    <a:pt x="1855" y="1125"/>
                  </a:cubicBezTo>
                  <a:cubicBezTo>
                    <a:pt x="1845" y="1124"/>
                    <a:pt x="1835" y="1123"/>
                    <a:pt x="1824" y="1123"/>
                  </a:cubicBezTo>
                  <a:cubicBezTo>
                    <a:pt x="1824" y="1123"/>
                    <a:pt x="1824" y="1123"/>
                    <a:pt x="1823" y="1123"/>
                  </a:cubicBezTo>
                  <a:cubicBezTo>
                    <a:pt x="1813" y="1122"/>
                    <a:pt x="1802" y="1122"/>
                    <a:pt x="1792" y="1121"/>
                  </a:cubicBezTo>
                  <a:cubicBezTo>
                    <a:pt x="1781" y="1121"/>
                    <a:pt x="1770" y="1121"/>
                    <a:pt x="1760" y="1120"/>
                  </a:cubicBezTo>
                  <a:cubicBezTo>
                    <a:pt x="1749" y="1120"/>
                    <a:pt x="1738" y="1120"/>
                    <a:pt x="1727" y="1120"/>
                  </a:cubicBezTo>
                  <a:cubicBezTo>
                    <a:pt x="1717" y="1120"/>
                    <a:pt x="1706" y="1120"/>
                    <a:pt x="1695" y="1120"/>
                  </a:cubicBezTo>
                  <a:cubicBezTo>
                    <a:pt x="1693" y="1120"/>
                    <a:pt x="1690" y="1120"/>
                    <a:pt x="1687" y="1120"/>
                  </a:cubicBezTo>
                  <a:cubicBezTo>
                    <a:pt x="1663" y="1120"/>
                    <a:pt x="1663" y="1120"/>
                    <a:pt x="1663" y="1120"/>
                  </a:cubicBezTo>
                  <a:cubicBezTo>
                    <a:pt x="1631" y="1121"/>
                    <a:pt x="1631" y="1121"/>
                    <a:pt x="1631" y="1121"/>
                  </a:cubicBezTo>
                  <a:cubicBezTo>
                    <a:pt x="1598" y="1121"/>
                    <a:pt x="1598" y="1121"/>
                    <a:pt x="1598" y="1121"/>
                  </a:cubicBezTo>
                  <a:cubicBezTo>
                    <a:pt x="1566" y="1122"/>
                    <a:pt x="1566" y="1122"/>
                    <a:pt x="1566" y="1122"/>
                  </a:cubicBezTo>
                  <a:cubicBezTo>
                    <a:pt x="1534" y="1123"/>
                    <a:pt x="1534" y="1123"/>
                    <a:pt x="1534" y="1123"/>
                  </a:cubicBezTo>
                  <a:cubicBezTo>
                    <a:pt x="1501" y="1123"/>
                    <a:pt x="1501" y="1123"/>
                    <a:pt x="1501" y="1123"/>
                  </a:cubicBezTo>
                  <a:cubicBezTo>
                    <a:pt x="1469" y="1124"/>
                    <a:pt x="1469" y="1124"/>
                    <a:pt x="1469" y="1124"/>
                  </a:cubicBezTo>
                  <a:cubicBezTo>
                    <a:pt x="1437" y="1125"/>
                    <a:pt x="1437" y="1125"/>
                    <a:pt x="1437" y="1125"/>
                  </a:cubicBezTo>
                  <a:cubicBezTo>
                    <a:pt x="1414" y="1125"/>
                    <a:pt x="1414" y="1125"/>
                    <a:pt x="1414" y="1125"/>
                  </a:cubicBezTo>
                  <a:cubicBezTo>
                    <a:pt x="1404" y="1125"/>
                    <a:pt x="1404" y="1125"/>
                    <a:pt x="1404" y="1125"/>
                  </a:cubicBezTo>
                  <a:cubicBezTo>
                    <a:pt x="1380" y="1126"/>
                    <a:pt x="1380" y="1126"/>
                    <a:pt x="1380" y="1126"/>
                  </a:cubicBezTo>
                  <a:cubicBezTo>
                    <a:pt x="1372" y="1126"/>
                    <a:pt x="1372" y="1126"/>
                    <a:pt x="1372" y="1126"/>
                  </a:cubicBezTo>
                  <a:cubicBezTo>
                    <a:pt x="1363" y="1126"/>
                    <a:pt x="1363" y="1126"/>
                    <a:pt x="1363" y="1126"/>
                  </a:cubicBezTo>
                  <a:cubicBezTo>
                    <a:pt x="1359" y="1126"/>
                    <a:pt x="1359" y="1126"/>
                    <a:pt x="1359" y="1126"/>
                  </a:cubicBezTo>
                  <a:cubicBezTo>
                    <a:pt x="1357" y="1126"/>
                    <a:pt x="1357" y="1126"/>
                    <a:pt x="1357" y="1126"/>
                  </a:cubicBezTo>
                  <a:cubicBezTo>
                    <a:pt x="1354" y="1126"/>
                    <a:pt x="1354" y="1126"/>
                    <a:pt x="1354" y="1126"/>
                  </a:cubicBezTo>
                  <a:cubicBezTo>
                    <a:pt x="1346" y="1126"/>
                    <a:pt x="1346" y="1126"/>
                    <a:pt x="1346" y="1126"/>
                  </a:cubicBezTo>
                  <a:cubicBezTo>
                    <a:pt x="1344" y="1126"/>
                    <a:pt x="1342" y="1126"/>
                    <a:pt x="1340" y="1126"/>
                  </a:cubicBezTo>
                  <a:cubicBezTo>
                    <a:pt x="1329" y="1126"/>
                    <a:pt x="1318" y="1126"/>
                    <a:pt x="1307" y="1126"/>
                  </a:cubicBezTo>
                  <a:cubicBezTo>
                    <a:pt x="1297" y="1126"/>
                    <a:pt x="1287" y="1126"/>
                    <a:pt x="1277" y="1126"/>
                  </a:cubicBezTo>
                  <a:cubicBezTo>
                    <a:pt x="1277" y="1126"/>
                    <a:pt x="1276" y="1126"/>
                    <a:pt x="1275" y="1126"/>
                  </a:cubicBezTo>
                  <a:cubicBezTo>
                    <a:pt x="1264" y="1126"/>
                    <a:pt x="1254" y="1126"/>
                    <a:pt x="1243" y="1126"/>
                  </a:cubicBezTo>
                  <a:cubicBezTo>
                    <a:pt x="1232" y="1126"/>
                    <a:pt x="1221" y="1126"/>
                    <a:pt x="1211" y="1126"/>
                  </a:cubicBezTo>
                  <a:cubicBezTo>
                    <a:pt x="1200" y="1126"/>
                    <a:pt x="1189" y="1126"/>
                    <a:pt x="1178" y="1126"/>
                  </a:cubicBezTo>
                  <a:cubicBezTo>
                    <a:pt x="1168" y="1126"/>
                    <a:pt x="1157" y="1126"/>
                    <a:pt x="1146" y="1126"/>
                  </a:cubicBezTo>
                  <a:cubicBezTo>
                    <a:pt x="1145" y="1126"/>
                    <a:pt x="1143" y="1126"/>
                    <a:pt x="1141" y="1126"/>
                  </a:cubicBezTo>
                  <a:cubicBezTo>
                    <a:pt x="1132" y="1126"/>
                    <a:pt x="1123" y="1126"/>
                    <a:pt x="1114" y="1125"/>
                  </a:cubicBezTo>
                  <a:cubicBezTo>
                    <a:pt x="1104" y="1125"/>
                    <a:pt x="1093" y="1125"/>
                    <a:pt x="1082" y="1125"/>
                  </a:cubicBezTo>
                  <a:cubicBezTo>
                    <a:pt x="1072" y="1124"/>
                    <a:pt x="1061" y="1124"/>
                    <a:pt x="1050" y="1123"/>
                  </a:cubicBezTo>
                  <a:cubicBezTo>
                    <a:pt x="1040" y="1123"/>
                    <a:pt x="1029" y="1122"/>
                    <a:pt x="1019" y="1122"/>
                  </a:cubicBezTo>
                  <a:cubicBezTo>
                    <a:pt x="1014" y="1121"/>
                    <a:pt x="1009" y="1121"/>
                    <a:pt x="1005" y="1121"/>
                  </a:cubicBezTo>
                  <a:cubicBezTo>
                    <a:pt x="999" y="1120"/>
                    <a:pt x="993" y="1120"/>
                    <a:pt x="987" y="1119"/>
                  </a:cubicBezTo>
                  <a:cubicBezTo>
                    <a:pt x="976" y="1118"/>
                    <a:pt x="966" y="1117"/>
                    <a:pt x="955" y="1116"/>
                  </a:cubicBezTo>
                  <a:cubicBezTo>
                    <a:pt x="945" y="1115"/>
                    <a:pt x="934" y="1114"/>
                    <a:pt x="924" y="1113"/>
                  </a:cubicBezTo>
                  <a:cubicBezTo>
                    <a:pt x="914" y="1111"/>
                    <a:pt x="903" y="1110"/>
                    <a:pt x="893" y="1108"/>
                  </a:cubicBezTo>
                  <a:cubicBezTo>
                    <a:pt x="885" y="1107"/>
                    <a:pt x="878" y="1105"/>
                    <a:pt x="870" y="1104"/>
                  </a:cubicBezTo>
                  <a:cubicBezTo>
                    <a:pt x="867" y="1103"/>
                    <a:pt x="865" y="1103"/>
                    <a:pt x="862" y="1102"/>
                  </a:cubicBezTo>
                  <a:cubicBezTo>
                    <a:pt x="852" y="1100"/>
                    <a:pt x="842" y="1097"/>
                    <a:pt x="832" y="1095"/>
                  </a:cubicBezTo>
                  <a:cubicBezTo>
                    <a:pt x="823" y="1092"/>
                    <a:pt x="814" y="1090"/>
                    <a:pt x="805" y="1087"/>
                  </a:cubicBezTo>
                  <a:cubicBezTo>
                    <a:pt x="804" y="1087"/>
                    <a:pt x="803" y="1086"/>
                    <a:pt x="802" y="1086"/>
                  </a:cubicBezTo>
                  <a:cubicBezTo>
                    <a:pt x="792" y="1082"/>
                    <a:pt x="782" y="1079"/>
                    <a:pt x="772" y="1075"/>
                  </a:cubicBezTo>
                  <a:cubicBezTo>
                    <a:pt x="762" y="1070"/>
                    <a:pt x="752" y="1066"/>
                    <a:pt x="743" y="1060"/>
                  </a:cubicBezTo>
                  <a:cubicBezTo>
                    <a:pt x="743" y="1060"/>
                    <a:pt x="743" y="1060"/>
                    <a:pt x="743" y="1060"/>
                  </a:cubicBezTo>
                  <a:cubicBezTo>
                    <a:pt x="741" y="1059"/>
                    <a:pt x="738" y="1058"/>
                    <a:pt x="736" y="1056"/>
                  </a:cubicBezTo>
                  <a:cubicBezTo>
                    <a:pt x="734" y="1055"/>
                    <a:pt x="731" y="1053"/>
                    <a:pt x="729" y="1052"/>
                  </a:cubicBezTo>
                  <a:cubicBezTo>
                    <a:pt x="722" y="1047"/>
                    <a:pt x="722" y="1047"/>
                    <a:pt x="722" y="1047"/>
                  </a:cubicBezTo>
                  <a:cubicBezTo>
                    <a:pt x="720" y="1045"/>
                    <a:pt x="718" y="1043"/>
                    <a:pt x="715" y="1042"/>
                  </a:cubicBezTo>
                  <a:cubicBezTo>
                    <a:pt x="715" y="1042"/>
                    <a:pt x="715" y="1042"/>
                    <a:pt x="715" y="1042"/>
                  </a:cubicBezTo>
                  <a:cubicBezTo>
                    <a:pt x="712" y="1039"/>
                    <a:pt x="712" y="1039"/>
                    <a:pt x="712" y="1039"/>
                  </a:cubicBezTo>
                  <a:cubicBezTo>
                    <a:pt x="709" y="1036"/>
                    <a:pt x="709" y="1036"/>
                    <a:pt x="709" y="1036"/>
                  </a:cubicBezTo>
                  <a:cubicBezTo>
                    <a:pt x="704" y="1032"/>
                    <a:pt x="704" y="1032"/>
                    <a:pt x="704" y="1032"/>
                  </a:cubicBezTo>
                  <a:cubicBezTo>
                    <a:pt x="703" y="1031"/>
                    <a:pt x="702" y="1030"/>
                    <a:pt x="701" y="1029"/>
                  </a:cubicBezTo>
                  <a:cubicBezTo>
                    <a:pt x="700" y="1027"/>
                    <a:pt x="698" y="1025"/>
                    <a:pt x="696" y="1023"/>
                  </a:cubicBezTo>
                  <a:cubicBezTo>
                    <a:pt x="695" y="1022"/>
                    <a:pt x="694" y="1020"/>
                    <a:pt x="693" y="1019"/>
                  </a:cubicBezTo>
                  <a:cubicBezTo>
                    <a:pt x="684" y="1007"/>
                    <a:pt x="676" y="993"/>
                    <a:pt x="671" y="978"/>
                  </a:cubicBezTo>
                  <a:cubicBezTo>
                    <a:pt x="670" y="973"/>
                    <a:pt x="668" y="969"/>
                    <a:pt x="667" y="964"/>
                  </a:cubicBezTo>
                  <a:cubicBezTo>
                    <a:pt x="662" y="943"/>
                    <a:pt x="663" y="920"/>
                    <a:pt x="669" y="899"/>
                  </a:cubicBezTo>
                  <a:cubicBezTo>
                    <a:pt x="671" y="894"/>
                    <a:pt x="673" y="889"/>
                    <a:pt x="675" y="884"/>
                  </a:cubicBezTo>
                  <a:cubicBezTo>
                    <a:pt x="676" y="882"/>
                    <a:pt x="677" y="879"/>
                    <a:pt x="678" y="877"/>
                  </a:cubicBezTo>
                  <a:cubicBezTo>
                    <a:pt x="683" y="869"/>
                    <a:pt x="683" y="869"/>
                    <a:pt x="683" y="869"/>
                  </a:cubicBezTo>
                  <a:cubicBezTo>
                    <a:pt x="688" y="860"/>
                    <a:pt x="695" y="852"/>
                    <a:pt x="703" y="844"/>
                  </a:cubicBezTo>
                  <a:cubicBezTo>
                    <a:pt x="703" y="844"/>
                    <a:pt x="703" y="844"/>
                    <a:pt x="703" y="844"/>
                  </a:cubicBezTo>
                  <a:cubicBezTo>
                    <a:pt x="711" y="836"/>
                    <a:pt x="719" y="829"/>
                    <a:pt x="728" y="822"/>
                  </a:cubicBezTo>
                  <a:cubicBezTo>
                    <a:pt x="733" y="819"/>
                    <a:pt x="737" y="816"/>
                    <a:pt x="742" y="813"/>
                  </a:cubicBezTo>
                  <a:cubicBezTo>
                    <a:pt x="747" y="810"/>
                    <a:pt x="752" y="807"/>
                    <a:pt x="756" y="804"/>
                  </a:cubicBezTo>
                  <a:cubicBezTo>
                    <a:pt x="764" y="800"/>
                    <a:pt x="772" y="796"/>
                    <a:pt x="779" y="792"/>
                  </a:cubicBezTo>
                  <a:cubicBezTo>
                    <a:pt x="791" y="786"/>
                    <a:pt x="803" y="780"/>
                    <a:pt x="815" y="775"/>
                  </a:cubicBezTo>
                  <a:cubicBezTo>
                    <a:pt x="816" y="775"/>
                    <a:pt x="817" y="775"/>
                    <a:pt x="817" y="774"/>
                  </a:cubicBezTo>
                  <a:cubicBezTo>
                    <a:pt x="828" y="770"/>
                    <a:pt x="840" y="765"/>
                    <a:pt x="851" y="761"/>
                  </a:cubicBezTo>
                  <a:cubicBezTo>
                    <a:pt x="863" y="757"/>
                    <a:pt x="874" y="753"/>
                    <a:pt x="886" y="749"/>
                  </a:cubicBezTo>
                  <a:cubicBezTo>
                    <a:pt x="898" y="745"/>
                    <a:pt x="909" y="741"/>
                    <a:pt x="921" y="738"/>
                  </a:cubicBezTo>
                  <a:cubicBezTo>
                    <a:pt x="929" y="735"/>
                    <a:pt x="938" y="733"/>
                    <a:pt x="946" y="730"/>
                  </a:cubicBezTo>
                  <a:cubicBezTo>
                    <a:pt x="949" y="730"/>
                    <a:pt x="952" y="729"/>
                    <a:pt x="955" y="728"/>
                  </a:cubicBezTo>
                  <a:cubicBezTo>
                    <a:pt x="967" y="725"/>
                    <a:pt x="978" y="721"/>
                    <a:pt x="990" y="718"/>
                  </a:cubicBezTo>
                  <a:cubicBezTo>
                    <a:pt x="1001" y="715"/>
                    <a:pt x="1013" y="712"/>
                    <a:pt x="1024" y="710"/>
                  </a:cubicBezTo>
                  <a:cubicBezTo>
                    <a:pt x="1036" y="707"/>
                    <a:pt x="1047" y="704"/>
                    <a:pt x="1058" y="701"/>
                  </a:cubicBezTo>
                  <a:cubicBezTo>
                    <a:pt x="1065" y="699"/>
                    <a:pt x="1071" y="698"/>
                    <a:pt x="1078" y="696"/>
                  </a:cubicBezTo>
                  <a:cubicBezTo>
                    <a:pt x="1083" y="695"/>
                    <a:pt x="1088" y="694"/>
                    <a:pt x="1093" y="693"/>
                  </a:cubicBezTo>
                  <a:cubicBezTo>
                    <a:pt x="1104" y="690"/>
                    <a:pt x="1115" y="687"/>
                    <a:pt x="1127" y="684"/>
                  </a:cubicBezTo>
                  <a:cubicBezTo>
                    <a:pt x="1133" y="683"/>
                    <a:pt x="1138" y="682"/>
                    <a:pt x="1144" y="680"/>
                  </a:cubicBezTo>
                  <a:cubicBezTo>
                    <a:pt x="1150" y="679"/>
                    <a:pt x="1155" y="677"/>
                    <a:pt x="1161" y="676"/>
                  </a:cubicBezTo>
                  <a:cubicBezTo>
                    <a:pt x="1173" y="673"/>
                    <a:pt x="1184" y="669"/>
                    <a:pt x="1196" y="666"/>
                  </a:cubicBezTo>
                  <a:cubicBezTo>
                    <a:pt x="1200" y="665"/>
                    <a:pt x="1205" y="663"/>
                    <a:pt x="1210" y="662"/>
                  </a:cubicBezTo>
                  <a:cubicBezTo>
                    <a:pt x="1217" y="660"/>
                    <a:pt x="1224" y="658"/>
                    <a:pt x="1230" y="655"/>
                  </a:cubicBezTo>
                  <a:cubicBezTo>
                    <a:pt x="1242" y="652"/>
                    <a:pt x="1254" y="648"/>
                    <a:pt x="1265" y="643"/>
                  </a:cubicBezTo>
                  <a:cubicBezTo>
                    <a:pt x="1277" y="639"/>
                    <a:pt x="1289" y="634"/>
                    <a:pt x="1301" y="629"/>
                  </a:cubicBezTo>
                  <a:cubicBezTo>
                    <a:pt x="1313" y="624"/>
                    <a:pt x="1325" y="619"/>
                    <a:pt x="1337" y="613"/>
                  </a:cubicBezTo>
                  <a:cubicBezTo>
                    <a:pt x="1337" y="612"/>
                    <a:pt x="1338" y="612"/>
                    <a:pt x="1338" y="612"/>
                  </a:cubicBezTo>
                  <a:cubicBezTo>
                    <a:pt x="1350" y="606"/>
                    <a:pt x="1362" y="599"/>
                    <a:pt x="1374" y="592"/>
                  </a:cubicBezTo>
                  <a:cubicBezTo>
                    <a:pt x="1382" y="587"/>
                    <a:pt x="1390" y="582"/>
                    <a:pt x="1397" y="576"/>
                  </a:cubicBezTo>
                  <a:cubicBezTo>
                    <a:pt x="1403" y="572"/>
                    <a:pt x="1408" y="568"/>
                    <a:pt x="1413" y="564"/>
                  </a:cubicBezTo>
                  <a:cubicBezTo>
                    <a:pt x="1426" y="554"/>
                    <a:pt x="1437" y="542"/>
                    <a:pt x="1448" y="529"/>
                  </a:cubicBezTo>
                  <a:cubicBezTo>
                    <a:pt x="1451" y="526"/>
                    <a:pt x="1453" y="523"/>
                    <a:pt x="1456" y="519"/>
                  </a:cubicBezTo>
                  <a:cubicBezTo>
                    <a:pt x="1460" y="513"/>
                    <a:pt x="1464" y="507"/>
                    <a:pt x="1468" y="501"/>
                  </a:cubicBezTo>
                  <a:cubicBezTo>
                    <a:pt x="1469" y="498"/>
                    <a:pt x="1471" y="496"/>
                    <a:pt x="1472" y="493"/>
                  </a:cubicBezTo>
                  <a:cubicBezTo>
                    <a:pt x="1473" y="490"/>
                    <a:pt x="1475" y="488"/>
                    <a:pt x="1476" y="485"/>
                  </a:cubicBezTo>
                  <a:cubicBezTo>
                    <a:pt x="1479" y="477"/>
                    <a:pt x="1479" y="477"/>
                    <a:pt x="1479" y="477"/>
                  </a:cubicBezTo>
                  <a:cubicBezTo>
                    <a:pt x="1480" y="474"/>
                    <a:pt x="1481" y="472"/>
                    <a:pt x="1482" y="469"/>
                  </a:cubicBezTo>
                  <a:cubicBezTo>
                    <a:pt x="1490" y="447"/>
                    <a:pt x="1495" y="424"/>
                    <a:pt x="1494" y="401"/>
                  </a:cubicBezTo>
                  <a:cubicBezTo>
                    <a:pt x="1494" y="400"/>
                    <a:pt x="1494" y="400"/>
                    <a:pt x="1494" y="400"/>
                  </a:cubicBezTo>
                  <a:cubicBezTo>
                    <a:pt x="1494" y="400"/>
                    <a:pt x="1494" y="400"/>
                    <a:pt x="1494" y="400"/>
                  </a:cubicBezTo>
                  <a:cubicBezTo>
                    <a:pt x="1493" y="392"/>
                    <a:pt x="1496" y="396"/>
                    <a:pt x="1491" y="376"/>
                  </a:cubicBezTo>
                  <a:cubicBezTo>
                    <a:pt x="1487" y="358"/>
                    <a:pt x="1477" y="343"/>
                    <a:pt x="1469" y="327"/>
                  </a:cubicBezTo>
                  <a:cubicBezTo>
                    <a:pt x="1463" y="316"/>
                    <a:pt x="1456" y="305"/>
                    <a:pt x="1448" y="295"/>
                  </a:cubicBezTo>
                  <a:cubicBezTo>
                    <a:pt x="1447" y="293"/>
                    <a:pt x="1446" y="292"/>
                    <a:pt x="1445" y="291"/>
                  </a:cubicBezTo>
                  <a:cubicBezTo>
                    <a:pt x="1437" y="281"/>
                    <a:pt x="1429" y="271"/>
                    <a:pt x="1420" y="262"/>
                  </a:cubicBezTo>
                  <a:cubicBezTo>
                    <a:pt x="1420" y="262"/>
                    <a:pt x="1419" y="262"/>
                    <a:pt x="1419" y="262"/>
                  </a:cubicBezTo>
                  <a:cubicBezTo>
                    <a:pt x="1418" y="261"/>
                    <a:pt x="1417" y="260"/>
                    <a:pt x="1416" y="258"/>
                  </a:cubicBezTo>
                  <a:cubicBezTo>
                    <a:pt x="1407" y="250"/>
                    <a:pt x="1398" y="243"/>
                    <a:pt x="1389" y="236"/>
                  </a:cubicBezTo>
                  <a:cubicBezTo>
                    <a:pt x="1380" y="229"/>
                    <a:pt x="1371" y="222"/>
                    <a:pt x="1361" y="217"/>
                  </a:cubicBezTo>
                  <a:cubicBezTo>
                    <a:pt x="1360" y="216"/>
                    <a:pt x="1359" y="215"/>
                    <a:pt x="1358" y="215"/>
                  </a:cubicBezTo>
                  <a:cubicBezTo>
                    <a:pt x="1350" y="210"/>
                    <a:pt x="1341" y="205"/>
                    <a:pt x="1333" y="200"/>
                  </a:cubicBezTo>
                  <a:cubicBezTo>
                    <a:pt x="1323" y="195"/>
                    <a:pt x="1314" y="190"/>
                    <a:pt x="1304" y="186"/>
                  </a:cubicBezTo>
                  <a:cubicBezTo>
                    <a:pt x="1294" y="182"/>
                    <a:pt x="1285" y="177"/>
                    <a:pt x="1275" y="173"/>
                  </a:cubicBezTo>
                  <a:cubicBezTo>
                    <a:pt x="1268" y="171"/>
                    <a:pt x="1262" y="168"/>
                    <a:pt x="1255" y="166"/>
                  </a:cubicBezTo>
                  <a:cubicBezTo>
                    <a:pt x="1252" y="165"/>
                    <a:pt x="1248" y="163"/>
                    <a:pt x="1245" y="162"/>
                  </a:cubicBezTo>
                  <a:cubicBezTo>
                    <a:pt x="1235" y="159"/>
                    <a:pt x="1225" y="155"/>
                    <a:pt x="1215" y="152"/>
                  </a:cubicBezTo>
                  <a:cubicBezTo>
                    <a:pt x="1205" y="149"/>
                    <a:pt x="1195" y="146"/>
                    <a:pt x="1185" y="143"/>
                  </a:cubicBezTo>
                  <a:cubicBezTo>
                    <a:pt x="1175" y="140"/>
                    <a:pt x="1165" y="137"/>
                    <a:pt x="1155" y="135"/>
                  </a:cubicBezTo>
                  <a:cubicBezTo>
                    <a:pt x="1152" y="134"/>
                    <a:pt x="1149" y="133"/>
                    <a:pt x="1146" y="132"/>
                  </a:cubicBezTo>
                  <a:cubicBezTo>
                    <a:pt x="1139" y="130"/>
                    <a:pt x="1132" y="128"/>
                    <a:pt x="1125" y="127"/>
                  </a:cubicBezTo>
                  <a:cubicBezTo>
                    <a:pt x="1115" y="124"/>
                    <a:pt x="1104" y="121"/>
                    <a:pt x="1094" y="119"/>
                  </a:cubicBezTo>
                  <a:cubicBezTo>
                    <a:pt x="1093" y="118"/>
                    <a:pt x="1092" y="118"/>
                    <a:pt x="1091" y="118"/>
                  </a:cubicBezTo>
                  <a:cubicBezTo>
                    <a:pt x="1064" y="111"/>
                    <a:pt x="1064" y="111"/>
                    <a:pt x="1064" y="111"/>
                  </a:cubicBezTo>
                  <a:cubicBezTo>
                    <a:pt x="1036" y="104"/>
                    <a:pt x="1036" y="104"/>
                    <a:pt x="1036" y="104"/>
                  </a:cubicBezTo>
                  <a:cubicBezTo>
                    <a:pt x="1034" y="103"/>
                    <a:pt x="1034" y="103"/>
                    <a:pt x="1034" y="103"/>
                  </a:cubicBezTo>
                  <a:cubicBezTo>
                    <a:pt x="1029" y="102"/>
                    <a:pt x="1029" y="102"/>
                    <a:pt x="1029" y="102"/>
                  </a:cubicBezTo>
                  <a:cubicBezTo>
                    <a:pt x="1025" y="101"/>
                    <a:pt x="1025" y="101"/>
                    <a:pt x="1025" y="101"/>
                  </a:cubicBezTo>
                  <a:cubicBezTo>
                    <a:pt x="1024" y="101"/>
                    <a:pt x="1023" y="100"/>
                    <a:pt x="1022" y="100"/>
                  </a:cubicBezTo>
                  <a:cubicBezTo>
                    <a:pt x="1008" y="98"/>
                    <a:pt x="1008" y="98"/>
                    <a:pt x="1008" y="98"/>
                  </a:cubicBezTo>
                  <a:cubicBezTo>
                    <a:pt x="1006" y="97"/>
                    <a:pt x="1005" y="97"/>
                    <a:pt x="1003" y="97"/>
                  </a:cubicBezTo>
                  <a:cubicBezTo>
                    <a:pt x="995" y="95"/>
                    <a:pt x="987" y="94"/>
                    <a:pt x="980" y="92"/>
                  </a:cubicBezTo>
                  <a:cubicBezTo>
                    <a:pt x="977" y="92"/>
                    <a:pt x="975" y="91"/>
                    <a:pt x="972" y="91"/>
                  </a:cubicBezTo>
                  <a:cubicBezTo>
                    <a:pt x="962" y="89"/>
                    <a:pt x="951" y="87"/>
                    <a:pt x="941" y="86"/>
                  </a:cubicBezTo>
                  <a:cubicBezTo>
                    <a:pt x="935" y="85"/>
                    <a:pt x="929" y="84"/>
                    <a:pt x="923" y="83"/>
                  </a:cubicBezTo>
                  <a:cubicBezTo>
                    <a:pt x="919" y="82"/>
                    <a:pt x="915" y="81"/>
                    <a:pt x="910" y="81"/>
                  </a:cubicBezTo>
                  <a:cubicBezTo>
                    <a:pt x="900" y="79"/>
                    <a:pt x="889" y="78"/>
                    <a:pt x="879" y="76"/>
                  </a:cubicBezTo>
                  <a:cubicBezTo>
                    <a:pt x="869" y="75"/>
                    <a:pt x="858" y="73"/>
                    <a:pt x="848" y="72"/>
                  </a:cubicBezTo>
                  <a:cubicBezTo>
                    <a:pt x="837" y="70"/>
                    <a:pt x="827" y="69"/>
                    <a:pt x="817" y="67"/>
                  </a:cubicBezTo>
                  <a:cubicBezTo>
                    <a:pt x="806" y="66"/>
                    <a:pt x="796" y="65"/>
                    <a:pt x="785" y="63"/>
                  </a:cubicBezTo>
                  <a:cubicBezTo>
                    <a:pt x="775" y="62"/>
                    <a:pt x="765" y="61"/>
                    <a:pt x="754" y="59"/>
                  </a:cubicBezTo>
                  <a:cubicBezTo>
                    <a:pt x="744" y="58"/>
                    <a:pt x="733" y="57"/>
                    <a:pt x="723" y="56"/>
                  </a:cubicBezTo>
                  <a:cubicBezTo>
                    <a:pt x="714" y="55"/>
                    <a:pt x="706" y="54"/>
                    <a:pt x="698" y="53"/>
                  </a:cubicBezTo>
                  <a:cubicBezTo>
                    <a:pt x="691" y="52"/>
                    <a:pt x="691" y="52"/>
                    <a:pt x="691" y="52"/>
                  </a:cubicBezTo>
                  <a:cubicBezTo>
                    <a:pt x="660" y="48"/>
                    <a:pt x="660" y="48"/>
                    <a:pt x="660" y="48"/>
                  </a:cubicBezTo>
                  <a:cubicBezTo>
                    <a:pt x="629" y="45"/>
                    <a:pt x="629" y="45"/>
                    <a:pt x="629" y="45"/>
                  </a:cubicBezTo>
                  <a:cubicBezTo>
                    <a:pt x="597" y="41"/>
                    <a:pt x="597" y="41"/>
                    <a:pt x="597" y="41"/>
                  </a:cubicBezTo>
                  <a:cubicBezTo>
                    <a:pt x="566" y="37"/>
                    <a:pt x="566" y="37"/>
                    <a:pt x="566" y="37"/>
                  </a:cubicBezTo>
                  <a:cubicBezTo>
                    <a:pt x="535" y="34"/>
                    <a:pt x="535" y="34"/>
                    <a:pt x="535" y="34"/>
                  </a:cubicBezTo>
                  <a:cubicBezTo>
                    <a:pt x="503" y="30"/>
                    <a:pt x="503" y="30"/>
                    <a:pt x="503" y="30"/>
                  </a:cubicBezTo>
                  <a:cubicBezTo>
                    <a:pt x="472" y="27"/>
                    <a:pt x="472" y="27"/>
                    <a:pt x="472" y="27"/>
                  </a:cubicBezTo>
                  <a:cubicBezTo>
                    <a:pt x="471" y="26"/>
                    <a:pt x="471" y="26"/>
                    <a:pt x="471" y="26"/>
                  </a:cubicBezTo>
                  <a:cubicBezTo>
                    <a:pt x="461" y="25"/>
                    <a:pt x="451" y="24"/>
                    <a:pt x="441" y="23"/>
                  </a:cubicBezTo>
                  <a:cubicBezTo>
                    <a:pt x="430" y="22"/>
                    <a:pt x="420" y="21"/>
                    <a:pt x="409" y="20"/>
                  </a:cubicBezTo>
                  <a:cubicBezTo>
                    <a:pt x="399" y="19"/>
                    <a:pt x="388" y="18"/>
                    <a:pt x="378" y="17"/>
                  </a:cubicBezTo>
                  <a:cubicBezTo>
                    <a:pt x="367" y="16"/>
                    <a:pt x="357" y="15"/>
                    <a:pt x="346" y="14"/>
                  </a:cubicBezTo>
                  <a:cubicBezTo>
                    <a:pt x="336" y="13"/>
                    <a:pt x="325" y="12"/>
                    <a:pt x="315" y="11"/>
                  </a:cubicBezTo>
                  <a:cubicBezTo>
                    <a:pt x="304" y="10"/>
                    <a:pt x="294" y="9"/>
                    <a:pt x="283" y="9"/>
                  </a:cubicBezTo>
                  <a:cubicBezTo>
                    <a:pt x="272" y="8"/>
                    <a:pt x="262" y="7"/>
                    <a:pt x="251" y="6"/>
                  </a:cubicBezTo>
                  <a:cubicBezTo>
                    <a:pt x="249" y="6"/>
                    <a:pt x="247" y="6"/>
                    <a:pt x="244" y="6"/>
                  </a:cubicBezTo>
                  <a:cubicBezTo>
                    <a:pt x="236" y="5"/>
                    <a:pt x="228" y="5"/>
                    <a:pt x="220" y="4"/>
                  </a:cubicBezTo>
                  <a:cubicBezTo>
                    <a:pt x="209" y="4"/>
                    <a:pt x="198" y="3"/>
                    <a:pt x="188" y="3"/>
                  </a:cubicBezTo>
                  <a:cubicBezTo>
                    <a:pt x="177" y="2"/>
                    <a:pt x="167" y="2"/>
                    <a:pt x="156" y="1"/>
                  </a:cubicBezTo>
                  <a:cubicBezTo>
                    <a:pt x="147" y="1"/>
                    <a:pt x="139" y="1"/>
                    <a:pt x="131" y="1"/>
                  </a:cubicBezTo>
                  <a:cubicBezTo>
                    <a:pt x="128" y="1"/>
                    <a:pt x="126" y="0"/>
                    <a:pt x="124" y="0"/>
                  </a:cubicBezTo>
                  <a:cubicBezTo>
                    <a:pt x="117" y="0"/>
                    <a:pt x="109" y="0"/>
                    <a:pt x="10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9" y="0"/>
                    <a:pt x="33" y="0"/>
                    <a:pt x="27" y="0"/>
                  </a:cubicBezTo>
                  <a:cubicBezTo>
                    <a:pt x="24" y="1"/>
                    <a:pt x="20" y="1"/>
                    <a:pt x="17" y="1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" y="10"/>
                    <a:pt x="14" y="10"/>
                    <a:pt x="21" y="10"/>
                  </a:cubicBezTo>
                  <a:cubicBezTo>
                    <a:pt x="24" y="9"/>
                    <a:pt x="27" y="9"/>
                    <a:pt x="30" y="9"/>
                  </a:cubicBezTo>
                  <a:cubicBezTo>
                    <a:pt x="36" y="9"/>
                    <a:pt x="43" y="9"/>
                    <a:pt x="49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78" y="9"/>
                    <a:pt x="78" y="9"/>
                    <a:pt x="78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106" y="9"/>
                    <a:pt x="106" y="9"/>
                    <a:pt x="106" y="9"/>
                  </a:cubicBezTo>
                  <a:cubicBezTo>
                    <a:pt x="113" y="9"/>
                    <a:pt x="120" y="9"/>
                    <a:pt x="127" y="9"/>
                  </a:cubicBezTo>
                  <a:cubicBezTo>
                    <a:pt x="129" y="9"/>
                    <a:pt x="132" y="9"/>
                    <a:pt x="134" y="10"/>
                  </a:cubicBezTo>
                  <a:cubicBezTo>
                    <a:pt x="143" y="10"/>
                    <a:pt x="151" y="10"/>
                    <a:pt x="159" y="10"/>
                  </a:cubicBezTo>
                  <a:cubicBezTo>
                    <a:pt x="169" y="11"/>
                    <a:pt x="180" y="11"/>
                    <a:pt x="191" y="12"/>
                  </a:cubicBezTo>
                  <a:cubicBezTo>
                    <a:pt x="201" y="12"/>
                    <a:pt x="212" y="13"/>
                    <a:pt x="222" y="14"/>
                  </a:cubicBezTo>
                  <a:cubicBezTo>
                    <a:pt x="231" y="14"/>
                    <a:pt x="240" y="15"/>
                    <a:pt x="248" y="15"/>
                  </a:cubicBezTo>
                  <a:cubicBezTo>
                    <a:pt x="250" y="15"/>
                    <a:pt x="252" y="15"/>
                    <a:pt x="254" y="16"/>
                  </a:cubicBezTo>
                  <a:cubicBezTo>
                    <a:pt x="265" y="16"/>
                    <a:pt x="275" y="17"/>
                    <a:pt x="286" y="18"/>
                  </a:cubicBezTo>
                  <a:cubicBezTo>
                    <a:pt x="296" y="19"/>
                    <a:pt x="307" y="20"/>
                    <a:pt x="317" y="20"/>
                  </a:cubicBezTo>
                  <a:cubicBezTo>
                    <a:pt x="328" y="21"/>
                    <a:pt x="338" y="22"/>
                    <a:pt x="349" y="23"/>
                  </a:cubicBezTo>
                  <a:cubicBezTo>
                    <a:pt x="359" y="24"/>
                    <a:pt x="370" y="25"/>
                    <a:pt x="380" y="26"/>
                  </a:cubicBezTo>
                  <a:cubicBezTo>
                    <a:pt x="391" y="27"/>
                    <a:pt x="401" y="28"/>
                    <a:pt x="412" y="29"/>
                  </a:cubicBezTo>
                  <a:cubicBezTo>
                    <a:pt x="422" y="30"/>
                    <a:pt x="433" y="32"/>
                    <a:pt x="443" y="33"/>
                  </a:cubicBezTo>
                  <a:cubicBezTo>
                    <a:pt x="454" y="34"/>
                    <a:pt x="464" y="35"/>
                    <a:pt x="475" y="36"/>
                  </a:cubicBezTo>
                  <a:cubicBezTo>
                    <a:pt x="475" y="36"/>
                    <a:pt x="475" y="36"/>
                    <a:pt x="475" y="36"/>
                  </a:cubicBezTo>
                  <a:cubicBezTo>
                    <a:pt x="506" y="40"/>
                    <a:pt x="506" y="40"/>
                    <a:pt x="506" y="40"/>
                  </a:cubicBezTo>
                  <a:cubicBezTo>
                    <a:pt x="537" y="44"/>
                    <a:pt x="537" y="44"/>
                    <a:pt x="537" y="44"/>
                  </a:cubicBezTo>
                  <a:cubicBezTo>
                    <a:pt x="569" y="47"/>
                    <a:pt x="569" y="47"/>
                    <a:pt x="569" y="47"/>
                  </a:cubicBezTo>
                  <a:cubicBezTo>
                    <a:pt x="600" y="51"/>
                    <a:pt x="600" y="51"/>
                    <a:pt x="600" y="51"/>
                  </a:cubicBezTo>
                  <a:cubicBezTo>
                    <a:pt x="631" y="55"/>
                    <a:pt x="631" y="55"/>
                    <a:pt x="631" y="55"/>
                  </a:cubicBezTo>
                  <a:cubicBezTo>
                    <a:pt x="663" y="58"/>
                    <a:pt x="663" y="58"/>
                    <a:pt x="663" y="58"/>
                  </a:cubicBezTo>
                  <a:cubicBezTo>
                    <a:pt x="694" y="62"/>
                    <a:pt x="694" y="62"/>
                    <a:pt x="694" y="62"/>
                  </a:cubicBezTo>
                  <a:cubicBezTo>
                    <a:pt x="701" y="63"/>
                    <a:pt x="701" y="63"/>
                    <a:pt x="701" y="63"/>
                  </a:cubicBezTo>
                  <a:cubicBezTo>
                    <a:pt x="709" y="64"/>
                    <a:pt x="717" y="65"/>
                    <a:pt x="725" y="66"/>
                  </a:cubicBezTo>
                  <a:cubicBezTo>
                    <a:pt x="736" y="67"/>
                    <a:pt x="746" y="68"/>
                    <a:pt x="757" y="70"/>
                  </a:cubicBezTo>
                  <a:cubicBezTo>
                    <a:pt x="767" y="71"/>
                    <a:pt x="777" y="72"/>
                    <a:pt x="788" y="74"/>
                  </a:cubicBezTo>
                  <a:cubicBezTo>
                    <a:pt x="798" y="75"/>
                    <a:pt x="809" y="76"/>
                    <a:pt x="819" y="78"/>
                  </a:cubicBezTo>
                  <a:cubicBezTo>
                    <a:pt x="830" y="79"/>
                    <a:pt x="840" y="81"/>
                    <a:pt x="850" y="82"/>
                  </a:cubicBezTo>
                  <a:cubicBezTo>
                    <a:pt x="861" y="84"/>
                    <a:pt x="871" y="85"/>
                    <a:pt x="881" y="87"/>
                  </a:cubicBezTo>
                  <a:cubicBezTo>
                    <a:pt x="892" y="88"/>
                    <a:pt x="902" y="90"/>
                    <a:pt x="913" y="91"/>
                  </a:cubicBezTo>
                  <a:cubicBezTo>
                    <a:pt x="917" y="92"/>
                    <a:pt x="922" y="93"/>
                    <a:pt x="926" y="94"/>
                  </a:cubicBezTo>
                  <a:cubicBezTo>
                    <a:pt x="932" y="94"/>
                    <a:pt x="938" y="95"/>
                    <a:pt x="944" y="96"/>
                  </a:cubicBezTo>
                  <a:cubicBezTo>
                    <a:pt x="954" y="98"/>
                    <a:pt x="964" y="100"/>
                    <a:pt x="974" y="102"/>
                  </a:cubicBezTo>
                  <a:cubicBezTo>
                    <a:pt x="977" y="102"/>
                    <a:pt x="980" y="103"/>
                    <a:pt x="982" y="103"/>
                  </a:cubicBezTo>
                  <a:cubicBezTo>
                    <a:pt x="990" y="105"/>
                    <a:pt x="998" y="106"/>
                    <a:pt x="1005" y="107"/>
                  </a:cubicBezTo>
                  <a:cubicBezTo>
                    <a:pt x="1007" y="108"/>
                    <a:pt x="1009" y="108"/>
                    <a:pt x="1010" y="108"/>
                  </a:cubicBezTo>
                  <a:cubicBezTo>
                    <a:pt x="1024" y="111"/>
                    <a:pt x="1024" y="111"/>
                    <a:pt x="1024" y="111"/>
                  </a:cubicBezTo>
                  <a:cubicBezTo>
                    <a:pt x="1025" y="111"/>
                    <a:pt x="1027" y="112"/>
                    <a:pt x="1028" y="112"/>
                  </a:cubicBezTo>
                  <a:cubicBezTo>
                    <a:pt x="1031" y="113"/>
                    <a:pt x="1031" y="113"/>
                    <a:pt x="1031" y="113"/>
                  </a:cubicBezTo>
                  <a:cubicBezTo>
                    <a:pt x="1036" y="114"/>
                    <a:pt x="1036" y="114"/>
                    <a:pt x="1036" y="114"/>
                  </a:cubicBezTo>
                  <a:cubicBezTo>
                    <a:pt x="1038" y="114"/>
                    <a:pt x="1038" y="114"/>
                    <a:pt x="1038" y="114"/>
                  </a:cubicBezTo>
                  <a:cubicBezTo>
                    <a:pt x="1066" y="122"/>
                    <a:pt x="1066" y="122"/>
                    <a:pt x="1066" y="122"/>
                  </a:cubicBezTo>
                  <a:cubicBezTo>
                    <a:pt x="1093" y="129"/>
                    <a:pt x="1093" y="129"/>
                    <a:pt x="1093" y="129"/>
                  </a:cubicBezTo>
                  <a:cubicBezTo>
                    <a:pt x="1094" y="129"/>
                    <a:pt x="1095" y="129"/>
                    <a:pt x="1097" y="130"/>
                  </a:cubicBezTo>
                  <a:cubicBezTo>
                    <a:pt x="1107" y="132"/>
                    <a:pt x="1117" y="135"/>
                    <a:pt x="1127" y="138"/>
                  </a:cubicBezTo>
                  <a:cubicBezTo>
                    <a:pt x="1134" y="139"/>
                    <a:pt x="1141" y="141"/>
                    <a:pt x="1148" y="143"/>
                  </a:cubicBezTo>
                  <a:cubicBezTo>
                    <a:pt x="1151" y="144"/>
                    <a:pt x="1154" y="145"/>
                    <a:pt x="1157" y="146"/>
                  </a:cubicBezTo>
                  <a:cubicBezTo>
                    <a:pt x="1167" y="148"/>
                    <a:pt x="1177" y="151"/>
                    <a:pt x="1188" y="154"/>
                  </a:cubicBezTo>
                  <a:cubicBezTo>
                    <a:pt x="1198" y="157"/>
                    <a:pt x="1208" y="160"/>
                    <a:pt x="1218" y="164"/>
                  </a:cubicBezTo>
                  <a:cubicBezTo>
                    <a:pt x="1228" y="167"/>
                    <a:pt x="1237" y="170"/>
                    <a:pt x="1247" y="174"/>
                  </a:cubicBezTo>
                  <a:cubicBezTo>
                    <a:pt x="1250" y="175"/>
                    <a:pt x="1253" y="176"/>
                    <a:pt x="1256" y="177"/>
                  </a:cubicBezTo>
                  <a:cubicBezTo>
                    <a:pt x="1263" y="179"/>
                    <a:pt x="1270" y="182"/>
                    <a:pt x="1277" y="185"/>
                  </a:cubicBezTo>
                  <a:cubicBezTo>
                    <a:pt x="1287" y="189"/>
                    <a:pt x="1297" y="193"/>
                    <a:pt x="1306" y="198"/>
                  </a:cubicBezTo>
                  <a:cubicBezTo>
                    <a:pt x="1316" y="202"/>
                    <a:pt x="1326" y="207"/>
                    <a:pt x="1335" y="212"/>
                  </a:cubicBezTo>
                  <a:cubicBezTo>
                    <a:pt x="1343" y="216"/>
                    <a:pt x="1351" y="221"/>
                    <a:pt x="1358" y="225"/>
                  </a:cubicBezTo>
                  <a:cubicBezTo>
                    <a:pt x="1360" y="226"/>
                    <a:pt x="1362" y="228"/>
                    <a:pt x="1363" y="229"/>
                  </a:cubicBezTo>
                  <a:cubicBezTo>
                    <a:pt x="1373" y="235"/>
                    <a:pt x="1382" y="241"/>
                    <a:pt x="1391" y="248"/>
                  </a:cubicBezTo>
                  <a:cubicBezTo>
                    <a:pt x="1399" y="254"/>
                    <a:pt x="1406" y="261"/>
                    <a:pt x="1414" y="268"/>
                  </a:cubicBezTo>
                  <a:cubicBezTo>
                    <a:pt x="1422" y="276"/>
                    <a:pt x="1431" y="286"/>
                    <a:pt x="1438" y="296"/>
                  </a:cubicBezTo>
                  <a:cubicBezTo>
                    <a:pt x="1438" y="296"/>
                    <a:pt x="1439" y="296"/>
                    <a:pt x="1439" y="297"/>
                  </a:cubicBezTo>
                  <a:cubicBezTo>
                    <a:pt x="1448" y="309"/>
                    <a:pt x="1455" y="322"/>
                    <a:pt x="1462" y="335"/>
                  </a:cubicBezTo>
                  <a:cubicBezTo>
                    <a:pt x="1470" y="353"/>
                    <a:pt x="1477" y="372"/>
                    <a:pt x="1481" y="391"/>
                  </a:cubicBezTo>
                  <a:cubicBezTo>
                    <a:pt x="1481" y="393"/>
                    <a:pt x="1482" y="398"/>
                    <a:pt x="1482" y="399"/>
                  </a:cubicBezTo>
                  <a:cubicBezTo>
                    <a:pt x="1482" y="422"/>
                    <a:pt x="1478" y="441"/>
                    <a:pt x="1470" y="462"/>
                  </a:cubicBezTo>
                  <a:cubicBezTo>
                    <a:pt x="1469" y="465"/>
                    <a:pt x="1468" y="467"/>
                    <a:pt x="1467" y="470"/>
                  </a:cubicBezTo>
                  <a:cubicBezTo>
                    <a:pt x="1464" y="478"/>
                    <a:pt x="1464" y="478"/>
                    <a:pt x="1464" y="478"/>
                  </a:cubicBezTo>
                  <a:cubicBezTo>
                    <a:pt x="1463" y="480"/>
                    <a:pt x="1462" y="483"/>
                    <a:pt x="1460" y="485"/>
                  </a:cubicBezTo>
                  <a:cubicBezTo>
                    <a:pt x="1459" y="487"/>
                    <a:pt x="1458" y="489"/>
                    <a:pt x="1457" y="490"/>
                  </a:cubicBezTo>
                  <a:cubicBezTo>
                    <a:pt x="1457" y="491"/>
                    <a:pt x="1457" y="492"/>
                    <a:pt x="1456" y="492"/>
                  </a:cubicBezTo>
                  <a:cubicBezTo>
                    <a:pt x="1451" y="502"/>
                    <a:pt x="1444" y="511"/>
                    <a:pt x="1437" y="520"/>
                  </a:cubicBezTo>
                  <a:cubicBezTo>
                    <a:pt x="1430" y="529"/>
                    <a:pt x="1421" y="538"/>
                    <a:pt x="1412" y="546"/>
                  </a:cubicBezTo>
                  <a:cubicBezTo>
                    <a:pt x="1405" y="553"/>
                    <a:pt x="1396" y="559"/>
                    <a:pt x="1388" y="565"/>
                  </a:cubicBezTo>
                  <a:cubicBezTo>
                    <a:pt x="1383" y="569"/>
                    <a:pt x="1378" y="572"/>
                    <a:pt x="1373" y="575"/>
                  </a:cubicBezTo>
                  <a:cubicBezTo>
                    <a:pt x="1361" y="583"/>
                    <a:pt x="1348" y="590"/>
                    <a:pt x="1336" y="597"/>
                  </a:cubicBezTo>
                  <a:cubicBezTo>
                    <a:pt x="1334" y="598"/>
                    <a:pt x="1332" y="599"/>
                    <a:pt x="1330" y="600"/>
                  </a:cubicBezTo>
                  <a:cubicBezTo>
                    <a:pt x="1320" y="605"/>
                    <a:pt x="1310" y="610"/>
                    <a:pt x="1299" y="614"/>
                  </a:cubicBezTo>
                  <a:cubicBezTo>
                    <a:pt x="1288" y="619"/>
                    <a:pt x="1276" y="624"/>
                    <a:pt x="1264" y="629"/>
                  </a:cubicBezTo>
                  <a:cubicBezTo>
                    <a:pt x="1252" y="633"/>
                    <a:pt x="1240" y="637"/>
                    <a:pt x="1229" y="641"/>
                  </a:cubicBezTo>
                  <a:cubicBezTo>
                    <a:pt x="1220" y="644"/>
                    <a:pt x="1212" y="646"/>
                    <a:pt x="1204" y="649"/>
                  </a:cubicBezTo>
                  <a:cubicBezTo>
                    <a:pt x="1200" y="650"/>
                    <a:pt x="1197" y="651"/>
                    <a:pt x="1194" y="652"/>
                  </a:cubicBezTo>
                  <a:cubicBezTo>
                    <a:pt x="1182" y="655"/>
                    <a:pt x="1171" y="658"/>
                    <a:pt x="1159" y="661"/>
                  </a:cubicBezTo>
                  <a:cubicBezTo>
                    <a:pt x="1152" y="663"/>
                    <a:pt x="1145" y="665"/>
                    <a:pt x="1138" y="667"/>
                  </a:cubicBezTo>
                  <a:cubicBezTo>
                    <a:pt x="1134" y="668"/>
                    <a:pt x="1129" y="669"/>
                    <a:pt x="1125" y="670"/>
                  </a:cubicBezTo>
                  <a:cubicBezTo>
                    <a:pt x="1114" y="673"/>
                    <a:pt x="1102" y="676"/>
                    <a:pt x="1091" y="678"/>
                  </a:cubicBezTo>
                  <a:cubicBezTo>
                    <a:pt x="1085" y="680"/>
                    <a:pt x="1078" y="681"/>
                    <a:pt x="1072" y="683"/>
                  </a:cubicBezTo>
                  <a:cubicBezTo>
                    <a:pt x="1067" y="684"/>
                    <a:pt x="1062" y="685"/>
                    <a:pt x="1057" y="687"/>
                  </a:cubicBezTo>
                  <a:cubicBezTo>
                    <a:pt x="1045" y="689"/>
                    <a:pt x="1034" y="692"/>
                    <a:pt x="1023" y="695"/>
                  </a:cubicBezTo>
                  <a:cubicBezTo>
                    <a:pt x="1011" y="698"/>
                    <a:pt x="1000" y="701"/>
                    <a:pt x="988" y="704"/>
                  </a:cubicBezTo>
                  <a:cubicBezTo>
                    <a:pt x="977" y="707"/>
                    <a:pt x="965" y="710"/>
                    <a:pt x="954" y="713"/>
                  </a:cubicBezTo>
                  <a:cubicBezTo>
                    <a:pt x="949" y="714"/>
                    <a:pt x="944" y="716"/>
                    <a:pt x="939" y="717"/>
                  </a:cubicBezTo>
                  <a:cubicBezTo>
                    <a:pt x="933" y="719"/>
                    <a:pt x="926" y="721"/>
                    <a:pt x="920" y="723"/>
                  </a:cubicBezTo>
                  <a:cubicBezTo>
                    <a:pt x="908" y="726"/>
                    <a:pt x="896" y="730"/>
                    <a:pt x="885" y="733"/>
                  </a:cubicBezTo>
                  <a:cubicBezTo>
                    <a:pt x="873" y="737"/>
                    <a:pt x="861" y="741"/>
                    <a:pt x="850" y="745"/>
                  </a:cubicBezTo>
                  <a:cubicBezTo>
                    <a:pt x="838" y="750"/>
                    <a:pt x="826" y="754"/>
                    <a:pt x="814" y="759"/>
                  </a:cubicBezTo>
                  <a:cubicBezTo>
                    <a:pt x="813" y="760"/>
                    <a:pt x="811" y="760"/>
                    <a:pt x="809" y="761"/>
                  </a:cubicBezTo>
                  <a:cubicBezTo>
                    <a:pt x="799" y="765"/>
                    <a:pt x="789" y="770"/>
                    <a:pt x="778" y="775"/>
                  </a:cubicBezTo>
                  <a:cubicBezTo>
                    <a:pt x="768" y="780"/>
                    <a:pt x="757" y="785"/>
                    <a:pt x="747" y="791"/>
                  </a:cubicBezTo>
                  <a:cubicBezTo>
                    <a:pt x="745" y="792"/>
                    <a:pt x="743" y="793"/>
                    <a:pt x="742" y="794"/>
                  </a:cubicBezTo>
                  <a:cubicBezTo>
                    <a:pt x="734" y="799"/>
                    <a:pt x="726" y="804"/>
                    <a:pt x="718" y="810"/>
                  </a:cubicBezTo>
                  <a:cubicBezTo>
                    <a:pt x="713" y="814"/>
                    <a:pt x="708" y="818"/>
                    <a:pt x="703" y="822"/>
                  </a:cubicBezTo>
                  <a:cubicBezTo>
                    <a:pt x="699" y="825"/>
                    <a:pt x="695" y="829"/>
                    <a:pt x="691" y="832"/>
                  </a:cubicBezTo>
                  <a:cubicBezTo>
                    <a:pt x="683" y="841"/>
                    <a:pt x="676" y="850"/>
                    <a:pt x="670" y="860"/>
                  </a:cubicBezTo>
                  <a:cubicBezTo>
                    <a:pt x="665" y="868"/>
                    <a:pt x="665" y="868"/>
                    <a:pt x="665" y="868"/>
                  </a:cubicBezTo>
                  <a:cubicBezTo>
                    <a:pt x="664" y="870"/>
                    <a:pt x="663" y="873"/>
                    <a:pt x="661" y="876"/>
                  </a:cubicBezTo>
                  <a:cubicBezTo>
                    <a:pt x="659" y="881"/>
                    <a:pt x="657" y="887"/>
                    <a:pt x="655" y="892"/>
                  </a:cubicBezTo>
                  <a:cubicBezTo>
                    <a:pt x="649" y="915"/>
                    <a:pt x="647" y="940"/>
                    <a:pt x="653" y="963"/>
                  </a:cubicBezTo>
                  <a:cubicBezTo>
                    <a:pt x="655" y="973"/>
                    <a:pt x="658" y="983"/>
                    <a:pt x="663" y="992"/>
                  </a:cubicBezTo>
                  <a:cubicBezTo>
                    <a:pt x="668" y="1004"/>
                    <a:pt x="675" y="1015"/>
                    <a:pt x="684" y="1026"/>
                  </a:cubicBezTo>
                  <a:cubicBezTo>
                    <a:pt x="684" y="1027"/>
                    <a:pt x="685" y="1028"/>
                    <a:pt x="686" y="1029"/>
                  </a:cubicBezTo>
                  <a:cubicBezTo>
                    <a:pt x="687" y="1030"/>
                    <a:pt x="688" y="1031"/>
                    <a:pt x="689" y="1032"/>
                  </a:cubicBezTo>
                  <a:cubicBezTo>
                    <a:pt x="691" y="1034"/>
                    <a:pt x="693" y="1037"/>
                    <a:pt x="695" y="1039"/>
                  </a:cubicBezTo>
                  <a:cubicBezTo>
                    <a:pt x="697" y="1040"/>
                    <a:pt x="697" y="1040"/>
                    <a:pt x="697" y="1040"/>
                  </a:cubicBezTo>
                  <a:cubicBezTo>
                    <a:pt x="697" y="1041"/>
                    <a:pt x="698" y="1042"/>
                    <a:pt x="699" y="1043"/>
                  </a:cubicBezTo>
                  <a:cubicBezTo>
                    <a:pt x="706" y="1049"/>
                    <a:pt x="706" y="1049"/>
                    <a:pt x="706" y="1049"/>
                  </a:cubicBezTo>
                  <a:cubicBezTo>
                    <a:pt x="709" y="1052"/>
                    <a:pt x="709" y="1052"/>
                    <a:pt x="709" y="1052"/>
                  </a:cubicBezTo>
                  <a:cubicBezTo>
                    <a:pt x="713" y="1054"/>
                    <a:pt x="713" y="1054"/>
                    <a:pt x="713" y="1054"/>
                  </a:cubicBezTo>
                  <a:cubicBezTo>
                    <a:pt x="714" y="1055"/>
                    <a:pt x="715" y="1056"/>
                    <a:pt x="717" y="1057"/>
                  </a:cubicBezTo>
                  <a:cubicBezTo>
                    <a:pt x="717" y="1058"/>
                    <a:pt x="718" y="1059"/>
                    <a:pt x="719" y="1060"/>
                  </a:cubicBezTo>
                  <a:cubicBezTo>
                    <a:pt x="727" y="1065"/>
                    <a:pt x="727" y="1065"/>
                    <a:pt x="727" y="1065"/>
                  </a:cubicBezTo>
                  <a:cubicBezTo>
                    <a:pt x="729" y="1067"/>
                    <a:pt x="732" y="1068"/>
                    <a:pt x="734" y="1070"/>
                  </a:cubicBezTo>
                  <a:cubicBezTo>
                    <a:pt x="737" y="1071"/>
                    <a:pt x="739" y="1073"/>
                    <a:pt x="742" y="1074"/>
                  </a:cubicBezTo>
                  <a:cubicBezTo>
                    <a:pt x="743" y="1075"/>
                    <a:pt x="744" y="1075"/>
                    <a:pt x="744" y="1076"/>
                  </a:cubicBezTo>
                  <a:cubicBezTo>
                    <a:pt x="754" y="1081"/>
                    <a:pt x="764" y="1086"/>
                    <a:pt x="773" y="1090"/>
                  </a:cubicBezTo>
                  <a:cubicBezTo>
                    <a:pt x="783" y="1094"/>
                    <a:pt x="793" y="1098"/>
                    <a:pt x="803" y="1101"/>
                  </a:cubicBezTo>
                  <a:cubicBezTo>
                    <a:pt x="804" y="1101"/>
                    <a:pt x="804" y="1101"/>
                    <a:pt x="805" y="1102"/>
                  </a:cubicBezTo>
                  <a:cubicBezTo>
                    <a:pt x="814" y="1105"/>
                    <a:pt x="824" y="1107"/>
                    <a:pt x="833" y="1110"/>
                  </a:cubicBezTo>
                  <a:cubicBezTo>
                    <a:pt x="843" y="1113"/>
                    <a:pt x="853" y="1115"/>
                    <a:pt x="863" y="1117"/>
                  </a:cubicBezTo>
                  <a:cubicBezTo>
                    <a:pt x="866" y="1118"/>
                    <a:pt x="869" y="1118"/>
                    <a:pt x="872" y="1119"/>
                  </a:cubicBezTo>
                  <a:cubicBezTo>
                    <a:pt x="879" y="1120"/>
                    <a:pt x="887" y="1122"/>
                    <a:pt x="894" y="1123"/>
                  </a:cubicBezTo>
                  <a:cubicBezTo>
                    <a:pt x="905" y="1125"/>
                    <a:pt x="915" y="1126"/>
                    <a:pt x="925" y="1128"/>
                  </a:cubicBezTo>
                  <a:cubicBezTo>
                    <a:pt x="936" y="1129"/>
                    <a:pt x="946" y="1131"/>
                    <a:pt x="957" y="1132"/>
                  </a:cubicBezTo>
                  <a:cubicBezTo>
                    <a:pt x="967" y="1133"/>
                    <a:pt x="978" y="1134"/>
                    <a:pt x="988" y="1135"/>
                  </a:cubicBezTo>
                  <a:cubicBezTo>
                    <a:pt x="995" y="1135"/>
                    <a:pt x="1001" y="1136"/>
                    <a:pt x="1008" y="1136"/>
                  </a:cubicBezTo>
                  <a:cubicBezTo>
                    <a:pt x="1012" y="1137"/>
                    <a:pt x="1016" y="1137"/>
                    <a:pt x="1020" y="1137"/>
                  </a:cubicBezTo>
                  <a:cubicBezTo>
                    <a:pt x="1030" y="1138"/>
                    <a:pt x="1041" y="1139"/>
                    <a:pt x="1052" y="1139"/>
                  </a:cubicBezTo>
                  <a:cubicBezTo>
                    <a:pt x="1062" y="1140"/>
                    <a:pt x="1073" y="1140"/>
                    <a:pt x="1083" y="1140"/>
                  </a:cubicBezTo>
                  <a:cubicBezTo>
                    <a:pt x="1094" y="1141"/>
                    <a:pt x="1105" y="1141"/>
                    <a:pt x="1115" y="1141"/>
                  </a:cubicBezTo>
                  <a:cubicBezTo>
                    <a:pt x="1125" y="1142"/>
                    <a:pt x="1135" y="1142"/>
                    <a:pt x="1145" y="1142"/>
                  </a:cubicBezTo>
                  <a:cubicBezTo>
                    <a:pt x="1146" y="1142"/>
                    <a:pt x="1147" y="1142"/>
                    <a:pt x="1147" y="1142"/>
                  </a:cubicBezTo>
                  <a:cubicBezTo>
                    <a:pt x="1158" y="1142"/>
                    <a:pt x="1169" y="1142"/>
                    <a:pt x="1180" y="1142"/>
                  </a:cubicBezTo>
                  <a:cubicBezTo>
                    <a:pt x="1190" y="1142"/>
                    <a:pt x="1201" y="1142"/>
                    <a:pt x="1212" y="1142"/>
                  </a:cubicBezTo>
                  <a:cubicBezTo>
                    <a:pt x="1223" y="1142"/>
                    <a:pt x="1233" y="1142"/>
                    <a:pt x="1244" y="1142"/>
                  </a:cubicBezTo>
                  <a:cubicBezTo>
                    <a:pt x="1255" y="1142"/>
                    <a:pt x="1265" y="1142"/>
                    <a:pt x="1276" y="1142"/>
                  </a:cubicBezTo>
                  <a:cubicBezTo>
                    <a:pt x="1278" y="1142"/>
                    <a:pt x="1280" y="1142"/>
                    <a:pt x="1282" y="1142"/>
                  </a:cubicBezTo>
                  <a:cubicBezTo>
                    <a:pt x="1291" y="1142"/>
                    <a:pt x="1299" y="1142"/>
                    <a:pt x="1308" y="1142"/>
                  </a:cubicBezTo>
                  <a:cubicBezTo>
                    <a:pt x="1319" y="1142"/>
                    <a:pt x="1330" y="1142"/>
                    <a:pt x="1341" y="1142"/>
                  </a:cubicBezTo>
                  <a:cubicBezTo>
                    <a:pt x="1344" y="1143"/>
                    <a:pt x="1347" y="1143"/>
                    <a:pt x="1350" y="1143"/>
                  </a:cubicBezTo>
                  <a:cubicBezTo>
                    <a:pt x="1358" y="1143"/>
                    <a:pt x="1358" y="1143"/>
                    <a:pt x="1358" y="1143"/>
                  </a:cubicBezTo>
                  <a:cubicBezTo>
                    <a:pt x="1360" y="1143"/>
                    <a:pt x="1360" y="1143"/>
                    <a:pt x="1360" y="1143"/>
                  </a:cubicBezTo>
                  <a:cubicBezTo>
                    <a:pt x="1363" y="1143"/>
                    <a:pt x="1363" y="1143"/>
                    <a:pt x="1363" y="1143"/>
                  </a:cubicBezTo>
                  <a:cubicBezTo>
                    <a:pt x="1367" y="1143"/>
                    <a:pt x="1367" y="1143"/>
                    <a:pt x="1367" y="1143"/>
                  </a:cubicBezTo>
                  <a:cubicBezTo>
                    <a:pt x="1373" y="1142"/>
                    <a:pt x="1373" y="1142"/>
                    <a:pt x="1373" y="1142"/>
                  </a:cubicBezTo>
                  <a:cubicBezTo>
                    <a:pt x="1384" y="1142"/>
                    <a:pt x="1384" y="1142"/>
                    <a:pt x="1384" y="1142"/>
                  </a:cubicBezTo>
                  <a:cubicBezTo>
                    <a:pt x="1405" y="1142"/>
                    <a:pt x="1405" y="1142"/>
                    <a:pt x="1405" y="1142"/>
                  </a:cubicBezTo>
                  <a:cubicBezTo>
                    <a:pt x="1418" y="1142"/>
                    <a:pt x="1418" y="1142"/>
                    <a:pt x="1418" y="1142"/>
                  </a:cubicBezTo>
                  <a:cubicBezTo>
                    <a:pt x="1437" y="1141"/>
                    <a:pt x="1437" y="1141"/>
                    <a:pt x="1437" y="1141"/>
                  </a:cubicBezTo>
                  <a:cubicBezTo>
                    <a:pt x="1470" y="1141"/>
                    <a:pt x="1470" y="1141"/>
                    <a:pt x="1470" y="1141"/>
                  </a:cubicBezTo>
                  <a:cubicBezTo>
                    <a:pt x="1502" y="1140"/>
                    <a:pt x="1502" y="1140"/>
                    <a:pt x="1502" y="1140"/>
                  </a:cubicBezTo>
                  <a:cubicBezTo>
                    <a:pt x="1534" y="1140"/>
                    <a:pt x="1534" y="1140"/>
                    <a:pt x="1534" y="1140"/>
                  </a:cubicBezTo>
                  <a:cubicBezTo>
                    <a:pt x="1567" y="1139"/>
                    <a:pt x="1567" y="1139"/>
                    <a:pt x="1567" y="1139"/>
                  </a:cubicBezTo>
                  <a:cubicBezTo>
                    <a:pt x="1599" y="1139"/>
                    <a:pt x="1599" y="1139"/>
                    <a:pt x="1599" y="1139"/>
                  </a:cubicBezTo>
                  <a:cubicBezTo>
                    <a:pt x="1631" y="1138"/>
                    <a:pt x="1631" y="1138"/>
                    <a:pt x="1631" y="1138"/>
                  </a:cubicBezTo>
                  <a:cubicBezTo>
                    <a:pt x="1664" y="1138"/>
                    <a:pt x="1664" y="1138"/>
                    <a:pt x="1664" y="1138"/>
                  </a:cubicBezTo>
                  <a:cubicBezTo>
                    <a:pt x="1691" y="1137"/>
                    <a:pt x="1691" y="1137"/>
                    <a:pt x="1691" y="1137"/>
                  </a:cubicBezTo>
                  <a:cubicBezTo>
                    <a:pt x="1693" y="1137"/>
                    <a:pt x="1695" y="1137"/>
                    <a:pt x="1696" y="1137"/>
                  </a:cubicBezTo>
                  <a:cubicBezTo>
                    <a:pt x="1707" y="1137"/>
                    <a:pt x="1718" y="1137"/>
                    <a:pt x="1728" y="1137"/>
                  </a:cubicBezTo>
                  <a:cubicBezTo>
                    <a:pt x="1739" y="1137"/>
                    <a:pt x="1750" y="1137"/>
                    <a:pt x="1760" y="1138"/>
                  </a:cubicBezTo>
                  <a:cubicBezTo>
                    <a:pt x="1771" y="1138"/>
                    <a:pt x="1782" y="1138"/>
                    <a:pt x="1792" y="1139"/>
                  </a:cubicBezTo>
                  <a:cubicBezTo>
                    <a:pt x="1803" y="1139"/>
                    <a:pt x="1814" y="1140"/>
                    <a:pt x="1824" y="1140"/>
                  </a:cubicBezTo>
                  <a:cubicBezTo>
                    <a:pt x="1825" y="1140"/>
                    <a:pt x="1826" y="1140"/>
                    <a:pt x="1827" y="1140"/>
                  </a:cubicBezTo>
                  <a:cubicBezTo>
                    <a:pt x="1837" y="1141"/>
                    <a:pt x="1846" y="1142"/>
                    <a:pt x="1856" y="1142"/>
                  </a:cubicBezTo>
                  <a:cubicBezTo>
                    <a:pt x="1867" y="1143"/>
                    <a:pt x="1877" y="1144"/>
                    <a:pt x="1888" y="1145"/>
                  </a:cubicBezTo>
                  <a:cubicBezTo>
                    <a:pt x="1898" y="1146"/>
                    <a:pt x="1909" y="1146"/>
                    <a:pt x="1919" y="1147"/>
                  </a:cubicBezTo>
                  <a:cubicBezTo>
                    <a:pt x="1930" y="1148"/>
                    <a:pt x="1940" y="1150"/>
                    <a:pt x="1951" y="1151"/>
                  </a:cubicBezTo>
                  <a:cubicBezTo>
                    <a:pt x="1955" y="1151"/>
                    <a:pt x="1959" y="1152"/>
                    <a:pt x="1963" y="1152"/>
                  </a:cubicBezTo>
                  <a:cubicBezTo>
                    <a:pt x="1969" y="1153"/>
                    <a:pt x="1976" y="1154"/>
                    <a:pt x="1982" y="1154"/>
                  </a:cubicBezTo>
                  <a:cubicBezTo>
                    <a:pt x="1992" y="1156"/>
                    <a:pt x="2003" y="1157"/>
                    <a:pt x="2013" y="1159"/>
                  </a:cubicBezTo>
                  <a:cubicBezTo>
                    <a:pt x="2024" y="1160"/>
                    <a:pt x="2034" y="1162"/>
                    <a:pt x="2044" y="1163"/>
                  </a:cubicBezTo>
                  <a:cubicBezTo>
                    <a:pt x="2055" y="1165"/>
                    <a:pt x="2065" y="1166"/>
                    <a:pt x="2075" y="1168"/>
                  </a:cubicBezTo>
                  <a:cubicBezTo>
                    <a:pt x="2086" y="1170"/>
                    <a:pt x="2096" y="1172"/>
                    <a:pt x="2106" y="1173"/>
                  </a:cubicBezTo>
                  <a:cubicBezTo>
                    <a:pt x="2117" y="1175"/>
                    <a:pt x="2127" y="1177"/>
                    <a:pt x="2137" y="1179"/>
                  </a:cubicBezTo>
                  <a:cubicBezTo>
                    <a:pt x="2147" y="1181"/>
                    <a:pt x="2158" y="1183"/>
                    <a:pt x="2168" y="1186"/>
                  </a:cubicBezTo>
                  <a:cubicBezTo>
                    <a:pt x="2178" y="1188"/>
                    <a:pt x="2188" y="1190"/>
                    <a:pt x="2198" y="1192"/>
                  </a:cubicBezTo>
                  <a:cubicBezTo>
                    <a:pt x="2209" y="1195"/>
                    <a:pt x="2219" y="1197"/>
                    <a:pt x="2229" y="1199"/>
                  </a:cubicBezTo>
                  <a:cubicBezTo>
                    <a:pt x="2230" y="1200"/>
                    <a:pt x="2230" y="1200"/>
                    <a:pt x="2231" y="1200"/>
                  </a:cubicBezTo>
                  <a:cubicBezTo>
                    <a:pt x="2241" y="1202"/>
                    <a:pt x="2250" y="1205"/>
                    <a:pt x="2259" y="1207"/>
                  </a:cubicBezTo>
                  <a:cubicBezTo>
                    <a:pt x="2269" y="1210"/>
                    <a:pt x="2280" y="1212"/>
                    <a:pt x="2290" y="1215"/>
                  </a:cubicBezTo>
                  <a:cubicBezTo>
                    <a:pt x="2300" y="1218"/>
                    <a:pt x="2310" y="1221"/>
                    <a:pt x="2320" y="1224"/>
                  </a:cubicBezTo>
                  <a:cubicBezTo>
                    <a:pt x="2330" y="1227"/>
                    <a:pt x="2340" y="1230"/>
                    <a:pt x="2350" y="1233"/>
                  </a:cubicBezTo>
                  <a:cubicBezTo>
                    <a:pt x="2360" y="1236"/>
                    <a:pt x="2370" y="1239"/>
                    <a:pt x="2380" y="1242"/>
                  </a:cubicBezTo>
                  <a:cubicBezTo>
                    <a:pt x="2390" y="1245"/>
                    <a:pt x="2400" y="1249"/>
                    <a:pt x="2410" y="1252"/>
                  </a:cubicBezTo>
                  <a:cubicBezTo>
                    <a:pt x="2420" y="1255"/>
                    <a:pt x="2430" y="1259"/>
                    <a:pt x="2440" y="1262"/>
                  </a:cubicBezTo>
                  <a:cubicBezTo>
                    <a:pt x="2449" y="1266"/>
                    <a:pt x="2459" y="1269"/>
                    <a:pt x="2469" y="1273"/>
                  </a:cubicBezTo>
                  <a:cubicBezTo>
                    <a:pt x="2476" y="1276"/>
                    <a:pt x="2484" y="1279"/>
                    <a:pt x="2491" y="1281"/>
                  </a:cubicBezTo>
                  <a:cubicBezTo>
                    <a:pt x="2493" y="1282"/>
                    <a:pt x="2496" y="1283"/>
                    <a:pt x="2499" y="1285"/>
                  </a:cubicBezTo>
                  <a:cubicBezTo>
                    <a:pt x="2509" y="1288"/>
                    <a:pt x="2518" y="1292"/>
                    <a:pt x="2528" y="1296"/>
                  </a:cubicBezTo>
                  <a:cubicBezTo>
                    <a:pt x="2538" y="1300"/>
                    <a:pt x="2548" y="1305"/>
                    <a:pt x="2557" y="1309"/>
                  </a:cubicBezTo>
                  <a:cubicBezTo>
                    <a:pt x="2567" y="1313"/>
                    <a:pt x="2577" y="1317"/>
                    <a:pt x="2587" y="1322"/>
                  </a:cubicBezTo>
                  <a:cubicBezTo>
                    <a:pt x="2596" y="1326"/>
                    <a:pt x="2606" y="1331"/>
                    <a:pt x="2616" y="1335"/>
                  </a:cubicBezTo>
                  <a:cubicBezTo>
                    <a:pt x="2625" y="1340"/>
                    <a:pt x="2635" y="1344"/>
                    <a:pt x="2644" y="1349"/>
                  </a:cubicBezTo>
                  <a:cubicBezTo>
                    <a:pt x="2654" y="1354"/>
                    <a:pt x="2664" y="1359"/>
                    <a:pt x="2673" y="1364"/>
                  </a:cubicBezTo>
                  <a:cubicBezTo>
                    <a:pt x="2683" y="1369"/>
                    <a:pt x="2692" y="1374"/>
                    <a:pt x="2702" y="1379"/>
                  </a:cubicBezTo>
                  <a:cubicBezTo>
                    <a:pt x="2711" y="1384"/>
                    <a:pt x="2721" y="1389"/>
                    <a:pt x="2730" y="1395"/>
                  </a:cubicBezTo>
                  <a:cubicBezTo>
                    <a:pt x="2732" y="1396"/>
                    <a:pt x="2734" y="1397"/>
                    <a:pt x="2736" y="1398"/>
                  </a:cubicBezTo>
                  <a:cubicBezTo>
                    <a:pt x="2744" y="1402"/>
                    <a:pt x="2751" y="1407"/>
                    <a:pt x="2759" y="1411"/>
                  </a:cubicBezTo>
                  <a:cubicBezTo>
                    <a:pt x="2768" y="1417"/>
                    <a:pt x="2777" y="1423"/>
                    <a:pt x="2787" y="1428"/>
                  </a:cubicBezTo>
                  <a:cubicBezTo>
                    <a:pt x="2796" y="1434"/>
                    <a:pt x="2806" y="1440"/>
                    <a:pt x="2815" y="1446"/>
                  </a:cubicBezTo>
                  <a:cubicBezTo>
                    <a:pt x="2824" y="1452"/>
                    <a:pt x="2833" y="1458"/>
                    <a:pt x="2843" y="1465"/>
                  </a:cubicBezTo>
                  <a:cubicBezTo>
                    <a:pt x="2846" y="1466"/>
                    <a:pt x="2848" y="1468"/>
                    <a:pt x="2851" y="1470"/>
                  </a:cubicBezTo>
                  <a:cubicBezTo>
                    <a:pt x="2858" y="1475"/>
                    <a:pt x="2864" y="1479"/>
                    <a:pt x="2870" y="1484"/>
                  </a:cubicBezTo>
                  <a:cubicBezTo>
                    <a:pt x="2880" y="1490"/>
                    <a:pt x="2889" y="1497"/>
                    <a:pt x="2898" y="1504"/>
                  </a:cubicBezTo>
                  <a:cubicBezTo>
                    <a:pt x="2907" y="1510"/>
                    <a:pt x="2916" y="1517"/>
                    <a:pt x="2925" y="1524"/>
                  </a:cubicBezTo>
                  <a:cubicBezTo>
                    <a:pt x="2934" y="1532"/>
                    <a:pt x="2943" y="1539"/>
                    <a:pt x="2952" y="1546"/>
                  </a:cubicBezTo>
                  <a:cubicBezTo>
                    <a:pt x="2955" y="1548"/>
                    <a:pt x="2957" y="1550"/>
                    <a:pt x="2960" y="1552"/>
                  </a:cubicBezTo>
                  <a:cubicBezTo>
                    <a:pt x="2966" y="1558"/>
                    <a:pt x="2973" y="1563"/>
                    <a:pt x="2979" y="1569"/>
                  </a:cubicBezTo>
                  <a:cubicBezTo>
                    <a:pt x="2988" y="1576"/>
                    <a:pt x="2997" y="1584"/>
                    <a:pt x="3006" y="1592"/>
                  </a:cubicBezTo>
                  <a:cubicBezTo>
                    <a:pt x="3015" y="1600"/>
                    <a:pt x="3023" y="1608"/>
                    <a:pt x="3032" y="1616"/>
                  </a:cubicBezTo>
                  <a:cubicBezTo>
                    <a:pt x="3041" y="1625"/>
                    <a:pt x="3049" y="1633"/>
                    <a:pt x="3057" y="1641"/>
                  </a:cubicBezTo>
                  <a:cubicBezTo>
                    <a:pt x="3065" y="1649"/>
                    <a:pt x="3073" y="1657"/>
                    <a:pt x="3080" y="1665"/>
                  </a:cubicBezTo>
                  <a:cubicBezTo>
                    <a:pt x="3089" y="1674"/>
                    <a:pt x="3097" y="1683"/>
                    <a:pt x="3106" y="1693"/>
                  </a:cubicBezTo>
                  <a:cubicBezTo>
                    <a:pt x="3114" y="1702"/>
                    <a:pt x="3123" y="1712"/>
                    <a:pt x="3131" y="1722"/>
                  </a:cubicBezTo>
                  <a:cubicBezTo>
                    <a:pt x="3136" y="1728"/>
                    <a:pt x="3141" y="1734"/>
                    <a:pt x="3146" y="1741"/>
                  </a:cubicBezTo>
                  <a:cubicBezTo>
                    <a:pt x="3150" y="1745"/>
                    <a:pt x="3153" y="1749"/>
                    <a:pt x="3156" y="1753"/>
                  </a:cubicBezTo>
                  <a:cubicBezTo>
                    <a:pt x="3160" y="1758"/>
                    <a:pt x="3164" y="1763"/>
                    <a:pt x="3167" y="1767"/>
                  </a:cubicBezTo>
                  <a:cubicBezTo>
                    <a:pt x="3172" y="1773"/>
                    <a:pt x="3176" y="1779"/>
                    <a:pt x="3181" y="1786"/>
                  </a:cubicBezTo>
                  <a:cubicBezTo>
                    <a:pt x="3183" y="1789"/>
                    <a:pt x="3185" y="1792"/>
                    <a:pt x="3187" y="1795"/>
                  </a:cubicBezTo>
                  <a:cubicBezTo>
                    <a:pt x="3193" y="1803"/>
                    <a:pt x="3199" y="1812"/>
                    <a:pt x="3205" y="1820"/>
                  </a:cubicBezTo>
                  <a:cubicBezTo>
                    <a:pt x="3205" y="1821"/>
                    <a:pt x="3206" y="1822"/>
                    <a:pt x="3206" y="1823"/>
                  </a:cubicBezTo>
                  <a:cubicBezTo>
                    <a:pt x="3213" y="1832"/>
                    <a:pt x="3219" y="1842"/>
                    <a:pt x="3225" y="1851"/>
                  </a:cubicBezTo>
                  <a:cubicBezTo>
                    <a:pt x="3226" y="1853"/>
                    <a:pt x="3227" y="1855"/>
                    <a:pt x="3228" y="1857"/>
                  </a:cubicBezTo>
                  <a:cubicBezTo>
                    <a:pt x="3236" y="1869"/>
                    <a:pt x="3244" y="1882"/>
                    <a:pt x="3251" y="1895"/>
                  </a:cubicBezTo>
                  <a:cubicBezTo>
                    <a:pt x="3259" y="1909"/>
                    <a:pt x="3266" y="1923"/>
                    <a:pt x="3273" y="1937"/>
                  </a:cubicBezTo>
                  <a:cubicBezTo>
                    <a:pt x="3279" y="1948"/>
                    <a:pt x="3284" y="1959"/>
                    <a:pt x="3289" y="1970"/>
                  </a:cubicBezTo>
                  <a:cubicBezTo>
                    <a:pt x="3291" y="1974"/>
                    <a:pt x="3293" y="1979"/>
                    <a:pt x="3295" y="1983"/>
                  </a:cubicBezTo>
                  <a:cubicBezTo>
                    <a:pt x="3302" y="1999"/>
                    <a:pt x="3309" y="2015"/>
                    <a:pt x="3316" y="2032"/>
                  </a:cubicBezTo>
                  <a:cubicBezTo>
                    <a:pt x="3322" y="2050"/>
                    <a:pt x="3329" y="2069"/>
                    <a:pt x="3335" y="2087"/>
                  </a:cubicBezTo>
                  <a:cubicBezTo>
                    <a:pt x="3336" y="2090"/>
                    <a:pt x="3337" y="2093"/>
                    <a:pt x="3338" y="2097"/>
                  </a:cubicBezTo>
                  <a:cubicBezTo>
                    <a:pt x="3343" y="2113"/>
                    <a:pt x="3347" y="2130"/>
                    <a:pt x="3352" y="2146"/>
                  </a:cubicBezTo>
                  <a:cubicBezTo>
                    <a:pt x="3373" y="2146"/>
                    <a:pt x="3373" y="2146"/>
                    <a:pt x="3373" y="2146"/>
                  </a:cubicBezTo>
                  <a:cubicBezTo>
                    <a:pt x="3371" y="2136"/>
                    <a:pt x="3368" y="2126"/>
                    <a:pt x="3365" y="21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0" y="1825625"/>
              <a:ext cx="5667375" cy="5073650"/>
            </a:xfrm>
            <a:custGeom>
              <a:avLst/>
              <a:gdLst>
                <a:gd name="T0" fmla="*/ 2234 w 2234"/>
                <a:gd name="T1" fmla="*/ 1809 h 1999"/>
                <a:gd name="T2" fmla="*/ 2223 w 2234"/>
                <a:gd name="T3" fmla="*/ 1712 h 1999"/>
                <a:gd name="T4" fmla="*/ 2172 w 2234"/>
                <a:gd name="T5" fmla="*/ 1596 h 1999"/>
                <a:gd name="T6" fmla="*/ 2110 w 2234"/>
                <a:gd name="T7" fmla="*/ 1522 h 1999"/>
                <a:gd name="T8" fmla="*/ 2042 w 2234"/>
                <a:gd name="T9" fmla="*/ 1465 h 1999"/>
                <a:gd name="T10" fmla="*/ 1962 w 2234"/>
                <a:gd name="T11" fmla="*/ 1413 h 1999"/>
                <a:gd name="T12" fmla="*/ 1897 w 2234"/>
                <a:gd name="T13" fmla="*/ 1382 h 1999"/>
                <a:gd name="T14" fmla="*/ 1698 w 2234"/>
                <a:gd name="T15" fmla="*/ 1328 h 1999"/>
                <a:gd name="T16" fmla="*/ 1491 w 2234"/>
                <a:gd name="T17" fmla="*/ 1304 h 1999"/>
                <a:gd name="T18" fmla="*/ 1282 w 2234"/>
                <a:gd name="T19" fmla="*/ 1291 h 1999"/>
                <a:gd name="T20" fmla="*/ 1049 w 2234"/>
                <a:gd name="T21" fmla="*/ 1279 h 1999"/>
                <a:gd name="T22" fmla="*/ 842 w 2234"/>
                <a:gd name="T23" fmla="*/ 1260 h 1999"/>
                <a:gd name="T24" fmla="*/ 640 w 2234"/>
                <a:gd name="T25" fmla="*/ 1230 h 1999"/>
                <a:gd name="T26" fmla="*/ 453 w 2234"/>
                <a:gd name="T27" fmla="*/ 1187 h 1999"/>
                <a:gd name="T28" fmla="*/ 272 w 2234"/>
                <a:gd name="T29" fmla="*/ 1119 h 1999"/>
                <a:gd name="T30" fmla="*/ 130 w 2234"/>
                <a:gd name="T31" fmla="*/ 1012 h 1999"/>
                <a:gd name="T32" fmla="*/ 93 w 2234"/>
                <a:gd name="T33" fmla="*/ 950 h 1999"/>
                <a:gd name="T34" fmla="*/ 107 w 2234"/>
                <a:gd name="T35" fmla="*/ 760 h 1999"/>
                <a:gd name="T36" fmla="*/ 159 w 2234"/>
                <a:gd name="T37" fmla="*/ 689 h 1999"/>
                <a:gd name="T38" fmla="*/ 299 w 2234"/>
                <a:gd name="T39" fmla="*/ 582 h 1999"/>
                <a:gd name="T40" fmla="*/ 511 w 2234"/>
                <a:gd name="T41" fmla="*/ 494 h 1999"/>
                <a:gd name="T42" fmla="*/ 711 w 2234"/>
                <a:gd name="T43" fmla="*/ 441 h 1999"/>
                <a:gd name="T44" fmla="*/ 940 w 2234"/>
                <a:gd name="T45" fmla="*/ 369 h 1999"/>
                <a:gd name="T46" fmla="*/ 1051 w 2234"/>
                <a:gd name="T47" fmla="*/ 208 h 1999"/>
                <a:gd name="T48" fmla="*/ 992 w 2234"/>
                <a:gd name="T49" fmla="*/ 125 h 1999"/>
                <a:gd name="T50" fmla="*/ 843 w 2234"/>
                <a:gd name="T51" fmla="*/ 58 h 1999"/>
                <a:gd name="T52" fmla="*/ 637 w 2234"/>
                <a:gd name="T53" fmla="*/ 32 h 1999"/>
                <a:gd name="T54" fmla="*/ 443 w 2234"/>
                <a:gd name="T55" fmla="*/ 19 h 1999"/>
                <a:gd name="T56" fmla="*/ 218 w 2234"/>
                <a:gd name="T57" fmla="*/ 9 h 1999"/>
                <a:gd name="T58" fmla="*/ 8 w 2234"/>
                <a:gd name="T59" fmla="*/ 0 h 1999"/>
                <a:gd name="T60" fmla="*/ 153 w 2234"/>
                <a:gd name="T61" fmla="*/ 15 h 1999"/>
                <a:gd name="T62" fmla="*/ 386 w 2234"/>
                <a:gd name="T63" fmla="*/ 26 h 1999"/>
                <a:gd name="T64" fmla="*/ 595 w 2234"/>
                <a:gd name="T65" fmla="*/ 38 h 1999"/>
                <a:gd name="T66" fmla="*/ 801 w 2234"/>
                <a:gd name="T67" fmla="*/ 59 h 1999"/>
                <a:gd name="T68" fmla="*/ 954 w 2234"/>
                <a:gd name="T69" fmla="*/ 109 h 1999"/>
                <a:gd name="T70" fmla="*/ 1036 w 2234"/>
                <a:gd name="T71" fmla="*/ 195 h 1999"/>
                <a:gd name="T72" fmla="*/ 965 w 2234"/>
                <a:gd name="T73" fmla="*/ 340 h 1999"/>
                <a:gd name="T74" fmla="*/ 733 w 2234"/>
                <a:gd name="T75" fmla="*/ 423 h 1999"/>
                <a:gd name="T76" fmla="*/ 516 w 2234"/>
                <a:gd name="T77" fmla="*/ 478 h 1999"/>
                <a:gd name="T78" fmla="*/ 299 w 2234"/>
                <a:gd name="T79" fmla="*/ 565 h 1999"/>
                <a:gd name="T80" fmla="*/ 171 w 2234"/>
                <a:gd name="T81" fmla="*/ 655 h 1999"/>
                <a:gd name="T82" fmla="*/ 101 w 2234"/>
                <a:gd name="T83" fmla="*/ 741 h 1999"/>
                <a:gd name="T84" fmla="*/ 72 w 2234"/>
                <a:gd name="T85" fmla="*/ 927 h 1999"/>
                <a:gd name="T86" fmla="*/ 103 w 2234"/>
                <a:gd name="T87" fmla="*/ 995 h 1999"/>
                <a:gd name="T88" fmla="*/ 225 w 2234"/>
                <a:gd name="T89" fmla="*/ 1107 h 1999"/>
                <a:gd name="T90" fmla="*/ 395 w 2234"/>
                <a:gd name="T91" fmla="*/ 1184 h 1999"/>
                <a:gd name="T92" fmla="*/ 594 w 2234"/>
                <a:gd name="T93" fmla="*/ 1236 h 1999"/>
                <a:gd name="T94" fmla="*/ 798 w 2234"/>
                <a:gd name="T95" fmla="*/ 1270 h 1999"/>
                <a:gd name="T96" fmla="*/ 1004 w 2234"/>
                <a:gd name="T97" fmla="*/ 1292 h 1999"/>
                <a:gd name="T98" fmla="*/ 1213 w 2234"/>
                <a:gd name="T99" fmla="*/ 1305 h 1999"/>
                <a:gd name="T100" fmla="*/ 1422 w 2234"/>
                <a:gd name="T101" fmla="*/ 1316 h 1999"/>
                <a:gd name="T102" fmla="*/ 1629 w 2234"/>
                <a:gd name="T103" fmla="*/ 1336 h 1999"/>
                <a:gd name="T104" fmla="*/ 1809 w 2234"/>
                <a:gd name="T105" fmla="*/ 1370 h 1999"/>
                <a:gd name="T106" fmla="*/ 1950 w 2234"/>
                <a:gd name="T107" fmla="*/ 1425 h 1999"/>
                <a:gd name="T108" fmla="*/ 2001 w 2234"/>
                <a:gd name="T109" fmla="*/ 1456 h 1999"/>
                <a:gd name="T110" fmla="*/ 2081 w 2234"/>
                <a:gd name="T111" fmla="*/ 1516 h 1999"/>
                <a:gd name="T112" fmla="*/ 2152 w 2234"/>
                <a:gd name="T113" fmla="*/ 1598 h 1999"/>
                <a:gd name="T114" fmla="*/ 2200 w 2234"/>
                <a:gd name="T115" fmla="*/ 1699 h 1999"/>
                <a:gd name="T116" fmla="*/ 2214 w 2234"/>
                <a:gd name="T117" fmla="*/ 1805 h 1999"/>
                <a:gd name="T118" fmla="*/ 2184 w 2234"/>
                <a:gd name="T119" fmla="*/ 1971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4" h="1999">
                  <a:moveTo>
                    <a:pt x="2204" y="1980"/>
                  </a:moveTo>
                  <a:cubicBezTo>
                    <a:pt x="2206" y="1971"/>
                    <a:pt x="2206" y="1971"/>
                    <a:pt x="2206" y="1971"/>
                  </a:cubicBezTo>
                  <a:cubicBezTo>
                    <a:pt x="2208" y="1965"/>
                    <a:pt x="2210" y="1959"/>
                    <a:pt x="2212" y="1953"/>
                  </a:cubicBezTo>
                  <a:cubicBezTo>
                    <a:pt x="2214" y="1947"/>
                    <a:pt x="2215" y="1940"/>
                    <a:pt x="2217" y="1934"/>
                  </a:cubicBezTo>
                  <a:cubicBezTo>
                    <a:pt x="2218" y="1928"/>
                    <a:pt x="2220" y="1922"/>
                    <a:pt x="2221" y="1915"/>
                  </a:cubicBezTo>
                  <a:cubicBezTo>
                    <a:pt x="2223" y="1909"/>
                    <a:pt x="2224" y="1903"/>
                    <a:pt x="2225" y="1897"/>
                  </a:cubicBezTo>
                  <a:cubicBezTo>
                    <a:pt x="2227" y="1890"/>
                    <a:pt x="2228" y="1884"/>
                    <a:pt x="2229" y="1877"/>
                  </a:cubicBezTo>
                  <a:cubicBezTo>
                    <a:pt x="2231" y="1864"/>
                    <a:pt x="2232" y="1851"/>
                    <a:pt x="2233" y="1838"/>
                  </a:cubicBezTo>
                  <a:cubicBezTo>
                    <a:pt x="2234" y="1832"/>
                    <a:pt x="2234" y="1825"/>
                    <a:pt x="2234" y="1819"/>
                  </a:cubicBezTo>
                  <a:cubicBezTo>
                    <a:pt x="2234" y="1809"/>
                    <a:pt x="2234" y="1809"/>
                    <a:pt x="2234" y="1809"/>
                  </a:cubicBezTo>
                  <a:cubicBezTo>
                    <a:pt x="2234" y="1799"/>
                    <a:pt x="2234" y="1799"/>
                    <a:pt x="2234" y="1799"/>
                  </a:cubicBezTo>
                  <a:cubicBezTo>
                    <a:pt x="2234" y="1792"/>
                    <a:pt x="2234" y="1785"/>
                    <a:pt x="2233" y="1779"/>
                  </a:cubicBezTo>
                  <a:cubicBezTo>
                    <a:pt x="2233" y="1776"/>
                    <a:pt x="2233" y="1773"/>
                    <a:pt x="2232" y="1770"/>
                  </a:cubicBezTo>
                  <a:cubicBezTo>
                    <a:pt x="2232" y="1766"/>
                    <a:pt x="2232" y="1762"/>
                    <a:pt x="2231" y="1759"/>
                  </a:cubicBezTo>
                  <a:cubicBezTo>
                    <a:pt x="2231" y="1754"/>
                    <a:pt x="2231" y="1754"/>
                    <a:pt x="2231" y="1754"/>
                  </a:cubicBezTo>
                  <a:cubicBezTo>
                    <a:pt x="2230" y="1749"/>
                    <a:pt x="2230" y="1749"/>
                    <a:pt x="2230" y="1749"/>
                  </a:cubicBezTo>
                  <a:cubicBezTo>
                    <a:pt x="2228" y="1739"/>
                    <a:pt x="2228" y="1739"/>
                    <a:pt x="2228" y="1739"/>
                  </a:cubicBezTo>
                  <a:cubicBezTo>
                    <a:pt x="2227" y="1729"/>
                    <a:pt x="2227" y="1729"/>
                    <a:pt x="2227" y="1729"/>
                  </a:cubicBezTo>
                  <a:cubicBezTo>
                    <a:pt x="2226" y="1725"/>
                    <a:pt x="2225" y="1722"/>
                    <a:pt x="2224" y="1719"/>
                  </a:cubicBezTo>
                  <a:cubicBezTo>
                    <a:pt x="2224" y="1716"/>
                    <a:pt x="2223" y="1714"/>
                    <a:pt x="2223" y="1712"/>
                  </a:cubicBezTo>
                  <a:cubicBezTo>
                    <a:pt x="2222" y="1708"/>
                    <a:pt x="2221" y="1703"/>
                    <a:pt x="2219" y="1699"/>
                  </a:cubicBezTo>
                  <a:cubicBezTo>
                    <a:pt x="2217" y="1693"/>
                    <a:pt x="2215" y="1686"/>
                    <a:pt x="2213" y="1680"/>
                  </a:cubicBezTo>
                  <a:cubicBezTo>
                    <a:pt x="2212" y="1676"/>
                    <a:pt x="2211" y="1673"/>
                    <a:pt x="2209" y="1669"/>
                  </a:cubicBezTo>
                  <a:cubicBezTo>
                    <a:pt x="2208" y="1666"/>
                    <a:pt x="2207" y="1663"/>
                    <a:pt x="2206" y="1660"/>
                  </a:cubicBezTo>
                  <a:cubicBezTo>
                    <a:pt x="2203" y="1654"/>
                    <a:pt x="2201" y="1648"/>
                    <a:pt x="2197" y="1642"/>
                  </a:cubicBezTo>
                  <a:cubicBezTo>
                    <a:pt x="2196" y="1639"/>
                    <a:pt x="2195" y="1637"/>
                    <a:pt x="2194" y="1635"/>
                  </a:cubicBezTo>
                  <a:cubicBezTo>
                    <a:pt x="2192" y="1631"/>
                    <a:pt x="2190" y="1627"/>
                    <a:pt x="2188" y="1623"/>
                  </a:cubicBezTo>
                  <a:cubicBezTo>
                    <a:pt x="2184" y="1617"/>
                    <a:pt x="2181" y="1611"/>
                    <a:pt x="2177" y="1605"/>
                  </a:cubicBezTo>
                  <a:cubicBezTo>
                    <a:pt x="2177" y="1605"/>
                    <a:pt x="2177" y="1605"/>
                    <a:pt x="2177" y="1605"/>
                  </a:cubicBezTo>
                  <a:cubicBezTo>
                    <a:pt x="2175" y="1602"/>
                    <a:pt x="2174" y="1599"/>
                    <a:pt x="2172" y="1596"/>
                  </a:cubicBezTo>
                  <a:cubicBezTo>
                    <a:pt x="2166" y="1588"/>
                    <a:pt x="2166" y="1588"/>
                    <a:pt x="2166" y="1588"/>
                  </a:cubicBezTo>
                  <a:cubicBezTo>
                    <a:pt x="2164" y="1585"/>
                    <a:pt x="2162" y="1582"/>
                    <a:pt x="2160" y="1579"/>
                  </a:cubicBezTo>
                  <a:cubicBezTo>
                    <a:pt x="2158" y="1577"/>
                    <a:pt x="2156" y="1574"/>
                    <a:pt x="2154" y="1571"/>
                  </a:cubicBezTo>
                  <a:cubicBezTo>
                    <a:pt x="2150" y="1566"/>
                    <a:pt x="2146" y="1561"/>
                    <a:pt x="2142" y="1557"/>
                  </a:cubicBezTo>
                  <a:cubicBezTo>
                    <a:pt x="2141" y="1556"/>
                    <a:pt x="2141" y="1555"/>
                    <a:pt x="2140" y="1555"/>
                  </a:cubicBezTo>
                  <a:cubicBezTo>
                    <a:pt x="2138" y="1552"/>
                    <a:pt x="2136" y="1549"/>
                    <a:pt x="2134" y="1547"/>
                  </a:cubicBezTo>
                  <a:cubicBezTo>
                    <a:pt x="2126" y="1539"/>
                    <a:pt x="2126" y="1539"/>
                    <a:pt x="2126" y="1539"/>
                  </a:cubicBezTo>
                  <a:cubicBezTo>
                    <a:pt x="2125" y="1538"/>
                    <a:pt x="2124" y="1537"/>
                    <a:pt x="2123" y="1536"/>
                  </a:cubicBezTo>
                  <a:cubicBezTo>
                    <a:pt x="2119" y="1532"/>
                    <a:pt x="2116" y="1528"/>
                    <a:pt x="2112" y="1524"/>
                  </a:cubicBezTo>
                  <a:cubicBezTo>
                    <a:pt x="2111" y="1523"/>
                    <a:pt x="2111" y="1523"/>
                    <a:pt x="2110" y="1522"/>
                  </a:cubicBezTo>
                  <a:cubicBezTo>
                    <a:pt x="2109" y="1522"/>
                    <a:pt x="2109" y="1521"/>
                    <a:pt x="2108" y="1520"/>
                  </a:cubicBezTo>
                  <a:cubicBezTo>
                    <a:pt x="2106" y="1518"/>
                    <a:pt x="2104" y="1516"/>
                    <a:pt x="2101" y="1514"/>
                  </a:cubicBezTo>
                  <a:cubicBezTo>
                    <a:pt x="2098" y="1511"/>
                    <a:pt x="2095" y="1508"/>
                    <a:pt x="2092" y="1506"/>
                  </a:cubicBezTo>
                  <a:cubicBezTo>
                    <a:pt x="2085" y="1498"/>
                    <a:pt x="2085" y="1498"/>
                    <a:pt x="2085" y="1498"/>
                  </a:cubicBezTo>
                  <a:cubicBezTo>
                    <a:pt x="2084" y="1498"/>
                    <a:pt x="2083" y="1497"/>
                    <a:pt x="2082" y="1496"/>
                  </a:cubicBezTo>
                  <a:cubicBezTo>
                    <a:pt x="2080" y="1495"/>
                    <a:pt x="2078" y="1493"/>
                    <a:pt x="2077" y="1492"/>
                  </a:cubicBezTo>
                  <a:cubicBezTo>
                    <a:pt x="2072" y="1488"/>
                    <a:pt x="2067" y="1484"/>
                    <a:pt x="2062" y="1480"/>
                  </a:cubicBezTo>
                  <a:cubicBezTo>
                    <a:pt x="2062" y="1479"/>
                    <a:pt x="2061" y="1479"/>
                    <a:pt x="2060" y="1478"/>
                  </a:cubicBezTo>
                  <a:cubicBezTo>
                    <a:pt x="2055" y="1473"/>
                    <a:pt x="2049" y="1470"/>
                    <a:pt x="2043" y="1465"/>
                  </a:cubicBezTo>
                  <a:cubicBezTo>
                    <a:pt x="2043" y="1465"/>
                    <a:pt x="2043" y="1465"/>
                    <a:pt x="2042" y="1465"/>
                  </a:cubicBezTo>
                  <a:cubicBezTo>
                    <a:pt x="2037" y="1461"/>
                    <a:pt x="2032" y="1457"/>
                    <a:pt x="2026" y="1453"/>
                  </a:cubicBezTo>
                  <a:cubicBezTo>
                    <a:pt x="2025" y="1452"/>
                    <a:pt x="2023" y="1451"/>
                    <a:pt x="2022" y="1450"/>
                  </a:cubicBezTo>
                  <a:cubicBezTo>
                    <a:pt x="2018" y="1447"/>
                    <a:pt x="2013" y="1444"/>
                    <a:pt x="2008" y="1441"/>
                  </a:cubicBezTo>
                  <a:cubicBezTo>
                    <a:pt x="2002" y="1437"/>
                    <a:pt x="2002" y="1437"/>
                    <a:pt x="2002" y="1437"/>
                  </a:cubicBezTo>
                  <a:cubicBezTo>
                    <a:pt x="1999" y="1435"/>
                    <a:pt x="1999" y="1435"/>
                    <a:pt x="1999" y="1435"/>
                  </a:cubicBezTo>
                  <a:cubicBezTo>
                    <a:pt x="1995" y="1432"/>
                    <a:pt x="1995" y="1432"/>
                    <a:pt x="1995" y="1432"/>
                  </a:cubicBezTo>
                  <a:cubicBezTo>
                    <a:pt x="1990" y="1429"/>
                    <a:pt x="1990" y="1429"/>
                    <a:pt x="1990" y="1429"/>
                  </a:cubicBezTo>
                  <a:cubicBezTo>
                    <a:pt x="1987" y="1428"/>
                    <a:pt x="1984" y="1426"/>
                    <a:pt x="1981" y="1424"/>
                  </a:cubicBezTo>
                  <a:cubicBezTo>
                    <a:pt x="1978" y="1422"/>
                    <a:pt x="1975" y="1420"/>
                    <a:pt x="1972" y="1419"/>
                  </a:cubicBezTo>
                  <a:cubicBezTo>
                    <a:pt x="1962" y="1413"/>
                    <a:pt x="1962" y="1413"/>
                    <a:pt x="1962" y="1413"/>
                  </a:cubicBezTo>
                  <a:cubicBezTo>
                    <a:pt x="1961" y="1412"/>
                    <a:pt x="1961" y="1412"/>
                    <a:pt x="1961" y="1412"/>
                  </a:cubicBezTo>
                  <a:cubicBezTo>
                    <a:pt x="1960" y="1412"/>
                    <a:pt x="1960" y="1412"/>
                    <a:pt x="1960" y="1412"/>
                  </a:cubicBezTo>
                  <a:cubicBezTo>
                    <a:pt x="1958" y="1410"/>
                    <a:pt x="1958" y="1410"/>
                    <a:pt x="1958" y="1410"/>
                  </a:cubicBezTo>
                  <a:cubicBezTo>
                    <a:pt x="1953" y="1408"/>
                    <a:pt x="1953" y="1408"/>
                    <a:pt x="1953" y="1408"/>
                  </a:cubicBezTo>
                  <a:cubicBezTo>
                    <a:pt x="1943" y="1403"/>
                    <a:pt x="1943" y="1403"/>
                    <a:pt x="1943" y="1403"/>
                  </a:cubicBezTo>
                  <a:cubicBezTo>
                    <a:pt x="1940" y="1401"/>
                    <a:pt x="1940" y="1401"/>
                    <a:pt x="1940" y="1401"/>
                  </a:cubicBezTo>
                  <a:cubicBezTo>
                    <a:pt x="1934" y="1398"/>
                    <a:pt x="1934" y="1398"/>
                    <a:pt x="1934" y="1398"/>
                  </a:cubicBezTo>
                  <a:cubicBezTo>
                    <a:pt x="1929" y="1395"/>
                    <a:pt x="1923" y="1393"/>
                    <a:pt x="1918" y="1391"/>
                  </a:cubicBezTo>
                  <a:cubicBezTo>
                    <a:pt x="1917" y="1390"/>
                    <a:pt x="1915" y="1389"/>
                    <a:pt x="1914" y="1389"/>
                  </a:cubicBezTo>
                  <a:cubicBezTo>
                    <a:pt x="1908" y="1386"/>
                    <a:pt x="1903" y="1384"/>
                    <a:pt x="1897" y="1382"/>
                  </a:cubicBezTo>
                  <a:cubicBezTo>
                    <a:pt x="1890" y="1379"/>
                    <a:pt x="1883" y="1376"/>
                    <a:pt x="1875" y="1373"/>
                  </a:cubicBezTo>
                  <a:cubicBezTo>
                    <a:pt x="1868" y="1371"/>
                    <a:pt x="1861" y="1368"/>
                    <a:pt x="1854" y="1366"/>
                  </a:cubicBezTo>
                  <a:cubicBezTo>
                    <a:pt x="1846" y="1363"/>
                    <a:pt x="1839" y="1361"/>
                    <a:pt x="1832" y="1358"/>
                  </a:cubicBezTo>
                  <a:cubicBezTo>
                    <a:pt x="1824" y="1356"/>
                    <a:pt x="1817" y="1354"/>
                    <a:pt x="1810" y="1352"/>
                  </a:cubicBezTo>
                  <a:cubicBezTo>
                    <a:pt x="1802" y="1350"/>
                    <a:pt x="1795" y="1348"/>
                    <a:pt x="1787" y="1346"/>
                  </a:cubicBezTo>
                  <a:cubicBezTo>
                    <a:pt x="1780" y="1345"/>
                    <a:pt x="1773" y="1343"/>
                    <a:pt x="1765" y="1341"/>
                  </a:cubicBezTo>
                  <a:cubicBezTo>
                    <a:pt x="1759" y="1340"/>
                    <a:pt x="1753" y="1338"/>
                    <a:pt x="1746" y="1337"/>
                  </a:cubicBezTo>
                  <a:cubicBezTo>
                    <a:pt x="1745" y="1337"/>
                    <a:pt x="1744" y="1336"/>
                    <a:pt x="1743" y="1336"/>
                  </a:cubicBezTo>
                  <a:cubicBezTo>
                    <a:pt x="1735" y="1335"/>
                    <a:pt x="1728" y="1333"/>
                    <a:pt x="1720" y="1332"/>
                  </a:cubicBezTo>
                  <a:cubicBezTo>
                    <a:pt x="1713" y="1330"/>
                    <a:pt x="1705" y="1329"/>
                    <a:pt x="1698" y="1328"/>
                  </a:cubicBezTo>
                  <a:cubicBezTo>
                    <a:pt x="1690" y="1327"/>
                    <a:pt x="1682" y="1325"/>
                    <a:pt x="1675" y="1324"/>
                  </a:cubicBezTo>
                  <a:cubicBezTo>
                    <a:pt x="1667" y="1323"/>
                    <a:pt x="1660" y="1322"/>
                    <a:pt x="1652" y="1321"/>
                  </a:cubicBezTo>
                  <a:cubicBezTo>
                    <a:pt x="1645" y="1320"/>
                    <a:pt x="1637" y="1319"/>
                    <a:pt x="1629" y="1318"/>
                  </a:cubicBezTo>
                  <a:cubicBezTo>
                    <a:pt x="1622" y="1317"/>
                    <a:pt x="1614" y="1316"/>
                    <a:pt x="1606" y="1315"/>
                  </a:cubicBezTo>
                  <a:cubicBezTo>
                    <a:pt x="1599" y="1314"/>
                    <a:pt x="1591" y="1313"/>
                    <a:pt x="1583" y="1312"/>
                  </a:cubicBezTo>
                  <a:cubicBezTo>
                    <a:pt x="1579" y="1312"/>
                    <a:pt x="1574" y="1311"/>
                    <a:pt x="1569" y="1311"/>
                  </a:cubicBezTo>
                  <a:cubicBezTo>
                    <a:pt x="1566" y="1311"/>
                    <a:pt x="1563" y="1310"/>
                    <a:pt x="1560" y="1310"/>
                  </a:cubicBezTo>
                  <a:cubicBezTo>
                    <a:pt x="1553" y="1309"/>
                    <a:pt x="1545" y="1309"/>
                    <a:pt x="1537" y="1308"/>
                  </a:cubicBezTo>
                  <a:cubicBezTo>
                    <a:pt x="1530" y="1307"/>
                    <a:pt x="1522" y="1307"/>
                    <a:pt x="1514" y="1306"/>
                  </a:cubicBezTo>
                  <a:cubicBezTo>
                    <a:pt x="1507" y="1305"/>
                    <a:pt x="1499" y="1305"/>
                    <a:pt x="1491" y="1304"/>
                  </a:cubicBezTo>
                  <a:cubicBezTo>
                    <a:pt x="1483" y="1303"/>
                    <a:pt x="1476" y="1303"/>
                    <a:pt x="1468" y="1302"/>
                  </a:cubicBezTo>
                  <a:cubicBezTo>
                    <a:pt x="1460" y="1302"/>
                    <a:pt x="1453" y="1301"/>
                    <a:pt x="1445" y="1300"/>
                  </a:cubicBezTo>
                  <a:cubicBezTo>
                    <a:pt x="1437" y="1300"/>
                    <a:pt x="1429" y="1299"/>
                    <a:pt x="1422" y="1299"/>
                  </a:cubicBezTo>
                  <a:cubicBezTo>
                    <a:pt x="1414" y="1298"/>
                    <a:pt x="1406" y="1298"/>
                    <a:pt x="1398" y="1297"/>
                  </a:cubicBezTo>
                  <a:cubicBezTo>
                    <a:pt x="1395" y="1297"/>
                    <a:pt x="1392" y="1297"/>
                    <a:pt x="1388" y="1297"/>
                  </a:cubicBezTo>
                  <a:cubicBezTo>
                    <a:pt x="1384" y="1297"/>
                    <a:pt x="1379" y="1296"/>
                    <a:pt x="1375" y="1296"/>
                  </a:cubicBezTo>
                  <a:cubicBezTo>
                    <a:pt x="1367" y="1296"/>
                    <a:pt x="1360" y="1295"/>
                    <a:pt x="1352" y="1295"/>
                  </a:cubicBezTo>
                  <a:cubicBezTo>
                    <a:pt x="1344" y="1294"/>
                    <a:pt x="1336" y="1294"/>
                    <a:pt x="1329" y="1293"/>
                  </a:cubicBezTo>
                  <a:cubicBezTo>
                    <a:pt x="1321" y="1293"/>
                    <a:pt x="1313" y="1293"/>
                    <a:pt x="1305" y="1292"/>
                  </a:cubicBezTo>
                  <a:cubicBezTo>
                    <a:pt x="1298" y="1292"/>
                    <a:pt x="1290" y="1291"/>
                    <a:pt x="1282" y="1291"/>
                  </a:cubicBezTo>
                  <a:cubicBezTo>
                    <a:pt x="1274" y="1291"/>
                    <a:pt x="1267" y="1290"/>
                    <a:pt x="1259" y="1290"/>
                  </a:cubicBezTo>
                  <a:cubicBezTo>
                    <a:pt x="1251" y="1289"/>
                    <a:pt x="1243" y="1289"/>
                    <a:pt x="1235" y="1289"/>
                  </a:cubicBezTo>
                  <a:cubicBezTo>
                    <a:pt x="1228" y="1288"/>
                    <a:pt x="1220" y="1288"/>
                    <a:pt x="1212" y="1288"/>
                  </a:cubicBezTo>
                  <a:cubicBezTo>
                    <a:pt x="1204" y="1287"/>
                    <a:pt x="1197" y="1287"/>
                    <a:pt x="1189" y="1286"/>
                  </a:cubicBezTo>
                  <a:cubicBezTo>
                    <a:pt x="1181" y="1286"/>
                    <a:pt x="1173" y="1286"/>
                    <a:pt x="1166" y="1285"/>
                  </a:cubicBezTo>
                  <a:cubicBezTo>
                    <a:pt x="1158" y="1285"/>
                    <a:pt x="1150" y="1284"/>
                    <a:pt x="1142" y="1284"/>
                  </a:cubicBezTo>
                  <a:cubicBezTo>
                    <a:pt x="1135" y="1284"/>
                    <a:pt x="1127" y="1283"/>
                    <a:pt x="1119" y="1283"/>
                  </a:cubicBezTo>
                  <a:cubicBezTo>
                    <a:pt x="1111" y="1282"/>
                    <a:pt x="1104" y="1282"/>
                    <a:pt x="1096" y="1281"/>
                  </a:cubicBezTo>
                  <a:cubicBezTo>
                    <a:pt x="1088" y="1281"/>
                    <a:pt x="1080" y="1281"/>
                    <a:pt x="1073" y="1280"/>
                  </a:cubicBezTo>
                  <a:cubicBezTo>
                    <a:pt x="1065" y="1280"/>
                    <a:pt x="1057" y="1279"/>
                    <a:pt x="1049" y="1279"/>
                  </a:cubicBezTo>
                  <a:cubicBezTo>
                    <a:pt x="1042" y="1278"/>
                    <a:pt x="1034" y="1278"/>
                    <a:pt x="1026" y="1277"/>
                  </a:cubicBezTo>
                  <a:cubicBezTo>
                    <a:pt x="1023" y="1277"/>
                    <a:pt x="1020" y="1277"/>
                    <a:pt x="1017" y="1276"/>
                  </a:cubicBezTo>
                  <a:cubicBezTo>
                    <a:pt x="1012" y="1276"/>
                    <a:pt x="1008" y="1276"/>
                    <a:pt x="1003" y="1275"/>
                  </a:cubicBezTo>
                  <a:cubicBezTo>
                    <a:pt x="995" y="1275"/>
                    <a:pt x="988" y="1274"/>
                    <a:pt x="980" y="1274"/>
                  </a:cubicBezTo>
                  <a:cubicBezTo>
                    <a:pt x="972" y="1273"/>
                    <a:pt x="964" y="1272"/>
                    <a:pt x="957" y="1272"/>
                  </a:cubicBezTo>
                  <a:cubicBezTo>
                    <a:pt x="949" y="1271"/>
                    <a:pt x="941" y="1270"/>
                    <a:pt x="934" y="1270"/>
                  </a:cubicBezTo>
                  <a:cubicBezTo>
                    <a:pt x="926" y="1269"/>
                    <a:pt x="918" y="1268"/>
                    <a:pt x="911" y="1267"/>
                  </a:cubicBezTo>
                  <a:cubicBezTo>
                    <a:pt x="903" y="1267"/>
                    <a:pt x="895" y="1266"/>
                    <a:pt x="888" y="1265"/>
                  </a:cubicBezTo>
                  <a:cubicBezTo>
                    <a:pt x="880" y="1264"/>
                    <a:pt x="872" y="1263"/>
                    <a:pt x="865" y="1263"/>
                  </a:cubicBezTo>
                  <a:cubicBezTo>
                    <a:pt x="857" y="1262"/>
                    <a:pt x="849" y="1261"/>
                    <a:pt x="842" y="1260"/>
                  </a:cubicBezTo>
                  <a:cubicBezTo>
                    <a:pt x="837" y="1259"/>
                    <a:pt x="833" y="1259"/>
                    <a:pt x="829" y="1258"/>
                  </a:cubicBezTo>
                  <a:cubicBezTo>
                    <a:pt x="826" y="1258"/>
                    <a:pt x="822" y="1257"/>
                    <a:pt x="819" y="1257"/>
                  </a:cubicBezTo>
                  <a:cubicBezTo>
                    <a:pt x="811" y="1256"/>
                    <a:pt x="803" y="1255"/>
                    <a:pt x="796" y="1254"/>
                  </a:cubicBezTo>
                  <a:cubicBezTo>
                    <a:pt x="788" y="1253"/>
                    <a:pt x="781" y="1252"/>
                    <a:pt x="773" y="1251"/>
                  </a:cubicBezTo>
                  <a:cubicBezTo>
                    <a:pt x="765" y="1250"/>
                    <a:pt x="758" y="1249"/>
                    <a:pt x="750" y="1248"/>
                  </a:cubicBezTo>
                  <a:cubicBezTo>
                    <a:pt x="743" y="1247"/>
                    <a:pt x="735" y="1246"/>
                    <a:pt x="727" y="1244"/>
                  </a:cubicBezTo>
                  <a:cubicBezTo>
                    <a:pt x="720" y="1243"/>
                    <a:pt x="712" y="1242"/>
                    <a:pt x="705" y="1241"/>
                  </a:cubicBezTo>
                  <a:cubicBezTo>
                    <a:pt x="697" y="1240"/>
                    <a:pt x="690" y="1238"/>
                    <a:pt x="682" y="1237"/>
                  </a:cubicBezTo>
                  <a:cubicBezTo>
                    <a:pt x="674" y="1236"/>
                    <a:pt x="667" y="1235"/>
                    <a:pt x="659" y="1233"/>
                  </a:cubicBezTo>
                  <a:cubicBezTo>
                    <a:pt x="653" y="1232"/>
                    <a:pt x="646" y="1231"/>
                    <a:pt x="640" y="1230"/>
                  </a:cubicBezTo>
                  <a:cubicBezTo>
                    <a:pt x="639" y="1230"/>
                    <a:pt x="638" y="1230"/>
                    <a:pt x="637" y="1229"/>
                  </a:cubicBezTo>
                  <a:cubicBezTo>
                    <a:pt x="629" y="1228"/>
                    <a:pt x="622" y="1227"/>
                    <a:pt x="614" y="1225"/>
                  </a:cubicBezTo>
                  <a:cubicBezTo>
                    <a:pt x="607" y="1224"/>
                    <a:pt x="599" y="1222"/>
                    <a:pt x="592" y="1221"/>
                  </a:cubicBezTo>
                  <a:cubicBezTo>
                    <a:pt x="584" y="1219"/>
                    <a:pt x="577" y="1218"/>
                    <a:pt x="569" y="1216"/>
                  </a:cubicBezTo>
                  <a:cubicBezTo>
                    <a:pt x="562" y="1214"/>
                    <a:pt x="554" y="1213"/>
                    <a:pt x="547" y="1211"/>
                  </a:cubicBezTo>
                  <a:cubicBezTo>
                    <a:pt x="539" y="1209"/>
                    <a:pt x="532" y="1208"/>
                    <a:pt x="524" y="1206"/>
                  </a:cubicBezTo>
                  <a:cubicBezTo>
                    <a:pt x="517" y="1204"/>
                    <a:pt x="510" y="1202"/>
                    <a:pt x="502" y="1201"/>
                  </a:cubicBezTo>
                  <a:cubicBezTo>
                    <a:pt x="495" y="1199"/>
                    <a:pt x="487" y="1197"/>
                    <a:pt x="480" y="1195"/>
                  </a:cubicBezTo>
                  <a:cubicBezTo>
                    <a:pt x="473" y="1193"/>
                    <a:pt x="465" y="1191"/>
                    <a:pt x="458" y="1189"/>
                  </a:cubicBezTo>
                  <a:cubicBezTo>
                    <a:pt x="456" y="1188"/>
                    <a:pt x="454" y="1188"/>
                    <a:pt x="453" y="1187"/>
                  </a:cubicBezTo>
                  <a:cubicBezTo>
                    <a:pt x="447" y="1186"/>
                    <a:pt x="441" y="1184"/>
                    <a:pt x="436" y="1182"/>
                  </a:cubicBezTo>
                  <a:cubicBezTo>
                    <a:pt x="428" y="1180"/>
                    <a:pt x="421" y="1178"/>
                    <a:pt x="414" y="1176"/>
                  </a:cubicBezTo>
                  <a:cubicBezTo>
                    <a:pt x="406" y="1173"/>
                    <a:pt x="399" y="1171"/>
                    <a:pt x="392" y="1169"/>
                  </a:cubicBezTo>
                  <a:cubicBezTo>
                    <a:pt x="385" y="1166"/>
                    <a:pt x="377" y="1164"/>
                    <a:pt x="370" y="1161"/>
                  </a:cubicBezTo>
                  <a:cubicBezTo>
                    <a:pt x="367" y="1160"/>
                    <a:pt x="364" y="1159"/>
                    <a:pt x="361" y="1158"/>
                  </a:cubicBezTo>
                  <a:cubicBezTo>
                    <a:pt x="357" y="1156"/>
                    <a:pt x="353" y="1154"/>
                    <a:pt x="348" y="1153"/>
                  </a:cubicBezTo>
                  <a:cubicBezTo>
                    <a:pt x="341" y="1150"/>
                    <a:pt x="334" y="1147"/>
                    <a:pt x="327" y="1144"/>
                  </a:cubicBezTo>
                  <a:cubicBezTo>
                    <a:pt x="320" y="1141"/>
                    <a:pt x="313" y="1138"/>
                    <a:pt x="305" y="1135"/>
                  </a:cubicBezTo>
                  <a:cubicBezTo>
                    <a:pt x="298" y="1132"/>
                    <a:pt x="291" y="1129"/>
                    <a:pt x="284" y="1125"/>
                  </a:cubicBezTo>
                  <a:cubicBezTo>
                    <a:pt x="280" y="1123"/>
                    <a:pt x="276" y="1121"/>
                    <a:pt x="272" y="1119"/>
                  </a:cubicBezTo>
                  <a:cubicBezTo>
                    <a:pt x="269" y="1118"/>
                    <a:pt x="266" y="1116"/>
                    <a:pt x="263" y="1115"/>
                  </a:cubicBezTo>
                  <a:cubicBezTo>
                    <a:pt x="256" y="1111"/>
                    <a:pt x="249" y="1107"/>
                    <a:pt x="242" y="1103"/>
                  </a:cubicBezTo>
                  <a:cubicBezTo>
                    <a:pt x="235" y="1099"/>
                    <a:pt x="228" y="1095"/>
                    <a:pt x="222" y="1091"/>
                  </a:cubicBezTo>
                  <a:cubicBezTo>
                    <a:pt x="215" y="1087"/>
                    <a:pt x="208" y="1082"/>
                    <a:pt x="201" y="1077"/>
                  </a:cubicBezTo>
                  <a:cubicBezTo>
                    <a:pt x="197" y="1075"/>
                    <a:pt x="194" y="1072"/>
                    <a:pt x="190" y="1069"/>
                  </a:cubicBezTo>
                  <a:cubicBezTo>
                    <a:pt x="187" y="1067"/>
                    <a:pt x="184" y="1065"/>
                    <a:pt x="181" y="1063"/>
                  </a:cubicBezTo>
                  <a:cubicBezTo>
                    <a:pt x="174" y="1057"/>
                    <a:pt x="168" y="1052"/>
                    <a:pt x="162" y="1046"/>
                  </a:cubicBezTo>
                  <a:cubicBezTo>
                    <a:pt x="157" y="1042"/>
                    <a:pt x="153" y="1038"/>
                    <a:pt x="149" y="1034"/>
                  </a:cubicBezTo>
                  <a:cubicBezTo>
                    <a:pt x="148" y="1033"/>
                    <a:pt x="148" y="1033"/>
                    <a:pt x="148" y="1033"/>
                  </a:cubicBezTo>
                  <a:cubicBezTo>
                    <a:pt x="142" y="1026"/>
                    <a:pt x="135" y="1019"/>
                    <a:pt x="130" y="1012"/>
                  </a:cubicBezTo>
                  <a:cubicBezTo>
                    <a:pt x="128" y="1010"/>
                    <a:pt x="127" y="1008"/>
                    <a:pt x="125" y="1007"/>
                  </a:cubicBezTo>
                  <a:cubicBezTo>
                    <a:pt x="119" y="997"/>
                    <a:pt x="119" y="997"/>
                    <a:pt x="119" y="997"/>
                  </a:cubicBezTo>
                  <a:cubicBezTo>
                    <a:pt x="116" y="994"/>
                    <a:pt x="114" y="990"/>
                    <a:pt x="112" y="987"/>
                  </a:cubicBezTo>
                  <a:cubicBezTo>
                    <a:pt x="112" y="987"/>
                    <a:pt x="112" y="987"/>
                    <a:pt x="112" y="987"/>
                  </a:cubicBezTo>
                  <a:cubicBezTo>
                    <a:pt x="106" y="977"/>
                    <a:pt x="106" y="977"/>
                    <a:pt x="106" y="977"/>
                  </a:cubicBezTo>
                  <a:cubicBezTo>
                    <a:pt x="105" y="975"/>
                    <a:pt x="104" y="973"/>
                    <a:pt x="103" y="971"/>
                  </a:cubicBezTo>
                  <a:cubicBezTo>
                    <a:pt x="100" y="966"/>
                    <a:pt x="100" y="966"/>
                    <a:pt x="100" y="966"/>
                  </a:cubicBezTo>
                  <a:cubicBezTo>
                    <a:pt x="96" y="956"/>
                    <a:pt x="96" y="956"/>
                    <a:pt x="96" y="956"/>
                  </a:cubicBezTo>
                  <a:cubicBezTo>
                    <a:pt x="95" y="955"/>
                    <a:pt x="95" y="955"/>
                    <a:pt x="95" y="955"/>
                  </a:cubicBezTo>
                  <a:cubicBezTo>
                    <a:pt x="94" y="953"/>
                    <a:pt x="94" y="952"/>
                    <a:pt x="93" y="950"/>
                  </a:cubicBezTo>
                  <a:cubicBezTo>
                    <a:pt x="91" y="944"/>
                    <a:pt x="91" y="944"/>
                    <a:pt x="91" y="944"/>
                  </a:cubicBezTo>
                  <a:cubicBezTo>
                    <a:pt x="87" y="933"/>
                    <a:pt x="87" y="933"/>
                    <a:pt x="87" y="933"/>
                  </a:cubicBezTo>
                  <a:cubicBezTo>
                    <a:pt x="86" y="929"/>
                    <a:pt x="85" y="925"/>
                    <a:pt x="84" y="921"/>
                  </a:cubicBezTo>
                  <a:cubicBezTo>
                    <a:pt x="83" y="919"/>
                    <a:pt x="83" y="917"/>
                    <a:pt x="82" y="914"/>
                  </a:cubicBezTo>
                  <a:cubicBezTo>
                    <a:pt x="76" y="886"/>
                    <a:pt x="75" y="856"/>
                    <a:pt x="82" y="827"/>
                  </a:cubicBezTo>
                  <a:cubicBezTo>
                    <a:pt x="83" y="824"/>
                    <a:pt x="84" y="819"/>
                    <a:pt x="85" y="816"/>
                  </a:cubicBezTo>
                  <a:cubicBezTo>
                    <a:pt x="86" y="812"/>
                    <a:pt x="87" y="808"/>
                    <a:pt x="88" y="804"/>
                  </a:cubicBezTo>
                  <a:cubicBezTo>
                    <a:pt x="92" y="793"/>
                    <a:pt x="92" y="793"/>
                    <a:pt x="92" y="793"/>
                  </a:cubicBezTo>
                  <a:cubicBezTo>
                    <a:pt x="94" y="789"/>
                    <a:pt x="95" y="785"/>
                    <a:pt x="97" y="782"/>
                  </a:cubicBezTo>
                  <a:cubicBezTo>
                    <a:pt x="100" y="774"/>
                    <a:pt x="104" y="767"/>
                    <a:pt x="107" y="760"/>
                  </a:cubicBezTo>
                  <a:cubicBezTo>
                    <a:pt x="109" y="757"/>
                    <a:pt x="111" y="753"/>
                    <a:pt x="113" y="750"/>
                  </a:cubicBezTo>
                  <a:cubicBezTo>
                    <a:pt x="116" y="744"/>
                    <a:pt x="116" y="744"/>
                    <a:pt x="116" y="744"/>
                  </a:cubicBezTo>
                  <a:cubicBezTo>
                    <a:pt x="117" y="743"/>
                    <a:pt x="118" y="741"/>
                    <a:pt x="119" y="739"/>
                  </a:cubicBezTo>
                  <a:cubicBezTo>
                    <a:pt x="126" y="730"/>
                    <a:pt x="126" y="730"/>
                    <a:pt x="126" y="730"/>
                  </a:cubicBezTo>
                  <a:cubicBezTo>
                    <a:pt x="126" y="729"/>
                    <a:pt x="126" y="729"/>
                    <a:pt x="126" y="729"/>
                  </a:cubicBezTo>
                  <a:cubicBezTo>
                    <a:pt x="133" y="720"/>
                    <a:pt x="133" y="720"/>
                    <a:pt x="133" y="720"/>
                  </a:cubicBezTo>
                  <a:cubicBezTo>
                    <a:pt x="137" y="715"/>
                    <a:pt x="137" y="715"/>
                    <a:pt x="137" y="715"/>
                  </a:cubicBezTo>
                  <a:cubicBezTo>
                    <a:pt x="140" y="710"/>
                    <a:pt x="140" y="710"/>
                    <a:pt x="140" y="710"/>
                  </a:cubicBezTo>
                  <a:cubicBezTo>
                    <a:pt x="148" y="701"/>
                    <a:pt x="148" y="701"/>
                    <a:pt x="148" y="701"/>
                  </a:cubicBezTo>
                  <a:cubicBezTo>
                    <a:pt x="152" y="697"/>
                    <a:pt x="155" y="693"/>
                    <a:pt x="159" y="689"/>
                  </a:cubicBezTo>
                  <a:cubicBezTo>
                    <a:pt x="166" y="681"/>
                    <a:pt x="174" y="673"/>
                    <a:pt x="181" y="666"/>
                  </a:cubicBezTo>
                  <a:cubicBezTo>
                    <a:pt x="184" y="663"/>
                    <a:pt x="187" y="661"/>
                    <a:pt x="189" y="659"/>
                  </a:cubicBezTo>
                  <a:cubicBezTo>
                    <a:pt x="193" y="656"/>
                    <a:pt x="196" y="653"/>
                    <a:pt x="199" y="650"/>
                  </a:cubicBezTo>
                  <a:cubicBezTo>
                    <a:pt x="206" y="645"/>
                    <a:pt x="212" y="640"/>
                    <a:pt x="218" y="635"/>
                  </a:cubicBezTo>
                  <a:cubicBezTo>
                    <a:pt x="218" y="635"/>
                    <a:pt x="219" y="635"/>
                    <a:pt x="219" y="634"/>
                  </a:cubicBezTo>
                  <a:cubicBezTo>
                    <a:pt x="228" y="627"/>
                    <a:pt x="237" y="620"/>
                    <a:pt x="247" y="614"/>
                  </a:cubicBezTo>
                  <a:cubicBezTo>
                    <a:pt x="251" y="611"/>
                    <a:pt x="254" y="609"/>
                    <a:pt x="258" y="607"/>
                  </a:cubicBezTo>
                  <a:cubicBezTo>
                    <a:pt x="275" y="596"/>
                    <a:pt x="275" y="596"/>
                    <a:pt x="275" y="596"/>
                  </a:cubicBezTo>
                  <a:cubicBezTo>
                    <a:pt x="278" y="594"/>
                    <a:pt x="278" y="594"/>
                    <a:pt x="278" y="594"/>
                  </a:cubicBezTo>
                  <a:cubicBezTo>
                    <a:pt x="299" y="582"/>
                    <a:pt x="299" y="582"/>
                    <a:pt x="299" y="582"/>
                  </a:cubicBezTo>
                  <a:cubicBezTo>
                    <a:pt x="300" y="581"/>
                    <a:pt x="301" y="580"/>
                    <a:pt x="302" y="580"/>
                  </a:cubicBezTo>
                  <a:cubicBezTo>
                    <a:pt x="311" y="575"/>
                    <a:pt x="320" y="570"/>
                    <a:pt x="329" y="566"/>
                  </a:cubicBezTo>
                  <a:cubicBezTo>
                    <a:pt x="333" y="563"/>
                    <a:pt x="338" y="561"/>
                    <a:pt x="342" y="559"/>
                  </a:cubicBezTo>
                  <a:cubicBezTo>
                    <a:pt x="346" y="557"/>
                    <a:pt x="351" y="555"/>
                    <a:pt x="356" y="553"/>
                  </a:cubicBezTo>
                  <a:cubicBezTo>
                    <a:pt x="364" y="549"/>
                    <a:pt x="373" y="545"/>
                    <a:pt x="382" y="541"/>
                  </a:cubicBezTo>
                  <a:cubicBezTo>
                    <a:pt x="391" y="537"/>
                    <a:pt x="399" y="533"/>
                    <a:pt x="408" y="530"/>
                  </a:cubicBezTo>
                  <a:cubicBezTo>
                    <a:pt x="417" y="526"/>
                    <a:pt x="425" y="523"/>
                    <a:pt x="434" y="520"/>
                  </a:cubicBezTo>
                  <a:cubicBezTo>
                    <a:pt x="442" y="517"/>
                    <a:pt x="451" y="513"/>
                    <a:pt x="460" y="510"/>
                  </a:cubicBezTo>
                  <a:cubicBezTo>
                    <a:pt x="468" y="507"/>
                    <a:pt x="477" y="505"/>
                    <a:pt x="485" y="502"/>
                  </a:cubicBezTo>
                  <a:cubicBezTo>
                    <a:pt x="494" y="499"/>
                    <a:pt x="502" y="496"/>
                    <a:pt x="511" y="494"/>
                  </a:cubicBezTo>
                  <a:cubicBezTo>
                    <a:pt x="515" y="492"/>
                    <a:pt x="518" y="491"/>
                    <a:pt x="522" y="490"/>
                  </a:cubicBezTo>
                  <a:cubicBezTo>
                    <a:pt x="527" y="489"/>
                    <a:pt x="531" y="487"/>
                    <a:pt x="536" y="486"/>
                  </a:cubicBezTo>
                  <a:cubicBezTo>
                    <a:pt x="544" y="483"/>
                    <a:pt x="553" y="481"/>
                    <a:pt x="561" y="479"/>
                  </a:cubicBezTo>
                  <a:cubicBezTo>
                    <a:pt x="570" y="476"/>
                    <a:pt x="578" y="474"/>
                    <a:pt x="586" y="472"/>
                  </a:cubicBezTo>
                  <a:cubicBezTo>
                    <a:pt x="595" y="469"/>
                    <a:pt x="603" y="467"/>
                    <a:pt x="612" y="465"/>
                  </a:cubicBezTo>
                  <a:cubicBezTo>
                    <a:pt x="620" y="463"/>
                    <a:pt x="628" y="461"/>
                    <a:pt x="637" y="458"/>
                  </a:cubicBezTo>
                  <a:cubicBezTo>
                    <a:pt x="645" y="456"/>
                    <a:pt x="653" y="454"/>
                    <a:pt x="662" y="452"/>
                  </a:cubicBezTo>
                  <a:cubicBezTo>
                    <a:pt x="670" y="450"/>
                    <a:pt x="678" y="448"/>
                    <a:pt x="687" y="446"/>
                  </a:cubicBezTo>
                  <a:cubicBezTo>
                    <a:pt x="694" y="445"/>
                    <a:pt x="701" y="443"/>
                    <a:pt x="708" y="441"/>
                  </a:cubicBezTo>
                  <a:cubicBezTo>
                    <a:pt x="709" y="441"/>
                    <a:pt x="710" y="441"/>
                    <a:pt x="711" y="441"/>
                  </a:cubicBezTo>
                  <a:cubicBezTo>
                    <a:pt x="720" y="439"/>
                    <a:pt x="728" y="437"/>
                    <a:pt x="736" y="435"/>
                  </a:cubicBezTo>
                  <a:cubicBezTo>
                    <a:pt x="745" y="433"/>
                    <a:pt x="753" y="431"/>
                    <a:pt x="761" y="429"/>
                  </a:cubicBezTo>
                  <a:cubicBezTo>
                    <a:pt x="769" y="427"/>
                    <a:pt x="778" y="425"/>
                    <a:pt x="786" y="423"/>
                  </a:cubicBezTo>
                  <a:cubicBezTo>
                    <a:pt x="794" y="421"/>
                    <a:pt x="803" y="419"/>
                    <a:pt x="811" y="417"/>
                  </a:cubicBezTo>
                  <a:cubicBezTo>
                    <a:pt x="820" y="415"/>
                    <a:pt x="828" y="412"/>
                    <a:pt x="836" y="410"/>
                  </a:cubicBezTo>
                  <a:cubicBezTo>
                    <a:pt x="845" y="407"/>
                    <a:pt x="853" y="405"/>
                    <a:pt x="862" y="402"/>
                  </a:cubicBezTo>
                  <a:cubicBezTo>
                    <a:pt x="870" y="399"/>
                    <a:pt x="879" y="396"/>
                    <a:pt x="887" y="393"/>
                  </a:cubicBezTo>
                  <a:cubicBezTo>
                    <a:pt x="889" y="392"/>
                    <a:pt x="891" y="391"/>
                    <a:pt x="893" y="391"/>
                  </a:cubicBezTo>
                  <a:cubicBezTo>
                    <a:pt x="900" y="388"/>
                    <a:pt x="907" y="385"/>
                    <a:pt x="913" y="382"/>
                  </a:cubicBezTo>
                  <a:cubicBezTo>
                    <a:pt x="922" y="378"/>
                    <a:pt x="931" y="374"/>
                    <a:pt x="940" y="369"/>
                  </a:cubicBezTo>
                  <a:cubicBezTo>
                    <a:pt x="949" y="365"/>
                    <a:pt x="958" y="359"/>
                    <a:pt x="967" y="354"/>
                  </a:cubicBezTo>
                  <a:cubicBezTo>
                    <a:pt x="971" y="351"/>
                    <a:pt x="975" y="349"/>
                    <a:pt x="978" y="347"/>
                  </a:cubicBezTo>
                  <a:cubicBezTo>
                    <a:pt x="988" y="340"/>
                    <a:pt x="988" y="340"/>
                    <a:pt x="988" y="340"/>
                  </a:cubicBezTo>
                  <a:cubicBezTo>
                    <a:pt x="990" y="338"/>
                    <a:pt x="993" y="336"/>
                    <a:pt x="995" y="334"/>
                  </a:cubicBezTo>
                  <a:cubicBezTo>
                    <a:pt x="996" y="334"/>
                    <a:pt x="997" y="333"/>
                    <a:pt x="998" y="332"/>
                  </a:cubicBezTo>
                  <a:cubicBezTo>
                    <a:pt x="1004" y="327"/>
                    <a:pt x="1010" y="323"/>
                    <a:pt x="1016" y="317"/>
                  </a:cubicBezTo>
                  <a:cubicBezTo>
                    <a:pt x="1019" y="314"/>
                    <a:pt x="1022" y="311"/>
                    <a:pt x="1025" y="308"/>
                  </a:cubicBezTo>
                  <a:cubicBezTo>
                    <a:pt x="1033" y="299"/>
                    <a:pt x="1040" y="290"/>
                    <a:pt x="1046" y="279"/>
                  </a:cubicBezTo>
                  <a:cubicBezTo>
                    <a:pt x="1053" y="265"/>
                    <a:pt x="1057" y="248"/>
                    <a:pt x="1056" y="232"/>
                  </a:cubicBezTo>
                  <a:cubicBezTo>
                    <a:pt x="1055" y="224"/>
                    <a:pt x="1054" y="216"/>
                    <a:pt x="1051" y="208"/>
                  </a:cubicBezTo>
                  <a:cubicBezTo>
                    <a:pt x="1050" y="205"/>
                    <a:pt x="1050" y="205"/>
                    <a:pt x="1050" y="205"/>
                  </a:cubicBezTo>
                  <a:cubicBezTo>
                    <a:pt x="1050" y="205"/>
                    <a:pt x="1050" y="204"/>
                    <a:pt x="1050" y="204"/>
                  </a:cubicBezTo>
                  <a:cubicBezTo>
                    <a:pt x="1050" y="203"/>
                    <a:pt x="1049" y="203"/>
                    <a:pt x="1049" y="202"/>
                  </a:cubicBezTo>
                  <a:cubicBezTo>
                    <a:pt x="1047" y="197"/>
                    <a:pt x="1047" y="197"/>
                    <a:pt x="1047" y="197"/>
                  </a:cubicBezTo>
                  <a:cubicBezTo>
                    <a:pt x="1045" y="191"/>
                    <a:pt x="1045" y="191"/>
                    <a:pt x="1045" y="191"/>
                  </a:cubicBezTo>
                  <a:cubicBezTo>
                    <a:pt x="1044" y="190"/>
                    <a:pt x="1043" y="188"/>
                    <a:pt x="1042" y="186"/>
                  </a:cubicBezTo>
                  <a:cubicBezTo>
                    <a:pt x="1039" y="181"/>
                    <a:pt x="1037" y="176"/>
                    <a:pt x="1034" y="172"/>
                  </a:cubicBezTo>
                  <a:cubicBezTo>
                    <a:pt x="1028" y="163"/>
                    <a:pt x="1022" y="155"/>
                    <a:pt x="1016" y="148"/>
                  </a:cubicBezTo>
                  <a:cubicBezTo>
                    <a:pt x="1013" y="145"/>
                    <a:pt x="1009" y="141"/>
                    <a:pt x="1006" y="138"/>
                  </a:cubicBezTo>
                  <a:cubicBezTo>
                    <a:pt x="1001" y="134"/>
                    <a:pt x="997" y="129"/>
                    <a:pt x="992" y="125"/>
                  </a:cubicBezTo>
                  <a:cubicBezTo>
                    <a:pt x="986" y="121"/>
                    <a:pt x="981" y="116"/>
                    <a:pt x="975" y="112"/>
                  </a:cubicBezTo>
                  <a:cubicBezTo>
                    <a:pt x="974" y="112"/>
                    <a:pt x="973" y="111"/>
                    <a:pt x="972" y="110"/>
                  </a:cubicBezTo>
                  <a:cubicBezTo>
                    <a:pt x="965" y="106"/>
                    <a:pt x="958" y="102"/>
                    <a:pt x="951" y="98"/>
                  </a:cubicBezTo>
                  <a:cubicBezTo>
                    <a:pt x="945" y="95"/>
                    <a:pt x="940" y="92"/>
                    <a:pt x="934" y="89"/>
                  </a:cubicBezTo>
                  <a:cubicBezTo>
                    <a:pt x="933" y="89"/>
                    <a:pt x="931" y="88"/>
                    <a:pt x="930" y="87"/>
                  </a:cubicBezTo>
                  <a:cubicBezTo>
                    <a:pt x="923" y="84"/>
                    <a:pt x="916" y="81"/>
                    <a:pt x="909" y="78"/>
                  </a:cubicBezTo>
                  <a:cubicBezTo>
                    <a:pt x="903" y="76"/>
                    <a:pt x="897" y="74"/>
                    <a:pt x="891" y="72"/>
                  </a:cubicBezTo>
                  <a:cubicBezTo>
                    <a:pt x="889" y="71"/>
                    <a:pt x="888" y="71"/>
                    <a:pt x="887" y="71"/>
                  </a:cubicBezTo>
                  <a:cubicBezTo>
                    <a:pt x="880" y="68"/>
                    <a:pt x="872" y="66"/>
                    <a:pt x="865" y="64"/>
                  </a:cubicBezTo>
                  <a:cubicBezTo>
                    <a:pt x="857" y="62"/>
                    <a:pt x="850" y="60"/>
                    <a:pt x="843" y="58"/>
                  </a:cubicBezTo>
                  <a:cubicBezTo>
                    <a:pt x="835" y="57"/>
                    <a:pt x="828" y="55"/>
                    <a:pt x="820" y="53"/>
                  </a:cubicBezTo>
                  <a:cubicBezTo>
                    <a:pt x="814" y="52"/>
                    <a:pt x="808" y="51"/>
                    <a:pt x="801" y="50"/>
                  </a:cubicBezTo>
                  <a:cubicBezTo>
                    <a:pt x="800" y="49"/>
                    <a:pt x="799" y="49"/>
                    <a:pt x="798" y="49"/>
                  </a:cubicBezTo>
                  <a:cubicBezTo>
                    <a:pt x="790" y="48"/>
                    <a:pt x="783" y="47"/>
                    <a:pt x="775" y="45"/>
                  </a:cubicBezTo>
                  <a:cubicBezTo>
                    <a:pt x="767" y="44"/>
                    <a:pt x="760" y="43"/>
                    <a:pt x="752" y="42"/>
                  </a:cubicBezTo>
                  <a:cubicBezTo>
                    <a:pt x="744" y="41"/>
                    <a:pt x="737" y="40"/>
                    <a:pt x="729" y="40"/>
                  </a:cubicBezTo>
                  <a:cubicBezTo>
                    <a:pt x="722" y="39"/>
                    <a:pt x="714" y="38"/>
                    <a:pt x="706" y="37"/>
                  </a:cubicBezTo>
                  <a:cubicBezTo>
                    <a:pt x="698" y="36"/>
                    <a:pt x="691" y="36"/>
                    <a:pt x="683" y="35"/>
                  </a:cubicBezTo>
                  <a:cubicBezTo>
                    <a:pt x="675" y="34"/>
                    <a:pt x="668" y="34"/>
                    <a:pt x="660" y="33"/>
                  </a:cubicBezTo>
                  <a:cubicBezTo>
                    <a:pt x="652" y="33"/>
                    <a:pt x="645" y="32"/>
                    <a:pt x="637" y="32"/>
                  </a:cubicBezTo>
                  <a:cubicBezTo>
                    <a:pt x="631" y="31"/>
                    <a:pt x="626" y="31"/>
                    <a:pt x="621" y="30"/>
                  </a:cubicBezTo>
                  <a:cubicBezTo>
                    <a:pt x="618" y="30"/>
                    <a:pt x="616" y="30"/>
                    <a:pt x="614" y="30"/>
                  </a:cubicBezTo>
                  <a:cubicBezTo>
                    <a:pt x="606" y="29"/>
                    <a:pt x="598" y="29"/>
                    <a:pt x="591" y="28"/>
                  </a:cubicBezTo>
                  <a:cubicBezTo>
                    <a:pt x="583" y="27"/>
                    <a:pt x="575" y="27"/>
                    <a:pt x="567" y="26"/>
                  </a:cubicBezTo>
                  <a:cubicBezTo>
                    <a:pt x="560" y="26"/>
                    <a:pt x="552" y="25"/>
                    <a:pt x="544" y="25"/>
                  </a:cubicBezTo>
                  <a:cubicBezTo>
                    <a:pt x="536" y="24"/>
                    <a:pt x="529" y="24"/>
                    <a:pt x="521" y="23"/>
                  </a:cubicBezTo>
                  <a:cubicBezTo>
                    <a:pt x="513" y="23"/>
                    <a:pt x="505" y="22"/>
                    <a:pt x="498" y="22"/>
                  </a:cubicBezTo>
                  <a:cubicBezTo>
                    <a:pt x="490" y="22"/>
                    <a:pt x="482" y="21"/>
                    <a:pt x="474" y="21"/>
                  </a:cubicBezTo>
                  <a:cubicBezTo>
                    <a:pt x="467" y="20"/>
                    <a:pt x="459" y="20"/>
                    <a:pt x="451" y="20"/>
                  </a:cubicBezTo>
                  <a:cubicBezTo>
                    <a:pt x="448" y="19"/>
                    <a:pt x="446" y="19"/>
                    <a:pt x="443" y="19"/>
                  </a:cubicBezTo>
                  <a:cubicBezTo>
                    <a:pt x="438" y="19"/>
                    <a:pt x="433" y="19"/>
                    <a:pt x="428" y="19"/>
                  </a:cubicBezTo>
                  <a:cubicBezTo>
                    <a:pt x="420" y="18"/>
                    <a:pt x="412" y="18"/>
                    <a:pt x="404" y="17"/>
                  </a:cubicBezTo>
                  <a:cubicBezTo>
                    <a:pt x="397" y="17"/>
                    <a:pt x="389" y="17"/>
                    <a:pt x="381" y="16"/>
                  </a:cubicBezTo>
                  <a:cubicBezTo>
                    <a:pt x="373" y="16"/>
                    <a:pt x="366" y="16"/>
                    <a:pt x="358" y="15"/>
                  </a:cubicBezTo>
                  <a:cubicBezTo>
                    <a:pt x="350" y="15"/>
                    <a:pt x="342" y="15"/>
                    <a:pt x="335" y="14"/>
                  </a:cubicBezTo>
                  <a:cubicBezTo>
                    <a:pt x="327" y="14"/>
                    <a:pt x="319" y="14"/>
                    <a:pt x="311" y="13"/>
                  </a:cubicBezTo>
                  <a:cubicBezTo>
                    <a:pt x="303" y="13"/>
                    <a:pt x="296" y="13"/>
                    <a:pt x="288" y="12"/>
                  </a:cubicBezTo>
                  <a:cubicBezTo>
                    <a:pt x="280" y="12"/>
                    <a:pt x="272" y="11"/>
                    <a:pt x="265" y="11"/>
                  </a:cubicBezTo>
                  <a:cubicBezTo>
                    <a:pt x="257" y="11"/>
                    <a:pt x="249" y="10"/>
                    <a:pt x="241" y="10"/>
                  </a:cubicBezTo>
                  <a:cubicBezTo>
                    <a:pt x="233" y="10"/>
                    <a:pt x="226" y="9"/>
                    <a:pt x="218" y="9"/>
                  </a:cubicBezTo>
                  <a:cubicBezTo>
                    <a:pt x="210" y="9"/>
                    <a:pt x="202" y="8"/>
                    <a:pt x="195" y="8"/>
                  </a:cubicBezTo>
                  <a:cubicBezTo>
                    <a:pt x="187" y="8"/>
                    <a:pt x="179" y="7"/>
                    <a:pt x="171" y="7"/>
                  </a:cubicBezTo>
                  <a:cubicBezTo>
                    <a:pt x="163" y="7"/>
                    <a:pt x="156" y="6"/>
                    <a:pt x="148" y="6"/>
                  </a:cubicBezTo>
                  <a:cubicBezTo>
                    <a:pt x="140" y="6"/>
                    <a:pt x="132" y="5"/>
                    <a:pt x="125" y="5"/>
                  </a:cubicBezTo>
                  <a:cubicBezTo>
                    <a:pt x="117" y="4"/>
                    <a:pt x="109" y="4"/>
                    <a:pt x="101" y="4"/>
                  </a:cubicBezTo>
                  <a:cubicBezTo>
                    <a:pt x="101" y="4"/>
                    <a:pt x="100" y="4"/>
                    <a:pt x="99" y="4"/>
                  </a:cubicBezTo>
                  <a:cubicBezTo>
                    <a:pt x="92" y="3"/>
                    <a:pt x="85" y="3"/>
                    <a:pt x="78" y="3"/>
                  </a:cubicBezTo>
                  <a:cubicBezTo>
                    <a:pt x="70" y="2"/>
                    <a:pt x="62" y="2"/>
                    <a:pt x="55" y="2"/>
                  </a:cubicBezTo>
                  <a:cubicBezTo>
                    <a:pt x="47" y="1"/>
                    <a:pt x="39" y="1"/>
                    <a:pt x="31" y="1"/>
                  </a:cubicBezTo>
                  <a:cubicBezTo>
                    <a:pt x="24" y="1"/>
                    <a:pt x="16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8"/>
                    <a:pt x="9" y="8"/>
                    <a:pt x="14" y="8"/>
                  </a:cubicBezTo>
                  <a:cubicBezTo>
                    <a:pt x="21" y="9"/>
                    <a:pt x="29" y="9"/>
                    <a:pt x="37" y="9"/>
                  </a:cubicBezTo>
                  <a:cubicBezTo>
                    <a:pt x="45" y="10"/>
                    <a:pt x="52" y="10"/>
                    <a:pt x="60" y="10"/>
                  </a:cubicBezTo>
                  <a:cubicBezTo>
                    <a:pt x="68" y="11"/>
                    <a:pt x="76" y="11"/>
                    <a:pt x="83" y="11"/>
                  </a:cubicBezTo>
                  <a:cubicBezTo>
                    <a:pt x="90" y="12"/>
                    <a:pt x="96" y="12"/>
                    <a:pt x="103" y="12"/>
                  </a:cubicBezTo>
                  <a:cubicBezTo>
                    <a:pt x="104" y="12"/>
                    <a:pt x="105" y="12"/>
                    <a:pt x="107" y="13"/>
                  </a:cubicBezTo>
                  <a:cubicBezTo>
                    <a:pt x="115" y="13"/>
                    <a:pt x="122" y="13"/>
                    <a:pt x="130" y="14"/>
                  </a:cubicBezTo>
                  <a:cubicBezTo>
                    <a:pt x="138" y="14"/>
                    <a:pt x="146" y="14"/>
                    <a:pt x="153" y="15"/>
                  </a:cubicBezTo>
                  <a:cubicBezTo>
                    <a:pt x="161" y="15"/>
                    <a:pt x="169" y="15"/>
                    <a:pt x="177" y="16"/>
                  </a:cubicBezTo>
                  <a:cubicBezTo>
                    <a:pt x="184" y="16"/>
                    <a:pt x="192" y="17"/>
                    <a:pt x="200" y="17"/>
                  </a:cubicBezTo>
                  <a:cubicBezTo>
                    <a:pt x="208" y="17"/>
                    <a:pt x="215" y="18"/>
                    <a:pt x="223" y="18"/>
                  </a:cubicBezTo>
                  <a:cubicBezTo>
                    <a:pt x="231" y="18"/>
                    <a:pt x="239" y="19"/>
                    <a:pt x="246" y="19"/>
                  </a:cubicBezTo>
                  <a:cubicBezTo>
                    <a:pt x="254" y="20"/>
                    <a:pt x="262" y="20"/>
                    <a:pt x="270" y="20"/>
                  </a:cubicBezTo>
                  <a:cubicBezTo>
                    <a:pt x="277" y="21"/>
                    <a:pt x="285" y="21"/>
                    <a:pt x="293" y="21"/>
                  </a:cubicBezTo>
                  <a:cubicBezTo>
                    <a:pt x="301" y="22"/>
                    <a:pt x="308" y="22"/>
                    <a:pt x="316" y="22"/>
                  </a:cubicBezTo>
                  <a:cubicBezTo>
                    <a:pt x="324" y="23"/>
                    <a:pt x="332" y="23"/>
                    <a:pt x="339" y="24"/>
                  </a:cubicBezTo>
                  <a:cubicBezTo>
                    <a:pt x="347" y="24"/>
                    <a:pt x="355" y="24"/>
                    <a:pt x="363" y="25"/>
                  </a:cubicBezTo>
                  <a:cubicBezTo>
                    <a:pt x="370" y="25"/>
                    <a:pt x="378" y="25"/>
                    <a:pt x="386" y="26"/>
                  </a:cubicBezTo>
                  <a:cubicBezTo>
                    <a:pt x="394" y="26"/>
                    <a:pt x="401" y="26"/>
                    <a:pt x="409" y="27"/>
                  </a:cubicBezTo>
                  <a:cubicBezTo>
                    <a:pt x="417" y="27"/>
                    <a:pt x="425" y="28"/>
                    <a:pt x="432" y="28"/>
                  </a:cubicBezTo>
                  <a:cubicBezTo>
                    <a:pt x="437" y="28"/>
                    <a:pt x="442" y="28"/>
                    <a:pt x="447" y="29"/>
                  </a:cubicBezTo>
                  <a:cubicBezTo>
                    <a:pt x="450" y="29"/>
                    <a:pt x="453" y="29"/>
                    <a:pt x="456" y="29"/>
                  </a:cubicBezTo>
                  <a:cubicBezTo>
                    <a:pt x="463" y="29"/>
                    <a:pt x="471" y="30"/>
                    <a:pt x="479" y="30"/>
                  </a:cubicBezTo>
                  <a:cubicBezTo>
                    <a:pt x="487" y="31"/>
                    <a:pt x="494" y="31"/>
                    <a:pt x="502" y="32"/>
                  </a:cubicBezTo>
                  <a:cubicBezTo>
                    <a:pt x="510" y="32"/>
                    <a:pt x="518" y="32"/>
                    <a:pt x="525" y="33"/>
                  </a:cubicBezTo>
                  <a:cubicBezTo>
                    <a:pt x="533" y="33"/>
                    <a:pt x="541" y="34"/>
                    <a:pt x="549" y="34"/>
                  </a:cubicBezTo>
                  <a:cubicBezTo>
                    <a:pt x="556" y="35"/>
                    <a:pt x="564" y="36"/>
                    <a:pt x="572" y="36"/>
                  </a:cubicBezTo>
                  <a:cubicBezTo>
                    <a:pt x="579" y="37"/>
                    <a:pt x="587" y="37"/>
                    <a:pt x="595" y="38"/>
                  </a:cubicBezTo>
                  <a:cubicBezTo>
                    <a:pt x="603" y="38"/>
                    <a:pt x="610" y="39"/>
                    <a:pt x="618" y="40"/>
                  </a:cubicBezTo>
                  <a:cubicBezTo>
                    <a:pt x="620" y="40"/>
                    <a:pt x="622" y="40"/>
                    <a:pt x="624" y="40"/>
                  </a:cubicBezTo>
                  <a:cubicBezTo>
                    <a:pt x="630" y="41"/>
                    <a:pt x="635" y="41"/>
                    <a:pt x="641" y="41"/>
                  </a:cubicBezTo>
                  <a:cubicBezTo>
                    <a:pt x="649" y="42"/>
                    <a:pt x="656" y="43"/>
                    <a:pt x="664" y="43"/>
                  </a:cubicBezTo>
                  <a:cubicBezTo>
                    <a:pt x="672" y="44"/>
                    <a:pt x="679" y="45"/>
                    <a:pt x="687" y="45"/>
                  </a:cubicBezTo>
                  <a:cubicBezTo>
                    <a:pt x="695" y="46"/>
                    <a:pt x="703" y="47"/>
                    <a:pt x="710" y="47"/>
                  </a:cubicBezTo>
                  <a:cubicBezTo>
                    <a:pt x="718" y="48"/>
                    <a:pt x="726" y="49"/>
                    <a:pt x="733" y="50"/>
                  </a:cubicBezTo>
                  <a:cubicBezTo>
                    <a:pt x="741" y="51"/>
                    <a:pt x="748" y="52"/>
                    <a:pt x="756" y="53"/>
                  </a:cubicBezTo>
                  <a:cubicBezTo>
                    <a:pt x="764" y="54"/>
                    <a:pt x="771" y="55"/>
                    <a:pt x="779" y="56"/>
                  </a:cubicBezTo>
                  <a:cubicBezTo>
                    <a:pt x="786" y="57"/>
                    <a:pt x="794" y="58"/>
                    <a:pt x="801" y="59"/>
                  </a:cubicBezTo>
                  <a:cubicBezTo>
                    <a:pt x="802" y="60"/>
                    <a:pt x="803" y="60"/>
                    <a:pt x="804" y="60"/>
                  </a:cubicBezTo>
                  <a:cubicBezTo>
                    <a:pt x="811" y="61"/>
                    <a:pt x="817" y="62"/>
                    <a:pt x="824" y="64"/>
                  </a:cubicBezTo>
                  <a:cubicBezTo>
                    <a:pt x="831" y="65"/>
                    <a:pt x="839" y="67"/>
                    <a:pt x="846" y="69"/>
                  </a:cubicBezTo>
                  <a:cubicBezTo>
                    <a:pt x="854" y="71"/>
                    <a:pt x="861" y="73"/>
                    <a:pt x="868" y="75"/>
                  </a:cubicBezTo>
                  <a:cubicBezTo>
                    <a:pt x="876" y="77"/>
                    <a:pt x="883" y="79"/>
                    <a:pt x="890" y="81"/>
                  </a:cubicBezTo>
                  <a:cubicBezTo>
                    <a:pt x="891" y="82"/>
                    <a:pt x="892" y="82"/>
                    <a:pt x="893" y="82"/>
                  </a:cubicBezTo>
                  <a:cubicBezTo>
                    <a:pt x="899" y="84"/>
                    <a:pt x="906" y="87"/>
                    <a:pt x="912" y="89"/>
                  </a:cubicBezTo>
                  <a:cubicBezTo>
                    <a:pt x="919" y="92"/>
                    <a:pt x="926" y="95"/>
                    <a:pt x="933" y="98"/>
                  </a:cubicBezTo>
                  <a:cubicBezTo>
                    <a:pt x="934" y="99"/>
                    <a:pt x="935" y="99"/>
                    <a:pt x="935" y="99"/>
                  </a:cubicBezTo>
                  <a:cubicBezTo>
                    <a:pt x="942" y="102"/>
                    <a:pt x="948" y="106"/>
                    <a:pt x="954" y="109"/>
                  </a:cubicBezTo>
                  <a:cubicBezTo>
                    <a:pt x="961" y="113"/>
                    <a:pt x="968" y="117"/>
                    <a:pt x="975" y="122"/>
                  </a:cubicBezTo>
                  <a:cubicBezTo>
                    <a:pt x="975" y="122"/>
                    <a:pt x="975" y="122"/>
                    <a:pt x="975" y="122"/>
                  </a:cubicBezTo>
                  <a:cubicBezTo>
                    <a:pt x="982" y="127"/>
                    <a:pt x="988" y="132"/>
                    <a:pt x="995" y="137"/>
                  </a:cubicBezTo>
                  <a:cubicBezTo>
                    <a:pt x="997" y="139"/>
                    <a:pt x="999" y="141"/>
                    <a:pt x="1001" y="143"/>
                  </a:cubicBezTo>
                  <a:cubicBezTo>
                    <a:pt x="1003" y="145"/>
                    <a:pt x="1004" y="146"/>
                    <a:pt x="1006" y="148"/>
                  </a:cubicBezTo>
                  <a:cubicBezTo>
                    <a:pt x="1007" y="149"/>
                    <a:pt x="1008" y="150"/>
                    <a:pt x="1009" y="152"/>
                  </a:cubicBezTo>
                  <a:cubicBezTo>
                    <a:pt x="1016" y="159"/>
                    <a:pt x="1022" y="168"/>
                    <a:pt x="1027" y="176"/>
                  </a:cubicBezTo>
                  <a:cubicBezTo>
                    <a:pt x="1028" y="179"/>
                    <a:pt x="1030" y="182"/>
                    <a:pt x="1032" y="185"/>
                  </a:cubicBezTo>
                  <a:cubicBezTo>
                    <a:pt x="1032" y="187"/>
                    <a:pt x="1033" y="188"/>
                    <a:pt x="1034" y="190"/>
                  </a:cubicBezTo>
                  <a:cubicBezTo>
                    <a:pt x="1036" y="195"/>
                    <a:pt x="1036" y="195"/>
                    <a:pt x="1036" y="195"/>
                  </a:cubicBezTo>
                  <a:cubicBezTo>
                    <a:pt x="1039" y="201"/>
                    <a:pt x="1039" y="201"/>
                    <a:pt x="1039" y="201"/>
                  </a:cubicBezTo>
                  <a:cubicBezTo>
                    <a:pt x="1039" y="202"/>
                    <a:pt x="1039" y="203"/>
                    <a:pt x="1040" y="203"/>
                  </a:cubicBezTo>
                  <a:cubicBezTo>
                    <a:pt x="1041" y="206"/>
                    <a:pt x="1041" y="206"/>
                    <a:pt x="1041" y="206"/>
                  </a:cubicBezTo>
                  <a:cubicBezTo>
                    <a:pt x="1041" y="208"/>
                    <a:pt x="1042" y="210"/>
                    <a:pt x="1042" y="212"/>
                  </a:cubicBezTo>
                  <a:cubicBezTo>
                    <a:pt x="1043" y="217"/>
                    <a:pt x="1044" y="223"/>
                    <a:pt x="1045" y="228"/>
                  </a:cubicBezTo>
                  <a:cubicBezTo>
                    <a:pt x="1045" y="243"/>
                    <a:pt x="1042" y="258"/>
                    <a:pt x="1035" y="272"/>
                  </a:cubicBezTo>
                  <a:cubicBezTo>
                    <a:pt x="1032" y="278"/>
                    <a:pt x="1028" y="284"/>
                    <a:pt x="1024" y="290"/>
                  </a:cubicBezTo>
                  <a:cubicBezTo>
                    <a:pt x="1015" y="301"/>
                    <a:pt x="1004" y="311"/>
                    <a:pt x="993" y="320"/>
                  </a:cubicBezTo>
                  <a:cubicBezTo>
                    <a:pt x="986" y="325"/>
                    <a:pt x="978" y="331"/>
                    <a:pt x="970" y="336"/>
                  </a:cubicBezTo>
                  <a:cubicBezTo>
                    <a:pt x="968" y="338"/>
                    <a:pt x="966" y="339"/>
                    <a:pt x="965" y="340"/>
                  </a:cubicBezTo>
                  <a:cubicBezTo>
                    <a:pt x="956" y="346"/>
                    <a:pt x="947" y="351"/>
                    <a:pt x="937" y="356"/>
                  </a:cubicBezTo>
                  <a:cubicBezTo>
                    <a:pt x="929" y="361"/>
                    <a:pt x="920" y="365"/>
                    <a:pt x="911" y="369"/>
                  </a:cubicBezTo>
                  <a:cubicBezTo>
                    <a:pt x="903" y="373"/>
                    <a:pt x="895" y="376"/>
                    <a:pt x="887" y="379"/>
                  </a:cubicBezTo>
                  <a:cubicBezTo>
                    <a:pt x="886" y="380"/>
                    <a:pt x="885" y="380"/>
                    <a:pt x="884" y="380"/>
                  </a:cubicBezTo>
                  <a:cubicBezTo>
                    <a:pt x="876" y="383"/>
                    <a:pt x="867" y="387"/>
                    <a:pt x="859" y="389"/>
                  </a:cubicBezTo>
                  <a:cubicBezTo>
                    <a:pt x="850" y="392"/>
                    <a:pt x="842" y="395"/>
                    <a:pt x="833" y="397"/>
                  </a:cubicBezTo>
                  <a:cubicBezTo>
                    <a:pt x="825" y="400"/>
                    <a:pt x="816" y="402"/>
                    <a:pt x="808" y="405"/>
                  </a:cubicBezTo>
                  <a:cubicBezTo>
                    <a:pt x="800" y="407"/>
                    <a:pt x="791" y="409"/>
                    <a:pt x="783" y="411"/>
                  </a:cubicBezTo>
                  <a:cubicBezTo>
                    <a:pt x="775" y="413"/>
                    <a:pt x="766" y="415"/>
                    <a:pt x="758" y="417"/>
                  </a:cubicBezTo>
                  <a:cubicBezTo>
                    <a:pt x="750" y="419"/>
                    <a:pt x="741" y="421"/>
                    <a:pt x="733" y="423"/>
                  </a:cubicBezTo>
                  <a:cubicBezTo>
                    <a:pt x="725" y="424"/>
                    <a:pt x="716" y="426"/>
                    <a:pt x="708" y="428"/>
                  </a:cubicBezTo>
                  <a:cubicBezTo>
                    <a:pt x="706" y="429"/>
                    <a:pt x="704" y="429"/>
                    <a:pt x="703" y="429"/>
                  </a:cubicBezTo>
                  <a:cubicBezTo>
                    <a:pt x="696" y="431"/>
                    <a:pt x="690" y="432"/>
                    <a:pt x="683" y="434"/>
                  </a:cubicBezTo>
                  <a:cubicBezTo>
                    <a:pt x="675" y="436"/>
                    <a:pt x="667" y="438"/>
                    <a:pt x="658" y="440"/>
                  </a:cubicBezTo>
                  <a:cubicBezTo>
                    <a:pt x="650" y="442"/>
                    <a:pt x="642" y="444"/>
                    <a:pt x="633" y="446"/>
                  </a:cubicBezTo>
                  <a:cubicBezTo>
                    <a:pt x="625" y="448"/>
                    <a:pt x="617" y="450"/>
                    <a:pt x="608" y="452"/>
                  </a:cubicBezTo>
                  <a:cubicBezTo>
                    <a:pt x="600" y="454"/>
                    <a:pt x="591" y="456"/>
                    <a:pt x="583" y="459"/>
                  </a:cubicBezTo>
                  <a:cubicBezTo>
                    <a:pt x="575" y="461"/>
                    <a:pt x="566" y="463"/>
                    <a:pt x="558" y="466"/>
                  </a:cubicBezTo>
                  <a:cubicBezTo>
                    <a:pt x="549" y="468"/>
                    <a:pt x="541" y="470"/>
                    <a:pt x="533" y="473"/>
                  </a:cubicBezTo>
                  <a:cubicBezTo>
                    <a:pt x="527" y="474"/>
                    <a:pt x="521" y="476"/>
                    <a:pt x="516" y="478"/>
                  </a:cubicBezTo>
                  <a:cubicBezTo>
                    <a:pt x="513" y="479"/>
                    <a:pt x="510" y="479"/>
                    <a:pt x="507" y="480"/>
                  </a:cubicBezTo>
                  <a:cubicBezTo>
                    <a:pt x="499" y="483"/>
                    <a:pt x="490" y="486"/>
                    <a:pt x="482" y="488"/>
                  </a:cubicBezTo>
                  <a:cubicBezTo>
                    <a:pt x="473" y="491"/>
                    <a:pt x="465" y="494"/>
                    <a:pt x="456" y="497"/>
                  </a:cubicBezTo>
                  <a:cubicBezTo>
                    <a:pt x="448" y="500"/>
                    <a:pt x="439" y="503"/>
                    <a:pt x="430" y="506"/>
                  </a:cubicBezTo>
                  <a:cubicBezTo>
                    <a:pt x="422" y="509"/>
                    <a:pt x="413" y="513"/>
                    <a:pt x="405" y="516"/>
                  </a:cubicBezTo>
                  <a:cubicBezTo>
                    <a:pt x="396" y="520"/>
                    <a:pt x="387" y="523"/>
                    <a:pt x="378" y="527"/>
                  </a:cubicBezTo>
                  <a:cubicBezTo>
                    <a:pt x="370" y="531"/>
                    <a:pt x="361" y="534"/>
                    <a:pt x="352" y="538"/>
                  </a:cubicBezTo>
                  <a:cubicBezTo>
                    <a:pt x="346" y="541"/>
                    <a:pt x="340" y="544"/>
                    <a:pt x="334" y="547"/>
                  </a:cubicBezTo>
                  <a:cubicBezTo>
                    <a:pt x="331" y="548"/>
                    <a:pt x="328" y="550"/>
                    <a:pt x="326" y="551"/>
                  </a:cubicBezTo>
                  <a:cubicBezTo>
                    <a:pt x="317" y="556"/>
                    <a:pt x="308" y="560"/>
                    <a:pt x="299" y="565"/>
                  </a:cubicBezTo>
                  <a:cubicBezTo>
                    <a:pt x="296" y="567"/>
                    <a:pt x="293" y="568"/>
                    <a:pt x="290" y="570"/>
                  </a:cubicBezTo>
                  <a:cubicBezTo>
                    <a:pt x="271" y="581"/>
                    <a:pt x="271" y="581"/>
                    <a:pt x="271" y="581"/>
                  </a:cubicBezTo>
                  <a:cubicBezTo>
                    <a:pt x="269" y="582"/>
                    <a:pt x="269" y="582"/>
                    <a:pt x="269" y="582"/>
                  </a:cubicBezTo>
                  <a:cubicBezTo>
                    <a:pt x="249" y="595"/>
                    <a:pt x="249" y="595"/>
                    <a:pt x="249" y="595"/>
                  </a:cubicBezTo>
                  <a:cubicBezTo>
                    <a:pt x="247" y="596"/>
                    <a:pt x="245" y="597"/>
                    <a:pt x="244" y="598"/>
                  </a:cubicBezTo>
                  <a:cubicBezTo>
                    <a:pt x="234" y="605"/>
                    <a:pt x="225" y="611"/>
                    <a:pt x="215" y="618"/>
                  </a:cubicBezTo>
                  <a:cubicBezTo>
                    <a:pt x="213" y="620"/>
                    <a:pt x="211" y="621"/>
                    <a:pt x="209" y="623"/>
                  </a:cubicBezTo>
                  <a:cubicBezTo>
                    <a:pt x="202" y="628"/>
                    <a:pt x="196" y="634"/>
                    <a:pt x="189" y="639"/>
                  </a:cubicBezTo>
                  <a:cubicBezTo>
                    <a:pt x="188" y="639"/>
                    <a:pt x="187" y="640"/>
                    <a:pt x="186" y="641"/>
                  </a:cubicBezTo>
                  <a:cubicBezTo>
                    <a:pt x="181" y="646"/>
                    <a:pt x="176" y="650"/>
                    <a:pt x="171" y="655"/>
                  </a:cubicBezTo>
                  <a:cubicBezTo>
                    <a:pt x="166" y="660"/>
                    <a:pt x="161" y="664"/>
                    <a:pt x="156" y="669"/>
                  </a:cubicBezTo>
                  <a:cubicBezTo>
                    <a:pt x="150" y="676"/>
                    <a:pt x="143" y="683"/>
                    <a:pt x="137" y="690"/>
                  </a:cubicBezTo>
                  <a:cubicBezTo>
                    <a:pt x="129" y="700"/>
                    <a:pt x="129" y="700"/>
                    <a:pt x="129" y="700"/>
                  </a:cubicBezTo>
                  <a:cubicBezTo>
                    <a:pt x="125" y="705"/>
                    <a:pt x="125" y="705"/>
                    <a:pt x="125" y="705"/>
                  </a:cubicBezTo>
                  <a:cubicBezTo>
                    <a:pt x="124" y="706"/>
                    <a:pt x="124" y="706"/>
                    <a:pt x="124" y="706"/>
                  </a:cubicBezTo>
                  <a:cubicBezTo>
                    <a:pt x="121" y="710"/>
                    <a:pt x="121" y="710"/>
                    <a:pt x="121" y="710"/>
                  </a:cubicBezTo>
                  <a:cubicBezTo>
                    <a:pt x="114" y="720"/>
                    <a:pt x="114" y="720"/>
                    <a:pt x="114" y="720"/>
                  </a:cubicBezTo>
                  <a:cubicBezTo>
                    <a:pt x="107" y="730"/>
                    <a:pt x="107" y="730"/>
                    <a:pt x="107" y="730"/>
                  </a:cubicBezTo>
                  <a:cubicBezTo>
                    <a:pt x="106" y="732"/>
                    <a:pt x="105" y="734"/>
                    <a:pt x="104" y="735"/>
                  </a:cubicBezTo>
                  <a:cubicBezTo>
                    <a:pt x="101" y="741"/>
                    <a:pt x="101" y="741"/>
                    <a:pt x="101" y="741"/>
                  </a:cubicBezTo>
                  <a:cubicBezTo>
                    <a:pt x="99" y="744"/>
                    <a:pt x="97" y="748"/>
                    <a:pt x="95" y="751"/>
                  </a:cubicBezTo>
                  <a:cubicBezTo>
                    <a:pt x="91" y="758"/>
                    <a:pt x="88" y="764"/>
                    <a:pt x="85" y="771"/>
                  </a:cubicBezTo>
                  <a:cubicBezTo>
                    <a:pt x="85" y="772"/>
                    <a:pt x="84" y="773"/>
                    <a:pt x="84" y="774"/>
                  </a:cubicBezTo>
                  <a:cubicBezTo>
                    <a:pt x="82" y="778"/>
                    <a:pt x="80" y="781"/>
                    <a:pt x="79" y="785"/>
                  </a:cubicBezTo>
                  <a:cubicBezTo>
                    <a:pt x="75" y="797"/>
                    <a:pt x="75" y="797"/>
                    <a:pt x="75" y="797"/>
                  </a:cubicBezTo>
                  <a:cubicBezTo>
                    <a:pt x="73" y="801"/>
                    <a:pt x="72" y="805"/>
                    <a:pt x="71" y="809"/>
                  </a:cubicBezTo>
                  <a:cubicBezTo>
                    <a:pt x="70" y="813"/>
                    <a:pt x="69" y="816"/>
                    <a:pt x="68" y="821"/>
                  </a:cubicBezTo>
                  <a:cubicBezTo>
                    <a:pt x="65" y="835"/>
                    <a:pt x="63" y="850"/>
                    <a:pt x="63" y="864"/>
                  </a:cubicBezTo>
                  <a:cubicBezTo>
                    <a:pt x="63" y="883"/>
                    <a:pt x="65" y="902"/>
                    <a:pt x="70" y="920"/>
                  </a:cubicBezTo>
                  <a:cubicBezTo>
                    <a:pt x="70" y="922"/>
                    <a:pt x="71" y="925"/>
                    <a:pt x="72" y="927"/>
                  </a:cubicBezTo>
                  <a:cubicBezTo>
                    <a:pt x="72" y="929"/>
                    <a:pt x="73" y="930"/>
                    <a:pt x="73" y="932"/>
                  </a:cubicBezTo>
                  <a:cubicBezTo>
                    <a:pt x="77" y="944"/>
                    <a:pt x="77" y="944"/>
                    <a:pt x="77" y="944"/>
                  </a:cubicBezTo>
                  <a:cubicBezTo>
                    <a:pt x="79" y="950"/>
                    <a:pt x="79" y="950"/>
                    <a:pt x="79" y="950"/>
                  </a:cubicBezTo>
                  <a:cubicBezTo>
                    <a:pt x="80" y="951"/>
                    <a:pt x="81" y="953"/>
                    <a:pt x="82" y="955"/>
                  </a:cubicBezTo>
                  <a:cubicBezTo>
                    <a:pt x="86" y="965"/>
                    <a:pt x="86" y="965"/>
                    <a:pt x="86" y="965"/>
                  </a:cubicBezTo>
                  <a:cubicBezTo>
                    <a:pt x="87" y="967"/>
                    <a:pt x="87" y="967"/>
                    <a:pt x="87" y="967"/>
                  </a:cubicBezTo>
                  <a:cubicBezTo>
                    <a:pt x="90" y="972"/>
                    <a:pt x="90" y="972"/>
                    <a:pt x="90" y="972"/>
                  </a:cubicBezTo>
                  <a:cubicBezTo>
                    <a:pt x="91" y="974"/>
                    <a:pt x="92" y="976"/>
                    <a:pt x="93" y="978"/>
                  </a:cubicBezTo>
                  <a:cubicBezTo>
                    <a:pt x="99" y="988"/>
                    <a:pt x="99" y="988"/>
                    <a:pt x="99" y="988"/>
                  </a:cubicBezTo>
                  <a:cubicBezTo>
                    <a:pt x="100" y="990"/>
                    <a:pt x="102" y="993"/>
                    <a:pt x="103" y="995"/>
                  </a:cubicBezTo>
                  <a:cubicBezTo>
                    <a:pt x="104" y="996"/>
                    <a:pt x="105" y="997"/>
                    <a:pt x="106" y="999"/>
                  </a:cubicBezTo>
                  <a:cubicBezTo>
                    <a:pt x="113" y="1009"/>
                    <a:pt x="113" y="1009"/>
                    <a:pt x="113" y="1009"/>
                  </a:cubicBezTo>
                  <a:cubicBezTo>
                    <a:pt x="116" y="1012"/>
                    <a:pt x="118" y="1016"/>
                    <a:pt x="121" y="1019"/>
                  </a:cubicBezTo>
                  <a:cubicBezTo>
                    <a:pt x="127" y="1026"/>
                    <a:pt x="133" y="1033"/>
                    <a:pt x="140" y="1039"/>
                  </a:cubicBezTo>
                  <a:cubicBezTo>
                    <a:pt x="142" y="1042"/>
                    <a:pt x="144" y="1044"/>
                    <a:pt x="146" y="1046"/>
                  </a:cubicBezTo>
                  <a:cubicBezTo>
                    <a:pt x="152" y="1052"/>
                    <a:pt x="158" y="1058"/>
                    <a:pt x="164" y="1063"/>
                  </a:cubicBezTo>
                  <a:cubicBezTo>
                    <a:pt x="171" y="1069"/>
                    <a:pt x="177" y="1074"/>
                    <a:pt x="184" y="1079"/>
                  </a:cubicBezTo>
                  <a:cubicBezTo>
                    <a:pt x="185" y="1080"/>
                    <a:pt x="186" y="1081"/>
                    <a:pt x="188" y="1082"/>
                  </a:cubicBezTo>
                  <a:cubicBezTo>
                    <a:pt x="193" y="1086"/>
                    <a:pt x="199" y="1090"/>
                    <a:pt x="204" y="1094"/>
                  </a:cubicBezTo>
                  <a:cubicBezTo>
                    <a:pt x="211" y="1098"/>
                    <a:pt x="218" y="1103"/>
                    <a:pt x="225" y="1107"/>
                  </a:cubicBezTo>
                  <a:cubicBezTo>
                    <a:pt x="231" y="1111"/>
                    <a:pt x="238" y="1115"/>
                    <a:pt x="245" y="1119"/>
                  </a:cubicBezTo>
                  <a:cubicBezTo>
                    <a:pt x="252" y="1123"/>
                    <a:pt x="259" y="1127"/>
                    <a:pt x="266" y="1131"/>
                  </a:cubicBezTo>
                  <a:cubicBezTo>
                    <a:pt x="268" y="1131"/>
                    <a:pt x="270" y="1132"/>
                    <a:pt x="271" y="1133"/>
                  </a:cubicBezTo>
                  <a:cubicBezTo>
                    <a:pt x="277" y="1136"/>
                    <a:pt x="282" y="1138"/>
                    <a:pt x="287" y="1141"/>
                  </a:cubicBezTo>
                  <a:cubicBezTo>
                    <a:pt x="294" y="1144"/>
                    <a:pt x="301" y="1148"/>
                    <a:pt x="308" y="1151"/>
                  </a:cubicBezTo>
                  <a:cubicBezTo>
                    <a:pt x="316" y="1154"/>
                    <a:pt x="323" y="1157"/>
                    <a:pt x="330" y="1160"/>
                  </a:cubicBezTo>
                  <a:cubicBezTo>
                    <a:pt x="337" y="1163"/>
                    <a:pt x="344" y="1166"/>
                    <a:pt x="351" y="1168"/>
                  </a:cubicBezTo>
                  <a:cubicBezTo>
                    <a:pt x="355" y="1170"/>
                    <a:pt x="358" y="1171"/>
                    <a:pt x="361" y="1172"/>
                  </a:cubicBezTo>
                  <a:cubicBezTo>
                    <a:pt x="365" y="1174"/>
                    <a:pt x="369" y="1175"/>
                    <a:pt x="373" y="1176"/>
                  </a:cubicBezTo>
                  <a:cubicBezTo>
                    <a:pt x="380" y="1179"/>
                    <a:pt x="387" y="1182"/>
                    <a:pt x="395" y="1184"/>
                  </a:cubicBezTo>
                  <a:cubicBezTo>
                    <a:pt x="402" y="1186"/>
                    <a:pt x="409" y="1189"/>
                    <a:pt x="417" y="1191"/>
                  </a:cubicBezTo>
                  <a:cubicBezTo>
                    <a:pt x="424" y="1193"/>
                    <a:pt x="431" y="1196"/>
                    <a:pt x="438" y="1198"/>
                  </a:cubicBezTo>
                  <a:cubicBezTo>
                    <a:pt x="443" y="1199"/>
                    <a:pt x="448" y="1201"/>
                    <a:pt x="453" y="1202"/>
                  </a:cubicBezTo>
                  <a:cubicBezTo>
                    <a:pt x="456" y="1203"/>
                    <a:pt x="458" y="1204"/>
                    <a:pt x="460" y="1204"/>
                  </a:cubicBezTo>
                  <a:cubicBezTo>
                    <a:pt x="468" y="1206"/>
                    <a:pt x="475" y="1208"/>
                    <a:pt x="483" y="1210"/>
                  </a:cubicBezTo>
                  <a:cubicBezTo>
                    <a:pt x="490" y="1212"/>
                    <a:pt x="497" y="1214"/>
                    <a:pt x="505" y="1216"/>
                  </a:cubicBezTo>
                  <a:cubicBezTo>
                    <a:pt x="512" y="1218"/>
                    <a:pt x="520" y="1220"/>
                    <a:pt x="527" y="1222"/>
                  </a:cubicBezTo>
                  <a:cubicBezTo>
                    <a:pt x="534" y="1223"/>
                    <a:pt x="542" y="1225"/>
                    <a:pt x="549" y="1227"/>
                  </a:cubicBezTo>
                  <a:cubicBezTo>
                    <a:pt x="557" y="1228"/>
                    <a:pt x="564" y="1230"/>
                    <a:pt x="572" y="1232"/>
                  </a:cubicBezTo>
                  <a:cubicBezTo>
                    <a:pt x="579" y="1233"/>
                    <a:pt x="587" y="1235"/>
                    <a:pt x="594" y="1236"/>
                  </a:cubicBezTo>
                  <a:cubicBezTo>
                    <a:pt x="602" y="1238"/>
                    <a:pt x="609" y="1239"/>
                    <a:pt x="617" y="1241"/>
                  </a:cubicBezTo>
                  <a:cubicBezTo>
                    <a:pt x="624" y="1242"/>
                    <a:pt x="632" y="1244"/>
                    <a:pt x="639" y="1245"/>
                  </a:cubicBezTo>
                  <a:cubicBezTo>
                    <a:pt x="640" y="1245"/>
                    <a:pt x="641" y="1246"/>
                    <a:pt x="642" y="1246"/>
                  </a:cubicBezTo>
                  <a:cubicBezTo>
                    <a:pt x="648" y="1247"/>
                    <a:pt x="655" y="1248"/>
                    <a:pt x="662" y="1249"/>
                  </a:cubicBezTo>
                  <a:cubicBezTo>
                    <a:pt x="669" y="1250"/>
                    <a:pt x="677" y="1252"/>
                    <a:pt x="684" y="1253"/>
                  </a:cubicBezTo>
                  <a:cubicBezTo>
                    <a:pt x="692" y="1254"/>
                    <a:pt x="699" y="1256"/>
                    <a:pt x="707" y="1257"/>
                  </a:cubicBezTo>
                  <a:cubicBezTo>
                    <a:pt x="714" y="1258"/>
                    <a:pt x="722" y="1259"/>
                    <a:pt x="730" y="1260"/>
                  </a:cubicBezTo>
                  <a:cubicBezTo>
                    <a:pt x="737" y="1262"/>
                    <a:pt x="745" y="1263"/>
                    <a:pt x="752" y="1264"/>
                  </a:cubicBezTo>
                  <a:cubicBezTo>
                    <a:pt x="760" y="1265"/>
                    <a:pt x="767" y="1266"/>
                    <a:pt x="775" y="1267"/>
                  </a:cubicBezTo>
                  <a:cubicBezTo>
                    <a:pt x="783" y="1268"/>
                    <a:pt x="790" y="1269"/>
                    <a:pt x="798" y="1270"/>
                  </a:cubicBezTo>
                  <a:cubicBezTo>
                    <a:pt x="805" y="1271"/>
                    <a:pt x="813" y="1272"/>
                    <a:pt x="821" y="1273"/>
                  </a:cubicBezTo>
                  <a:cubicBezTo>
                    <a:pt x="824" y="1274"/>
                    <a:pt x="828" y="1274"/>
                    <a:pt x="831" y="1275"/>
                  </a:cubicBezTo>
                  <a:cubicBezTo>
                    <a:pt x="835" y="1275"/>
                    <a:pt x="839" y="1276"/>
                    <a:pt x="843" y="1276"/>
                  </a:cubicBezTo>
                  <a:cubicBezTo>
                    <a:pt x="851" y="1277"/>
                    <a:pt x="859" y="1278"/>
                    <a:pt x="866" y="1279"/>
                  </a:cubicBezTo>
                  <a:cubicBezTo>
                    <a:pt x="874" y="1280"/>
                    <a:pt x="882" y="1281"/>
                    <a:pt x="889" y="1281"/>
                  </a:cubicBezTo>
                  <a:cubicBezTo>
                    <a:pt x="897" y="1282"/>
                    <a:pt x="905" y="1283"/>
                    <a:pt x="912" y="1284"/>
                  </a:cubicBezTo>
                  <a:cubicBezTo>
                    <a:pt x="920" y="1285"/>
                    <a:pt x="928" y="1285"/>
                    <a:pt x="935" y="1286"/>
                  </a:cubicBezTo>
                  <a:cubicBezTo>
                    <a:pt x="943" y="1287"/>
                    <a:pt x="951" y="1287"/>
                    <a:pt x="958" y="1288"/>
                  </a:cubicBezTo>
                  <a:cubicBezTo>
                    <a:pt x="966" y="1289"/>
                    <a:pt x="974" y="1290"/>
                    <a:pt x="981" y="1290"/>
                  </a:cubicBezTo>
                  <a:cubicBezTo>
                    <a:pt x="989" y="1291"/>
                    <a:pt x="997" y="1291"/>
                    <a:pt x="1004" y="1292"/>
                  </a:cubicBezTo>
                  <a:cubicBezTo>
                    <a:pt x="1010" y="1292"/>
                    <a:pt x="1015" y="1293"/>
                    <a:pt x="1020" y="1293"/>
                  </a:cubicBezTo>
                  <a:cubicBezTo>
                    <a:pt x="1023" y="1293"/>
                    <a:pt x="1025" y="1294"/>
                    <a:pt x="1027" y="1294"/>
                  </a:cubicBezTo>
                  <a:cubicBezTo>
                    <a:pt x="1035" y="1294"/>
                    <a:pt x="1043" y="1295"/>
                    <a:pt x="1051" y="1295"/>
                  </a:cubicBezTo>
                  <a:cubicBezTo>
                    <a:pt x="1058" y="1296"/>
                    <a:pt x="1066" y="1296"/>
                    <a:pt x="1074" y="1297"/>
                  </a:cubicBezTo>
                  <a:cubicBezTo>
                    <a:pt x="1082" y="1297"/>
                    <a:pt x="1089" y="1298"/>
                    <a:pt x="1097" y="1298"/>
                  </a:cubicBezTo>
                  <a:cubicBezTo>
                    <a:pt x="1105" y="1299"/>
                    <a:pt x="1112" y="1299"/>
                    <a:pt x="1120" y="1300"/>
                  </a:cubicBezTo>
                  <a:cubicBezTo>
                    <a:pt x="1128" y="1300"/>
                    <a:pt x="1136" y="1301"/>
                    <a:pt x="1143" y="1301"/>
                  </a:cubicBezTo>
                  <a:cubicBezTo>
                    <a:pt x="1151" y="1301"/>
                    <a:pt x="1159" y="1302"/>
                    <a:pt x="1167" y="1302"/>
                  </a:cubicBezTo>
                  <a:cubicBezTo>
                    <a:pt x="1174" y="1303"/>
                    <a:pt x="1182" y="1303"/>
                    <a:pt x="1190" y="1303"/>
                  </a:cubicBezTo>
                  <a:cubicBezTo>
                    <a:pt x="1198" y="1304"/>
                    <a:pt x="1205" y="1304"/>
                    <a:pt x="1213" y="1305"/>
                  </a:cubicBezTo>
                  <a:cubicBezTo>
                    <a:pt x="1221" y="1305"/>
                    <a:pt x="1229" y="1305"/>
                    <a:pt x="1236" y="1306"/>
                  </a:cubicBezTo>
                  <a:cubicBezTo>
                    <a:pt x="1244" y="1306"/>
                    <a:pt x="1252" y="1307"/>
                    <a:pt x="1260" y="1307"/>
                  </a:cubicBezTo>
                  <a:cubicBezTo>
                    <a:pt x="1267" y="1307"/>
                    <a:pt x="1275" y="1308"/>
                    <a:pt x="1283" y="1308"/>
                  </a:cubicBezTo>
                  <a:cubicBezTo>
                    <a:pt x="1291" y="1309"/>
                    <a:pt x="1298" y="1309"/>
                    <a:pt x="1306" y="1310"/>
                  </a:cubicBezTo>
                  <a:cubicBezTo>
                    <a:pt x="1314" y="1310"/>
                    <a:pt x="1322" y="1310"/>
                    <a:pt x="1329" y="1311"/>
                  </a:cubicBezTo>
                  <a:cubicBezTo>
                    <a:pt x="1337" y="1311"/>
                    <a:pt x="1345" y="1312"/>
                    <a:pt x="1353" y="1312"/>
                  </a:cubicBezTo>
                  <a:cubicBezTo>
                    <a:pt x="1360" y="1313"/>
                    <a:pt x="1368" y="1313"/>
                    <a:pt x="1376" y="1313"/>
                  </a:cubicBezTo>
                  <a:cubicBezTo>
                    <a:pt x="1381" y="1314"/>
                    <a:pt x="1386" y="1314"/>
                    <a:pt x="1391" y="1314"/>
                  </a:cubicBezTo>
                  <a:cubicBezTo>
                    <a:pt x="1394" y="1315"/>
                    <a:pt x="1396" y="1315"/>
                    <a:pt x="1399" y="1315"/>
                  </a:cubicBezTo>
                  <a:cubicBezTo>
                    <a:pt x="1407" y="1315"/>
                    <a:pt x="1414" y="1316"/>
                    <a:pt x="1422" y="1316"/>
                  </a:cubicBezTo>
                  <a:cubicBezTo>
                    <a:pt x="1430" y="1317"/>
                    <a:pt x="1437" y="1318"/>
                    <a:pt x="1445" y="1318"/>
                  </a:cubicBezTo>
                  <a:cubicBezTo>
                    <a:pt x="1453" y="1319"/>
                    <a:pt x="1461" y="1319"/>
                    <a:pt x="1468" y="1320"/>
                  </a:cubicBezTo>
                  <a:cubicBezTo>
                    <a:pt x="1476" y="1320"/>
                    <a:pt x="1484" y="1321"/>
                    <a:pt x="1491" y="1322"/>
                  </a:cubicBezTo>
                  <a:cubicBezTo>
                    <a:pt x="1499" y="1322"/>
                    <a:pt x="1507" y="1323"/>
                    <a:pt x="1514" y="1324"/>
                  </a:cubicBezTo>
                  <a:cubicBezTo>
                    <a:pt x="1522" y="1324"/>
                    <a:pt x="1530" y="1325"/>
                    <a:pt x="1538" y="1326"/>
                  </a:cubicBezTo>
                  <a:cubicBezTo>
                    <a:pt x="1545" y="1326"/>
                    <a:pt x="1553" y="1327"/>
                    <a:pt x="1561" y="1328"/>
                  </a:cubicBezTo>
                  <a:cubicBezTo>
                    <a:pt x="1564" y="1328"/>
                    <a:pt x="1568" y="1329"/>
                    <a:pt x="1572" y="1329"/>
                  </a:cubicBezTo>
                  <a:cubicBezTo>
                    <a:pt x="1576" y="1329"/>
                    <a:pt x="1580" y="1330"/>
                    <a:pt x="1583" y="1330"/>
                  </a:cubicBezTo>
                  <a:cubicBezTo>
                    <a:pt x="1591" y="1331"/>
                    <a:pt x="1599" y="1332"/>
                    <a:pt x="1606" y="1333"/>
                  </a:cubicBezTo>
                  <a:cubicBezTo>
                    <a:pt x="1614" y="1334"/>
                    <a:pt x="1622" y="1335"/>
                    <a:pt x="1629" y="1336"/>
                  </a:cubicBezTo>
                  <a:cubicBezTo>
                    <a:pt x="1637" y="1337"/>
                    <a:pt x="1644" y="1338"/>
                    <a:pt x="1652" y="1339"/>
                  </a:cubicBezTo>
                  <a:cubicBezTo>
                    <a:pt x="1655" y="1339"/>
                    <a:pt x="1658" y="1339"/>
                    <a:pt x="1660" y="1340"/>
                  </a:cubicBezTo>
                  <a:cubicBezTo>
                    <a:pt x="1665" y="1341"/>
                    <a:pt x="1670" y="1341"/>
                    <a:pt x="1675" y="1342"/>
                  </a:cubicBezTo>
                  <a:cubicBezTo>
                    <a:pt x="1682" y="1343"/>
                    <a:pt x="1690" y="1344"/>
                    <a:pt x="1697" y="1346"/>
                  </a:cubicBezTo>
                  <a:cubicBezTo>
                    <a:pt x="1705" y="1347"/>
                    <a:pt x="1713" y="1348"/>
                    <a:pt x="1720" y="1350"/>
                  </a:cubicBezTo>
                  <a:cubicBezTo>
                    <a:pt x="1728" y="1351"/>
                    <a:pt x="1735" y="1353"/>
                    <a:pt x="1742" y="1354"/>
                  </a:cubicBezTo>
                  <a:cubicBezTo>
                    <a:pt x="1744" y="1355"/>
                    <a:pt x="1746" y="1355"/>
                    <a:pt x="1747" y="1355"/>
                  </a:cubicBezTo>
                  <a:cubicBezTo>
                    <a:pt x="1753" y="1356"/>
                    <a:pt x="1759" y="1358"/>
                    <a:pt x="1765" y="1359"/>
                  </a:cubicBezTo>
                  <a:cubicBezTo>
                    <a:pt x="1772" y="1361"/>
                    <a:pt x="1780" y="1363"/>
                    <a:pt x="1787" y="1364"/>
                  </a:cubicBezTo>
                  <a:cubicBezTo>
                    <a:pt x="1795" y="1366"/>
                    <a:pt x="1802" y="1368"/>
                    <a:pt x="1809" y="1370"/>
                  </a:cubicBezTo>
                  <a:cubicBezTo>
                    <a:pt x="1817" y="1372"/>
                    <a:pt x="1824" y="1374"/>
                    <a:pt x="1831" y="1377"/>
                  </a:cubicBezTo>
                  <a:cubicBezTo>
                    <a:pt x="1839" y="1379"/>
                    <a:pt x="1846" y="1381"/>
                    <a:pt x="1853" y="1384"/>
                  </a:cubicBezTo>
                  <a:cubicBezTo>
                    <a:pt x="1860" y="1386"/>
                    <a:pt x="1868" y="1389"/>
                    <a:pt x="1875" y="1391"/>
                  </a:cubicBezTo>
                  <a:cubicBezTo>
                    <a:pt x="1882" y="1394"/>
                    <a:pt x="1889" y="1397"/>
                    <a:pt x="1896" y="1400"/>
                  </a:cubicBezTo>
                  <a:cubicBezTo>
                    <a:pt x="1902" y="1402"/>
                    <a:pt x="1907" y="1404"/>
                    <a:pt x="1912" y="1406"/>
                  </a:cubicBezTo>
                  <a:cubicBezTo>
                    <a:pt x="1914" y="1407"/>
                    <a:pt x="1916" y="1408"/>
                    <a:pt x="1918" y="1409"/>
                  </a:cubicBezTo>
                  <a:cubicBezTo>
                    <a:pt x="1922" y="1411"/>
                    <a:pt x="1927" y="1413"/>
                    <a:pt x="1931" y="1415"/>
                  </a:cubicBezTo>
                  <a:cubicBezTo>
                    <a:pt x="1939" y="1419"/>
                    <a:pt x="1939" y="1419"/>
                    <a:pt x="1939" y="1419"/>
                  </a:cubicBezTo>
                  <a:cubicBezTo>
                    <a:pt x="1940" y="1420"/>
                    <a:pt x="1940" y="1420"/>
                    <a:pt x="1940" y="1420"/>
                  </a:cubicBezTo>
                  <a:cubicBezTo>
                    <a:pt x="1950" y="1425"/>
                    <a:pt x="1950" y="1425"/>
                    <a:pt x="1950" y="1425"/>
                  </a:cubicBezTo>
                  <a:cubicBezTo>
                    <a:pt x="1954" y="1428"/>
                    <a:pt x="1954" y="1428"/>
                    <a:pt x="1954" y="1428"/>
                  </a:cubicBezTo>
                  <a:cubicBezTo>
                    <a:pt x="1957" y="1429"/>
                    <a:pt x="1957" y="1429"/>
                    <a:pt x="1957" y="1429"/>
                  </a:cubicBezTo>
                  <a:cubicBezTo>
                    <a:pt x="1959" y="1430"/>
                    <a:pt x="1959" y="1430"/>
                    <a:pt x="1959" y="1430"/>
                  </a:cubicBezTo>
                  <a:cubicBezTo>
                    <a:pt x="1960" y="1431"/>
                    <a:pt x="1960" y="1431"/>
                    <a:pt x="1960" y="1431"/>
                  </a:cubicBezTo>
                  <a:cubicBezTo>
                    <a:pt x="1968" y="1436"/>
                    <a:pt x="1968" y="1436"/>
                    <a:pt x="1968" y="1436"/>
                  </a:cubicBezTo>
                  <a:cubicBezTo>
                    <a:pt x="1972" y="1438"/>
                    <a:pt x="1976" y="1440"/>
                    <a:pt x="1980" y="1443"/>
                  </a:cubicBezTo>
                  <a:cubicBezTo>
                    <a:pt x="1982" y="1444"/>
                    <a:pt x="1984" y="1445"/>
                    <a:pt x="1986" y="1446"/>
                  </a:cubicBezTo>
                  <a:cubicBezTo>
                    <a:pt x="1991" y="1449"/>
                    <a:pt x="1991" y="1449"/>
                    <a:pt x="1991" y="1449"/>
                  </a:cubicBezTo>
                  <a:cubicBezTo>
                    <a:pt x="1995" y="1452"/>
                    <a:pt x="1995" y="1452"/>
                    <a:pt x="1995" y="1452"/>
                  </a:cubicBezTo>
                  <a:cubicBezTo>
                    <a:pt x="2001" y="1456"/>
                    <a:pt x="2001" y="1456"/>
                    <a:pt x="2001" y="1456"/>
                  </a:cubicBezTo>
                  <a:cubicBezTo>
                    <a:pt x="2004" y="1458"/>
                    <a:pt x="2004" y="1458"/>
                    <a:pt x="2004" y="1458"/>
                  </a:cubicBezTo>
                  <a:cubicBezTo>
                    <a:pt x="2010" y="1462"/>
                    <a:pt x="2015" y="1465"/>
                    <a:pt x="2021" y="1469"/>
                  </a:cubicBezTo>
                  <a:cubicBezTo>
                    <a:pt x="2021" y="1469"/>
                    <a:pt x="2021" y="1469"/>
                    <a:pt x="2021" y="1469"/>
                  </a:cubicBezTo>
                  <a:cubicBezTo>
                    <a:pt x="2027" y="1473"/>
                    <a:pt x="2033" y="1477"/>
                    <a:pt x="2038" y="1482"/>
                  </a:cubicBezTo>
                  <a:cubicBezTo>
                    <a:pt x="2039" y="1482"/>
                    <a:pt x="2040" y="1483"/>
                    <a:pt x="2041" y="1484"/>
                  </a:cubicBezTo>
                  <a:cubicBezTo>
                    <a:pt x="2046" y="1487"/>
                    <a:pt x="2050" y="1490"/>
                    <a:pt x="2055" y="1494"/>
                  </a:cubicBezTo>
                  <a:cubicBezTo>
                    <a:pt x="2057" y="1496"/>
                    <a:pt x="2059" y="1498"/>
                    <a:pt x="2061" y="1499"/>
                  </a:cubicBezTo>
                  <a:cubicBezTo>
                    <a:pt x="2064" y="1502"/>
                    <a:pt x="2067" y="1505"/>
                    <a:pt x="2071" y="1507"/>
                  </a:cubicBezTo>
                  <a:cubicBezTo>
                    <a:pt x="2073" y="1509"/>
                    <a:pt x="2076" y="1512"/>
                    <a:pt x="2078" y="1514"/>
                  </a:cubicBezTo>
                  <a:cubicBezTo>
                    <a:pt x="2081" y="1516"/>
                    <a:pt x="2081" y="1516"/>
                    <a:pt x="2081" y="1516"/>
                  </a:cubicBezTo>
                  <a:cubicBezTo>
                    <a:pt x="2086" y="1521"/>
                    <a:pt x="2086" y="1521"/>
                    <a:pt x="2086" y="1521"/>
                  </a:cubicBezTo>
                  <a:cubicBezTo>
                    <a:pt x="2090" y="1525"/>
                    <a:pt x="2095" y="1529"/>
                    <a:pt x="2099" y="1533"/>
                  </a:cubicBezTo>
                  <a:cubicBezTo>
                    <a:pt x="2103" y="1537"/>
                    <a:pt x="2107" y="1542"/>
                    <a:pt x="2111" y="1546"/>
                  </a:cubicBezTo>
                  <a:cubicBezTo>
                    <a:pt x="2116" y="1551"/>
                    <a:pt x="2116" y="1551"/>
                    <a:pt x="2116" y="1551"/>
                  </a:cubicBezTo>
                  <a:cubicBezTo>
                    <a:pt x="2118" y="1553"/>
                    <a:pt x="2118" y="1553"/>
                    <a:pt x="2118" y="1553"/>
                  </a:cubicBezTo>
                  <a:cubicBezTo>
                    <a:pt x="2120" y="1556"/>
                    <a:pt x="2122" y="1558"/>
                    <a:pt x="2124" y="1561"/>
                  </a:cubicBezTo>
                  <a:cubicBezTo>
                    <a:pt x="2128" y="1565"/>
                    <a:pt x="2131" y="1569"/>
                    <a:pt x="2135" y="1573"/>
                  </a:cubicBezTo>
                  <a:cubicBezTo>
                    <a:pt x="2135" y="1574"/>
                    <a:pt x="2136" y="1575"/>
                    <a:pt x="2137" y="1577"/>
                  </a:cubicBezTo>
                  <a:cubicBezTo>
                    <a:pt x="2141" y="1582"/>
                    <a:pt x="2145" y="1587"/>
                    <a:pt x="2149" y="1593"/>
                  </a:cubicBezTo>
                  <a:cubicBezTo>
                    <a:pt x="2152" y="1598"/>
                    <a:pt x="2152" y="1598"/>
                    <a:pt x="2152" y="1598"/>
                  </a:cubicBezTo>
                  <a:cubicBezTo>
                    <a:pt x="2155" y="1601"/>
                    <a:pt x="2155" y="1601"/>
                    <a:pt x="2155" y="1601"/>
                  </a:cubicBezTo>
                  <a:cubicBezTo>
                    <a:pt x="2156" y="1604"/>
                    <a:pt x="2158" y="1607"/>
                    <a:pt x="2160" y="1610"/>
                  </a:cubicBezTo>
                  <a:cubicBezTo>
                    <a:pt x="2163" y="1615"/>
                    <a:pt x="2166" y="1620"/>
                    <a:pt x="2169" y="1626"/>
                  </a:cubicBezTo>
                  <a:cubicBezTo>
                    <a:pt x="2170" y="1626"/>
                    <a:pt x="2170" y="1626"/>
                    <a:pt x="2170" y="1627"/>
                  </a:cubicBezTo>
                  <a:cubicBezTo>
                    <a:pt x="2173" y="1633"/>
                    <a:pt x="2176" y="1639"/>
                    <a:pt x="2179" y="1644"/>
                  </a:cubicBezTo>
                  <a:cubicBezTo>
                    <a:pt x="2181" y="1649"/>
                    <a:pt x="2183" y="1654"/>
                    <a:pt x="2185" y="1658"/>
                  </a:cubicBezTo>
                  <a:cubicBezTo>
                    <a:pt x="2186" y="1660"/>
                    <a:pt x="2186" y="1661"/>
                    <a:pt x="2187" y="1662"/>
                  </a:cubicBezTo>
                  <a:cubicBezTo>
                    <a:pt x="2189" y="1669"/>
                    <a:pt x="2192" y="1675"/>
                    <a:pt x="2194" y="1681"/>
                  </a:cubicBezTo>
                  <a:cubicBezTo>
                    <a:pt x="2196" y="1686"/>
                    <a:pt x="2198" y="1692"/>
                    <a:pt x="2199" y="1698"/>
                  </a:cubicBezTo>
                  <a:cubicBezTo>
                    <a:pt x="2200" y="1698"/>
                    <a:pt x="2200" y="1699"/>
                    <a:pt x="2200" y="1699"/>
                  </a:cubicBezTo>
                  <a:cubicBezTo>
                    <a:pt x="2202" y="1706"/>
                    <a:pt x="2203" y="1712"/>
                    <a:pt x="2205" y="1718"/>
                  </a:cubicBezTo>
                  <a:cubicBezTo>
                    <a:pt x="2205" y="1722"/>
                    <a:pt x="2206" y="1725"/>
                    <a:pt x="2207" y="1728"/>
                  </a:cubicBezTo>
                  <a:cubicBezTo>
                    <a:pt x="2208" y="1737"/>
                    <a:pt x="2208" y="1737"/>
                    <a:pt x="2208" y="1737"/>
                  </a:cubicBezTo>
                  <a:cubicBezTo>
                    <a:pt x="2210" y="1747"/>
                    <a:pt x="2210" y="1747"/>
                    <a:pt x="2210" y="1747"/>
                  </a:cubicBezTo>
                  <a:cubicBezTo>
                    <a:pt x="2211" y="1750"/>
                    <a:pt x="2211" y="1750"/>
                    <a:pt x="2211" y="1750"/>
                  </a:cubicBezTo>
                  <a:cubicBezTo>
                    <a:pt x="2211" y="1752"/>
                    <a:pt x="2211" y="1752"/>
                    <a:pt x="2211" y="1752"/>
                  </a:cubicBezTo>
                  <a:cubicBezTo>
                    <a:pt x="2211" y="1757"/>
                    <a:pt x="2211" y="1757"/>
                    <a:pt x="2211" y="1757"/>
                  </a:cubicBezTo>
                  <a:cubicBezTo>
                    <a:pt x="2212" y="1763"/>
                    <a:pt x="2212" y="1769"/>
                    <a:pt x="2213" y="1776"/>
                  </a:cubicBezTo>
                  <a:cubicBezTo>
                    <a:pt x="2214" y="1782"/>
                    <a:pt x="2213" y="1789"/>
                    <a:pt x="2214" y="1795"/>
                  </a:cubicBezTo>
                  <a:cubicBezTo>
                    <a:pt x="2214" y="1805"/>
                    <a:pt x="2214" y="1805"/>
                    <a:pt x="2214" y="1805"/>
                  </a:cubicBezTo>
                  <a:cubicBezTo>
                    <a:pt x="2214" y="1814"/>
                    <a:pt x="2214" y="1814"/>
                    <a:pt x="2214" y="1814"/>
                  </a:cubicBezTo>
                  <a:cubicBezTo>
                    <a:pt x="2213" y="1820"/>
                    <a:pt x="2213" y="1827"/>
                    <a:pt x="2213" y="1833"/>
                  </a:cubicBezTo>
                  <a:cubicBezTo>
                    <a:pt x="2212" y="1837"/>
                    <a:pt x="2212" y="1842"/>
                    <a:pt x="2211" y="1846"/>
                  </a:cubicBezTo>
                  <a:cubicBezTo>
                    <a:pt x="2211" y="1854"/>
                    <a:pt x="2210" y="1863"/>
                    <a:pt x="2208" y="1871"/>
                  </a:cubicBezTo>
                  <a:cubicBezTo>
                    <a:pt x="2207" y="1877"/>
                    <a:pt x="2207" y="1883"/>
                    <a:pt x="2205" y="1889"/>
                  </a:cubicBezTo>
                  <a:cubicBezTo>
                    <a:pt x="2204" y="1896"/>
                    <a:pt x="2203" y="1902"/>
                    <a:pt x="2201" y="1908"/>
                  </a:cubicBezTo>
                  <a:cubicBezTo>
                    <a:pt x="2200" y="1914"/>
                    <a:pt x="2198" y="1920"/>
                    <a:pt x="2197" y="1926"/>
                  </a:cubicBezTo>
                  <a:cubicBezTo>
                    <a:pt x="2195" y="1932"/>
                    <a:pt x="2194" y="1938"/>
                    <a:pt x="2192" y="1944"/>
                  </a:cubicBezTo>
                  <a:cubicBezTo>
                    <a:pt x="2190" y="1950"/>
                    <a:pt x="2188" y="1956"/>
                    <a:pt x="2186" y="1962"/>
                  </a:cubicBezTo>
                  <a:cubicBezTo>
                    <a:pt x="2184" y="1971"/>
                    <a:pt x="2184" y="1971"/>
                    <a:pt x="2184" y="1971"/>
                  </a:cubicBezTo>
                  <a:cubicBezTo>
                    <a:pt x="2181" y="1979"/>
                    <a:pt x="2181" y="1979"/>
                    <a:pt x="2181" y="1979"/>
                  </a:cubicBezTo>
                  <a:cubicBezTo>
                    <a:pt x="2180" y="1981"/>
                    <a:pt x="2180" y="1982"/>
                    <a:pt x="2179" y="1984"/>
                  </a:cubicBezTo>
                  <a:cubicBezTo>
                    <a:pt x="2177" y="1988"/>
                    <a:pt x="2176" y="1992"/>
                    <a:pt x="2174" y="1997"/>
                  </a:cubicBezTo>
                  <a:cubicBezTo>
                    <a:pt x="2174" y="1998"/>
                    <a:pt x="2174" y="1998"/>
                    <a:pt x="2173" y="1999"/>
                  </a:cubicBezTo>
                  <a:cubicBezTo>
                    <a:pt x="2197" y="1999"/>
                    <a:pt x="2197" y="1999"/>
                    <a:pt x="2197" y="1999"/>
                  </a:cubicBezTo>
                  <a:cubicBezTo>
                    <a:pt x="2198" y="1996"/>
                    <a:pt x="2199" y="1992"/>
                    <a:pt x="2200" y="1989"/>
                  </a:cubicBezTo>
                  <a:lnTo>
                    <a:pt x="2204" y="19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968375" y="3740150"/>
              <a:ext cx="146050" cy="474663"/>
            </a:xfrm>
            <a:custGeom>
              <a:avLst/>
              <a:gdLst>
                <a:gd name="T0" fmla="*/ 50 w 57"/>
                <a:gd name="T1" fmla="*/ 170 h 187"/>
                <a:gd name="T2" fmla="*/ 43 w 57"/>
                <a:gd name="T3" fmla="*/ 160 h 187"/>
                <a:gd name="T4" fmla="*/ 37 w 57"/>
                <a:gd name="T5" fmla="*/ 149 h 187"/>
                <a:gd name="T6" fmla="*/ 36 w 57"/>
                <a:gd name="T7" fmla="*/ 147 h 187"/>
                <a:gd name="T8" fmla="*/ 36 w 57"/>
                <a:gd name="T9" fmla="*/ 146 h 187"/>
                <a:gd name="T10" fmla="*/ 31 w 57"/>
                <a:gd name="T11" fmla="*/ 136 h 187"/>
                <a:gd name="T12" fmla="*/ 27 w 57"/>
                <a:gd name="T13" fmla="*/ 125 h 187"/>
                <a:gd name="T14" fmla="*/ 26 w 57"/>
                <a:gd name="T15" fmla="*/ 121 h 187"/>
                <a:gd name="T16" fmla="*/ 23 w 57"/>
                <a:gd name="T17" fmla="*/ 113 h 187"/>
                <a:gd name="T18" fmla="*/ 22 w 57"/>
                <a:gd name="T19" fmla="*/ 108 h 187"/>
                <a:gd name="T20" fmla="*/ 21 w 57"/>
                <a:gd name="T21" fmla="*/ 102 h 187"/>
                <a:gd name="T22" fmla="*/ 21 w 57"/>
                <a:gd name="T23" fmla="*/ 101 h 187"/>
                <a:gd name="T24" fmla="*/ 18 w 57"/>
                <a:gd name="T25" fmla="*/ 78 h 187"/>
                <a:gd name="T26" fmla="*/ 18 w 57"/>
                <a:gd name="T27" fmla="*/ 51 h 187"/>
                <a:gd name="T28" fmla="*/ 33 w 57"/>
                <a:gd name="T29" fmla="*/ 0 h 187"/>
                <a:gd name="T30" fmla="*/ 27 w 57"/>
                <a:gd name="T31" fmla="*/ 0 h 187"/>
                <a:gd name="T32" fmla="*/ 25 w 57"/>
                <a:gd name="T33" fmla="*/ 0 h 187"/>
                <a:gd name="T34" fmla="*/ 18 w 57"/>
                <a:gd name="T35" fmla="*/ 0 h 187"/>
                <a:gd name="T36" fmla="*/ 14 w 57"/>
                <a:gd name="T37" fmla="*/ 0 h 187"/>
                <a:gd name="T38" fmla="*/ 2 w 57"/>
                <a:gd name="T39" fmla="*/ 49 h 187"/>
                <a:gd name="T40" fmla="*/ 1 w 57"/>
                <a:gd name="T41" fmla="*/ 73 h 187"/>
                <a:gd name="T42" fmla="*/ 3 w 57"/>
                <a:gd name="T43" fmla="*/ 95 h 187"/>
                <a:gd name="T44" fmla="*/ 3 w 57"/>
                <a:gd name="T45" fmla="*/ 100 h 187"/>
                <a:gd name="T46" fmla="*/ 4 w 57"/>
                <a:gd name="T47" fmla="*/ 104 h 187"/>
                <a:gd name="T48" fmla="*/ 7 w 57"/>
                <a:gd name="T49" fmla="*/ 117 h 187"/>
                <a:gd name="T50" fmla="*/ 8 w 57"/>
                <a:gd name="T51" fmla="*/ 119 h 187"/>
                <a:gd name="T52" fmla="*/ 11 w 57"/>
                <a:gd name="T53" fmla="*/ 130 h 187"/>
                <a:gd name="T54" fmla="*/ 13 w 57"/>
                <a:gd name="T55" fmla="*/ 136 h 187"/>
                <a:gd name="T56" fmla="*/ 15 w 57"/>
                <a:gd name="T57" fmla="*/ 140 h 187"/>
                <a:gd name="T58" fmla="*/ 19 w 57"/>
                <a:gd name="T59" fmla="*/ 150 h 187"/>
                <a:gd name="T60" fmla="*/ 21 w 57"/>
                <a:gd name="T61" fmla="*/ 154 h 187"/>
                <a:gd name="T62" fmla="*/ 25 w 57"/>
                <a:gd name="T63" fmla="*/ 162 h 187"/>
                <a:gd name="T64" fmla="*/ 30 w 57"/>
                <a:gd name="T65" fmla="*/ 171 h 187"/>
                <a:gd name="T66" fmla="*/ 31 w 57"/>
                <a:gd name="T67" fmla="*/ 172 h 187"/>
                <a:gd name="T68" fmla="*/ 38 w 57"/>
                <a:gd name="T69" fmla="*/ 182 h 187"/>
                <a:gd name="T70" fmla="*/ 42 w 57"/>
                <a:gd name="T71" fmla="*/ 187 h 187"/>
                <a:gd name="T72" fmla="*/ 47 w 57"/>
                <a:gd name="T73" fmla="*/ 184 h 187"/>
                <a:gd name="T74" fmla="*/ 50 w 57"/>
                <a:gd name="T75" fmla="*/ 182 h 187"/>
                <a:gd name="T76" fmla="*/ 57 w 57"/>
                <a:gd name="T77" fmla="*/ 179 h 187"/>
                <a:gd name="T78" fmla="*/ 52 w 57"/>
                <a:gd name="T79" fmla="*/ 173 h 187"/>
                <a:gd name="T80" fmla="*/ 50 w 57"/>
                <a:gd name="T81" fmla="*/ 17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" h="187">
                  <a:moveTo>
                    <a:pt x="50" y="170"/>
                  </a:moveTo>
                  <a:cubicBezTo>
                    <a:pt x="48" y="167"/>
                    <a:pt x="45" y="163"/>
                    <a:pt x="43" y="160"/>
                  </a:cubicBezTo>
                  <a:cubicBezTo>
                    <a:pt x="41" y="156"/>
                    <a:pt x="39" y="153"/>
                    <a:pt x="37" y="149"/>
                  </a:cubicBezTo>
                  <a:cubicBezTo>
                    <a:pt x="37" y="148"/>
                    <a:pt x="36" y="148"/>
                    <a:pt x="36" y="147"/>
                  </a:cubicBezTo>
                  <a:cubicBezTo>
                    <a:pt x="36" y="147"/>
                    <a:pt x="36" y="147"/>
                    <a:pt x="36" y="146"/>
                  </a:cubicBezTo>
                  <a:cubicBezTo>
                    <a:pt x="34" y="143"/>
                    <a:pt x="32" y="140"/>
                    <a:pt x="31" y="136"/>
                  </a:cubicBezTo>
                  <a:cubicBezTo>
                    <a:pt x="29" y="132"/>
                    <a:pt x="28" y="129"/>
                    <a:pt x="27" y="125"/>
                  </a:cubicBezTo>
                  <a:cubicBezTo>
                    <a:pt x="26" y="123"/>
                    <a:pt x="26" y="122"/>
                    <a:pt x="26" y="121"/>
                  </a:cubicBezTo>
                  <a:cubicBezTo>
                    <a:pt x="25" y="118"/>
                    <a:pt x="24" y="116"/>
                    <a:pt x="23" y="113"/>
                  </a:cubicBezTo>
                  <a:cubicBezTo>
                    <a:pt x="23" y="111"/>
                    <a:pt x="23" y="110"/>
                    <a:pt x="22" y="108"/>
                  </a:cubicBezTo>
                  <a:cubicBezTo>
                    <a:pt x="22" y="106"/>
                    <a:pt x="21" y="104"/>
                    <a:pt x="21" y="102"/>
                  </a:cubicBezTo>
                  <a:cubicBezTo>
                    <a:pt x="21" y="102"/>
                    <a:pt x="21" y="101"/>
                    <a:pt x="21" y="101"/>
                  </a:cubicBezTo>
                  <a:cubicBezTo>
                    <a:pt x="19" y="93"/>
                    <a:pt x="18" y="85"/>
                    <a:pt x="18" y="78"/>
                  </a:cubicBezTo>
                  <a:cubicBezTo>
                    <a:pt x="17" y="69"/>
                    <a:pt x="17" y="60"/>
                    <a:pt x="18" y="51"/>
                  </a:cubicBezTo>
                  <a:cubicBezTo>
                    <a:pt x="20" y="34"/>
                    <a:pt x="25" y="17"/>
                    <a:pt x="3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8" y="16"/>
                    <a:pt x="3" y="32"/>
                    <a:pt x="2" y="49"/>
                  </a:cubicBezTo>
                  <a:cubicBezTo>
                    <a:pt x="1" y="57"/>
                    <a:pt x="0" y="65"/>
                    <a:pt x="1" y="73"/>
                  </a:cubicBezTo>
                  <a:cubicBezTo>
                    <a:pt x="1" y="80"/>
                    <a:pt x="2" y="88"/>
                    <a:pt x="3" y="95"/>
                  </a:cubicBezTo>
                  <a:cubicBezTo>
                    <a:pt x="3" y="97"/>
                    <a:pt x="3" y="98"/>
                    <a:pt x="3" y="100"/>
                  </a:cubicBezTo>
                  <a:cubicBezTo>
                    <a:pt x="4" y="101"/>
                    <a:pt x="4" y="103"/>
                    <a:pt x="4" y="104"/>
                  </a:cubicBezTo>
                  <a:cubicBezTo>
                    <a:pt x="5" y="108"/>
                    <a:pt x="6" y="113"/>
                    <a:pt x="7" y="117"/>
                  </a:cubicBezTo>
                  <a:cubicBezTo>
                    <a:pt x="7" y="118"/>
                    <a:pt x="8" y="118"/>
                    <a:pt x="8" y="119"/>
                  </a:cubicBezTo>
                  <a:cubicBezTo>
                    <a:pt x="9" y="123"/>
                    <a:pt x="10" y="127"/>
                    <a:pt x="11" y="130"/>
                  </a:cubicBezTo>
                  <a:cubicBezTo>
                    <a:pt x="12" y="132"/>
                    <a:pt x="12" y="134"/>
                    <a:pt x="13" y="136"/>
                  </a:cubicBezTo>
                  <a:cubicBezTo>
                    <a:pt x="14" y="137"/>
                    <a:pt x="14" y="139"/>
                    <a:pt x="15" y="140"/>
                  </a:cubicBezTo>
                  <a:cubicBezTo>
                    <a:pt x="16" y="143"/>
                    <a:pt x="17" y="147"/>
                    <a:pt x="19" y="150"/>
                  </a:cubicBezTo>
                  <a:cubicBezTo>
                    <a:pt x="19" y="151"/>
                    <a:pt x="20" y="152"/>
                    <a:pt x="21" y="154"/>
                  </a:cubicBezTo>
                  <a:cubicBezTo>
                    <a:pt x="22" y="156"/>
                    <a:pt x="23" y="159"/>
                    <a:pt x="25" y="162"/>
                  </a:cubicBezTo>
                  <a:cubicBezTo>
                    <a:pt x="27" y="165"/>
                    <a:pt x="28" y="168"/>
                    <a:pt x="30" y="171"/>
                  </a:cubicBezTo>
                  <a:cubicBezTo>
                    <a:pt x="31" y="171"/>
                    <a:pt x="31" y="172"/>
                    <a:pt x="31" y="172"/>
                  </a:cubicBezTo>
                  <a:cubicBezTo>
                    <a:pt x="34" y="176"/>
                    <a:pt x="36" y="179"/>
                    <a:pt x="38" y="182"/>
                  </a:cubicBezTo>
                  <a:cubicBezTo>
                    <a:pt x="39" y="183"/>
                    <a:pt x="41" y="185"/>
                    <a:pt x="42" y="187"/>
                  </a:cubicBezTo>
                  <a:cubicBezTo>
                    <a:pt x="44" y="186"/>
                    <a:pt x="45" y="185"/>
                    <a:pt x="47" y="184"/>
                  </a:cubicBezTo>
                  <a:cubicBezTo>
                    <a:pt x="48" y="184"/>
                    <a:pt x="49" y="183"/>
                    <a:pt x="50" y="182"/>
                  </a:cubicBezTo>
                  <a:cubicBezTo>
                    <a:pt x="52" y="181"/>
                    <a:pt x="55" y="180"/>
                    <a:pt x="57" y="179"/>
                  </a:cubicBezTo>
                  <a:cubicBezTo>
                    <a:pt x="55" y="177"/>
                    <a:pt x="54" y="175"/>
                    <a:pt x="52" y="173"/>
                  </a:cubicBezTo>
                  <a:cubicBezTo>
                    <a:pt x="52" y="172"/>
                    <a:pt x="51" y="171"/>
                    <a:pt x="50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119188" y="3303588"/>
              <a:ext cx="454025" cy="268288"/>
            </a:xfrm>
            <a:custGeom>
              <a:avLst/>
              <a:gdLst>
                <a:gd name="T0" fmla="*/ 74 w 179"/>
                <a:gd name="T1" fmla="*/ 66 h 106"/>
                <a:gd name="T2" fmla="*/ 83 w 179"/>
                <a:gd name="T3" fmla="*/ 60 h 106"/>
                <a:gd name="T4" fmla="*/ 85 w 179"/>
                <a:gd name="T5" fmla="*/ 59 h 106"/>
                <a:gd name="T6" fmla="*/ 95 w 179"/>
                <a:gd name="T7" fmla="*/ 53 h 106"/>
                <a:gd name="T8" fmla="*/ 106 w 179"/>
                <a:gd name="T9" fmla="*/ 47 h 106"/>
                <a:gd name="T10" fmla="*/ 110 w 179"/>
                <a:gd name="T11" fmla="*/ 45 h 106"/>
                <a:gd name="T12" fmla="*/ 116 w 179"/>
                <a:gd name="T13" fmla="*/ 41 h 106"/>
                <a:gd name="T14" fmla="*/ 127 w 179"/>
                <a:gd name="T15" fmla="*/ 35 h 106"/>
                <a:gd name="T16" fmla="*/ 135 w 179"/>
                <a:gd name="T17" fmla="*/ 31 h 106"/>
                <a:gd name="T18" fmla="*/ 137 w 179"/>
                <a:gd name="T19" fmla="*/ 30 h 106"/>
                <a:gd name="T20" fmla="*/ 147 w 179"/>
                <a:gd name="T21" fmla="*/ 25 h 106"/>
                <a:gd name="T22" fmla="*/ 153 w 179"/>
                <a:gd name="T23" fmla="*/ 22 h 106"/>
                <a:gd name="T24" fmla="*/ 157 w 179"/>
                <a:gd name="T25" fmla="*/ 20 h 106"/>
                <a:gd name="T26" fmla="*/ 161 w 179"/>
                <a:gd name="T27" fmla="*/ 18 h 106"/>
                <a:gd name="T28" fmla="*/ 168 w 179"/>
                <a:gd name="T29" fmla="*/ 15 h 106"/>
                <a:gd name="T30" fmla="*/ 178 w 179"/>
                <a:gd name="T31" fmla="*/ 11 h 106"/>
                <a:gd name="T32" fmla="*/ 179 w 179"/>
                <a:gd name="T33" fmla="*/ 10 h 106"/>
                <a:gd name="T34" fmla="*/ 178 w 179"/>
                <a:gd name="T35" fmla="*/ 9 h 106"/>
                <a:gd name="T36" fmla="*/ 173 w 179"/>
                <a:gd name="T37" fmla="*/ 5 h 106"/>
                <a:gd name="T38" fmla="*/ 170 w 179"/>
                <a:gd name="T39" fmla="*/ 4 h 106"/>
                <a:gd name="T40" fmla="*/ 165 w 179"/>
                <a:gd name="T41" fmla="*/ 1 h 106"/>
                <a:gd name="T42" fmla="*/ 162 w 179"/>
                <a:gd name="T43" fmla="*/ 0 h 106"/>
                <a:gd name="T44" fmla="*/ 161 w 179"/>
                <a:gd name="T45" fmla="*/ 0 h 106"/>
                <a:gd name="T46" fmla="*/ 152 w 179"/>
                <a:gd name="T47" fmla="*/ 3 h 106"/>
                <a:gd name="T48" fmla="*/ 146 w 179"/>
                <a:gd name="T49" fmla="*/ 6 h 106"/>
                <a:gd name="T50" fmla="*/ 142 w 179"/>
                <a:gd name="T51" fmla="*/ 8 h 106"/>
                <a:gd name="T52" fmla="*/ 141 w 179"/>
                <a:gd name="T53" fmla="*/ 9 h 106"/>
                <a:gd name="T54" fmla="*/ 132 w 179"/>
                <a:gd name="T55" fmla="*/ 13 h 106"/>
                <a:gd name="T56" fmla="*/ 122 w 179"/>
                <a:gd name="T57" fmla="*/ 18 h 106"/>
                <a:gd name="T58" fmla="*/ 115 w 179"/>
                <a:gd name="T59" fmla="*/ 22 h 106"/>
                <a:gd name="T60" fmla="*/ 111 w 179"/>
                <a:gd name="T61" fmla="*/ 24 h 106"/>
                <a:gd name="T62" fmla="*/ 101 w 179"/>
                <a:gd name="T63" fmla="*/ 30 h 106"/>
                <a:gd name="T64" fmla="*/ 90 w 179"/>
                <a:gd name="T65" fmla="*/ 36 h 106"/>
                <a:gd name="T66" fmla="*/ 89 w 179"/>
                <a:gd name="T67" fmla="*/ 37 h 106"/>
                <a:gd name="T68" fmla="*/ 80 w 179"/>
                <a:gd name="T69" fmla="*/ 42 h 106"/>
                <a:gd name="T70" fmla="*/ 69 w 179"/>
                <a:gd name="T71" fmla="*/ 49 h 106"/>
                <a:gd name="T72" fmla="*/ 62 w 179"/>
                <a:gd name="T73" fmla="*/ 54 h 106"/>
                <a:gd name="T74" fmla="*/ 59 w 179"/>
                <a:gd name="T75" fmla="*/ 56 h 106"/>
                <a:gd name="T76" fmla="*/ 48 w 179"/>
                <a:gd name="T77" fmla="*/ 64 h 106"/>
                <a:gd name="T78" fmla="*/ 37 w 179"/>
                <a:gd name="T79" fmla="*/ 72 h 106"/>
                <a:gd name="T80" fmla="*/ 36 w 179"/>
                <a:gd name="T81" fmla="*/ 72 h 106"/>
                <a:gd name="T82" fmla="*/ 35 w 179"/>
                <a:gd name="T83" fmla="*/ 74 h 106"/>
                <a:gd name="T84" fmla="*/ 25 w 179"/>
                <a:gd name="T85" fmla="*/ 82 h 106"/>
                <a:gd name="T86" fmla="*/ 14 w 179"/>
                <a:gd name="T87" fmla="*/ 92 h 106"/>
                <a:gd name="T88" fmla="*/ 6 w 179"/>
                <a:gd name="T89" fmla="*/ 99 h 106"/>
                <a:gd name="T90" fmla="*/ 2 w 179"/>
                <a:gd name="T91" fmla="*/ 103 h 106"/>
                <a:gd name="T92" fmla="*/ 0 w 179"/>
                <a:gd name="T93" fmla="*/ 105 h 106"/>
                <a:gd name="T94" fmla="*/ 2 w 179"/>
                <a:gd name="T95" fmla="*/ 105 h 106"/>
                <a:gd name="T96" fmla="*/ 5 w 179"/>
                <a:gd name="T97" fmla="*/ 106 h 106"/>
                <a:gd name="T98" fmla="*/ 8 w 179"/>
                <a:gd name="T99" fmla="*/ 106 h 106"/>
                <a:gd name="T100" fmla="*/ 11 w 179"/>
                <a:gd name="T101" fmla="*/ 105 h 106"/>
                <a:gd name="T102" fmla="*/ 20 w 179"/>
                <a:gd name="T103" fmla="*/ 103 h 106"/>
                <a:gd name="T104" fmla="*/ 22 w 179"/>
                <a:gd name="T105" fmla="*/ 103 h 106"/>
                <a:gd name="T106" fmla="*/ 28 w 179"/>
                <a:gd name="T107" fmla="*/ 102 h 106"/>
                <a:gd name="T108" fmla="*/ 28 w 179"/>
                <a:gd name="T109" fmla="*/ 102 h 106"/>
                <a:gd name="T110" fmla="*/ 30 w 179"/>
                <a:gd name="T111" fmla="*/ 100 h 106"/>
                <a:gd name="T112" fmla="*/ 41 w 179"/>
                <a:gd name="T113" fmla="*/ 90 h 106"/>
                <a:gd name="T114" fmla="*/ 47 w 179"/>
                <a:gd name="T115" fmla="*/ 86 h 106"/>
                <a:gd name="T116" fmla="*/ 53 w 179"/>
                <a:gd name="T117" fmla="*/ 82 h 106"/>
                <a:gd name="T118" fmla="*/ 56 w 179"/>
                <a:gd name="T119" fmla="*/ 79 h 106"/>
                <a:gd name="T120" fmla="*/ 63 w 179"/>
                <a:gd name="T121" fmla="*/ 74 h 106"/>
                <a:gd name="T122" fmla="*/ 74 w 179"/>
                <a:gd name="T123" fmla="*/ 6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" h="106">
                  <a:moveTo>
                    <a:pt x="74" y="66"/>
                  </a:moveTo>
                  <a:cubicBezTo>
                    <a:pt x="77" y="64"/>
                    <a:pt x="80" y="62"/>
                    <a:pt x="83" y="60"/>
                  </a:cubicBezTo>
                  <a:cubicBezTo>
                    <a:pt x="84" y="60"/>
                    <a:pt x="84" y="60"/>
                    <a:pt x="85" y="59"/>
                  </a:cubicBezTo>
                  <a:cubicBezTo>
                    <a:pt x="88" y="57"/>
                    <a:pt x="92" y="55"/>
                    <a:pt x="95" y="53"/>
                  </a:cubicBezTo>
                  <a:cubicBezTo>
                    <a:pt x="99" y="51"/>
                    <a:pt x="102" y="49"/>
                    <a:pt x="106" y="47"/>
                  </a:cubicBezTo>
                  <a:cubicBezTo>
                    <a:pt x="107" y="46"/>
                    <a:pt x="108" y="45"/>
                    <a:pt x="110" y="45"/>
                  </a:cubicBezTo>
                  <a:cubicBezTo>
                    <a:pt x="112" y="43"/>
                    <a:pt x="114" y="42"/>
                    <a:pt x="116" y="41"/>
                  </a:cubicBezTo>
                  <a:cubicBezTo>
                    <a:pt x="120" y="39"/>
                    <a:pt x="123" y="37"/>
                    <a:pt x="127" y="35"/>
                  </a:cubicBezTo>
                  <a:cubicBezTo>
                    <a:pt x="130" y="34"/>
                    <a:pt x="133" y="32"/>
                    <a:pt x="135" y="31"/>
                  </a:cubicBezTo>
                  <a:cubicBezTo>
                    <a:pt x="136" y="31"/>
                    <a:pt x="136" y="30"/>
                    <a:pt x="137" y="30"/>
                  </a:cubicBezTo>
                  <a:cubicBezTo>
                    <a:pt x="140" y="28"/>
                    <a:pt x="144" y="27"/>
                    <a:pt x="147" y="25"/>
                  </a:cubicBezTo>
                  <a:cubicBezTo>
                    <a:pt x="149" y="24"/>
                    <a:pt x="151" y="23"/>
                    <a:pt x="153" y="22"/>
                  </a:cubicBezTo>
                  <a:cubicBezTo>
                    <a:pt x="155" y="21"/>
                    <a:pt x="156" y="21"/>
                    <a:pt x="157" y="20"/>
                  </a:cubicBezTo>
                  <a:cubicBezTo>
                    <a:pt x="159" y="20"/>
                    <a:pt x="160" y="19"/>
                    <a:pt x="161" y="18"/>
                  </a:cubicBezTo>
                  <a:cubicBezTo>
                    <a:pt x="163" y="17"/>
                    <a:pt x="165" y="16"/>
                    <a:pt x="168" y="15"/>
                  </a:cubicBezTo>
                  <a:cubicBezTo>
                    <a:pt x="171" y="14"/>
                    <a:pt x="174" y="12"/>
                    <a:pt x="178" y="11"/>
                  </a:cubicBezTo>
                  <a:cubicBezTo>
                    <a:pt x="178" y="11"/>
                    <a:pt x="179" y="10"/>
                    <a:pt x="179" y="10"/>
                  </a:cubicBezTo>
                  <a:cubicBezTo>
                    <a:pt x="179" y="10"/>
                    <a:pt x="178" y="9"/>
                    <a:pt x="178" y="9"/>
                  </a:cubicBezTo>
                  <a:cubicBezTo>
                    <a:pt x="176" y="7"/>
                    <a:pt x="177" y="8"/>
                    <a:pt x="173" y="5"/>
                  </a:cubicBezTo>
                  <a:cubicBezTo>
                    <a:pt x="172" y="5"/>
                    <a:pt x="171" y="4"/>
                    <a:pt x="170" y="4"/>
                  </a:cubicBezTo>
                  <a:cubicBezTo>
                    <a:pt x="169" y="3"/>
                    <a:pt x="167" y="2"/>
                    <a:pt x="165" y="1"/>
                  </a:cubicBezTo>
                  <a:cubicBezTo>
                    <a:pt x="164" y="1"/>
                    <a:pt x="163" y="1"/>
                    <a:pt x="162" y="0"/>
                  </a:cubicBezTo>
                  <a:cubicBezTo>
                    <a:pt x="162" y="0"/>
                    <a:pt x="161" y="0"/>
                    <a:pt x="161" y="0"/>
                  </a:cubicBezTo>
                  <a:cubicBezTo>
                    <a:pt x="158" y="1"/>
                    <a:pt x="155" y="2"/>
                    <a:pt x="152" y="3"/>
                  </a:cubicBezTo>
                  <a:cubicBezTo>
                    <a:pt x="150" y="4"/>
                    <a:pt x="148" y="5"/>
                    <a:pt x="146" y="6"/>
                  </a:cubicBezTo>
                  <a:cubicBezTo>
                    <a:pt x="145" y="7"/>
                    <a:pt x="143" y="8"/>
                    <a:pt x="142" y="8"/>
                  </a:cubicBezTo>
                  <a:cubicBezTo>
                    <a:pt x="142" y="8"/>
                    <a:pt x="141" y="9"/>
                    <a:pt x="141" y="9"/>
                  </a:cubicBezTo>
                  <a:cubicBezTo>
                    <a:pt x="138" y="10"/>
                    <a:pt x="135" y="12"/>
                    <a:pt x="132" y="13"/>
                  </a:cubicBezTo>
                  <a:cubicBezTo>
                    <a:pt x="128" y="15"/>
                    <a:pt x="125" y="17"/>
                    <a:pt x="122" y="18"/>
                  </a:cubicBezTo>
                  <a:cubicBezTo>
                    <a:pt x="119" y="20"/>
                    <a:pt x="117" y="21"/>
                    <a:pt x="115" y="22"/>
                  </a:cubicBezTo>
                  <a:cubicBezTo>
                    <a:pt x="114" y="23"/>
                    <a:pt x="113" y="23"/>
                    <a:pt x="111" y="24"/>
                  </a:cubicBezTo>
                  <a:cubicBezTo>
                    <a:pt x="108" y="26"/>
                    <a:pt x="104" y="28"/>
                    <a:pt x="101" y="30"/>
                  </a:cubicBezTo>
                  <a:cubicBezTo>
                    <a:pt x="97" y="32"/>
                    <a:pt x="94" y="34"/>
                    <a:pt x="90" y="36"/>
                  </a:cubicBezTo>
                  <a:cubicBezTo>
                    <a:pt x="90" y="36"/>
                    <a:pt x="89" y="36"/>
                    <a:pt x="89" y="37"/>
                  </a:cubicBezTo>
                  <a:cubicBezTo>
                    <a:pt x="86" y="39"/>
                    <a:pt x="83" y="40"/>
                    <a:pt x="80" y="42"/>
                  </a:cubicBezTo>
                  <a:cubicBezTo>
                    <a:pt x="76" y="44"/>
                    <a:pt x="73" y="47"/>
                    <a:pt x="69" y="49"/>
                  </a:cubicBezTo>
                  <a:cubicBezTo>
                    <a:pt x="67" y="51"/>
                    <a:pt x="64" y="52"/>
                    <a:pt x="62" y="54"/>
                  </a:cubicBezTo>
                  <a:cubicBezTo>
                    <a:pt x="61" y="55"/>
                    <a:pt x="60" y="55"/>
                    <a:pt x="59" y="56"/>
                  </a:cubicBezTo>
                  <a:cubicBezTo>
                    <a:pt x="55" y="59"/>
                    <a:pt x="51" y="61"/>
                    <a:pt x="48" y="64"/>
                  </a:cubicBezTo>
                  <a:cubicBezTo>
                    <a:pt x="44" y="67"/>
                    <a:pt x="40" y="69"/>
                    <a:pt x="37" y="72"/>
                  </a:cubicBezTo>
                  <a:cubicBezTo>
                    <a:pt x="37" y="72"/>
                    <a:pt x="37" y="72"/>
                    <a:pt x="36" y="72"/>
                  </a:cubicBezTo>
                  <a:cubicBezTo>
                    <a:pt x="36" y="73"/>
                    <a:pt x="35" y="73"/>
                    <a:pt x="35" y="74"/>
                  </a:cubicBezTo>
                  <a:cubicBezTo>
                    <a:pt x="32" y="76"/>
                    <a:pt x="28" y="79"/>
                    <a:pt x="25" y="82"/>
                  </a:cubicBezTo>
                  <a:cubicBezTo>
                    <a:pt x="22" y="85"/>
                    <a:pt x="18" y="88"/>
                    <a:pt x="14" y="92"/>
                  </a:cubicBezTo>
                  <a:cubicBezTo>
                    <a:pt x="11" y="94"/>
                    <a:pt x="9" y="97"/>
                    <a:pt x="6" y="99"/>
                  </a:cubicBezTo>
                  <a:cubicBezTo>
                    <a:pt x="5" y="101"/>
                    <a:pt x="3" y="102"/>
                    <a:pt x="2" y="103"/>
                  </a:cubicBezTo>
                  <a:cubicBezTo>
                    <a:pt x="2" y="104"/>
                    <a:pt x="1" y="105"/>
                    <a:pt x="0" y="105"/>
                  </a:cubicBezTo>
                  <a:cubicBezTo>
                    <a:pt x="1" y="105"/>
                    <a:pt x="1" y="105"/>
                    <a:pt x="2" y="105"/>
                  </a:cubicBezTo>
                  <a:cubicBezTo>
                    <a:pt x="3" y="106"/>
                    <a:pt x="4" y="106"/>
                    <a:pt x="5" y="106"/>
                  </a:cubicBezTo>
                  <a:cubicBezTo>
                    <a:pt x="6" y="106"/>
                    <a:pt x="7" y="106"/>
                    <a:pt x="8" y="106"/>
                  </a:cubicBezTo>
                  <a:cubicBezTo>
                    <a:pt x="9" y="106"/>
                    <a:pt x="10" y="105"/>
                    <a:pt x="11" y="105"/>
                  </a:cubicBezTo>
                  <a:cubicBezTo>
                    <a:pt x="14" y="105"/>
                    <a:pt x="17" y="104"/>
                    <a:pt x="20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4" y="102"/>
                    <a:pt x="26" y="102"/>
                    <a:pt x="28" y="102"/>
                  </a:cubicBezTo>
                  <a:cubicBezTo>
                    <a:pt x="28" y="102"/>
                    <a:pt x="28" y="102"/>
                    <a:pt x="28" y="102"/>
                  </a:cubicBezTo>
                  <a:cubicBezTo>
                    <a:pt x="29" y="101"/>
                    <a:pt x="29" y="101"/>
                    <a:pt x="30" y="100"/>
                  </a:cubicBezTo>
                  <a:cubicBezTo>
                    <a:pt x="34" y="97"/>
                    <a:pt x="38" y="94"/>
                    <a:pt x="41" y="90"/>
                  </a:cubicBezTo>
                  <a:cubicBezTo>
                    <a:pt x="43" y="89"/>
                    <a:pt x="45" y="87"/>
                    <a:pt x="47" y="86"/>
                  </a:cubicBezTo>
                  <a:cubicBezTo>
                    <a:pt x="49" y="84"/>
                    <a:pt x="51" y="83"/>
                    <a:pt x="53" y="82"/>
                  </a:cubicBezTo>
                  <a:cubicBezTo>
                    <a:pt x="54" y="81"/>
                    <a:pt x="55" y="80"/>
                    <a:pt x="56" y="79"/>
                  </a:cubicBezTo>
                  <a:cubicBezTo>
                    <a:pt x="59" y="77"/>
                    <a:pt x="61" y="75"/>
                    <a:pt x="63" y="74"/>
                  </a:cubicBezTo>
                  <a:cubicBezTo>
                    <a:pt x="67" y="71"/>
                    <a:pt x="71" y="69"/>
                    <a:pt x="74" y="6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438150" y="1652588"/>
              <a:ext cx="257175" cy="38100"/>
            </a:xfrm>
            <a:custGeom>
              <a:avLst/>
              <a:gdLst>
                <a:gd name="T0" fmla="*/ 88 w 101"/>
                <a:gd name="T1" fmla="*/ 2 h 15"/>
                <a:gd name="T2" fmla="*/ 86 w 101"/>
                <a:gd name="T3" fmla="*/ 2 h 15"/>
                <a:gd name="T4" fmla="*/ 77 w 101"/>
                <a:gd name="T5" fmla="*/ 1 h 15"/>
                <a:gd name="T6" fmla="*/ 68 w 101"/>
                <a:gd name="T7" fmla="*/ 1 h 15"/>
                <a:gd name="T8" fmla="*/ 66 w 101"/>
                <a:gd name="T9" fmla="*/ 1 h 15"/>
                <a:gd name="T10" fmla="*/ 59 w 101"/>
                <a:gd name="T11" fmla="*/ 1 h 15"/>
                <a:gd name="T12" fmla="*/ 50 w 101"/>
                <a:gd name="T13" fmla="*/ 1 h 15"/>
                <a:gd name="T14" fmla="*/ 43 w 101"/>
                <a:gd name="T15" fmla="*/ 1 h 15"/>
                <a:gd name="T16" fmla="*/ 41 w 101"/>
                <a:gd name="T17" fmla="*/ 1 h 15"/>
                <a:gd name="T18" fmla="*/ 32 w 101"/>
                <a:gd name="T19" fmla="*/ 0 h 15"/>
                <a:gd name="T20" fmla="*/ 31 w 101"/>
                <a:gd name="T21" fmla="*/ 0 h 15"/>
                <a:gd name="T22" fmla="*/ 23 w 101"/>
                <a:gd name="T23" fmla="*/ 0 h 15"/>
                <a:gd name="T24" fmla="*/ 21 w 101"/>
                <a:gd name="T25" fmla="*/ 0 h 15"/>
                <a:gd name="T26" fmla="*/ 14 w 101"/>
                <a:gd name="T27" fmla="*/ 0 h 15"/>
                <a:gd name="T28" fmla="*/ 5 w 101"/>
                <a:gd name="T29" fmla="*/ 0 h 15"/>
                <a:gd name="T30" fmla="*/ 3 w 101"/>
                <a:gd name="T31" fmla="*/ 0 h 15"/>
                <a:gd name="T32" fmla="*/ 0 w 101"/>
                <a:gd name="T33" fmla="*/ 12 h 15"/>
                <a:gd name="T34" fmla="*/ 3 w 101"/>
                <a:gd name="T35" fmla="*/ 12 h 15"/>
                <a:gd name="T36" fmla="*/ 12 w 101"/>
                <a:gd name="T37" fmla="*/ 12 h 15"/>
                <a:gd name="T38" fmla="*/ 18 w 101"/>
                <a:gd name="T39" fmla="*/ 12 h 15"/>
                <a:gd name="T40" fmla="*/ 21 w 101"/>
                <a:gd name="T41" fmla="*/ 12 h 15"/>
                <a:gd name="T42" fmla="*/ 30 w 101"/>
                <a:gd name="T43" fmla="*/ 12 h 15"/>
                <a:gd name="T44" fmla="*/ 31 w 101"/>
                <a:gd name="T45" fmla="*/ 13 h 15"/>
                <a:gd name="T46" fmla="*/ 38 w 101"/>
                <a:gd name="T47" fmla="*/ 13 h 15"/>
                <a:gd name="T48" fmla="*/ 41 w 101"/>
                <a:gd name="T49" fmla="*/ 13 h 15"/>
                <a:gd name="T50" fmla="*/ 47 w 101"/>
                <a:gd name="T51" fmla="*/ 13 h 15"/>
                <a:gd name="T52" fmla="*/ 56 w 101"/>
                <a:gd name="T53" fmla="*/ 13 h 15"/>
                <a:gd name="T54" fmla="*/ 63 w 101"/>
                <a:gd name="T55" fmla="*/ 13 h 15"/>
                <a:gd name="T56" fmla="*/ 65 w 101"/>
                <a:gd name="T57" fmla="*/ 14 h 15"/>
                <a:gd name="T58" fmla="*/ 74 w 101"/>
                <a:gd name="T59" fmla="*/ 14 h 15"/>
                <a:gd name="T60" fmla="*/ 83 w 101"/>
                <a:gd name="T61" fmla="*/ 14 h 15"/>
                <a:gd name="T62" fmla="*/ 86 w 101"/>
                <a:gd name="T63" fmla="*/ 14 h 15"/>
                <a:gd name="T64" fmla="*/ 92 w 101"/>
                <a:gd name="T65" fmla="*/ 14 h 15"/>
                <a:gd name="T66" fmla="*/ 100 w 101"/>
                <a:gd name="T67" fmla="*/ 15 h 15"/>
                <a:gd name="T68" fmla="*/ 101 w 101"/>
                <a:gd name="T69" fmla="*/ 2 h 15"/>
                <a:gd name="T70" fmla="*/ 95 w 101"/>
                <a:gd name="T71" fmla="*/ 2 h 15"/>
                <a:gd name="T72" fmla="*/ 88 w 101"/>
                <a:gd name="T7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" h="15">
                  <a:moveTo>
                    <a:pt x="88" y="2"/>
                  </a:moveTo>
                  <a:cubicBezTo>
                    <a:pt x="88" y="2"/>
                    <a:pt x="87" y="2"/>
                    <a:pt x="86" y="2"/>
                  </a:cubicBezTo>
                  <a:cubicBezTo>
                    <a:pt x="83" y="2"/>
                    <a:pt x="80" y="2"/>
                    <a:pt x="77" y="1"/>
                  </a:cubicBezTo>
                  <a:cubicBezTo>
                    <a:pt x="74" y="1"/>
                    <a:pt x="71" y="1"/>
                    <a:pt x="68" y="1"/>
                  </a:cubicBezTo>
                  <a:cubicBezTo>
                    <a:pt x="68" y="1"/>
                    <a:pt x="67" y="1"/>
                    <a:pt x="66" y="1"/>
                  </a:cubicBezTo>
                  <a:cubicBezTo>
                    <a:pt x="64" y="1"/>
                    <a:pt x="62" y="1"/>
                    <a:pt x="59" y="1"/>
                  </a:cubicBezTo>
                  <a:cubicBezTo>
                    <a:pt x="56" y="1"/>
                    <a:pt x="53" y="1"/>
                    <a:pt x="50" y="1"/>
                  </a:cubicBezTo>
                  <a:cubicBezTo>
                    <a:pt x="48" y="1"/>
                    <a:pt x="46" y="1"/>
                    <a:pt x="43" y="1"/>
                  </a:cubicBezTo>
                  <a:cubicBezTo>
                    <a:pt x="43" y="1"/>
                    <a:pt x="42" y="1"/>
                    <a:pt x="41" y="1"/>
                  </a:cubicBezTo>
                  <a:cubicBezTo>
                    <a:pt x="38" y="0"/>
                    <a:pt x="35" y="0"/>
                    <a:pt x="32" y="0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28" y="0"/>
                    <a:pt x="26" y="0"/>
                    <a:pt x="23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9" y="0"/>
                    <a:pt x="17" y="0"/>
                    <a:pt x="14" y="0"/>
                  </a:cubicBezTo>
                  <a:cubicBezTo>
                    <a:pt x="11" y="0"/>
                    <a:pt x="8" y="0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4"/>
                    <a:pt x="1" y="8"/>
                    <a:pt x="0" y="12"/>
                  </a:cubicBezTo>
                  <a:cubicBezTo>
                    <a:pt x="1" y="12"/>
                    <a:pt x="2" y="12"/>
                    <a:pt x="3" y="12"/>
                  </a:cubicBezTo>
                  <a:cubicBezTo>
                    <a:pt x="6" y="12"/>
                    <a:pt x="9" y="12"/>
                    <a:pt x="12" y="12"/>
                  </a:cubicBezTo>
                  <a:cubicBezTo>
                    <a:pt x="14" y="12"/>
                    <a:pt x="16" y="12"/>
                    <a:pt x="18" y="12"/>
                  </a:cubicBezTo>
                  <a:cubicBezTo>
                    <a:pt x="19" y="12"/>
                    <a:pt x="20" y="12"/>
                    <a:pt x="21" y="12"/>
                  </a:cubicBezTo>
                  <a:cubicBezTo>
                    <a:pt x="24" y="12"/>
                    <a:pt x="26" y="12"/>
                    <a:pt x="30" y="12"/>
                  </a:cubicBezTo>
                  <a:cubicBezTo>
                    <a:pt x="30" y="12"/>
                    <a:pt x="30" y="12"/>
                    <a:pt x="31" y="13"/>
                  </a:cubicBezTo>
                  <a:cubicBezTo>
                    <a:pt x="33" y="13"/>
                    <a:pt x="36" y="13"/>
                    <a:pt x="38" y="13"/>
                  </a:cubicBezTo>
                  <a:cubicBezTo>
                    <a:pt x="39" y="13"/>
                    <a:pt x="40" y="13"/>
                    <a:pt x="41" y="13"/>
                  </a:cubicBezTo>
                  <a:cubicBezTo>
                    <a:pt x="43" y="13"/>
                    <a:pt x="45" y="13"/>
                    <a:pt x="47" y="13"/>
                  </a:cubicBezTo>
                  <a:cubicBezTo>
                    <a:pt x="50" y="13"/>
                    <a:pt x="53" y="13"/>
                    <a:pt x="56" y="13"/>
                  </a:cubicBezTo>
                  <a:cubicBezTo>
                    <a:pt x="59" y="13"/>
                    <a:pt x="61" y="13"/>
                    <a:pt x="63" y="13"/>
                  </a:cubicBezTo>
                  <a:cubicBezTo>
                    <a:pt x="64" y="13"/>
                    <a:pt x="65" y="13"/>
                    <a:pt x="65" y="14"/>
                  </a:cubicBezTo>
                  <a:cubicBezTo>
                    <a:pt x="68" y="14"/>
                    <a:pt x="71" y="14"/>
                    <a:pt x="74" y="14"/>
                  </a:cubicBezTo>
                  <a:cubicBezTo>
                    <a:pt x="77" y="14"/>
                    <a:pt x="80" y="14"/>
                    <a:pt x="83" y="14"/>
                  </a:cubicBezTo>
                  <a:cubicBezTo>
                    <a:pt x="84" y="14"/>
                    <a:pt x="85" y="14"/>
                    <a:pt x="86" y="14"/>
                  </a:cubicBezTo>
                  <a:cubicBezTo>
                    <a:pt x="88" y="14"/>
                    <a:pt x="90" y="14"/>
                    <a:pt x="92" y="14"/>
                  </a:cubicBezTo>
                  <a:cubicBezTo>
                    <a:pt x="95" y="14"/>
                    <a:pt x="98" y="15"/>
                    <a:pt x="100" y="15"/>
                  </a:cubicBezTo>
                  <a:cubicBezTo>
                    <a:pt x="100" y="10"/>
                    <a:pt x="101" y="6"/>
                    <a:pt x="101" y="2"/>
                  </a:cubicBezTo>
                  <a:cubicBezTo>
                    <a:pt x="99" y="2"/>
                    <a:pt x="97" y="2"/>
                    <a:pt x="95" y="2"/>
                  </a:cubicBezTo>
                  <a:cubicBezTo>
                    <a:pt x="93" y="2"/>
                    <a:pt x="91" y="2"/>
                    <a:pt x="88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809625" y="1663700"/>
              <a:ext cx="280988" cy="50800"/>
            </a:xfrm>
            <a:custGeom>
              <a:avLst/>
              <a:gdLst>
                <a:gd name="T0" fmla="*/ 101 w 111"/>
                <a:gd name="T1" fmla="*/ 6 h 20"/>
                <a:gd name="T2" fmla="*/ 99 w 111"/>
                <a:gd name="T3" fmla="*/ 6 h 20"/>
                <a:gd name="T4" fmla="*/ 92 w 111"/>
                <a:gd name="T5" fmla="*/ 6 h 20"/>
                <a:gd name="T6" fmla="*/ 83 w 111"/>
                <a:gd name="T7" fmla="*/ 5 h 20"/>
                <a:gd name="T8" fmla="*/ 77 w 111"/>
                <a:gd name="T9" fmla="*/ 5 h 20"/>
                <a:gd name="T10" fmla="*/ 74 w 111"/>
                <a:gd name="T11" fmla="*/ 5 h 20"/>
                <a:gd name="T12" fmla="*/ 65 w 111"/>
                <a:gd name="T13" fmla="*/ 4 h 20"/>
                <a:gd name="T14" fmla="*/ 56 w 111"/>
                <a:gd name="T15" fmla="*/ 4 h 20"/>
                <a:gd name="T16" fmla="*/ 54 w 111"/>
                <a:gd name="T17" fmla="*/ 3 h 20"/>
                <a:gd name="T18" fmla="*/ 47 w 111"/>
                <a:gd name="T19" fmla="*/ 3 h 20"/>
                <a:gd name="T20" fmla="*/ 39 w 111"/>
                <a:gd name="T21" fmla="*/ 2 h 20"/>
                <a:gd name="T22" fmla="*/ 32 w 111"/>
                <a:gd name="T23" fmla="*/ 2 h 20"/>
                <a:gd name="T24" fmla="*/ 30 w 111"/>
                <a:gd name="T25" fmla="*/ 2 h 20"/>
                <a:gd name="T26" fmla="*/ 21 w 111"/>
                <a:gd name="T27" fmla="*/ 1 h 20"/>
                <a:gd name="T28" fmla="*/ 12 w 111"/>
                <a:gd name="T29" fmla="*/ 1 h 20"/>
                <a:gd name="T30" fmla="*/ 10 w 111"/>
                <a:gd name="T31" fmla="*/ 0 h 20"/>
                <a:gd name="T32" fmla="*/ 3 w 111"/>
                <a:gd name="T33" fmla="*/ 0 h 20"/>
                <a:gd name="T34" fmla="*/ 3 w 111"/>
                <a:gd name="T35" fmla="*/ 0 h 20"/>
                <a:gd name="T36" fmla="*/ 1 w 111"/>
                <a:gd name="T37" fmla="*/ 0 h 20"/>
                <a:gd name="T38" fmla="*/ 0 w 111"/>
                <a:gd name="T39" fmla="*/ 13 h 20"/>
                <a:gd name="T40" fmla="*/ 0 w 111"/>
                <a:gd name="T41" fmla="*/ 13 h 20"/>
                <a:gd name="T42" fmla="*/ 2 w 111"/>
                <a:gd name="T43" fmla="*/ 13 h 20"/>
                <a:gd name="T44" fmla="*/ 7 w 111"/>
                <a:gd name="T45" fmla="*/ 13 h 20"/>
                <a:gd name="T46" fmla="*/ 9 w 111"/>
                <a:gd name="T47" fmla="*/ 13 h 20"/>
                <a:gd name="T48" fmla="*/ 18 w 111"/>
                <a:gd name="T49" fmla="*/ 14 h 20"/>
                <a:gd name="T50" fmla="*/ 27 w 111"/>
                <a:gd name="T51" fmla="*/ 14 h 20"/>
                <a:gd name="T52" fmla="*/ 29 w 111"/>
                <a:gd name="T53" fmla="*/ 15 h 20"/>
                <a:gd name="T54" fmla="*/ 36 w 111"/>
                <a:gd name="T55" fmla="*/ 15 h 20"/>
                <a:gd name="T56" fmla="*/ 44 w 111"/>
                <a:gd name="T57" fmla="*/ 16 h 20"/>
                <a:gd name="T58" fmla="*/ 51 w 111"/>
                <a:gd name="T59" fmla="*/ 16 h 20"/>
                <a:gd name="T60" fmla="*/ 53 w 111"/>
                <a:gd name="T61" fmla="*/ 16 h 20"/>
                <a:gd name="T62" fmla="*/ 62 w 111"/>
                <a:gd name="T63" fmla="*/ 17 h 20"/>
                <a:gd name="T64" fmla="*/ 71 w 111"/>
                <a:gd name="T65" fmla="*/ 17 h 20"/>
                <a:gd name="T66" fmla="*/ 74 w 111"/>
                <a:gd name="T67" fmla="*/ 18 h 20"/>
                <a:gd name="T68" fmla="*/ 80 w 111"/>
                <a:gd name="T69" fmla="*/ 18 h 20"/>
                <a:gd name="T70" fmla="*/ 89 w 111"/>
                <a:gd name="T71" fmla="*/ 19 h 20"/>
                <a:gd name="T72" fmla="*/ 96 w 111"/>
                <a:gd name="T73" fmla="*/ 19 h 20"/>
                <a:gd name="T74" fmla="*/ 98 w 111"/>
                <a:gd name="T75" fmla="*/ 19 h 20"/>
                <a:gd name="T76" fmla="*/ 107 w 111"/>
                <a:gd name="T77" fmla="*/ 20 h 20"/>
                <a:gd name="T78" fmla="*/ 111 w 111"/>
                <a:gd name="T79" fmla="*/ 20 h 20"/>
                <a:gd name="T80" fmla="*/ 111 w 111"/>
                <a:gd name="T81" fmla="*/ 7 h 20"/>
                <a:gd name="T82" fmla="*/ 110 w 111"/>
                <a:gd name="T83" fmla="*/ 7 h 20"/>
                <a:gd name="T84" fmla="*/ 101 w 111"/>
                <a:gd name="T8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1" h="20">
                  <a:moveTo>
                    <a:pt x="101" y="6"/>
                  </a:moveTo>
                  <a:cubicBezTo>
                    <a:pt x="100" y="6"/>
                    <a:pt x="100" y="6"/>
                    <a:pt x="99" y="6"/>
                  </a:cubicBezTo>
                  <a:cubicBezTo>
                    <a:pt x="97" y="6"/>
                    <a:pt x="94" y="6"/>
                    <a:pt x="92" y="6"/>
                  </a:cubicBezTo>
                  <a:cubicBezTo>
                    <a:pt x="89" y="6"/>
                    <a:pt x="86" y="5"/>
                    <a:pt x="83" y="5"/>
                  </a:cubicBezTo>
                  <a:cubicBezTo>
                    <a:pt x="81" y="5"/>
                    <a:pt x="79" y="5"/>
                    <a:pt x="77" y="5"/>
                  </a:cubicBezTo>
                  <a:cubicBezTo>
                    <a:pt x="76" y="5"/>
                    <a:pt x="75" y="5"/>
                    <a:pt x="74" y="5"/>
                  </a:cubicBezTo>
                  <a:cubicBezTo>
                    <a:pt x="71" y="5"/>
                    <a:pt x="68" y="4"/>
                    <a:pt x="65" y="4"/>
                  </a:cubicBezTo>
                  <a:cubicBezTo>
                    <a:pt x="62" y="4"/>
                    <a:pt x="59" y="4"/>
                    <a:pt x="56" y="4"/>
                  </a:cubicBezTo>
                  <a:cubicBezTo>
                    <a:pt x="56" y="4"/>
                    <a:pt x="55" y="4"/>
                    <a:pt x="54" y="3"/>
                  </a:cubicBezTo>
                  <a:cubicBezTo>
                    <a:pt x="52" y="3"/>
                    <a:pt x="50" y="3"/>
                    <a:pt x="47" y="3"/>
                  </a:cubicBezTo>
                  <a:cubicBezTo>
                    <a:pt x="44" y="3"/>
                    <a:pt x="42" y="3"/>
                    <a:pt x="39" y="2"/>
                  </a:cubicBezTo>
                  <a:cubicBezTo>
                    <a:pt x="36" y="2"/>
                    <a:pt x="34" y="2"/>
                    <a:pt x="32" y="2"/>
                  </a:cubicBezTo>
                  <a:cubicBezTo>
                    <a:pt x="31" y="2"/>
                    <a:pt x="30" y="2"/>
                    <a:pt x="30" y="2"/>
                  </a:cubicBezTo>
                  <a:cubicBezTo>
                    <a:pt x="27" y="2"/>
                    <a:pt x="24" y="1"/>
                    <a:pt x="21" y="1"/>
                  </a:cubicBezTo>
                  <a:cubicBezTo>
                    <a:pt x="18" y="1"/>
                    <a:pt x="15" y="1"/>
                    <a:pt x="12" y="1"/>
                  </a:cubicBezTo>
                  <a:cubicBezTo>
                    <a:pt x="11" y="1"/>
                    <a:pt x="10" y="1"/>
                    <a:pt x="10" y="0"/>
                  </a:cubicBezTo>
                  <a:cubicBezTo>
                    <a:pt x="8" y="0"/>
                    <a:pt x="5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4"/>
                    <a:pt x="0" y="8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4" y="13"/>
                    <a:pt x="5" y="13"/>
                    <a:pt x="7" y="13"/>
                  </a:cubicBezTo>
                  <a:cubicBezTo>
                    <a:pt x="7" y="13"/>
                    <a:pt x="8" y="13"/>
                    <a:pt x="9" y="13"/>
                  </a:cubicBezTo>
                  <a:cubicBezTo>
                    <a:pt x="12" y="13"/>
                    <a:pt x="15" y="14"/>
                    <a:pt x="18" y="14"/>
                  </a:cubicBezTo>
                  <a:cubicBezTo>
                    <a:pt x="21" y="14"/>
                    <a:pt x="24" y="14"/>
                    <a:pt x="27" y="14"/>
                  </a:cubicBezTo>
                  <a:cubicBezTo>
                    <a:pt x="27" y="15"/>
                    <a:pt x="28" y="15"/>
                    <a:pt x="29" y="15"/>
                  </a:cubicBezTo>
                  <a:cubicBezTo>
                    <a:pt x="31" y="15"/>
                    <a:pt x="33" y="15"/>
                    <a:pt x="36" y="15"/>
                  </a:cubicBezTo>
                  <a:cubicBezTo>
                    <a:pt x="39" y="15"/>
                    <a:pt x="42" y="16"/>
                    <a:pt x="44" y="16"/>
                  </a:cubicBezTo>
                  <a:cubicBezTo>
                    <a:pt x="47" y="16"/>
                    <a:pt x="49" y="16"/>
                    <a:pt x="51" y="16"/>
                  </a:cubicBezTo>
                  <a:cubicBezTo>
                    <a:pt x="52" y="16"/>
                    <a:pt x="53" y="16"/>
                    <a:pt x="53" y="16"/>
                  </a:cubicBezTo>
                  <a:cubicBezTo>
                    <a:pt x="56" y="17"/>
                    <a:pt x="59" y="17"/>
                    <a:pt x="62" y="17"/>
                  </a:cubicBezTo>
                  <a:cubicBezTo>
                    <a:pt x="65" y="17"/>
                    <a:pt x="68" y="17"/>
                    <a:pt x="71" y="17"/>
                  </a:cubicBezTo>
                  <a:cubicBezTo>
                    <a:pt x="72" y="18"/>
                    <a:pt x="73" y="18"/>
                    <a:pt x="74" y="18"/>
                  </a:cubicBezTo>
                  <a:cubicBezTo>
                    <a:pt x="76" y="18"/>
                    <a:pt x="78" y="18"/>
                    <a:pt x="80" y="18"/>
                  </a:cubicBezTo>
                  <a:cubicBezTo>
                    <a:pt x="83" y="18"/>
                    <a:pt x="86" y="18"/>
                    <a:pt x="89" y="19"/>
                  </a:cubicBezTo>
                  <a:cubicBezTo>
                    <a:pt x="91" y="19"/>
                    <a:pt x="94" y="19"/>
                    <a:pt x="96" y="19"/>
                  </a:cubicBezTo>
                  <a:cubicBezTo>
                    <a:pt x="97" y="19"/>
                    <a:pt x="97" y="19"/>
                    <a:pt x="98" y="19"/>
                  </a:cubicBezTo>
                  <a:cubicBezTo>
                    <a:pt x="101" y="19"/>
                    <a:pt x="104" y="20"/>
                    <a:pt x="107" y="20"/>
                  </a:cubicBezTo>
                  <a:cubicBezTo>
                    <a:pt x="108" y="20"/>
                    <a:pt x="109" y="20"/>
                    <a:pt x="111" y="20"/>
                  </a:cubicBezTo>
                  <a:cubicBezTo>
                    <a:pt x="111" y="16"/>
                    <a:pt x="111" y="11"/>
                    <a:pt x="111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07" y="7"/>
                    <a:pt x="104" y="6"/>
                    <a:pt x="101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827213" y="3049588"/>
              <a:ext cx="449263" cy="177800"/>
            </a:xfrm>
            <a:custGeom>
              <a:avLst/>
              <a:gdLst>
                <a:gd name="T0" fmla="*/ 5 w 177"/>
                <a:gd name="T1" fmla="*/ 70 h 70"/>
                <a:gd name="T2" fmla="*/ 7 w 177"/>
                <a:gd name="T3" fmla="*/ 69 h 70"/>
                <a:gd name="T4" fmla="*/ 8 w 177"/>
                <a:gd name="T5" fmla="*/ 69 h 70"/>
                <a:gd name="T6" fmla="*/ 18 w 177"/>
                <a:gd name="T7" fmla="*/ 66 h 70"/>
                <a:gd name="T8" fmla="*/ 28 w 177"/>
                <a:gd name="T9" fmla="*/ 63 h 70"/>
                <a:gd name="T10" fmla="*/ 31 w 177"/>
                <a:gd name="T11" fmla="*/ 61 h 70"/>
                <a:gd name="T12" fmla="*/ 37 w 177"/>
                <a:gd name="T13" fmla="*/ 59 h 70"/>
                <a:gd name="T14" fmla="*/ 47 w 177"/>
                <a:gd name="T15" fmla="*/ 56 h 70"/>
                <a:gd name="T16" fmla="*/ 56 w 177"/>
                <a:gd name="T17" fmla="*/ 53 h 70"/>
                <a:gd name="T18" fmla="*/ 57 w 177"/>
                <a:gd name="T19" fmla="*/ 53 h 70"/>
                <a:gd name="T20" fmla="*/ 67 w 177"/>
                <a:gd name="T21" fmla="*/ 50 h 70"/>
                <a:gd name="T22" fmla="*/ 76 w 177"/>
                <a:gd name="T23" fmla="*/ 47 h 70"/>
                <a:gd name="T24" fmla="*/ 80 w 177"/>
                <a:gd name="T25" fmla="*/ 46 h 70"/>
                <a:gd name="T26" fmla="*/ 86 w 177"/>
                <a:gd name="T27" fmla="*/ 44 h 70"/>
                <a:gd name="T28" fmla="*/ 96 w 177"/>
                <a:gd name="T29" fmla="*/ 41 h 70"/>
                <a:gd name="T30" fmla="*/ 105 w 177"/>
                <a:gd name="T31" fmla="*/ 38 h 70"/>
                <a:gd name="T32" fmla="*/ 106 w 177"/>
                <a:gd name="T33" fmla="*/ 38 h 70"/>
                <a:gd name="T34" fmla="*/ 116 w 177"/>
                <a:gd name="T35" fmla="*/ 35 h 70"/>
                <a:gd name="T36" fmla="*/ 125 w 177"/>
                <a:gd name="T37" fmla="*/ 32 h 70"/>
                <a:gd name="T38" fmla="*/ 129 w 177"/>
                <a:gd name="T39" fmla="*/ 30 h 70"/>
                <a:gd name="T40" fmla="*/ 130 w 177"/>
                <a:gd name="T41" fmla="*/ 30 h 70"/>
                <a:gd name="T42" fmla="*/ 135 w 177"/>
                <a:gd name="T43" fmla="*/ 29 h 70"/>
                <a:gd name="T44" fmla="*/ 145 w 177"/>
                <a:gd name="T45" fmla="*/ 25 h 70"/>
                <a:gd name="T46" fmla="*/ 154 w 177"/>
                <a:gd name="T47" fmla="*/ 23 h 70"/>
                <a:gd name="T48" fmla="*/ 155 w 177"/>
                <a:gd name="T49" fmla="*/ 22 h 70"/>
                <a:gd name="T50" fmla="*/ 164 w 177"/>
                <a:gd name="T51" fmla="*/ 19 h 70"/>
                <a:gd name="T52" fmla="*/ 174 w 177"/>
                <a:gd name="T53" fmla="*/ 16 h 70"/>
                <a:gd name="T54" fmla="*/ 177 w 177"/>
                <a:gd name="T55" fmla="*/ 15 h 70"/>
                <a:gd name="T56" fmla="*/ 175 w 177"/>
                <a:gd name="T57" fmla="*/ 11 h 70"/>
                <a:gd name="T58" fmla="*/ 170 w 177"/>
                <a:gd name="T59" fmla="*/ 0 h 70"/>
                <a:gd name="T60" fmla="*/ 169 w 177"/>
                <a:gd name="T61" fmla="*/ 0 h 70"/>
                <a:gd name="T62" fmla="*/ 159 w 177"/>
                <a:gd name="T63" fmla="*/ 3 h 70"/>
                <a:gd name="T64" fmla="*/ 158 w 177"/>
                <a:gd name="T65" fmla="*/ 3 h 70"/>
                <a:gd name="T66" fmla="*/ 149 w 177"/>
                <a:gd name="T67" fmla="*/ 6 h 70"/>
                <a:gd name="T68" fmla="*/ 140 w 177"/>
                <a:gd name="T69" fmla="*/ 9 h 70"/>
                <a:gd name="T70" fmla="*/ 134 w 177"/>
                <a:gd name="T71" fmla="*/ 11 h 70"/>
                <a:gd name="T72" fmla="*/ 130 w 177"/>
                <a:gd name="T73" fmla="*/ 12 h 70"/>
                <a:gd name="T74" fmla="*/ 125 w 177"/>
                <a:gd name="T75" fmla="*/ 14 h 70"/>
                <a:gd name="T76" fmla="*/ 120 w 177"/>
                <a:gd name="T77" fmla="*/ 15 h 70"/>
                <a:gd name="T78" fmla="*/ 110 w 177"/>
                <a:gd name="T79" fmla="*/ 18 h 70"/>
                <a:gd name="T80" fmla="*/ 109 w 177"/>
                <a:gd name="T81" fmla="*/ 19 h 70"/>
                <a:gd name="T82" fmla="*/ 101 w 177"/>
                <a:gd name="T83" fmla="*/ 21 h 70"/>
                <a:gd name="T84" fmla="*/ 91 w 177"/>
                <a:gd name="T85" fmla="*/ 24 h 70"/>
                <a:gd name="T86" fmla="*/ 85 w 177"/>
                <a:gd name="T87" fmla="*/ 26 h 70"/>
                <a:gd name="T88" fmla="*/ 81 w 177"/>
                <a:gd name="T89" fmla="*/ 28 h 70"/>
                <a:gd name="T90" fmla="*/ 71 w 177"/>
                <a:gd name="T91" fmla="*/ 31 h 70"/>
                <a:gd name="T92" fmla="*/ 62 w 177"/>
                <a:gd name="T93" fmla="*/ 34 h 70"/>
                <a:gd name="T94" fmla="*/ 60 w 177"/>
                <a:gd name="T95" fmla="*/ 34 h 70"/>
                <a:gd name="T96" fmla="*/ 52 w 177"/>
                <a:gd name="T97" fmla="*/ 37 h 70"/>
                <a:gd name="T98" fmla="*/ 42 w 177"/>
                <a:gd name="T99" fmla="*/ 40 h 70"/>
                <a:gd name="T100" fmla="*/ 36 w 177"/>
                <a:gd name="T101" fmla="*/ 42 h 70"/>
                <a:gd name="T102" fmla="*/ 32 w 177"/>
                <a:gd name="T103" fmla="*/ 43 h 70"/>
                <a:gd name="T104" fmla="*/ 22 w 177"/>
                <a:gd name="T105" fmla="*/ 46 h 70"/>
                <a:gd name="T106" fmla="*/ 13 w 177"/>
                <a:gd name="T107" fmla="*/ 50 h 70"/>
                <a:gd name="T108" fmla="*/ 11 w 177"/>
                <a:gd name="T109" fmla="*/ 50 h 70"/>
                <a:gd name="T110" fmla="*/ 3 w 177"/>
                <a:gd name="T111" fmla="*/ 53 h 70"/>
                <a:gd name="T112" fmla="*/ 0 w 177"/>
                <a:gd name="T113" fmla="*/ 54 h 70"/>
                <a:gd name="T114" fmla="*/ 2 w 177"/>
                <a:gd name="T115" fmla="*/ 58 h 70"/>
                <a:gd name="T116" fmla="*/ 5 w 177"/>
                <a:gd name="T1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7" h="70">
                  <a:moveTo>
                    <a:pt x="5" y="70"/>
                  </a:moveTo>
                  <a:cubicBezTo>
                    <a:pt x="6" y="70"/>
                    <a:pt x="6" y="70"/>
                    <a:pt x="7" y="69"/>
                  </a:cubicBezTo>
                  <a:cubicBezTo>
                    <a:pt x="7" y="69"/>
                    <a:pt x="8" y="69"/>
                    <a:pt x="8" y="69"/>
                  </a:cubicBezTo>
                  <a:cubicBezTo>
                    <a:pt x="11" y="68"/>
                    <a:pt x="15" y="67"/>
                    <a:pt x="18" y="66"/>
                  </a:cubicBezTo>
                  <a:cubicBezTo>
                    <a:pt x="21" y="65"/>
                    <a:pt x="24" y="64"/>
                    <a:pt x="28" y="63"/>
                  </a:cubicBezTo>
                  <a:cubicBezTo>
                    <a:pt x="29" y="62"/>
                    <a:pt x="30" y="62"/>
                    <a:pt x="31" y="61"/>
                  </a:cubicBezTo>
                  <a:cubicBezTo>
                    <a:pt x="33" y="61"/>
                    <a:pt x="35" y="60"/>
                    <a:pt x="37" y="59"/>
                  </a:cubicBezTo>
                  <a:cubicBezTo>
                    <a:pt x="41" y="58"/>
                    <a:pt x="44" y="57"/>
                    <a:pt x="47" y="56"/>
                  </a:cubicBezTo>
                  <a:cubicBezTo>
                    <a:pt x="50" y="55"/>
                    <a:pt x="53" y="54"/>
                    <a:pt x="56" y="53"/>
                  </a:cubicBezTo>
                  <a:cubicBezTo>
                    <a:pt x="56" y="53"/>
                    <a:pt x="57" y="53"/>
                    <a:pt x="57" y="53"/>
                  </a:cubicBezTo>
                  <a:cubicBezTo>
                    <a:pt x="60" y="52"/>
                    <a:pt x="63" y="51"/>
                    <a:pt x="67" y="50"/>
                  </a:cubicBezTo>
                  <a:cubicBezTo>
                    <a:pt x="70" y="49"/>
                    <a:pt x="73" y="48"/>
                    <a:pt x="76" y="47"/>
                  </a:cubicBezTo>
                  <a:cubicBezTo>
                    <a:pt x="78" y="46"/>
                    <a:pt x="79" y="46"/>
                    <a:pt x="80" y="46"/>
                  </a:cubicBezTo>
                  <a:cubicBezTo>
                    <a:pt x="82" y="45"/>
                    <a:pt x="84" y="44"/>
                    <a:pt x="86" y="44"/>
                  </a:cubicBezTo>
                  <a:cubicBezTo>
                    <a:pt x="89" y="43"/>
                    <a:pt x="93" y="42"/>
                    <a:pt x="96" y="41"/>
                  </a:cubicBezTo>
                  <a:cubicBezTo>
                    <a:pt x="99" y="40"/>
                    <a:pt x="102" y="39"/>
                    <a:pt x="105" y="38"/>
                  </a:cubicBezTo>
                  <a:cubicBezTo>
                    <a:pt x="105" y="38"/>
                    <a:pt x="105" y="38"/>
                    <a:pt x="106" y="38"/>
                  </a:cubicBezTo>
                  <a:cubicBezTo>
                    <a:pt x="109" y="37"/>
                    <a:pt x="112" y="36"/>
                    <a:pt x="116" y="35"/>
                  </a:cubicBezTo>
                  <a:cubicBezTo>
                    <a:pt x="119" y="34"/>
                    <a:pt x="122" y="33"/>
                    <a:pt x="125" y="32"/>
                  </a:cubicBezTo>
                  <a:cubicBezTo>
                    <a:pt x="127" y="31"/>
                    <a:pt x="128" y="31"/>
                    <a:pt x="129" y="30"/>
                  </a:cubicBezTo>
                  <a:cubicBezTo>
                    <a:pt x="129" y="30"/>
                    <a:pt x="130" y="30"/>
                    <a:pt x="130" y="30"/>
                  </a:cubicBezTo>
                  <a:cubicBezTo>
                    <a:pt x="131" y="30"/>
                    <a:pt x="133" y="29"/>
                    <a:pt x="135" y="29"/>
                  </a:cubicBezTo>
                  <a:cubicBezTo>
                    <a:pt x="138" y="28"/>
                    <a:pt x="142" y="26"/>
                    <a:pt x="145" y="25"/>
                  </a:cubicBezTo>
                  <a:cubicBezTo>
                    <a:pt x="148" y="25"/>
                    <a:pt x="151" y="24"/>
                    <a:pt x="154" y="23"/>
                  </a:cubicBezTo>
                  <a:cubicBezTo>
                    <a:pt x="154" y="23"/>
                    <a:pt x="154" y="22"/>
                    <a:pt x="155" y="22"/>
                  </a:cubicBezTo>
                  <a:cubicBezTo>
                    <a:pt x="158" y="21"/>
                    <a:pt x="161" y="20"/>
                    <a:pt x="164" y="19"/>
                  </a:cubicBezTo>
                  <a:cubicBezTo>
                    <a:pt x="168" y="18"/>
                    <a:pt x="171" y="17"/>
                    <a:pt x="174" y="16"/>
                  </a:cubicBezTo>
                  <a:cubicBezTo>
                    <a:pt x="175" y="16"/>
                    <a:pt x="176" y="15"/>
                    <a:pt x="177" y="15"/>
                  </a:cubicBezTo>
                  <a:cubicBezTo>
                    <a:pt x="177" y="14"/>
                    <a:pt x="176" y="12"/>
                    <a:pt x="175" y="11"/>
                  </a:cubicBezTo>
                  <a:cubicBezTo>
                    <a:pt x="174" y="7"/>
                    <a:pt x="172" y="3"/>
                    <a:pt x="170" y="0"/>
                  </a:cubicBezTo>
                  <a:cubicBezTo>
                    <a:pt x="170" y="0"/>
                    <a:pt x="169" y="0"/>
                    <a:pt x="169" y="0"/>
                  </a:cubicBezTo>
                  <a:cubicBezTo>
                    <a:pt x="166" y="1"/>
                    <a:pt x="162" y="2"/>
                    <a:pt x="159" y="3"/>
                  </a:cubicBezTo>
                  <a:cubicBezTo>
                    <a:pt x="159" y="3"/>
                    <a:pt x="158" y="3"/>
                    <a:pt x="158" y="3"/>
                  </a:cubicBezTo>
                  <a:cubicBezTo>
                    <a:pt x="155" y="4"/>
                    <a:pt x="152" y="5"/>
                    <a:pt x="149" y="6"/>
                  </a:cubicBezTo>
                  <a:cubicBezTo>
                    <a:pt x="146" y="7"/>
                    <a:pt x="143" y="8"/>
                    <a:pt x="140" y="9"/>
                  </a:cubicBezTo>
                  <a:cubicBezTo>
                    <a:pt x="138" y="10"/>
                    <a:pt x="136" y="11"/>
                    <a:pt x="134" y="11"/>
                  </a:cubicBezTo>
                  <a:cubicBezTo>
                    <a:pt x="132" y="12"/>
                    <a:pt x="131" y="12"/>
                    <a:pt x="130" y="12"/>
                  </a:cubicBezTo>
                  <a:cubicBezTo>
                    <a:pt x="128" y="13"/>
                    <a:pt x="126" y="13"/>
                    <a:pt x="125" y="14"/>
                  </a:cubicBezTo>
                  <a:cubicBezTo>
                    <a:pt x="123" y="14"/>
                    <a:pt x="122" y="15"/>
                    <a:pt x="120" y="15"/>
                  </a:cubicBezTo>
                  <a:cubicBezTo>
                    <a:pt x="117" y="16"/>
                    <a:pt x="114" y="17"/>
                    <a:pt x="110" y="18"/>
                  </a:cubicBezTo>
                  <a:cubicBezTo>
                    <a:pt x="110" y="19"/>
                    <a:pt x="110" y="19"/>
                    <a:pt x="109" y="19"/>
                  </a:cubicBezTo>
                  <a:cubicBezTo>
                    <a:pt x="106" y="20"/>
                    <a:pt x="103" y="21"/>
                    <a:pt x="101" y="21"/>
                  </a:cubicBezTo>
                  <a:cubicBezTo>
                    <a:pt x="97" y="22"/>
                    <a:pt x="94" y="23"/>
                    <a:pt x="91" y="24"/>
                  </a:cubicBezTo>
                  <a:cubicBezTo>
                    <a:pt x="89" y="25"/>
                    <a:pt x="87" y="26"/>
                    <a:pt x="85" y="26"/>
                  </a:cubicBezTo>
                  <a:cubicBezTo>
                    <a:pt x="84" y="27"/>
                    <a:pt x="82" y="27"/>
                    <a:pt x="81" y="28"/>
                  </a:cubicBezTo>
                  <a:cubicBezTo>
                    <a:pt x="78" y="29"/>
                    <a:pt x="75" y="30"/>
                    <a:pt x="71" y="31"/>
                  </a:cubicBezTo>
                  <a:cubicBezTo>
                    <a:pt x="68" y="32"/>
                    <a:pt x="65" y="33"/>
                    <a:pt x="62" y="34"/>
                  </a:cubicBezTo>
                  <a:cubicBezTo>
                    <a:pt x="61" y="34"/>
                    <a:pt x="61" y="34"/>
                    <a:pt x="60" y="34"/>
                  </a:cubicBezTo>
                  <a:cubicBezTo>
                    <a:pt x="58" y="35"/>
                    <a:pt x="55" y="36"/>
                    <a:pt x="52" y="37"/>
                  </a:cubicBezTo>
                  <a:cubicBezTo>
                    <a:pt x="48" y="38"/>
                    <a:pt x="45" y="39"/>
                    <a:pt x="42" y="40"/>
                  </a:cubicBezTo>
                  <a:cubicBezTo>
                    <a:pt x="40" y="41"/>
                    <a:pt x="38" y="41"/>
                    <a:pt x="36" y="42"/>
                  </a:cubicBezTo>
                  <a:cubicBezTo>
                    <a:pt x="35" y="42"/>
                    <a:pt x="33" y="43"/>
                    <a:pt x="32" y="43"/>
                  </a:cubicBezTo>
                  <a:cubicBezTo>
                    <a:pt x="29" y="44"/>
                    <a:pt x="26" y="45"/>
                    <a:pt x="22" y="46"/>
                  </a:cubicBezTo>
                  <a:cubicBezTo>
                    <a:pt x="19" y="47"/>
                    <a:pt x="16" y="48"/>
                    <a:pt x="13" y="50"/>
                  </a:cubicBezTo>
                  <a:cubicBezTo>
                    <a:pt x="12" y="50"/>
                    <a:pt x="12" y="50"/>
                    <a:pt x="11" y="50"/>
                  </a:cubicBezTo>
                  <a:cubicBezTo>
                    <a:pt x="9" y="51"/>
                    <a:pt x="6" y="52"/>
                    <a:pt x="3" y="53"/>
                  </a:cubicBezTo>
                  <a:cubicBezTo>
                    <a:pt x="2" y="53"/>
                    <a:pt x="1" y="53"/>
                    <a:pt x="0" y="54"/>
                  </a:cubicBezTo>
                  <a:cubicBezTo>
                    <a:pt x="0" y="55"/>
                    <a:pt x="1" y="57"/>
                    <a:pt x="2" y="58"/>
                  </a:cubicBezTo>
                  <a:cubicBezTo>
                    <a:pt x="3" y="62"/>
                    <a:pt x="4" y="66"/>
                    <a:pt x="5" y="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277938" y="4346575"/>
              <a:ext cx="503238" cy="238125"/>
            </a:xfrm>
            <a:custGeom>
              <a:avLst/>
              <a:gdLst>
                <a:gd name="T0" fmla="*/ 189 w 198"/>
                <a:gd name="T1" fmla="*/ 75 h 94"/>
                <a:gd name="T2" fmla="*/ 175 w 198"/>
                <a:gd name="T3" fmla="*/ 70 h 94"/>
                <a:gd name="T4" fmla="*/ 167 w 198"/>
                <a:gd name="T5" fmla="*/ 67 h 94"/>
                <a:gd name="T6" fmla="*/ 159 w 198"/>
                <a:gd name="T7" fmla="*/ 64 h 94"/>
                <a:gd name="T8" fmla="*/ 149 w 198"/>
                <a:gd name="T9" fmla="*/ 61 h 94"/>
                <a:gd name="T10" fmla="*/ 134 w 198"/>
                <a:gd name="T11" fmla="*/ 55 h 94"/>
                <a:gd name="T12" fmla="*/ 125 w 198"/>
                <a:gd name="T13" fmla="*/ 52 h 94"/>
                <a:gd name="T14" fmla="*/ 109 w 198"/>
                <a:gd name="T15" fmla="*/ 45 h 94"/>
                <a:gd name="T16" fmla="*/ 101 w 198"/>
                <a:gd name="T17" fmla="*/ 42 h 94"/>
                <a:gd name="T18" fmla="*/ 87 w 198"/>
                <a:gd name="T19" fmla="*/ 37 h 94"/>
                <a:gd name="T20" fmla="*/ 76 w 198"/>
                <a:gd name="T21" fmla="*/ 32 h 94"/>
                <a:gd name="T22" fmla="*/ 68 w 198"/>
                <a:gd name="T23" fmla="*/ 29 h 94"/>
                <a:gd name="T24" fmla="*/ 59 w 198"/>
                <a:gd name="T25" fmla="*/ 25 h 94"/>
                <a:gd name="T26" fmla="*/ 46 w 198"/>
                <a:gd name="T27" fmla="*/ 19 h 94"/>
                <a:gd name="T28" fmla="*/ 35 w 198"/>
                <a:gd name="T29" fmla="*/ 13 h 94"/>
                <a:gd name="T30" fmla="*/ 26 w 198"/>
                <a:gd name="T31" fmla="*/ 9 h 94"/>
                <a:gd name="T32" fmla="*/ 11 w 198"/>
                <a:gd name="T33" fmla="*/ 1 h 94"/>
                <a:gd name="T34" fmla="*/ 3 w 198"/>
                <a:gd name="T35" fmla="*/ 10 h 94"/>
                <a:gd name="T36" fmla="*/ 2 w 198"/>
                <a:gd name="T37" fmla="*/ 14 h 94"/>
                <a:gd name="T38" fmla="*/ 15 w 198"/>
                <a:gd name="T39" fmla="*/ 21 h 94"/>
                <a:gd name="T40" fmla="*/ 23 w 198"/>
                <a:gd name="T41" fmla="*/ 26 h 94"/>
                <a:gd name="T42" fmla="*/ 39 w 198"/>
                <a:gd name="T43" fmla="*/ 34 h 94"/>
                <a:gd name="T44" fmla="*/ 47 w 198"/>
                <a:gd name="T45" fmla="*/ 37 h 94"/>
                <a:gd name="T46" fmla="*/ 62 w 198"/>
                <a:gd name="T47" fmla="*/ 44 h 94"/>
                <a:gd name="T48" fmla="*/ 64 w 198"/>
                <a:gd name="T49" fmla="*/ 45 h 94"/>
                <a:gd name="T50" fmla="*/ 80 w 198"/>
                <a:gd name="T51" fmla="*/ 51 h 94"/>
                <a:gd name="T52" fmla="*/ 89 w 198"/>
                <a:gd name="T53" fmla="*/ 55 h 94"/>
                <a:gd name="T54" fmla="*/ 104 w 198"/>
                <a:gd name="T55" fmla="*/ 61 h 94"/>
                <a:gd name="T56" fmla="*/ 113 w 198"/>
                <a:gd name="T57" fmla="*/ 64 h 94"/>
                <a:gd name="T58" fmla="*/ 125 w 198"/>
                <a:gd name="T59" fmla="*/ 69 h 94"/>
                <a:gd name="T60" fmla="*/ 138 w 198"/>
                <a:gd name="T61" fmla="*/ 74 h 94"/>
                <a:gd name="T62" fmla="*/ 147 w 198"/>
                <a:gd name="T63" fmla="*/ 77 h 94"/>
                <a:gd name="T64" fmla="*/ 158 w 198"/>
                <a:gd name="T65" fmla="*/ 81 h 94"/>
                <a:gd name="T66" fmla="*/ 167 w 198"/>
                <a:gd name="T67" fmla="*/ 84 h 94"/>
                <a:gd name="T68" fmla="*/ 180 w 198"/>
                <a:gd name="T69" fmla="*/ 89 h 94"/>
                <a:gd name="T70" fmla="*/ 187 w 198"/>
                <a:gd name="T71" fmla="*/ 92 h 94"/>
                <a:gd name="T72" fmla="*/ 192 w 198"/>
                <a:gd name="T73" fmla="*/ 94 h 94"/>
                <a:gd name="T74" fmla="*/ 192 w 198"/>
                <a:gd name="T75" fmla="*/ 7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8" h="94">
                  <a:moveTo>
                    <a:pt x="191" y="76"/>
                  </a:moveTo>
                  <a:cubicBezTo>
                    <a:pt x="190" y="76"/>
                    <a:pt x="190" y="76"/>
                    <a:pt x="189" y="75"/>
                  </a:cubicBezTo>
                  <a:cubicBezTo>
                    <a:pt x="188" y="75"/>
                    <a:pt x="186" y="74"/>
                    <a:pt x="184" y="73"/>
                  </a:cubicBezTo>
                  <a:cubicBezTo>
                    <a:pt x="181" y="72"/>
                    <a:pt x="178" y="71"/>
                    <a:pt x="175" y="70"/>
                  </a:cubicBezTo>
                  <a:cubicBezTo>
                    <a:pt x="174" y="70"/>
                    <a:pt x="172" y="69"/>
                    <a:pt x="170" y="68"/>
                  </a:cubicBezTo>
                  <a:cubicBezTo>
                    <a:pt x="169" y="68"/>
                    <a:pt x="168" y="67"/>
                    <a:pt x="167" y="67"/>
                  </a:cubicBezTo>
                  <a:cubicBezTo>
                    <a:pt x="166" y="67"/>
                    <a:pt x="165" y="66"/>
                    <a:pt x="164" y="66"/>
                  </a:cubicBezTo>
                  <a:cubicBezTo>
                    <a:pt x="162" y="65"/>
                    <a:pt x="160" y="65"/>
                    <a:pt x="159" y="64"/>
                  </a:cubicBezTo>
                  <a:cubicBezTo>
                    <a:pt x="156" y="63"/>
                    <a:pt x="153" y="62"/>
                    <a:pt x="150" y="61"/>
                  </a:cubicBezTo>
                  <a:cubicBezTo>
                    <a:pt x="150" y="61"/>
                    <a:pt x="150" y="61"/>
                    <a:pt x="149" y="61"/>
                  </a:cubicBezTo>
                  <a:cubicBezTo>
                    <a:pt x="147" y="60"/>
                    <a:pt x="145" y="59"/>
                    <a:pt x="142" y="58"/>
                  </a:cubicBezTo>
                  <a:cubicBezTo>
                    <a:pt x="139" y="57"/>
                    <a:pt x="137" y="56"/>
                    <a:pt x="134" y="55"/>
                  </a:cubicBezTo>
                  <a:cubicBezTo>
                    <a:pt x="132" y="54"/>
                    <a:pt x="130" y="53"/>
                    <a:pt x="129" y="53"/>
                  </a:cubicBezTo>
                  <a:cubicBezTo>
                    <a:pt x="128" y="52"/>
                    <a:pt x="127" y="52"/>
                    <a:pt x="125" y="52"/>
                  </a:cubicBezTo>
                  <a:cubicBezTo>
                    <a:pt x="123" y="51"/>
                    <a:pt x="120" y="50"/>
                    <a:pt x="117" y="49"/>
                  </a:cubicBezTo>
                  <a:cubicBezTo>
                    <a:pt x="114" y="47"/>
                    <a:pt x="112" y="46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5" y="44"/>
                    <a:pt x="103" y="43"/>
                    <a:pt x="101" y="42"/>
                  </a:cubicBezTo>
                  <a:cubicBezTo>
                    <a:pt x="98" y="41"/>
                    <a:pt x="95" y="40"/>
                    <a:pt x="92" y="39"/>
                  </a:cubicBezTo>
                  <a:cubicBezTo>
                    <a:pt x="91" y="38"/>
                    <a:pt x="89" y="37"/>
                    <a:pt x="87" y="37"/>
                  </a:cubicBezTo>
                  <a:cubicBezTo>
                    <a:pt x="86" y="36"/>
                    <a:pt x="85" y="36"/>
                    <a:pt x="84" y="35"/>
                  </a:cubicBezTo>
                  <a:cubicBezTo>
                    <a:pt x="81" y="34"/>
                    <a:pt x="79" y="33"/>
                    <a:pt x="76" y="32"/>
                  </a:cubicBezTo>
                  <a:cubicBezTo>
                    <a:pt x="73" y="31"/>
                    <a:pt x="71" y="30"/>
                    <a:pt x="69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4" y="27"/>
                    <a:pt x="62" y="26"/>
                    <a:pt x="59" y="25"/>
                  </a:cubicBezTo>
                  <a:cubicBezTo>
                    <a:pt x="57" y="24"/>
                    <a:pt x="54" y="22"/>
                    <a:pt x="51" y="21"/>
                  </a:cubicBezTo>
                  <a:cubicBezTo>
                    <a:pt x="50" y="20"/>
                    <a:pt x="48" y="20"/>
                    <a:pt x="46" y="19"/>
                  </a:cubicBezTo>
                  <a:cubicBezTo>
                    <a:pt x="45" y="18"/>
                    <a:pt x="44" y="18"/>
                    <a:pt x="43" y="17"/>
                  </a:cubicBezTo>
                  <a:cubicBezTo>
                    <a:pt x="41" y="16"/>
                    <a:pt x="38" y="15"/>
                    <a:pt x="35" y="13"/>
                  </a:cubicBezTo>
                  <a:cubicBezTo>
                    <a:pt x="32" y="12"/>
                    <a:pt x="30" y="11"/>
                    <a:pt x="27" y="9"/>
                  </a:cubicBezTo>
                  <a:cubicBezTo>
                    <a:pt x="27" y="9"/>
                    <a:pt x="26" y="9"/>
                    <a:pt x="26" y="9"/>
                  </a:cubicBezTo>
                  <a:cubicBezTo>
                    <a:pt x="24" y="8"/>
                    <a:pt x="21" y="6"/>
                    <a:pt x="19" y="5"/>
                  </a:cubicBezTo>
                  <a:cubicBezTo>
                    <a:pt x="16" y="4"/>
                    <a:pt x="14" y="2"/>
                    <a:pt x="11" y="1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8" y="3"/>
                    <a:pt x="5" y="6"/>
                    <a:pt x="3" y="10"/>
                  </a:cubicBezTo>
                  <a:cubicBezTo>
                    <a:pt x="2" y="11"/>
                    <a:pt x="1" y="12"/>
                    <a:pt x="0" y="13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4" y="15"/>
                    <a:pt x="5" y="16"/>
                    <a:pt x="7" y="17"/>
                  </a:cubicBezTo>
                  <a:cubicBezTo>
                    <a:pt x="10" y="19"/>
                    <a:pt x="12" y="20"/>
                    <a:pt x="15" y="21"/>
                  </a:cubicBezTo>
                  <a:cubicBezTo>
                    <a:pt x="17" y="23"/>
                    <a:pt x="20" y="24"/>
                    <a:pt x="22" y="25"/>
                  </a:cubicBezTo>
                  <a:cubicBezTo>
                    <a:pt x="22" y="25"/>
                    <a:pt x="23" y="25"/>
                    <a:pt x="23" y="26"/>
                  </a:cubicBezTo>
                  <a:cubicBezTo>
                    <a:pt x="26" y="27"/>
                    <a:pt x="29" y="28"/>
                    <a:pt x="31" y="30"/>
                  </a:cubicBezTo>
                  <a:cubicBezTo>
                    <a:pt x="34" y="31"/>
                    <a:pt x="37" y="32"/>
                    <a:pt x="39" y="34"/>
                  </a:cubicBezTo>
                  <a:cubicBezTo>
                    <a:pt x="40" y="34"/>
                    <a:pt x="41" y="35"/>
                    <a:pt x="42" y="35"/>
                  </a:cubicBezTo>
                  <a:cubicBezTo>
                    <a:pt x="44" y="36"/>
                    <a:pt x="46" y="37"/>
                    <a:pt x="47" y="37"/>
                  </a:cubicBezTo>
                  <a:cubicBezTo>
                    <a:pt x="50" y="39"/>
                    <a:pt x="53" y="40"/>
                    <a:pt x="56" y="41"/>
                  </a:cubicBezTo>
                  <a:cubicBezTo>
                    <a:pt x="58" y="42"/>
                    <a:pt x="60" y="43"/>
                    <a:pt x="62" y="44"/>
                  </a:cubicBezTo>
                  <a:cubicBezTo>
                    <a:pt x="62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7" y="46"/>
                    <a:pt x="69" y="47"/>
                    <a:pt x="72" y="48"/>
                  </a:cubicBezTo>
                  <a:cubicBezTo>
                    <a:pt x="75" y="49"/>
                    <a:pt x="78" y="50"/>
                    <a:pt x="80" y="51"/>
                  </a:cubicBezTo>
                  <a:cubicBezTo>
                    <a:pt x="81" y="52"/>
                    <a:pt x="82" y="52"/>
                    <a:pt x="83" y="53"/>
                  </a:cubicBezTo>
                  <a:cubicBezTo>
                    <a:pt x="85" y="53"/>
                    <a:pt x="87" y="54"/>
                    <a:pt x="89" y="55"/>
                  </a:cubicBezTo>
                  <a:cubicBezTo>
                    <a:pt x="91" y="56"/>
                    <a:pt x="94" y="57"/>
                    <a:pt x="97" y="58"/>
                  </a:cubicBezTo>
                  <a:cubicBezTo>
                    <a:pt x="99" y="59"/>
                    <a:pt x="102" y="60"/>
                    <a:pt x="104" y="61"/>
                  </a:cubicBezTo>
                  <a:cubicBezTo>
                    <a:pt x="104" y="61"/>
                    <a:pt x="105" y="61"/>
                    <a:pt x="105" y="61"/>
                  </a:cubicBezTo>
                  <a:cubicBezTo>
                    <a:pt x="108" y="62"/>
                    <a:pt x="111" y="63"/>
                    <a:pt x="113" y="64"/>
                  </a:cubicBezTo>
                  <a:cubicBezTo>
                    <a:pt x="116" y="65"/>
                    <a:pt x="119" y="66"/>
                    <a:pt x="122" y="67"/>
                  </a:cubicBezTo>
                  <a:cubicBezTo>
                    <a:pt x="123" y="68"/>
                    <a:pt x="124" y="68"/>
                    <a:pt x="125" y="69"/>
                  </a:cubicBezTo>
                  <a:cubicBezTo>
                    <a:pt x="127" y="69"/>
                    <a:pt x="128" y="70"/>
                    <a:pt x="130" y="71"/>
                  </a:cubicBezTo>
                  <a:cubicBezTo>
                    <a:pt x="133" y="72"/>
                    <a:pt x="136" y="73"/>
                    <a:pt x="138" y="74"/>
                  </a:cubicBezTo>
                  <a:cubicBezTo>
                    <a:pt x="141" y="75"/>
                    <a:pt x="143" y="75"/>
                    <a:pt x="146" y="76"/>
                  </a:cubicBezTo>
                  <a:cubicBezTo>
                    <a:pt x="146" y="76"/>
                    <a:pt x="146" y="77"/>
                    <a:pt x="147" y="77"/>
                  </a:cubicBezTo>
                  <a:cubicBezTo>
                    <a:pt x="150" y="78"/>
                    <a:pt x="152" y="79"/>
                    <a:pt x="155" y="80"/>
                  </a:cubicBezTo>
                  <a:cubicBezTo>
                    <a:pt x="156" y="80"/>
                    <a:pt x="157" y="80"/>
                    <a:pt x="158" y="81"/>
                  </a:cubicBezTo>
                  <a:cubicBezTo>
                    <a:pt x="160" y="82"/>
                    <a:pt x="162" y="82"/>
                    <a:pt x="163" y="83"/>
                  </a:cubicBezTo>
                  <a:cubicBezTo>
                    <a:pt x="164" y="83"/>
                    <a:pt x="165" y="84"/>
                    <a:pt x="167" y="84"/>
                  </a:cubicBezTo>
                  <a:cubicBezTo>
                    <a:pt x="168" y="85"/>
                    <a:pt x="170" y="85"/>
                    <a:pt x="172" y="86"/>
                  </a:cubicBezTo>
                  <a:cubicBezTo>
                    <a:pt x="175" y="87"/>
                    <a:pt x="177" y="88"/>
                    <a:pt x="180" y="89"/>
                  </a:cubicBezTo>
                  <a:cubicBezTo>
                    <a:pt x="181" y="89"/>
                    <a:pt x="182" y="90"/>
                    <a:pt x="183" y="90"/>
                  </a:cubicBezTo>
                  <a:cubicBezTo>
                    <a:pt x="185" y="91"/>
                    <a:pt x="186" y="91"/>
                    <a:pt x="187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91" y="93"/>
                    <a:pt x="192" y="94"/>
                    <a:pt x="192" y="94"/>
                  </a:cubicBezTo>
                  <a:cubicBezTo>
                    <a:pt x="198" y="79"/>
                    <a:pt x="198" y="79"/>
                    <a:pt x="198" y="79"/>
                  </a:cubicBezTo>
                  <a:cubicBezTo>
                    <a:pt x="198" y="79"/>
                    <a:pt x="196" y="78"/>
                    <a:pt x="192" y="76"/>
                  </a:cubicBezTo>
                  <a:cubicBezTo>
                    <a:pt x="192" y="76"/>
                    <a:pt x="191" y="76"/>
                    <a:pt x="191" y="7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735138" y="1722438"/>
              <a:ext cx="373063" cy="80963"/>
            </a:xfrm>
            <a:custGeom>
              <a:avLst/>
              <a:gdLst>
                <a:gd name="T0" fmla="*/ 135 w 147"/>
                <a:gd name="T1" fmla="*/ 16 h 32"/>
                <a:gd name="T2" fmla="*/ 134 w 147"/>
                <a:gd name="T3" fmla="*/ 15 h 32"/>
                <a:gd name="T4" fmla="*/ 126 w 147"/>
                <a:gd name="T5" fmla="*/ 14 h 32"/>
                <a:gd name="T6" fmla="*/ 117 w 147"/>
                <a:gd name="T7" fmla="*/ 13 h 32"/>
                <a:gd name="T8" fmla="*/ 112 w 147"/>
                <a:gd name="T9" fmla="*/ 12 h 32"/>
                <a:gd name="T10" fmla="*/ 109 w 147"/>
                <a:gd name="T11" fmla="*/ 12 h 32"/>
                <a:gd name="T12" fmla="*/ 100 w 147"/>
                <a:gd name="T13" fmla="*/ 11 h 32"/>
                <a:gd name="T14" fmla="*/ 91 w 147"/>
                <a:gd name="T15" fmla="*/ 10 h 32"/>
                <a:gd name="T16" fmla="*/ 90 w 147"/>
                <a:gd name="T17" fmla="*/ 9 h 32"/>
                <a:gd name="T18" fmla="*/ 82 w 147"/>
                <a:gd name="T19" fmla="*/ 9 h 32"/>
                <a:gd name="T20" fmla="*/ 74 w 147"/>
                <a:gd name="T21" fmla="*/ 8 h 32"/>
                <a:gd name="T22" fmla="*/ 68 w 147"/>
                <a:gd name="T23" fmla="*/ 7 h 32"/>
                <a:gd name="T24" fmla="*/ 65 w 147"/>
                <a:gd name="T25" fmla="*/ 6 h 32"/>
                <a:gd name="T26" fmla="*/ 56 w 147"/>
                <a:gd name="T27" fmla="*/ 6 h 32"/>
                <a:gd name="T28" fmla="*/ 47 w 147"/>
                <a:gd name="T29" fmla="*/ 5 h 32"/>
                <a:gd name="T30" fmla="*/ 46 w 147"/>
                <a:gd name="T31" fmla="*/ 4 h 32"/>
                <a:gd name="T32" fmla="*/ 38 w 147"/>
                <a:gd name="T33" fmla="*/ 4 h 32"/>
                <a:gd name="T34" fmla="*/ 37 w 147"/>
                <a:gd name="T35" fmla="*/ 3 h 32"/>
                <a:gd name="T36" fmla="*/ 30 w 147"/>
                <a:gd name="T37" fmla="*/ 3 h 32"/>
                <a:gd name="T38" fmla="*/ 24 w 147"/>
                <a:gd name="T39" fmla="*/ 2 h 32"/>
                <a:gd name="T40" fmla="*/ 21 w 147"/>
                <a:gd name="T41" fmla="*/ 2 h 32"/>
                <a:gd name="T42" fmla="*/ 12 w 147"/>
                <a:gd name="T43" fmla="*/ 1 h 32"/>
                <a:gd name="T44" fmla="*/ 3 w 147"/>
                <a:gd name="T45" fmla="*/ 0 h 32"/>
                <a:gd name="T46" fmla="*/ 2 w 147"/>
                <a:gd name="T47" fmla="*/ 0 h 32"/>
                <a:gd name="T48" fmla="*/ 0 w 147"/>
                <a:gd name="T49" fmla="*/ 0 h 32"/>
                <a:gd name="T50" fmla="*/ 0 w 147"/>
                <a:gd name="T51" fmla="*/ 8 h 32"/>
                <a:gd name="T52" fmla="*/ 0 w 147"/>
                <a:gd name="T53" fmla="*/ 14 h 32"/>
                <a:gd name="T54" fmla="*/ 0 w 147"/>
                <a:gd name="T55" fmla="*/ 14 h 32"/>
                <a:gd name="T56" fmla="*/ 9 w 147"/>
                <a:gd name="T57" fmla="*/ 15 h 32"/>
                <a:gd name="T58" fmla="*/ 17 w 147"/>
                <a:gd name="T59" fmla="*/ 16 h 32"/>
                <a:gd name="T60" fmla="*/ 20 w 147"/>
                <a:gd name="T61" fmla="*/ 16 h 32"/>
                <a:gd name="T62" fmla="*/ 26 w 147"/>
                <a:gd name="T63" fmla="*/ 17 h 32"/>
                <a:gd name="T64" fmla="*/ 35 w 147"/>
                <a:gd name="T65" fmla="*/ 18 h 32"/>
                <a:gd name="T66" fmla="*/ 35 w 147"/>
                <a:gd name="T67" fmla="*/ 18 h 32"/>
                <a:gd name="T68" fmla="*/ 43 w 147"/>
                <a:gd name="T69" fmla="*/ 18 h 32"/>
                <a:gd name="T70" fmla="*/ 44 w 147"/>
                <a:gd name="T71" fmla="*/ 18 h 32"/>
                <a:gd name="T72" fmla="*/ 53 w 147"/>
                <a:gd name="T73" fmla="*/ 19 h 32"/>
                <a:gd name="T74" fmla="*/ 61 w 147"/>
                <a:gd name="T75" fmla="*/ 20 h 32"/>
                <a:gd name="T76" fmla="*/ 65 w 147"/>
                <a:gd name="T77" fmla="*/ 21 h 32"/>
                <a:gd name="T78" fmla="*/ 70 w 147"/>
                <a:gd name="T79" fmla="*/ 21 h 32"/>
                <a:gd name="T80" fmla="*/ 79 w 147"/>
                <a:gd name="T81" fmla="*/ 23 h 32"/>
                <a:gd name="T82" fmla="*/ 87 w 147"/>
                <a:gd name="T83" fmla="*/ 24 h 32"/>
                <a:gd name="T84" fmla="*/ 88 w 147"/>
                <a:gd name="T85" fmla="*/ 24 h 32"/>
                <a:gd name="T86" fmla="*/ 97 w 147"/>
                <a:gd name="T87" fmla="*/ 25 h 32"/>
                <a:gd name="T88" fmla="*/ 105 w 147"/>
                <a:gd name="T89" fmla="*/ 26 h 32"/>
                <a:gd name="T90" fmla="*/ 109 w 147"/>
                <a:gd name="T91" fmla="*/ 26 h 32"/>
                <a:gd name="T92" fmla="*/ 114 w 147"/>
                <a:gd name="T93" fmla="*/ 27 h 32"/>
                <a:gd name="T94" fmla="*/ 123 w 147"/>
                <a:gd name="T95" fmla="*/ 28 h 32"/>
                <a:gd name="T96" fmla="*/ 130 w 147"/>
                <a:gd name="T97" fmla="*/ 30 h 32"/>
                <a:gd name="T98" fmla="*/ 132 w 147"/>
                <a:gd name="T99" fmla="*/ 30 h 32"/>
                <a:gd name="T100" fmla="*/ 140 w 147"/>
                <a:gd name="T101" fmla="*/ 31 h 32"/>
                <a:gd name="T102" fmla="*/ 144 w 147"/>
                <a:gd name="T103" fmla="*/ 32 h 32"/>
                <a:gd name="T104" fmla="*/ 147 w 147"/>
                <a:gd name="T105" fmla="*/ 17 h 32"/>
                <a:gd name="T106" fmla="*/ 144 w 147"/>
                <a:gd name="T107" fmla="*/ 17 h 32"/>
                <a:gd name="T108" fmla="*/ 135 w 147"/>
                <a:gd name="T10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7" h="32">
                  <a:moveTo>
                    <a:pt x="135" y="16"/>
                  </a:moveTo>
                  <a:cubicBezTo>
                    <a:pt x="135" y="16"/>
                    <a:pt x="134" y="15"/>
                    <a:pt x="134" y="15"/>
                  </a:cubicBezTo>
                  <a:cubicBezTo>
                    <a:pt x="131" y="15"/>
                    <a:pt x="129" y="15"/>
                    <a:pt x="126" y="14"/>
                  </a:cubicBezTo>
                  <a:cubicBezTo>
                    <a:pt x="123" y="14"/>
                    <a:pt x="120" y="13"/>
                    <a:pt x="117" y="13"/>
                  </a:cubicBezTo>
                  <a:cubicBezTo>
                    <a:pt x="116" y="13"/>
                    <a:pt x="114" y="13"/>
                    <a:pt x="112" y="12"/>
                  </a:cubicBezTo>
                  <a:cubicBezTo>
                    <a:pt x="111" y="12"/>
                    <a:pt x="110" y="12"/>
                    <a:pt x="109" y="12"/>
                  </a:cubicBezTo>
                  <a:cubicBezTo>
                    <a:pt x="106" y="12"/>
                    <a:pt x="103" y="11"/>
                    <a:pt x="100" y="11"/>
                  </a:cubicBezTo>
                  <a:cubicBezTo>
                    <a:pt x="97" y="10"/>
                    <a:pt x="94" y="10"/>
                    <a:pt x="91" y="10"/>
                  </a:cubicBezTo>
                  <a:cubicBezTo>
                    <a:pt x="91" y="10"/>
                    <a:pt x="90" y="10"/>
                    <a:pt x="90" y="9"/>
                  </a:cubicBezTo>
                  <a:cubicBezTo>
                    <a:pt x="87" y="9"/>
                    <a:pt x="85" y="9"/>
                    <a:pt x="82" y="9"/>
                  </a:cubicBezTo>
                  <a:cubicBezTo>
                    <a:pt x="79" y="8"/>
                    <a:pt x="77" y="8"/>
                    <a:pt x="74" y="8"/>
                  </a:cubicBezTo>
                  <a:cubicBezTo>
                    <a:pt x="72" y="7"/>
                    <a:pt x="70" y="7"/>
                    <a:pt x="68" y="7"/>
                  </a:cubicBezTo>
                  <a:cubicBezTo>
                    <a:pt x="67" y="7"/>
                    <a:pt x="66" y="7"/>
                    <a:pt x="65" y="6"/>
                  </a:cubicBezTo>
                  <a:cubicBezTo>
                    <a:pt x="62" y="6"/>
                    <a:pt x="59" y="6"/>
                    <a:pt x="56" y="6"/>
                  </a:cubicBezTo>
                  <a:cubicBezTo>
                    <a:pt x="53" y="5"/>
                    <a:pt x="50" y="5"/>
                    <a:pt x="47" y="5"/>
                  </a:cubicBezTo>
                  <a:cubicBezTo>
                    <a:pt x="47" y="5"/>
                    <a:pt x="46" y="4"/>
                    <a:pt x="46" y="4"/>
                  </a:cubicBezTo>
                  <a:cubicBezTo>
                    <a:pt x="43" y="4"/>
                    <a:pt x="41" y="4"/>
                    <a:pt x="38" y="4"/>
                  </a:cubicBezTo>
                  <a:cubicBezTo>
                    <a:pt x="38" y="4"/>
                    <a:pt x="37" y="3"/>
                    <a:pt x="37" y="3"/>
                  </a:cubicBezTo>
                  <a:cubicBezTo>
                    <a:pt x="34" y="3"/>
                    <a:pt x="32" y="3"/>
                    <a:pt x="30" y="3"/>
                  </a:cubicBezTo>
                  <a:cubicBezTo>
                    <a:pt x="28" y="3"/>
                    <a:pt x="26" y="2"/>
                    <a:pt x="24" y="2"/>
                  </a:cubicBezTo>
                  <a:cubicBezTo>
                    <a:pt x="23" y="2"/>
                    <a:pt x="22" y="2"/>
                    <a:pt x="21" y="2"/>
                  </a:cubicBezTo>
                  <a:cubicBezTo>
                    <a:pt x="18" y="2"/>
                    <a:pt x="15" y="1"/>
                    <a:pt x="12" y="1"/>
                  </a:cubicBezTo>
                  <a:cubicBezTo>
                    <a:pt x="9" y="1"/>
                    <a:pt x="6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0" y="10"/>
                    <a:pt x="0" y="1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3" y="14"/>
                    <a:pt x="6" y="15"/>
                    <a:pt x="9" y="15"/>
                  </a:cubicBezTo>
                  <a:cubicBezTo>
                    <a:pt x="12" y="15"/>
                    <a:pt x="14" y="16"/>
                    <a:pt x="17" y="16"/>
                  </a:cubicBezTo>
                  <a:cubicBezTo>
                    <a:pt x="18" y="16"/>
                    <a:pt x="19" y="16"/>
                    <a:pt x="20" y="16"/>
                  </a:cubicBezTo>
                  <a:cubicBezTo>
                    <a:pt x="22" y="16"/>
                    <a:pt x="24" y="16"/>
                    <a:pt x="26" y="17"/>
                  </a:cubicBezTo>
                  <a:cubicBezTo>
                    <a:pt x="29" y="17"/>
                    <a:pt x="32" y="17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8" y="18"/>
                    <a:pt x="40" y="18"/>
                    <a:pt x="43" y="18"/>
                  </a:cubicBezTo>
                  <a:cubicBezTo>
                    <a:pt x="43" y="18"/>
                    <a:pt x="43" y="18"/>
                    <a:pt x="44" y="18"/>
                  </a:cubicBezTo>
                  <a:cubicBezTo>
                    <a:pt x="47" y="19"/>
                    <a:pt x="50" y="19"/>
                    <a:pt x="53" y="19"/>
                  </a:cubicBezTo>
                  <a:cubicBezTo>
                    <a:pt x="56" y="20"/>
                    <a:pt x="59" y="20"/>
                    <a:pt x="61" y="20"/>
                  </a:cubicBezTo>
                  <a:cubicBezTo>
                    <a:pt x="63" y="21"/>
                    <a:pt x="64" y="21"/>
                    <a:pt x="65" y="21"/>
                  </a:cubicBezTo>
                  <a:cubicBezTo>
                    <a:pt x="66" y="21"/>
                    <a:pt x="68" y="21"/>
                    <a:pt x="70" y="21"/>
                  </a:cubicBezTo>
                  <a:cubicBezTo>
                    <a:pt x="73" y="22"/>
                    <a:pt x="76" y="22"/>
                    <a:pt x="79" y="23"/>
                  </a:cubicBezTo>
                  <a:cubicBezTo>
                    <a:pt x="82" y="23"/>
                    <a:pt x="84" y="23"/>
                    <a:pt x="87" y="24"/>
                  </a:cubicBezTo>
                  <a:cubicBezTo>
                    <a:pt x="87" y="24"/>
                    <a:pt x="87" y="24"/>
                    <a:pt x="88" y="24"/>
                  </a:cubicBezTo>
                  <a:cubicBezTo>
                    <a:pt x="91" y="24"/>
                    <a:pt x="94" y="24"/>
                    <a:pt x="97" y="25"/>
                  </a:cubicBezTo>
                  <a:cubicBezTo>
                    <a:pt x="100" y="25"/>
                    <a:pt x="102" y="26"/>
                    <a:pt x="105" y="26"/>
                  </a:cubicBezTo>
                  <a:cubicBezTo>
                    <a:pt x="106" y="26"/>
                    <a:pt x="107" y="26"/>
                    <a:pt x="109" y="26"/>
                  </a:cubicBezTo>
                  <a:cubicBezTo>
                    <a:pt x="110" y="27"/>
                    <a:pt x="112" y="27"/>
                    <a:pt x="114" y="27"/>
                  </a:cubicBezTo>
                  <a:cubicBezTo>
                    <a:pt x="117" y="28"/>
                    <a:pt x="120" y="28"/>
                    <a:pt x="123" y="28"/>
                  </a:cubicBezTo>
                  <a:cubicBezTo>
                    <a:pt x="125" y="29"/>
                    <a:pt x="128" y="29"/>
                    <a:pt x="130" y="30"/>
                  </a:cubicBezTo>
                  <a:cubicBezTo>
                    <a:pt x="131" y="30"/>
                    <a:pt x="131" y="30"/>
                    <a:pt x="132" y="30"/>
                  </a:cubicBezTo>
                  <a:cubicBezTo>
                    <a:pt x="134" y="30"/>
                    <a:pt x="137" y="31"/>
                    <a:pt x="140" y="31"/>
                  </a:cubicBezTo>
                  <a:cubicBezTo>
                    <a:pt x="142" y="31"/>
                    <a:pt x="143" y="31"/>
                    <a:pt x="144" y="32"/>
                  </a:cubicBezTo>
                  <a:cubicBezTo>
                    <a:pt x="145" y="27"/>
                    <a:pt x="146" y="22"/>
                    <a:pt x="147" y="17"/>
                  </a:cubicBezTo>
                  <a:cubicBezTo>
                    <a:pt x="146" y="17"/>
                    <a:pt x="145" y="17"/>
                    <a:pt x="144" y="17"/>
                  </a:cubicBezTo>
                  <a:cubicBezTo>
                    <a:pt x="141" y="16"/>
                    <a:pt x="138" y="16"/>
                    <a:pt x="135" y="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208088" y="1685925"/>
              <a:ext cx="411163" cy="61913"/>
            </a:xfrm>
            <a:custGeom>
              <a:avLst/>
              <a:gdLst>
                <a:gd name="T0" fmla="*/ 149 w 162"/>
                <a:gd name="T1" fmla="*/ 9 h 24"/>
                <a:gd name="T2" fmla="*/ 143 w 162"/>
                <a:gd name="T3" fmla="*/ 9 h 24"/>
                <a:gd name="T4" fmla="*/ 140 w 162"/>
                <a:gd name="T5" fmla="*/ 9 h 24"/>
                <a:gd name="T6" fmla="*/ 131 w 162"/>
                <a:gd name="T7" fmla="*/ 8 h 24"/>
                <a:gd name="T8" fmla="*/ 122 w 162"/>
                <a:gd name="T9" fmla="*/ 8 h 24"/>
                <a:gd name="T10" fmla="*/ 121 w 162"/>
                <a:gd name="T11" fmla="*/ 7 h 24"/>
                <a:gd name="T12" fmla="*/ 113 w 162"/>
                <a:gd name="T13" fmla="*/ 7 h 24"/>
                <a:gd name="T14" fmla="*/ 104 w 162"/>
                <a:gd name="T15" fmla="*/ 6 h 24"/>
                <a:gd name="T16" fmla="*/ 98 w 162"/>
                <a:gd name="T17" fmla="*/ 6 h 24"/>
                <a:gd name="T18" fmla="*/ 96 w 162"/>
                <a:gd name="T19" fmla="*/ 6 h 24"/>
                <a:gd name="T20" fmla="*/ 87 w 162"/>
                <a:gd name="T21" fmla="*/ 5 h 24"/>
                <a:gd name="T22" fmla="*/ 78 w 162"/>
                <a:gd name="T23" fmla="*/ 5 h 24"/>
                <a:gd name="T24" fmla="*/ 76 w 162"/>
                <a:gd name="T25" fmla="*/ 5 h 24"/>
                <a:gd name="T26" fmla="*/ 69 w 162"/>
                <a:gd name="T27" fmla="*/ 4 h 24"/>
                <a:gd name="T28" fmla="*/ 60 w 162"/>
                <a:gd name="T29" fmla="*/ 4 h 24"/>
                <a:gd name="T30" fmla="*/ 54 w 162"/>
                <a:gd name="T31" fmla="*/ 3 h 24"/>
                <a:gd name="T32" fmla="*/ 51 w 162"/>
                <a:gd name="T33" fmla="*/ 3 h 24"/>
                <a:gd name="T34" fmla="*/ 42 w 162"/>
                <a:gd name="T35" fmla="*/ 3 h 24"/>
                <a:gd name="T36" fmla="*/ 33 w 162"/>
                <a:gd name="T37" fmla="*/ 2 h 24"/>
                <a:gd name="T38" fmla="*/ 31 w 162"/>
                <a:gd name="T39" fmla="*/ 2 h 24"/>
                <a:gd name="T40" fmla="*/ 24 w 162"/>
                <a:gd name="T41" fmla="*/ 2 h 24"/>
                <a:gd name="T42" fmla="*/ 15 w 162"/>
                <a:gd name="T43" fmla="*/ 1 h 24"/>
                <a:gd name="T44" fmla="*/ 9 w 162"/>
                <a:gd name="T45" fmla="*/ 1 h 24"/>
                <a:gd name="T46" fmla="*/ 6 w 162"/>
                <a:gd name="T47" fmla="*/ 1 h 24"/>
                <a:gd name="T48" fmla="*/ 0 w 162"/>
                <a:gd name="T49" fmla="*/ 0 h 24"/>
                <a:gd name="T50" fmla="*/ 0 w 162"/>
                <a:gd name="T51" fmla="*/ 14 h 24"/>
                <a:gd name="T52" fmla="*/ 3 w 162"/>
                <a:gd name="T53" fmla="*/ 14 h 24"/>
                <a:gd name="T54" fmla="*/ 6 w 162"/>
                <a:gd name="T55" fmla="*/ 14 h 24"/>
                <a:gd name="T56" fmla="*/ 12 w 162"/>
                <a:gd name="T57" fmla="*/ 14 h 24"/>
                <a:gd name="T58" fmla="*/ 21 w 162"/>
                <a:gd name="T59" fmla="*/ 15 h 24"/>
                <a:gd name="T60" fmla="*/ 28 w 162"/>
                <a:gd name="T61" fmla="*/ 15 h 24"/>
                <a:gd name="T62" fmla="*/ 30 w 162"/>
                <a:gd name="T63" fmla="*/ 15 h 24"/>
                <a:gd name="T64" fmla="*/ 39 w 162"/>
                <a:gd name="T65" fmla="*/ 16 h 24"/>
                <a:gd name="T66" fmla="*/ 48 w 162"/>
                <a:gd name="T67" fmla="*/ 17 h 24"/>
                <a:gd name="T68" fmla="*/ 51 w 162"/>
                <a:gd name="T69" fmla="*/ 17 h 24"/>
                <a:gd name="T70" fmla="*/ 57 w 162"/>
                <a:gd name="T71" fmla="*/ 17 h 24"/>
                <a:gd name="T72" fmla="*/ 66 w 162"/>
                <a:gd name="T73" fmla="*/ 18 h 24"/>
                <a:gd name="T74" fmla="*/ 73 w 162"/>
                <a:gd name="T75" fmla="*/ 18 h 24"/>
                <a:gd name="T76" fmla="*/ 75 w 162"/>
                <a:gd name="T77" fmla="*/ 18 h 24"/>
                <a:gd name="T78" fmla="*/ 83 w 162"/>
                <a:gd name="T79" fmla="*/ 19 h 24"/>
                <a:gd name="T80" fmla="*/ 92 w 162"/>
                <a:gd name="T81" fmla="*/ 19 h 24"/>
                <a:gd name="T82" fmla="*/ 95 w 162"/>
                <a:gd name="T83" fmla="*/ 19 h 24"/>
                <a:gd name="T84" fmla="*/ 101 w 162"/>
                <a:gd name="T85" fmla="*/ 20 h 24"/>
                <a:gd name="T86" fmla="*/ 110 w 162"/>
                <a:gd name="T87" fmla="*/ 20 h 24"/>
                <a:gd name="T88" fmla="*/ 117 w 162"/>
                <a:gd name="T89" fmla="*/ 21 h 24"/>
                <a:gd name="T90" fmla="*/ 119 w 162"/>
                <a:gd name="T91" fmla="*/ 21 h 24"/>
                <a:gd name="T92" fmla="*/ 128 w 162"/>
                <a:gd name="T93" fmla="*/ 22 h 24"/>
                <a:gd name="T94" fmla="*/ 137 w 162"/>
                <a:gd name="T95" fmla="*/ 22 h 24"/>
                <a:gd name="T96" fmla="*/ 140 w 162"/>
                <a:gd name="T97" fmla="*/ 23 h 24"/>
                <a:gd name="T98" fmla="*/ 146 w 162"/>
                <a:gd name="T99" fmla="*/ 23 h 24"/>
                <a:gd name="T100" fmla="*/ 155 w 162"/>
                <a:gd name="T101" fmla="*/ 24 h 24"/>
                <a:gd name="T102" fmla="*/ 162 w 162"/>
                <a:gd name="T103" fmla="*/ 24 h 24"/>
                <a:gd name="T104" fmla="*/ 162 w 162"/>
                <a:gd name="T105" fmla="*/ 10 h 24"/>
                <a:gd name="T106" fmla="*/ 158 w 162"/>
                <a:gd name="T107" fmla="*/ 10 h 24"/>
                <a:gd name="T108" fmla="*/ 149 w 162"/>
                <a:gd name="T10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2" h="24">
                  <a:moveTo>
                    <a:pt x="149" y="9"/>
                  </a:moveTo>
                  <a:cubicBezTo>
                    <a:pt x="147" y="9"/>
                    <a:pt x="145" y="9"/>
                    <a:pt x="143" y="9"/>
                  </a:cubicBezTo>
                  <a:cubicBezTo>
                    <a:pt x="142" y="9"/>
                    <a:pt x="141" y="9"/>
                    <a:pt x="140" y="9"/>
                  </a:cubicBezTo>
                  <a:cubicBezTo>
                    <a:pt x="137" y="9"/>
                    <a:pt x="134" y="8"/>
                    <a:pt x="131" y="8"/>
                  </a:cubicBezTo>
                  <a:cubicBezTo>
                    <a:pt x="128" y="8"/>
                    <a:pt x="125" y="8"/>
                    <a:pt x="122" y="8"/>
                  </a:cubicBezTo>
                  <a:cubicBezTo>
                    <a:pt x="122" y="8"/>
                    <a:pt x="121" y="7"/>
                    <a:pt x="121" y="7"/>
                  </a:cubicBezTo>
                  <a:cubicBezTo>
                    <a:pt x="118" y="7"/>
                    <a:pt x="116" y="7"/>
                    <a:pt x="113" y="7"/>
                  </a:cubicBezTo>
                  <a:cubicBezTo>
                    <a:pt x="110" y="7"/>
                    <a:pt x="107" y="7"/>
                    <a:pt x="104" y="6"/>
                  </a:cubicBezTo>
                  <a:cubicBezTo>
                    <a:pt x="102" y="6"/>
                    <a:pt x="100" y="6"/>
                    <a:pt x="98" y="6"/>
                  </a:cubicBezTo>
                  <a:cubicBezTo>
                    <a:pt x="97" y="6"/>
                    <a:pt x="96" y="6"/>
                    <a:pt x="96" y="6"/>
                  </a:cubicBezTo>
                  <a:cubicBezTo>
                    <a:pt x="93" y="6"/>
                    <a:pt x="90" y="5"/>
                    <a:pt x="87" y="5"/>
                  </a:cubicBezTo>
                  <a:cubicBezTo>
                    <a:pt x="84" y="5"/>
                    <a:pt x="81" y="5"/>
                    <a:pt x="78" y="5"/>
                  </a:cubicBezTo>
                  <a:cubicBezTo>
                    <a:pt x="77" y="5"/>
                    <a:pt x="77" y="5"/>
                    <a:pt x="76" y="5"/>
                  </a:cubicBezTo>
                  <a:cubicBezTo>
                    <a:pt x="74" y="5"/>
                    <a:pt x="71" y="4"/>
                    <a:pt x="69" y="4"/>
                  </a:cubicBezTo>
                  <a:cubicBezTo>
                    <a:pt x="66" y="4"/>
                    <a:pt x="63" y="4"/>
                    <a:pt x="60" y="4"/>
                  </a:cubicBezTo>
                  <a:cubicBezTo>
                    <a:pt x="58" y="4"/>
                    <a:pt x="56" y="4"/>
                    <a:pt x="54" y="3"/>
                  </a:cubicBezTo>
                  <a:cubicBezTo>
                    <a:pt x="53" y="3"/>
                    <a:pt x="52" y="3"/>
                    <a:pt x="51" y="3"/>
                  </a:cubicBezTo>
                  <a:cubicBezTo>
                    <a:pt x="48" y="3"/>
                    <a:pt x="45" y="3"/>
                    <a:pt x="42" y="3"/>
                  </a:cubicBezTo>
                  <a:cubicBezTo>
                    <a:pt x="39" y="3"/>
                    <a:pt x="36" y="2"/>
                    <a:pt x="33" y="2"/>
                  </a:cubicBezTo>
                  <a:cubicBezTo>
                    <a:pt x="33" y="2"/>
                    <a:pt x="32" y="2"/>
                    <a:pt x="31" y="2"/>
                  </a:cubicBezTo>
                  <a:cubicBezTo>
                    <a:pt x="29" y="2"/>
                    <a:pt x="27" y="2"/>
                    <a:pt x="24" y="2"/>
                  </a:cubicBezTo>
                  <a:cubicBezTo>
                    <a:pt x="21" y="2"/>
                    <a:pt x="18" y="1"/>
                    <a:pt x="15" y="1"/>
                  </a:cubicBezTo>
                  <a:cubicBezTo>
                    <a:pt x="13" y="1"/>
                    <a:pt x="11" y="1"/>
                    <a:pt x="9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4" y="1"/>
                    <a:pt x="2" y="1"/>
                    <a:pt x="0" y="0"/>
                  </a:cubicBezTo>
                  <a:cubicBezTo>
                    <a:pt x="0" y="5"/>
                    <a:pt x="0" y="9"/>
                    <a:pt x="0" y="14"/>
                  </a:cubicBezTo>
                  <a:cubicBezTo>
                    <a:pt x="1" y="14"/>
                    <a:pt x="2" y="14"/>
                    <a:pt x="3" y="14"/>
                  </a:cubicBezTo>
                  <a:cubicBezTo>
                    <a:pt x="4" y="14"/>
                    <a:pt x="5" y="14"/>
                    <a:pt x="6" y="14"/>
                  </a:cubicBezTo>
                  <a:cubicBezTo>
                    <a:pt x="8" y="14"/>
                    <a:pt x="10" y="14"/>
                    <a:pt x="12" y="14"/>
                  </a:cubicBezTo>
                  <a:cubicBezTo>
                    <a:pt x="15" y="15"/>
                    <a:pt x="18" y="15"/>
                    <a:pt x="21" y="15"/>
                  </a:cubicBezTo>
                  <a:cubicBezTo>
                    <a:pt x="23" y="15"/>
                    <a:pt x="26" y="15"/>
                    <a:pt x="28" y="15"/>
                  </a:cubicBezTo>
                  <a:cubicBezTo>
                    <a:pt x="29" y="15"/>
                    <a:pt x="29" y="15"/>
                    <a:pt x="30" y="15"/>
                  </a:cubicBezTo>
                  <a:cubicBezTo>
                    <a:pt x="33" y="16"/>
                    <a:pt x="36" y="16"/>
                    <a:pt x="39" y="16"/>
                  </a:cubicBezTo>
                  <a:cubicBezTo>
                    <a:pt x="42" y="16"/>
                    <a:pt x="45" y="16"/>
                    <a:pt x="48" y="17"/>
                  </a:cubicBezTo>
                  <a:cubicBezTo>
                    <a:pt x="49" y="17"/>
                    <a:pt x="50" y="17"/>
                    <a:pt x="51" y="17"/>
                  </a:cubicBezTo>
                  <a:cubicBezTo>
                    <a:pt x="53" y="17"/>
                    <a:pt x="55" y="17"/>
                    <a:pt x="57" y="17"/>
                  </a:cubicBezTo>
                  <a:cubicBezTo>
                    <a:pt x="60" y="17"/>
                    <a:pt x="63" y="17"/>
                    <a:pt x="66" y="18"/>
                  </a:cubicBezTo>
                  <a:cubicBezTo>
                    <a:pt x="68" y="18"/>
                    <a:pt x="70" y="18"/>
                    <a:pt x="73" y="18"/>
                  </a:cubicBezTo>
                  <a:cubicBezTo>
                    <a:pt x="73" y="18"/>
                    <a:pt x="74" y="18"/>
                    <a:pt x="75" y="18"/>
                  </a:cubicBezTo>
                  <a:cubicBezTo>
                    <a:pt x="78" y="18"/>
                    <a:pt x="80" y="19"/>
                    <a:pt x="83" y="19"/>
                  </a:cubicBezTo>
                  <a:cubicBezTo>
                    <a:pt x="86" y="19"/>
                    <a:pt x="89" y="19"/>
                    <a:pt x="92" y="19"/>
                  </a:cubicBezTo>
                  <a:cubicBezTo>
                    <a:pt x="93" y="19"/>
                    <a:pt x="94" y="19"/>
                    <a:pt x="95" y="19"/>
                  </a:cubicBezTo>
                  <a:cubicBezTo>
                    <a:pt x="97" y="20"/>
                    <a:pt x="99" y="20"/>
                    <a:pt x="101" y="20"/>
                  </a:cubicBezTo>
                  <a:cubicBezTo>
                    <a:pt x="104" y="20"/>
                    <a:pt x="107" y="20"/>
                    <a:pt x="110" y="20"/>
                  </a:cubicBezTo>
                  <a:cubicBezTo>
                    <a:pt x="113" y="21"/>
                    <a:pt x="115" y="21"/>
                    <a:pt x="117" y="21"/>
                  </a:cubicBezTo>
                  <a:cubicBezTo>
                    <a:pt x="118" y="21"/>
                    <a:pt x="118" y="21"/>
                    <a:pt x="119" y="21"/>
                  </a:cubicBezTo>
                  <a:cubicBezTo>
                    <a:pt x="122" y="21"/>
                    <a:pt x="125" y="21"/>
                    <a:pt x="128" y="22"/>
                  </a:cubicBezTo>
                  <a:cubicBezTo>
                    <a:pt x="131" y="22"/>
                    <a:pt x="134" y="22"/>
                    <a:pt x="137" y="22"/>
                  </a:cubicBezTo>
                  <a:cubicBezTo>
                    <a:pt x="138" y="22"/>
                    <a:pt x="139" y="22"/>
                    <a:pt x="140" y="23"/>
                  </a:cubicBezTo>
                  <a:cubicBezTo>
                    <a:pt x="142" y="23"/>
                    <a:pt x="144" y="23"/>
                    <a:pt x="146" y="23"/>
                  </a:cubicBezTo>
                  <a:cubicBezTo>
                    <a:pt x="149" y="23"/>
                    <a:pt x="152" y="23"/>
                    <a:pt x="155" y="24"/>
                  </a:cubicBezTo>
                  <a:cubicBezTo>
                    <a:pt x="157" y="24"/>
                    <a:pt x="159" y="24"/>
                    <a:pt x="162" y="24"/>
                  </a:cubicBezTo>
                  <a:cubicBezTo>
                    <a:pt x="162" y="20"/>
                    <a:pt x="162" y="15"/>
                    <a:pt x="162" y="10"/>
                  </a:cubicBezTo>
                  <a:cubicBezTo>
                    <a:pt x="160" y="10"/>
                    <a:pt x="159" y="10"/>
                    <a:pt x="158" y="10"/>
                  </a:cubicBezTo>
                  <a:cubicBezTo>
                    <a:pt x="155" y="10"/>
                    <a:pt x="152" y="10"/>
                    <a:pt x="149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2217738" y="1785938"/>
              <a:ext cx="438150" cy="136525"/>
            </a:xfrm>
            <a:custGeom>
              <a:avLst/>
              <a:gdLst>
                <a:gd name="T0" fmla="*/ 160 w 173"/>
                <a:gd name="T1" fmla="*/ 35 h 54"/>
                <a:gd name="T2" fmla="*/ 160 w 173"/>
                <a:gd name="T3" fmla="*/ 35 h 54"/>
                <a:gd name="T4" fmla="*/ 152 w 173"/>
                <a:gd name="T5" fmla="*/ 33 h 54"/>
                <a:gd name="T6" fmla="*/ 143 w 173"/>
                <a:gd name="T7" fmla="*/ 31 h 54"/>
                <a:gd name="T8" fmla="*/ 138 w 173"/>
                <a:gd name="T9" fmla="*/ 29 h 54"/>
                <a:gd name="T10" fmla="*/ 135 w 173"/>
                <a:gd name="T11" fmla="*/ 28 h 54"/>
                <a:gd name="T12" fmla="*/ 135 w 173"/>
                <a:gd name="T13" fmla="*/ 28 h 54"/>
                <a:gd name="T14" fmla="*/ 126 w 173"/>
                <a:gd name="T15" fmla="*/ 26 h 54"/>
                <a:gd name="T16" fmla="*/ 118 w 173"/>
                <a:gd name="T17" fmla="*/ 24 h 54"/>
                <a:gd name="T18" fmla="*/ 117 w 173"/>
                <a:gd name="T19" fmla="*/ 24 h 54"/>
                <a:gd name="T20" fmla="*/ 109 w 173"/>
                <a:gd name="T21" fmla="*/ 22 h 54"/>
                <a:gd name="T22" fmla="*/ 101 w 173"/>
                <a:gd name="T23" fmla="*/ 20 h 54"/>
                <a:gd name="T24" fmla="*/ 96 w 173"/>
                <a:gd name="T25" fmla="*/ 18 h 54"/>
                <a:gd name="T26" fmla="*/ 92 w 173"/>
                <a:gd name="T27" fmla="*/ 18 h 54"/>
                <a:gd name="T28" fmla="*/ 84 w 173"/>
                <a:gd name="T29" fmla="*/ 16 h 54"/>
                <a:gd name="T30" fmla="*/ 75 w 173"/>
                <a:gd name="T31" fmla="*/ 14 h 54"/>
                <a:gd name="T32" fmla="*/ 74 w 173"/>
                <a:gd name="T33" fmla="*/ 14 h 54"/>
                <a:gd name="T34" fmla="*/ 66 w 173"/>
                <a:gd name="T35" fmla="*/ 12 h 54"/>
                <a:gd name="T36" fmla="*/ 58 w 173"/>
                <a:gd name="T37" fmla="*/ 10 h 54"/>
                <a:gd name="T38" fmla="*/ 53 w 173"/>
                <a:gd name="T39" fmla="*/ 9 h 54"/>
                <a:gd name="T40" fmla="*/ 49 w 173"/>
                <a:gd name="T41" fmla="*/ 8 h 54"/>
                <a:gd name="T42" fmla="*/ 41 w 173"/>
                <a:gd name="T43" fmla="*/ 7 h 54"/>
                <a:gd name="T44" fmla="*/ 32 w 173"/>
                <a:gd name="T45" fmla="*/ 5 h 54"/>
                <a:gd name="T46" fmla="*/ 31 w 173"/>
                <a:gd name="T47" fmla="*/ 5 h 54"/>
                <a:gd name="T48" fmla="*/ 23 w 173"/>
                <a:gd name="T49" fmla="*/ 3 h 54"/>
                <a:gd name="T50" fmla="*/ 15 w 173"/>
                <a:gd name="T51" fmla="*/ 2 h 54"/>
                <a:gd name="T52" fmla="*/ 9 w 173"/>
                <a:gd name="T53" fmla="*/ 1 h 54"/>
                <a:gd name="T54" fmla="*/ 6 w 173"/>
                <a:gd name="T55" fmla="*/ 0 h 54"/>
                <a:gd name="T56" fmla="*/ 2 w 173"/>
                <a:gd name="T57" fmla="*/ 0 h 54"/>
                <a:gd name="T58" fmla="*/ 0 w 173"/>
                <a:gd name="T59" fmla="*/ 14 h 54"/>
                <a:gd name="T60" fmla="*/ 3 w 173"/>
                <a:gd name="T61" fmla="*/ 15 h 54"/>
                <a:gd name="T62" fmla="*/ 6 w 173"/>
                <a:gd name="T63" fmla="*/ 15 h 54"/>
                <a:gd name="T64" fmla="*/ 11 w 173"/>
                <a:gd name="T65" fmla="*/ 16 h 54"/>
                <a:gd name="T66" fmla="*/ 20 w 173"/>
                <a:gd name="T67" fmla="*/ 18 h 54"/>
                <a:gd name="T68" fmla="*/ 27 w 173"/>
                <a:gd name="T69" fmla="*/ 19 h 54"/>
                <a:gd name="T70" fmla="*/ 28 w 173"/>
                <a:gd name="T71" fmla="*/ 19 h 54"/>
                <a:gd name="T72" fmla="*/ 37 w 173"/>
                <a:gd name="T73" fmla="*/ 21 h 54"/>
                <a:gd name="T74" fmla="*/ 46 w 173"/>
                <a:gd name="T75" fmla="*/ 23 h 54"/>
                <a:gd name="T76" fmla="*/ 49 w 173"/>
                <a:gd name="T77" fmla="*/ 24 h 54"/>
                <a:gd name="T78" fmla="*/ 54 w 173"/>
                <a:gd name="T79" fmla="*/ 25 h 54"/>
                <a:gd name="T80" fmla="*/ 63 w 173"/>
                <a:gd name="T81" fmla="*/ 26 h 54"/>
                <a:gd name="T82" fmla="*/ 71 w 173"/>
                <a:gd name="T83" fmla="*/ 28 h 54"/>
                <a:gd name="T84" fmla="*/ 72 w 173"/>
                <a:gd name="T85" fmla="*/ 28 h 54"/>
                <a:gd name="T86" fmla="*/ 80 w 173"/>
                <a:gd name="T87" fmla="*/ 30 h 54"/>
                <a:gd name="T88" fmla="*/ 89 w 173"/>
                <a:gd name="T89" fmla="*/ 32 h 54"/>
                <a:gd name="T90" fmla="*/ 92 w 173"/>
                <a:gd name="T91" fmla="*/ 33 h 54"/>
                <a:gd name="T92" fmla="*/ 97 w 173"/>
                <a:gd name="T93" fmla="*/ 34 h 54"/>
                <a:gd name="T94" fmla="*/ 106 w 173"/>
                <a:gd name="T95" fmla="*/ 36 h 54"/>
                <a:gd name="T96" fmla="*/ 114 w 173"/>
                <a:gd name="T97" fmla="*/ 38 h 54"/>
                <a:gd name="T98" fmla="*/ 114 w 173"/>
                <a:gd name="T99" fmla="*/ 39 h 54"/>
                <a:gd name="T100" fmla="*/ 123 w 173"/>
                <a:gd name="T101" fmla="*/ 41 h 54"/>
                <a:gd name="T102" fmla="*/ 131 w 173"/>
                <a:gd name="T103" fmla="*/ 43 h 54"/>
                <a:gd name="T104" fmla="*/ 131 w 173"/>
                <a:gd name="T105" fmla="*/ 43 h 54"/>
                <a:gd name="T106" fmla="*/ 135 w 173"/>
                <a:gd name="T107" fmla="*/ 44 h 54"/>
                <a:gd name="T108" fmla="*/ 140 w 173"/>
                <a:gd name="T109" fmla="*/ 45 h 54"/>
                <a:gd name="T110" fmla="*/ 148 w 173"/>
                <a:gd name="T111" fmla="*/ 48 h 54"/>
                <a:gd name="T112" fmla="*/ 156 w 173"/>
                <a:gd name="T113" fmla="*/ 50 h 54"/>
                <a:gd name="T114" fmla="*/ 157 w 173"/>
                <a:gd name="T115" fmla="*/ 50 h 54"/>
                <a:gd name="T116" fmla="*/ 165 w 173"/>
                <a:gd name="T117" fmla="*/ 53 h 54"/>
                <a:gd name="T118" fmla="*/ 170 w 173"/>
                <a:gd name="T119" fmla="*/ 54 h 54"/>
                <a:gd name="T120" fmla="*/ 173 w 173"/>
                <a:gd name="T121" fmla="*/ 39 h 54"/>
                <a:gd name="T122" fmla="*/ 169 w 173"/>
                <a:gd name="T123" fmla="*/ 38 h 54"/>
                <a:gd name="T124" fmla="*/ 160 w 173"/>
                <a:gd name="T125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54">
                  <a:moveTo>
                    <a:pt x="160" y="35"/>
                  </a:moveTo>
                  <a:cubicBezTo>
                    <a:pt x="160" y="35"/>
                    <a:pt x="160" y="35"/>
                    <a:pt x="160" y="35"/>
                  </a:cubicBezTo>
                  <a:cubicBezTo>
                    <a:pt x="157" y="34"/>
                    <a:pt x="154" y="34"/>
                    <a:pt x="152" y="33"/>
                  </a:cubicBezTo>
                  <a:cubicBezTo>
                    <a:pt x="149" y="32"/>
                    <a:pt x="146" y="31"/>
                    <a:pt x="143" y="31"/>
                  </a:cubicBezTo>
                  <a:cubicBezTo>
                    <a:pt x="142" y="30"/>
                    <a:pt x="140" y="30"/>
                    <a:pt x="138" y="29"/>
                  </a:cubicBezTo>
                  <a:cubicBezTo>
                    <a:pt x="137" y="29"/>
                    <a:pt x="136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2" y="27"/>
                    <a:pt x="129" y="27"/>
                    <a:pt x="126" y="26"/>
                  </a:cubicBezTo>
                  <a:cubicBezTo>
                    <a:pt x="124" y="25"/>
                    <a:pt x="121" y="24"/>
                    <a:pt x="118" y="24"/>
                  </a:cubicBezTo>
                  <a:cubicBezTo>
                    <a:pt x="118" y="24"/>
                    <a:pt x="117" y="24"/>
                    <a:pt x="117" y="24"/>
                  </a:cubicBezTo>
                  <a:cubicBezTo>
                    <a:pt x="114" y="23"/>
                    <a:pt x="112" y="22"/>
                    <a:pt x="109" y="22"/>
                  </a:cubicBezTo>
                  <a:cubicBezTo>
                    <a:pt x="106" y="21"/>
                    <a:pt x="104" y="20"/>
                    <a:pt x="101" y="20"/>
                  </a:cubicBezTo>
                  <a:cubicBezTo>
                    <a:pt x="99" y="19"/>
                    <a:pt x="97" y="19"/>
                    <a:pt x="96" y="18"/>
                  </a:cubicBezTo>
                  <a:cubicBezTo>
                    <a:pt x="94" y="18"/>
                    <a:pt x="93" y="18"/>
                    <a:pt x="92" y="18"/>
                  </a:cubicBezTo>
                  <a:cubicBezTo>
                    <a:pt x="89" y="17"/>
                    <a:pt x="86" y="16"/>
                    <a:pt x="84" y="16"/>
                  </a:cubicBezTo>
                  <a:cubicBezTo>
                    <a:pt x="81" y="15"/>
                    <a:pt x="78" y="14"/>
                    <a:pt x="75" y="14"/>
                  </a:cubicBezTo>
                  <a:cubicBezTo>
                    <a:pt x="75" y="14"/>
                    <a:pt x="74" y="14"/>
                    <a:pt x="74" y="14"/>
                  </a:cubicBezTo>
                  <a:cubicBezTo>
                    <a:pt x="72" y="13"/>
                    <a:pt x="69" y="12"/>
                    <a:pt x="66" y="12"/>
                  </a:cubicBezTo>
                  <a:cubicBezTo>
                    <a:pt x="64" y="11"/>
                    <a:pt x="61" y="11"/>
                    <a:pt x="58" y="10"/>
                  </a:cubicBezTo>
                  <a:cubicBezTo>
                    <a:pt x="56" y="10"/>
                    <a:pt x="54" y="9"/>
                    <a:pt x="53" y="9"/>
                  </a:cubicBezTo>
                  <a:cubicBezTo>
                    <a:pt x="51" y="9"/>
                    <a:pt x="50" y="9"/>
                    <a:pt x="49" y="8"/>
                  </a:cubicBezTo>
                  <a:cubicBezTo>
                    <a:pt x="46" y="8"/>
                    <a:pt x="43" y="7"/>
                    <a:pt x="41" y="7"/>
                  </a:cubicBezTo>
                  <a:cubicBezTo>
                    <a:pt x="38" y="6"/>
                    <a:pt x="35" y="6"/>
                    <a:pt x="32" y="5"/>
                  </a:cubicBezTo>
                  <a:cubicBezTo>
                    <a:pt x="32" y="5"/>
                    <a:pt x="31" y="5"/>
                    <a:pt x="31" y="5"/>
                  </a:cubicBezTo>
                  <a:cubicBezTo>
                    <a:pt x="28" y="4"/>
                    <a:pt x="26" y="4"/>
                    <a:pt x="23" y="3"/>
                  </a:cubicBezTo>
                  <a:cubicBezTo>
                    <a:pt x="20" y="3"/>
                    <a:pt x="17" y="2"/>
                    <a:pt x="15" y="2"/>
                  </a:cubicBezTo>
                  <a:cubicBezTo>
                    <a:pt x="13" y="1"/>
                    <a:pt x="11" y="1"/>
                    <a:pt x="9" y="1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4"/>
                    <a:pt x="1" y="9"/>
                    <a:pt x="0" y="14"/>
                  </a:cubicBezTo>
                  <a:cubicBezTo>
                    <a:pt x="1" y="14"/>
                    <a:pt x="2" y="14"/>
                    <a:pt x="3" y="15"/>
                  </a:cubicBezTo>
                  <a:cubicBezTo>
                    <a:pt x="4" y="15"/>
                    <a:pt x="5" y="15"/>
                    <a:pt x="6" y="15"/>
                  </a:cubicBezTo>
                  <a:cubicBezTo>
                    <a:pt x="8" y="16"/>
                    <a:pt x="9" y="16"/>
                    <a:pt x="11" y="16"/>
                  </a:cubicBezTo>
                  <a:cubicBezTo>
                    <a:pt x="14" y="17"/>
                    <a:pt x="17" y="17"/>
                    <a:pt x="20" y="18"/>
                  </a:cubicBezTo>
                  <a:cubicBezTo>
                    <a:pt x="22" y="18"/>
                    <a:pt x="25" y="19"/>
                    <a:pt x="27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1" y="20"/>
                    <a:pt x="34" y="21"/>
                    <a:pt x="37" y="21"/>
                  </a:cubicBezTo>
                  <a:cubicBezTo>
                    <a:pt x="40" y="22"/>
                    <a:pt x="43" y="22"/>
                    <a:pt x="46" y="23"/>
                  </a:cubicBezTo>
                  <a:cubicBezTo>
                    <a:pt x="47" y="23"/>
                    <a:pt x="48" y="23"/>
                    <a:pt x="49" y="24"/>
                  </a:cubicBezTo>
                  <a:cubicBezTo>
                    <a:pt x="51" y="24"/>
                    <a:pt x="53" y="24"/>
                    <a:pt x="54" y="25"/>
                  </a:cubicBezTo>
                  <a:cubicBezTo>
                    <a:pt x="57" y="25"/>
                    <a:pt x="60" y="26"/>
                    <a:pt x="63" y="26"/>
                  </a:cubicBezTo>
                  <a:cubicBezTo>
                    <a:pt x="66" y="27"/>
                    <a:pt x="68" y="28"/>
                    <a:pt x="71" y="28"/>
                  </a:cubicBezTo>
                  <a:cubicBezTo>
                    <a:pt x="71" y="28"/>
                    <a:pt x="71" y="28"/>
                    <a:pt x="72" y="28"/>
                  </a:cubicBezTo>
                  <a:cubicBezTo>
                    <a:pt x="74" y="29"/>
                    <a:pt x="77" y="30"/>
                    <a:pt x="80" y="30"/>
                  </a:cubicBezTo>
                  <a:cubicBezTo>
                    <a:pt x="83" y="31"/>
                    <a:pt x="86" y="32"/>
                    <a:pt x="89" y="32"/>
                  </a:cubicBezTo>
                  <a:cubicBezTo>
                    <a:pt x="90" y="33"/>
                    <a:pt x="91" y="33"/>
                    <a:pt x="92" y="33"/>
                  </a:cubicBezTo>
                  <a:cubicBezTo>
                    <a:pt x="94" y="33"/>
                    <a:pt x="96" y="34"/>
                    <a:pt x="97" y="34"/>
                  </a:cubicBezTo>
                  <a:cubicBezTo>
                    <a:pt x="100" y="35"/>
                    <a:pt x="103" y="36"/>
                    <a:pt x="106" y="36"/>
                  </a:cubicBezTo>
                  <a:cubicBezTo>
                    <a:pt x="108" y="37"/>
                    <a:pt x="111" y="38"/>
                    <a:pt x="114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7" y="39"/>
                    <a:pt x="120" y="40"/>
                    <a:pt x="123" y="41"/>
                  </a:cubicBezTo>
                  <a:cubicBezTo>
                    <a:pt x="126" y="41"/>
                    <a:pt x="128" y="42"/>
                    <a:pt x="131" y="43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33" y="43"/>
                    <a:pt x="134" y="44"/>
                    <a:pt x="135" y="44"/>
                  </a:cubicBezTo>
                  <a:cubicBezTo>
                    <a:pt x="137" y="44"/>
                    <a:pt x="138" y="45"/>
                    <a:pt x="140" y="45"/>
                  </a:cubicBezTo>
                  <a:cubicBezTo>
                    <a:pt x="143" y="46"/>
                    <a:pt x="145" y="47"/>
                    <a:pt x="148" y="48"/>
                  </a:cubicBezTo>
                  <a:cubicBezTo>
                    <a:pt x="151" y="49"/>
                    <a:pt x="153" y="49"/>
                    <a:pt x="156" y="50"/>
                  </a:cubicBezTo>
                  <a:cubicBezTo>
                    <a:pt x="156" y="50"/>
                    <a:pt x="157" y="50"/>
                    <a:pt x="157" y="50"/>
                  </a:cubicBezTo>
                  <a:cubicBezTo>
                    <a:pt x="160" y="51"/>
                    <a:pt x="162" y="52"/>
                    <a:pt x="165" y="53"/>
                  </a:cubicBezTo>
                  <a:cubicBezTo>
                    <a:pt x="167" y="53"/>
                    <a:pt x="168" y="54"/>
                    <a:pt x="170" y="54"/>
                  </a:cubicBezTo>
                  <a:cubicBezTo>
                    <a:pt x="171" y="49"/>
                    <a:pt x="172" y="44"/>
                    <a:pt x="173" y="39"/>
                  </a:cubicBezTo>
                  <a:cubicBezTo>
                    <a:pt x="172" y="39"/>
                    <a:pt x="170" y="38"/>
                    <a:pt x="169" y="38"/>
                  </a:cubicBezTo>
                  <a:cubicBezTo>
                    <a:pt x="166" y="37"/>
                    <a:pt x="163" y="36"/>
                    <a:pt x="160" y="3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2473325" y="2813050"/>
              <a:ext cx="403225" cy="200025"/>
            </a:xfrm>
            <a:custGeom>
              <a:avLst/>
              <a:gdLst>
                <a:gd name="T0" fmla="*/ 2 w 159"/>
                <a:gd name="T1" fmla="*/ 66 h 79"/>
                <a:gd name="T2" fmla="*/ 8 w 159"/>
                <a:gd name="T3" fmla="*/ 78 h 79"/>
                <a:gd name="T4" fmla="*/ 8 w 159"/>
                <a:gd name="T5" fmla="*/ 79 h 79"/>
                <a:gd name="T6" fmla="*/ 12 w 159"/>
                <a:gd name="T7" fmla="*/ 77 h 79"/>
                <a:gd name="T8" fmla="*/ 17 w 159"/>
                <a:gd name="T9" fmla="*/ 75 h 79"/>
                <a:gd name="T10" fmla="*/ 22 w 159"/>
                <a:gd name="T11" fmla="*/ 74 h 79"/>
                <a:gd name="T12" fmla="*/ 27 w 159"/>
                <a:gd name="T13" fmla="*/ 71 h 79"/>
                <a:gd name="T14" fmla="*/ 37 w 159"/>
                <a:gd name="T15" fmla="*/ 67 h 79"/>
                <a:gd name="T16" fmla="*/ 47 w 159"/>
                <a:gd name="T17" fmla="*/ 64 h 79"/>
                <a:gd name="T18" fmla="*/ 47 w 159"/>
                <a:gd name="T19" fmla="*/ 63 h 79"/>
                <a:gd name="T20" fmla="*/ 57 w 159"/>
                <a:gd name="T21" fmla="*/ 59 h 79"/>
                <a:gd name="T22" fmla="*/ 67 w 159"/>
                <a:gd name="T23" fmla="*/ 55 h 79"/>
                <a:gd name="T24" fmla="*/ 72 w 159"/>
                <a:gd name="T25" fmla="*/ 53 h 79"/>
                <a:gd name="T26" fmla="*/ 78 w 159"/>
                <a:gd name="T27" fmla="*/ 50 h 79"/>
                <a:gd name="T28" fmla="*/ 88 w 159"/>
                <a:gd name="T29" fmla="*/ 46 h 79"/>
                <a:gd name="T30" fmla="*/ 97 w 159"/>
                <a:gd name="T31" fmla="*/ 41 h 79"/>
                <a:gd name="T32" fmla="*/ 98 w 159"/>
                <a:gd name="T33" fmla="*/ 41 h 79"/>
                <a:gd name="T34" fmla="*/ 108 w 159"/>
                <a:gd name="T35" fmla="*/ 36 h 79"/>
                <a:gd name="T36" fmla="*/ 118 w 159"/>
                <a:gd name="T37" fmla="*/ 31 h 79"/>
                <a:gd name="T38" fmla="*/ 123 w 159"/>
                <a:gd name="T39" fmla="*/ 29 h 79"/>
                <a:gd name="T40" fmla="*/ 129 w 159"/>
                <a:gd name="T41" fmla="*/ 26 h 79"/>
                <a:gd name="T42" fmla="*/ 139 w 159"/>
                <a:gd name="T43" fmla="*/ 20 h 79"/>
                <a:gd name="T44" fmla="*/ 147 w 159"/>
                <a:gd name="T45" fmla="*/ 16 h 79"/>
                <a:gd name="T46" fmla="*/ 149 w 159"/>
                <a:gd name="T47" fmla="*/ 15 h 79"/>
                <a:gd name="T48" fmla="*/ 149 w 159"/>
                <a:gd name="T49" fmla="*/ 14 h 79"/>
                <a:gd name="T50" fmla="*/ 159 w 159"/>
                <a:gd name="T51" fmla="*/ 9 h 79"/>
                <a:gd name="T52" fmla="*/ 152 w 159"/>
                <a:gd name="T53" fmla="*/ 5 h 79"/>
                <a:gd name="T54" fmla="*/ 151 w 159"/>
                <a:gd name="T55" fmla="*/ 5 h 79"/>
                <a:gd name="T56" fmla="*/ 144 w 159"/>
                <a:gd name="T57" fmla="*/ 1 h 79"/>
                <a:gd name="T58" fmla="*/ 142 w 159"/>
                <a:gd name="T59" fmla="*/ 0 h 79"/>
                <a:gd name="T60" fmla="*/ 139 w 159"/>
                <a:gd name="T61" fmla="*/ 1 h 79"/>
                <a:gd name="T62" fmla="*/ 134 w 159"/>
                <a:gd name="T63" fmla="*/ 4 h 79"/>
                <a:gd name="T64" fmla="*/ 128 w 159"/>
                <a:gd name="T65" fmla="*/ 7 h 79"/>
                <a:gd name="T66" fmla="*/ 123 w 159"/>
                <a:gd name="T67" fmla="*/ 10 h 79"/>
                <a:gd name="T68" fmla="*/ 113 w 159"/>
                <a:gd name="T69" fmla="*/ 15 h 79"/>
                <a:gd name="T70" fmla="*/ 103 w 159"/>
                <a:gd name="T71" fmla="*/ 20 h 79"/>
                <a:gd name="T72" fmla="*/ 102 w 159"/>
                <a:gd name="T73" fmla="*/ 20 h 79"/>
                <a:gd name="T74" fmla="*/ 93 w 159"/>
                <a:gd name="T75" fmla="*/ 25 h 79"/>
                <a:gd name="T76" fmla="*/ 82 w 159"/>
                <a:gd name="T77" fmla="*/ 30 h 79"/>
                <a:gd name="T78" fmla="*/ 77 w 159"/>
                <a:gd name="T79" fmla="*/ 32 h 79"/>
                <a:gd name="T80" fmla="*/ 72 w 159"/>
                <a:gd name="T81" fmla="*/ 34 h 79"/>
                <a:gd name="T82" fmla="*/ 62 w 159"/>
                <a:gd name="T83" fmla="*/ 39 h 79"/>
                <a:gd name="T84" fmla="*/ 52 w 159"/>
                <a:gd name="T85" fmla="*/ 43 h 79"/>
                <a:gd name="T86" fmla="*/ 51 w 159"/>
                <a:gd name="T87" fmla="*/ 43 h 79"/>
                <a:gd name="T88" fmla="*/ 42 w 159"/>
                <a:gd name="T89" fmla="*/ 47 h 79"/>
                <a:gd name="T90" fmla="*/ 32 w 159"/>
                <a:gd name="T91" fmla="*/ 51 h 79"/>
                <a:gd name="T92" fmla="*/ 26 w 159"/>
                <a:gd name="T93" fmla="*/ 54 h 79"/>
                <a:gd name="T94" fmla="*/ 22 w 159"/>
                <a:gd name="T95" fmla="*/ 55 h 79"/>
                <a:gd name="T96" fmla="*/ 12 w 159"/>
                <a:gd name="T97" fmla="*/ 59 h 79"/>
                <a:gd name="T98" fmla="*/ 6 w 159"/>
                <a:gd name="T99" fmla="*/ 62 h 79"/>
                <a:gd name="T100" fmla="*/ 2 w 159"/>
                <a:gd name="T101" fmla="*/ 63 h 79"/>
                <a:gd name="T102" fmla="*/ 2 w 159"/>
                <a:gd name="T103" fmla="*/ 63 h 79"/>
                <a:gd name="T104" fmla="*/ 0 w 159"/>
                <a:gd name="T105" fmla="*/ 64 h 79"/>
                <a:gd name="T106" fmla="*/ 1 w 159"/>
                <a:gd name="T107" fmla="*/ 65 h 79"/>
                <a:gd name="T108" fmla="*/ 2 w 159"/>
                <a:gd name="T109" fmla="*/ 6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9" h="79">
                  <a:moveTo>
                    <a:pt x="2" y="66"/>
                  </a:moveTo>
                  <a:cubicBezTo>
                    <a:pt x="4" y="70"/>
                    <a:pt x="6" y="74"/>
                    <a:pt x="8" y="78"/>
                  </a:cubicBezTo>
                  <a:cubicBezTo>
                    <a:pt x="8" y="78"/>
                    <a:pt x="8" y="78"/>
                    <a:pt x="8" y="79"/>
                  </a:cubicBezTo>
                  <a:cubicBezTo>
                    <a:pt x="10" y="78"/>
                    <a:pt x="11" y="78"/>
                    <a:pt x="12" y="77"/>
                  </a:cubicBezTo>
                  <a:cubicBezTo>
                    <a:pt x="14" y="77"/>
                    <a:pt x="16" y="76"/>
                    <a:pt x="17" y="75"/>
                  </a:cubicBezTo>
                  <a:cubicBezTo>
                    <a:pt x="19" y="75"/>
                    <a:pt x="20" y="74"/>
                    <a:pt x="22" y="74"/>
                  </a:cubicBezTo>
                  <a:cubicBezTo>
                    <a:pt x="24" y="73"/>
                    <a:pt x="26" y="72"/>
                    <a:pt x="27" y="71"/>
                  </a:cubicBezTo>
                  <a:cubicBezTo>
                    <a:pt x="31" y="70"/>
                    <a:pt x="34" y="69"/>
                    <a:pt x="37" y="67"/>
                  </a:cubicBezTo>
                  <a:cubicBezTo>
                    <a:pt x="41" y="66"/>
                    <a:pt x="44" y="65"/>
                    <a:pt x="47" y="64"/>
                  </a:cubicBezTo>
                  <a:cubicBezTo>
                    <a:pt x="47" y="64"/>
                    <a:pt x="47" y="63"/>
                    <a:pt x="47" y="63"/>
                  </a:cubicBezTo>
                  <a:cubicBezTo>
                    <a:pt x="51" y="62"/>
                    <a:pt x="54" y="61"/>
                    <a:pt x="57" y="59"/>
                  </a:cubicBezTo>
                  <a:cubicBezTo>
                    <a:pt x="61" y="58"/>
                    <a:pt x="64" y="56"/>
                    <a:pt x="67" y="55"/>
                  </a:cubicBezTo>
                  <a:cubicBezTo>
                    <a:pt x="69" y="54"/>
                    <a:pt x="70" y="53"/>
                    <a:pt x="72" y="53"/>
                  </a:cubicBezTo>
                  <a:cubicBezTo>
                    <a:pt x="74" y="52"/>
                    <a:pt x="76" y="51"/>
                    <a:pt x="78" y="50"/>
                  </a:cubicBezTo>
                  <a:cubicBezTo>
                    <a:pt x="81" y="49"/>
                    <a:pt x="84" y="47"/>
                    <a:pt x="88" y="46"/>
                  </a:cubicBezTo>
                  <a:cubicBezTo>
                    <a:pt x="91" y="44"/>
                    <a:pt x="94" y="43"/>
                    <a:pt x="97" y="41"/>
                  </a:cubicBezTo>
                  <a:cubicBezTo>
                    <a:pt x="97" y="41"/>
                    <a:pt x="98" y="41"/>
                    <a:pt x="98" y="41"/>
                  </a:cubicBezTo>
                  <a:cubicBezTo>
                    <a:pt x="101" y="39"/>
                    <a:pt x="105" y="38"/>
                    <a:pt x="108" y="36"/>
                  </a:cubicBezTo>
                  <a:cubicBezTo>
                    <a:pt x="111" y="34"/>
                    <a:pt x="115" y="33"/>
                    <a:pt x="118" y="31"/>
                  </a:cubicBezTo>
                  <a:cubicBezTo>
                    <a:pt x="120" y="30"/>
                    <a:pt x="121" y="29"/>
                    <a:pt x="123" y="29"/>
                  </a:cubicBezTo>
                  <a:cubicBezTo>
                    <a:pt x="125" y="28"/>
                    <a:pt x="127" y="27"/>
                    <a:pt x="129" y="26"/>
                  </a:cubicBezTo>
                  <a:cubicBezTo>
                    <a:pt x="132" y="24"/>
                    <a:pt x="135" y="22"/>
                    <a:pt x="139" y="20"/>
                  </a:cubicBezTo>
                  <a:cubicBezTo>
                    <a:pt x="142" y="19"/>
                    <a:pt x="144" y="17"/>
                    <a:pt x="147" y="16"/>
                  </a:cubicBezTo>
                  <a:cubicBezTo>
                    <a:pt x="148" y="15"/>
                    <a:pt x="148" y="15"/>
                    <a:pt x="149" y="15"/>
                  </a:cubicBezTo>
                  <a:cubicBezTo>
                    <a:pt x="149" y="15"/>
                    <a:pt x="149" y="14"/>
                    <a:pt x="149" y="14"/>
                  </a:cubicBezTo>
                  <a:cubicBezTo>
                    <a:pt x="152" y="13"/>
                    <a:pt x="156" y="11"/>
                    <a:pt x="159" y="9"/>
                  </a:cubicBezTo>
                  <a:cubicBezTo>
                    <a:pt x="156" y="8"/>
                    <a:pt x="154" y="6"/>
                    <a:pt x="152" y="5"/>
                  </a:cubicBezTo>
                  <a:cubicBezTo>
                    <a:pt x="151" y="5"/>
                    <a:pt x="151" y="5"/>
                    <a:pt x="151" y="5"/>
                  </a:cubicBezTo>
                  <a:cubicBezTo>
                    <a:pt x="149" y="4"/>
                    <a:pt x="146" y="2"/>
                    <a:pt x="144" y="1"/>
                  </a:cubicBezTo>
                  <a:cubicBezTo>
                    <a:pt x="143" y="0"/>
                    <a:pt x="142" y="0"/>
                    <a:pt x="142" y="0"/>
                  </a:cubicBezTo>
                  <a:cubicBezTo>
                    <a:pt x="141" y="0"/>
                    <a:pt x="140" y="1"/>
                    <a:pt x="139" y="1"/>
                  </a:cubicBezTo>
                  <a:cubicBezTo>
                    <a:pt x="137" y="2"/>
                    <a:pt x="135" y="3"/>
                    <a:pt x="134" y="4"/>
                  </a:cubicBezTo>
                  <a:cubicBezTo>
                    <a:pt x="132" y="5"/>
                    <a:pt x="130" y="6"/>
                    <a:pt x="128" y="7"/>
                  </a:cubicBezTo>
                  <a:cubicBezTo>
                    <a:pt x="126" y="8"/>
                    <a:pt x="125" y="9"/>
                    <a:pt x="123" y="10"/>
                  </a:cubicBezTo>
                  <a:cubicBezTo>
                    <a:pt x="120" y="11"/>
                    <a:pt x="116" y="13"/>
                    <a:pt x="113" y="15"/>
                  </a:cubicBezTo>
                  <a:cubicBezTo>
                    <a:pt x="110" y="17"/>
                    <a:pt x="106" y="18"/>
                    <a:pt x="103" y="20"/>
                  </a:cubicBezTo>
                  <a:cubicBezTo>
                    <a:pt x="103" y="20"/>
                    <a:pt x="102" y="20"/>
                    <a:pt x="102" y="20"/>
                  </a:cubicBezTo>
                  <a:cubicBezTo>
                    <a:pt x="99" y="22"/>
                    <a:pt x="96" y="24"/>
                    <a:pt x="93" y="25"/>
                  </a:cubicBezTo>
                  <a:cubicBezTo>
                    <a:pt x="89" y="27"/>
                    <a:pt x="86" y="28"/>
                    <a:pt x="82" y="30"/>
                  </a:cubicBezTo>
                  <a:cubicBezTo>
                    <a:pt x="81" y="31"/>
                    <a:pt x="79" y="32"/>
                    <a:pt x="77" y="32"/>
                  </a:cubicBezTo>
                  <a:cubicBezTo>
                    <a:pt x="75" y="33"/>
                    <a:pt x="74" y="34"/>
                    <a:pt x="72" y="34"/>
                  </a:cubicBezTo>
                  <a:cubicBezTo>
                    <a:pt x="69" y="36"/>
                    <a:pt x="66" y="37"/>
                    <a:pt x="62" y="39"/>
                  </a:cubicBezTo>
                  <a:cubicBezTo>
                    <a:pt x="59" y="40"/>
                    <a:pt x="55" y="42"/>
                    <a:pt x="52" y="43"/>
                  </a:cubicBezTo>
                  <a:cubicBezTo>
                    <a:pt x="52" y="43"/>
                    <a:pt x="52" y="43"/>
                    <a:pt x="51" y="43"/>
                  </a:cubicBezTo>
                  <a:cubicBezTo>
                    <a:pt x="48" y="45"/>
                    <a:pt x="45" y="46"/>
                    <a:pt x="42" y="47"/>
                  </a:cubicBezTo>
                  <a:cubicBezTo>
                    <a:pt x="39" y="49"/>
                    <a:pt x="35" y="50"/>
                    <a:pt x="32" y="51"/>
                  </a:cubicBezTo>
                  <a:cubicBezTo>
                    <a:pt x="30" y="52"/>
                    <a:pt x="28" y="53"/>
                    <a:pt x="26" y="54"/>
                  </a:cubicBezTo>
                  <a:cubicBezTo>
                    <a:pt x="25" y="54"/>
                    <a:pt x="24" y="55"/>
                    <a:pt x="22" y="55"/>
                  </a:cubicBezTo>
                  <a:cubicBezTo>
                    <a:pt x="19" y="57"/>
                    <a:pt x="16" y="58"/>
                    <a:pt x="12" y="59"/>
                  </a:cubicBezTo>
                  <a:cubicBezTo>
                    <a:pt x="10" y="60"/>
                    <a:pt x="8" y="61"/>
                    <a:pt x="6" y="62"/>
                  </a:cubicBezTo>
                  <a:cubicBezTo>
                    <a:pt x="5" y="62"/>
                    <a:pt x="4" y="63"/>
                    <a:pt x="2" y="63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1" y="63"/>
                    <a:pt x="1" y="64"/>
                    <a:pt x="0" y="64"/>
                  </a:cubicBezTo>
                  <a:cubicBezTo>
                    <a:pt x="0" y="64"/>
                    <a:pt x="1" y="65"/>
                    <a:pt x="1" y="65"/>
                  </a:cubicBezTo>
                  <a:cubicBezTo>
                    <a:pt x="1" y="66"/>
                    <a:pt x="1" y="66"/>
                    <a:pt x="2" y="6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2989263" y="2419350"/>
              <a:ext cx="255588" cy="315913"/>
            </a:xfrm>
            <a:custGeom>
              <a:avLst/>
              <a:gdLst>
                <a:gd name="T0" fmla="*/ 65 w 101"/>
                <a:gd name="T1" fmla="*/ 51 h 124"/>
                <a:gd name="T2" fmla="*/ 64 w 101"/>
                <a:gd name="T3" fmla="*/ 52 h 124"/>
                <a:gd name="T4" fmla="*/ 53 w 101"/>
                <a:gd name="T5" fmla="*/ 69 h 124"/>
                <a:gd name="T6" fmla="*/ 51 w 101"/>
                <a:gd name="T7" fmla="*/ 71 h 124"/>
                <a:gd name="T8" fmla="*/ 39 w 101"/>
                <a:gd name="T9" fmla="*/ 84 h 124"/>
                <a:gd name="T10" fmla="*/ 32 w 101"/>
                <a:gd name="T11" fmla="*/ 90 h 124"/>
                <a:gd name="T12" fmla="*/ 27 w 101"/>
                <a:gd name="T13" fmla="*/ 95 h 124"/>
                <a:gd name="T14" fmla="*/ 16 w 101"/>
                <a:gd name="T15" fmla="*/ 105 h 124"/>
                <a:gd name="T16" fmla="*/ 5 w 101"/>
                <a:gd name="T17" fmla="*/ 113 h 124"/>
                <a:gd name="T18" fmla="*/ 4 w 101"/>
                <a:gd name="T19" fmla="*/ 113 h 124"/>
                <a:gd name="T20" fmla="*/ 0 w 101"/>
                <a:gd name="T21" fmla="*/ 117 h 124"/>
                <a:gd name="T22" fmla="*/ 3 w 101"/>
                <a:gd name="T23" fmla="*/ 118 h 124"/>
                <a:gd name="T24" fmla="*/ 4 w 101"/>
                <a:gd name="T25" fmla="*/ 118 h 124"/>
                <a:gd name="T26" fmla="*/ 12 w 101"/>
                <a:gd name="T27" fmla="*/ 121 h 124"/>
                <a:gd name="T28" fmla="*/ 17 w 101"/>
                <a:gd name="T29" fmla="*/ 123 h 124"/>
                <a:gd name="T30" fmla="*/ 18 w 101"/>
                <a:gd name="T31" fmla="*/ 124 h 124"/>
                <a:gd name="T32" fmla="*/ 21 w 101"/>
                <a:gd name="T33" fmla="*/ 122 h 124"/>
                <a:gd name="T34" fmla="*/ 26 w 101"/>
                <a:gd name="T35" fmla="*/ 118 h 124"/>
                <a:gd name="T36" fmla="*/ 32 w 101"/>
                <a:gd name="T37" fmla="*/ 113 h 124"/>
                <a:gd name="T38" fmla="*/ 43 w 101"/>
                <a:gd name="T39" fmla="*/ 103 h 124"/>
                <a:gd name="T40" fmla="*/ 55 w 101"/>
                <a:gd name="T41" fmla="*/ 91 h 124"/>
                <a:gd name="T42" fmla="*/ 55 w 101"/>
                <a:gd name="T43" fmla="*/ 91 h 124"/>
                <a:gd name="T44" fmla="*/ 66 w 101"/>
                <a:gd name="T45" fmla="*/ 79 h 124"/>
                <a:gd name="T46" fmla="*/ 68 w 101"/>
                <a:gd name="T47" fmla="*/ 76 h 124"/>
                <a:gd name="T48" fmla="*/ 82 w 101"/>
                <a:gd name="T49" fmla="*/ 53 h 124"/>
                <a:gd name="T50" fmla="*/ 86 w 101"/>
                <a:gd name="T51" fmla="*/ 45 h 124"/>
                <a:gd name="T52" fmla="*/ 91 w 101"/>
                <a:gd name="T53" fmla="*/ 35 h 124"/>
                <a:gd name="T54" fmla="*/ 99 w 101"/>
                <a:gd name="T55" fmla="*/ 8 h 124"/>
                <a:gd name="T56" fmla="*/ 101 w 101"/>
                <a:gd name="T57" fmla="*/ 0 h 124"/>
                <a:gd name="T58" fmla="*/ 99 w 101"/>
                <a:gd name="T59" fmla="*/ 0 h 124"/>
                <a:gd name="T60" fmla="*/ 99 w 101"/>
                <a:gd name="T61" fmla="*/ 0 h 124"/>
                <a:gd name="T62" fmla="*/ 95 w 101"/>
                <a:gd name="T63" fmla="*/ 0 h 124"/>
                <a:gd name="T64" fmla="*/ 86 w 101"/>
                <a:gd name="T65" fmla="*/ 0 h 124"/>
                <a:gd name="T66" fmla="*/ 84 w 101"/>
                <a:gd name="T67" fmla="*/ 0 h 124"/>
                <a:gd name="T68" fmla="*/ 84 w 101"/>
                <a:gd name="T69" fmla="*/ 4 h 124"/>
                <a:gd name="T70" fmla="*/ 72 w 101"/>
                <a:gd name="T71" fmla="*/ 38 h 124"/>
                <a:gd name="T72" fmla="*/ 65 w 101"/>
                <a:gd name="T73" fmla="*/ 5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" h="124">
                  <a:moveTo>
                    <a:pt x="65" y="51"/>
                  </a:moveTo>
                  <a:cubicBezTo>
                    <a:pt x="64" y="51"/>
                    <a:pt x="64" y="52"/>
                    <a:pt x="64" y="52"/>
                  </a:cubicBezTo>
                  <a:cubicBezTo>
                    <a:pt x="61" y="58"/>
                    <a:pt x="57" y="63"/>
                    <a:pt x="53" y="69"/>
                  </a:cubicBezTo>
                  <a:cubicBezTo>
                    <a:pt x="52" y="69"/>
                    <a:pt x="52" y="70"/>
                    <a:pt x="51" y="71"/>
                  </a:cubicBezTo>
                  <a:cubicBezTo>
                    <a:pt x="47" y="75"/>
                    <a:pt x="43" y="80"/>
                    <a:pt x="39" y="84"/>
                  </a:cubicBezTo>
                  <a:cubicBezTo>
                    <a:pt x="37" y="86"/>
                    <a:pt x="35" y="88"/>
                    <a:pt x="32" y="90"/>
                  </a:cubicBezTo>
                  <a:cubicBezTo>
                    <a:pt x="31" y="92"/>
                    <a:pt x="29" y="94"/>
                    <a:pt x="27" y="95"/>
                  </a:cubicBezTo>
                  <a:cubicBezTo>
                    <a:pt x="23" y="98"/>
                    <a:pt x="20" y="102"/>
                    <a:pt x="16" y="105"/>
                  </a:cubicBezTo>
                  <a:cubicBezTo>
                    <a:pt x="12" y="107"/>
                    <a:pt x="9" y="110"/>
                    <a:pt x="5" y="113"/>
                  </a:cubicBezTo>
                  <a:cubicBezTo>
                    <a:pt x="5" y="113"/>
                    <a:pt x="5" y="113"/>
                    <a:pt x="4" y="113"/>
                  </a:cubicBezTo>
                  <a:cubicBezTo>
                    <a:pt x="3" y="114"/>
                    <a:pt x="1" y="116"/>
                    <a:pt x="0" y="117"/>
                  </a:cubicBezTo>
                  <a:cubicBezTo>
                    <a:pt x="1" y="117"/>
                    <a:pt x="2" y="118"/>
                    <a:pt x="3" y="118"/>
                  </a:cubicBezTo>
                  <a:cubicBezTo>
                    <a:pt x="3" y="118"/>
                    <a:pt x="4" y="118"/>
                    <a:pt x="4" y="118"/>
                  </a:cubicBezTo>
                  <a:cubicBezTo>
                    <a:pt x="6" y="119"/>
                    <a:pt x="9" y="120"/>
                    <a:pt x="12" y="121"/>
                  </a:cubicBezTo>
                  <a:cubicBezTo>
                    <a:pt x="14" y="122"/>
                    <a:pt x="15" y="122"/>
                    <a:pt x="17" y="123"/>
                  </a:cubicBezTo>
                  <a:cubicBezTo>
                    <a:pt x="17" y="123"/>
                    <a:pt x="18" y="123"/>
                    <a:pt x="18" y="124"/>
                  </a:cubicBezTo>
                  <a:cubicBezTo>
                    <a:pt x="19" y="123"/>
                    <a:pt x="20" y="122"/>
                    <a:pt x="21" y="122"/>
                  </a:cubicBezTo>
                  <a:cubicBezTo>
                    <a:pt x="23" y="120"/>
                    <a:pt x="24" y="119"/>
                    <a:pt x="26" y="118"/>
                  </a:cubicBezTo>
                  <a:cubicBezTo>
                    <a:pt x="28" y="116"/>
                    <a:pt x="30" y="114"/>
                    <a:pt x="32" y="113"/>
                  </a:cubicBezTo>
                  <a:cubicBezTo>
                    <a:pt x="36" y="109"/>
                    <a:pt x="40" y="106"/>
                    <a:pt x="43" y="103"/>
                  </a:cubicBezTo>
                  <a:cubicBezTo>
                    <a:pt x="47" y="99"/>
                    <a:pt x="51" y="95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9" y="87"/>
                    <a:pt x="62" y="83"/>
                    <a:pt x="66" y="79"/>
                  </a:cubicBezTo>
                  <a:cubicBezTo>
                    <a:pt x="66" y="78"/>
                    <a:pt x="67" y="77"/>
                    <a:pt x="68" y="76"/>
                  </a:cubicBezTo>
                  <a:cubicBezTo>
                    <a:pt x="73" y="69"/>
                    <a:pt x="78" y="61"/>
                    <a:pt x="82" y="53"/>
                  </a:cubicBezTo>
                  <a:cubicBezTo>
                    <a:pt x="84" y="51"/>
                    <a:pt x="85" y="48"/>
                    <a:pt x="86" y="45"/>
                  </a:cubicBezTo>
                  <a:cubicBezTo>
                    <a:pt x="88" y="42"/>
                    <a:pt x="89" y="39"/>
                    <a:pt x="91" y="35"/>
                  </a:cubicBezTo>
                  <a:cubicBezTo>
                    <a:pt x="94" y="27"/>
                    <a:pt x="97" y="17"/>
                    <a:pt x="99" y="8"/>
                  </a:cubicBezTo>
                  <a:cubicBezTo>
                    <a:pt x="100" y="5"/>
                    <a:pt x="101" y="3"/>
                    <a:pt x="101" y="0"/>
                  </a:cubicBezTo>
                  <a:cubicBezTo>
                    <a:pt x="100" y="0"/>
                    <a:pt x="100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7" y="0"/>
                    <a:pt x="96" y="0"/>
                    <a:pt x="95" y="0"/>
                  </a:cubicBezTo>
                  <a:cubicBezTo>
                    <a:pt x="92" y="0"/>
                    <a:pt x="89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84" y="2"/>
                    <a:pt x="84" y="3"/>
                    <a:pt x="84" y="4"/>
                  </a:cubicBezTo>
                  <a:cubicBezTo>
                    <a:pt x="81" y="16"/>
                    <a:pt x="77" y="27"/>
                    <a:pt x="72" y="38"/>
                  </a:cubicBezTo>
                  <a:cubicBezTo>
                    <a:pt x="69" y="43"/>
                    <a:pt x="67" y="47"/>
                    <a:pt x="65" y="5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819400" y="1943100"/>
              <a:ext cx="374650" cy="260350"/>
            </a:xfrm>
            <a:custGeom>
              <a:avLst/>
              <a:gdLst>
                <a:gd name="T0" fmla="*/ 3 w 148"/>
                <a:gd name="T1" fmla="*/ 18 h 103"/>
                <a:gd name="T2" fmla="*/ 11 w 148"/>
                <a:gd name="T3" fmla="*/ 21 h 103"/>
                <a:gd name="T4" fmla="*/ 20 w 148"/>
                <a:gd name="T5" fmla="*/ 25 h 103"/>
                <a:gd name="T6" fmla="*/ 23 w 148"/>
                <a:gd name="T7" fmla="*/ 26 h 103"/>
                <a:gd name="T8" fmla="*/ 28 w 148"/>
                <a:gd name="T9" fmla="*/ 28 h 103"/>
                <a:gd name="T10" fmla="*/ 34 w 148"/>
                <a:gd name="T11" fmla="*/ 31 h 103"/>
                <a:gd name="T12" fmla="*/ 36 w 148"/>
                <a:gd name="T13" fmla="*/ 32 h 103"/>
                <a:gd name="T14" fmla="*/ 43 w 148"/>
                <a:gd name="T15" fmla="*/ 36 h 103"/>
                <a:gd name="T16" fmla="*/ 44 w 148"/>
                <a:gd name="T17" fmla="*/ 36 h 103"/>
                <a:gd name="T18" fmla="*/ 52 w 148"/>
                <a:gd name="T19" fmla="*/ 41 h 103"/>
                <a:gd name="T20" fmla="*/ 60 w 148"/>
                <a:gd name="T21" fmla="*/ 45 h 103"/>
                <a:gd name="T22" fmla="*/ 63 w 148"/>
                <a:gd name="T23" fmla="*/ 47 h 103"/>
                <a:gd name="T24" fmla="*/ 68 w 148"/>
                <a:gd name="T25" fmla="*/ 50 h 103"/>
                <a:gd name="T26" fmla="*/ 76 w 148"/>
                <a:gd name="T27" fmla="*/ 55 h 103"/>
                <a:gd name="T28" fmla="*/ 83 w 148"/>
                <a:gd name="T29" fmla="*/ 60 h 103"/>
                <a:gd name="T30" fmla="*/ 83 w 148"/>
                <a:gd name="T31" fmla="*/ 60 h 103"/>
                <a:gd name="T32" fmla="*/ 91 w 148"/>
                <a:gd name="T33" fmla="*/ 66 h 103"/>
                <a:gd name="T34" fmla="*/ 96 w 148"/>
                <a:gd name="T35" fmla="*/ 70 h 103"/>
                <a:gd name="T36" fmla="*/ 99 w 148"/>
                <a:gd name="T37" fmla="*/ 72 h 103"/>
                <a:gd name="T38" fmla="*/ 102 w 148"/>
                <a:gd name="T39" fmla="*/ 75 h 103"/>
                <a:gd name="T40" fmla="*/ 106 w 148"/>
                <a:gd name="T41" fmla="*/ 78 h 103"/>
                <a:gd name="T42" fmla="*/ 114 w 148"/>
                <a:gd name="T43" fmla="*/ 85 h 103"/>
                <a:gd name="T44" fmla="*/ 121 w 148"/>
                <a:gd name="T45" fmla="*/ 92 h 103"/>
                <a:gd name="T46" fmla="*/ 121 w 148"/>
                <a:gd name="T47" fmla="*/ 93 h 103"/>
                <a:gd name="T48" fmla="*/ 128 w 148"/>
                <a:gd name="T49" fmla="*/ 101 h 103"/>
                <a:gd name="T50" fmla="*/ 129 w 148"/>
                <a:gd name="T51" fmla="*/ 103 h 103"/>
                <a:gd name="T52" fmla="*/ 137 w 148"/>
                <a:gd name="T53" fmla="*/ 102 h 103"/>
                <a:gd name="T54" fmla="*/ 141 w 148"/>
                <a:gd name="T55" fmla="*/ 102 h 103"/>
                <a:gd name="T56" fmla="*/ 146 w 148"/>
                <a:gd name="T57" fmla="*/ 101 h 103"/>
                <a:gd name="T58" fmla="*/ 148 w 148"/>
                <a:gd name="T59" fmla="*/ 101 h 103"/>
                <a:gd name="T60" fmla="*/ 147 w 148"/>
                <a:gd name="T61" fmla="*/ 99 h 103"/>
                <a:gd name="T62" fmla="*/ 143 w 148"/>
                <a:gd name="T63" fmla="*/ 94 h 103"/>
                <a:gd name="T64" fmla="*/ 140 w 148"/>
                <a:gd name="T65" fmla="*/ 90 h 103"/>
                <a:gd name="T66" fmla="*/ 133 w 148"/>
                <a:gd name="T67" fmla="*/ 81 h 103"/>
                <a:gd name="T68" fmla="*/ 125 w 148"/>
                <a:gd name="T69" fmla="*/ 74 h 103"/>
                <a:gd name="T70" fmla="*/ 125 w 148"/>
                <a:gd name="T71" fmla="*/ 74 h 103"/>
                <a:gd name="T72" fmla="*/ 118 w 148"/>
                <a:gd name="T73" fmla="*/ 67 h 103"/>
                <a:gd name="T74" fmla="*/ 111 w 148"/>
                <a:gd name="T75" fmla="*/ 61 h 103"/>
                <a:gd name="T76" fmla="*/ 106 w 148"/>
                <a:gd name="T77" fmla="*/ 57 h 103"/>
                <a:gd name="T78" fmla="*/ 106 w 148"/>
                <a:gd name="T79" fmla="*/ 57 h 103"/>
                <a:gd name="T80" fmla="*/ 103 w 148"/>
                <a:gd name="T81" fmla="*/ 55 h 103"/>
                <a:gd name="T82" fmla="*/ 95 w 148"/>
                <a:gd name="T83" fmla="*/ 49 h 103"/>
                <a:gd name="T84" fmla="*/ 87 w 148"/>
                <a:gd name="T85" fmla="*/ 44 h 103"/>
                <a:gd name="T86" fmla="*/ 87 w 148"/>
                <a:gd name="T87" fmla="*/ 43 h 103"/>
                <a:gd name="T88" fmla="*/ 80 w 148"/>
                <a:gd name="T89" fmla="*/ 38 h 103"/>
                <a:gd name="T90" fmla="*/ 72 w 148"/>
                <a:gd name="T91" fmla="*/ 34 h 103"/>
                <a:gd name="T92" fmla="*/ 67 w 148"/>
                <a:gd name="T93" fmla="*/ 31 h 103"/>
                <a:gd name="T94" fmla="*/ 64 w 148"/>
                <a:gd name="T95" fmla="*/ 29 h 103"/>
                <a:gd name="T96" fmla="*/ 56 w 148"/>
                <a:gd name="T97" fmla="*/ 25 h 103"/>
                <a:gd name="T98" fmla="*/ 48 w 148"/>
                <a:gd name="T99" fmla="*/ 21 h 103"/>
                <a:gd name="T100" fmla="*/ 47 w 148"/>
                <a:gd name="T101" fmla="*/ 20 h 103"/>
                <a:gd name="T102" fmla="*/ 40 w 148"/>
                <a:gd name="T103" fmla="*/ 17 h 103"/>
                <a:gd name="T104" fmla="*/ 40 w 148"/>
                <a:gd name="T105" fmla="*/ 17 h 103"/>
                <a:gd name="T106" fmla="*/ 31 w 148"/>
                <a:gd name="T107" fmla="*/ 13 h 103"/>
                <a:gd name="T108" fmla="*/ 27 w 148"/>
                <a:gd name="T109" fmla="*/ 11 h 103"/>
                <a:gd name="T110" fmla="*/ 23 w 148"/>
                <a:gd name="T111" fmla="*/ 9 h 103"/>
                <a:gd name="T112" fmla="*/ 15 w 148"/>
                <a:gd name="T113" fmla="*/ 6 h 103"/>
                <a:gd name="T114" fmla="*/ 7 w 148"/>
                <a:gd name="T115" fmla="*/ 2 h 103"/>
                <a:gd name="T116" fmla="*/ 6 w 148"/>
                <a:gd name="T117" fmla="*/ 2 h 103"/>
                <a:gd name="T118" fmla="*/ 2 w 148"/>
                <a:gd name="T119" fmla="*/ 0 h 103"/>
                <a:gd name="T120" fmla="*/ 0 w 148"/>
                <a:gd name="T121" fmla="*/ 16 h 103"/>
                <a:gd name="T122" fmla="*/ 3 w 148"/>
                <a:gd name="T123" fmla="*/ 17 h 103"/>
                <a:gd name="T124" fmla="*/ 3 w 148"/>
                <a:gd name="T125" fmla="*/ 1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" h="103">
                  <a:moveTo>
                    <a:pt x="3" y="18"/>
                  </a:moveTo>
                  <a:cubicBezTo>
                    <a:pt x="6" y="19"/>
                    <a:pt x="9" y="20"/>
                    <a:pt x="11" y="21"/>
                  </a:cubicBezTo>
                  <a:cubicBezTo>
                    <a:pt x="14" y="22"/>
                    <a:pt x="17" y="23"/>
                    <a:pt x="20" y="25"/>
                  </a:cubicBezTo>
                  <a:cubicBezTo>
                    <a:pt x="21" y="25"/>
                    <a:pt x="22" y="26"/>
                    <a:pt x="23" y="26"/>
                  </a:cubicBezTo>
                  <a:cubicBezTo>
                    <a:pt x="25" y="27"/>
                    <a:pt x="26" y="28"/>
                    <a:pt x="28" y="28"/>
                  </a:cubicBezTo>
                  <a:cubicBezTo>
                    <a:pt x="30" y="29"/>
                    <a:pt x="32" y="30"/>
                    <a:pt x="34" y="31"/>
                  </a:cubicBezTo>
                  <a:cubicBezTo>
                    <a:pt x="34" y="32"/>
                    <a:pt x="35" y="32"/>
                    <a:pt x="36" y="32"/>
                  </a:cubicBezTo>
                  <a:cubicBezTo>
                    <a:pt x="38" y="34"/>
                    <a:pt x="41" y="35"/>
                    <a:pt x="43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7" y="38"/>
                    <a:pt x="49" y="39"/>
                    <a:pt x="52" y="41"/>
                  </a:cubicBezTo>
                  <a:cubicBezTo>
                    <a:pt x="55" y="42"/>
                    <a:pt x="57" y="44"/>
                    <a:pt x="60" y="45"/>
                  </a:cubicBezTo>
                  <a:cubicBezTo>
                    <a:pt x="61" y="46"/>
                    <a:pt x="62" y="47"/>
                    <a:pt x="63" y="47"/>
                  </a:cubicBezTo>
                  <a:cubicBezTo>
                    <a:pt x="65" y="48"/>
                    <a:pt x="66" y="49"/>
                    <a:pt x="68" y="50"/>
                  </a:cubicBezTo>
                  <a:cubicBezTo>
                    <a:pt x="70" y="52"/>
                    <a:pt x="73" y="53"/>
                    <a:pt x="76" y="55"/>
                  </a:cubicBezTo>
                  <a:cubicBezTo>
                    <a:pt x="78" y="57"/>
                    <a:pt x="81" y="58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6" y="62"/>
                    <a:pt x="89" y="64"/>
                    <a:pt x="91" y="66"/>
                  </a:cubicBezTo>
                  <a:cubicBezTo>
                    <a:pt x="93" y="67"/>
                    <a:pt x="95" y="68"/>
                    <a:pt x="96" y="70"/>
                  </a:cubicBezTo>
                  <a:cubicBezTo>
                    <a:pt x="97" y="70"/>
                    <a:pt x="98" y="71"/>
                    <a:pt x="99" y="72"/>
                  </a:cubicBezTo>
                  <a:cubicBezTo>
                    <a:pt x="100" y="73"/>
                    <a:pt x="101" y="74"/>
                    <a:pt x="102" y="75"/>
                  </a:cubicBezTo>
                  <a:cubicBezTo>
                    <a:pt x="104" y="76"/>
                    <a:pt x="105" y="77"/>
                    <a:pt x="106" y="78"/>
                  </a:cubicBezTo>
                  <a:cubicBezTo>
                    <a:pt x="109" y="80"/>
                    <a:pt x="111" y="83"/>
                    <a:pt x="114" y="85"/>
                  </a:cubicBezTo>
                  <a:cubicBezTo>
                    <a:pt x="116" y="87"/>
                    <a:pt x="119" y="90"/>
                    <a:pt x="121" y="92"/>
                  </a:cubicBezTo>
                  <a:cubicBezTo>
                    <a:pt x="121" y="92"/>
                    <a:pt x="121" y="92"/>
                    <a:pt x="121" y="93"/>
                  </a:cubicBezTo>
                  <a:cubicBezTo>
                    <a:pt x="123" y="95"/>
                    <a:pt x="126" y="98"/>
                    <a:pt x="128" y="101"/>
                  </a:cubicBezTo>
                  <a:cubicBezTo>
                    <a:pt x="129" y="102"/>
                    <a:pt x="129" y="102"/>
                    <a:pt x="129" y="103"/>
                  </a:cubicBezTo>
                  <a:cubicBezTo>
                    <a:pt x="132" y="102"/>
                    <a:pt x="134" y="102"/>
                    <a:pt x="137" y="102"/>
                  </a:cubicBezTo>
                  <a:cubicBezTo>
                    <a:pt x="138" y="102"/>
                    <a:pt x="140" y="102"/>
                    <a:pt x="141" y="102"/>
                  </a:cubicBezTo>
                  <a:cubicBezTo>
                    <a:pt x="143" y="101"/>
                    <a:pt x="145" y="101"/>
                    <a:pt x="146" y="101"/>
                  </a:cubicBezTo>
                  <a:cubicBezTo>
                    <a:pt x="147" y="101"/>
                    <a:pt x="147" y="101"/>
                    <a:pt x="148" y="101"/>
                  </a:cubicBezTo>
                  <a:cubicBezTo>
                    <a:pt x="148" y="100"/>
                    <a:pt x="147" y="99"/>
                    <a:pt x="147" y="99"/>
                  </a:cubicBezTo>
                  <a:cubicBezTo>
                    <a:pt x="145" y="97"/>
                    <a:pt x="144" y="95"/>
                    <a:pt x="143" y="94"/>
                  </a:cubicBezTo>
                  <a:cubicBezTo>
                    <a:pt x="142" y="92"/>
                    <a:pt x="141" y="91"/>
                    <a:pt x="140" y="90"/>
                  </a:cubicBezTo>
                  <a:cubicBezTo>
                    <a:pt x="138" y="87"/>
                    <a:pt x="135" y="84"/>
                    <a:pt x="133" y="81"/>
                  </a:cubicBezTo>
                  <a:cubicBezTo>
                    <a:pt x="130" y="79"/>
                    <a:pt x="128" y="76"/>
                    <a:pt x="125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3" y="71"/>
                    <a:pt x="120" y="69"/>
                    <a:pt x="118" y="67"/>
                  </a:cubicBezTo>
                  <a:cubicBezTo>
                    <a:pt x="116" y="65"/>
                    <a:pt x="113" y="63"/>
                    <a:pt x="111" y="61"/>
                  </a:cubicBezTo>
                  <a:cubicBezTo>
                    <a:pt x="109" y="59"/>
                    <a:pt x="108" y="58"/>
                    <a:pt x="106" y="57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05" y="56"/>
                    <a:pt x="104" y="55"/>
                    <a:pt x="103" y="55"/>
                  </a:cubicBezTo>
                  <a:cubicBezTo>
                    <a:pt x="100" y="53"/>
                    <a:pt x="98" y="51"/>
                    <a:pt x="95" y="49"/>
                  </a:cubicBezTo>
                  <a:cubicBezTo>
                    <a:pt x="93" y="47"/>
                    <a:pt x="90" y="45"/>
                    <a:pt x="87" y="44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5" y="42"/>
                    <a:pt x="82" y="40"/>
                    <a:pt x="80" y="38"/>
                  </a:cubicBezTo>
                  <a:cubicBezTo>
                    <a:pt x="77" y="37"/>
                    <a:pt x="74" y="35"/>
                    <a:pt x="72" y="34"/>
                  </a:cubicBezTo>
                  <a:cubicBezTo>
                    <a:pt x="70" y="33"/>
                    <a:pt x="69" y="32"/>
                    <a:pt x="67" y="31"/>
                  </a:cubicBezTo>
                  <a:cubicBezTo>
                    <a:pt x="66" y="30"/>
                    <a:pt x="65" y="30"/>
                    <a:pt x="64" y="29"/>
                  </a:cubicBezTo>
                  <a:cubicBezTo>
                    <a:pt x="61" y="28"/>
                    <a:pt x="58" y="26"/>
                    <a:pt x="56" y="25"/>
                  </a:cubicBezTo>
                  <a:cubicBezTo>
                    <a:pt x="53" y="23"/>
                    <a:pt x="50" y="22"/>
                    <a:pt x="48" y="21"/>
                  </a:cubicBezTo>
                  <a:cubicBezTo>
                    <a:pt x="48" y="21"/>
                    <a:pt x="47" y="20"/>
                    <a:pt x="47" y="20"/>
                  </a:cubicBezTo>
                  <a:cubicBezTo>
                    <a:pt x="45" y="19"/>
                    <a:pt x="43" y="18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7" y="15"/>
                    <a:pt x="34" y="14"/>
                    <a:pt x="31" y="13"/>
                  </a:cubicBezTo>
                  <a:cubicBezTo>
                    <a:pt x="30" y="12"/>
                    <a:pt x="28" y="11"/>
                    <a:pt x="27" y="11"/>
                  </a:cubicBezTo>
                  <a:cubicBezTo>
                    <a:pt x="26" y="10"/>
                    <a:pt x="24" y="10"/>
                    <a:pt x="23" y="9"/>
                  </a:cubicBezTo>
                  <a:cubicBezTo>
                    <a:pt x="21" y="8"/>
                    <a:pt x="18" y="7"/>
                    <a:pt x="15" y="6"/>
                  </a:cubicBezTo>
                  <a:cubicBezTo>
                    <a:pt x="12" y="4"/>
                    <a:pt x="10" y="3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1"/>
                    <a:pt x="4" y="1"/>
                    <a:pt x="2" y="0"/>
                  </a:cubicBezTo>
                  <a:cubicBezTo>
                    <a:pt x="2" y="6"/>
                    <a:pt x="1" y="11"/>
                    <a:pt x="0" y="16"/>
                  </a:cubicBezTo>
                  <a:cubicBezTo>
                    <a:pt x="1" y="17"/>
                    <a:pt x="2" y="17"/>
                    <a:pt x="3" y="17"/>
                  </a:cubicBezTo>
                  <a:cubicBezTo>
                    <a:pt x="3" y="17"/>
                    <a:pt x="3" y="17"/>
                    <a:pt x="3" y="1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6872288" y="5983288"/>
              <a:ext cx="258763" cy="508000"/>
            </a:xfrm>
            <a:custGeom>
              <a:avLst/>
              <a:gdLst>
                <a:gd name="T0" fmla="*/ 93 w 102"/>
                <a:gd name="T1" fmla="*/ 161 h 200"/>
                <a:gd name="T2" fmla="*/ 89 w 102"/>
                <a:gd name="T3" fmla="*/ 146 h 200"/>
                <a:gd name="T4" fmla="*/ 87 w 102"/>
                <a:gd name="T5" fmla="*/ 138 h 200"/>
                <a:gd name="T6" fmla="*/ 84 w 102"/>
                <a:gd name="T7" fmla="*/ 131 h 200"/>
                <a:gd name="T8" fmla="*/ 84 w 102"/>
                <a:gd name="T9" fmla="*/ 129 h 200"/>
                <a:gd name="T10" fmla="*/ 71 w 102"/>
                <a:gd name="T11" fmla="*/ 93 h 200"/>
                <a:gd name="T12" fmla="*/ 71 w 102"/>
                <a:gd name="T13" fmla="*/ 93 h 200"/>
                <a:gd name="T14" fmla="*/ 56 w 102"/>
                <a:gd name="T15" fmla="*/ 59 h 200"/>
                <a:gd name="T16" fmla="*/ 41 w 102"/>
                <a:gd name="T17" fmla="*/ 28 h 200"/>
                <a:gd name="T18" fmla="*/ 41 w 102"/>
                <a:gd name="T19" fmla="*/ 27 h 200"/>
                <a:gd name="T20" fmla="*/ 30 w 102"/>
                <a:gd name="T21" fmla="*/ 7 h 200"/>
                <a:gd name="T22" fmla="*/ 26 w 102"/>
                <a:gd name="T23" fmla="*/ 0 h 200"/>
                <a:gd name="T24" fmla="*/ 25 w 102"/>
                <a:gd name="T25" fmla="*/ 0 h 200"/>
                <a:gd name="T26" fmla="*/ 0 w 102"/>
                <a:gd name="T27" fmla="*/ 15 h 200"/>
                <a:gd name="T28" fmla="*/ 4 w 102"/>
                <a:gd name="T29" fmla="*/ 22 h 200"/>
                <a:gd name="T30" fmla="*/ 15 w 102"/>
                <a:gd name="T31" fmla="*/ 42 h 200"/>
                <a:gd name="T32" fmla="*/ 15 w 102"/>
                <a:gd name="T33" fmla="*/ 42 h 200"/>
                <a:gd name="T34" fmla="*/ 30 w 102"/>
                <a:gd name="T35" fmla="*/ 74 h 200"/>
                <a:gd name="T36" fmla="*/ 43 w 102"/>
                <a:gd name="T37" fmla="*/ 104 h 200"/>
                <a:gd name="T38" fmla="*/ 44 w 102"/>
                <a:gd name="T39" fmla="*/ 109 h 200"/>
                <a:gd name="T40" fmla="*/ 55 w 102"/>
                <a:gd name="T41" fmla="*/ 139 h 200"/>
                <a:gd name="T42" fmla="*/ 57 w 102"/>
                <a:gd name="T43" fmla="*/ 147 h 200"/>
                <a:gd name="T44" fmla="*/ 58 w 102"/>
                <a:gd name="T45" fmla="*/ 148 h 200"/>
                <a:gd name="T46" fmla="*/ 60 w 102"/>
                <a:gd name="T47" fmla="*/ 155 h 200"/>
                <a:gd name="T48" fmla="*/ 64 w 102"/>
                <a:gd name="T49" fmla="*/ 170 h 200"/>
                <a:gd name="T50" fmla="*/ 70 w 102"/>
                <a:gd name="T51" fmla="*/ 191 h 200"/>
                <a:gd name="T52" fmla="*/ 73 w 102"/>
                <a:gd name="T53" fmla="*/ 200 h 200"/>
                <a:gd name="T54" fmla="*/ 92 w 102"/>
                <a:gd name="T55" fmla="*/ 195 h 200"/>
                <a:gd name="T56" fmla="*/ 102 w 102"/>
                <a:gd name="T57" fmla="*/ 192 h 200"/>
                <a:gd name="T58" fmla="*/ 97 w 102"/>
                <a:gd name="T59" fmla="*/ 173 h 200"/>
                <a:gd name="T60" fmla="*/ 93 w 102"/>
                <a:gd name="T61" fmla="*/ 16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2" h="200">
                  <a:moveTo>
                    <a:pt x="93" y="161"/>
                  </a:moveTo>
                  <a:cubicBezTo>
                    <a:pt x="92" y="157"/>
                    <a:pt x="91" y="152"/>
                    <a:pt x="89" y="146"/>
                  </a:cubicBezTo>
                  <a:cubicBezTo>
                    <a:pt x="88" y="144"/>
                    <a:pt x="88" y="141"/>
                    <a:pt x="87" y="138"/>
                  </a:cubicBezTo>
                  <a:cubicBezTo>
                    <a:pt x="86" y="136"/>
                    <a:pt x="85" y="133"/>
                    <a:pt x="84" y="131"/>
                  </a:cubicBezTo>
                  <a:cubicBezTo>
                    <a:pt x="84" y="130"/>
                    <a:pt x="84" y="130"/>
                    <a:pt x="84" y="129"/>
                  </a:cubicBezTo>
                  <a:cubicBezTo>
                    <a:pt x="80" y="118"/>
                    <a:pt x="76" y="105"/>
                    <a:pt x="71" y="93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66" y="81"/>
                    <a:pt x="61" y="69"/>
                    <a:pt x="56" y="59"/>
                  </a:cubicBezTo>
                  <a:cubicBezTo>
                    <a:pt x="51" y="47"/>
                    <a:pt x="46" y="37"/>
                    <a:pt x="41" y="28"/>
                  </a:cubicBezTo>
                  <a:cubicBezTo>
                    <a:pt x="41" y="28"/>
                    <a:pt x="41" y="28"/>
                    <a:pt x="41" y="27"/>
                  </a:cubicBezTo>
                  <a:cubicBezTo>
                    <a:pt x="37" y="19"/>
                    <a:pt x="33" y="12"/>
                    <a:pt x="30" y="7"/>
                  </a:cubicBezTo>
                  <a:cubicBezTo>
                    <a:pt x="27" y="2"/>
                    <a:pt x="26" y="0"/>
                    <a:pt x="2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1" y="17"/>
                    <a:pt x="4" y="22"/>
                  </a:cubicBezTo>
                  <a:cubicBezTo>
                    <a:pt x="7" y="27"/>
                    <a:pt x="10" y="34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9" y="51"/>
                    <a:pt x="25" y="62"/>
                    <a:pt x="30" y="74"/>
                  </a:cubicBezTo>
                  <a:cubicBezTo>
                    <a:pt x="34" y="84"/>
                    <a:pt x="39" y="94"/>
                    <a:pt x="43" y="104"/>
                  </a:cubicBezTo>
                  <a:cubicBezTo>
                    <a:pt x="43" y="106"/>
                    <a:pt x="44" y="107"/>
                    <a:pt x="44" y="109"/>
                  </a:cubicBezTo>
                  <a:cubicBezTo>
                    <a:pt x="48" y="119"/>
                    <a:pt x="52" y="129"/>
                    <a:pt x="55" y="139"/>
                  </a:cubicBezTo>
                  <a:cubicBezTo>
                    <a:pt x="56" y="142"/>
                    <a:pt x="56" y="144"/>
                    <a:pt x="57" y="147"/>
                  </a:cubicBezTo>
                  <a:cubicBezTo>
                    <a:pt x="57" y="147"/>
                    <a:pt x="58" y="148"/>
                    <a:pt x="58" y="148"/>
                  </a:cubicBezTo>
                  <a:cubicBezTo>
                    <a:pt x="58" y="150"/>
                    <a:pt x="59" y="153"/>
                    <a:pt x="60" y="155"/>
                  </a:cubicBezTo>
                  <a:cubicBezTo>
                    <a:pt x="61" y="160"/>
                    <a:pt x="63" y="165"/>
                    <a:pt x="64" y="170"/>
                  </a:cubicBezTo>
                  <a:cubicBezTo>
                    <a:pt x="66" y="179"/>
                    <a:pt x="69" y="186"/>
                    <a:pt x="70" y="191"/>
                  </a:cubicBezTo>
                  <a:cubicBezTo>
                    <a:pt x="72" y="197"/>
                    <a:pt x="73" y="200"/>
                    <a:pt x="73" y="200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102" y="192"/>
                    <a:pt x="102" y="192"/>
                    <a:pt x="102" y="192"/>
                  </a:cubicBezTo>
                  <a:cubicBezTo>
                    <a:pt x="102" y="192"/>
                    <a:pt x="100" y="185"/>
                    <a:pt x="97" y="173"/>
                  </a:cubicBezTo>
                  <a:cubicBezTo>
                    <a:pt x="96" y="170"/>
                    <a:pt x="95" y="166"/>
                    <a:pt x="93" y="16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6129338" y="5287963"/>
              <a:ext cx="469900" cy="344488"/>
            </a:xfrm>
            <a:custGeom>
              <a:avLst/>
              <a:gdLst>
                <a:gd name="T0" fmla="*/ 176 w 185"/>
                <a:gd name="T1" fmla="*/ 107 h 136"/>
                <a:gd name="T2" fmla="*/ 160 w 185"/>
                <a:gd name="T3" fmla="*/ 94 h 136"/>
                <a:gd name="T4" fmla="*/ 157 w 185"/>
                <a:gd name="T5" fmla="*/ 91 h 136"/>
                <a:gd name="T6" fmla="*/ 138 w 185"/>
                <a:gd name="T7" fmla="*/ 77 h 136"/>
                <a:gd name="T8" fmla="*/ 119 w 185"/>
                <a:gd name="T9" fmla="*/ 63 h 136"/>
                <a:gd name="T10" fmla="*/ 102 w 185"/>
                <a:gd name="T11" fmla="*/ 52 h 136"/>
                <a:gd name="T12" fmla="*/ 99 w 185"/>
                <a:gd name="T13" fmla="*/ 50 h 136"/>
                <a:gd name="T14" fmla="*/ 79 w 185"/>
                <a:gd name="T15" fmla="*/ 37 h 136"/>
                <a:gd name="T16" fmla="*/ 60 w 185"/>
                <a:gd name="T17" fmla="*/ 25 h 136"/>
                <a:gd name="T18" fmla="*/ 41 w 185"/>
                <a:gd name="T19" fmla="*/ 15 h 136"/>
                <a:gd name="T20" fmla="*/ 40 w 185"/>
                <a:gd name="T21" fmla="*/ 14 h 136"/>
                <a:gd name="T22" fmla="*/ 21 w 185"/>
                <a:gd name="T23" fmla="*/ 4 h 136"/>
                <a:gd name="T24" fmla="*/ 20 w 185"/>
                <a:gd name="T25" fmla="*/ 3 h 136"/>
                <a:gd name="T26" fmla="*/ 13 w 185"/>
                <a:gd name="T27" fmla="*/ 0 h 136"/>
                <a:gd name="T28" fmla="*/ 0 w 185"/>
                <a:gd name="T29" fmla="*/ 25 h 136"/>
                <a:gd name="T30" fmla="*/ 8 w 185"/>
                <a:gd name="T31" fmla="*/ 29 h 136"/>
                <a:gd name="T32" fmla="*/ 13 w 185"/>
                <a:gd name="T33" fmla="*/ 31 h 136"/>
                <a:gd name="T34" fmla="*/ 28 w 185"/>
                <a:gd name="T35" fmla="*/ 40 h 136"/>
                <a:gd name="T36" fmla="*/ 33 w 185"/>
                <a:gd name="T37" fmla="*/ 43 h 136"/>
                <a:gd name="T38" fmla="*/ 53 w 185"/>
                <a:gd name="T39" fmla="*/ 54 h 136"/>
                <a:gd name="T40" fmla="*/ 72 w 185"/>
                <a:gd name="T41" fmla="*/ 66 h 136"/>
                <a:gd name="T42" fmla="*/ 87 w 185"/>
                <a:gd name="T43" fmla="*/ 76 h 136"/>
                <a:gd name="T44" fmla="*/ 92 w 185"/>
                <a:gd name="T45" fmla="*/ 79 h 136"/>
                <a:gd name="T46" fmla="*/ 112 w 185"/>
                <a:gd name="T47" fmla="*/ 93 h 136"/>
                <a:gd name="T48" fmla="*/ 131 w 185"/>
                <a:gd name="T49" fmla="*/ 107 h 136"/>
                <a:gd name="T50" fmla="*/ 142 w 185"/>
                <a:gd name="T51" fmla="*/ 116 h 136"/>
                <a:gd name="T52" fmla="*/ 150 w 185"/>
                <a:gd name="T53" fmla="*/ 122 h 136"/>
                <a:gd name="T54" fmla="*/ 160 w 185"/>
                <a:gd name="T55" fmla="*/ 131 h 136"/>
                <a:gd name="T56" fmla="*/ 166 w 185"/>
                <a:gd name="T57" fmla="*/ 136 h 136"/>
                <a:gd name="T58" fmla="*/ 170 w 185"/>
                <a:gd name="T59" fmla="*/ 131 h 136"/>
                <a:gd name="T60" fmla="*/ 185 w 185"/>
                <a:gd name="T61" fmla="*/ 114 h 136"/>
                <a:gd name="T62" fmla="*/ 178 w 185"/>
                <a:gd name="T63" fmla="*/ 109 h 136"/>
                <a:gd name="T64" fmla="*/ 176 w 185"/>
                <a:gd name="T65" fmla="*/ 10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5" h="136">
                  <a:moveTo>
                    <a:pt x="176" y="107"/>
                  </a:moveTo>
                  <a:cubicBezTo>
                    <a:pt x="172" y="103"/>
                    <a:pt x="167" y="99"/>
                    <a:pt x="160" y="94"/>
                  </a:cubicBezTo>
                  <a:cubicBezTo>
                    <a:pt x="159" y="93"/>
                    <a:pt x="158" y="92"/>
                    <a:pt x="157" y="91"/>
                  </a:cubicBezTo>
                  <a:cubicBezTo>
                    <a:pt x="151" y="87"/>
                    <a:pt x="145" y="82"/>
                    <a:pt x="138" y="77"/>
                  </a:cubicBezTo>
                  <a:cubicBezTo>
                    <a:pt x="132" y="72"/>
                    <a:pt x="125" y="67"/>
                    <a:pt x="119" y="63"/>
                  </a:cubicBezTo>
                  <a:cubicBezTo>
                    <a:pt x="113" y="59"/>
                    <a:pt x="108" y="55"/>
                    <a:pt x="102" y="52"/>
                  </a:cubicBezTo>
                  <a:cubicBezTo>
                    <a:pt x="101" y="51"/>
                    <a:pt x="100" y="50"/>
                    <a:pt x="99" y="50"/>
                  </a:cubicBezTo>
                  <a:cubicBezTo>
                    <a:pt x="92" y="45"/>
                    <a:pt x="86" y="41"/>
                    <a:pt x="79" y="37"/>
                  </a:cubicBezTo>
                  <a:cubicBezTo>
                    <a:pt x="73" y="33"/>
                    <a:pt x="66" y="29"/>
                    <a:pt x="60" y="25"/>
                  </a:cubicBezTo>
                  <a:cubicBezTo>
                    <a:pt x="53" y="21"/>
                    <a:pt x="47" y="18"/>
                    <a:pt x="41" y="15"/>
                  </a:cubicBezTo>
                  <a:cubicBezTo>
                    <a:pt x="41" y="15"/>
                    <a:pt x="40" y="14"/>
                    <a:pt x="40" y="14"/>
                  </a:cubicBezTo>
                  <a:cubicBezTo>
                    <a:pt x="32" y="10"/>
                    <a:pt x="25" y="6"/>
                    <a:pt x="21" y="4"/>
                  </a:cubicBezTo>
                  <a:cubicBezTo>
                    <a:pt x="20" y="4"/>
                    <a:pt x="20" y="3"/>
                    <a:pt x="20" y="3"/>
                  </a:cubicBezTo>
                  <a:cubicBezTo>
                    <a:pt x="15" y="1"/>
                    <a:pt x="13" y="0"/>
                    <a:pt x="13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3" y="26"/>
                    <a:pt x="8" y="29"/>
                  </a:cubicBezTo>
                  <a:cubicBezTo>
                    <a:pt x="9" y="29"/>
                    <a:pt x="11" y="30"/>
                    <a:pt x="13" y="31"/>
                  </a:cubicBezTo>
                  <a:cubicBezTo>
                    <a:pt x="17" y="34"/>
                    <a:pt x="22" y="36"/>
                    <a:pt x="28" y="40"/>
                  </a:cubicBezTo>
                  <a:cubicBezTo>
                    <a:pt x="29" y="41"/>
                    <a:pt x="31" y="42"/>
                    <a:pt x="33" y="43"/>
                  </a:cubicBezTo>
                  <a:cubicBezTo>
                    <a:pt x="39" y="46"/>
                    <a:pt x="46" y="50"/>
                    <a:pt x="53" y="54"/>
                  </a:cubicBezTo>
                  <a:cubicBezTo>
                    <a:pt x="59" y="58"/>
                    <a:pt x="66" y="62"/>
                    <a:pt x="72" y="66"/>
                  </a:cubicBezTo>
                  <a:cubicBezTo>
                    <a:pt x="77" y="69"/>
                    <a:pt x="82" y="72"/>
                    <a:pt x="87" y="76"/>
                  </a:cubicBezTo>
                  <a:cubicBezTo>
                    <a:pt x="88" y="77"/>
                    <a:pt x="90" y="78"/>
                    <a:pt x="92" y="79"/>
                  </a:cubicBezTo>
                  <a:cubicBezTo>
                    <a:pt x="99" y="84"/>
                    <a:pt x="105" y="88"/>
                    <a:pt x="112" y="93"/>
                  </a:cubicBezTo>
                  <a:cubicBezTo>
                    <a:pt x="118" y="98"/>
                    <a:pt x="125" y="103"/>
                    <a:pt x="131" y="107"/>
                  </a:cubicBezTo>
                  <a:cubicBezTo>
                    <a:pt x="135" y="110"/>
                    <a:pt x="139" y="113"/>
                    <a:pt x="142" y="116"/>
                  </a:cubicBezTo>
                  <a:cubicBezTo>
                    <a:pt x="145" y="118"/>
                    <a:pt x="147" y="120"/>
                    <a:pt x="150" y="122"/>
                  </a:cubicBezTo>
                  <a:cubicBezTo>
                    <a:pt x="154" y="126"/>
                    <a:pt x="157" y="128"/>
                    <a:pt x="160" y="131"/>
                  </a:cubicBezTo>
                  <a:cubicBezTo>
                    <a:pt x="164" y="134"/>
                    <a:pt x="166" y="136"/>
                    <a:pt x="166" y="136"/>
                  </a:cubicBezTo>
                  <a:cubicBezTo>
                    <a:pt x="170" y="131"/>
                    <a:pt x="170" y="131"/>
                    <a:pt x="170" y="131"/>
                  </a:cubicBezTo>
                  <a:cubicBezTo>
                    <a:pt x="185" y="114"/>
                    <a:pt x="185" y="114"/>
                    <a:pt x="185" y="114"/>
                  </a:cubicBezTo>
                  <a:cubicBezTo>
                    <a:pt x="185" y="114"/>
                    <a:pt x="183" y="112"/>
                    <a:pt x="178" y="109"/>
                  </a:cubicBezTo>
                  <a:cubicBezTo>
                    <a:pt x="178" y="108"/>
                    <a:pt x="177" y="107"/>
                    <a:pt x="176" y="10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5167313" y="4927600"/>
              <a:ext cx="515938" cy="220663"/>
            </a:xfrm>
            <a:custGeom>
              <a:avLst/>
              <a:gdLst>
                <a:gd name="T0" fmla="*/ 173 w 203"/>
                <a:gd name="T1" fmla="*/ 51 h 87"/>
                <a:gd name="T2" fmla="*/ 172 w 203"/>
                <a:gd name="T3" fmla="*/ 51 h 87"/>
                <a:gd name="T4" fmla="*/ 151 w 203"/>
                <a:gd name="T5" fmla="*/ 44 h 87"/>
                <a:gd name="T6" fmla="*/ 130 w 203"/>
                <a:gd name="T7" fmla="*/ 37 h 87"/>
                <a:gd name="T8" fmla="*/ 109 w 203"/>
                <a:gd name="T9" fmla="*/ 30 h 87"/>
                <a:gd name="T10" fmla="*/ 106 w 203"/>
                <a:gd name="T11" fmla="*/ 29 h 87"/>
                <a:gd name="T12" fmla="*/ 88 w 203"/>
                <a:gd name="T13" fmla="*/ 24 h 87"/>
                <a:gd name="T14" fmla="*/ 70 w 203"/>
                <a:gd name="T15" fmla="*/ 18 h 87"/>
                <a:gd name="T16" fmla="*/ 67 w 203"/>
                <a:gd name="T17" fmla="*/ 17 h 87"/>
                <a:gd name="T18" fmla="*/ 53 w 203"/>
                <a:gd name="T19" fmla="*/ 13 h 87"/>
                <a:gd name="T20" fmla="*/ 45 w 203"/>
                <a:gd name="T21" fmla="*/ 11 h 87"/>
                <a:gd name="T22" fmla="*/ 38 w 203"/>
                <a:gd name="T23" fmla="*/ 9 h 87"/>
                <a:gd name="T24" fmla="*/ 24 w 203"/>
                <a:gd name="T25" fmla="*/ 5 h 87"/>
                <a:gd name="T26" fmla="*/ 8 w 203"/>
                <a:gd name="T27" fmla="*/ 0 h 87"/>
                <a:gd name="T28" fmla="*/ 0 w 203"/>
                <a:gd name="T29" fmla="*/ 25 h 87"/>
                <a:gd name="T30" fmla="*/ 18 w 203"/>
                <a:gd name="T31" fmla="*/ 30 h 87"/>
                <a:gd name="T32" fmla="*/ 31 w 203"/>
                <a:gd name="T33" fmla="*/ 34 h 87"/>
                <a:gd name="T34" fmla="*/ 39 w 203"/>
                <a:gd name="T35" fmla="*/ 37 h 87"/>
                <a:gd name="T36" fmla="*/ 46 w 203"/>
                <a:gd name="T37" fmla="*/ 38 h 87"/>
                <a:gd name="T38" fmla="*/ 60 w 203"/>
                <a:gd name="T39" fmla="*/ 43 h 87"/>
                <a:gd name="T40" fmla="*/ 62 w 203"/>
                <a:gd name="T41" fmla="*/ 43 h 87"/>
                <a:gd name="T42" fmla="*/ 82 w 203"/>
                <a:gd name="T43" fmla="*/ 50 h 87"/>
                <a:gd name="T44" fmla="*/ 98 w 203"/>
                <a:gd name="T45" fmla="*/ 55 h 87"/>
                <a:gd name="T46" fmla="*/ 103 w 203"/>
                <a:gd name="T47" fmla="*/ 56 h 87"/>
                <a:gd name="T48" fmla="*/ 124 w 203"/>
                <a:gd name="T49" fmla="*/ 63 h 87"/>
                <a:gd name="T50" fmla="*/ 145 w 203"/>
                <a:gd name="T51" fmla="*/ 70 h 87"/>
                <a:gd name="T52" fmla="*/ 164 w 203"/>
                <a:gd name="T53" fmla="*/ 76 h 87"/>
                <a:gd name="T54" fmla="*/ 166 w 203"/>
                <a:gd name="T55" fmla="*/ 77 h 87"/>
                <a:gd name="T56" fmla="*/ 187 w 203"/>
                <a:gd name="T57" fmla="*/ 84 h 87"/>
                <a:gd name="T58" fmla="*/ 194 w 203"/>
                <a:gd name="T59" fmla="*/ 87 h 87"/>
                <a:gd name="T60" fmla="*/ 203 w 203"/>
                <a:gd name="T61" fmla="*/ 61 h 87"/>
                <a:gd name="T62" fmla="*/ 193 w 203"/>
                <a:gd name="T63" fmla="*/ 58 h 87"/>
                <a:gd name="T64" fmla="*/ 173 w 203"/>
                <a:gd name="T65" fmla="*/ 5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3" h="87">
                  <a:moveTo>
                    <a:pt x="173" y="51"/>
                  </a:moveTo>
                  <a:cubicBezTo>
                    <a:pt x="172" y="51"/>
                    <a:pt x="172" y="51"/>
                    <a:pt x="172" y="51"/>
                  </a:cubicBezTo>
                  <a:cubicBezTo>
                    <a:pt x="166" y="48"/>
                    <a:pt x="158" y="46"/>
                    <a:pt x="151" y="44"/>
                  </a:cubicBezTo>
                  <a:cubicBezTo>
                    <a:pt x="144" y="41"/>
                    <a:pt x="137" y="39"/>
                    <a:pt x="130" y="37"/>
                  </a:cubicBezTo>
                  <a:cubicBezTo>
                    <a:pt x="123" y="35"/>
                    <a:pt x="116" y="32"/>
                    <a:pt x="109" y="30"/>
                  </a:cubicBezTo>
                  <a:cubicBezTo>
                    <a:pt x="108" y="30"/>
                    <a:pt x="107" y="29"/>
                    <a:pt x="106" y="29"/>
                  </a:cubicBezTo>
                  <a:cubicBezTo>
                    <a:pt x="100" y="27"/>
                    <a:pt x="94" y="25"/>
                    <a:pt x="88" y="24"/>
                  </a:cubicBezTo>
                  <a:cubicBezTo>
                    <a:pt x="82" y="22"/>
                    <a:pt x="76" y="20"/>
                    <a:pt x="70" y="18"/>
                  </a:cubicBezTo>
                  <a:cubicBezTo>
                    <a:pt x="69" y="18"/>
                    <a:pt x="68" y="17"/>
                    <a:pt x="67" y="17"/>
                  </a:cubicBezTo>
                  <a:cubicBezTo>
                    <a:pt x="62" y="16"/>
                    <a:pt x="57" y="14"/>
                    <a:pt x="53" y="13"/>
                  </a:cubicBezTo>
                  <a:cubicBezTo>
                    <a:pt x="50" y="12"/>
                    <a:pt x="48" y="12"/>
                    <a:pt x="45" y="11"/>
                  </a:cubicBezTo>
                  <a:cubicBezTo>
                    <a:pt x="43" y="10"/>
                    <a:pt x="40" y="9"/>
                    <a:pt x="38" y="9"/>
                  </a:cubicBezTo>
                  <a:cubicBezTo>
                    <a:pt x="33" y="7"/>
                    <a:pt x="28" y="6"/>
                    <a:pt x="24" y="5"/>
                  </a:cubicBezTo>
                  <a:cubicBezTo>
                    <a:pt x="14" y="2"/>
                    <a:pt x="8" y="0"/>
                    <a:pt x="8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7" y="27"/>
                    <a:pt x="18" y="30"/>
                  </a:cubicBezTo>
                  <a:cubicBezTo>
                    <a:pt x="22" y="32"/>
                    <a:pt x="26" y="33"/>
                    <a:pt x="31" y="34"/>
                  </a:cubicBezTo>
                  <a:cubicBezTo>
                    <a:pt x="34" y="35"/>
                    <a:pt x="36" y="36"/>
                    <a:pt x="39" y="37"/>
                  </a:cubicBezTo>
                  <a:cubicBezTo>
                    <a:pt x="41" y="37"/>
                    <a:pt x="44" y="38"/>
                    <a:pt x="46" y="38"/>
                  </a:cubicBezTo>
                  <a:cubicBezTo>
                    <a:pt x="50" y="40"/>
                    <a:pt x="55" y="41"/>
                    <a:pt x="60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8" y="45"/>
                    <a:pt x="75" y="47"/>
                    <a:pt x="82" y="50"/>
                  </a:cubicBezTo>
                  <a:cubicBezTo>
                    <a:pt x="87" y="51"/>
                    <a:pt x="92" y="53"/>
                    <a:pt x="98" y="55"/>
                  </a:cubicBezTo>
                  <a:cubicBezTo>
                    <a:pt x="99" y="55"/>
                    <a:pt x="101" y="56"/>
                    <a:pt x="103" y="56"/>
                  </a:cubicBezTo>
                  <a:cubicBezTo>
                    <a:pt x="110" y="58"/>
                    <a:pt x="117" y="61"/>
                    <a:pt x="124" y="63"/>
                  </a:cubicBezTo>
                  <a:cubicBezTo>
                    <a:pt x="131" y="65"/>
                    <a:pt x="138" y="68"/>
                    <a:pt x="145" y="70"/>
                  </a:cubicBezTo>
                  <a:cubicBezTo>
                    <a:pt x="152" y="72"/>
                    <a:pt x="158" y="74"/>
                    <a:pt x="164" y="76"/>
                  </a:cubicBezTo>
                  <a:cubicBezTo>
                    <a:pt x="164" y="77"/>
                    <a:pt x="165" y="77"/>
                    <a:pt x="166" y="77"/>
                  </a:cubicBezTo>
                  <a:cubicBezTo>
                    <a:pt x="174" y="80"/>
                    <a:pt x="182" y="83"/>
                    <a:pt x="187" y="84"/>
                  </a:cubicBezTo>
                  <a:cubicBezTo>
                    <a:pt x="191" y="86"/>
                    <a:pt x="194" y="87"/>
                    <a:pt x="194" y="87"/>
                  </a:cubicBezTo>
                  <a:cubicBezTo>
                    <a:pt x="203" y="61"/>
                    <a:pt x="203" y="61"/>
                    <a:pt x="203" y="61"/>
                  </a:cubicBezTo>
                  <a:cubicBezTo>
                    <a:pt x="203" y="61"/>
                    <a:pt x="199" y="60"/>
                    <a:pt x="193" y="58"/>
                  </a:cubicBezTo>
                  <a:cubicBezTo>
                    <a:pt x="188" y="56"/>
                    <a:pt x="181" y="54"/>
                    <a:pt x="173" y="5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4157663" y="4740275"/>
              <a:ext cx="520700" cy="136525"/>
            </a:xfrm>
            <a:custGeom>
              <a:avLst/>
              <a:gdLst>
                <a:gd name="T0" fmla="*/ 174 w 205"/>
                <a:gd name="T1" fmla="*/ 24 h 54"/>
                <a:gd name="T2" fmla="*/ 164 w 205"/>
                <a:gd name="T3" fmla="*/ 22 h 54"/>
                <a:gd name="T4" fmla="*/ 142 w 205"/>
                <a:gd name="T5" fmla="*/ 19 h 54"/>
                <a:gd name="T6" fmla="*/ 120 w 205"/>
                <a:gd name="T7" fmla="*/ 16 h 54"/>
                <a:gd name="T8" fmla="*/ 104 w 205"/>
                <a:gd name="T9" fmla="*/ 13 h 54"/>
                <a:gd name="T10" fmla="*/ 98 w 205"/>
                <a:gd name="T11" fmla="*/ 12 h 54"/>
                <a:gd name="T12" fmla="*/ 76 w 205"/>
                <a:gd name="T13" fmla="*/ 9 h 54"/>
                <a:gd name="T14" fmla="*/ 54 w 205"/>
                <a:gd name="T15" fmla="*/ 6 h 54"/>
                <a:gd name="T16" fmla="*/ 35 w 205"/>
                <a:gd name="T17" fmla="*/ 4 h 54"/>
                <a:gd name="T18" fmla="*/ 33 w 205"/>
                <a:gd name="T19" fmla="*/ 4 h 54"/>
                <a:gd name="T20" fmla="*/ 10 w 205"/>
                <a:gd name="T21" fmla="*/ 1 h 54"/>
                <a:gd name="T22" fmla="*/ 3 w 205"/>
                <a:gd name="T23" fmla="*/ 0 h 54"/>
                <a:gd name="T24" fmla="*/ 0 w 205"/>
                <a:gd name="T25" fmla="*/ 24 h 54"/>
                <a:gd name="T26" fmla="*/ 5 w 205"/>
                <a:gd name="T27" fmla="*/ 25 h 54"/>
                <a:gd name="T28" fmla="*/ 27 w 205"/>
                <a:gd name="T29" fmla="*/ 28 h 54"/>
                <a:gd name="T30" fmla="*/ 32 w 205"/>
                <a:gd name="T31" fmla="*/ 28 h 54"/>
                <a:gd name="T32" fmla="*/ 49 w 205"/>
                <a:gd name="T33" fmla="*/ 30 h 54"/>
                <a:gd name="T34" fmla="*/ 71 w 205"/>
                <a:gd name="T35" fmla="*/ 33 h 54"/>
                <a:gd name="T36" fmla="*/ 93 w 205"/>
                <a:gd name="T37" fmla="*/ 37 h 54"/>
                <a:gd name="T38" fmla="*/ 101 w 205"/>
                <a:gd name="T39" fmla="*/ 38 h 54"/>
                <a:gd name="T40" fmla="*/ 115 w 205"/>
                <a:gd name="T41" fmla="*/ 40 h 54"/>
                <a:gd name="T42" fmla="*/ 136 w 205"/>
                <a:gd name="T43" fmla="*/ 43 h 54"/>
                <a:gd name="T44" fmla="*/ 158 w 205"/>
                <a:gd name="T45" fmla="*/ 47 h 54"/>
                <a:gd name="T46" fmla="*/ 170 w 205"/>
                <a:gd name="T47" fmla="*/ 49 h 54"/>
                <a:gd name="T48" fmla="*/ 180 w 205"/>
                <a:gd name="T49" fmla="*/ 51 h 54"/>
                <a:gd name="T50" fmla="*/ 201 w 205"/>
                <a:gd name="T51" fmla="*/ 54 h 54"/>
                <a:gd name="T52" fmla="*/ 205 w 205"/>
                <a:gd name="T53" fmla="*/ 29 h 54"/>
                <a:gd name="T54" fmla="*/ 186 w 205"/>
                <a:gd name="T55" fmla="*/ 26 h 54"/>
                <a:gd name="T56" fmla="*/ 174 w 205"/>
                <a:gd name="T57" fmla="*/ 2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5" h="54">
                  <a:moveTo>
                    <a:pt x="174" y="24"/>
                  </a:moveTo>
                  <a:cubicBezTo>
                    <a:pt x="171" y="23"/>
                    <a:pt x="167" y="23"/>
                    <a:pt x="164" y="22"/>
                  </a:cubicBezTo>
                  <a:cubicBezTo>
                    <a:pt x="157" y="21"/>
                    <a:pt x="150" y="20"/>
                    <a:pt x="142" y="19"/>
                  </a:cubicBezTo>
                  <a:cubicBezTo>
                    <a:pt x="135" y="18"/>
                    <a:pt x="128" y="17"/>
                    <a:pt x="120" y="16"/>
                  </a:cubicBezTo>
                  <a:cubicBezTo>
                    <a:pt x="115" y="15"/>
                    <a:pt x="110" y="14"/>
                    <a:pt x="104" y="13"/>
                  </a:cubicBezTo>
                  <a:cubicBezTo>
                    <a:pt x="102" y="13"/>
                    <a:pt x="100" y="13"/>
                    <a:pt x="98" y="12"/>
                  </a:cubicBezTo>
                  <a:cubicBezTo>
                    <a:pt x="91" y="11"/>
                    <a:pt x="84" y="10"/>
                    <a:pt x="76" y="9"/>
                  </a:cubicBezTo>
                  <a:cubicBezTo>
                    <a:pt x="69" y="8"/>
                    <a:pt x="61" y="7"/>
                    <a:pt x="54" y="6"/>
                  </a:cubicBezTo>
                  <a:cubicBezTo>
                    <a:pt x="47" y="6"/>
                    <a:pt x="41" y="5"/>
                    <a:pt x="35" y="4"/>
                  </a:cubicBezTo>
                  <a:cubicBezTo>
                    <a:pt x="34" y="4"/>
                    <a:pt x="33" y="4"/>
                    <a:pt x="33" y="4"/>
                  </a:cubicBezTo>
                  <a:cubicBezTo>
                    <a:pt x="23" y="3"/>
                    <a:pt x="16" y="2"/>
                    <a:pt x="10" y="1"/>
                  </a:cubicBezTo>
                  <a:cubicBezTo>
                    <a:pt x="6" y="0"/>
                    <a:pt x="3" y="0"/>
                    <a:pt x="3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2" y="25"/>
                    <a:pt x="5" y="25"/>
                  </a:cubicBezTo>
                  <a:cubicBezTo>
                    <a:pt x="9" y="25"/>
                    <a:pt x="17" y="26"/>
                    <a:pt x="27" y="28"/>
                  </a:cubicBezTo>
                  <a:cubicBezTo>
                    <a:pt x="28" y="28"/>
                    <a:pt x="30" y="28"/>
                    <a:pt x="32" y="28"/>
                  </a:cubicBezTo>
                  <a:cubicBezTo>
                    <a:pt x="37" y="29"/>
                    <a:pt x="43" y="30"/>
                    <a:pt x="49" y="30"/>
                  </a:cubicBezTo>
                  <a:cubicBezTo>
                    <a:pt x="56" y="31"/>
                    <a:pt x="63" y="32"/>
                    <a:pt x="71" y="33"/>
                  </a:cubicBezTo>
                  <a:cubicBezTo>
                    <a:pt x="78" y="34"/>
                    <a:pt x="85" y="35"/>
                    <a:pt x="93" y="37"/>
                  </a:cubicBezTo>
                  <a:cubicBezTo>
                    <a:pt x="95" y="37"/>
                    <a:pt x="98" y="37"/>
                    <a:pt x="101" y="38"/>
                  </a:cubicBezTo>
                  <a:cubicBezTo>
                    <a:pt x="105" y="38"/>
                    <a:pt x="110" y="39"/>
                    <a:pt x="115" y="40"/>
                  </a:cubicBezTo>
                  <a:cubicBezTo>
                    <a:pt x="122" y="41"/>
                    <a:pt x="129" y="42"/>
                    <a:pt x="136" y="43"/>
                  </a:cubicBezTo>
                  <a:cubicBezTo>
                    <a:pt x="144" y="44"/>
                    <a:pt x="151" y="46"/>
                    <a:pt x="158" y="47"/>
                  </a:cubicBezTo>
                  <a:cubicBezTo>
                    <a:pt x="162" y="47"/>
                    <a:pt x="166" y="48"/>
                    <a:pt x="170" y="49"/>
                  </a:cubicBezTo>
                  <a:cubicBezTo>
                    <a:pt x="173" y="49"/>
                    <a:pt x="177" y="50"/>
                    <a:pt x="180" y="51"/>
                  </a:cubicBezTo>
                  <a:cubicBezTo>
                    <a:pt x="193" y="53"/>
                    <a:pt x="201" y="54"/>
                    <a:pt x="201" y="54"/>
                  </a:cubicBezTo>
                  <a:cubicBezTo>
                    <a:pt x="205" y="29"/>
                    <a:pt x="205" y="29"/>
                    <a:pt x="205" y="29"/>
                  </a:cubicBezTo>
                  <a:cubicBezTo>
                    <a:pt x="205" y="29"/>
                    <a:pt x="198" y="28"/>
                    <a:pt x="186" y="26"/>
                  </a:cubicBezTo>
                  <a:cubicBezTo>
                    <a:pt x="182" y="25"/>
                    <a:pt x="178" y="25"/>
                    <a:pt x="174" y="2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3127375" y="4656138"/>
              <a:ext cx="520700" cy="93663"/>
            </a:xfrm>
            <a:custGeom>
              <a:avLst/>
              <a:gdLst>
                <a:gd name="T0" fmla="*/ 277 w 328"/>
                <a:gd name="T1" fmla="*/ 19 h 59"/>
                <a:gd name="T2" fmla="*/ 240 w 328"/>
                <a:gd name="T3" fmla="*/ 16 h 59"/>
                <a:gd name="T4" fmla="*/ 205 w 328"/>
                <a:gd name="T5" fmla="*/ 14 h 59"/>
                <a:gd name="T6" fmla="*/ 170 w 328"/>
                <a:gd name="T7" fmla="*/ 11 h 59"/>
                <a:gd name="T8" fmla="*/ 135 w 328"/>
                <a:gd name="T9" fmla="*/ 9 h 59"/>
                <a:gd name="T10" fmla="*/ 98 w 328"/>
                <a:gd name="T11" fmla="*/ 6 h 59"/>
                <a:gd name="T12" fmla="*/ 63 w 328"/>
                <a:gd name="T13" fmla="*/ 5 h 59"/>
                <a:gd name="T14" fmla="*/ 28 w 328"/>
                <a:gd name="T15" fmla="*/ 1 h 59"/>
                <a:gd name="T16" fmla="*/ 4 w 328"/>
                <a:gd name="T17" fmla="*/ 0 h 59"/>
                <a:gd name="T18" fmla="*/ 0 w 328"/>
                <a:gd name="T19" fmla="*/ 37 h 59"/>
                <a:gd name="T20" fmla="*/ 20 w 328"/>
                <a:gd name="T21" fmla="*/ 38 h 59"/>
                <a:gd name="T22" fmla="*/ 55 w 328"/>
                <a:gd name="T23" fmla="*/ 40 h 59"/>
                <a:gd name="T24" fmla="*/ 90 w 328"/>
                <a:gd name="T25" fmla="*/ 43 h 59"/>
                <a:gd name="T26" fmla="*/ 125 w 328"/>
                <a:gd name="T27" fmla="*/ 45 h 59"/>
                <a:gd name="T28" fmla="*/ 162 w 328"/>
                <a:gd name="T29" fmla="*/ 48 h 59"/>
                <a:gd name="T30" fmla="*/ 197 w 328"/>
                <a:gd name="T31" fmla="*/ 51 h 59"/>
                <a:gd name="T32" fmla="*/ 232 w 328"/>
                <a:gd name="T33" fmla="*/ 53 h 59"/>
                <a:gd name="T34" fmla="*/ 267 w 328"/>
                <a:gd name="T35" fmla="*/ 56 h 59"/>
                <a:gd name="T36" fmla="*/ 304 w 328"/>
                <a:gd name="T37" fmla="*/ 57 h 59"/>
                <a:gd name="T38" fmla="*/ 326 w 328"/>
                <a:gd name="T39" fmla="*/ 59 h 59"/>
                <a:gd name="T40" fmla="*/ 328 w 328"/>
                <a:gd name="T41" fmla="*/ 22 h 59"/>
                <a:gd name="T42" fmla="*/ 312 w 328"/>
                <a:gd name="T43" fmla="*/ 21 h 59"/>
                <a:gd name="T44" fmla="*/ 277 w 328"/>
                <a:gd name="T45" fmla="*/ 1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8" h="59">
                  <a:moveTo>
                    <a:pt x="277" y="19"/>
                  </a:moveTo>
                  <a:lnTo>
                    <a:pt x="240" y="16"/>
                  </a:lnTo>
                  <a:lnTo>
                    <a:pt x="205" y="14"/>
                  </a:lnTo>
                  <a:lnTo>
                    <a:pt x="170" y="11"/>
                  </a:lnTo>
                  <a:lnTo>
                    <a:pt x="135" y="9"/>
                  </a:lnTo>
                  <a:lnTo>
                    <a:pt x="98" y="6"/>
                  </a:lnTo>
                  <a:lnTo>
                    <a:pt x="63" y="5"/>
                  </a:lnTo>
                  <a:lnTo>
                    <a:pt x="28" y="1"/>
                  </a:lnTo>
                  <a:lnTo>
                    <a:pt x="4" y="0"/>
                  </a:lnTo>
                  <a:lnTo>
                    <a:pt x="0" y="37"/>
                  </a:lnTo>
                  <a:lnTo>
                    <a:pt x="20" y="38"/>
                  </a:lnTo>
                  <a:lnTo>
                    <a:pt x="55" y="40"/>
                  </a:lnTo>
                  <a:lnTo>
                    <a:pt x="90" y="43"/>
                  </a:lnTo>
                  <a:lnTo>
                    <a:pt x="125" y="45"/>
                  </a:lnTo>
                  <a:lnTo>
                    <a:pt x="162" y="48"/>
                  </a:lnTo>
                  <a:lnTo>
                    <a:pt x="197" y="51"/>
                  </a:lnTo>
                  <a:lnTo>
                    <a:pt x="232" y="53"/>
                  </a:lnTo>
                  <a:lnTo>
                    <a:pt x="267" y="56"/>
                  </a:lnTo>
                  <a:lnTo>
                    <a:pt x="304" y="57"/>
                  </a:lnTo>
                  <a:lnTo>
                    <a:pt x="326" y="59"/>
                  </a:lnTo>
                  <a:lnTo>
                    <a:pt x="328" y="22"/>
                  </a:lnTo>
                  <a:lnTo>
                    <a:pt x="312" y="21"/>
                  </a:lnTo>
                  <a:lnTo>
                    <a:pt x="27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2098675" y="4594225"/>
              <a:ext cx="519113" cy="82550"/>
            </a:xfrm>
            <a:custGeom>
              <a:avLst/>
              <a:gdLst>
                <a:gd name="T0" fmla="*/ 196 w 205"/>
                <a:gd name="T1" fmla="*/ 10 h 32"/>
                <a:gd name="T2" fmla="*/ 187 w 205"/>
                <a:gd name="T3" fmla="*/ 10 h 32"/>
                <a:gd name="T4" fmla="*/ 178 w 205"/>
                <a:gd name="T5" fmla="*/ 9 h 32"/>
                <a:gd name="T6" fmla="*/ 169 w 205"/>
                <a:gd name="T7" fmla="*/ 9 h 32"/>
                <a:gd name="T8" fmla="*/ 155 w 205"/>
                <a:gd name="T9" fmla="*/ 8 h 32"/>
                <a:gd name="T10" fmla="*/ 142 w 205"/>
                <a:gd name="T11" fmla="*/ 7 h 32"/>
                <a:gd name="T12" fmla="*/ 133 w 205"/>
                <a:gd name="T13" fmla="*/ 7 h 32"/>
                <a:gd name="T14" fmla="*/ 115 w 205"/>
                <a:gd name="T15" fmla="*/ 6 h 32"/>
                <a:gd name="T16" fmla="*/ 106 w 205"/>
                <a:gd name="T17" fmla="*/ 5 h 32"/>
                <a:gd name="T18" fmla="*/ 98 w 205"/>
                <a:gd name="T19" fmla="*/ 5 h 32"/>
                <a:gd name="T20" fmla="*/ 88 w 205"/>
                <a:gd name="T21" fmla="*/ 5 h 32"/>
                <a:gd name="T22" fmla="*/ 71 w 205"/>
                <a:gd name="T23" fmla="*/ 4 h 32"/>
                <a:gd name="T24" fmla="*/ 62 w 205"/>
                <a:gd name="T25" fmla="*/ 4 h 32"/>
                <a:gd name="T26" fmla="*/ 44 w 205"/>
                <a:gd name="T27" fmla="*/ 3 h 32"/>
                <a:gd name="T28" fmla="*/ 35 w 205"/>
                <a:gd name="T29" fmla="*/ 2 h 32"/>
                <a:gd name="T30" fmla="*/ 26 w 205"/>
                <a:gd name="T31" fmla="*/ 2 h 32"/>
                <a:gd name="T32" fmla="*/ 17 w 205"/>
                <a:gd name="T33" fmla="*/ 1 h 32"/>
                <a:gd name="T34" fmla="*/ 1 w 205"/>
                <a:gd name="T35" fmla="*/ 0 h 32"/>
                <a:gd name="T36" fmla="*/ 3 w 205"/>
                <a:gd name="T37" fmla="*/ 21 h 32"/>
                <a:gd name="T38" fmla="*/ 16 w 205"/>
                <a:gd name="T39" fmla="*/ 22 h 32"/>
                <a:gd name="T40" fmla="*/ 30 w 205"/>
                <a:gd name="T41" fmla="*/ 23 h 32"/>
                <a:gd name="T42" fmla="*/ 38 w 205"/>
                <a:gd name="T43" fmla="*/ 23 h 32"/>
                <a:gd name="T44" fmla="*/ 48 w 205"/>
                <a:gd name="T45" fmla="*/ 24 h 32"/>
                <a:gd name="T46" fmla="*/ 61 w 205"/>
                <a:gd name="T47" fmla="*/ 24 h 32"/>
                <a:gd name="T48" fmla="*/ 75 w 205"/>
                <a:gd name="T49" fmla="*/ 25 h 32"/>
                <a:gd name="T50" fmla="*/ 84 w 205"/>
                <a:gd name="T51" fmla="*/ 26 h 32"/>
                <a:gd name="T52" fmla="*/ 102 w 205"/>
                <a:gd name="T53" fmla="*/ 26 h 32"/>
                <a:gd name="T54" fmla="*/ 106 w 205"/>
                <a:gd name="T55" fmla="*/ 27 h 32"/>
                <a:gd name="T56" fmla="*/ 119 w 205"/>
                <a:gd name="T57" fmla="*/ 27 h 32"/>
                <a:gd name="T58" fmla="*/ 128 w 205"/>
                <a:gd name="T59" fmla="*/ 28 h 32"/>
                <a:gd name="T60" fmla="*/ 146 w 205"/>
                <a:gd name="T61" fmla="*/ 29 h 32"/>
                <a:gd name="T62" fmla="*/ 155 w 205"/>
                <a:gd name="T63" fmla="*/ 29 h 32"/>
                <a:gd name="T64" fmla="*/ 171 w 205"/>
                <a:gd name="T65" fmla="*/ 30 h 32"/>
                <a:gd name="T66" fmla="*/ 173 w 205"/>
                <a:gd name="T67" fmla="*/ 30 h 32"/>
                <a:gd name="T68" fmla="*/ 191 w 205"/>
                <a:gd name="T69" fmla="*/ 31 h 32"/>
                <a:gd name="T70" fmla="*/ 195 w 205"/>
                <a:gd name="T71" fmla="*/ 32 h 32"/>
                <a:gd name="T72" fmla="*/ 203 w 205"/>
                <a:gd name="T73" fmla="*/ 32 h 32"/>
                <a:gd name="T74" fmla="*/ 205 w 205"/>
                <a:gd name="T75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5" h="32">
                  <a:moveTo>
                    <a:pt x="200" y="11"/>
                  </a:moveTo>
                  <a:cubicBezTo>
                    <a:pt x="199" y="11"/>
                    <a:pt x="197" y="10"/>
                    <a:pt x="196" y="10"/>
                  </a:cubicBezTo>
                  <a:cubicBezTo>
                    <a:pt x="196" y="10"/>
                    <a:pt x="196" y="10"/>
                    <a:pt x="196" y="10"/>
                  </a:cubicBezTo>
                  <a:cubicBezTo>
                    <a:pt x="193" y="10"/>
                    <a:pt x="190" y="10"/>
                    <a:pt x="187" y="10"/>
                  </a:cubicBezTo>
                  <a:cubicBezTo>
                    <a:pt x="184" y="10"/>
                    <a:pt x="181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ubicBezTo>
                    <a:pt x="176" y="9"/>
                    <a:pt x="174" y="9"/>
                    <a:pt x="173" y="9"/>
                  </a:cubicBezTo>
                  <a:cubicBezTo>
                    <a:pt x="172" y="9"/>
                    <a:pt x="170" y="9"/>
                    <a:pt x="169" y="9"/>
                  </a:cubicBezTo>
                  <a:cubicBezTo>
                    <a:pt x="166" y="8"/>
                    <a:pt x="163" y="8"/>
                    <a:pt x="160" y="8"/>
                  </a:cubicBezTo>
                  <a:cubicBezTo>
                    <a:pt x="159" y="8"/>
                    <a:pt x="157" y="8"/>
                    <a:pt x="155" y="8"/>
                  </a:cubicBezTo>
                  <a:cubicBezTo>
                    <a:pt x="154" y="8"/>
                    <a:pt x="153" y="8"/>
                    <a:pt x="151" y="8"/>
                  </a:cubicBezTo>
                  <a:cubicBezTo>
                    <a:pt x="148" y="7"/>
                    <a:pt x="145" y="7"/>
                    <a:pt x="142" y="7"/>
                  </a:cubicBezTo>
                  <a:cubicBezTo>
                    <a:pt x="139" y="7"/>
                    <a:pt x="136" y="7"/>
                    <a:pt x="133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0" y="7"/>
                    <a:pt x="127" y="6"/>
                    <a:pt x="124" y="6"/>
                  </a:cubicBezTo>
                  <a:cubicBezTo>
                    <a:pt x="121" y="6"/>
                    <a:pt x="118" y="6"/>
                    <a:pt x="115" y="6"/>
                  </a:cubicBezTo>
                  <a:cubicBezTo>
                    <a:pt x="114" y="6"/>
                    <a:pt x="112" y="6"/>
                    <a:pt x="111" y="6"/>
                  </a:cubicBezTo>
                  <a:cubicBezTo>
                    <a:pt x="109" y="6"/>
                    <a:pt x="108" y="6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1" y="5"/>
                    <a:pt x="99" y="5"/>
                    <a:pt x="98" y="5"/>
                  </a:cubicBezTo>
                  <a:cubicBezTo>
                    <a:pt x="95" y="5"/>
                    <a:pt x="92" y="5"/>
                    <a:pt x="89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5" y="5"/>
                    <a:pt x="82" y="4"/>
                    <a:pt x="80" y="4"/>
                  </a:cubicBezTo>
                  <a:cubicBezTo>
                    <a:pt x="77" y="4"/>
                    <a:pt x="74" y="4"/>
                    <a:pt x="71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9" y="3"/>
                    <a:pt x="56" y="3"/>
                    <a:pt x="53" y="3"/>
                  </a:cubicBezTo>
                  <a:cubicBezTo>
                    <a:pt x="50" y="3"/>
                    <a:pt x="47" y="3"/>
                    <a:pt x="44" y="3"/>
                  </a:cubicBezTo>
                  <a:cubicBezTo>
                    <a:pt x="44" y="3"/>
                    <a:pt x="43" y="3"/>
                    <a:pt x="43" y="3"/>
                  </a:cubicBezTo>
                  <a:cubicBezTo>
                    <a:pt x="40" y="3"/>
                    <a:pt x="38" y="2"/>
                    <a:pt x="35" y="2"/>
                  </a:cubicBezTo>
                  <a:cubicBezTo>
                    <a:pt x="34" y="2"/>
                    <a:pt x="33" y="2"/>
                    <a:pt x="33" y="2"/>
                  </a:cubicBezTo>
                  <a:cubicBezTo>
                    <a:pt x="30" y="2"/>
                    <a:pt x="28" y="2"/>
                    <a:pt x="26" y="2"/>
                  </a:cubicBezTo>
                  <a:cubicBezTo>
                    <a:pt x="24" y="2"/>
                    <a:pt x="23" y="2"/>
                    <a:pt x="21" y="2"/>
                  </a:cubicBezTo>
                  <a:cubicBezTo>
                    <a:pt x="20" y="1"/>
                    <a:pt x="18" y="1"/>
                    <a:pt x="17" y="1"/>
                  </a:cubicBezTo>
                  <a:cubicBezTo>
                    <a:pt x="14" y="1"/>
                    <a:pt x="11" y="1"/>
                    <a:pt x="8" y="1"/>
                  </a:cubicBezTo>
                  <a:cubicBezTo>
                    <a:pt x="4" y="1"/>
                    <a:pt x="1" y="0"/>
                    <a:pt x="1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1" y="21"/>
                    <a:pt x="3" y="21"/>
                  </a:cubicBezTo>
                  <a:cubicBezTo>
                    <a:pt x="6" y="21"/>
                    <a:pt x="9" y="22"/>
                    <a:pt x="12" y="22"/>
                  </a:cubicBezTo>
                  <a:cubicBezTo>
                    <a:pt x="13" y="22"/>
                    <a:pt x="15" y="22"/>
                    <a:pt x="16" y="22"/>
                  </a:cubicBezTo>
                  <a:cubicBezTo>
                    <a:pt x="18" y="22"/>
                    <a:pt x="19" y="22"/>
                    <a:pt x="21" y="22"/>
                  </a:cubicBezTo>
                  <a:cubicBezTo>
                    <a:pt x="24" y="22"/>
                    <a:pt x="27" y="23"/>
                    <a:pt x="30" y="23"/>
                  </a:cubicBezTo>
                  <a:cubicBezTo>
                    <a:pt x="31" y="23"/>
                    <a:pt x="31" y="23"/>
                    <a:pt x="32" y="23"/>
                  </a:cubicBezTo>
                  <a:cubicBezTo>
                    <a:pt x="34" y="23"/>
                    <a:pt x="36" y="23"/>
                    <a:pt x="38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2" y="23"/>
                    <a:pt x="45" y="24"/>
                    <a:pt x="48" y="24"/>
                  </a:cubicBezTo>
                  <a:cubicBezTo>
                    <a:pt x="51" y="24"/>
                    <a:pt x="54" y="24"/>
                    <a:pt x="57" y="24"/>
                  </a:cubicBezTo>
                  <a:cubicBezTo>
                    <a:pt x="58" y="24"/>
                    <a:pt x="60" y="24"/>
                    <a:pt x="61" y="24"/>
                  </a:cubicBezTo>
                  <a:cubicBezTo>
                    <a:pt x="62" y="25"/>
                    <a:pt x="64" y="25"/>
                    <a:pt x="66" y="25"/>
                  </a:cubicBezTo>
                  <a:cubicBezTo>
                    <a:pt x="69" y="25"/>
                    <a:pt x="72" y="25"/>
                    <a:pt x="75" y="25"/>
                  </a:cubicBezTo>
                  <a:cubicBezTo>
                    <a:pt x="78" y="25"/>
                    <a:pt x="80" y="25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7" y="26"/>
                    <a:pt x="90" y="26"/>
                    <a:pt x="93" y="26"/>
                  </a:cubicBezTo>
                  <a:cubicBezTo>
                    <a:pt x="96" y="26"/>
                    <a:pt x="99" y="26"/>
                    <a:pt x="102" y="26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3" y="26"/>
                    <a:pt x="104" y="26"/>
                    <a:pt x="106" y="27"/>
                  </a:cubicBezTo>
                  <a:cubicBezTo>
                    <a:pt x="107" y="27"/>
                    <a:pt x="109" y="27"/>
                    <a:pt x="111" y="27"/>
                  </a:cubicBezTo>
                  <a:cubicBezTo>
                    <a:pt x="113" y="27"/>
                    <a:pt x="116" y="27"/>
                    <a:pt x="119" y="27"/>
                  </a:cubicBezTo>
                  <a:cubicBezTo>
                    <a:pt x="122" y="27"/>
                    <a:pt x="125" y="27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31" y="28"/>
                    <a:pt x="134" y="28"/>
                    <a:pt x="137" y="28"/>
                  </a:cubicBezTo>
                  <a:cubicBezTo>
                    <a:pt x="140" y="28"/>
                    <a:pt x="143" y="28"/>
                    <a:pt x="146" y="29"/>
                  </a:cubicBezTo>
                  <a:cubicBezTo>
                    <a:pt x="148" y="29"/>
                    <a:pt x="149" y="29"/>
                    <a:pt x="150" y="29"/>
                  </a:cubicBezTo>
                  <a:cubicBezTo>
                    <a:pt x="152" y="29"/>
                    <a:pt x="154" y="29"/>
                    <a:pt x="155" y="29"/>
                  </a:cubicBezTo>
                  <a:cubicBezTo>
                    <a:pt x="158" y="29"/>
                    <a:pt x="161" y="29"/>
                    <a:pt x="164" y="30"/>
                  </a:cubicBezTo>
                  <a:cubicBezTo>
                    <a:pt x="167" y="30"/>
                    <a:pt x="169" y="30"/>
                    <a:pt x="171" y="30"/>
                  </a:cubicBezTo>
                  <a:cubicBezTo>
                    <a:pt x="172" y="30"/>
                    <a:pt x="172" y="30"/>
                    <a:pt x="173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30"/>
                    <a:pt x="179" y="31"/>
                    <a:pt x="182" y="31"/>
                  </a:cubicBezTo>
                  <a:cubicBezTo>
                    <a:pt x="185" y="31"/>
                    <a:pt x="188" y="31"/>
                    <a:pt x="191" y="31"/>
                  </a:cubicBezTo>
                  <a:cubicBezTo>
                    <a:pt x="192" y="32"/>
                    <a:pt x="193" y="32"/>
                    <a:pt x="194" y="32"/>
                  </a:cubicBezTo>
                  <a:cubicBezTo>
                    <a:pt x="194" y="32"/>
                    <a:pt x="195" y="32"/>
                    <a:pt x="195" y="32"/>
                  </a:cubicBezTo>
                  <a:cubicBezTo>
                    <a:pt x="197" y="32"/>
                    <a:pt x="198" y="32"/>
                    <a:pt x="200" y="32"/>
                  </a:cubicBezTo>
                  <a:cubicBezTo>
                    <a:pt x="202" y="32"/>
                    <a:pt x="203" y="32"/>
                    <a:pt x="203" y="32"/>
                  </a:cubicBezTo>
                  <a:cubicBezTo>
                    <a:pt x="205" y="11"/>
                    <a:pt x="205" y="11"/>
                    <a:pt x="205" y="11"/>
                  </a:cubicBezTo>
                  <a:cubicBezTo>
                    <a:pt x="205" y="11"/>
                    <a:pt x="205" y="11"/>
                    <a:pt x="205" y="11"/>
                  </a:cubicBezTo>
                  <a:cubicBezTo>
                    <a:pt x="205" y="11"/>
                    <a:pt x="203" y="11"/>
                    <a:pt x="200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84138" y="1643063"/>
              <a:ext cx="165100" cy="34925"/>
            </a:xfrm>
            <a:custGeom>
              <a:avLst/>
              <a:gdLst>
                <a:gd name="T0" fmla="*/ 65 w 65"/>
                <a:gd name="T1" fmla="*/ 2 h 14"/>
                <a:gd name="T2" fmla="*/ 56 w 65"/>
                <a:gd name="T3" fmla="*/ 2 h 14"/>
                <a:gd name="T4" fmla="*/ 48 w 65"/>
                <a:gd name="T5" fmla="*/ 2 h 14"/>
                <a:gd name="T6" fmla="*/ 47 w 65"/>
                <a:gd name="T7" fmla="*/ 1 h 14"/>
                <a:gd name="T8" fmla="*/ 38 w 65"/>
                <a:gd name="T9" fmla="*/ 1 h 14"/>
                <a:gd name="T10" fmla="*/ 29 w 65"/>
                <a:gd name="T11" fmla="*/ 1 h 14"/>
                <a:gd name="T12" fmla="*/ 26 w 65"/>
                <a:gd name="T13" fmla="*/ 1 h 14"/>
                <a:gd name="T14" fmla="*/ 20 w 65"/>
                <a:gd name="T15" fmla="*/ 1 h 14"/>
                <a:gd name="T16" fmla="*/ 11 w 65"/>
                <a:gd name="T17" fmla="*/ 1 h 14"/>
                <a:gd name="T18" fmla="*/ 3 w 65"/>
                <a:gd name="T19" fmla="*/ 1 h 14"/>
                <a:gd name="T20" fmla="*/ 2 w 65"/>
                <a:gd name="T21" fmla="*/ 0 h 14"/>
                <a:gd name="T22" fmla="*/ 0 w 65"/>
                <a:gd name="T23" fmla="*/ 0 h 14"/>
                <a:gd name="T24" fmla="*/ 1 w 65"/>
                <a:gd name="T25" fmla="*/ 4 h 14"/>
                <a:gd name="T26" fmla="*/ 1 w 65"/>
                <a:gd name="T27" fmla="*/ 9 h 14"/>
                <a:gd name="T28" fmla="*/ 2 w 65"/>
                <a:gd name="T29" fmla="*/ 12 h 14"/>
                <a:gd name="T30" fmla="*/ 8 w 65"/>
                <a:gd name="T31" fmla="*/ 12 h 14"/>
                <a:gd name="T32" fmla="*/ 17 w 65"/>
                <a:gd name="T33" fmla="*/ 13 h 14"/>
                <a:gd name="T34" fmla="*/ 23 w 65"/>
                <a:gd name="T35" fmla="*/ 13 h 14"/>
                <a:gd name="T36" fmla="*/ 26 w 65"/>
                <a:gd name="T37" fmla="*/ 13 h 14"/>
                <a:gd name="T38" fmla="*/ 35 w 65"/>
                <a:gd name="T39" fmla="*/ 13 h 14"/>
                <a:gd name="T40" fmla="*/ 44 w 65"/>
                <a:gd name="T41" fmla="*/ 13 h 14"/>
                <a:gd name="T42" fmla="*/ 46 w 65"/>
                <a:gd name="T43" fmla="*/ 13 h 14"/>
                <a:gd name="T44" fmla="*/ 53 w 65"/>
                <a:gd name="T45" fmla="*/ 13 h 14"/>
                <a:gd name="T46" fmla="*/ 62 w 65"/>
                <a:gd name="T47" fmla="*/ 14 h 14"/>
                <a:gd name="T48" fmla="*/ 65 w 65"/>
                <a:gd name="T49" fmla="*/ 14 h 14"/>
                <a:gd name="T50" fmla="*/ 65 w 65"/>
                <a:gd name="T51" fmla="*/ 2 h 14"/>
                <a:gd name="T52" fmla="*/ 65 w 65"/>
                <a:gd name="T5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14">
                  <a:moveTo>
                    <a:pt x="65" y="2"/>
                  </a:moveTo>
                  <a:cubicBezTo>
                    <a:pt x="62" y="2"/>
                    <a:pt x="59" y="2"/>
                    <a:pt x="56" y="2"/>
                  </a:cubicBezTo>
                  <a:cubicBezTo>
                    <a:pt x="53" y="2"/>
                    <a:pt x="51" y="2"/>
                    <a:pt x="48" y="2"/>
                  </a:cubicBezTo>
                  <a:cubicBezTo>
                    <a:pt x="48" y="1"/>
                    <a:pt x="47" y="1"/>
                    <a:pt x="47" y="1"/>
                  </a:cubicBezTo>
                  <a:cubicBezTo>
                    <a:pt x="44" y="1"/>
                    <a:pt x="41" y="1"/>
                    <a:pt x="38" y="1"/>
                  </a:cubicBezTo>
                  <a:cubicBezTo>
                    <a:pt x="35" y="1"/>
                    <a:pt x="32" y="1"/>
                    <a:pt x="29" y="1"/>
                  </a:cubicBezTo>
                  <a:cubicBezTo>
                    <a:pt x="28" y="1"/>
                    <a:pt x="27" y="1"/>
                    <a:pt x="26" y="1"/>
                  </a:cubicBezTo>
                  <a:cubicBezTo>
                    <a:pt x="24" y="1"/>
                    <a:pt x="22" y="1"/>
                    <a:pt x="20" y="1"/>
                  </a:cubicBezTo>
                  <a:cubicBezTo>
                    <a:pt x="17" y="1"/>
                    <a:pt x="14" y="1"/>
                    <a:pt x="11" y="1"/>
                  </a:cubicBezTo>
                  <a:cubicBezTo>
                    <a:pt x="8" y="1"/>
                    <a:pt x="6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6"/>
                    <a:pt x="1" y="7"/>
                    <a:pt x="1" y="9"/>
                  </a:cubicBezTo>
                  <a:cubicBezTo>
                    <a:pt x="1" y="10"/>
                    <a:pt x="1" y="11"/>
                    <a:pt x="2" y="12"/>
                  </a:cubicBezTo>
                  <a:cubicBezTo>
                    <a:pt x="4" y="12"/>
                    <a:pt x="6" y="12"/>
                    <a:pt x="8" y="12"/>
                  </a:cubicBezTo>
                  <a:cubicBezTo>
                    <a:pt x="11" y="12"/>
                    <a:pt x="14" y="12"/>
                    <a:pt x="17" y="13"/>
                  </a:cubicBezTo>
                  <a:cubicBezTo>
                    <a:pt x="19" y="13"/>
                    <a:pt x="21" y="13"/>
                    <a:pt x="23" y="13"/>
                  </a:cubicBezTo>
                  <a:cubicBezTo>
                    <a:pt x="24" y="13"/>
                    <a:pt x="25" y="13"/>
                    <a:pt x="26" y="13"/>
                  </a:cubicBezTo>
                  <a:cubicBezTo>
                    <a:pt x="29" y="13"/>
                    <a:pt x="32" y="13"/>
                    <a:pt x="35" y="13"/>
                  </a:cubicBezTo>
                  <a:cubicBezTo>
                    <a:pt x="38" y="13"/>
                    <a:pt x="41" y="13"/>
                    <a:pt x="44" y="13"/>
                  </a:cubicBezTo>
                  <a:cubicBezTo>
                    <a:pt x="44" y="13"/>
                    <a:pt x="45" y="13"/>
                    <a:pt x="46" y="13"/>
                  </a:cubicBezTo>
                  <a:cubicBezTo>
                    <a:pt x="48" y="13"/>
                    <a:pt x="50" y="13"/>
                    <a:pt x="53" y="13"/>
                  </a:cubicBezTo>
                  <a:cubicBezTo>
                    <a:pt x="56" y="14"/>
                    <a:pt x="59" y="14"/>
                    <a:pt x="62" y="14"/>
                  </a:cubicBezTo>
                  <a:cubicBezTo>
                    <a:pt x="63" y="14"/>
                    <a:pt x="64" y="14"/>
                    <a:pt x="65" y="14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3673475" y="2201863"/>
              <a:ext cx="109538" cy="204788"/>
            </a:xfrm>
            <a:custGeom>
              <a:avLst/>
              <a:gdLst>
                <a:gd name="T0" fmla="*/ 43 w 43"/>
                <a:gd name="T1" fmla="*/ 81 h 81"/>
                <a:gd name="T2" fmla="*/ 24 w 43"/>
                <a:gd name="T3" fmla="*/ 31 h 81"/>
                <a:gd name="T4" fmla="*/ 0 w 43"/>
                <a:gd name="T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81">
                  <a:moveTo>
                    <a:pt x="43" y="81"/>
                  </a:moveTo>
                  <a:cubicBezTo>
                    <a:pt x="39" y="63"/>
                    <a:pt x="32" y="47"/>
                    <a:pt x="24" y="31"/>
                  </a:cubicBezTo>
                  <a:cubicBezTo>
                    <a:pt x="18" y="20"/>
                    <a:pt x="8" y="1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382523" y="841095"/>
            <a:ext cx="1487650" cy="2127133"/>
            <a:chOff x="6285507" y="4056652"/>
            <a:chExt cx="1361612" cy="1952296"/>
          </a:xfrm>
        </p:grpSpPr>
        <p:grpSp>
          <p:nvGrpSpPr>
            <p:cNvPr id="65" name="Group 64"/>
            <p:cNvGrpSpPr/>
            <p:nvPr/>
          </p:nvGrpSpPr>
          <p:grpSpPr>
            <a:xfrm>
              <a:off x="6285507" y="4056652"/>
              <a:ext cx="1361612" cy="1952296"/>
              <a:chOff x="5808789" y="2272281"/>
              <a:chExt cx="1993536" cy="2858355"/>
            </a:xfrm>
          </p:grpSpPr>
          <p:sp>
            <p:nvSpPr>
              <p:cNvPr id="70" name="Rectangle 69"/>
              <p:cNvSpPr/>
              <p:nvPr/>
            </p:nvSpPr>
            <p:spPr>
              <a:xfrm>
                <a:off x="6718887" y="4188899"/>
                <a:ext cx="191914" cy="941737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sv-SE" b="1" ker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1" name="Group 70"/>
              <p:cNvGrpSpPr/>
              <p:nvPr/>
            </p:nvGrpSpPr>
            <p:grpSpPr>
              <a:xfrm>
                <a:off x="5808789" y="2272281"/>
                <a:ext cx="1993536" cy="1989348"/>
                <a:chOff x="8140701" y="1890712"/>
                <a:chExt cx="1511300" cy="1508125"/>
              </a:xfrm>
            </p:grpSpPr>
            <p:sp>
              <p:nvSpPr>
                <p:cNvPr id="72" name="Freeform 25"/>
                <p:cNvSpPr>
                  <a:spLocks/>
                </p:cNvSpPr>
                <p:nvPr/>
              </p:nvSpPr>
              <p:spPr bwMode="auto">
                <a:xfrm>
                  <a:off x="8140701" y="1890712"/>
                  <a:ext cx="1511300" cy="1508125"/>
                </a:xfrm>
                <a:custGeom>
                  <a:avLst/>
                  <a:gdLst>
                    <a:gd name="T0" fmla="*/ 385 w 402"/>
                    <a:gd name="T1" fmla="*/ 171 h 401"/>
                    <a:gd name="T2" fmla="*/ 385 w 402"/>
                    <a:gd name="T3" fmla="*/ 231 h 401"/>
                    <a:gd name="T4" fmla="*/ 231 w 402"/>
                    <a:gd name="T5" fmla="*/ 385 h 401"/>
                    <a:gd name="T6" fmla="*/ 171 w 402"/>
                    <a:gd name="T7" fmla="*/ 385 h 401"/>
                    <a:gd name="T8" fmla="*/ 17 w 402"/>
                    <a:gd name="T9" fmla="*/ 231 h 401"/>
                    <a:gd name="T10" fmla="*/ 17 w 402"/>
                    <a:gd name="T11" fmla="*/ 171 h 401"/>
                    <a:gd name="T12" fmla="*/ 171 w 402"/>
                    <a:gd name="T13" fmla="*/ 17 h 401"/>
                    <a:gd name="T14" fmla="*/ 231 w 402"/>
                    <a:gd name="T15" fmla="*/ 17 h 401"/>
                    <a:gd name="T16" fmla="*/ 385 w 402"/>
                    <a:gd name="T17" fmla="*/ 171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401">
                      <a:moveTo>
                        <a:pt x="385" y="171"/>
                      </a:moveTo>
                      <a:cubicBezTo>
                        <a:pt x="402" y="187"/>
                        <a:pt x="402" y="214"/>
                        <a:pt x="385" y="231"/>
                      </a:cubicBezTo>
                      <a:cubicBezTo>
                        <a:pt x="231" y="385"/>
                        <a:pt x="231" y="385"/>
                        <a:pt x="231" y="385"/>
                      </a:cubicBezTo>
                      <a:cubicBezTo>
                        <a:pt x="214" y="401"/>
                        <a:pt x="187" y="401"/>
                        <a:pt x="171" y="385"/>
                      </a:cubicBezTo>
                      <a:cubicBezTo>
                        <a:pt x="17" y="231"/>
                        <a:pt x="17" y="231"/>
                        <a:pt x="17" y="231"/>
                      </a:cubicBezTo>
                      <a:cubicBezTo>
                        <a:pt x="0" y="214"/>
                        <a:pt x="0" y="187"/>
                        <a:pt x="17" y="171"/>
                      </a:cubicBezTo>
                      <a:cubicBezTo>
                        <a:pt x="171" y="17"/>
                        <a:pt x="171" y="17"/>
                        <a:pt x="171" y="17"/>
                      </a:cubicBezTo>
                      <a:cubicBezTo>
                        <a:pt x="187" y="0"/>
                        <a:pt x="214" y="0"/>
                        <a:pt x="231" y="17"/>
                      </a:cubicBezTo>
                      <a:lnTo>
                        <a:pt x="385" y="171"/>
                      </a:lnTo>
                      <a:close/>
                    </a:path>
                  </a:pathLst>
                </a:custGeom>
                <a:solidFill>
                  <a:srgbClr val="F1C96C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4" name="Freeform 26"/>
                <p:cNvSpPr>
                  <a:spLocks noEditPoints="1"/>
                </p:cNvSpPr>
                <p:nvPr/>
              </p:nvSpPr>
              <p:spPr bwMode="auto">
                <a:xfrm>
                  <a:off x="8283576" y="2033588"/>
                  <a:ext cx="1225550" cy="1227138"/>
                </a:xfrm>
                <a:custGeom>
                  <a:avLst/>
                  <a:gdLst>
                    <a:gd name="T0" fmla="*/ 323 w 326"/>
                    <a:gd name="T1" fmla="*/ 157 h 326"/>
                    <a:gd name="T2" fmla="*/ 169 w 326"/>
                    <a:gd name="T3" fmla="*/ 2 h 326"/>
                    <a:gd name="T4" fmla="*/ 163 w 326"/>
                    <a:gd name="T5" fmla="*/ 0 h 326"/>
                    <a:gd name="T6" fmla="*/ 157 w 326"/>
                    <a:gd name="T7" fmla="*/ 2 h 326"/>
                    <a:gd name="T8" fmla="*/ 3 w 326"/>
                    <a:gd name="T9" fmla="*/ 157 h 326"/>
                    <a:gd name="T10" fmla="*/ 0 w 326"/>
                    <a:gd name="T11" fmla="*/ 163 h 326"/>
                    <a:gd name="T12" fmla="*/ 3 w 326"/>
                    <a:gd name="T13" fmla="*/ 169 h 326"/>
                    <a:gd name="T14" fmla="*/ 157 w 326"/>
                    <a:gd name="T15" fmla="*/ 323 h 326"/>
                    <a:gd name="T16" fmla="*/ 163 w 326"/>
                    <a:gd name="T17" fmla="*/ 326 h 326"/>
                    <a:gd name="T18" fmla="*/ 169 w 326"/>
                    <a:gd name="T19" fmla="*/ 323 h 326"/>
                    <a:gd name="T20" fmla="*/ 323 w 326"/>
                    <a:gd name="T21" fmla="*/ 169 h 326"/>
                    <a:gd name="T22" fmla="*/ 326 w 326"/>
                    <a:gd name="T23" fmla="*/ 163 h 326"/>
                    <a:gd name="T24" fmla="*/ 323 w 326"/>
                    <a:gd name="T25" fmla="*/ 157 h 326"/>
                    <a:gd name="T26" fmla="*/ 306 w 326"/>
                    <a:gd name="T27" fmla="*/ 168 h 326"/>
                    <a:gd name="T28" fmla="*/ 168 w 326"/>
                    <a:gd name="T29" fmla="*/ 306 h 326"/>
                    <a:gd name="T30" fmla="*/ 163 w 326"/>
                    <a:gd name="T31" fmla="*/ 308 h 326"/>
                    <a:gd name="T32" fmla="*/ 157 w 326"/>
                    <a:gd name="T33" fmla="*/ 306 h 326"/>
                    <a:gd name="T34" fmla="*/ 20 w 326"/>
                    <a:gd name="T35" fmla="*/ 168 h 326"/>
                    <a:gd name="T36" fmla="*/ 17 w 326"/>
                    <a:gd name="T37" fmla="*/ 163 h 326"/>
                    <a:gd name="T38" fmla="*/ 20 w 326"/>
                    <a:gd name="T39" fmla="*/ 157 h 326"/>
                    <a:gd name="T40" fmla="*/ 157 w 326"/>
                    <a:gd name="T41" fmla="*/ 19 h 326"/>
                    <a:gd name="T42" fmla="*/ 163 w 326"/>
                    <a:gd name="T43" fmla="*/ 17 h 326"/>
                    <a:gd name="T44" fmla="*/ 168 w 326"/>
                    <a:gd name="T45" fmla="*/ 19 h 326"/>
                    <a:gd name="T46" fmla="*/ 306 w 326"/>
                    <a:gd name="T47" fmla="*/ 157 h 326"/>
                    <a:gd name="T48" fmla="*/ 309 w 326"/>
                    <a:gd name="T49" fmla="*/ 163 h 326"/>
                    <a:gd name="T50" fmla="*/ 306 w 326"/>
                    <a:gd name="T51" fmla="*/ 16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26" h="326">
                      <a:moveTo>
                        <a:pt x="323" y="157"/>
                      </a:moveTo>
                      <a:cubicBezTo>
                        <a:pt x="169" y="2"/>
                        <a:pt x="169" y="2"/>
                        <a:pt x="169" y="2"/>
                      </a:cubicBezTo>
                      <a:cubicBezTo>
                        <a:pt x="167" y="0"/>
                        <a:pt x="164" y="0"/>
                        <a:pt x="163" y="0"/>
                      </a:cubicBezTo>
                      <a:cubicBezTo>
                        <a:pt x="162" y="0"/>
                        <a:pt x="159" y="0"/>
                        <a:pt x="157" y="2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1" y="158"/>
                        <a:pt x="0" y="160"/>
                        <a:pt x="0" y="163"/>
                      </a:cubicBezTo>
                      <a:cubicBezTo>
                        <a:pt x="0" y="165"/>
                        <a:pt x="1" y="167"/>
                        <a:pt x="3" y="169"/>
                      </a:cubicBezTo>
                      <a:cubicBezTo>
                        <a:pt x="157" y="323"/>
                        <a:pt x="157" y="323"/>
                        <a:pt x="157" y="323"/>
                      </a:cubicBezTo>
                      <a:cubicBezTo>
                        <a:pt x="159" y="325"/>
                        <a:pt x="162" y="326"/>
                        <a:pt x="163" y="326"/>
                      </a:cubicBezTo>
                      <a:cubicBezTo>
                        <a:pt x="164" y="326"/>
                        <a:pt x="167" y="325"/>
                        <a:pt x="169" y="323"/>
                      </a:cubicBezTo>
                      <a:cubicBezTo>
                        <a:pt x="323" y="169"/>
                        <a:pt x="323" y="169"/>
                        <a:pt x="323" y="169"/>
                      </a:cubicBezTo>
                      <a:cubicBezTo>
                        <a:pt x="325" y="167"/>
                        <a:pt x="326" y="164"/>
                        <a:pt x="326" y="163"/>
                      </a:cubicBezTo>
                      <a:cubicBezTo>
                        <a:pt x="326" y="161"/>
                        <a:pt x="325" y="159"/>
                        <a:pt x="323" y="157"/>
                      </a:cubicBezTo>
                      <a:close/>
                      <a:moveTo>
                        <a:pt x="306" y="168"/>
                      </a:moveTo>
                      <a:cubicBezTo>
                        <a:pt x="168" y="306"/>
                        <a:pt x="168" y="306"/>
                        <a:pt x="168" y="306"/>
                      </a:cubicBezTo>
                      <a:cubicBezTo>
                        <a:pt x="167" y="308"/>
                        <a:pt x="164" y="308"/>
                        <a:pt x="163" y="308"/>
                      </a:cubicBezTo>
                      <a:cubicBezTo>
                        <a:pt x="162" y="308"/>
                        <a:pt x="159" y="308"/>
                        <a:pt x="157" y="306"/>
                      </a:cubicBezTo>
                      <a:cubicBezTo>
                        <a:pt x="20" y="168"/>
                        <a:pt x="20" y="168"/>
                        <a:pt x="20" y="168"/>
                      </a:cubicBezTo>
                      <a:cubicBezTo>
                        <a:pt x="18" y="167"/>
                        <a:pt x="17" y="165"/>
                        <a:pt x="17" y="163"/>
                      </a:cubicBezTo>
                      <a:cubicBezTo>
                        <a:pt x="17" y="161"/>
                        <a:pt x="18" y="159"/>
                        <a:pt x="20" y="157"/>
                      </a:cubicBezTo>
                      <a:cubicBezTo>
                        <a:pt x="157" y="19"/>
                        <a:pt x="157" y="19"/>
                        <a:pt x="157" y="19"/>
                      </a:cubicBezTo>
                      <a:cubicBezTo>
                        <a:pt x="159" y="17"/>
                        <a:pt x="162" y="17"/>
                        <a:pt x="163" y="17"/>
                      </a:cubicBezTo>
                      <a:cubicBezTo>
                        <a:pt x="164" y="17"/>
                        <a:pt x="167" y="17"/>
                        <a:pt x="168" y="19"/>
                      </a:cubicBezTo>
                      <a:cubicBezTo>
                        <a:pt x="306" y="157"/>
                        <a:pt x="306" y="157"/>
                        <a:pt x="306" y="157"/>
                      </a:cubicBezTo>
                      <a:cubicBezTo>
                        <a:pt x="308" y="159"/>
                        <a:pt x="309" y="161"/>
                        <a:pt x="309" y="163"/>
                      </a:cubicBezTo>
                      <a:cubicBezTo>
                        <a:pt x="309" y="164"/>
                        <a:pt x="308" y="166"/>
                        <a:pt x="306" y="16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6" name="TextBox 65"/>
            <p:cNvSpPr txBox="1"/>
            <p:nvPr/>
          </p:nvSpPr>
          <p:spPr>
            <a:xfrm>
              <a:off x="6371735" y="4642875"/>
              <a:ext cx="1189156" cy="2542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sv-SE" sz="1200" b="1" kern="0">
                  <a:cs typeface="Arial" panose="020B0604020202020204" pitchFamily="34" charset="0"/>
                </a:rPr>
                <a:t>Utrullning</a:t>
              </a:r>
              <a:endParaRPr lang="sv-SE" sz="1200" b="1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7397339" y="3484142"/>
            <a:ext cx="1812305" cy="2598508"/>
            <a:chOff x="6285507" y="4056652"/>
            <a:chExt cx="1361612" cy="1952296"/>
          </a:xfrm>
        </p:grpSpPr>
        <p:grpSp>
          <p:nvGrpSpPr>
            <p:cNvPr id="76" name="Group 75"/>
            <p:cNvGrpSpPr/>
            <p:nvPr/>
          </p:nvGrpSpPr>
          <p:grpSpPr>
            <a:xfrm>
              <a:off x="6285507" y="4056652"/>
              <a:ext cx="1361612" cy="1952296"/>
              <a:chOff x="5808789" y="2272281"/>
              <a:chExt cx="1993536" cy="2858355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6718887" y="4188899"/>
                <a:ext cx="191914" cy="941737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sv-SE" b="1" ker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79" name="Group 78"/>
              <p:cNvGrpSpPr/>
              <p:nvPr/>
            </p:nvGrpSpPr>
            <p:grpSpPr>
              <a:xfrm>
                <a:off x="5808789" y="2272281"/>
                <a:ext cx="1993536" cy="1989348"/>
                <a:chOff x="8140701" y="1890712"/>
                <a:chExt cx="1511300" cy="1508125"/>
              </a:xfrm>
            </p:grpSpPr>
            <p:sp>
              <p:nvSpPr>
                <p:cNvPr id="80" name="Freeform 25"/>
                <p:cNvSpPr>
                  <a:spLocks/>
                </p:cNvSpPr>
                <p:nvPr/>
              </p:nvSpPr>
              <p:spPr bwMode="auto">
                <a:xfrm>
                  <a:off x="8140701" y="1890712"/>
                  <a:ext cx="1511300" cy="1508125"/>
                </a:xfrm>
                <a:custGeom>
                  <a:avLst/>
                  <a:gdLst>
                    <a:gd name="T0" fmla="*/ 385 w 402"/>
                    <a:gd name="T1" fmla="*/ 171 h 401"/>
                    <a:gd name="T2" fmla="*/ 385 w 402"/>
                    <a:gd name="T3" fmla="*/ 231 h 401"/>
                    <a:gd name="T4" fmla="*/ 231 w 402"/>
                    <a:gd name="T5" fmla="*/ 385 h 401"/>
                    <a:gd name="T6" fmla="*/ 171 w 402"/>
                    <a:gd name="T7" fmla="*/ 385 h 401"/>
                    <a:gd name="T8" fmla="*/ 17 w 402"/>
                    <a:gd name="T9" fmla="*/ 231 h 401"/>
                    <a:gd name="T10" fmla="*/ 17 w 402"/>
                    <a:gd name="T11" fmla="*/ 171 h 401"/>
                    <a:gd name="T12" fmla="*/ 171 w 402"/>
                    <a:gd name="T13" fmla="*/ 17 h 401"/>
                    <a:gd name="T14" fmla="*/ 231 w 402"/>
                    <a:gd name="T15" fmla="*/ 17 h 401"/>
                    <a:gd name="T16" fmla="*/ 385 w 402"/>
                    <a:gd name="T17" fmla="*/ 171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401">
                      <a:moveTo>
                        <a:pt x="385" y="171"/>
                      </a:moveTo>
                      <a:cubicBezTo>
                        <a:pt x="402" y="187"/>
                        <a:pt x="402" y="214"/>
                        <a:pt x="385" y="231"/>
                      </a:cubicBezTo>
                      <a:cubicBezTo>
                        <a:pt x="231" y="385"/>
                        <a:pt x="231" y="385"/>
                        <a:pt x="231" y="385"/>
                      </a:cubicBezTo>
                      <a:cubicBezTo>
                        <a:pt x="214" y="401"/>
                        <a:pt x="187" y="401"/>
                        <a:pt x="171" y="385"/>
                      </a:cubicBezTo>
                      <a:cubicBezTo>
                        <a:pt x="17" y="231"/>
                        <a:pt x="17" y="231"/>
                        <a:pt x="17" y="231"/>
                      </a:cubicBezTo>
                      <a:cubicBezTo>
                        <a:pt x="0" y="214"/>
                        <a:pt x="0" y="187"/>
                        <a:pt x="17" y="171"/>
                      </a:cubicBezTo>
                      <a:cubicBezTo>
                        <a:pt x="171" y="17"/>
                        <a:pt x="171" y="17"/>
                        <a:pt x="171" y="17"/>
                      </a:cubicBezTo>
                      <a:cubicBezTo>
                        <a:pt x="187" y="0"/>
                        <a:pt x="214" y="0"/>
                        <a:pt x="231" y="17"/>
                      </a:cubicBezTo>
                      <a:lnTo>
                        <a:pt x="385" y="171"/>
                      </a:lnTo>
                      <a:close/>
                    </a:path>
                  </a:pathLst>
                </a:custGeom>
                <a:solidFill>
                  <a:srgbClr val="F1C96C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Freeform 26"/>
                <p:cNvSpPr>
                  <a:spLocks noEditPoints="1"/>
                </p:cNvSpPr>
                <p:nvPr/>
              </p:nvSpPr>
              <p:spPr bwMode="auto">
                <a:xfrm>
                  <a:off x="8283576" y="2033588"/>
                  <a:ext cx="1225550" cy="1227138"/>
                </a:xfrm>
                <a:custGeom>
                  <a:avLst/>
                  <a:gdLst>
                    <a:gd name="T0" fmla="*/ 323 w 326"/>
                    <a:gd name="T1" fmla="*/ 157 h 326"/>
                    <a:gd name="T2" fmla="*/ 169 w 326"/>
                    <a:gd name="T3" fmla="*/ 2 h 326"/>
                    <a:gd name="T4" fmla="*/ 163 w 326"/>
                    <a:gd name="T5" fmla="*/ 0 h 326"/>
                    <a:gd name="T6" fmla="*/ 157 w 326"/>
                    <a:gd name="T7" fmla="*/ 2 h 326"/>
                    <a:gd name="T8" fmla="*/ 3 w 326"/>
                    <a:gd name="T9" fmla="*/ 157 h 326"/>
                    <a:gd name="T10" fmla="*/ 0 w 326"/>
                    <a:gd name="T11" fmla="*/ 163 h 326"/>
                    <a:gd name="T12" fmla="*/ 3 w 326"/>
                    <a:gd name="T13" fmla="*/ 169 h 326"/>
                    <a:gd name="T14" fmla="*/ 157 w 326"/>
                    <a:gd name="T15" fmla="*/ 323 h 326"/>
                    <a:gd name="T16" fmla="*/ 163 w 326"/>
                    <a:gd name="T17" fmla="*/ 326 h 326"/>
                    <a:gd name="T18" fmla="*/ 169 w 326"/>
                    <a:gd name="T19" fmla="*/ 323 h 326"/>
                    <a:gd name="T20" fmla="*/ 323 w 326"/>
                    <a:gd name="T21" fmla="*/ 169 h 326"/>
                    <a:gd name="T22" fmla="*/ 326 w 326"/>
                    <a:gd name="T23" fmla="*/ 163 h 326"/>
                    <a:gd name="T24" fmla="*/ 323 w 326"/>
                    <a:gd name="T25" fmla="*/ 157 h 326"/>
                    <a:gd name="T26" fmla="*/ 306 w 326"/>
                    <a:gd name="T27" fmla="*/ 168 h 326"/>
                    <a:gd name="T28" fmla="*/ 168 w 326"/>
                    <a:gd name="T29" fmla="*/ 306 h 326"/>
                    <a:gd name="T30" fmla="*/ 163 w 326"/>
                    <a:gd name="T31" fmla="*/ 308 h 326"/>
                    <a:gd name="T32" fmla="*/ 157 w 326"/>
                    <a:gd name="T33" fmla="*/ 306 h 326"/>
                    <a:gd name="T34" fmla="*/ 20 w 326"/>
                    <a:gd name="T35" fmla="*/ 168 h 326"/>
                    <a:gd name="T36" fmla="*/ 17 w 326"/>
                    <a:gd name="T37" fmla="*/ 163 h 326"/>
                    <a:gd name="T38" fmla="*/ 20 w 326"/>
                    <a:gd name="T39" fmla="*/ 157 h 326"/>
                    <a:gd name="T40" fmla="*/ 157 w 326"/>
                    <a:gd name="T41" fmla="*/ 19 h 326"/>
                    <a:gd name="T42" fmla="*/ 163 w 326"/>
                    <a:gd name="T43" fmla="*/ 17 h 326"/>
                    <a:gd name="T44" fmla="*/ 168 w 326"/>
                    <a:gd name="T45" fmla="*/ 19 h 326"/>
                    <a:gd name="T46" fmla="*/ 306 w 326"/>
                    <a:gd name="T47" fmla="*/ 157 h 326"/>
                    <a:gd name="T48" fmla="*/ 309 w 326"/>
                    <a:gd name="T49" fmla="*/ 163 h 326"/>
                    <a:gd name="T50" fmla="*/ 306 w 326"/>
                    <a:gd name="T51" fmla="*/ 16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26" h="326">
                      <a:moveTo>
                        <a:pt x="323" y="157"/>
                      </a:moveTo>
                      <a:cubicBezTo>
                        <a:pt x="169" y="2"/>
                        <a:pt x="169" y="2"/>
                        <a:pt x="169" y="2"/>
                      </a:cubicBezTo>
                      <a:cubicBezTo>
                        <a:pt x="167" y="0"/>
                        <a:pt x="164" y="0"/>
                        <a:pt x="163" y="0"/>
                      </a:cubicBezTo>
                      <a:cubicBezTo>
                        <a:pt x="162" y="0"/>
                        <a:pt x="159" y="0"/>
                        <a:pt x="157" y="2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1" y="158"/>
                        <a:pt x="0" y="160"/>
                        <a:pt x="0" y="163"/>
                      </a:cubicBezTo>
                      <a:cubicBezTo>
                        <a:pt x="0" y="165"/>
                        <a:pt x="1" y="167"/>
                        <a:pt x="3" y="169"/>
                      </a:cubicBezTo>
                      <a:cubicBezTo>
                        <a:pt x="157" y="323"/>
                        <a:pt x="157" y="323"/>
                        <a:pt x="157" y="323"/>
                      </a:cubicBezTo>
                      <a:cubicBezTo>
                        <a:pt x="159" y="325"/>
                        <a:pt x="162" y="326"/>
                        <a:pt x="163" y="326"/>
                      </a:cubicBezTo>
                      <a:cubicBezTo>
                        <a:pt x="164" y="326"/>
                        <a:pt x="167" y="325"/>
                        <a:pt x="169" y="323"/>
                      </a:cubicBezTo>
                      <a:cubicBezTo>
                        <a:pt x="323" y="169"/>
                        <a:pt x="323" y="169"/>
                        <a:pt x="323" y="169"/>
                      </a:cubicBezTo>
                      <a:cubicBezTo>
                        <a:pt x="325" y="167"/>
                        <a:pt x="326" y="164"/>
                        <a:pt x="326" y="163"/>
                      </a:cubicBezTo>
                      <a:cubicBezTo>
                        <a:pt x="326" y="161"/>
                        <a:pt x="325" y="159"/>
                        <a:pt x="323" y="157"/>
                      </a:cubicBezTo>
                      <a:close/>
                      <a:moveTo>
                        <a:pt x="306" y="168"/>
                      </a:moveTo>
                      <a:cubicBezTo>
                        <a:pt x="168" y="306"/>
                        <a:pt x="168" y="306"/>
                        <a:pt x="168" y="306"/>
                      </a:cubicBezTo>
                      <a:cubicBezTo>
                        <a:pt x="167" y="308"/>
                        <a:pt x="164" y="308"/>
                        <a:pt x="163" y="308"/>
                      </a:cubicBezTo>
                      <a:cubicBezTo>
                        <a:pt x="162" y="308"/>
                        <a:pt x="159" y="308"/>
                        <a:pt x="157" y="306"/>
                      </a:cubicBezTo>
                      <a:cubicBezTo>
                        <a:pt x="20" y="168"/>
                        <a:pt x="20" y="168"/>
                        <a:pt x="20" y="168"/>
                      </a:cubicBezTo>
                      <a:cubicBezTo>
                        <a:pt x="18" y="167"/>
                        <a:pt x="17" y="165"/>
                        <a:pt x="17" y="163"/>
                      </a:cubicBezTo>
                      <a:cubicBezTo>
                        <a:pt x="17" y="161"/>
                        <a:pt x="18" y="159"/>
                        <a:pt x="20" y="157"/>
                      </a:cubicBezTo>
                      <a:cubicBezTo>
                        <a:pt x="157" y="19"/>
                        <a:pt x="157" y="19"/>
                        <a:pt x="157" y="19"/>
                      </a:cubicBezTo>
                      <a:cubicBezTo>
                        <a:pt x="159" y="17"/>
                        <a:pt x="162" y="17"/>
                        <a:pt x="163" y="17"/>
                      </a:cubicBezTo>
                      <a:cubicBezTo>
                        <a:pt x="164" y="17"/>
                        <a:pt x="167" y="17"/>
                        <a:pt x="168" y="19"/>
                      </a:cubicBezTo>
                      <a:cubicBezTo>
                        <a:pt x="306" y="157"/>
                        <a:pt x="306" y="157"/>
                        <a:pt x="306" y="157"/>
                      </a:cubicBezTo>
                      <a:cubicBezTo>
                        <a:pt x="308" y="159"/>
                        <a:pt x="309" y="161"/>
                        <a:pt x="309" y="163"/>
                      </a:cubicBezTo>
                      <a:cubicBezTo>
                        <a:pt x="309" y="164"/>
                        <a:pt x="308" y="166"/>
                        <a:pt x="306" y="16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77" name="TextBox 76"/>
            <p:cNvSpPr txBox="1"/>
            <p:nvPr/>
          </p:nvSpPr>
          <p:spPr>
            <a:xfrm>
              <a:off x="6371735" y="4631248"/>
              <a:ext cx="1189156" cy="27748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sv-SE" b="1" kern="0">
                  <a:cs typeface="Arial" panose="020B0604020202020204" pitchFamily="34" charset="0"/>
                </a:rPr>
                <a:t>Uppstart</a:t>
              </a:r>
              <a:endParaRPr lang="sv-SE" b="1"/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4820877" y="2347961"/>
            <a:ext cx="1747007" cy="2277614"/>
            <a:chOff x="6285507" y="4056652"/>
            <a:chExt cx="1361612" cy="1952296"/>
          </a:xfrm>
        </p:grpSpPr>
        <p:grpSp>
          <p:nvGrpSpPr>
            <p:cNvPr id="83" name="Group 82"/>
            <p:cNvGrpSpPr/>
            <p:nvPr/>
          </p:nvGrpSpPr>
          <p:grpSpPr>
            <a:xfrm>
              <a:off x="6285507" y="4056652"/>
              <a:ext cx="1361612" cy="1952296"/>
              <a:chOff x="5808789" y="2272281"/>
              <a:chExt cx="1993536" cy="2858355"/>
            </a:xfrm>
          </p:grpSpPr>
          <p:sp>
            <p:nvSpPr>
              <p:cNvPr id="85" name="Rectangle 84"/>
              <p:cNvSpPr/>
              <p:nvPr/>
            </p:nvSpPr>
            <p:spPr>
              <a:xfrm>
                <a:off x="6718887" y="4188899"/>
                <a:ext cx="191914" cy="941737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sv-SE" b="1" ker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5808789" y="2272281"/>
                <a:ext cx="1993536" cy="1989348"/>
                <a:chOff x="8140701" y="1890712"/>
                <a:chExt cx="1511300" cy="1508125"/>
              </a:xfrm>
            </p:grpSpPr>
            <p:sp>
              <p:nvSpPr>
                <p:cNvPr id="87" name="Freeform 25"/>
                <p:cNvSpPr>
                  <a:spLocks/>
                </p:cNvSpPr>
                <p:nvPr/>
              </p:nvSpPr>
              <p:spPr bwMode="auto">
                <a:xfrm>
                  <a:off x="8140701" y="1890712"/>
                  <a:ext cx="1511300" cy="1508125"/>
                </a:xfrm>
                <a:custGeom>
                  <a:avLst/>
                  <a:gdLst>
                    <a:gd name="T0" fmla="*/ 385 w 402"/>
                    <a:gd name="T1" fmla="*/ 171 h 401"/>
                    <a:gd name="T2" fmla="*/ 385 w 402"/>
                    <a:gd name="T3" fmla="*/ 231 h 401"/>
                    <a:gd name="T4" fmla="*/ 231 w 402"/>
                    <a:gd name="T5" fmla="*/ 385 h 401"/>
                    <a:gd name="T6" fmla="*/ 171 w 402"/>
                    <a:gd name="T7" fmla="*/ 385 h 401"/>
                    <a:gd name="T8" fmla="*/ 17 w 402"/>
                    <a:gd name="T9" fmla="*/ 231 h 401"/>
                    <a:gd name="T10" fmla="*/ 17 w 402"/>
                    <a:gd name="T11" fmla="*/ 171 h 401"/>
                    <a:gd name="T12" fmla="*/ 171 w 402"/>
                    <a:gd name="T13" fmla="*/ 17 h 401"/>
                    <a:gd name="T14" fmla="*/ 231 w 402"/>
                    <a:gd name="T15" fmla="*/ 17 h 401"/>
                    <a:gd name="T16" fmla="*/ 385 w 402"/>
                    <a:gd name="T17" fmla="*/ 171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401">
                      <a:moveTo>
                        <a:pt x="385" y="171"/>
                      </a:moveTo>
                      <a:cubicBezTo>
                        <a:pt x="402" y="187"/>
                        <a:pt x="402" y="214"/>
                        <a:pt x="385" y="231"/>
                      </a:cubicBezTo>
                      <a:cubicBezTo>
                        <a:pt x="231" y="385"/>
                        <a:pt x="231" y="385"/>
                        <a:pt x="231" y="385"/>
                      </a:cubicBezTo>
                      <a:cubicBezTo>
                        <a:pt x="214" y="401"/>
                        <a:pt x="187" y="401"/>
                        <a:pt x="171" y="385"/>
                      </a:cubicBezTo>
                      <a:cubicBezTo>
                        <a:pt x="17" y="231"/>
                        <a:pt x="17" y="231"/>
                        <a:pt x="17" y="231"/>
                      </a:cubicBezTo>
                      <a:cubicBezTo>
                        <a:pt x="0" y="214"/>
                        <a:pt x="0" y="187"/>
                        <a:pt x="17" y="171"/>
                      </a:cubicBezTo>
                      <a:cubicBezTo>
                        <a:pt x="171" y="17"/>
                        <a:pt x="171" y="17"/>
                        <a:pt x="171" y="17"/>
                      </a:cubicBezTo>
                      <a:cubicBezTo>
                        <a:pt x="187" y="0"/>
                        <a:pt x="214" y="0"/>
                        <a:pt x="231" y="17"/>
                      </a:cubicBezTo>
                      <a:lnTo>
                        <a:pt x="385" y="171"/>
                      </a:lnTo>
                      <a:close/>
                    </a:path>
                  </a:pathLst>
                </a:custGeom>
                <a:solidFill>
                  <a:srgbClr val="F1C96C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" name="Freeform 26"/>
                <p:cNvSpPr>
                  <a:spLocks noEditPoints="1"/>
                </p:cNvSpPr>
                <p:nvPr/>
              </p:nvSpPr>
              <p:spPr bwMode="auto">
                <a:xfrm>
                  <a:off x="8283576" y="2033588"/>
                  <a:ext cx="1225550" cy="1227138"/>
                </a:xfrm>
                <a:custGeom>
                  <a:avLst/>
                  <a:gdLst>
                    <a:gd name="T0" fmla="*/ 323 w 326"/>
                    <a:gd name="T1" fmla="*/ 157 h 326"/>
                    <a:gd name="T2" fmla="*/ 169 w 326"/>
                    <a:gd name="T3" fmla="*/ 2 h 326"/>
                    <a:gd name="T4" fmla="*/ 163 w 326"/>
                    <a:gd name="T5" fmla="*/ 0 h 326"/>
                    <a:gd name="T6" fmla="*/ 157 w 326"/>
                    <a:gd name="T7" fmla="*/ 2 h 326"/>
                    <a:gd name="T8" fmla="*/ 3 w 326"/>
                    <a:gd name="T9" fmla="*/ 157 h 326"/>
                    <a:gd name="T10" fmla="*/ 0 w 326"/>
                    <a:gd name="T11" fmla="*/ 163 h 326"/>
                    <a:gd name="T12" fmla="*/ 3 w 326"/>
                    <a:gd name="T13" fmla="*/ 169 h 326"/>
                    <a:gd name="T14" fmla="*/ 157 w 326"/>
                    <a:gd name="T15" fmla="*/ 323 h 326"/>
                    <a:gd name="T16" fmla="*/ 163 w 326"/>
                    <a:gd name="T17" fmla="*/ 326 h 326"/>
                    <a:gd name="T18" fmla="*/ 169 w 326"/>
                    <a:gd name="T19" fmla="*/ 323 h 326"/>
                    <a:gd name="T20" fmla="*/ 323 w 326"/>
                    <a:gd name="T21" fmla="*/ 169 h 326"/>
                    <a:gd name="T22" fmla="*/ 326 w 326"/>
                    <a:gd name="T23" fmla="*/ 163 h 326"/>
                    <a:gd name="T24" fmla="*/ 323 w 326"/>
                    <a:gd name="T25" fmla="*/ 157 h 326"/>
                    <a:gd name="T26" fmla="*/ 306 w 326"/>
                    <a:gd name="T27" fmla="*/ 168 h 326"/>
                    <a:gd name="T28" fmla="*/ 168 w 326"/>
                    <a:gd name="T29" fmla="*/ 306 h 326"/>
                    <a:gd name="T30" fmla="*/ 163 w 326"/>
                    <a:gd name="T31" fmla="*/ 308 h 326"/>
                    <a:gd name="T32" fmla="*/ 157 w 326"/>
                    <a:gd name="T33" fmla="*/ 306 h 326"/>
                    <a:gd name="T34" fmla="*/ 20 w 326"/>
                    <a:gd name="T35" fmla="*/ 168 h 326"/>
                    <a:gd name="T36" fmla="*/ 17 w 326"/>
                    <a:gd name="T37" fmla="*/ 163 h 326"/>
                    <a:gd name="T38" fmla="*/ 20 w 326"/>
                    <a:gd name="T39" fmla="*/ 157 h 326"/>
                    <a:gd name="T40" fmla="*/ 157 w 326"/>
                    <a:gd name="T41" fmla="*/ 19 h 326"/>
                    <a:gd name="T42" fmla="*/ 163 w 326"/>
                    <a:gd name="T43" fmla="*/ 17 h 326"/>
                    <a:gd name="T44" fmla="*/ 168 w 326"/>
                    <a:gd name="T45" fmla="*/ 19 h 326"/>
                    <a:gd name="T46" fmla="*/ 306 w 326"/>
                    <a:gd name="T47" fmla="*/ 157 h 326"/>
                    <a:gd name="T48" fmla="*/ 309 w 326"/>
                    <a:gd name="T49" fmla="*/ 163 h 326"/>
                    <a:gd name="T50" fmla="*/ 306 w 326"/>
                    <a:gd name="T51" fmla="*/ 16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26" h="326">
                      <a:moveTo>
                        <a:pt x="323" y="157"/>
                      </a:moveTo>
                      <a:cubicBezTo>
                        <a:pt x="169" y="2"/>
                        <a:pt x="169" y="2"/>
                        <a:pt x="169" y="2"/>
                      </a:cubicBezTo>
                      <a:cubicBezTo>
                        <a:pt x="167" y="0"/>
                        <a:pt x="164" y="0"/>
                        <a:pt x="163" y="0"/>
                      </a:cubicBezTo>
                      <a:cubicBezTo>
                        <a:pt x="162" y="0"/>
                        <a:pt x="159" y="0"/>
                        <a:pt x="157" y="2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1" y="158"/>
                        <a:pt x="0" y="160"/>
                        <a:pt x="0" y="163"/>
                      </a:cubicBezTo>
                      <a:cubicBezTo>
                        <a:pt x="0" y="165"/>
                        <a:pt x="1" y="167"/>
                        <a:pt x="3" y="169"/>
                      </a:cubicBezTo>
                      <a:cubicBezTo>
                        <a:pt x="157" y="323"/>
                        <a:pt x="157" y="323"/>
                        <a:pt x="157" y="323"/>
                      </a:cubicBezTo>
                      <a:cubicBezTo>
                        <a:pt x="159" y="325"/>
                        <a:pt x="162" y="326"/>
                        <a:pt x="163" y="326"/>
                      </a:cubicBezTo>
                      <a:cubicBezTo>
                        <a:pt x="164" y="326"/>
                        <a:pt x="167" y="325"/>
                        <a:pt x="169" y="323"/>
                      </a:cubicBezTo>
                      <a:cubicBezTo>
                        <a:pt x="323" y="169"/>
                        <a:pt x="323" y="169"/>
                        <a:pt x="323" y="169"/>
                      </a:cubicBezTo>
                      <a:cubicBezTo>
                        <a:pt x="325" y="167"/>
                        <a:pt x="326" y="164"/>
                        <a:pt x="326" y="163"/>
                      </a:cubicBezTo>
                      <a:cubicBezTo>
                        <a:pt x="326" y="161"/>
                        <a:pt x="325" y="159"/>
                        <a:pt x="323" y="157"/>
                      </a:cubicBezTo>
                      <a:close/>
                      <a:moveTo>
                        <a:pt x="306" y="168"/>
                      </a:moveTo>
                      <a:cubicBezTo>
                        <a:pt x="168" y="306"/>
                        <a:pt x="168" y="306"/>
                        <a:pt x="168" y="306"/>
                      </a:cubicBezTo>
                      <a:cubicBezTo>
                        <a:pt x="167" y="308"/>
                        <a:pt x="164" y="308"/>
                        <a:pt x="163" y="308"/>
                      </a:cubicBezTo>
                      <a:cubicBezTo>
                        <a:pt x="162" y="308"/>
                        <a:pt x="159" y="308"/>
                        <a:pt x="157" y="306"/>
                      </a:cubicBezTo>
                      <a:cubicBezTo>
                        <a:pt x="20" y="168"/>
                        <a:pt x="20" y="168"/>
                        <a:pt x="20" y="168"/>
                      </a:cubicBezTo>
                      <a:cubicBezTo>
                        <a:pt x="18" y="167"/>
                        <a:pt x="17" y="165"/>
                        <a:pt x="17" y="163"/>
                      </a:cubicBezTo>
                      <a:cubicBezTo>
                        <a:pt x="17" y="161"/>
                        <a:pt x="18" y="159"/>
                        <a:pt x="20" y="157"/>
                      </a:cubicBezTo>
                      <a:cubicBezTo>
                        <a:pt x="157" y="19"/>
                        <a:pt x="157" y="19"/>
                        <a:pt x="157" y="19"/>
                      </a:cubicBezTo>
                      <a:cubicBezTo>
                        <a:pt x="159" y="17"/>
                        <a:pt x="162" y="17"/>
                        <a:pt x="163" y="17"/>
                      </a:cubicBezTo>
                      <a:cubicBezTo>
                        <a:pt x="164" y="17"/>
                        <a:pt x="167" y="17"/>
                        <a:pt x="168" y="19"/>
                      </a:cubicBezTo>
                      <a:cubicBezTo>
                        <a:pt x="306" y="157"/>
                        <a:pt x="306" y="157"/>
                        <a:pt x="306" y="157"/>
                      </a:cubicBezTo>
                      <a:cubicBezTo>
                        <a:pt x="308" y="159"/>
                        <a:pt x="309" y="161"/>
                        <a:pt x="309" y="163"/>
                      </a:cubicBezTo>
                      <a:cubicBezTo>
                        <a:pt x="309" y="164"/>
                        <a:pt x="308" y="166"/>
                        <a:pt x="306" y="16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84" name="TextBox 83"/>
            <p:cNvSpPr txBox="1"/>
            <p:nvPr/>
          </p:nvSpPr>
          <p:spPr>
            <a:xfrm>
              <a:off x="6371735" y="4638081"/>
              <a:ext cx="1189156" cy="2638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sv-SE" sz="1400" b="1" kern="0">
                  <a:cs typeface="Arial" panose="020B0604020202020204" pitchFamily="34" charset="0"/>
                </a:rPr>
                <a:t>Utvärdering</a:t>
              </a:r>
              <a:endParaRPr lang="sv-SE" sz="1400" b="1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3288920" y="4085702"/>
            <a:ext cx="1647550" cy="2362280"/>
            <a:chOff x="6285507" y="4056652"/>
            <a:chExt cx="1361612" cy="1952296"/>
          </a:xfrm>
        </p:grpSpPr>
        <p:grpSp>
          <p:nvGrpSpPr>
            <p:cNvPr id="90" name="Group 89"/>
            <p:cNvGrpSpPr/>
            <p:nvPr/>
          </p:nvGrpSpPr>
          <p:grpSpPr>
            <a:xfrm>
              <a:off x="6285507" y="4056652"/>
              <a:ext cx="1361612" cy="1952296"/>
              <a:chOff x="5808789" y="2272281"/>
              <a:chExt cx="1993536" cy="2858355"/>
            </a:xfrm>
          </p:grpSpPr>
          <p:sp>
            <p:nvSpPr>
              <p:cNvPr id="92" name="Rectangle 91"/>
              <p:cNvSpPr/>
              <p:nvPr/>
            </p:nvSpPr>
            <p:spPr>
              <a:xfrm>
                <a:off x="6718887" y="4188899"/>
                <a:ext cx="191914" cy="941737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sv-SE" b="1" ker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93" name="Group 92"/>
              <p:cNvGrpSpPr/>
              <p:nvPr/>
            </p:nvGrpSpPr>
            <p:grpSpPr>
              <a:xfrm>
                <a:off x="5808789" y="2272281"/>
                <a:ext cx="1993536" cy="1989348"/>
                <a:chOff x="8140701" y="1890712"/>
                <a:chExt cx="1511300" cy="1508125"/>
              </a:xfrm>
            </p:grpSpPr>
            <p:sp>
              <p:nvSpPr>
                <p:cNvPr id="94" name="Freeform 25"/>
                <p:cNvSpPr>
                  <a:spLocks/>
                </p:cNvSpPr>
                <p:nvPr/>
              </p:nvSpPr>
              <p:spPr bwMode="auto">
                <a:xfrm>
                  <a:off x="8140701" y="1890712"/>
                  <a:ext cx="1511300" cy="1508125"/>
                </a:xfrm>
                <a:custGeom>
                  <a:avLst/>
                  <a:gdLst>
                    <a:gd name="T0" fmla="*/ 385 w 402"/>
                    <a:gd name="T1" fmla="*/ 171 h 401"/>
                    <a:gd name="T2" fmla="*/ 385 w 402"/>
                    <a:gd name="T3" fmla="*/ 231 h 401"/>
                    <a:gd name="T4" fmla="*/ 231 w 402"/>
                    <a:gd name="T5" fmla="*/ 385 h 401"/>
                    <a:gd name="T6" fmla="*/ 171 w 402"/>
                    <a:gd name="T7" fmla="*/ 385 h 401"/>
                    <a:gd name="T8" fmla="*/ 17 w 402"/>
                    <a:gd name="T9" fmla="*/ 231 h 401"/>
                    <a:gd name="T10" fmla="*/ 17 w 402"/>
                    <a:gd name="T11" fmla="*/ 171 h 401"/>
                    <a:gd name="T12" fmla="*/ 171 w 402"/>
                    <a:gd name="T13" fmla="*/ 17 h 401"/>
                    <a:gd name="T14" fmla="*/ 231 w 402"/>
                    <a:gd name="T15" fmla="*/ 17 h 401"/>
                    <a:gd name="T16" fmla="*/ 385 w 402"/>
                    <a:gd name="T17" fmla="*/ 171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401">
                      <a:moveTo>
                        <a:pt x="385" y="171"/>
                      </a:moveTo>
                      <a:cubicBezTo>
                        <a:pt x="402" y="187"/>
                        <a:pt x="402" y="214"/>
                        <a:pt x="385" y="231"/>
                      </a:cubicBezTo>
                      <a:cubicBezTo>
                        <a:pt x="231" y="385"/>
                        <a:pt x="231" y="385"/>
                        <a:pt x="231" y="385"/>
                      </a:cubicBezTo>
                      <a:cubicBezTo>
                        <a:pt x="214" y="401"/>
                        <a:pt x="187" y="401"/>
                        <a:pt x="171" y="385"/>
                      </a:cubicBezTo>
                      <a:cubicBezTo>
                        <a:pt x="17" y="231"/>
                        <a:pt x="17" y="231"/>
                        <a:pt x="17" y="231"/>
                      </a:cubicBezTo>
                      <a:cubicBezTo>
                        <a:pt x="0" y="214"/>
                        <a:pt x="0" y="187"/>
                        <a:pt x="17" y="171"/>
                      </a:cubicBezTo>
                      <a:cubicBezTo>
                        <a:pt x="171" y="17"/>
                        <a:pt x="171" y="17"/>
                        <a:pt x="171" y="17"/>
                      </a:cubicBezTo>
                      <a:cubicBezTo>
                        <a:pt x="187" y="0"/>
                        <a:pt x="214" y="0"/>
                        <a:pt x="231" y="17"/>
                      </a:cubicBezTo>
                      <a:lnTo>
                        <a:pt x="385" y="171"/>
                      </a:lnTo>
                      <a:close/>
                    </a:path>
                  </a:pathLst>
                </a:custGeom>
                <a:solidFill>
                  <a:srgbClr val="F1C96C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" name="Freeform 26"/>
                <p:cNvSpPr>
                  <a:spLocks noEditPoints="1"/>
                </p:cNvSpPr>
                <p:nvPr/>
              </p:nvSpPr>
              <p:spPr bwMode="auto">
                <a:xfrm>
                  <a:off x="8283576" y="2033588"/>
                  <a:ext cx="1225550" cy="1227138"/>
                </a:xfrm>
                <a:custGeom>
                  <a:avLst/>
                  <a:gdLst>
                    <a:gd name="T0" fmla="*/ 323 w 326"/>
                    <a:gd name="T1" fmla="*/ 157 h 326"/>
                    <a:gd name="T2" fmla="*/ 169 w 326"/>
                    <a:gd name="T3" fmla="*/ 2 h 326"/>
                    <a:gd name="T4" fmla="*/ 163 w 326"/>
                    <a:gd name="T5" fmla="*/ 0 h 326"/>
                    <a:gd name="T6" fmla="*/ 157 w 326"/>
                    <a:gd name="T7" fmla="*/ 2 h 326"/>
                    <a:gd name="T8" fmla="*/ 3 w 326"/>
                    <a:gd name="T9" fmla="*/ 157 h 326"/>
                    <a:gd name="T10" fmla="*/ 0 w 326"/>
                    <a:gd name="T11" fmla="*/ 163 h 326"/>
                    <a:gd name="T12" fmla="*/ 3 w 326"/>
                    <a:gd name="T13" fmla="*/ 169 h 326"/>
                    <a:gd name="T14" fmla="*/ 157 w 326"/>
                    <a:gd name="T15" fmla="*/ 323 h 326"/>
                    <a:gd name="T16" fmla="*/ 163 w 326"/>
                    <a:gd name="T17" fmla="*/ 326 h 326"/>
                    <a:gd name="T18" fmla="*/ 169 w 326"/>
                    <a:gd name="T19" fmla="*/ 323 h 326"/>
                    <a:gd name="T20" fmla="*/ 323 w 326"/>
                    <a:gd name="T21" fmla="*/ 169 h 326"/>
                    <a:gd name="T22" fmla="*/ 326 w 326"/>
                    <a:gd name="T23" fmla="*/ 163 h 326"/>
                    <a:gd name="T24" fmla="*/ 323 w 326"/>
                    <a:gd name="T25" fmla="*/ 157 h 326"/>
                    <a:gd name="T26" fmla="*/ 306 w 326"/>
                    <a:gd name="T27" fmla="*/ 168 h 326"/>
                    <a:gd name="T28" fmla="*/ 168 w 326"/>
                    <a:gd name="T29" fmla="*/ 306 h 326"/>
                    <a:gd name="T30" fmla="*/ 163 w 326"/>
                    <a:gd name="T31" fmla="*/ 308 h 326"/>
                    <a:gd name="T32" fmla="*/ 157 w 326"/>
                    <a:gd name="T33" fmla="*/ 306 h 326"/>
                    <a:gd name="T34" fmla="*/ 20 w 326"/>
                    <a:gd name="T35" fmla="*/ 168 h 326"/>
                    <a:gd name="T36" fmla="*/ 17 w 326"/>
                    <a:gd name="T37" fmla="*/ 163 h 326"/>
                    <a:gd name="T38" fmla="*/ 20 w 326"/>
                    <a:gd name="T39" fmla="*/ 157 h 326"/>
                    <a:gd name="T40" fmla="*/ 157 w 326"/>
                    <a:gd name="T41" fmla="*/ 19 h 326"/>
                    <a:gd name="T42" fmla="*/ 163 w 326"/>
                    <a:gd name="T43" fmla="*/ 17 h 326"/>
                    <a:gd name="T44" fmla="*/ 168 w 326"/>
                    <a:gd name="T45" fmla="*/ 19 h 326"/>
                    <a:gd name="T46" fmla="*/ 306 w 326"/>
                    <a:gd name="T47" fmla="*/ 157 h 326"/>
                    <a:gd name="T48" fmla="*/ 309 w 326"/>
                    <a:gd name="T49" fmla="*/ 163 h 326"/>
                    <a:gd name="T50" fmla="*/ 306 w 326"/>
                    <a:gd name="T51" fmla="*/ 16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26" h="326">
                      <a:moveTo>
                        <a:pt x="323" y="157"/>
                      </a:moveTo>
                      <a:cubicBezTo>
                        <a:pt x="169" y="2"/>
                        <a:pt x="169" y="2"/>
                        <a:pt x="169" y="2"/>
                      </a:cubicBezTo>
                      <a:cubicBezTo>
                        <a:pt x="167" y="0"/>
                        <a:pt x="164" y="0"/>
                        <a:pt x="163" y="0"/>
                      </a:cubicBezTo>
                      <a:cubicBezTo>
                        <a:pt x="162" y="0"/>
                        <a:pt x="159" y="0"/>
                        <a:pt x="157" y="2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1" y="158"/>
                        <a:pt x="0" y="160"/>
                        <a:pt x="0" y="163"/>
                      </a:cubicBezTo>
                      <a:cubicBezTo>
                        <a:pt x="0" y="165"/>
                        <a:pt x="1" y="167"/>
                        <a:pt x="3" y="169"/>
                      </a:cubicBezTo>
                      <a:cubicBezTo>
                        <a:pt x="157" y="323"/>
                        <a:pt x="157" y="323"/>
                        <a:pt x="157" y="323"/>
                      </a:cubicBezTo>
                      <a:cubicBezTo>
                        <a:pt x="159" y="325"/>
                        <a:pt x="162" y="326"/>
                        <a:pt x="163" y="326"/>
                      </a:cubicBezTo>
                      <a:cubicBezTo>
                        <a:pt x="164" y="326"/>
                        <a:pt x="167" y="325"/>
                        <a:pt x="169" y="323"/>
                      </a:cubicBezTo>
                      <a:cubicBezTo>
                        <a:pt x="323" y="169"/>
                        <a:pt x="323" y="169"/>
                        <a:pt x="323" y="169"/>
                      </a:cubicBezTo>
                      <a:cubicBezTo>
                        <a:pt x="325" y="167"/>
                        <a:pt x="326" y="164"/>
                        <a:pt x="326" y="163"/>
                      </a:cubicBezTo>
                      <a:cubicBezTo>
                        <a:pt x="326" y="161"/>
                        <a:pt x="325" y="159"/>
                        <a:pt x="323" y="157"/>
                      </a:cubicBezTo>
                      <a:close/>
                      <a:moveTo>
                        <a:pt x="306" y="168"/>
                      </a:moveTo>
                      <a:cubicBezTo>
                        <a:pt x="168" y="306"/>
                        <a:pt x="168" y="306"/>
                        <a:pt x="168" y="306"/>
                      </a:cubicBezTo>
                      <a:cubicBezTo>
                        <a:pt x="167" y="308"/>
                        <a:pt x="164" y="308"/>
                        <a:pt x="163" y="308"/>
                      </a:cubicBezTo>
                      <a:cubicBezTo>
                        <a:pt x="162" y="308"/>
                        <a:pt x="159" y="308"/>
                        <a:pt x="157" y="306"/>
                      </a:cubicBezTo>
                      <a:cubicBezTo>
                        <a:pt x="20" y="168"/>
                        <a:pt x="20" y="168"/>
                        <a:pt x="20" y="168"/>
                      </a:cubicBezTo>
                      <a:cubicBezTo>
                        <a:pt x="18" y="167"/>
                        <a:pt x="17" y="165"/>
                        <a:pt x="17" y="163"/>
                      </a:cubicBezTo>
                      <a:cubicBezTo>
                        <a:pt x="17" y="161"/>
                        <a:pt x="18" y="159"/>
                        <a:pt x="20" y="157"/>
                      </a:cubicBezTo>
                      <a:cubicBezTo>
                        <a:pt x="157" y="19"/>
                        <a:pt x="157" y="19"/>
                        <a:pt x="157" y="19"/>
                      </a:cubicBezTo>
                      <a:cubicBezTo>
                        <a:pt x="159" y="17"/>
                        <a:pt x="162" y="17"/>
                        <a:pt x="163" y="17"/>
                      </a:cubicBezTo>
                      <a:cubicBezTo>
                        <a:pt x="164" y="17"/>
                        <a:pt x="167" y="17"/>
                        <a:pt x="168" y="19"/>
                      </a:cubicBezTo>
                      <a:cubicBezTo>
                        <a:pt x="306" y="157"/>
                        <a:pt x="306" y="157"/>
                        <a:pt x="306" y="157"/>
                      </a:cubicBezTo>
                      <a:cubicBezTo>
                        <a:pt x="308" y="159"/>
                        <a:pt x="309" y="161"/>
                        <a:pt x="309" y="163"/>
                      </a:cubicBezTo>
                      <a:cubicBezTo>
                        <a:pt x="309" y="164"/>
                        <a:pt x="308" y="166"/>
                        <a:pt x="306" y="16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91" name="TextBox 90"/>
            <p:cNvSpPr txBox="1"/>
            <p:nvPr/>
          </p:nvSpPr>
          <p:spPr>
            <a:xfrm>
              <a:off x="6371735" y="4528348"/>
              <a:ext cx="1189156" cy="48328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sv-SE" sz="1600" b="1" kern="0">
                  <a:cs typeface="Arial" panose="020B0604020202020204" pitchFamily="34" charset="0"/>
                </a:rPr>
                <a:t>Uppstarts-möte</a:t>
              </a:r>
              <a:endParaRPr lang="sv-SE" sz="1600" b="1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771331" y="6027995"/>
            <a:ext cx="4035694" cy="673451"/>
            <a:chOff x="713779" y="2021849"/>
            <a:chExt cx="1732133" cy="673451"/>
          </a:xfrm>
        </p:grpSpPr>
        <p:sp>
          <p:nvSpPr>
            <p:cNvPr id="57" name="TextBox 56"/>
            <p:cNvSpPr txBox="1"/>
            <p:nvPr/>
          </p:nvSpPr>
          <p:spPr>
            <a:xfrm>
              <a:off x="713779" y="2387523"/>
              <a:ext cx="17086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 panose="02000000000000000000" pitchFamily="50" charset="0"/>
                  <a:cs typeface="Arial" panose="020B0604020202020204" pitchFamily="34" charset="0"/>
                </a:rPr>
                <a:t>Uppstartsmöten med pilotavdelningarna</a:t>
              </a:r>
              <a:endParaRPr lang="sv-SE" sz="1400">
                <a:solidFill>
                  <a:schemeClr val="tx1">
                    <a:lumMod val="75000"/>
                    <a:lumOff val="25000"/>
                  </a:schemeClr>
                </a:solidFill>
                <a:latin typeface="Museo Sans 300" panose="02000000000000000000" pitchFamily="50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23309" y="2021849"/>
              <a:ext cx="17226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000" b="1">
                  <a:solidFill>
                    <a:srgbClr val="004E59"/>
                  </a:solidFill>
                  <a:latin typeface="FreightDisp Pro Black" panose="02000A03090000020004" pitchFamily="50" charset="0"/>
                  <a:cs typeface="Arial" panose="020B0604020202020204" pitchFamily="34" charset="0"/>
                </a:rPr>
                <a:t>Nov-dec 2023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582569" y="2525503"/>
            <a:ext cx="4343073" cy="823246"/>
            <a:chOff x="4014231" y="1757374"/>
            <a:chExt cx="1864061" cy="823246"/>
          </a:xfrm>
        </p:grpSpPr>
        <p:sp>
          <p:nvSpPr>
            <p:cNvPr id="60" name="TextBox 59"/>
            <p:cNvSpPr txBox="1"/>
            <p:nvPr/>
          </p:nvSpPr>
          <p:spPr>
            <a:xfrm>
              <a:off x="4015354" y="2057400"/>
              <a:ext cx="1862938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/>
                  <a:cs typeface="Arial"/>
                </a:rPr>
                <a:t>Utvärdering och ev. justeringar inför vidare utrullning</a:t>
              </a:r>
              <a:br>
                <a:rPr lang="sv-SE" sz="1400" kern="0">
                  <a:latin typeface="Museo Sans 300" panose="02000000000000000000" pitchFamily="50" charset="0"/>
                  <a:cs typeface="Arial" panose="020B0604020202020204" pitchFamily="34" charset="0"/>
                </a:rPr>
              </a:br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/>
                  <a:cs typeface="Arial"/>
                </a:rPr>
                <a:t>Piloterna fortsätter använda digital måltidsbeställning</a:t>
              </a:r>
              <a:endParaRPr lang="sv-SE" sz="1400">
                <a:solidFill>
                  <a:schemeClr val="tx1">
                    <a:lumMod val="75000"/>
                    <a:lumOff val="25000"/>
                  </a:schemeClr>
                </a:solidFill>
                <a:latin typeface="Museo Sans 300"/>
                <a:cs typeface="Arial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014231" y="1757374"/>
              <a:ext cx="17226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000" b="1">
                  <a:solidFill>
                    <a:srgbClr val="004E59"/>
                  </a:solidFill>
                  <a:latin typeface="FreightDisp Pro Black" panose="02000A03090000020004" pitchFamily="50" charset="0"/>
                  <a:cs typeface="FreesiaUPC" panose="020B0604020202020204" pitchFamily="34" charset="-34"/>
                </a:rPr>
                <a:t>240125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8582173" y="5066787"/>
            <a:ext cx="2234671" cy="1126095"/>
            <a:chOff x="4027695" y="1669969"/>
            <a:chExt cx="1722604" cy="1126095"/>
          </a:xfrm>
        </p:grpSpPr>
        <p:sp>
          <p:nvSpPr>
            <p:cNvPr id="63" name="TextBox 62"/>
            <p:cNvSpPr txBox="1"/>
            <p:nvPr/>
          </p:nvSpPr>
          <p:spPr>
            <a:xfrm>
              <a:off x="4027695" y="2057400"/>
              <a:ext cx="172260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 panose="02000000000000000000" pitchFamily="50" charset="0"/>
                  <a:cs typeface="Arial" panose="020B0604020202020204" pitchFamily="34" charset="0"/>
                </a:rPr>
                <a:t>Båda pilotavdelningarna startar med digital måltidsbeställning</a:t>
              </a:r>
              <a:endParaRPr lang="sv-SE" sz="1400">
                <a:solidFill>
                  <a:schemeClr val="tx1">
                    <a:lumMod val="75000"/>
                    <a:lumOff val="25000"/>
                  </a:schemeClr>
                </a:solidFill>
                <a:latin typeface="Museo Sans 300" panose="02000000000000000000" pitchFamily="50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4027695" y="1669969"/>
              <a:ext cx="172260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000" b="1">
                  <a:solidFill>
                    <a:srgbClr val="004E59"/>
                  </a:solidFill>
                  <a:latin typeface="FreightDisp Pro Black" panose="02000A03090000020004" pitchFamily="50" charset="0"/>
                  <a:cs typeface="Arial" panose="020B0604020202020204" pitchFamily="34" charset="0"/>
                </a:rPr>
                <a:t> 240108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913720" y="1266096"/>
            <a:ext cx="4013490" cy="1126095"/>
            <a:chOff x="4027695" y="1669969"/>
            <a:chExt cx="1722603" cy="1126095"/>
          </a:xfrm>
        </p:grpSpPr>
        <p:sp>
          <p:nvSpPr>
            <p:cNvPr id="69" name="TextBox 68"/>
            <p:cNvSpPr txBox="1"/>
            <p:nvPr/>
          </p:nvSpPr>
          <p:spPr>
            <a:xfrm>
              <a:off x="4027695" y="2057400"/>
              <a:ext cx="1708668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/>
                  <a:cs typeface="Arial"/>
                </a:rPr>
                <a:t>Utbildning och utrullning på resterande 24 avdelningar</a:t>
              </a:r>
            </a:p>
            <a:p>
              <a:r>
                <a:rPr lang="sv-SE" sz="14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useo Sans 300"/>
                  <a:cs typeface="Arial"/>
                </a:rPr>
                <a:t>Sker i olika faser under våren</a:t>
              </a:r>
              <a:endParaRPr lang="sv-SE" sz="1400">
                <a:solidFill>
                  <a:schemeClr val="tx1">
                    <a:lumMod val="75000"/>
                    <a:lumOff val="25000"/>
                  </a:schemeClr>
                </a:solidFill>
                <a:latin typeface="Museo Sans 300"/>
                <a:cs typeface="Arial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027695" y="1669969"/>
              <a:ext cx="172260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2000" b="1">
                  <a:solidFill>
                    <a:srgbClr val="004E59"/>
                  </a:solidFill>
                  <a:latin typeface="FreightDisp Pro Black" panose="02000A03090000020004" pitchFamily="50" charset="0"/>
                  <a:cs typeface="Arial" panose="020B0604020202020204" pitchFamily="34" charset="0"/>
                </a:rPr>
                <a:t>240201</a:t>
              </a:r>
            </a:p>
          </p:txBody>
        </p:sp>
      </p:grpSp>
      <p:pic>
        <p:nvPicPr>
          <p:cNvPr id="35" name="Bildobjekt 34" descr="En bild som visar krona, juvelhuvudbonad, kronjuveler, tillbehör&#10;&#10;Automatiskt genererad beskrivning">
            <a:extLst>
              <a:ext uri="{FF2B5EF4-FFF2-40B4-BE49-F238E27FC236}">
                <a16:creationId xmlns:a16="http://schemas.microsoft.com/office/drawing/2014/main" id="{42537F0C-36B3-8B4E-B288-EF416D4763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5" y="6059177"/>
            <a:ext cx="714009" cy="714009"/>
          </a:xfrm>
          <a:prstGeom prst="rect">
            <a:avLst/>
          </a:prstGeom>
        </p:spPr>
      </p:pic>
      <p:grpSp>
        <p:nvGrpSpPr>
          <p:cNvPr id="36" name="Group 63">
            <a:extLst>
              <a:ext uri="{FF2B5EF4-FFF2-40B4-BE49-F238E27FC236}">
                <a16:creationId xmlns:a16="http://schemas.microsoft.com/office/drawing/2014/main" id="{0ECB7FEE-73FC-C0D2-B89F-23FB43FE0A89}"/>
              </a:ext>
            </a:extLst>
          </p:cNvPr>
          <p:cNvGrpSpPr/>
          <p:nvPr/>
        </p:nvGrpSpPr>
        <p:grpSpPr>
          <a:xfrm>
            <a:off x="220651" y="177601"/>
            <a:ext cx="1900843" cy="2708855"/>
            <a:chOff x="6285507" y="4056652"/>
            <a:chExt cx="1361612" cy="1952296"/>
          </a:xfrm>
        </p:grpSpPr>
        <p:grpSp>
          <p:nvGrpSpPr>
            <p:cNvPr id="37" name="Group 64">
              <a:extLst>
                <a:ext uri="{FF2B5EF4-FFF2-40B4-BE49-F238E27FC236}">
                  <a16:creationId xmlns:a16="http://schemas.microsoft.com/office/drawing/2014/main" id="{C5CA1790-8CCF-AFCC-8D58-C25569E31D7F}"/>
                </a:ext>
              </a:extLst>
            </p:cNvPr>
            <p:cNvGrpSpPr/>
            <p:nvPr/>
          </p:nvGrpSpPr>
          <p:grpSpPr>
            <a:xfrm>
              <a:off x="6285507" y="4056652"/>
              <a:ext cx="1361612" cy="1952296"/>
              <a:chOff x="5808789" y="2272281"/>
              <a:chExt cx="1993536" cy="2858355"/>
            </a:xfrm>
          </p:grpSpPr>
          <p:sp>
            <p:nvSpPr>
              <p:cNvPr id="39" name="Rectangle 69">
                <a:extLst>
                  <a:ext uri="{FF2B5EF4-FFF2-40B4-BE49-F238E27FC236}">
                    <a16:creationId xmlns:a16="http://schemas.microsoft.com/office/drawing/2014/main" id="{07F8F0EE-0BB5-2876-FE30-55BFD39D3D18}"/>
                  </a:ext>
                </a:extLst>
              </p:cNvPr>
              <p:cNvSpPr/>
              <p:nvPr/>
            </p:nvSpPr>
            <p:spPr>
              <a:xfrm>
                <a:off x="6718887" y="4188899"/>
                <a:ext cx="191914" cy="941737"/>
              </a:xfrm>
              <a:prstGeom prst="rect">
                <a:avLst/>
              </a:prstGeom>
              <a:gradFill>
                <a:gsLst>
                  <a:gs pos="0">
                    <a:sysClr val="windowText" lastClr="000000">
                      <a:lumMod val="75000"/>
                      <a:lumOff val="25000"/>
                      <a:shade val="30000"/>
                      <a:satMod val="115000"/>
                    </a:sysClr>
                  </a:gs>
                  <a:gs pos="50000">
                    <a:sysClr val="window" lastClr="FFFFFF"/>
                  </a:gs>
                  <a:gs pos="100000">
                    <a:sysClr val="windowText" lastClr="000000">
                      <a:lumMod val="75000"/>
                      <a:lumOff val="25000"/>
                      <a:shade val="100000"/>
                      <a:satMod val="115000"/>
                    </a:sysClr>
                  </a:gs>
                </a:gsLst>
                <a:lin ang="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sv-SE" b="1" kern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0" name="Group 70">
                <a:extLst>
                  <a:ext uri="{FF2B5EF4-FFF2-40B4-BE49-F238E27FC236}">
                    <a16:creationId xmlns:a16="http://schemas.microsoft.com/office/drawing/2014/main" id="{44903F43-BB84-E686-5D2F-FFADEA960FEE}"/>
                  </a:ext>
                </a:extLst>
              </p:cNvPr>
              <p:cNvGrpSpPr/>
              <p:nvPr/>
            </p:nvGrpSpPr>
            <p:grpSpPr>
              <a:xfrm>
                <a:off x="5808789" y="2272281"/>
                <a:ext cx="1993536" cy="1989348"/>
                <a:chOff x="8140701" y="1890712"/>
                <a:chExt cx="1511300" cy="1508125"/>
              </a:xfrm>
            </p:grpSpPr>
            <p:sp>
              <p:nvSpPr>
                <p:cNvPr id="41" name="Freeform 25">
                  <a:extLst>
                    <a:ext uri="{FF2B5EF4-FFF2-40B4-BE49-F238E27FC236}">
                      <a16:creationId xmlns:a16="http://schemas.microsoft.com/office/drawing/2014/main" id="{58B679FB-83B5-CF8E-DDD6-07A58D7931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40701" y="1890712"/>
                  <a:ext cx="1511300" cy="1508125"/>
                </a:xfrm>
                <a:custGeom>
                  <a:avLst/>
                  <a:gdLst>
                    <a:gd name="T0" fmla="*/ 385 w 402"/>
                    <a:gd name="T1" fmla="*/ 171 h 401"/>
                    <a:gd name="T2" fmla="*/ 385 w 402"/>
                    <a:gd name="T3" fmla="*/ 231 h 401"/>
                    <a:gd name="T4" fmla="*/ 231 w 402"/>
                    <a:gd name="T5" fmla="*/ 385 h 401"/>
                    <a:gd name="T6" fmla="*/ 171 w 402"/>
                    <a:gd name="T7" fmla="*/ 385 h 401"/>
                    <a:gd name="T8" fmla="*/ 17 w 402"/>
                    <a:gd name="T9" fmla="*/ 231 h 401"/>
                    <a:gd name="T10" fmla="*/ 17 w 402"/>
                    <a:gd name="T11" fmla="*/ 171 h 401"/>
                    <a:gd name="T12" fmla="*/ 171 w 402"/>
                    <a:gd name="T13" fmla="*/ 17 h 401"/>
                    <a:gd name="T14" fmla="*/ 231 w 402"/>
                    <a:gd name="T15" fmla="*/ 17 h 401"/>
                    <a:gd name="T16" fmla="*/ 385 w 402"/>
                    <a:gd name="T17" fmla="*/ 171 h 4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2" h="401">
                      <a:moveTo>
                        <a:pt x="385" y="171"/>
                      </a:moveTo>
                      <a:cubicBezTo>
                        <a:pt x="402" y="187"/>
                        <a:pt x="402" y="214"/>
                        <a:pt x="385" y="231"/>
                      </a:cubicBezTo>
                      <a:cubicBezTo>
                        <a:pt x="231" y="385"/>
                        <a:pt x="231" y="385"/>
                        <a:pt x="231" y="385"/>
                      </a:cubicBezTo>
                      <a:cubicBezTo>
                        <a:pt x="214" y="401"/>
                        <a:pt x="187" y="401"/>
                        <a:pt x="171" y="385"/>
                      </a:cubicBezTo>
                      <a:cubicBezTo>
                        <a:pt x="17" y="231"/>
                        <a:pt x="17" y="231"/>
                        <a:pt x="17" y="231"/>
                      </a:cubicBezTo>
                      <a:cubicBezTo>
                        <a:pt x="0" y="214"/>
                        <a:pt x="0" y="187"/>
                        <a:pt x="17" y="171"/>
                      </a:cubicBezTo>
                      <a:cubicBezTo>
                        <a:pt x="171" y="17"/>
                        <a:pt x="171" y="17"/>
                        <a:pt x="171" y="17"/>
                      </a:cubicBezTo>
                      <a:cubicBezTo>
                        <a:pt x="187" y="0"/>
                        <a:pt x="214" y="0"/>
                        <a:pt x="231" y="17"/>
                      </a:cubicBezTo>
                      <a:lnTo>
                        <a:pt x="385" y="171"/>
                      </a:lnTo>
                      <a:close/>
                    </a:path>
                  </a:pathLst>
                </a:custGeom>
                <a:solidFill>
                  <a:srgbClr val="92D05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" name="Freeform 26">
                  <a:extLst>
                    <a:ext uri="{FF2B5EF4-FFF2-40B4-BE49-F238E27FC236}">
                      <a16:creationId xmlns:a16="http://schemas.microsoft.com/office/drawing/2014/main" id="{C241CDD8-7F58-A77C-72A3-D9D8356465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83576" y="2033588"/>
                  <a:ext cx="1225550" cy="1227138"/>
                </a:xfrm>
                <a:custGeom>
                  <a:avLst/>
                  <a:gdLst>
                    <a:gd name="T0" fmla="*/ 323 w 326"/>
                    <a:gd name="T1" fmla="*/ 157 h 326"/>
                    <a:gd name="T2" fmla="*/ 169 w 326"/>
                    <a:gd name="T3" fmla="*/ 2 h 326"/>
                    <a:gd name="T4" fmla="*/ 163 w 326"/>
                    <a:gd name="T5" fmla="*/ 0 h 326"/>
                    <a:gd name="T6" fmla="*/ 157 w 326"/>
                    <a:gd name="T7" fmla="*/ 2 h 326"/>
                    <a:gd name="T8" fmla="*/ 3 w 326"/>
                    <a:gd name="T9" fmla="*/ 157 h 326"/>
                    <a:gd name="T10" fmla="*/ 0 w 326"/>
                    <a:gd name="T11" fmla="*/ 163 h 326"/>
                    <a:gd name="T12" fmla="*/ 3 w 326"/>
                    <a:gd name="T13" fmla="*/ 169 h 326"/>
                    <a:gd name="T14" fmla="*/ 157 w 326"/>
                    <a:gd name="T15" fmla="*/ 323 h 326"/>
                    <a:gd name="T16" fmla="*/ 163 w 326"/>
                    <a:gd name="T17" fmla="*/ 326 h 326"/>
                    <a:gd name="T18" fmla="*/ 169 w 326"/>
                    <a:gd name="T19" fmla="*/ 323 h 326"/>
                    <a:gd name="T20" fmla="*/ 323 w 326"/>
                    <a:gd name="T21" fmla="*/ 169 h 326"/>
                    <a:gd name="T22" fmla="*/ 326 w 326"/>
                    <a:gd name="T23" fmla="*/ 163 h 326"/>
                    <a:gd name="T24" fmla="*/ 323 w 326"/>
                    <a:gd name="T25" fmla="*/ 157 h 326"/>
                    <a:gd name="T26" fmla="*/ 306 w 326"/>
                    <a:gd name="T27" fmla="*/ 168 h 326"/>
                    <a:gd name="T28" fmla="*/ 168 w 326"/>
                    <a:gd name="T29" fmla="*/ 306 h 326"/>
                    <a:gd name="T30" fmla="*/ 163 w 326"/>
                    <a:gd name="T31" fmla="*/ 308 h 326"/>
                    <a:gd name="T32" fmla="*/ 157 w 326"/>
                    <a:gd name="T33" fmla="*/ 306 h 326"/>
                    <a:gd name="T34" fmla="*/ 20 w 326"/>
                    <a:gd name="T35" fmla="*/ 168 h 326"/>
                    <a:gd name="T36" fmla="*/ 17 w 326"/>
                    <a:gd name="T37" fmla="*/ 163 h 326"/>
                    <a:gd name="T38" fmla="*/ 20 w 326"/>
                    <a:gd name="T39" fmla="*/ 157 h 326"/>
                    <a:gd name="T40" fmla="*/ 157 w 326"/>
                    <a:gd name="T41" fmla="*/ 19 h 326"/>
                    <a:gd name="T42" fmla="*/ 163 w 326"/>
                    <a:gd name="T43" fmla="*/ 17 h 326"/>
                    <a:gd name="T44" fmla="*/ 168 w 326"/>
                    <a:gd name="T45" fmla="*/ 19 h 326"/>
                    <a:gd name="T46" fmla="*/ 306 w 326"/>
                    <a:gd name="T47" fmla="*/ 157 h 326"/>
                    <a:gd name="T48" fmla="*/ 309 w 326"/>
                    <a:gd name="T49" fmla="*/ 163 h 326"/>
                    <a:gd name="T50" fmla="*/ 306 w 326"/>
                    <a:gd name="T51" fmla="*/ 168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26" h="326">
                      <a:moveTo>
                        <a:pt x="323" y="157"/>
                      </a:moveTo>
                      <a:cubicBezTo>
                        <a:pt x="169" y="2"/>
                        <a:pt x="169" y="2"/>
                        <a:pt x="169" y="2"/>
                      </a:cubicBezTo>
                      <a:cubicBezTo>
                        <a:pt x="167" y="0"/>
                        <a:pt x="164" y="0"/>
                        <a:pt x="163" y="0"/>
                      </a:cubicBezTo>
                      <a:cubicBezTo>
                        <a:pt x="162" y="0"/>
                        <a:pt x="159" y="0"/>
                        <a:pt x="157" y="2"/>
                      </a:cubicBezTo>
                      <a:cubicBezTo>
                        <a:pt x="3" y="157"/>
                        <a:pt x="3" y="157"/>
                        <a:pt x="3" y="157"/>
                      </a:cubicBezTo>
                      <a:cubicBezTo>
                        <a:pt x="1" y="158"/>
                        <a:pt x="0" y="160"/>
                        <a:pt x="0" y="163"/>
                      </a:cubicBezTo>
                      <a:cubicBezTo>
                        <a:pt x="0" y="165"/>
                        <a:pt x="1" y="167"/>
                        <a:pt x="3" y="169"/>
                      </a:cubicBezTo>
                      <a:cubicBezTo>
                        <a:pt x="157" y="323"/>
                        <a:pt x="157" y="323"/>
                        <a:pt x="157" y="323"/>
                      </a:cubicBezTo>
                      <a:cubicBezTo>
                        <a:pt x="159" y="325"/>
                        <a:pt x="162" y="326"/>
                        <a:pt x="163" y="326"/>
                      </a:cubicBezTo>
                      <a:cubicBezTo>
                        <a:pt x="164" y="326"/>
                        <a:pt x="167" y="325"/>
                        <a:pt x="169" y="323"/>
                      </a:cubicBezTo>
                      <a:cubicBezTo>
                        <a:pt x="323" y="169"/>
                        <a:pt x="323" y="169"/>
                        <a:pt x="323" y="169"/>
                      </a:cubicBezTo>
                      <a:cubicBezTo>
                        <a:pt x="325" y="167"/>
                        <a:pt x="326" y="164"/>
                        <a:pt x="326" y="163"/>
                      </a:cubicBezTo>
                      <a:cubicBezTo>
                        <a:pt x="326" y="161"/>
                        <a:pt x="325" y="159"/>
                        <a:pt x="323" y="157"/>
                      </a:cubicBezTo>
                      <a:close/>
                      <a:moveTo>
                        <a:pt x="306" y="168"/>
                      </a:moveTo>
                      <a:cubicBezTo>
                        <a:pt x="168" y="306"/>
                        <a:pt x="168" y="306"/>
                        <a:pt x="168" y="306"/>
                      </a:cubicBezTo>
                      <a:cubicBezTo>
                        <a:pt x="167" y="308"/>
                        <a:pt x="164" y="308"/>
                        <a:pt x="163" y="308"/>
                      </a:cubicBezTo>
                      <a:cubicBezTo>
                        <a:pt x="162" y="308"/>
                        <a:pt x="159" y="308"/>
                        <a:pt x="157" y="306"/>
                      </a:cubicBezTo>
                      <a:cubicBezTo>
                        <a:pt x="20" y="168"/>
                        <a:pt x="20" y="168"/>
                        <a:pt x="20" y="168"/>
                      </a:cubicBezTo>
                      <a:cubicBezTo>
                        <a:pt x="18" y="167"/>
                        <a:pt x="17" y="165"/>
                        <a:pt x="17" y="163"/>
                      </a:cubicBezTo>
                      <a:cubicBezTo>
                        <a:pt x="17" y="161"/>
                        <a:pt x="18" y="159"/>
                        <a:pt x="20" y="157"/>
                      </a:cubicBezTo>
                      <a:cubicBezTo>
                        <a:pt x="157" y="19"/>
                        <a:pt x="157" y="19"/>
                        <a:pt x="157" y="19"/>
                      </a:cubicBezTo>
                      <a:cubicBezTo>
                        <a:pt x="159" y="17"/>
                        <a:pt x="162" y="17"/>
                        <a:pt x="163" y="17"/>
                      </a:cubicBezTo>
                      <a:cubicBezTo>
                        <a:pt x="164" y="17"/>
                        <a:pt x="167" y="17"/>
                        <a:pt x="168" y="19"/>
                      </a:cubicBezTo>
                      <a:cubicBezTo>
                        <a:pt x="306" y="157"/>
                        <a:pt x="306" y="157"/>
                        <a:pt x="306" y="157"/>
                      </a:cubicBezTo>
                      <a:cubicBezTo>
                        <a:pt x="308" y="159"/>
                        <a:pt x="309" y="161"/>
                        <a:pt x="309" y="163"/>
                      </a:cubicBezTo>
                      <a:cubicBezTo>
                        <a:pt x="309" y="164"/>
                        <a:pt x="308" y="166"/>
                        <a:pt x="306" y="16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sv-SE" b="1" kern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38" name="TextBox 65">
              <a:extLst>
                <a:ext uri="{FF2B5EF4-FFF2-40B4-BE49-F238E27FC236}">
                  <a16:creationId xmlns:a16="http://schemas.microsoft.com/office/drawing/2014/main" id="{1AC21BA3-B06B-F7EE-1A96-256F5DCB5434}"/>
                </a:ext>
              </a:extLst>
            </p:cNvPr>
            <p:cNvSpPr txBox="1"/>
            <p:nvPr/>
          </p:nvSpPr>
          <p:spPr>
            <a:xfrm>
              <a:off x="6364333" y="4533247"/>
              <a:ext cx="1189156" cy="3327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</a:bodyPr>
            <a:lstStyle/>
            <a:p>
              <a:pPr algn="ctr"/>
              <a:r>
                <a:rPr lang="sv-SE" sz="1200" b="1" kern="0">
                  <a:cs typeface="Arial" panose="020B0604020202020204" pitchFamily="34" charset="0"/>
                </a:rPr>
                <a:t>25 avd. </a:t>
              </a:r>
            </a:p>
            <a:p>
              <a:pPr algn="ctr"/>
              <a:r>
                <a:rPr lang="sv-SE" sz="1200" b="1" kern="0">
                  <a:cs typeface="Arial"/>
                </a:rPr>
                <a:t>beställer digitalt</a:t>
              </a:r>
              <a:endParaRPr lang="sv-SE" sz="1200" b="1">
                <a:cs typeface="Arial"/>
              </a:endParaRPr>
            </a:p>
          </p:txBody>
        </p:sp>
      </p:grpSp>
      <p:sp>
        <p:nvSpPr>
          <p:cNvPr id="43" name="TextBox 72">
            <a:extLst>
              <a:ext uri="{FF2B5EF4-FFF2-40B4-BE49-F238E27FC236}">
                <a16:creationId xmlns:a16="http://schemas.microsoft.com/office/drawing/2014/main" id="{ED7B6951-2FCB-8073-CFB6-FB90B85882E3}"/>
              </a:ext>
            </a:extLst>
          </p:cNvPr>
          <p:cNvSpPr txBox="1"/>
          <p:nvPr/>
        </p:nvSpPr>
        <p:spPr>
          <a:xfrm>
            <a:off x="2051499" y="913090"/>
            <a:ext cx="11550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b="1">
                <a:solidFill>
                  <a:srgbClr val="004E59"/>
                </a:solidFill>
                <a:latin typeface="FreightDisp Pro Black" panose="02000A03090000020004" pitchFamily="50" charset="0"/>
                <a:cs typeface="Arial" panose="020B0604020202020204" pitchFamily="34" charset="0"/>
              </a:rPr>
              <a:t>240530</a:t>
            </a:r>
          </a:p>
        </p:txBody>
      </p:sp>
      <p:sp>
        <p:nvSpPr>
          <p:cNvPr id="44" name="TextBox 68">
            <a:extLst>
              <a:ext uri="{FF2B5EF4-FFF2-40B4-BE49-F238E27FC236}">
                <a16:creationId xmlns:a16="http://schemas.microsoft.com/office/drawing/2014/main" id="{84C03AC5-F58A-E938-F9DD-CAD53F54EEFE}"/>
              </a:ext>
            </a:extLst>
          </p:cNvPr>
          <p:cNvSpPr txBox="1"/>
          <p:nvPr/>
        </p:nvSpPr>
        <p:spPr>
          <a:xfrm>
            <a:off x="1891915" y="1306045"/>
            <a:ext cx="14371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kern="0">
                <a:solidFill>
                  <a:schemeClr val="tx1">
                    <a:lumMod val="75000"/>
                    <a:lumOff val="25000"/>
                  </a:schemeClr>
                </a:solidFill>
                <a:latin typeface="Museo Sans 300" panose="02000000000000000000" pitchFamily="50" charset="0"/>
                <a:cs typeface="Arial" panose="020B0604020202020204" pitchFamily="34" charset="0"/>
              </a:rPr>
              <a:t>Tjänsten igång hos samtliga 25 avdelningar</a:t>
            </a:r>
            <a:endParaRPr lang="sv-SE" sz="1400">
              <a:solidFill>
                <a:schemeClr val="tx1">
                  <a:lumMod val="75000"/>
                  <a:lumOff val="25000"/>
                </a:schemeClr>
              </a:solidFill>
              <a:latin typeface="Museo Sans 300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417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2941B4F4-89FB-E617-F25E-7214A39F4F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b="0">
                <a:ea typeface="+mn-lt"/>
                <a:cs typeface="+mn-lt"/>
                <a:hlinkClick r:id="rId2"/>
              </a:rPr>
              <a:t>https://coor-prod.mashie.com/matilda-x/orders</a:t>
            </a:r>
            <a:endParaRPr lang="sv-SE">
              <a:ea typeface="+mn-lt"/>
              <a:cs typeface="+mn-lt"/>
            </a:endParaRPr>
          </a:p>
          <a:p>
            <a:endParaRPr lang="sv-SE" b="0">
              <a:cs typeface="Segoe UI"/>
            </a:endParaRPr>
          </a:p>
          <a:p>
            <a:endParaRPr lang="sv-SE" b="0">
              <a:cs typeface="Segoe UI"/>
            </a:endParaRPr>
          </a:p>
          <a:p>
            <a:r>
              <a:rPr lang="sv-SE" b="0" err="1">
                <a:cs typeface="Segoe UI"/>
              </a:rPr>
              <a:t>anette</a:t>
            </a:r>
            <a:r>
              <a:rPr lang="sv-SE" b="0">
                <a:cs typeface="Segoe UI"/>
              </a:rPr>
              <a:t> </a:t>
            </a:r>
            <a:r>
              <a:rPr lang="sv-SE" b="0" err="1">
                <a:cs typeface="Segoe UI"/>
              </a:rPr>
              <a:t>digimålavd</a:t>
            </a:r>
            <a:endParaRPr lang="sv-SE" b="0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99228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NUMBEREDHEADINGS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4danIFWb77TX23X.5eGQ"/>
</p:tagLst>
</file>

<file path=ppt/theme/theme1.xml><?xml version="1.0" encoding="utf-8"?>
<a:theme xmlns:a="http://schemas.openxmlformats.org/drawingml/2006/main" name="Coor ">
  <a:themeElements>
    <a:clrScheme name="Coor">
      <a:dk1>
        <a:sysClr val="windowText" lastClr="000000"/>
      </a:dk1>
      <a:lt1>
        <a:sysClr val="window" lastClr="FFFFFF"/>
      </a:lt1>
      <a:dk2>
        <a:srgbClr val="675C53"/>
      </a:dk2>
      <a:lt2>
        <a:srgbClr val="F8F7F5"/>
      </a:lt2>
      <a:accent1>
        <a:srgbClr val="E96704"/>
      </a:accent1>
      <a:accent2>
        <a:srgbClr val="669999"/>
      </a:accent2>
      <a:accent3>
        <a:srgbClr val="FECB00"/>
      </a:accent3>
      <a:accent4>
        <a:srgbClr val="9E0000"/>
      </a:accent4>
      <a:accent5>
        <a:srgbClr val="675C53"/>
      </a:accent5>
      <a:accent6>
        <a:srgbClr val="C7C2BA"/>
      </a:accent6>
      <a:hlink>
        <a:srgbClr val="E96704"/>
      </a:hlink>
      <a:folHlink>
        <a:srgbClr val="E96704"/>
      </a:folHlink>
    </a:clrScheme>
    <a:fontScheme name="cao">
      <a:majorFont>
        <a:latin typeface="Elephan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7C2BA"/>
        </a:solidFill>
        <a:ln>
          <a:noFill/>
        </a:ln>
      </a:spPr>
      <a:bodyPr lIns="0" tIns="0" rIns="0" bIns="0" rtlCol="0" anchor="ctr"/>
      <a:lstStyle>
        <a:defPPr algn="ctr">
          <a:defRPr sz="1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E96704"/>
    </a:custClr>
    <a:custClr name="Custom Color 2">
      <a:srgbClr val="C94C08"/>
    </a:custClr>
    <a:custClr name="Custom Color 3">
      <a:srgbClr val="FF8325"/>
    </a:custClr>
    <a:custClr name="Custom Color 4">
      <a:srgbClr val="FFF0E7"/>
    </a:custClr>
    <a:custClr name="Custom Color 5">
      <a:srgbClr val="F8F7F5"/>
    </a:custClr>
    <a:custClr name="Custom Color 6">
      <a:srgbClr val="FFE477"/>
    </a:custClr>
    <a:custClr name="Custom Color 7">
      <a:srgbClr val="FECB00"/>
    </a:custClr>
    <a:custClr name="Custom Color 8">
      <a:srgbClr val="FFBA00"/>
    </a:custClr>
    <a:custClr name="Custom Color 9">
      <a:srgbClr val="675C53"/>
    </a:custClr>
    <a:custClr name="Custom Color 10">
      <a:srgbClr val="221B16"/>
    </a:custClr>
    <a:custClr name="Custom Color 11">
      <a:srgbClr val="004E59"/>
    </a:custClr>
    <a:custClr name="Custom Color 12">
      <a:srgbClr val="00AF9A"/>
    </a:custClr>
    <a:custClr name="Custom Color 13">
      <a:srgbClr val="6AD0C3"/>
    </a:custClr>
    <a:custClr name="Custom Color 14">
      <a:srgbClr val="D8F0EF"/>
    </a:custClr>
    <a:custClr name="Custom Color 15">
      <a:srgbClr val="00606E"/>
    </a:custClr>
    <a:custClr name="Custom Color 16">
      <a:srgbClr val="E4143C"/>
    </a:custClr>
    <a:custClr name="Custom Color 17">
      <a:srgbClr val="C60C30"/>
    </a:custClr>
    <a:custClr name="Custom Color 18">
      <a:srgbClr val="970C27"/>
    </a:custClr>
    <a:custClr name="Custom Color 19">
      <a:srgbClr val="C7C2BA"/>
    </a:custClr>
    <a:custClr name="Custom Color 20">
      <a:srgbClr val="AEA79F"/>
    </a:custClr>
  </a:custClrLst>
  <a:extLst>
    <a:ext uri="{05A4C25C-085E-4340-85A3-A5531E510DB2}">
      <thm15:themeFamily xmlns:thm15="http://schemas.microsoft.com/office/thememl/2012/main" name="Blank" id="{EED92462-EF4E-45CB-9735-017433A7B203}" vid="{908DEA60-7CF5-4CF1-8B8D-3D45BB73111B}"/>
    </a:ext>
  </a:extLst>
</a:theme>
</file>

<file path=ppt/theme/theme2.xml><?xml version="1.0" encoding="utf-8"?>
<a:theme xmlns:a="http://schemas.openxmlformats.org/drawingml/2006/main" name="Coor ">
  <a:themeElements>
    <a:clrScheme name="Coor">
      <a:dk1>
        <a:sysClr val="windowText" lastClr="000000"/>
      </a:dk1>
      <a:lt1>
        <a:sysClr val="window" lastClr="FFFFFF"/>
      </a:lt1>
      <a:dk2>
        <a:srgbClr val="675C53"/>
      </a:dk2>
      <a:lt2>
        <a:srgbClr val="F8F7F5"/>
      </a:lt2>
      <a:accent1>
        <a:srgbClr val="E96704"/>
      </a:accent1>
      <a:accent2>
        <a:srgbClr val="669999"/>
      </a:accent2>
      <a:accent3>
        <a:srgbClr val="FECB00"/>
      </a:accent3>
      <a:accent4>
        <a:srgbClr val="9E0000"/>
      </a:accent4>
      <a:accent5>
        <a:srgbClr val="675C53"/>
      </a:accent5>
      <a:accent6>
        <a:srgbClr val="C7C2BA"/>
      </a:accent6>
      <a:hlink>
        <a:srgbClr val="E96704"/>
      </a:hlink>
      <a:folHlink>
        <a:srgbClr val="E96704"/>
      </a:folHlink>
    </a:clrScheme>
    <a:fontScheme name="Coor font">
      <a:majorFont>
        <a:latin typeface="Elephan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7C2BA"/>
        </a:solidFill>
        <a:ln>
          <a:noFill/>
        </a:ln>
      </a:spPr>
      <a:bodyPr lIns="0" tIns="0" rIns="0" bIns="0" rtlCol="0" anchor="ctr"/>
      <a:lstStyle>
        <a:defPPr algn="ctr">
          <a:defRPr sz="1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Custom Color 1">
      <a:srgbClr val="E96704"/>
    </a:custClr>
    <a:custClr name="Custom Color 2">
      <a:srgbClr val="C94C08"/>
    </a:custClr>
    <a:custClr name="Custom Color 3">
      <a:srgbClr val="FF8325"/>
    </a:custClr>
    <a:custClr name="Custom Color 4">
      <a:srgbClr val="FFF0E7"/>
    </a:custClr>
    <a:custClr name="Custom Color 5">
      <a:srgbClr val="F8F7F5"/>
    </a:custClr>
    <a:custClr name="Custom Color 6">
      <a:srgbClr val="FFE477"/>
    </a:custClr>
    <a:custClr name="Custom Color 7">
      <a:srgbClr val="FECB00"/>
    </a:custClr>
    <a:custClr name="Custom Color 8">
      <a:srgbClr val="FFBA00"/>
    </a:custClr>
    <a:custClr name="Custom Color 9">
      <a:srgbClr val="675C53"/>
    </a:custClr>
    <a:custClr name="Custom Color 10">
      <a:srgbClr val="221B16"/>
    </a:custClr>
    <a:custClr name="Custom Color 11">
      <a:srgbClr val="004E59"/>
    </a:custClr>
    <a:custClr name="Custom Color 12">
      <a:srgbClr val="00AF9A"/>
    </a:custClr>
    <a:custClr name="Custom Color 13">
      <a:srgbClr val="6AD0C3"/>
    </a:custClr>
    <a:custClr name="Custom Color 14">
      <a:srgbClr val="D8F0EF"/>
    </a:custClr>
    <a:custClr name="Custom Color 15">
      <a:srgbClr val="00606E"/>
    </a:custClr>
    <a:custClr name="Custom Color 16">
      <a:srgbClr val="E4143C"/>
    </a:custClr>
    <a:custClr name="Custom Color 17">
      <a:srgbClr val="C60C30"/>
    </a:custClr>
    <a:custClr name="Custom Color 18">
      <a:srgbClr val="970C27"/>
    </a:custClr>
    <a:custClr name="Custom Color 19">
      <a:srgbClr val="C7C2BA"/>
    </a:custClr>
    <a:custClr name="Custom Color 20">
      <a:srgbClr val="AEA79F"/>
    </a:custClr>
  </a:custClrLst>
  <a:extLst>
    <a:ext uri="{05A4C25C-085E-4340-85A3-A5531E510DB2}">
      <thm15:themeFamily xmlns:thm15="http://schemas.microsoft.com/office/thememl/2012/main" name="Coor Basic Template" id="{0B5BE4DE-E110-4E52-939F-A6C74E5DEEB9}" vid="{49ADDF6A-5DBF-4C25-B231-E0C7FE2ABDCE}"/>
    </a:ext>
  </a:extLst>
</a:theme>
</file>

<file path=ppt/theme/theme3.xml><?xml version="1.0" encoding="utf-8"?>
<a:theme xmlns:a="http://schemas.openxmlformats.org/drawingml/2006/main" name="Office Theme">
  <a:themeElements>
    <a:clrScheme name="Coor">
      <a:dk1>
        <a:sysClr val="windowText" lastClr="000000"/>
      </a:dk1>
      <a:lt1>
        <a:sysClr val="window" lastClr="FFFFFF"/>
      </a:lt1>
      <a:dk2>
        <a:srgbClr val="675C53"/>
      </a:dk2>
      <a:lt2>
        <a:srgbClr val="F8F7F5"/>
      </a:lt2>
      <a:accent1>
        <a:srgbClr val="E96704"/>
      </a:accent1>
      <a:accent2>
        <a:srgbClr val="669999"/>
      </a:accent2>
      <a:accent3>
        <a:srgbClr val="FECB00"/>
      </a:accent3>
      <a:accent4>
        <a:srgbClr val="9E0000"/>
      </a:accent4>
      <a:accent5>
        <a:srgbClr val="675C53"/>
      </a:accent5>
      <a:accent6>
        <a:srgbClr val="C7C2BA"/>
      </a:accent6>
      <a:hlink>
        <a:srgbClr val="E96704"/>
      </a:hlink>
      <a:folHlink>
        <a:srgbClr val="E96704"/>
      </a:folHlink>
    </a:clrScheme>
    <a:fontScheme name="cao">
      <a:majorFont>
        <a:latin typeface="Elephan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oor">
      <a:dk1>
        <a:sysClr val="windowText" lastClr="000000"/>
      </a:dk1>
      <a:lt1>
        <a:sysClr val="window" lastClr="FFFFFF"/>
      </a:lt1>
      <a:dk2>
        <a:srgbClr val="675C53"/>
      </a:dk2>
      <a:lt2>
        <a:srgbClr val="F8F7F5"/>
      </a:lt2>
      <a:accent1>
        <a:srgbClr val="E96704"/>
      </a:accent1>
      <a:accent2>
        <a:srgbClr val="669999"/>
      </a:accent2>
      <a:accent3>
        <a:srgbClr val="FECB00"/>
      </a:accent3>
      <a:accent4>
        <a:srgbClr val="9E0000"/>
      </a:accent4>
      <a:accent5>
        <a:srgbClr val="675C53"/>
      </a:accent5>
      <a:accent6>
        <a:srgbClr val="C7C2BA"/>
      </a:accent6>
      <a:hlink>
        <a:srgbClr val="E96704"/>
      </a:hlink>
      <a:folHlink>
        <a:srgbClr val="E96704"/>
      </a:folHlink>
    </a:clrScheme>
    <a:fontScheme name="cao">
      <a:majorFont>
        <a:latin typeface="Elephan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e6f0384-b5ea-40b0-8abc-24ceca056957">
      <UserInfo>
        <DisplayName>Peter Granberg</DisplayName>
        <AccountId>12</AccountId>
        <AccountType/>
      </UserInfo>
      <UserInfo>
        <DisplayName>Mattias Wennberg</DisplayName>
        <AccountId>108</AccountId>
        <AccountType/>
      </UserInfo>
    </SharedWithUsers>
    <TaxCatchAll xmlns="9e6f0384-b5ea-40b0-8abc-24ceca056957" xsi:nil="true"/>
    <lcf76f155ced4ddcb4097134ff3c332f xmlns="7db89b43-74f2-416b-a574-832d7170a72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6886BC64D73446860768880C45D435" ma:contentTypeVersion="14" ma:contentTypeDescription="Create a new document." ma:contentTypeScope="" ma:versionID="98bcc9106f72bfeb95bec32885d631d2">
  <xsd:schema xmlns:xsd="http://www.w3.org/2001/XMLSchema" xmlns:xs="http://www.w3.org/2001/XMLSchema" xmlns:p="http://schemas.microsoft.com/office/2006/metadata/properties" xmlns:ns2="7db89b43-74f2-416b-a574-832d7170a725" xmlns:ns3="9e6f0384-b5ea-40b0-8abc-24ceca056957" targetNamespace="http://schemas.microsoft.com/office/2006/metadata/properties" ma:root="true" ma:fieldsID="a182efbf1849234f89518d4ccc755fb3" ns2:_="" ns3:_="">
    <xsd:import namespace="7db89b43-74f2-416b-a574-832d7170a725"/>
    <xsd:import namespace="9e6f0384-b5ea-40b0-8abc-24ceca0569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89b43-74f2-416b-a574-832d7170a7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03f338af-a576-4f02-a592-4c126b96d1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6f0384-b5ea-40b0-8abc-24ceca05695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dcd12fdd-2d64-440a-b164-34f172969e27}" ma:internalName="TaxCatchAll" ma:showField="CatchAllData" ma:web="9e6f0384-b5ea-40b0-8abc-24ceca0569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D1AFB95-8E03-4212-ABEF-D3D4D7173BEA}">
  <ds:schemaRefs>
    <ds:schemaRef ds:uri="7db89b43-74f2-416b-a574-832d7170a725"/>
    <ds:schemaRef ds:uri="9e6f0384-b5ea-40b0-8abc-24ceca0569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0206449-6019-47A0-99B2-A10734B3E1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0A69A8-8BB1-4372-A46F-59F117C0C916}">
  <ds:schemaRefs>
    <ds:schemaRef ds:uri="7db89b43-74f2-416b-a574-832d7170a725"/>
    <ds:schemaRef ds:uri="9e6f0384-b5ea-40b0-8abc-24ceca0569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8994fbe-f260-4e51-9522-964b0e353ce1}" enabled="0" method="" siteId="{f8994fbe-f260-4e51-9522-964b0e353ce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6</Slides>
  <Notes>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Coor </vt:lpstr>
      <vt:lpstr>Coor </vt:lpstr>
      <vt:lpstr>Uppstartsmöte </vt:lpstr>
      <vt:lpstr>Agenda</vt:lpstr>
      <vt:lpstr>Varför gör vi det här?</vt:lpstr>
      <vt:lpstr>Vad innebär det?</vt:lpstr>
      <vt:lpstr>Vägen framåt</vt:lpstr>
      <vt:lpstr>PowerPoint Presentation</vt:lpstr>
    </vt:vector>
  </TitlesOfParts>
  <Company>Coor Service Manage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pstartsmöte för pilotavdelning</dc:title>
  <dc:creator>Minna Cirin</dc:creator>
  <cp:revision>1</cp:revision>
  <cp:lastPrinted>2024-03-06T06:16:38Z</cp:lastPrinted>
  <dcterms:created xsi:type="dcterms:W3CDTF">2023-10-31T10:18:53Z</dcterms:created>
  <dcterms:modified xsi:type="dcterms:W3CDTF">2024-04-22T07:12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6886BC64D73446860768880C45D435</vt:lpwstr>
  </property>
  <property fmtid="{D5CDD505-2E9C-101B-9397-08002B2CF9AE}" pid="3" name="MediaServiceImageTags">
    <vt:lpwstr/>
  </property>
</Properties>
</file>